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heme/theme2.xml" ContentType="application/vnd.openxmlformats-officedocument.theme+xml"/>
  <Override PartName="/ppt/theme/themeOverride1.xml" ContentType="application/vnd.openxmlformats-officedocument.themeOverr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Override2.xml" ContentType="application/vnd.openxmlformats-officedocument.themeOverrid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heme/themeOverride3.xml" ContentType="application/vnd.openxmlformats-officedocument.themeOverride+xml"/>
  <Override PartName="/ppt/tags/tag30.xml" ContentType="application/vnd.openxmlformats-officedocument.presentationml.tags+xml"/>
  <Override PartName="/ppt/tags/tag31.xml" ContentType="application/vnd.openxmlformats-officedocument.presentationml.tags+xml"/>
  <Override PartName="/ppt/theme/themeOverride4.xml" ContentType="application/vnd.openxmlformats-officedocument.themeOverride+xml"/>
  <Override PartName="/ppt/tags/tag32.xml" ContentType="application/vnd.openxmlformats-officedocument.presentationml.tags+xml"/>
  <Override PartName="/ppt/tags/tag33.xml" ContentType="application/vnd.openxmlformats-officedocument.presentationml.tags+xml"/>
  <Override PartName="/ppt/theme/themeOverride5.xml" ContentType="application/vnd.openxmlformats-officedocument.themeOverride+xml"/>
  <Override PartName="/ppt/tags/tag34.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36"/>
  </p:notesMasterIdLst>
  <p:sldIdLst>
    <p:sldId id="256" r:id="rId2"/>
    <p:sldId id="383" r:id="rId3"/>
    <p:sldId id="1691" r:id="rId4"/>
    <p:sldId id="258" r:id="rId5"/>
    <p:sldId id="272" r:id="rId6"/>
    <p:sldId id="1714" r:id="rId7"/>
    <p:sldId id="1715" r:id="rId8"/>
    <p:sldId id="1716" r:id="rId9"/>
    <p:sldId id="1717" r:id="rId10"/>
    <p:sldId id="1719" r:id="rId11"/>
    <p:sldId id="1720" r:id="rId12"/>
    <p:sldId id="1721" r:id="rId13"/>
    <p:sldId id="1722" r:id="rId14"/>
    <p:sldId id="1723" r:id="rId15"/>
    <p:sldId id="1724" r:id="rId16"/>
    <p:sldId id="1718" r:id="rId17"/>
    <p:sldId id="1726" r:id="rId18"/>
    <p:sldId id="1727" r:id="rId19"/>
    <p:sldId id="1728" r:id="rId20"/>
    <p:sldId id="1725" r:id="rId21"/>
    <p:sldId id="1730" r:id="rId22"/>
    <p:sldId id="1731" r:id="rId23"/>
    <p:sldId id="1732" r:id="rId24"/>
    <p:sldId id="1733" r:id="rId25"/>
    <p:sldId id="1734" r:id="rId26"/>
    <p:sldId id="1735" r:id="rId27"/>
    <p:sldId id="1729" r:id="rId28"/>
    <p:sldId id="1736" r:id="rId29"/>
    <p:sldId id="1737" r:id="rId30"/>
    <p:sldId id="1690" r:id="rId31"/>
    <p:sldId id="1738" r:id="rId32"/>
    <p:sldId id="1689" r:id="rId33"/>
    <p:sldId id="270" r:id="rId34"/>
    <p:sldId id="261" r:id="rId35"/>
  </p:sldIdLst>
  <p:sldSz cx="12192000" cy="6858000"/>
  <p:notesSz cx="6858000" cy="9144000"/>
  <p:custDataLst>
    <p:tags r:id="rId37"/>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BDDF4"/>
    <a:srgbClr val="79BAE6"/>
    <a:srgbClr val="FAB534"/>
    <a:srgbClr val="FFDA93"/>
    <a:srgbClr val="A20000"/>
    <a:srgbClr val="A40000"/>
    <a:srgbClr val="9E0000"/>
    <a:srgbClr val="C7450B"/>
    <a:srgbClr val="E24E0C"/>
    <a:srgbClr val="DC614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987" autoAdjust="0"/>
    <p:restoredTop sz="96201" autoAdjust="0"/>
  </p:normalViewPr>
  <p:slideViewPr>
    <p:cSldViewPr snapToGrid="0">
      <p:cViewPr>
        <p:scale>
          <a:sx n="100" d="100"/>
          <a:sy n="100" d="100"/>
        </p:scale>
        <p:origin x="936" y="390"/>
      </p:cViewPr>
      <p:guideLst/>
    </p:cSldViewPr>
  </p:slideViewPr>
  <p:outlineViewPr>
    <p:cViewPr>
      <p:scale>
        <a:sx n="33" d="100"/>
        <a:sy n="33" d="100"/>
      </p:scale>
      <p:origin x="0" y="0"/>
    </p:cViewPr>
  </p:outlineViewPr>
  <p:notesTextViewPr>
    <p:cViewPr>
      <p:scale>
        <a:sx n="3" d="2"/>
        <a:sy n="3" d="2"/>
      </p:scale>
      <p:origin x="0" y="0"/>
    </p:cViewPr>
  </p:notesTextViewPr>
  <p:sorterViewPr>
    <p:cViewPr>
      <p:scale>
        <a:sx n="75" d="100"/>
        <a:sy n="75" d="100"/>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viewProps" Target="viewProps.xml"/><Relationship Id="rId21" Type="http://schemas.openxmlformats.org/officeDocument/2006/relationships/slide" Target="slides/slide20.xml"/><Relationship Id="rId34" Type="http://schemas.openxmlformats.org/officeDocument/2006/relationships/slide" Target="slides/slide33.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tags" Target="tags/tag1.xml"/><Relationship Id="rId40"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86D8963-CFCD-4740-AF60-049850373CDF}" type="datetimeFigureOut">
              <a:rPr lang="zh-CN" altLang="en-US" smtClean="0"/>
              <a:t>2023/4/2</a:t>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9E6FDB6-6D2B-46C1-9FA1-D82906A37C3A}" type="slidenum">
              <a:rPr lang="zh-CN" altLang="en-US" smtClean="0"/>
              <a:t>‹#›</a:t>
            </a:fld>
            <a:endParaRPr lang="zh-CN" altLang="en-US"/>
          </a:p>
        </p:txBody>
      </p:sp>
    </p:spTree>
    <p:extLst>
      <p:ext uri="{BB962C8B-B14F-4D97-AF65-F5344CB8AC3E}">
        <p14:creationId xmlns:p14="http://schemas.microsoft.com/office/powerpoint/2010/main" val="218498155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标题幻灯片">
    <p:spTree>
      <p:nvGrpSpPr>
        <p:cNvPr id="1" name=""/>
        <p:cNvGrpSpPr/>
        <p:nvPr/>
      </p:nvGrpSpPr>
      <p:grpSpPr>
        <a:xfrm>
          <a:off x="0" y="0"/>
          <a:ext cx="0" cy="0"/>
          <a:chOff x="0" y="0"/>
          <a:chExt cx="0" cy="0"/>
        </a:xfrm>
      </p:grpSpPr>
      <p:grpSp>
        <p:nvGrpSpPr>
          <p:cNvPr id="11697" name="组合 11696">
            <a:extLst>
              <a:ext uri="{FF2B5EF4-FFF2-40B4-BE49-F238E27FC236}">
                <a16:creationId xmlns:a16="http://schemas.microsoft.com/office/drawing/2014/main" id="{6CDB4EA3-2B72-4B6F-858C-52367A1A1DA3}"/>
              </a:ext>
            </a:extLst>
          </p:cNvPr>
          <p:cNvGrpSpPr/>
          <p:nvPr userDrawn="1"/>
        </p:nvGrpSpPr>
        <p:grpSpPr>
          <a:xfrm>
            <a:off x="3638551" y="2232025"/>
            <a:ext cx="8335962" cy="3906838"/>
            <a:chOff x="3638551" y="2232025"/>
            <a:chExt cx="8335962" cy="3906838"/>
          </a:xfrm>
        </p:grpSpPr>
        <p:sp>
          <p:nvSpPr>
            <p:cNvPr id="11540" name="Freeform 1544">
              <a:extLst>
                <a:ext uri="{FF2B5EF4-FFF2-40B4-BE49-F238E27FC236}">
                  <a16:creationId xmlns:a16="http://schemas.microsoft.com/office/drawing/2014/main" id="{FD9C4818-62C6-400E-88A7-72A7A2CBDED8}"/>
                </a:ext>
              </a:extLst>
            </p:cNvPr>
            <p:cNvSpPr>
              <a:spLocks/>
            </p:cNvSpPr>
            <p:nvPr userDrawn="1"/>
          </p:nvSpPr>
          <p:spPr bwMode="auto">
            <a:xfrm>
              <a:off x="4878388" y="2660650"/>
              <a:ext cx="6911975" cy="2052638"/>
            </a:xfrm>
            <a:custGeom>
              <a:avLst/>
              <a:gdLst>
                <a:gd name="T0" fmla="*/ 1434 w 3491"/>
                <a:gd name="T1" fmla="*/ 0 h 1037"/>
                <a:gd name="T2" fmla="*/ 499 w 3491"/>
                <a:gd name="T3" fmla="*/ 0 h 1037"/>
                <a:gd name="T4" fmla="*/ 410 w 3491"/>
                <a:gd name="T5" fmla="*/ 131 h 1037"/>
                <a:gd name="T6" fmla="*/ 499 w 3491"/>
                <a:gd name="T7" fmla="*/ 261 h 1037"/>
                <a:gd name="T8" fmla="*/ 710 w 3491"/>
                <a:gd name="T9" fmla="*/ 261 h 1037"/>
                <a:gd name="T10" fmla="*/ 764 w 3491"/>
                <a:gd name="T11" fmla="*/ 340 h 1037"/>
                <a:gd name="T12" fmla="*/ 710 w 3491"/>
                <a:gd name="T13" fmla="*/ 418 h 1037"/>
                <a:gd name="T14" fmla="*/ 79 w 3491"/>
                <a:gd name="T15" fmla="*/ 418 h 1037"/>
                <a:gd name="T16" fmla="*/ 0 w 3491"/>
                <a:gd name="T17" fmla="*/ 535 h 1037"/>
                <a:gd name="T18" fmla="*/ 0 w 3491"/>
                <a:gd name="T19" fmla="*/ 535 h 1037"/>
                <a:gd name="T20" fmla="*/ 79 w 3491"/>
                <a:gd name="T21" fmla="*/ 651 h 1037"/>
                <a:gd name="T22" fmla="*/ 888 w 3491"/>
                <a:gd name="T23" fmla="*/ 651 h 1037"/>
                <a:gd name="T24" fmla="*/ 950 w 3491"/>
                <a:gd name="T25" fmla="*/ 744 h 1037"/>
                <a:gd name="T26" fmla="*/ 888 w 3491"/>
                <a:gd name="T27" fmla="*/ 836 h 1037"/>
                <a:gd name="T28" fmla="*/ 335 w 3491"/>
                <a:gd name="T29" fmla="*/ 836 h 1037"/>
                <a:gd name="T30" fmla="*/ 271 w 3491"/>
                <a:gd name="T31" fmla="*/ 930 h 1037"/>
                <a:gd name="T32" fmla="*/ 271 w 3491"/>
                <a:gd name="T33" fmla="*/ 943 h 1037"/>
                <a:gd name="T34" fmla="*/ 335 w 3491"/>
                <a:gd name="T35" fmla="*/ 1037 h 1037"/>
                <a:gd name="T36" fmla="*/ 3400 w 3491"/>
                <a:gd name="T37" fmla="*/ 1037 h 1037"/>
                <a:gd name="T38" fmla="*/ 3491 w 3491"/>
                <a:gd name="T39" fmla="*/ 905 h 1037"/>
                <a:gd name="T40" fmla="*/ 3400 w 3491"/>
                <a:gd name="T41" fmla="*/ 773 h 1037"/>
                <a:gd name="T42" fmla="*/ 2993 w 3491"/>
                <a:gd name="T43" fmla="*/ 773 h 1037"/>
                <a:gd name="T44" fmla="*/ 2928 w 3491"/>
                <a:gd name="T45" fmla="*/ 678 h 1037"/>
                <a:gd name="T46" fmla="*/ 2993 w 3491"/>
                <a:gd name="T47" fmla="*/ 583 h 1037"/>
                <a:gd name="T48" fmla="*/ 3219 w 3491"/>
                <a:gd name="T49" fmla="*/ 583 h 1037"/>
                <a:gd name="T50" fmla="*/ 3301 w 3491"/>
                <a:gd name="T51" fmla="*/ 463 h 1037"/>
                <a:gd name="T52" fmla="*/ 3219 w 3491"/>
                <a:gd name="T53" fmla="*/ 343 h 1037"/>
                <a:gd name="T54" fmla="*/ 2481 w 3491"/>
                <a:gd name="T55" fmla="*/ 343 h 1037"/>
                <a:gd name="T56" fmla="*/ 2428 w 3491"/>
                <a:gd name="T57" fmla="*/ 266 h 1037"/>
                <a:gd name="T58" fmla="*/ 2481 w 3491"/>
                <a:gd name="T59" fmla="*/ 189 h 1037"/>
                <a:gd name="T60" fmla="*/ 3120 w 3491"/>
                <a:gd name="T61" fmla="*/ 189 h 1037"/>
                <a:gd name="T62" fmla="*/ 3185 w 3491"/>
                <a:gd name="T63" fmla="*/ 94 h 1037"/>
                <a:gd name="T64" fmla="*/ 3120 w 3491"/>
                <a:gd name="T65" fmla="*/ 0 h 1037"/>
                <a:gd name="T66" fmla="*/ 1434 w 3491"/>
                <a:gd name="T67" fmla="*/ 0 h 10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91" h="1037">
                  <a:moveTo>
                    <a:pt x="1434" y="0"/>
                  </a:moveTo>
                  <a:cubicBezTo>
                    <a:pt x="499" y="0"/>
                    <a:pt x="499" y="0"/>
                    <a:pt x="499" y="0"/>
                  </a:cubicBezTo>
                  <a:cubicBezTo>
                    <a:pt x="450" y="0"/>
                    <a:pt x="410" y="58"/>
                    <a:pt x="410" y="131"/>
                  </a:cubicBezTo>
                  <a:cubicBezTo>
                    <a:pt x="410" y="203"/>
                    <a:pt x="450" y="261"/>
                    <a:pt x="499" y="261"/>
                  </a:cubicBezTo>
                  <a:cubicBezTo>
                    <a:pt x="710" y="261"/>
                    <a:pt x="710" y="261"/>
                    <a:pt x="710" y="261"/>
                  </a:cubicBezTo>
                  <a:cubicBezTo>
                    <a:pt x="740" y="261"/>
                    <a:pt x="764" y="296"/>
                    <a:pt x="764" y="340"/>
                  </a:cubicBezTo>
                  <a:cubicBezTo>
                    <a:pt x="764" y="383"/>
                    <a:pt x="740" y="418"/>
                    <a:pt x="710" y="418"/>
                  </a:cubicBezTo>
                  <a:cubicBezTo>
                    <a:pt x="79" y="418"/>
                    <a:pt x="79" y="418"/>
                    <a:pt x="79" y="418"/>
                  </a:cubicBezTo>
                  <a:cubicBezTo>
                    <a:pt x="35" y="418"/>
                    <a:pt x="0" y="470"/>
                    <a:pt x="0" y="535"/>
                  </a:cubicBezTo>
                  <a:cubicBezTo>
                    <a:pt x="0" y="535"/>
                    <a:pt x="0" y="535"/>
                    <a:pt x="0" y="535"/>
                  </a:cubicBezTo>
                  <a:cubicBezTo>
                    <a:pt x="0" y="599"/>
                    <a:pt x="35" y="651"/>
                    <a:pt x="79" y="651"/>
                  </a:cubicBezTo>
                  <a:cubicBezTo>
                    <a:pt x="888" y="651"/>
                    <a:pt x="888" y="651"/>
                    <a:pt x="888" y="651"/>
                  </a:cubicBezTo>
                  <a:cubicBezTo>
                    <a:pt x="922" y="651"/>
                    <a:pt x="951" y="693"/>
                    <a:pt x="950" y="744"/>
                  </a:cubicBezTo>
                  <a:cubicBezTo>
                    <a:pt x="950" y="795"/>
                    <a:pt x="922" y="836"/>
                    <a:pt x="888" y="836"/>
                  </a:cubicBezTo>
                  <a:cubicBezTo>
                    <a:pt x="335" y="836"/>
                    <a:pt x="335" y="836"/>
                    <a:pt x="335" y="836"/>
                  </a:cubicBezTo>
                  <a:cubicBezTo>
                    <a:pt x="300" y="836"/>
                    <a:pt x="271" y="878"/>
                    <a:pt x="271" y="930"/>
                  </a:cubicBezTo>
                  <a:cubicBezTo>
                    <a:pt x="271" y="943"/>
                    <a:pt x="271" y="943"/>
                    <a:pt x="271" y="943"/>
                  </a:cubicBezTo>
                  <a:cubicBezTo>
                    <a:pt x="271" y="995"/>
                    <a:pt x="300" y="1037"/>
                    <a:pt x="335" y="1037"/>
                  </a:cubicBezTo>
                  <a:cubicBezTo>
                    <a:pt x="3400" y="1037"/>
                    <a:pt x="3400" y="1037"/>
                    <a:pt x="3400" y="1037"/>
                  </a:cubicBezTo>
                  <a:cubicBezTo>
                    <a:pt x="3450" y="1037"/>
                    <a:pt x="3491" y="978"/>
                    <a:pt x="3491" y="905"/>
                  </a:cubicBezTo>
                  <a:cubicBezTo>
                    <a:pt x="3491" y="832"/>
                    <a:pt x="3450" y="773"/>
                    <a:pt x="3400" y="773"/>
                  </a:cubicBezTo>
                  <a:cubicBezTo>
                    <a:pt x="2993" y="773"/>
                    <a:pt x="2993" y="773"/>
                    <a:pt x="2993" y="773"/>
                  </a:cubicBezTo>
                  <a:cubicBezTo>
                    <a:pt x="2957" y="773"/>
                    <a:pt x="2928" y="730"/>
                    <a:pt x="2928" y="678"/>
                  </a:cubicBezTo>
                  <a:cubicBezTo>
                    <a:pt x="2928" y="625"/>
                    <a:pt x="2957" y="583"/>
                    <a:pt x="2993" y="583"/>
                  </a:cubicBezTo>
                  <a:cubicBezTo>
                    <a:pt x="3219" y="583"/>
                    <a:pt x="3219" y="583"/>
                    <a:pt x="3219" y="583"/>
                  </a:cubicBezTo>
                  <a:cubicBezTo>
                    <a:pt x="3264" y="583"/>
                    <a:pt x="3301" y="529"/>
                    <a:pt x="3301" y="463"/>
                  </a:cubicBezTo>
                  <a:cubicBezTo>
                    <a:pt x="3301" y="397"/>
                    <a:pt x="3264" y="343"/>
                    <a:pt x="3219" y="343"/>
                  </a:cubicBezTo>
                  <a:cubicBezTo>
                    <a:pt x="2481" y="343"/>
                    <a:pt x="2481" y="343"/>
                    <a:pt x="2481" y="343"/>
                  </a:cubicBezTo>
                  <a:cubicBezTo>
                    <a:pt x="2452" y="343"/>
                    <a:pt x="2428" y="308"/>
                    <a:pt x="2428" y="266"/>
                  </a:cubicBezTo>
                  <a:cubicBezTo>
                    <a:pt x="2428" y="223"/>
                    <a:pt x="2452" y="189"/>
                    <a:pt x="2481" y="189"/>
                  </a:cubicBezTo>
                  <a:cubicBezTo>
                    <a:pt x="3120" y="189"/>
                    <a:pt x="3120" y="189"/>
                    <a:pt x="3120" y="189"/>
                  </a:cubicBezTo>
                  <a:cubicBezTo>
                    <a:pt x="3156" y="189"/>
                    <a:pt x="3185" y="146"/>
                    <a:pt x="3185" y="94"/>
                  </a:cubicBezTo>
                  <a:cubicBezTo>
                    <a:pt x="3185" y="42"/>
                    <a:pt x="3156" y="0"/>
                    <a:pt x="3120" y="0"/>
                  </a:cubicBezTo>
                  <a:cubicBezTo>
                    <a:pt x="1434" y="0"/>
                    <a:pt x="1434" y="0"/>
                    <a:pt x="1434" y="0"/>
                  </a:cubicBezTo>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1541" name="Freeform 1545">
              <a:extLst>
                <a:ext uri="{FF2B5EF4-FFF2-40B4-BE49-F238E27FC236}">
                  <a16:creationId xmlns:a16="http://schemas.microsoft.com/office/drawing/2014/main" id="{03C23D6F-BE1B-43DE-BC60-ED93E143B230}"/>
                </a:ext>
              </a:extLst>
            </p:cNvPr>
            <p:cNvSpPr>
              <a:spLocks/>
            </p:cNvSpPr>
            <p:nvPr userDrawn="1"/>
          </p:nvSpPr>
          <p:spPr bwMode="auto">
            <a:xfrm>
              <a:off x="3638551" y="4946650"/>
              <a:ext cx="1562100" cy="460375"/>
            </a:xfrm>
            <a:custGeom>
              <a:avLst/>
              <a:gdLst>
                <a:gd name="T0" fmla="*/ 680 w 789"/>
                <a:gd name="T1" fmla="*/ 233 h 233"/>
                <a:gd name="T2" fmla="*/ 108 w 789"/>
                <a:gd name="T3" fmla="*/ 233 h 233"/>
                <a:gd name="T4" fmla="*/ 0 w 789"/>
                <a:gd name="T5" fmla="*/ 116 h 233"/>
                <a:gd name="T6" fmla="*/ 108 w 789"/>
                <a:gd name="T7" fmla="*/ 0 h 233"/>
                <a:gd name="T8" fmla="*/ 680 w 789"/>
                <a:gd name="T9" fmla="*/ 0 h 233"/>
                <a:gd name="T10" fmla="*/ 789 w 789"/>
                <a:gd name="T11" fmla="*/ 116 h 233"/>
                <a:gd name="T12" fmla="*/ 680 w 789"/>
                <a:gd name="T13" fmla="*/ 233 h 233"/>
              </a:gdLst>
              <a:ahLst/>
              <a:cxnLst>
                <a:cxn ang="0">
                  <a:pos x="T0" y="T1"/>
                </a:cxn>
                <a:cxn ang="0">
                  <a:pos x="T2" y="T3"/>
                </a:cxn>
                <a:cxn ang="0">
                  <a:pos x="T4" y="T5"/>
                </a:cxn>
                <a:cxn ang="0">
                  <a:pos x="T6" y="T7"/>
                </a:cxn>
                <a:cxn ang="0">
                  <a:pos x="T8" y="T9"/>
                </a:cxn>
                <a:cxn ang="0">
                  <a:pos x="T10" y="T11"/>
                </a:cxn>
                <a:cxn ang="0">
                  <a:pos x="T12" y="T13"/>
                </a:cxn>
              </a:cxnLst>
              <a:rect l="0" t="0" r="r" b="b"/>
              <a:pathLst>
                <a:path w="789" h="233">
                  <a:moveTo>
                    <a:pt x="680" y="233"/>
                  </a:moveTo>
                  <a:cubicBezTo>
                    <a:pt x="108" y="233"/>
                    <a:pt x="108" y="233"/>
                    <a:pt x="108" y="233"/>
                  </a:cubicBezTo>
                  <a:cubicBezTo>
                    <a:pt x="48" y="233"/>
                    <a:pt x="0" y="181"/>
                    <a:pt x="0" y="116"/>
                  </a:cubicBezTo>
                  <a:cubicBezTo>
                    <a:pt x="0" y="52"/>
                    <a:pt x="48" y="0"/>
                    <a:pt x="108" y="0"/>
                  </a:cubicBezTo>
                  <a:cubicBezTo>
                    <a:pt x="680" y="0"/>
                    <a:pt x="680" y="0"/>
                    <a:pt x="680" y="0"/>
                  </a:cubicBezTo>
                  <a:cubicBezTo>
                    <a:pt x="740" y="0"/>
                    <a:pt x="789" y="52"/>
                    <a:pt x="789" y="116"/>
                  </a:cubicBezTo>
                  <a:cubicBezTo>
                    <a:pt x="789" y="181"/>
                    <a:pt x="740" y="233"/>
                    <a:pt x="680" y="233"/>
                  </a:cubicBez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1542" name="Oval 1546">
              <a:extLst>
                <a:ext uri="{FF2B5EF4-FFF2-40B4-BE49-F238E27FC236}">
                  <a16:creationId xmlns:a16="http://schemas.microsoft.com/office/drawing/2014/main" id="{DD8CE035-6DFD-4C92-97F7-C079154DB51B}"/>
                </a:ext>
              </a:extLst>
            </p:cNvPr>
            <p:cNvSpPr>
              <a:spLocks noChangeArrowheads="1"/>
            </p:cNvSpPr>
            <p:nvPr userDrawn="1"/>
          </p:nvSpPr>
          <p:spPr bwMode="auto">
            <a:xfrm>
              <a:off x="4606926" y="4511675"/>
              <a:ext cx="44450" cy="49213"/>
            </a:xfrm>
            <a:prstGeom prst="ellipse">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1543" name="Oval 1547">
              <a:extLst>
                <a:ext uri="{FF2B5EF4-FFF2-40B4-BE49-F238E27FC236}">
                  <a16:creationId xmlns:a16="http://schemas.microsoft.com/office/drawing/2014/main" id="{DE7A5D2E-D86A-42E9-B8EC-83F829E29D95}"/>
                </a:ext>
              </a:extLst>
            </p:cNvPr>
            <p:cNvSpPr>
              <a:spLocks noChangeArrowheads="1"/>
            </p:cNvSpPr>
            <p:nvPr userDrawn="1"/>
          </p:nvSpPr>
          <p:spPr bwMode="auto">
            <a:xfrm>
              <a:off x="11576051" y="2941638"/>
              <a:ext cx="80963" cy="87313"/>
            </a:xfrm>
            <a:prstGeom prst="ellipse">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1544" name="Oval 1548">
              <a:extLst>
                <a:ext uri="{FF2B5EF4-FFF2-40B4-BE49-F238E27FC236}">
                  <a16:creationId xmlns:a16="http://schemas.microsoft.com/office/drawing/2014/main" id="{2F18432E-535D-40BD-A45E-BDAF5778462F}"/>
                </a:ext>
              </a:extLst>
            </p:cNvPr>
            <p:cNvSpPr>
              <a:spLocks noChangeArrowheads="1"/>
            </p:cNvSpPr>
            <p:nvPr userDrawn="1"/>
          </p:nvSpPr>
          <p:spPr bwMode="auto">
            <a:xfrm>
              <a:off x="7227888" y="2667000"/>
              <a:ext cx="46038" cy="49213"/>
            </a:xfrm>
            <a:prstGeom prst="ellipse">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1545" name="Oval 1549">
              <a:extLst>
                <a:ext uri="{FF2B5EF4-FFF2-40B4-BE49-F238E27FC236}">
                  <a16:creationId xmlns:a16="http://schemas.microsoft.com/office/drawing/2014/main" id="{3B07F2D9-6B3C-49E1-9E28-68681CFB2C9F}"/>
                </a:ext>
              </a:extLst>
            </p:cNvPr>
            <p:cNvSpPr>
              <a:spLocks noChangeArrowheads="1"/>
            </p:cNvSpPr>
            <p:nvPr userDrawn="1"/>
          </p:nvSpPr>
          <p:spPr bwMode="auto">
            <a:xfrm>
              <a:off x="5738813" y="2860675"/>
              <a:ext cx="61913" cy="65088"/>
            </a:xfrm>
            <a:prstGeom prst="ellipse">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1546" name="Freeform 1550">
              <a:extLst>
                <a:ext uri="{FF2B5EF4-FFF2-40B4-BE49-F238E27FC236}">
                  <a16:creationId xmlns:a16="http://schemas.microsoft.com/office/drawing/2014/main" id="{71421C1F-EC7F-4CD7-BC21-3C414946C663}"/>
                </a:ext>
              </a:extLst>
            </p:cNvPr>
            <p:cNvSpPr>
              <a:spLocks/>
            </p:cNvSpPr>
            <p:nvPr userDrawn="1"/>
          </p:nvSpPr>
          <p:spPr bwMode="auto">
            <a:xfrm>
              <a:off x="7127876" y="2247900"/>
              <a:ext cx="117475" cy="127000"/>
            </a:xfrm>
            <a:custGeom>
              <a:avLst/>
              <a:gdLst>
                <a:gd name="T0" fmla="*/ 60 w 60"/>
                <a:gd name="T1" fmla="*/ 32 h 64"/>
                <a:gd name="T2" fmla="*/ 30 w 60"/>
                <a:gd name="T3" fmla="*/ 64 h 64"/>
                <a:gd name="T4" fmla="*/ 0 w 60"/>
                <a:gd name="T5" fmla="*/ 32 h 64"/>
                <a:gd name="T6" fmla="*/ 30 w 60"/>
                <a:gd name="T7" fmla="*/ 0 h 64"/>
                <a:gd name="T8" fmla="*/ 60 w 60"/>
                <a:gd name="T9" fmla="*/ 32 h 64"/>
              </a:gdLst>
              <a:ahLst/>
              <a:cxnLst>
                <a:cxn ang="0">
                  <a:pos x="T0" y="T1"/>
                </a:cxn>
                <a:cxn ang="0">
                  <a:pos x="T2" y="T3"/>
                </a:cxn>
                <a:cxn ang="0">
                  <a:pos x="T4" y="T5"/>
                </a:cxn>
                <a:cxn ang="0">
                  <a:pos x="T6" y="T7"/>
                </a:cxn>
                <a:cxn ang="0">
                  <a:pos x="T8" y="T9"/>
                </a:cxn>
              </a:cxnLst>
              <a:rect l="0" t="0" r="r" b="b"/>
              <a:pathLst>
                <a:path w="60" h="64">
                  <a:moveTo>
                    <a:pt x="60" y="32"/>
                  </a:moveTo>
                  <a:cubicBezTo>
                    <a:pt x="39" y="37"/>
                    <a:pt x="35" y="42"/>
                    <a:pt x="30" y="64"/>
                  </a:cubicBezTo>
                  <a:cubicBezTo>
                    <a:pt x="24" y="42"/>
                    <a:pt x="20" y="37"/>
                    <a:pt x="0" y="32"/>
                  </a:cubicBezTo>
                  <a:cubicBezTo>
                    <a:pt x="20" y="26"/>
                    <a:pt x="24" y="21"/>
                    <a:pt x="30" y="0"/>
                  </a:cubicBezTo>
                  <a:cubicBezTo>
                    <a:pt x="35" y="21"/>
                    <a:pt x="39" y="26"/>
                    <a:pt x="60" y="32"/>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1547" name="Freeform 1551">
              <a:extLst>
                <a:ext uri="{FF2B5EF4-FFF2-40B4-BE49-F238E27FC236}">
                  <a16:creationId xmlns:a16="http://schemas.microsoft.com/office/drawing/2014/main" id="{782927C3-E146-4314-8DE6-632758493C01}"/>
                </a:ext>
              </a:extLst>
            </p:cNvPr>
            <p:cNvSpPr>
              <a:spLocks/>
            </p:cNvSpPr>
            <p:nvPr userDrawn="1"/>
          </p:nvSpPr>
          <p:spPr bwMode="auto">
            <a:xfrm>
              <a:off x="5192713" y="3324225"/>
              <a:ext cx="111125" cy="119063"/>
            </a:xfrm>
            <a:custGeom>
              <a:avLst/>
              <a:gdLst>
                <a:gd name="T0" fmla="*/ 56 w 56"/>
                <a:gd name="T1" fmla="*/ 30 h 60"/>
                <a:gd name="T2" fmla="*/ 28 w 56"/>
                <a:gd name="T3" fmla="*/ 60 h 60"/>
                <a:gd name="T4" fmla="*/ 0 w 56"/>
                <a:gd name="T5" fmla="*/ 30 h 60"/>
                <a:gd name="T6" fmla="*/ 28 w 56"/>
                <a:gd name="T7" fmla="*/ 0 h 60"/>
                <a:gd name="T8" fmla="*/ 56 w 56"/>
                <a:gd name="T9" fmla="*/ 30 h 60"/>
              </a:gdLst>
              <a:ahLst/>
              <a:cxnLst>
                <a:cxn ang="0">
                  <a:pos x="T0" y="T1"/>
                </a:cxn>
                <a:cxn ang="0">
                  <a:pos x="T2" y="T3"/>
                </a:cxn>
                <a:cxn ang="0">
                  <a:pos x="T4" y="T5"/>
                </a:cxn>
                <a:cxn ang="0">
                  <a:pos x="T6" y="T7"/>
                </a:cxn>
                <a:cxn ang="0">
                  <a:pos x="T8" y="T9"/>
                </a:cxn>
              </a:cxnLst>
              <a:rect l="0" t="0" r="r" b="b"/>
              <a:pathLst>
                <a:path w="56" h="60">
                  <a:moveTo>
                    <a:pt x="56" y="30"/>
                  </a:moveTo>
                  <a:cubicBezTo>
                    <a:pt x="37" y="36"/>
                    <a:pt x="33" y="40"/>
                    <a:pt x="28" y="60"/>
                  </a:cubicBezTo>
                  <a:cubicBezTo>
                    <a:pt x="23" y="40"/>
                    <a:pt x="19" y="36"/>
                    <a:pt x="0" y="30"/>
                  </a:cubicBezTo>
                  <a:cubicBezTo>
                    <a:pt x="19" y="25"/>
                    <a:pt x="23" y="21"/>
                    <a:pt x="28" y="0"/>
                  </a:cubicBezTo>
                  <a:cubicBezTo>
                    <a:pt x="33" y="21"/>
                    <a:pt x="37" y="25"/>
                    <a:pt x="56" y="3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1548" name="Freeform 1552">
              <a:extLst>
                <a:ext uri="{FF2B5EF4-FFF2-40B4-BE49-F238E27FC236}">
                  <a16:creationId xmlns:a16="http://schemas.microsoft.com/office/drawing/2014/main" id="{B731C681-C6E7-44AF-ABBC-E0988AD575D1}"/>
                </a:ext>
              </a:extLst>
            </p:cNvPr>
            <p:cNvSpPr>
              <a:spLocks/>
            </p:cNvSpPr>
            <p:nvPr userDrawn="1"/>
          </p:nvSpPr>
          <p:spPr bwMode="auto">
            <a:xfrm>
              <a:off x="10860088" y="2263775"/>
              <a:ext cx="111125" cy="119063"/>
            </a:xfrm>
            <a:custGeom>
              <a:avLst/>
              <a:gdLst>
                <a:gd name="T0" fmla="*/ 56 w 56"/>
                <a:gd name="T1" fmla="*/ 30 h 60"/>
                <a:gd name="T2" fmla="*/ 28 w 56"/>
                <a:gd name="T3" fmla="*/ 60 h 60"/>
                <a:gd name="T4" fmla="*/ 0 w 56"/>
                <a:gd name="T5" fmla="*/ 30 h 60"/>
                <a:gd name="T6" fmla="*/ 28 w 56"/>
                <a:gd name="T7" fmla="*/ 0 h 60"/>
                <a:gd name="T8" fmla="*/ 56 w 56"/>
                <a:gd name="T9" fmla="*/ 30 h 60"/>
              </a:gdLst>
              <a:ahLst/>
              <a:cxnLst>
                <a:cxn ang="0">
                  <a:pos x="T0" y="T1"/>
                </a:cxn>
                <a:cxn ang="0">
                  <a:pos x="T2" y="T3"/>
                </a:cxn>
                <a:cxn ang="0">
                  <a:pos x="T4" y="T5"/>
                </a:cxn>
                <a:cxn ang="0">
                  <a:pos x="T6" y="T7"/>
                </a:cxn>
                <a:cxn ang="0">
                  <a:pos x="T8" y="T9"/>
                </a:cxn>
              </a:cxnLst>
              <a:rect l="0" t="0" r="r" b="b"/>
              <a:pathLst>
                <a:path w="56" h="60">
                  <a:moveTo>
                    <a:pt x="56" y="30"/>
                  </a:moveTo>
                  <a:cubicBezTo>
                    <a:pt x="37" y="35"/>
                    <a:pt x="33" y="39"/>
                    <a:pt x="28" y="60"/>
                  </a:cubicBezTo>
                  <a:cubicBezTo>
                    <a:pt x="23" y="39"/>
                    <a:pt x="19" y="35"/>
                    <a:pt x="0" y="30"/>
                  </a:cubicBezTo>
                  <a:cubicBezTo>
                    <a:pt x="19" y="24"/>
                    <a:pt x="23" y="20"/>
                    <a:pt x="28" y="0"/>
                  </a:cubicBezTo>
                  <a:cubicBezTo>
                    <a:pt x="33" y="20"/>
                    <a:pt x="37" y="24"/>
                    <a:pt x="56" y="3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1549" name="Freeform 1553">
              <a:extLst>
                <a:ext uri="{FF2B5EF4-FFF2-40B4-BE49-F238E27FC236}">
                  <a16:creationId xmlns:a16="http://schemas.microsoft.com/office/drawing/2014/main" id="{ABD3BB81-6F6D-451A-AE52-C44197CF5EC9}"/>
                </a:ext>
              </a:extLst>
            </p:cNvPr>
            <p:cNvSpPr>
              <a:spLocks/>
            </p:cNvSpPr>
            <p:nvPr userDrawn="1"/>
          </p:nvSpPr>
          <p:spPr bwMode="auto">
            <a:xfrm>
              <a:off x="8458201" y="3019425"/>
              <a:ext cx="184150" cy="195263"/>
            </a:xfrm>
            <a:custGeom>
              <a:avLst/>
              <a:gdLst>
                <a:gd name="T0" fmla="*/ 93 w 93"/>
                <a:gd name="T1" fmla="*/ 49 h 99"/>
                <a:gd name="T2" fmla="*/ 47 w 93"/>
                <a:gd name="T3" fmla="*/ 99 h 99"/>
                <a:gd name="T4" fmla="*/ 0 w 93"/>
                <a:gd name="T5" fmla="*/ 49 h 99"/>
                <a:gd name="T6" fmla="*/ 47 w 93"/>
                <a:gd name="T7" fmla="*/ 0 h 99"/>
                <a:gd name="T8" fmla="*/ 93 w 93"/>
                <a:gd name="T9" fmla="*/ 49 h 99"/>
              </a:gdLst>
              <a:ahLst/>
              <a:cxnLst>
                <a:cxn ang="0">
                  <a:pos x="T0" y="T1"/>
                </a:cxn>
                <a:cxn ang="0">
                  <a:pos x="T2" y="T3"/>
                </a:cxn>
                <a:cxn ang="0">
                  <a:pos x="T4" y="T5"/>
                </a:cxn>
                <a:cxn ang="0">
                  <a:pos x="T6" y="T7"/>
                </a:cxn>
                <a:cxn ang="0">
                  <a:pos x="T8" y="T9"/>
                </a:cxn>
              </a:cxnLst>
              <a:rect l="0" t="0" r="r" b="b"/>
              <a:pathLst>
                <a:path w="93" h="99">
                  <a:moveTo>
                    <a:pt x="93" y="49"/>
                  </a:moveTo>
                  <a:cubicBezTo>
                    <a:pt x="61" y="58"/>
                    <a:pt x="55" y="65"/>
                    <a:pt x="47" y="99"/>
                  </a:cubicBezTo>
                  <a:cubicBezTo>
                    <a:pt x="38" y="65"/>
                    <a:pt x="32" y="58"/>
                    <a:pt x="0" y="49"/>
                  </a:cubicBezTo>
                  <a:cubicBezTo>
                    <a:pt x="32" y="41"/>
                    <a:pt x="38" y="33"/>
                    <a:pt x="47" y="0"/>
                  </a:cubicBezTo>
                  <a:cubicBezTo>
                    <a:pt x="55" y="33"/>
                    <a:pt x="61" y="41"/>
                    <a:pt x="93" y="49"/>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1550" name="Oval 1554">
              <a:extLst>
                <a:ext uri="{FF2B5EF4-FFF2-40B4-BE49-F238E27FC236}">
                  <a16:creationId xmlns:a16="http://schemas.microsoft.com/office/drawing/2014/main" id="{8CF27E2A-7903-44B0-B08D-EF39C728AB2F}"/>
                </a:ext>
              </a:extLst>
            </p:cNvPr>
            <p:cNvSpPr>
              <a:spLocks noChangeArrowheads="1"/>
            </p:cNvSpPr>
            <p:nvPr userDrawn="1"/>
          </p:nvSpPr>
          <p:spPr bwMode="auto">
            <a:xfrm>
              <a:off x="4470401" y="5626100"/>
              <a:ext cx="80963" cy="87313"/>
            </a:xfrm>
            <a:prstGeom prst="ellipse">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1551" name="Oval 1555">
              <a:extLst>
                <a:ext uri="{FF2B5EF4-FFF2-40B4-BE49-F238E27FC236}">
                  <a16:creationId xmlns:a16="http://schemas.microsoft.com/office/drawing/2014/main" id="{C5C896C7-3A35-4D3C-9356-F3D39054E5E1}"/>
                </a:ext>
              </a:extLst>
            </p:cNvPr>
            <p:cNvSpPr>
              <a:spLocks noChangeArrowheads="1"/>
            </p:cNvSpPr>
            <p:nvPr userDrawn="1"/>
          </p:nvSpPr>
          <p:spPr bwMode="auto">
            <a:xfrm>
              <a:off x="8458201" y="2508250"/>
              <a:ext cx="88900" cy="95250"/>
            </a:xfrm>
            <a:prstGeom prst="ellipse">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1552" name="Oval 1556">
              <a:extLst>
                <a:ext uri="{FF2B5EF4-FFF2-40B4-BE49-F238E27FC236}">
                  <a16:creationId xmlns:a16="http://schemas.microsoft.com/office/drawing/2014/main" id="{8F003C2C-3202-4F78-931C-6FB4C9B0FD7C}"/>
                </a:ext>
              </a:extLst>
            </p:cNvPr>
            <p:cNvSpPr>
              <a:spLocks noChangeArrowheads="1"/>
            </p:cNvSpPr>
            <p:nvPr userDrawn="1"/>
          </p:nvSpPr>
          <p:spPr bwMode="auto">
            <a:xfrm>
              <a:off x="4216401" y="3829050"/>
              <a:ext cx="77788" cy="80963"/>
            </a:xfrm>
            <a:prstGeom prst="ellipse">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1553" name="Freeform 1557">
              <a:extLst>
                <a:ext uri="{FF2B5EF4-FFF2-40B4-BE49-F238E27FC236}">
                  <a16:creationId xmlns:a16="http://schemas.microsoft.com/office/drawing/2014/main" id="{077B1F64-0CD5-4FA4-A1F0-89D7524BE4D7}"/>
                </a:ext>
              </a:extLst>
            </p:cNvPr>
            <p:cNvSpPr>
              <a:spLocks/>
            </p:cNvSpPr>
            <p:nvPr userDrawn="1"/>
          </p:nvSpPr>
          <p:spPr bwMode="auto">
            <a:xfrm>
              <a:off x="6130926" y="2817813"/>
              <a:ext cx="119063" cy="127000"/>
            </a:xfrm>
            <a:custGeom>
              <a:avLst/>
              <a:gdLst>
                <a:gd name="T0" fmla="*/ 60 w 60"/>
                <a:gd name="T1" fmla="*/ 32 h 64"/>
                <a:gd name="T2" fmla="*/ 30 w 60"/>
                <a:gd name="T3" fmla="*/ 64 h 64"/>
                <a:gd name="T4" fmla="*/ 0 w 60"/>
                <a:gd name="T5" fmla="*/ 32 h 64"/>
                <a:gd name="T6" fmla="*/ 30 w 60"/>
                <a:gd name="T7" fmla="*/ 0 h 64"/>
                <a:gd name="T8" fmla="*/ 60 w 60"/>
                <a:gd name="T9" fmla="*/ 32 h 64"/>
              </a:gdLst>
              <a:ahLst/>
              <a:cxnLst>
                <a:cxn ang="0">
                  <a:pos x="T0" y="T1"/>
                </a:cxn>
                <a:cxn ang="0">
                  <a:pos x="T2" y="T3"/>
                </a:cxn>
                <a:cxn ang="0">
                  <a:pos x="T4" y="T5"/>
                </a:cxn>
                <a:cxn ang="0">
                  <a:pos x="T6" y="T7"/>
                </a:cxn>
                <a:cxn ang="0">
                  <a:pos x="T8" y="T9"/>
                </a:cxn>
              </a:cxnLst>
              <a:rect l="0" t="0" r="r" b="b"/>
              <a:pathLst>
                <a:path w="60" h="64">
                  <a:moveTo>
                    <a:pt x="60" y="32"/>
                  </a:moveTo>
                  <a:cubicBezTo>
                    <a:pt x="40" y="38"/>
                    <a:pt x="35" y="42"/>
                    <a:pt x="30" y="64"/>
                  </a:cubicBezTo>
                  <a:cubicBezTo>
                    <a:pt x="25" y="42"/>
                    <a:pt x="20" y="38"/>
                    <a:pt x="0" y="32"/>
                  </a:cubicBezTo>
                  <a:cubicBezTo>
                    <a:pt x="20" y="26"/>
                    <a:pt x="25" y="22"/>
                    <a:pt x="30" y="0"/>
                  </a:cubicBezTo>
                  <a:cubicBezTo>
                    <a:pt x="35" y="22"/>
                    <a:pt x="40" y="26"/>
                    <a:pt x="60" y="32"/>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1554" name="Freeform 1558">
              <a:extLst>
                <a:ext uri="{FF2B5EF4-FFF2-40B4-BE49-F238E27FC236}">
                  <a16:creationId xmlns:a16="http://schemas.microsoft.com/office/drawing/2014/main" id="{764731E0-D367-4C8E-B436-458EBF50EF3E}"/>
                </a:ext>
              </a:extLst>
            </p:cNvPr>
            <p:cNvSpPr>
              <a:spLocks/>
            </p:cNvSpPr>
            <p:nvPr userDrawn="1"/>
          </p:nvSpPr>
          <p:spPr bwMode="auto">
            <a:xfrm>
              <a:off x="11168063" y="2892425"/>
              <a:ext cx="120650" cy="128588"/>
            </a:xfrm>
            <a:custGeom>
              <a:avLst/>
              <a:gdLst>
                <a:gd name="T0" fmla="*/ 61 w 61"/>
                <a:gd name="T1" fmla="*/ 33 h 65"/>
                <a:gd name="T2" fmla="*/ 31 w 61"/>
                <a:gd name="T3" fmla="*/ 65 h 65"/>
                <a:gd name="T4" fmla="*/ 0 w 61"/>
                <a:gd name="T5" fmla="*/ 33 h 65"/>
                <a:gd name="T6" fmla="*/ 31 w 61"/>
                <a:gd name="T7" fmla="*/ 0 h 65"/>
                <a:gd name="T8" fmla="*/ 61 w 61"/>
                <a:gd name="T9" fmla="*/ 33 h 65"/>
              </a:gdLst>
              <a:ahLst/>
              <a:cxnLst>
                <a:cxn ang="0">
                  <a:pos x="T0" y="T1"/>
                </a:cxn>
                <a:cxn ang="0">
                  <a:pos x="T2" y="T3"/>
                </a:cxn>
                <a:cxn ang="0">
                  <a:pos x="T4" y="T5"/>
                </a:cxn>
                <a:cxn ang="0">
                  <a:pos x="T6" y="T7"/>
                </a:cxn>
                <a:cxn ang="0">
                  <a:pos x="T8" y="T9"/>
                </a:cxn>
              </a:cxnLst>
              <a:rect l="0" t="0" r="r" b="b"/>
              <a:pathLst>
                <a:path w="61" h="65">
                  <a:moveTo>
                    <a:pt x="61" y="33"/>
                  </a:moveTo>
                  <a:cubicBezTo>
                    <a:pt x="40" y="39"/>
                    <a:pt x="36" y="43"/>
                    <a:pt x="31" y="65"/>
                  </a:cubicBezTo>
                  <a:cubicBezTo>
                    <a:pt x="25" y="43"/>
                    <a:pt x="21" y="39"/>
                    <a:pt x="0" y="33"/>
                  </a:cubicBezTo>
                  <a:cubicBezTo>
                    <a:pt x="21" y="27"/>
                    <a:pt x="25" y="22"/>
                    <a:pt x="31" y="0"/>
                  </a:cubicBezTo>
                  <a:cubicBezTo>
                    <a:pt x="36" y="22"/>
                    <a:pt x="40" y="27"/>
                    <a:pt x="61" y="33"/>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1555" name="Freeform 1559">
              <a:extLst>
                <a:ext uri="{FF2B5EF4-FFF2-40B4-BE49-F238E27FC236}">
                  <a16:creationId xmlns:a16="http://schemas.microsoft.com/office/drawing/2014/main" id="{4692537E-D759-4582-8BDD-FA9B9B33BAF7}"/>
                </a:ext>
              </a:extLst>
            </p:cNvPr>
            <p:cNvSpPr>
              <a:spLocks/>
            </p:cNvSpPr>
            <p:nvPr userDrawn="1"/>
          </p:nvSpPr>
          <p:spPr bwMode="auto">
            <a:xfrm>
              <a:off x="6559551" y="3073400"/>
              <a:ext cx="2171700" cy="1068388"/>
            </a:xfrm>
            <a:custGeom>
              <a:avLst/>
              <a:gdLst>
                <a:gd name="T0" fmla="*/ 986 w 1097"/>
                <a:gd name="T1" fmla="*/ 293 h 540"/>
                <a:gd name="T2" fmla="*/ 982 w 1097"/>
                <a:gd name="T3" fmla="*/ 293 h 540"/>
                <a:gd name="T4" fmla="*/ 829 w 1097"/>
                <a:gd name="T5" fmla="*/ 170 h 540"/>
                <a:gd name="T6" fmla="*/ 744 w 1097"/>
                <a:gd name="T7" fmla="*/ 197 h 540"/>
                <a:gd name="T8" fmla="*/ 529 w 1097"/>
                <a:gd name="T9" fmla="*/ 0 h 540"/>
                <a:gd name="T10" fmla="*/ 322 w 1097"/>
                <a:gd name="T11" fmla="*/ 164 h 540"/>
                <a:gd name="T12" fmla="*/ 283 w 1097"/>
                <a:gd name="T13" fmla="*/ 158 h 540"/>
                <a:gd name="T14" fmla="*/ 136 w 1097"/>
                <a:gd name="T15" fmla="*/ 293 h 540"/>
                <a:gd name="T16" fmla="*/ 111 w 1097"/>
                <a:gd name="T17" fmla="*/ 293 h 540"/>
                <a:gd name="T18" fmla="*/ 0 w 1097"/>
                <a:gd name="T19" fmla="*/ 412 h 540"/>
                <a:gd name="T20" fmla="*/ 0 w 1097"/>
                <a:gd name="T21" fmla="*/ 420 h 540"/>
                <a:gd name="T22" fmla="*/ 111 w 1097"/>
                <a:gd name="T23" fmla="*/ 540 h 540"/>
                <a:gd name="T24" fmla="*/ 986 w 1097"/>
                <a:gd name="T25" fmla="*/ 540 h 540"/>
                <a:gd name="T26" fmla="*/ 1097 w 1097"/>
                <a:gd name="T27" fmla="*/ 420 h 540"/>
                <a:gd name="T28" fmla="*/ 1097 w 1097"/>
                <a:gd name="T29" fmla="*/ 412 h 540"/>
                <a:gd name="T30" fmla="*/ 986 w 1097"/>
                <a:gd name="T31" fmla="*/ 293 h 5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97" h="540">
                  <a:moveTo>
                    <a:pt x="986" y="293"/>
                  </a:moveTo>
                  <a:cubicBezTo>
                    <a:pt x="982" y="293"/>
                    <a:pt x="982" y="293"/>
                    <a:pt x="982" y="293"/>
                  </a:cubicBezTo>
                  <a:cubicBezTo>
                    <a:pt x="962" y="222"/>
                    <a:pt x="902" y="170"/>
                    <a:pt x="829" y="170"/>
                  </a:cubicBezTo>
                  <a:cubicBezTo>
                    <a:pt x="798" y="170"/>
                    <a:pt x="768" y="180"/>
                    <a:pt x="744" y="197"/>
                  </a:cubicBezTo>
                  <a:cubicBezTo>
                    <a:pt x="728" y="86"/>
                    <a:pt x="638" y="0"/>
                    <a:pt x="529" y="0"/>
                  </a:cubicBezTo>
                  <a:cubicBezTo>
                    <a:pt x="432" y="0"/>
                    <a:pt x="349" y="69"/>
                    <a:pt x="322" y="164"/>
                  </a:cubicBezTo>
                  <a:cubicBezTo>
                    <a:pt x="309" y="160"/>
                    <a:pt x="296" y="158"/>
                    <a:pt x="283" y="158"/>
                  </a:cubicBezTo>
                  <a:cubicBezTo>
                    <a:pt x="209" y="158"/>
                    <a:pt x="147" y="216"/>
                    <a:pt x="136" y="293"/>
                  </a:cubicBezTo>
                  <a:cubicBezTo>
                    <a:pt x="111" y="293"/>
                    <a:pt x="111" y="293"/>
                    <a:pt x="111" y="293"/>
                  </a:cubicBezTo>
                  <a:cubicBezTo>
                    <a:pt x="50" y="293"/>
                    <a:pt x="0" y="346"/>
                    <a:pt x="0" y="412"/>
                  </a:cubicBezTo>
                  <a:cubicBezTo>
                    <a:pt x="0" y="420"/>
                    <a:pt x="0" y="420"/>
                    <a:pt x="0" y="420"/>
                  </a:cubicBezTo>
                  <a:cubicBezTo>
                    <a:pt x="0" y="486"/>
                    <a:pt x="50" y="540"/>
                    <a:pt x="111" y="540"/>
                  </a:cubicBezTo>
                  <a:cubicBezTo>
                    <a:pt x="986" y="540"/>
                    <a:pt x="986" y="540"/>
                    <a:pt x="986" y="540"/>
                  </a:cubicBezTo>
                  <a:cubicBezTo>
                    <a:pt x="1047" y="540"/>
                    <a:pt x="1097" y="486"/>
                    <a:pt x="1097" y="420"/>
                  </a:cubicBezTo>
                  <a:cubicBezTo>
                    <a:pt x="1097" y="412"/>
                    <a:pt x="1097" y="412"/>
                    <a:pt x="1097" y="412"/>
                  </a:cubicBezTo>
                  <a:cubicBezTo>
                    <a:pt x="1097" y="346"/>
                    <a:pt x="1047" y="293"/>
                    <a:pt x="986" y="293"/>
                  </a:cubicBez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1556" name="Freeform 1560">
              <a:extLst>
                <a:ext uri="{FF2B5EF4-FFF2-40B4-BE49-F238E27FC236}">
                  <a16:creationId xmlns:a16="http://schemas.microsoft.com/office/drawing/2014/main" id="{FD263907-C9AC-4E35-8944-657E14C31E02}"/>
                </a:ext>
              </a:extLst>
            </p:cNvPr>
            <p:cNvSpPr>
              <a:spLocks/>
            </p:cNvSpPr>
            <p:nvPr userDrawn="1"/>
          </p:nvSpPr>
          <p:spPr bwMode="auto">
            <a:xfrm>
              <a:off x="6586538" y="3198813"/>
              <a:ext cx="1917700" cy="942975"/>
            </a:xfrm>
            <a:custGeom>
              <a:avLst/>
              <a:gdLst>
                <a:gd name="T0" fmla="*/ 870 w 968"/>
                <a:gd name="T1" fmla="*/ 258 h 476"/>
                <a:gd name="T2" fmla="*/ 866 w 968"/>
                <a:gd name="T3" fmla="*/ 258 h 476"/>
                <a:gd name="T4" fmla="*/ 731 w 968"/>
                <a:gd name="T5" fmla="*/ 150 h 476"/>
                <a:gd name="T6" fmla="*/ 656 w 968"/>
                <a:gd name="T7" fmla="*/ 174 h 476"/>
                <a:gd name="T8" fmla="*/ 467 w 968"/>
                <a:gd name="T9" fmla="*/ 0 h 476"/>
                <a:gd name="T10" fmla="*/ 284 w 968"/>
                <a:gd name="T11" fmla="*/ 144 h 476"/>
                <a:gd name="T12" fmla="*/ 250 w 968"/>
                <a:gd name="T13" fmla="*/ 139 h 476"/>
                <a:gd name="T14" fmla="*/ 120 w 968"/>
                <a:gd name="T15" fmla="*/ 258 h 476"/>
                <a:gd name="T16" fmla="*/ 99 w 968"/>
                <a:gd name="T17" fmla="*/ 258 h 476"/>
                <a:gd name="T18" fmla="*/ 0 w 968"/>
                <a:gd name="T19" fmla="*/ 363 h 476"/>
                <a:gd name="T20" fmla="*/ 0 w 968"/>
                <a:gd name="T21" fmla="*/ 371 h 476"/>
                <a:gd name="T22" fmla="*/ 99 w 968"/>
                <a:gd name="T23" fmla="*/ 476 h 476"/>
                <a:gd name="T24" fmla="*/ 870 w 968"/>
                <a:gd name="T25" fmla="*/ 476 h 476"/>
                <a:gd name="T26" fmla="*/ 968 w 968"/>
                <a:gd name="T27" fmla="*/ 371 h 476"/>
                <a:gd name="T28" fmla="*/ 968 w 968"/>
                <a:gd name="T29" fmla="*/ 363 h 476"/>
                <a:gd name="T30" fmla="*/ 870 w 968"/>
                <a:gd name="T31" fmla="*/ 258 h 4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68" h="476">
                  <a:moveTo>
                    <a:pt x="870" y="258"/>
                  </a:moveTo>
                  <a:cubicBezTo>
                    <a:pt x="866" y="258"/>
                    <a:pt x="866" y="258"/>
                    <a:pt x="866" y="258"/>
                  </a:cubicBezTo>
                  <a:cubicBezTo>
                    <a:pt x="849" y="196"/>
                    <a:pt x="795" y="150"/>
                    <a:pt x="731" y="150"/>
                  </a:cubicBezTo>
                  <a:cubicBezTo>
                    <a:pt x="704" y="150"/>
                    <a:pt x="678" y="159"/>
                    <a:pt x="656" y="174"/>
                  </a:cubicBezTo>
                  <a:cubicBezTo>
                    <a:pt x="642" y="75"/>
                    <a:pt x="563" y="0"/>
                    <a:pt x="467" y="0"/>
                  </a:cubicBezTo>
                  <a:cubicBezTo>
                    <a:pt x="381" y="0"/>
                    <a:pt x="308" y="61"/>
                    <a:pt x="284" y="144"/>
                  </a:cubicBezTo>
                  <a:cubicBezTo>
                    <a:pt x="273" y="141"/>
                    <a:pt x="262" y="139"/>
                    <a:pt x="250" y="139"/>
                  </a:cubicBezTo>
                  <a:cubicBezTo>
                    <a:pt x="184" y="139"/>
                    <a:pt x="130" y="191"/>
                    <a:pt x="120" y="258"/>
                  </a:cubicBezTo>
                  <a:cubicBezTo>
                    <a:pt x="99" y="258"/>
                    <a:pt x="99" y="258"/>
                    <a:pt x="99" y="258"/>
                  </a:cubicBezTo>
                  <a:cubicBezTo>
                    <a:pt x="45" y="258"/>
                    <a:pt x="0" y="305"/>
                    <a:pt x="0" y="363"/>
                  </a:cubicBezTo>
                  <a:cubicBezTo>
                    <a:pt x="0" y="371"/>
                    <a:pt x="0" y="371"/>
                    <a:pt x="0" y="371"/>
                  </a:cubicBezTo>
                  <a:cubicBezTo>
                    <a:pt x="0" y="428"/>
                    <a:pt x="45" y="476"/>
                    <a:pt x="99" y="476"/>
                  </a:cubicBezTo>
                  <a:cubicBezTo>
                    <a:pt x="870" y="476"/>
                    <a:pt x="870" y="476"/>
                    <a:pt x="870" y="476"/>
                  </a:cubicBezTo>
                  <a:cubicBezTo>
                    <a:pt x="924" y="476"/>
                    <a:pt x="968" y="428"/>
                    <a:pt x="968" y="371"/>
                  </a:cubicBezTo>
                  <a:cubicBezTo>
                    <a:pt x="968" y="363"/>
                    <a:pt x="968" y="363"/>
                    <a:pt x="968" y="363"/>
                  </a:cubicBezTo>
                  <a:cubicBezTo>
                    <a:pt x="968" y="305"/>
                    <a:pt x="924" y="258"/>
                    <a:pt x="870" y="2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557" name="Freeform 1561">
              <a:extLst>
                <a:ext uri="{FF2B5EF4-FFF2-40B4-BE49-F238E27FC236}">
                  <a16:creationId xmlns:a16="http://schemas.microsoft.com/office/drawing/2014/main" id="{850B1E18-3358-4064-9939-9CF9C400ADB0}"/>
                </a:ext>
              </a:extLst>
            </p:cNvPr>
            <p:cNvSpPr>
              <a:spLocks/>
            </p:cNvSpPr>
            <p:nvPr userDrawn="1"/>
          </p:nvSpPr>
          <p:spPr bwMode="auto">
            <a:xfrm>
              <a:off x="7392988" y="3230563"/>
              <a:ext cx="511175" cy="206375"/>
            </a:xfrm>
            <a:custGeom>
              <a:avLst/>
              <a:gdLst>
                <a:gd name="T0" fmla="*/ 258 w 258"/>
                <a:gd name="T1" fmla="*/ 93 h 104"/>
                <a:gd name="T2" fmla="*/ 191 w 258"/>
                <a:gd name="T3" fmla="*/ 26 h 104"/>
                <a:gd name="T4" fmla="*/ 98 w 258"/>
                <a:gd name="T5" fmla="*/ 0 h 104"/>
                <a:gd name="T6" fmla="*/ 0 w 258"/>
                <a:gd name="T7" fmla="*/ 28 h 104"/>
                <a:gd name="T8" fmla="*/ 11 w 258"/>
                <a:gd name="T9" fmla="*/ 46 h 104"/>
                <a:gd name="T10" fmla="*/ 98 w 258"/>
                <a:gd name="T11" fmla="*/ 20 h 104"/>
                <a:gd name="T12" fmla="*/ 180 w 258"/>
                <a:gd name="T13" fmla="*/ 43 h 104"/>
                <a:gd name="T14" fmla="*/ 241 w 258"/>
                <a:gd name="T15" fmla="*/ 104 h 104"/>
                <a:gd name="T16" fmla="*/ 258 w 258"/>
                <a:gd name="T17" fmla="*/ 9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8" h="104">
                  <a:moveTo>
                    <a:pt x="258" y="93"/>
                  </a:moveTo>
                  <a:cubicBezTo>
                    <a:pt x="241" y="65"/>
                    <a:pt x="218" y="42"/>
                    <a:pt x="191" y="26"/>
                  </a:cubicBezTo>
                  <a:cubicBezTo>
                    <a:pt x="163" y="9"/>
                    <a:pt x="132" y="0"/>
                    <a:pt x="98" y="0"/>
                  </a:cubicBezTo>
                  <a:cubicBezTo>
                    <a:pt x="62" y="0"/>
                    <a:pt x="29" y="10"/>
                    <a:pt x="0" y="28"/>
                  </a:cubicBezTo>
                  <a:cubicBezTo>
                    <a:pt x="11" y="46"/>
                    <a:pt x="11" y="46"/>
                    <a:pt x="11" y="46"/>
                  </a:cubicBezTo>
                  <a:cubicBezTo>
                    <a:pt x="37" y="29"/>
                    <a:pt x="66" y="20"/>
                    <a:pt x="98" y="20"/>
                  </a:cubicBezTo>
                  <a:cubicBezTo>
                    <a:pt x="128" y="20"/>
                    <a:pt x="156" y="28"/>
                    <a:pt x="180" y="43"/>
                  </a:cubicBezTo>
                  <a:cubicBezTo>
                    <a:pt x="205" y="57"/>
                    <a:pt x="226" y="78"/>
                    <a:pt x="241" y="104"/>
                  </a:cubicBezTo>
                  <a:cubicBezTo>
                    <a:pt x="258" y="93"/>
                    <a:pt x="258" y="93"/>
                    <a:pt x="258" y="9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558" name="Freeform 1562">
              <a:extLst>
                <a:ext uri="{FF2B5EF4-FFF2-40B4-BE49-F238E27FC236}">
                  <a16:creationId xmlns:a16="http://schemas.microsoft.com/office/drawing/2014/main" id="{42D2641E-010F-4518-A1FA-76C0CBC8CAE5}"/>
                </a:ext>
              </a:extLst>
            </p:cNvPr>
            <p:cNvSpPr>
              <a:spLocks/>
            </p:cNvSpPr>
            <p:nvPr userDrawn="1"/>
          </p:nvSpPr>
          <p:spPr bwMode="auto">
            <a:xfrm>
              <a:off x="6538913" y="3052763"/>
              <a:ext cx="2214563" cy="1108075"/>
            </a:xfrm>
            <a:custGeom>
              <a:avLst/>
              <a:gdLst>
                <a:gd name="T0" fmla="*/ 996 w 1118"/>
                <a:gd name="T1" fmla="*/ 560 h 560"/>
                <a:gd name="T2" fmla="*/ 1118 w 1118"/>
                <a:gd name="T3" fmla="*/ 430 h 560"/>
                <a:gd name="T4" fmla="*/ 1082 w 1118"/>
                <a:gd name="T5" fmla="*/ 331 h 560"/>
                <a:gd name="T6" fmla="*/ 992 w 1118"/>
                <a:gd name="T7" fmla="*/ 292 h 560"/>
                <a:gd name="T8" fmla="*/ 1001 w 1118"/>
                <a:gd name="T9" fmla="*/ 300 h 560"/>
                <a:gd name="T10" fmla="*/ 839 w 1118"/>
                <a:gd name="T11" fmla="*/ 170 h 560"/>
                <a:gd name="T12" fmla="*/ 754 w 1118"/>
                <a:gd name="T13" fmla="*/ 207 h 560"/>
                <a:gd name="T14" fmla="*/ 688 w 1118"/>
                <a:gd name="T15" fmla="*/ 60 h 560"/>
                <a:gd name="T16" fmla="*/ 365 w 1118"/>
                <a:gd name="T17" fmla="*/ 87 h 560"/>
                <a:gd name="T18" fmla="*/ 322 w 1118"/>
                <a:gd name="T19" fmla="*/ 171 h 560"/>
                <a:gd name="T20" fmla="*/ 335 w 1118"/>
                <a:gd name="T21" fmla="*/ 164 h 560"/>
                <a:gd name="T22" fmla="*/ 189 w 1118"/>
                <a:gd name="T23" fmla="*/ 199 h 560"/>
                <a:gd name="T24" fmla="*/ 146 w 1118"/>
                <a:gd name="T25" fmla="*/ 303 h 560"/>
                <a:gd name="T26" fmla="*/ 121 w 1118"/>
                <a:gd name="T27" fmla="*/ 292 h 560"/>
                <a:gd name="T28" fmla="*/ 0 w 1118"/>
                <a:gd name="T29" fmla="*/ 422 h 560"/>
                <a:gd name="T30" fmla="*/ 35 w 1118"/>
                <a:gd name="T31" fmla="*/ 522 h 560"/>
                <a:gd name="T32" fmla="*/ 610 w 1118"/>
                <a:gd name="T33" fmla="*/ 560 h 560"/>
                <a:gd name="T34" fmla="*/ 121 w 1118"/>
                <a:gd name="T35" fmla="*/ 539 h 560"/>
                <a:gd name="T36" fmla="*/ 20 w 1118"/>
                <a:gd name="T37" fmla="*/ 430 h 560"/>
                <a:gd name="T38" fmla="*/ 50 w 1118"/>
                <a:gd name="T39" fmla="*/ 344 h 560"/>
                <a:gd name="T40" fmla="*/ 155 w 1118"/>
                <a:gd name="T41" fmla="*/ 313 h 560"/>
                <a:gd name="T42" fmla="*/ 203 w 1118"/>
                <a:gd name="T43" fmla="*/ 214 h 560"/>
                <a:gd name="T44" fmla="*/ 329 w 1118"/>
                <a:gd name="T45" fmla="*/ 183 h 560"/>
                <a:gd name="T46" fmla="*/ 341 w 1118"/>
                <a:gd name="T47" fmla="*/ 177 h 560"/>
                <a:gd name="T48" fmla="*/ 381 w 1118"/>
                <a:gd name="T49" fmla="*/ 99 h 560"/>
                <a:gd name="T50" fmla="*/ 674 w 1118"/>
                <a:gd name="T51" fmla="*/ 74 h 560"/>
                <a:gd name="T52" fmla="*/ 746 w 1118"/>
                <a:gd name="T53" fmla="*/ 225 h 560"/>
                <a:gd name="T54" fmla="*/ 839 w 1118"/>
                <a:gd name="T55" fmla="*/ 190 h 560"/>
                <a:gd name="T56" fmla="*/ 982 w 1118"/>
                <a:gd name="T57" fmla="*/ 305 h 560"/>
                <a:gd name="T58" fmla="*/ 996 w 1118"/>
                <a:gd name="T59" fmla="*/ 313 h 560"/>
                <a:gd name="T60" fmla="*/ 1097 w 1118"/>
                <a:gd name="T61" fmla="*/ 422 h 560"/>
                <a:gd name="T62" fmla="*/ 1067 w 1118"/>
                <a:gd name="T63" fmla="*/ 508 h 560"/>
                <a:gd name="T64" fmla="*/ 863 w 1118"/>
                <a:gd name="T65" fmla="*/ 539 h 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18" h="560">
                  <a:moveTo>
                    <a:pt x="863" y="560"/>
                  </a:moveTo>
                  <a:cubicBezTo>
                    <a:pt x="996" y="560"/>
                    <a:pt x="996" y="560"/>
                    <a:pt x="996" y="560"/>
                  </a:cubicBezTo>
                  <a:cubicBezTo>
                    <a:pt x="1030" y="560"/>
                    <a:pt x="1060" y="545"/>
                    <a:pt x="1082" y="522"/>
                  </a:cubicBezTo>
                  <a:cubicBezTo>
                    <a:pt x="1104" y="498"/>
                    <a:pt x="1118" y="466"/>
                    <a:pt x="1118" y="430"/>
                  </a:cubicBezTo>
                  <a:cubicBezTo>
                    <a:pt x="1118" y="422"/>
                    <a:pt x="1118" y="422"/>
                    <a:pt x="1118" y="422"/>
                  </a:cubicBezTo>
                  <a:cubicBezTo>
                    <a:pt x="1118" y="386"/>
                    <a:pt x="1104" y="354"/>
                    <a:pt x="1082" y="331"/>
                  </a:cubicBezTo>
                  <a:cubicBezTo>
                    <a:pt x="1060" y="307"/>
                    <a:pt x="1030" y="292"/>
                    <a:pt x="996" y="292"/>
                  </a:cubicBezTo>
                  <a:cubicBezTo>
                    <a:pt x="992" y="292"/>
                    <a:pt x="992" y="292"/>
                    <a:pt x="992" y="292"/>
                  </a:cubicBezTo>
                  <a:cubicBezTo>
                    <a:pt x="992" y="303"/>
                    <a:pt x="992" y="303"/>
                    <a:pt x="992" y="303"/>
                  </a:cubicBezTo>
                  <a:cubicBezTo>
                    <a:pt x="1001" y="300"/>
                    <a:pt x="1001" y="300"/>
                    <a:pt x="1001" y="300"/>
                  </a:cubicBezTo>
                  <a:cubicBezTo>
                    <a:pt x="991" y="263"/>
                    <a:pt x="970" y="230"/>
                    <a:pt x="942" y="207"/>
                  </a:cubicBezTo>
                  <a:cubicBezTo>
                    <a:pt x="913" y="184"/>
                    <a:pt x="878" y="170"/>
                    <a:pt x="839" y="170"/>
                  </a:cubicBezTo>
                  <a:cubicBezTo>
                    <a:pt x="806" y="170"/>
                    <a:pt x="774" y="181"/>
                    <a:pt x="748" y="199"/>
                  </a:cubicBezTo>
                  <a:cubicBezTo>
                    <a:pt x="754" y="207"/>
                    <a:pt x="754" y="207"/>
                    <a:pt x="754" y="207"/>
                  </a:cubicBezTo>
                  <a:cubicBezTo>
                    <a:pt x="764" y="206"/>
                    <a:pt x="764" y="206"/>
                    <a:pt x="764" y="206"/>
                  </a:cubicBezTo>
                  <a:cubicBezTo>
                    <a:pt x="755" y="148"/>
                    <a:pt x="728" y="96"/>
                    <a:pt x="688" y="60"/>
                  </a:cubicBezTo>
                  <a:cubicBezTo>
                    <a:pt x="648" y="23"/>
                    <a:pt x="596" y="0"/>
                    <a:pt x="539" y="0"/>
                  </a:cubicBezTo>
                  <a:cubicBezTo>
                    <a:pt x="469" y="0"/>
                    <a:pt x="407" y="34"/>
                    <a:pt x="365" y="87"/>
                  </a:cubicBezTo>
                  <a:cubicBezTo>
                    <a:pt x="356" y="98"/>
                    <a:pt x="348" y="111"/>
                    <a:pt x="341" y="125"/>
                  </a:cubicBezTo>
                  <a:cubicBezTo>
                    <a:pt x="333" y="139"/>
                    <a:pt x="327" y="155"/>
                    <a:pt x="322" y="171"/>
                  </a:cubicBezTo>
                  <a:cubicBezTo>
                    <a:pt x="332" y="174"/>
                    <a:pt x="332" y="174"/>
                    <a:pt x="332" y="174"/>
                  </a:cubicBezTo>
                  <a:cubicBezTo>
                    <a:pt x="335" y="164"/>
                    <a:pt x="335" y="164"/>
                    <a:pt x="335" y="164"/>
                  </a:cubicBezTo>
                  <a:cubicBezTo>
                    <a:pt x="321" y="160"/>
                    <a:pt x="307" y="158"/>
                    <a:pt x="293" y="158"/>
                  </a:cubicBezTo>
                  <a:cubicBezTo>
                    <a:pt x="253" y="158"/>
                    <a:pt x="217" y="174"/>
                    <a:pt x="189" y="199"/>
                  </a:cubicBezTo>
                  <a:cubicBezTo>
                    <a:pt x="161" y="225"/>
                    <a:pt x="142" y="261"/>
                    <a:pt x="136" y="301"/>
                  </a:cubicBezTo>
                  <a:cubicBezTo>
                    <a:pt x="146" y="303"/>
                    <a:pt x="146" y="303"/>
                    <a:pt x="146" y="303"/>
                  </a:cubicBezTo>
                  <a:cubicBezTo>
                    <a:pt x="146" y="292"/>
                    <a:pt x="146" y="292"/>
                    <a:pt x="146" y="292"/>
                  </a:cubicBezTo>
                  <a:cubicBezTo>
                    <a:pt x="121" y="292"/>
                    <a:pt x="121" y="292"/>
                    <a:pt x="121" y="292"/>
                  </a:cubicBezTo>
                  <a:cubicBezTo>
                    <a:pt x="88" y="292"/>
                    <a:pt x="57" y="307"/>
                    <a:pt x="35" y="331"/>
                  </a:cubicBezTo>
                  <a:cubicBezTo>
                    <a:pt x="13" y="354"/>
                    <a:pt x="0" y="386"/>
                    <a:pt x="0" y="422"/>
                  </a:cubicBezTo>
                  <a:cubicBezTo>
                    <a:pt x="0" y="430"/>
                    <a:pt x="0" y="430"/>
                    <a:pt x="0" y="430"/>
                  </a:cubicBezTo>
                  <a:cubicBezTo>
                    <a:pt x="0" y="466"/>
                    <a:pt x="13" y="498"/>
                    <a:pt x="35" y="522"/>
                  </a:cubicBezTo>
                  <a:cubicBezTo>
                    <a:pt x="57" y="545"/>
                    <a:pt x="88" y="560"/>
                    <a:pt x="121" y="560"/>
                  </a:cubicBezTo>
                  <a:cubicBezTo>
                    <a:pt x="610" y="560"/>
                    <a:pt x="610" y="560"/>
                    <a:pt x="610" y="560"/>
                  </a:cubicBezTo>
                  <a:cubicBezTo>
                    <a:pt x="610" y="539"/>
                    <a:pt x="610" y="539"/>
                    <a:pt x="610" y="539"/>
                  </a:cubicBezTo>
                  <a:cubicBezTo>
                    <a:pt x="121" y="539"/>
                    <a:pt x="121" y="539"/>
                    <a:pt x="121" y="539"/>
                  </a:cubicBezTo>
                  <a:cubicBezTo>
                    <a:pt x="94" y="539"/>
                    <a:pt x="69" y="527"/>
                    <a:pt x="50" y="508"/>
                  </a:cubicBezTo>
                  <a:cubicBezTo>
                    <a:pt x="32" y="488"/>
                    <a:pt x="20" y="461"/>
                    <a:pt x="20" y="430"/>
                  </a:cubicBezTo>
                  <a:cubicBezTo>
                    <a:pt x="20" y="422"/>
                    <a:pt x="20" y="422"/>
                    <a:pt x="20" y="422"/>
                  </a:cubicBezTo>
                  <a:cubicBezTo>
                    <a:pt x="20" y="392"/>
                    <a:pt x="32" y="364"/>
                    <a:pt x="50" y="344"/>
                  </a:cubicBezTo>
                  <a:cubicBezTo>
                    <a:pt x="69" y="325"/>
                    <a:pt x="94" y="313"/>
                    <a:pt x="121" y="313"/>
                  </a:cubicBezTo>
                  <a:cubicBezTo>
                    <a:pt x="155" y="313"/>
                    <a:pt x="155" y="313"/>
                    <a:pt x="155" y="313"/>
                  </a:cubicBezTo>
                  <a:cubicBezTo>
                    <a:pt x="156" y="304"/>
                    <a:pt x="156" y="304"/>
                    <a:pt x="156" y="304"/>
                  </a:cubicBezTo>
                  <a:cubicBezTo>
                    <a:pt x="161" y="268"/>
                    <a:pt x="178" y="237"/>
                    <a:pt x="203" y="214"/>
                  </a:cubicBezTo>
                  <a:cubicBezTo>
                    <a:pt x="227" y="192"/>
                    <a:pt x="258" y="178"/>
                    <a:pt x="293" y="178"/>
                  </a:cubicBezTo>
                  <a:cubicBezTo>
                    <a:pt x="305" y="178"/>
                    <a:pt x="317" y="180"/>
                    <a:pt x="329" y="183"/>
                  </a:cubicBezTo>
                  <a:cubicBezTo>
                    <a:pt x="339" y="186"/>
                    <a:pt x="339" y="186"/>
                    <a:pt x="339" y="186"/>
                  </a:cubicBezTo>
                  <a:cubicBezTo>
                    <a:pt x="341" y="177"/>
                    <a:pt x="341" y="177"/>
                    <a:pt x="341" y="177"/>
                  </a:cubicBezTo>
                  <a:cubicBezTo>
                    <a:pt x="346" y="162"/>
                    <a:pt x="352" y="147"/>
                    <a:pt x="359" y="134"/>
                  </a:cubicBezTo>
                  <a:cubicBezTo>
                    <a:pt x="365" y="122"/>
                    <a:pt x="373" y="110"/>
                    <a:pt x="381" y="99"/>
                  </a:cubicBezTo>
                  <a:cubicBezTo>
                    <a:pt x="419" y="51"/>
                    <a:pt x="476" y="20"/>
                    <a:pt x="539" y="20"/>
                  </a:cubicBezTo>
                  <a:cubicBezTo>
                    <a:pt x="591" y="20"/>
                    <a:pt x="638" y="41"/>
                    <a:pt x="674" y="74"/>
                  </a:cubicBezTo>
                  <a:cubicBezTo>
                    <a:pt x="711" y="108"/>
                    <a:pt x="736" y="155"/>
                    <a:pt x="744" y="209"/>
                  </a:cubicBezTo>
                  <a:cubicBezTo>
                    <a:pt x="746" y="225"/>
                    <a:pt x="746" y="225"/>
                    <a:pt x="746" y="225"/>
                  </a:cubicBezTo>
                  <a:cubicBezTo>
                    <a:pt x="759" y="215"/>
                    <a:pt x="759" y="215"/>
                    <a:pt x="759" y="215"/>
                  </a:cubicBezTo>
                  <a:cubicBezTo>
                    <a:pt x="783" y="200"/>
                    <a:pt x="810" y="190"/>
                    <a:pt x="839" y="190"/>
                  </a:cubicBezTo>
                  <a:cubicBezTo>
                    <a:pt x="873" y="190"/>
                    <a:pt x="904" y="202"/>
                    <a:pt x="929" y="223"/>
                  </a:cubicBezTo>
                  <a:cubicBezTo>
                    <a:pt x="954" y="243"/>
                    <a:pt x="973" y="272"/>
                    <a:pt x="982" y="305"/>
                  </a:cubicBezTo>
                  <a:cubicBezTo>
                    <a:pt x="984" y="313"/>
                    <a:pt x="984" y="313"/>
                    <a:pt x="984" y="313"/>
                  </a:cubicBezTo>
                  <a:cubicBezTo>
                    <a:pt x="996" y="313"/>
                    <a:pt x="996" y="313"/>
                    <a:pt x="996" y="313"/>
                  </a:cubicBezTo>
                  <a:cubicBezTo>
                    <a:pt x="1024" y="313"/>
                    <a:pt x="1049" y="325"/>
                    <a:pt x="1067" y="344"/>
                  </a:cubicBezTo>
                  <a:cubicBezTo>
                    <a:pt x="1086" y="364"/>
                    <a:pt x="1097" y="392"/>
                    <a:pt x="1097" y="422"/>
                  </a:cubicBezTo>
                  <a:cubicBezTo>
                    <a:pt x="1097" y="430"/>
                    <a:pt x="1097" y="430"/>
                    <a:pt x="1097" y="430"/>
                  </a:cubicBezTo>
                  <a:cubicBezTo>
                    <a:pt x="1097" y="461"/>
                    <a:pt x="1086" y="488"/>
                    <a:pt x="1067" y="508"/>
                  </a:cubicBezTo>
                  <a:cubicBezTo>
                    <a:pt x="1049" y="527"/>
                    <a:pt x="1024" y="539"/>
                    <a:pt x="996" y="539"/>
                  </a:cubicBezTo>
                  <a:cubicBezTo>
                    <a:pt x="863" y="539"/>
                    <a:pt x="863" y="539"/>
                    <a:pt x="863" y="539"/>
                  </a:cubicBezTo>
                  <a:cubicBezTo>
                    <a:pt x="863" y="560"/>
                    <a:pt x="863" y="560"/>
                    <a:pt x="863" y="56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559" name="Freeform 1563">
              <a:extLst>
                <a:ext uri="{FF2B5EF4-FFF2-40B4-BE49-F238E27FC236}">
                  <a16:creationId xmlns:a16="http://schemas.microsoft.com/office/drawing/2014/main" id="{6E958F21-24FC-43EA-B715-C41201D8BEAD}"/>
                </a:ext>
              </a:extLst>
            </p:cNvPr>
            <p:cNvSpPr>
              <a:spLocks/>
            </p:cNvSpPr>
            <p:nvPr userDrawn="1"/>
          </p:nvSpPr>
          <p:spPr bwMode="auto">
            <a:xfrm>
              <a:off x="7124701" y="3363913"/>
              <a:ext cx="173038" cy="184150"/>
            </a:xfrm>
            <a:custGeom>
              <a:avLst/>
              <a:gdLst>
                <a:gd name="T0" fmla="*/ 0 w 87"/>
                <a:gd name="T1" fmla="*/ 20 h 93"/>
                <a:gd name="T2" fmla="*/ 47 w 87"/>
                <a:gd name="T3" fmla="*/ 42 h 93"/>
                <a:gd name="T4" fmla="*/ 67 w 87"/>
                <a:gd name="T5" fmla="*/ 93 h 93"/>
                <a:gd name="T6" fmla="*/ 87 w 87"/>
                <a:gd name="T7" fmla="*/ 93 h 93"/>
                <a:gd name="T8" fmla="*/ 62 w 87"/>
                <a:gd name="T9" fmla="*/ 28 h 93"/>
                <a:gd name="T10" fmla="*/ 0 w 87"/>
                <a:gd name="T11" fmla="*/ 0 h 93"/>
                <a:gd name="T12" fmla="*/ 0 w 87"/>
                <a:gd name="T13" fmla="*/ 20 h 93"/>
              </a:gdLst>
              <a:ahLst/>
              <a:cxnLst>
                <a:cxn ang="0">
                  <a:pos x="T0" y="T1"/>
                </a:cxn>
                <a:cxn ang="0">
                  <a:pos x="T2" y="T3"/>
                </a:cxn>
                <a:cxn ang="0">
                  <a:pos x="T4" y="T5"/>
                </a:cxn>
                <a:cxn ang="0">
                  <a:pos x="T6" y="T7"/>
                </a:cxn>
                <a:cxn ang="0">
                  <a:pos x="T8" y="T9"/>
                </a:cxn>
                <a:cxn ang="0">
                  <a:pos x="T10" y="T11"/>
                </a:cxn>
                <a:cxn ang="0">
                  <a:pos x="T12" y="T13"/>
                </a:cxn>
              </a:cxnLst>
              <a:rect l="0" t="0" r="r" b="b"/>
              <a:pathLst>
                <a:path w="87" h="93">
                  <a:moveTo>
                    <a:pt x="0" y="20"/>
                  </a:moveTo>
                  <a:cubicBezTo>
                    <a:pt x="18" y="21"/>
                    <a:pt x="35" y="28"/>
                    <a:pt x="47" y="42"/>
                  </a:cubicBezTo>
                  <a:cubicBezTo>
                    <a:pt x="59" y="55"/>
                    <a:pt x="67" y="73"/>
                    <a:pt x="67" y="93"/>
                  </a:cubicBezTo>
                  <a:cubicBezTo>
                    <a:pt x="87" y="93"/>
                    <a:pt x="87" y="93"/>
                    <a:pt x="87" y="93"/>
                  </a:cubicBezTo>
                  <a:cubicBezTo>
                    <a:pt x="87" y="68"/>
                    <a:pt x="78" y="44"/>
                    <a:pt x="62" y="28"/>
                  </a:cubicBezTo>
                  <a:cubicBezTo>
                    <a:pt x="46" y="11"/>
                    <a:pt x="24" y="0"/>
                    <a:pt x="0" y="0"/>
                  </a:cubicBezTo>
                  <a:cubicBezTo>
                    <a:pt x="0" y="20"/>
                    <a:pt x="0" y="20"/>
                    <a:pt x="0" y="2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1560" name="Freeform 1564">
              <a:extLst>
                <a:ext uri="{FF2B5EF4-FFF2-40B4-BE49-F238E27FC236}">
                  <a16:creationId xmlns:a16="http://schemas.microsoft.com/office/drawing/2014/main" id="{5AA5A684-8088-4F9F-9552-7CE79380EE8C}"/>
                </a:ext>
              </a:extLst>
            </p:cNvPr>
            <p:cNvSpPr>
              <a:spLocks/>
            </p:cNvSpPr>
            <p:nvPr userDrawn="1"/>
          </p:nvSpPr>
          <p:spPr bwMode="auto">
            <a:xfrm>
              <a:off x="5380038" y="4356100"/>
              <a:ext cx="1547813" cy="760413"/>
            </a:xfrm>
            <a:custGeom>
              <a:avLst/>
              <a:gdLst>
                <a:gd name="T0" fmla="*/ 702 w 781"/>
                <a:gd name="T1" fmla="*/ 208 h 384"/>
                <a:gd name="T2" fmla="*/ 699 w 781"/>
                <a:gd name="T3" fmla="*/ 208 h 384"/>
                <a:gd name="T4" fmla="*/ 590 w 781"/>
                <a:gd name="T5" fmla="*/ 121 h 384"/>
                <a:gd name="T6" fmla="*/ 529 w 781"/>
                <a:gd name="T7" fmla="*/ 141 h 384"/>
                <a:gd name="T8" fmla="*/ 377 w 781"/>
                <a:gd name="T9" fmla="*/ 0 h 384"/>
                <a:gd name="T10" fmla="*/ 229 w 781"/>
                <a:gd name="T11" fmla="*/ 117 h 384"/>
                <a:gd name="T12" fmla="*/ 201 w 781"/>
                <a:gd name="T13" fmla="*/ 113 h 384"/>
                <a:gd name="T14" fmla="*/ 97 w 781"/>
                <a:gd name="T15" fmla="*/ 208 h 384"/>
                <a:gd name="T16" fmla="*/ 79 w 781"/>
                <a:gd name="T17" fmla="*/ 208 h 384"/>
                <a:gd name="T18" fmla="*/ 0 w 781"/>
                <a:gd name="T19" fmla="*/ 293 h 384"/>
                <a:gd name="T20" fmla="*/ 0 w 781"/>
                <a:gd name="T21" fmla="*/ 300 h 384"/>
                <a:gd name="T22" fmla="*/ 79 w 781"/>
                <a:gd name="T23" fmla="*/ 384 h 384"/>
                <a:gd name="T24" fmla="*/ 702 w 781"/>
                <a:gd name="T25" fmla="*/ 384 h 384"/>
                <a:gd name="T26" fmla="*/ 781 w 781"/>
                <a:gd name="T27" fmla="*/ 300 h 384"/>
                <a:gd name="T28" fmla="*/ 781 w 781"/>
                <a:gd name="T29" fmla="*/ 293 h 384"/>
                <a:gd name="T30" fmla="*/ 702 w 781"/>
                <a:gd name="T31" fmla="*/ 208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81" h="384">
                  <a:moveTo>
                    <a:pt x="702" y="208"/>
                  </a:moveTo>
                  <a:cubicBezTo>
                    <a:pt x="699" y="208"/>
                    <a:pt x="699" y="208"/>
                    <a:pt x="699" y="208"/>
                  </a:cubicBezTo>
                  <a:cubicBezTo>
                    <a:pt x="685" y="158"/>
                    <a:pt x="642" y="121"/>
                    <a:pt x="590" y="121"/>
                  </a:cubicBezTo>
                  <a:cubicBezTo>
                    <a:pt x="568" y="121"/>
                    <a:pt x="547" y="128"/>
                    <a:pt x="529" y="141"/>
                  </a:cubicBezTo>
                  <a:cubicBezTo>
                    <a:pt x="518" y="61"/>
                    <a:pt x="454" y="0"/>
                    <a:pt x="377" y="0"/>
                  </a:cubicBezTo>
                  <a:cubicBezTo>
                    <a:pt x="307" y="0"/>
                    <a:pt x="248" y="49"/>
                    <a:pt x="229" y="117"/>
                  </a:cubicBezTo>
                  <a:cubicBezTo>
                    <a:pt x="220" y="114"/>
                    <a:pt x="211" y="113"/>
                    <a:pt x="201" y="113"/>
                  </a:cubicBezTo>
                  <a:cubicBezTo>
                    <a:pt x="148" y="113"/>
                    <a:pt x="105" y="154"/>
                    <a:pt x="97" y="208"/>
                  </a:cubicBezTo>
                  <a:cubicBezTo>
                    <a:pt x="79" y="208"/>
                    <a:pt x="79" y="208"/>
                    <a:pt x="79" y="208"/>
                  </a:cubicBezTo>
                  <a:cubicBezTo>
                    <a:pt x="36" y="208"/>
                    <a:pt x="0" y="247"/>
                    <a:pt x="0" y="293"/>
                  </a:cubicBezTo>
                  <a:cubicBezTo>
                    <a:pt x="0" y="300"/>
                    <a:pt x="0" y="300"/>
                    <a:pt x="0" y="300"/>
                  </a:cubicBezTo>
                  <a:cubicBezTo>
                    <a:pt x="0" y="346"/>
                    <a:pt x="36" y="384"/>
                    <a:pt x="79" y="384"/>
                  </a:cubicBezTo>
                  <a:cubicBezTo>
                    <a:pt x="702" y="384"/>
                    <a:pt x="702" y="384"/>
                    <a:pt x="702" y="384"/>
                  </a:cubicBezTo>
                  <a:cubicBezTo>
                    <a:pt x="745" y="384"/>
                    <a:pt x="781" y="346"/>
                    <a:pt x="781" y="300"/>
                  </a:cubicBezTo>
                  <a:cubicBezTo>
                    <a:pt x="781" y="293"/>
                    <a:pt x="781" y="293"/>
                    <a:pt x="781" y="293"/>
                  </a:cubicBezTo>
                  <a:cubicBezTo>
                    <a:pt x="781" y="247"/>
                    <a:pt x="745" y="208"/>
                    <a:pt x="702" y="208"/>
                  </a:cubicBez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1561" name="Freeform 1565">
              <a:extLst>
                <a:ext uri="{FF2B5EF4-FFF2-40B4-BE49-F238E27FC236}">
                  <a16:creationId xmlns:a16="http://schemas.microsoft.com/office/drawing/2014/main" id="{DF7A5E49-C355-4B84-BAAF-8DF565C1127F}"/>
                </a:ext>
              </a:extLst>
            </p:cNvPr>
            <p:cNvSpPr>
              <a:spLocks/>
            </p:cNvSpPr>
            <p:nvPr userDrawn="1"/>
          </p:nvSpPr>
          <p:spPr bwMode="auto">
            <a:xfrm>
              <a:off x="5400676" y="4448175"/>
              <a:ext cx="1363663" cy="668338"/>
            </a:xfrm>
            <a:custGeom>
              <a:avLst/>
              <a:gdLst>
                <a:gd name="T0" fmla="*/ 619 w 689"/>
                <a:gd name="T1" fmla="*/ 183 h 338"/>
                <a:gd name="T2" fmla="*/ 616 w 689"/>
                <a:gd name="T3" fmla="*/ 183 h 338"/>
                <a:gd name="T4" fmla="*/ 520 w 689"/>
                <a:gd name="T5" fmla="*/ 107 h 338"/>
                <a:gd name="T6" fmla="*/ 467 w 689"/>
                <a:gd name="T7" fmla="*/ 123 h 338"/>
                <a:gd name="T8" fmla="*/ 332 w 689"/>
                <a:gd name="T9" fmla="*/ 0 h 338"/>
                <a:gd name="T10" fmla="*/ 202 w 689"/>
                <a:gd name="T11" fmla="*/ 102 h 338"/>
                <a:gd name="T12" fmla="*/ 178 w 689"/>
                <a:gd name="T13" fmla="*/ 99 h 338"/>
                <a:gd name="T14" fmla="*/ 85 w 689"/>
                <a:gd name="T15" fmla="*/ 183 h 338"/>
                <a:gd name="T16" fmla="*/ 70 w 689"/>
                <a:gd name="T17" fmla="*/ 183 h 338"/>
                <a:gd name="T18" fmla="*/ 0 w 689"/>
                <a:gd name="T19" fmla="*/ 258 h 338"/>
                <a:gd name="T20" fmla="*/ 0 w 689"/>
                <a:gd name="T21" fmla="*/ 264 h 338"/>
                <a:gd name="T22" fmla="*/ 70 w 689"/>
                <a:gd name="T23" fmla="*/ 338 h 338"/>
                <a:gd name="T24" fmla="*/ 619 w 689"/>
                <a:gd name="T25" fmla="*/ 338 h 338"/>
                <a:gd name="T26" fmla="*/ 689 w 689"/>
                <a:gd name="T27" fmla="*/ 264 h 338"/>
                <a:gd name="T28" fmla="*/ 689 w 689"/>
                <a:gd name="T29" fmla="*/ 258 h 338"/>
                <a:gd name="T30" fmla="*/ 619 w 689"/>
                <a:gd name="T31" fmla="*/ 183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89" h="338">
                  <a:moveTo>
                    <a:pt x="619" y="183"/>
                  </a:moveTo>
                  <a:cubicBezTo>
                    <a:pt x="616" y="183"/>
                    <a:pt x="616" y="183"/>
                    <a:pt x="616" y="183"/>
                  </a:cubicBezTo>
                  <a:cubicBezTo>
                    <a:pt x="604" y="139"/>
                    <a:pt x="566" y="107"/>
                    <a:pt x="520" y="107"/>
                  </a:cubicBezTo>
                  <a:cubicBezTo>
                    <a:pt x="501" y="107"/>
                    <a:pt x="482" y="113"/>
                    <a:pt x="467" y="123"/>
                  </a:cubicBezTo>
                  <a:cubicBezTo>
                    <a:pt x="457" y="54"/>
                    <a:pt x="400" y="0"/>
                    <a:pt x="332" y="0"/>
                  </a:cubicBezTo>
                  <a:cubicBezTo>
                    <a:pt x="271" y="0"/>
                    <a:pt x="219" y="43"/>
                    <a:pt x="202" y="102"/>
                  </a:cubicBezTo>
                  <a:cubicBezTo>
                    <a:pt x="194" y="100"/>
                    <a:pt x="186" y="99"/>
                    <a:pt x="178" y="99"/>
                  </a:cubicBezTo>
                  <a:cubicBezTo>
                    <a:pt x="131" y="99"/>
                    <a:pt x="92" y="136"/>
                    <a:pt x="85" y="183"/>
                  </a:cubicBezTo>
                  <a:cubicBezTo>
                    <a:pt x="70" y="183"/>
                    <a:pt x="70" y="183"/>
                    <a:pt x="70" y="183"/>
                  </a:cubicBezTo>
                  <a:cubicBezTo>
                    <a:pt x="32" y="183"/>
                    <a:pt x="0" y="217"/>
                    <a:pt x="0" y="258"/>
                  </a:cubicBezTo>
                  <a:cubicBezTo>
                    <a:pt x="0" y="264"/>
                    <a:pt x="0" y="264"/>
                    <a:pt x="0" y="264"/>
                  </a:cubicBezTo>
                  <a:cubicBezTo>
                    <a:pt x="0" y="305"/>
                    <a:pt x="32" y="338"/>
                    <a:pt x="70" y="338"/>
                  </a:cubicBezTo>
                  <a:cubicBezTo>
                    <a:pt x="619" y="338"/>
                    <a:pt x="619" y="338"/>
                    <a:pt x="619" y="338"/>
                  </a:cubicBezTo>
                  <a:cubicBezTo>
                    <a:pt x="657" y="338"/>
                    <a:pt x="689" y="305"/>
                    <a:pt x="689" y="264"/>
                  </a:cubicBezTo>
                  <a:cubicBezTo>
                    <a:pt x="689" y="258"/>
                    <a:pt x="689" y="258"/>
                    <a:pt x="689" y="258"/>
                  </a:cubicBezTo>
                  <a:cubicBezTo>
                    <a:pt x="689" y="217"/>
                    <a:pt x="657" y="183"/>
                    <a:pt x="619" y="18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562" name="Freeform 1566">
              <a:extLst>
                <a:ext uri="{FF2B5EF4-FFF2-40B4-BE49-F238E27FC236}">
                  <a16:creationId xmlns:a16="http://schemas.microsoft.com/office/drawing/2014/main" id="{D471ED6A-EAD4-44E5-9BA7-0CDC4464CB41}"/>
                </a:ext>
              </a:extLst>
            </p:cNvPr>
            <p:cNvSpPr>
              <a:spLocks/>
            </p:cNvSpPr>
            <p:nvPr userDrawn="1"/>
          </p:nvSpPr>
          <p:spPr bwMode="auto">
            <a:xfrm>
              <a:off x="5970588" y="4464050"/>
              <a:ext cx="373063" cy="153988"/>
            </a:xfrm>
            <a:custGeom>
              <a:avLst/>
              <a:gdLst>
                <a:gd name="T0" fmla="*/ 188 w 188"/>
                <a:gd name="T1" fmla="*/ 68 h 78"/>
                <a:gd name="T2" fmla="*/ 139 w 188"/>
                <a:gd name="T3" fmla="*/ 19 h 78"/>
                <a:gd name="T4" fmla="*/ 71 w 188"/>
                <a:gd name="T5" fmla="*/ 0 h 78"/>
                <a:gd name="T6" fmla="*/ 0 w 188"/>
                <a:gd name="T7" fmla="*/ 21 h 78"/>
                <a:gd name="T8" fmla="*/ 11 w 188"/>
                <a:gd name="T9" fmla="*/ 38 h 78"/>
                <a:gd name="T10" fmla="*/ 71 w 188"/>
                <a:gd name="T11" fmla="*/ 20 h 78"/>
                <a:gd name="T12" fmla="*/ 129 w 188"/>
                <a:gd name="T13" fmla="*/ 36 h 78"/>
                <a:gd name="T14" fmla="*/ 171 w 188"/>
                <a:gd name="T15" fmla="*/ 78 h 78"/>
                <a:gd name="T16" fmla="*/ 188 w 188"/>
                <a:gd name="T17" fmla="*/ 6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8" h="78">
                  <a:moveTo>
                    <a:pt x="188" y="68"/>
                  </a:moveTo>
                  <a:cubicBezTo>
                    <a:pt x="176" y="48"/>
                    <a:pt x="159" y="31"/>
                    <a:pt x="139" y="19"/>
                  </a:cubicBezTo>
                  <a:cubicBezTo>
                    <a:pt x="119" y="7"/>
                    <a:pt x="96" y="0"/>
                    <a:pt x="71" y="0"/>
                  </a:cubicBezTo>
                  <a:cubicBezTo>
                    <a:pt x="45" y="0"/>
                    <a:pt x="21" y="8"/>
                    <a:pt x="0" y="21"/>
                  </a:cubicBezTo>
                  <a:cubicBezTo>
                    <a:pt x="11" y="38"/>
                    <a:pt x="11" y="38"/>
                    <a:pt x="11" y="38"/>
                  </a:cubicBezTo>
                  <a:cubicBezTo>
                    <a:pt x="29" y="27"/>
                    <a:pt x="49" y="20"/>
                    <a:pt x="71" y="20"/>
                  </a:cubicBezTo>
                  <a:cubicBezTo>
                    <a:pt x="92" y="20"/>
                    <a:pt x="112" y="26"/>
                    <a:pt x="129" y="36"/>
                  </a:cubicBezTo>
                  <a:cubicBezTo>
                    <a:pt x="146" y="46"/>
                    <a:pt x="160" y="61"/>
                    <a:pt x="171" y="78"/>
                  </a:cubicBezTo>
                  <a:cubicBezTo>
                    <a:pt x="188" y="68"/>
                    <a:pt x="188" y="68"/>
                    <a:pt x="188" y="68"/>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1563" name="Freeform 1567">
              <a:extLst>
                <a:ext uri="{FF2B5EF4-FFF2-40B4-BE49-F238E27FC236}">
                  <a16:creationId xmlns:a16="http://schemas.microsoft.com/office/drawing/2014/main" id="{D15D5C4F-C473-467F-8661-6FD5C56F34FB}"/>
                </a:ext>
              </a:extLst>
            </p:cNvPr>
            <p:cNvSpPr>
              <a:spLocks/>
            </p:cNvSpPr>
            <p:nvPr userDrawn="1"/>
          </p:nvSpPr>
          <p:spPr bwMode="auto">
            <a:xfrm>
              <a:off x="5360988" y="4337050"/>
              <a:ext cx="1585913" cy="798513"/>
            </a:xfrm>
            <a:custGeom>
              <a:avLst/>
              <a:gdLst>
                <a:gd name="T0" fmla="*/ 712 w 801"/>
                <a:gd name="T1" fmla="*/ 404 h 404"/>
                <a:gd name="T2" fmla="*/ 801 w 801"/>
                <a:gd name="T3" fmla="*/ 310 h 404"/>
                <a:gd name="T4" fmla="*/ 775 w 801"/>
                <a:gd name="T5" fmla="*/ 236 h 404"/>
                <a:gd name="T6" fmla="*/ 709 w 801"/>
                <a:gd name="T7" fmla="*/ 208 h 404"/>
                <a:gd name="T8" fmla="*/ 718 w 801"/>
                <a:gd name="T9" fmla="*/ 216 h 404"/>
                <a:gd name="T10" fmla="*/ 600 w 801"/>
                <a:gd name="T11" fmla="*/ 121 h 404"/>
                <a:gd name="T12" fmla="*/ 539 w 801"/>
                <a:gd name="T13" fmla="*/ 151 h 404"/>
                <a:gd name="T14" fmla="*/ 495 w 801"/>
                <a:gd name="T15" fmla="*/ 43 h 404"/>
                <a:gd name="T16" fmla="*/ 260 w 801"/>
                <a:gd name="T17" fmla="*/ 63 h 404"/>
                <a:gd name="T18" fmla="*/ 229 w 801"/>
                <a:gd name="T19" fmla="*/ 124 h 404"/>
                <a:gd name="T20" fmla="*/ 242 w 801"/>
                <a:gd name="T21" fmla="*/ 117 h 404"/>
                <a:gd name="T22" fmla="*/ 135 w 801"/>
                <a:gd name="T23" fmla="*/ 143 h 404"/>
                <a:gd name="T24" fmla="*/ 107 w 801"/>
                <a:gd name="T25" fmla="*/ 218 h 404"/>
                <a:gd name="T26" fmla="*/ 89 w 801"/>
                <a:gd name="T27" fmla="*/ 208 h 404"/>
                <a:gd name="T28" fmla="*/ 0 w 801"/>
                <a:gd name="T29" fmla="*/ 303 h 404"/>
                <a:gd name="T30" fmla="*/ 26 w 801"/>
                <a:gd name="T31" fmla="*/ 376 h 404"/>
                <a:gd name="T32" fmla="*/ 343 w 801"/>
                <a:gd name="T33" fmla="*/ 404 h 404"/>
                <a:gd name="T34" fmla="*/ 89 w 801"/>
                <a:gd name="T35" fmla="*/ 384 h 404"/>
                <a:gd name="T36" fmla="*/ 20 w 801"/>
                <a:gd name="T37" fmla="*/ 310 h 404"/>
                <a:gd name="T38" fmla="*/ 41 w 801"/>
                <a:gd name="T39" fmla="*/ 250 h 404"/>
                <a:gd name="T40" fmla="*/ 115 w 801"/>
                <a:gd name="T41" fmla="*/ 229 h 404"/>
                <a:gd name="T42" fmla="*/ 149 w 801"/>
                <a:gd name="T43" fmla="*/ 158 h 404"/>
                <a:gd name="T44" fmla="*/ 236 w 801"/>
                <a:gd name="T45" fmla="*/ 136 h 404"/>
                <a:gd name="T46" fmla="*/ 249 w 801"/>
                <a:gd name="T47" fmla="*/ 130 h 404"/>
                <a:gd name="T48" fmla="*/ 276 w 801"/>
                <a:gd name="T49" fmla="*/ 76 h 404"/>
                <a:gd name="T50" fmla="*/ 481 w 801"/>
                <a:gd name="T51" fmla="*/ 58 h 404"/>
                <a:gd name="T52" fmla="*/ 532 w 801"/>
                <a:gd name="T53" fmla="*/ 168 h 404"/>
                <a:gd name="T54" fmla="*/ 600 w 801"/>
                <a:gd name="T55" fmla="*/ 141 h 404"/>
                <a:gd name="T56" fmla="*/ 699 w 801"/>
                <a:gd name="T57" fmla="*/ 221 h 404"/>
                <a:gd name="T58" fmla="*/ 712 w 801"/>
                <a:gd name="T59" fmla="*/ 229 h 404"/>
                <a:gd name="T60" fmla="*/ 781 w 801"/>
                <a:gd name="T61" fmla="*/ 303 h 404"/>
                <a:gd name="T62" fmla="*/ 760 w 801"/>
                <a:gd name="T63" fmla="*/ 363 h 404"/>
                <a:gd name="T64" fmla="*/ 617 w 801"/>
                <a:gd name="T65" fmla="*/ 384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01" h="404">
                  <a:moveTo>
                    <a:pt x="617" y="404"/>
                  </a:moveTo>
                  <a:cubicBezTo>
                    <a:pt x="712" y="404"/>
                    <a:pt x="712" y="404"/>
                    <a:pt x="712" y="404"/>
                  </a:cubicBezTo>
                  <a:cubicBezTo>
                    <a:pt x="737" y="404"/>
                    <a:pt x="759" y="394"/>
                    <a:pt x="775" y="376"/>
                  </a:cubicBezTo>
                  <a:cubicBezTo>
                    <a:pt x="791" y="359"/>
                    <a:pt x="801" y="335"/>
                    <a:pt x="801" y="310"/>
                  </a:cubicBezTo>
                  <a:cubicBezTo>
                    <a:pt x="801" y="303"/>
                    <a:pt x="801" y="303"/>
                    <a:pt x="801" y="303"/>
                  </a:cubicBezTo>
                  <a:cubicBezTo>
                    <a:pt x="801" y="277"/>
                    <a:pt x="791" y="254"/>
                    <a:pt x="775" y="236"/>
                  </a:cubicBezTo>
                  <a:cubicBezTo>
                    <a:pt x="759" y="219"/>
                    <a:pt x="737" y="208"/>
                    <a:pt x="712" y="208"/>
                  </a:cubicBezTo>
                  <a:cubicBezTo>
                    <a:pt x="709" y="208"/>
                    <a:pt x="709" y="208"/>
                    <a:pt x="709" y="208"/>
                  </a:cubicBezTo>
                  <a:cubicBezTo>
                    <a:pt x="709" y="218"/>
                    <a:pt x="709" y="218"/>
                    <a:pt x="709" y="218"/>
                  </a:cubicBezTo>
                  <a:cubicBezTo>
                    <a:pt x="718" y="216"/>
                    <a:pt x="718" y="216"/>
                    <a:pt x="718" y="216"/>
                  </a:cubicBezTo>
                  <a:cubicBezTo>
                    <a:pt x="711" y="189"/>
                    <a:pt x="696" y="165"/>
                    <a:pt x="675" y="148"/>
                  </a:cubicBezTo>
                  <a:cubicBezTo>
                    <a:pt x="654" y="131"/>
                    <a:pt x="628" y="121"/>
                    <a:pt x="600" y="121"/>
                  </a:cubicBezTo>
                  <a:cubicBezTo>
                    <a:pt x="576" y="121"/>
                    <a:pt x="553" y="129"/>
                    <a:pt x="534" y="142"/>
                  </a:cubicBezTo>
                  <a:cubicBezTo>
                    <a:pt x="539" y="151"/>
                    <a:pt x="539" y="151"/>
                    <a:pt x="539" y="151"/>
                  </a:cubicBezTo>
                  <a:cubicBezTo>
                    <a:pt x="549" y="149"/>
                    <a:pt x="549" y="149"/>
                    <a:pt x="549" y="149"/>
                  </a:cubicBezTo>
                  <a:cubicBezTo>
                    <a:pt x="543" y="107"/>
                    <a:pt x="523" y="70"/>
                    <a:pt x="495" y="43"/>
                  </a:cubicBezTo>
                  <a:cubicBezTo>
                    <a:pt x="466" y="17"/>
                    <a:pt x="428" y="0"/>
                    <a:pt x="387" y="0"/>
                  </a:cubicBezTo>
                  <a:cubicBezTo>
                    <a:pt x="336" y="0"/>
                    <a:pt x="290" y="25"/>
                    <a:pt x="260" y="63"/>
                  </a:cubicBezTo>
                  <a:cubicBezTo>
                    <a:pt x="254" y="72"/>
                    <a:pt x="248" y="81"/>
                    <a:pt x="243" y="90"/>
                  </a:cubicBezTo>
                  <a:cubicBezTo>
                    <a:pt x="237" y="101"/>
                    <a:pt x="233" y="112"/>
                    <a:pt x="229" y="124"/>
                  </a:cubicBezTo>
                  <a:cubicBezTo>
                    <a:pt x="239" y="127"/>
                    <a:pt x="239" y="127"/>
                    <a:pt x="239" y="127"/>
                  </a:cubicBezTo>
                  <a:cubicBezTo>
                    <a:pt x="242" y="117"/>
                    <a:pt x="242" y="117"/>
                    <a:pt x="242" y="117"/>
                  </a:cubicBezTo>
                  <a:cubicBezTo>
                    <a:pt x="232" y="114"/>
                    <a:pt x="222" y="113"/>
                    <a:pt x="211" y="113"/>
                  </a:cubicBezTo>
                  <a:cubicBezTo>
                    <a:pt x="182" y="113"/>
                    <a:pt x="155" y="124"/>
                    <a:pt x="135" y="143"/>
                  </a:cubicBezTo>
                  <a:cubicBezTo>
                    <a:pt x="115" y="162"/>
                    <a:pt x="101" y="188"/>
                    <a:pt x="97" y="217"/>
                  </a:cubicBezTo>
                  <a:cubicBezTo>
                    <a:pt x="107" y="218"/>
                    <a:pt x="107" y="218"/>
                    <a:pt x="107" y="218"/>
                  </a:cubicBezTo>
                  <a:cubicBezTo>
                    <a:pt x="107" y="208"/>
                    <a:pt x="107" y="208"/>
                    <a:pt x="107" y="208"/>
                  </a:cubicBezTo>
                  <a:cubicBezTo>
                    <a:pt x="89" y="208"/>
                    <a:pt x="89" y="208"/>
                    <a:pt x="89" y="208"/>
                  </a:cubicBezTo>
                  <a:cubicBezTo>
                    <a:pt x="64" y="208"/>
                    <a:pt x="42" y="219"/>
                    <a:pt x="26" y="236"/>
                  </a:cubicBezTo>
                  <a:cubicBezTo>
                    <a:pt x="10" y="254"/>
                    <a:pt x="0" y="277"/>
                    <a:pt x="0" y="303"/>
                  </a:cubicBezTo>
                  <a:cubicBezTo>
                    <a:pt x="0" y="310"/>
                    <a:pt x="0" y="310"/>
                    <a:pt x="0" y="310"/>
                  </a:cubicBezTo>
                  <a:cubicBezTo>
                    <a:pt x="0" y="335"/>
                    <a:pt x="10" y="359"/>
                    <a:pt x="26" y="376"/>
                  </a:cubicBezTo>
                  <a:cubicBezTo>
                    <a:pt x="42" y="394"/>
                    <a:pt x="64" y="404"/>
                    <a:pt x="89" y="404"/>
                  </a:cubicBezTo>
                  <a:cubicBezTo>
                    <a:pt x="343" y="404"/>
                    <a:pt x="343" y="404"/>
                    <a:pt x="343" y="404"/>
                  </a:cubicBezTo>
                  <a:cubicBezTo>
                    <a:pt x="343" y="384"/>
                    <a:pt x="343" y="384"/>
                    <a:pt x="343" y="384"/>
                  </a:cubicBezTo>
                  <a:cubicBezTo>
                    <a:pt x="89" y="384"/>
                    <a:pt x="89" y="384"/>
                    <a:pt x="89" y="384"/>
                  </a:cubicBezTo>
                  <a:cubicBezTo>
                    <a:pt x="70" y="384"/>
                    <a:pt x="53" y="376"/>
                    <a:pt x="41" y="363"/>
                  </a:cubicBezTo>
                  <a:cubicBezTo>
                    <a:pt x="28" y="349"/>
                    <a:pt x="20" y="330"/>
                    <a:pt x="20" y="310"/>
                  </a:cubicBezTo>
                  <a:cubicBezTo>
                    <a:pt x="20" y="303"/>
                    <a:pt x="20" y="303"/>
                    <a:pt x="20" y="303"/>
                  </a:cubicBezTo>
                  <a:cubicBezTo>
                    <a:pt x="20" y="283"/>
                    <a:pt x="28" y="264"/>
                    <a:pt x="41" y="250"/>
                  </a:cubicBezTo>
                  <a:cubicBezTo>
                    <a:pt x="53" y="237"/>
                    <a:pt x="70" y="229"/>
                    <a:pt x="89" y="229"/>
                  </a:cubicBezTo>
                  <a:cubicBezTo>
                    <a:pt x="115" y="229"/>
                    <a:pt x="115" y="229"/>
                    <a:pt x="115" y="229"/>
                  </a:cubicBezTo>
                  <a:cubicBezTo>
                    <a:pt x="117" y="220"/>
                    <a:pt x="117" y="220"/>
                    <a:pt x="117" y="220"/>
                  </a:cubicBezTo>
                  <a:cubicBezTo>
                    <a:pt x="120" y="195"/>
                    <a:pt x="132" y="173"/>
                    <a:pt x="149" y="158"/>
                  </a:cubicBezTo>
                  <a:cubicBezTo>
                    <a:pt x="166" y="142"/>
                    <a:pt x="188" y="133"/>
                    <a:pt x="211" y="133"/>
                  </a:cubicBezTo>
                  <a:cubicBezTo>
                    <a:pt x="220" y="133"/>
                    <a:pt x="228" y="134"/>
                    <a:pt x="236" y="136"/>
                  </a:cubicBezTo>
                  <a:cubicBezTo>
                    <a:pt x="246" y="139"/>
                    <a:pt x="246" y="139"/>
                    <a:pt x="246" y="139"/>
                  </a:cubicBezTo>
                  <a:cubicBezTo>
                    <a:pt x="249" y="130"/>
                    <a:pt x="249" y="130"/>
                    <a:pt x="249" y="130"/>
                  </a:cubicBezTo>
                  <a:cubicBezTo>
                    <a:pt x="252" y="119"/>
                    <a:pt x="256" y="109"/>
                    <a:pt x="261" y="100"/>
                  </a:cubicBezTo>
                  <a:cubicBezTo>
                    <a:pt x="265" y="91"/>
                    <a:pt x="270" y="83"/>
                    <a:pt x="276" y="76"/>
                  </a:cubicBezTo>
                  <a:cubicBezTo>
                    <a:pt x="303" y="42"/>
                    <a:pt x="342" y="21"/>
                    <a:pt x="387" y="21"/>
                  </a:cubicBezTo>
                  <a:cubicBezTo>
                    <a:pt x="423" y="21"/>
                    <a:pt x="455" y="35"/>
                    <a:pt x="481" y="58"/>
                  </a:cubicBezTo>
                  <a:cubicBezTo>
                    <a:pt x="506" y="82"/>
                    <a:pt x="524" y="115"/>
                    <a:pt x="529" y="152"/>
                  </a:cubicBezTo>
                  <a:cubicBezTo>
                    <a:pt x="532" y="168"/>
                    <a:pt x="532" y="168"/>
                    <a:pt x="532" y="168"/>
                  </a:cubicBezTo>
                  <a:cubicBezTo>
                    <a:pt x="545" y="159"/>
                    <a:pt x="545" y="159"/>
                    <a:pt x="545" y="159"/>
                  </a:cubicBezTo>
                  <a:cubicBezTo>
                    <a:pt x="561" y="148"/>
                    <a:pt x="580" y="142"/>
                    <a:pt x="600" y="141"/>
                  </a:cubicBezTo>
                  <a:cubicBezTo>
                    <a:pt x="623" y="142"/>
                    <a:pt x="645" y="150"/>
                    <a:pt x="662" y="164"/>
                  </a:cubicBezTo>
                  <a:cubicBezTo>
                    <a:pt x="679" y="178"/>
                    <a:pt x="693" y="198"/>
                    <a:pt x="699" y="221"/>
                  </a:cubicBezTo>
                  <a:cubicBezTo>
                    <a:pt x="701" y="229"/>
                    <a:pt x="701" y="229"/>
                    <a:pt x="701" y="229"/>
                  </a:cubicBezTo>
                  <a:cubicBezTo>
                    <a:pt x="712" y="229"/>
                    <a:pt x="712" y="229"/>
                    <a:pt x="712" y="229"/>
                  </a:cubicBezTo>
                  <a:cubicBezTo>
                    <a:pt x="731" y="229"/>
                    <a:pt x="748" y="237"/>
                    <a:pt x="760" y="250"/>
                  </a:cubicBezTo>
                  <a:cubicBezTo>
                    <a:pt x="773" y="264"/>
                    <a:pt x="781" y="283"/>
                    <a:pt x="781" y="303"/>
                  </a:cubicBezTo>
                  <a:cubicBezTo>
                    <a:pt x="781" y="310"/>
                    <a:pt x="781" y="310"/>
                    <a:pt x="781" y="310"/>
                  </a:cubicBezTo>
                  <a:cubicBezTo>
                    <a:pt x="781" y="330"/>
                    <a:pt x="773" y="349"/>
                    <a:pt x="760" y="363"/>
                  </a:cubicBezTo>
                  <a:cubicBezTo>
                    <a:pt x="748" y="376"/>
                    <a:pt x="731" y="384"/>
                    <a:pt x="712" y="384"/>
                  </a:cubicBezTo>
                  <a:cubicBezTo>
                    <a:pt x="617" y="384"/>
                    <a:pt x="617" y="384"/>
                    <a:pt x="617" y="384"/>
                  </a:cubicBezTo>
                  <a:cubicBezTo>
                    <a:pt x="617" y="404"/>
                    <a:pt x="617" y="404"/>
                    <a:pt x="617" y="404"/>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1564" name="Freeform 1568">
              <a:extLst>
                <a:ext uri="{FF2B5EF4-FFF2-40B4-BE49-F238E27FC236}">
                  <a16:creationId xmlns:a16="http://schemas.microsoft.com/office/drawing/2014/main" id="{42011AAB-7D18-4C8A-9BAB-BD4CAE69BAD5}"/>
                </a:ext>
              </a:extLst>
            </p:cNvPr>
            <p:cNvSpPr>
              <a:spLocks/>
            </p:cNvSpPr>
            <p:nvPr userDrawn="1"/>
          </p:nvSpPr>
          <p:spPr bwMode="auto">
            <a:xfrm>
              <a:off x="5783263" y="4559300"/>
              <a:ext cx="128588" cy="134938"/>
            </a:xfrm>
            <a:custGeom>
              <a:avLst/>
              <a:gdLst>
                <a:gd name="T0" fmla="*/ 0 w 65"/>
                <a:gd name="T1" fmla="*/ 20 h 69"/>
                <a:gd name="T2" fmla="*/ 32 w 65"/>
                <a:gd name="T3" fmla="*/ 34 h 69"/>
                <a:gd name="T4" fmla="*/ 45 w 65"/>
                <a:gd name="T5" fmla="*/ 69 h 69"/>
                <a:gd name="T6" fmla="*/ 65 w 65"/>
                <a:gd name="T7" fmla="*/ 69 h 69"/>
                <a:gd name="T8" fmla="*/ 47 w 65"/>
                <a:gd name="T9" fmla="*/ 21 h 69"/>
                <a:gd name="T10" fmla="*/ 0 w 65"/>
                <a:gd name="T11" fmla="*/ 0 h 69"/>
                <a:gd name="T12" fmla="*/ 0 w 65"/>
                <a:gd name="T13" fmla="*/ 20 h 69"/>
              </a:gdLst>
              <a:ahLst/>
              <a:cxnLst>
                <a:cxn ang="0">
                  <a:pos x="T0" y="T1"/>
                </a:cxn>
                <a:cxn ang="0">
                  <a:pos x="T2" y="T3"/>
                </a:cxn>
                <a:cxn ang="0">
                  <a:pos x="T4" y="T5"/>
                </a:cxn>
                <a:cxn ang="0">
                  <a:pos x="T6" y="T7"/>
                </a:cxn>
                <a:cxn ang="0">
                  <a:pos x="T8" y="T9"/>
                </a:cxn>
                <a:cxn ang="0">
                  <a:pos x="T10" y="T11"/>
                </a:cxn>
                <a:cxn ang="0">
                  <a:pos x="T12" y="T13"/>
                </a:cxn>
              </a:cxnLst>
              <a:rect l="0" t="0" r="r" b="b"/>
              <a:pathLst>
                <a:path w="65" h="69">
                  <a:moveTo>
                    <a:pt x="0" y="20"/>
                  </a:moveTo>
                  <a:cubicBezTo>
                    <a:pt x="13" y="20"/>
                    <a:pt x="24" y="26"/>
                    <a:pt x="32" y="34"/>
                  </a:cubicBezTo>
                  <a:cubicBezTo>
                    <a:pt x="40" y="43"/>
                    <a:pt x="45" y="55"/>
                    <a:pt x="45" y="69"/>
                  </a:cubicBezTo>
                  <a:cubicBezTo>
                    <a:pt x="65" y="69"/>
                    <a:pt x="65" y="69"/>
                    <a:pt x="65" y="69"/>
                  </a:cubicBezTo>
                  <a:cubicBezTo>
                    <a:pt x="65" y="50"/>
                    <a:pt x="58" y="33"/>
                    <a:pt x="47" y="21"/>
                  </a:cubicBezTo>
                  <a:cubicBezTo>
                    <a:pt x="35" y="8"/>
                    <a:pt x="18" y="0"/>
                    <a:pt x="0" y="0"/>
                  </a:cubicBezTo>
                  <a:cubicBezTo>
                    <a:pt x="0" y="20"/>
                    <a:pt x="0" y="20"/>
                    <a:pt x="0" y="2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1565" name="Freeform 1569">
              <a:extLst>
                <a:ext uri="{FF2B5EF4-FFF2-40B4-BE49-F238E27FC236}">
                  <a16:creationId xmlns:a16="http://schemas.microsoft.com/office/drawing/2014/main" id="{1AFD3BD8-B9DE-4F0C-8959-C0DC8E20C948}"/>
                </a:ext>
              </a:extLst>
            </p:cNvPr>
            <p:cNvSpPr>
              <a:spLocks/>
            </p:cNvSpPr>
            <p:nvPr userDrawn="1"/>
          </p:nvSpPr>
          <p:spPr bwMode="auto">
            <a:xfrm>
              <a:off x="8802688" y="2251075"/>
              <a:ext cx="1882775" cy="923925"/>
            </a:xfrm>
            <a:custGeom>
              <a:avLst/>
              <a:gdLst>
                <a:gd name="T0" fmla="*/ 854 w 951"/>
                <a:gd name="T1" fmla="*/ 253 h 467"/>
                <a:gd name="T2" fmla="*/ 850 w 951"/>
                <a:gd name="T3" fmla="*/ 253 h 467"/>
                <a:gd name="T4" fmla="*/ 718 w 951"/>
                <a:gd name="T5" fmla="*/ 147 h 467"/>
                <a:gd name="T6" fmla="*/ 644 w 951"/>
                <a:gd name="T7" fmla="*/ 170 h 467"/>
                <a:gd name="T8" fmla="*/ 458 w 951"/>
                <a:gd name="T9" fmla="*/ 0 h 467"/>
                <a:gd name="T10" fmla="*/ 278 w 951"/>
                <a:gd name="T11" fmla="*/ 141 h 467"/>
                <a:gd name="T12" fmla="*/ 245 w 951"/>
                <a:gd name="T13" fmla="*/ 136 h 467"/>
                <a:gd name="T14" fmla="*/ 117 w 951"/>
                <a:gd name="T15" fmla="*/ 253 h 467"/>
                <a:gd name="T16" fmla="*/ 96 w 951"/>
                <a:gd name="T17" fmla="*/ 253 h 467"/>
                <a:gd name="T18" fmla="*/ 0 w 951"/>
                <a:gd name="T19" fmla="*/ 356 h 467"/>
                <a:gd name="T20" fmla="*/ 0 w 951"/>
                <a:gd name="T21" fmla="*/ 364 h 467"/>
                <a:gd name="T22" fmla="*/ 96 w 951"/>
                <a:gd name="T23" fmla="*/ 467 h 467"/>
                <a:gd name="T24" fmla="*/ 854 w 951"/>
                <a:gd name="T25" fmla="*/ 467 h 467"/>
                <a:gd name="T26" fmla="*/ 951 w 951"/>
                <a:gd name="T27" fmla="*/ 364 h 467"/>
                <a:gd name="T28" fmla="*/ 951 w 951"/>
                <a:gd name="T29" fmla="*/ 356 h 467"/>
                <a:gd name="T30" fmla="*/ 854 w 951"/>
                <a:gd name="T31" fmla="*/ 253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51" h="467">
                  <a:moveTo>
                    <a:pt x="854" y="253"/>
                  </a:moveTo>
                  <a:cubicBezTo>
                    <a:pt x="850" y="253"/>
                    <a:pt x="850" y="253"/>
                    <a:pt x="850" y="253"/>
                  </a:cubicBezTo>
                  <a:cubicBezTo>
                    <a:pt x="834" y="192"/>
                    <a:pt x="781" y="147"/>
                    <a:pt x="718" y="147"/>
                  </a:cubicBezTo>
                  <a:cubicBezTo>
                    <a:pt x="691" y="147"/>
                    <a:pt x="666" y="156"/>
                    <a:pt x="644" y="170"/>
                  </a:cubicBezTo>
                  <a:cubicBezTo>
                    <a:pt x="630" y="74"/>
                    <a:pt x="552" y="0"/>
                    <a:pt x="458" y="0"/>
                  </a:cubicBezTo>
                  <a:cubicBezTo>
                    <a:pt x="374" y="0"/>
                    <a:pt x="302" y="59"/>
                    <a:pt x="278" y="141"/>
                  </a:cubicBezTo>
                  <a:cubicBezTo>
                    <a:pt x="268" y="138"/>
                    <a:pt x="257" y="136"/>
                    <a:pt x="245" y="136"/>
                  </a:cubicBezTo>
                  <a:cubicBezTo>
                    <a:pt x="180" y="136"/>
                    <a:pt x="127" y="187"/>
                    <a:pt x="117" y="253"/>
                  </a:cubicBezTo>
                  <a:cubicBezTo>
                    <a:pt x="96" y="253"/>
                    <a:pt x="96" y="253"/>
                    <a:pt x="96" y="253"/>
                  </a:cubicBezTo>
                  <a:cubicBezTo>
                    <a:pt x="43" y="253"/>
                    <a:pt x="0" y="299"/>
                    <a:pt x="0" y="356"/>
                  </a:cubicBezTo>
                  <a:cubicBezTo>
                    <a:pt x="0" y="364"/>
                    <a:pt x="0" y="364"/>
                    <a:pt x="0" y="364"/>
                  </a:cubicBezTo>
                  <a:cubicBezTo>
                    <a:pt x="0" y="421"/>
                    <a:pt x="43" y="467"/>
                    <a:pt x="96" y="467"/>
                  </a:cubicBezTo>
                  <a:cubicBezTo>
                    <a:pt x="854" y="467"/>
                    <a:pt x="854" y="467"/>
                    <a:pt x="854" y="467"/>
                  </a:cubicBezTo>
                  <a:cubicBezTo>
                    <a:pt x="907" y="467"/>
                    <a:pt x="951" y="421"/>
                    <a:pt x="951" y="364"/>
                  </a:cubicBezTo>
                  <a:cubicBezTo>
                    <a:pt x="951" y="356"/>
                    <a:pt x="951" y="356"/>
                    <a:pt x="951" y="356"/>
                  </a:cubicBezTo>
                  <a:cubicBezTo>
                    <a:pt x="951" y="299"/>
                    <a:pt x="907" y="253"/>
                    <a:pt x="854" y="25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dirty="0"/>
            </a:p>
          </p:txBody>
        </p:sp>
        <p:sp>
          <p:nvSpPr>
            <p:cNvPr id="11566" name="Freeform 1570">
              <a:extLst>
                <a:ext uri="{FF2B5EF4-FFF2-40B4-BE49-F238E27FC236}">
                  <a16:creationId xmlns:a16="http://schemas.microsoft.com/office/drawing/2014/main" id="{816A8E5B-341A-4BAC-BF80-6D3BDBEE7D16}"/>
                </a:ext>
              </a:extLst>
            </p:cNvPr>
            <p:cNvSpPr>
              <a:spLocks/>
            </p:cNvSpPr>
            <p:nvPr userDrawn="1"/>
          </p:nvSpPr>
          <p:spPr bwMode="auto">
            <a:xfrm>
              <a:off x="8782051" y="2232025"/>
              <a:ext cx="1924050" cy="963613"/>
            </a:xfrm>
            <a:custGeom>
              <a:avLst/>
              <a:gdLst>
                <a:gd name="T0" fmla="*/ 864 w 971"/>
                <a:gd name="T1" fmla="*/ 487 h 487"/>
                <a:gd name="T2" fmla="*/ 971 w 971"/>
                <a:gd name="T3" fmla="*/ 374 h 487"/>
                <a:gd name="T4" fmla="*/ 940 w 971"/>
                <a:gd name="T5" fmla="*/ 286 h 487"/>
                <a:gd name="T6" fmla="*/ 860 w 971"/>
                <a:gd name="T7" fmla="*/ 253 h 487"/>
                <a:gd name="T8" fmla="*/ 870 w 971"/>
                <a:gd name="T9" fmla="*/ 260 h 487"/>
                <a:gd name="T10" fmla="*/ 728 w 971"/>
                <a:gd name="T11" fmla="*/ 147 h 487"/>
                <a:gd name="T12" fmla="*/ 654 w 971"/>
                <a:gd name="T13" fmla="*/ 180 h 487"/>
                <a:gd name="T14" fmla="*/ 598 w 971"/>
                <a:gd name="T15" fmla="*/ 51 h 487"/>
                <a:gd name="T16" fmla="*/ 349 w 971"/>
                <a:gd name="T17" fmla="*/ 42 h 487"/>
                <a:gd name="T18" fmla="*/ 288 w 971"/>
                <a:gd name="T19" fmla="*/ 151 h 487"/>
                <a:gd name="T20" fmla="*/ 255 w 971"/>
                <a:gd name="T21" fmla="*/ 136 h 487"/>
                <a:gd name="T22" fmla="*/ 117 w 971"/>
                <a:gd name="T23" fmla="*/ 262 h 487"/>
                <a:gd name="T24" fmla="*/ 127 w 971"/>
                <a:gd name="T25" fmla="*/ 253 h 487"/>
                <a:gd name="T26" fmla="*/ 31 w 971"/>
                <a:gd name="T27" fmla="*/ 286 h 487"/>
                <a:gd name="T28" fmla="*/ 0 w 971"/>
                <a:gd name="T29" fmla="*/ 374 h 487"/>
                <a:gd name="T30" fmla="*/ 106 w 971"/>
                <a:gd name="T31" fmla="*/ 487 h 487"/>
                <a:gd name="T32" fmla="*/ 242 w 971"/>
                <a:gd name="T33" fmla="*/ 467 h 487"/>
                <a:gd name="T34" fmla="*/ 45 w 971"/>
                <a:gd name="T35" fmla="*/ 440 h 487"/>
                <a:gd name="T36" fmla="*/ 20 w 971"/>
                <a:gd name="T37" fmla="*/ 366 h 487"/>
                <a:gd name="T38" fmla="*/ 106 w 971"/>
                <a:gd name="T39" fmla="*/ 273 h 487"/>
                <a:gd name="T40" fmla="*/ 137 w 971"/>
                <a:gd name="T41" fmla="*/ 264 h 487"/>
                <a:gd name="T42" fmla="*/ 255 w 971"/>
                <a:gd name="T43" fmla="*/ 157 h 487"/>
                <a:gd name="T44" fmla="*/ 295 w 971"/>
                <a:gd name="T45" fmla="*/ 164 h 487"/>
                <a:gd name="T46" fmla="*/ 362 w 971"/>
                <a:gd name="T47" fmla="*/ 58 h 487"/>
                <a:gd name="T48" fmla="*/ 584 w 971"/>
                <a:gd name="T49" fmla="*/ 66 h 487"/>
                <a:gd name="T50" fmla="*/ 646 w 971"/>
                <a:gd name="T51" fmla="*/ 198 h 487"/>
                <a:gd name="T52" fmla="*/ 728 w 971"/>
                <a:gd name="T53" fmla="*/ 167 h 487"/>
                <a:gd name="T54" fmla="*/ 851 w 971"/>
                <a:gd name="T55" fmla="*/ 266 h 487"/>
                <a:gd name="T56" fmla="*/ 864 w 971"/>
                <a:gd name="T57" fmla="*/ 273 h 487"/>
                <a:gd name="T58" fmla="*/ 951 w 971"/>
                <a:gd name="T59" fmla="*/ 366 h 487"/>
                <a:gd name="T60" fmla="*/ 925 w 971"/>
                <a:gd name="T61" fmla="*/ 440 h 487"/>
                <a:gd name="T62" fmla="*/ 718 w 971"/>
                <a:gd name="T63" fmla="*/ 467 h 4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71" h="487">
                  <a:moveTo>
                    <a:pt x="718" y="487"/>
                  </a:moveTo>
                  <a:cubicBezTo>
                    <a:pt x="864" y="487"/>
                    <a:pt x="864" y="487"/>
                    <a:pt x="864" y="487"/>
                  </a:cubicBezTo>
                  <a:cubicBezTo>
                    <a:pt x="894" y="487"/>
                    <a:pt x="920" y="474"/>
                    <a:pt x="940" y="454"/>
                  </a:cubicBezTo>
                  <a:cubicBezTo>
                    <a:pt x="959" y="433"/>
                    <a:pt x="971" y="405"/>
                    <a:pt x="971" y="374"/>
                  </a:cubicBezTo>
                  <a:cubicBezTo>
                    <a:pt x="971" y="366"/>
                    <a:pt x="971" y="366"/>
                    <a:pt x="971" y="366"/>
                  </a:cubicBezTo>
                  <a:cubicBezTo>
                    <a:pt x="971" y="335"/>
                    <a:pt x="959" y="307"/>
                    <a:pt x="940" y="286"/>
                  </a:cubicBezTo>
                  <a:cubicBezTo>
                    <a:pt x="920" y="266"/>
                    <a:pt x="894" y="253"/>
                    <a:pt x="864" y="253"/>
                  </a:cubicBezTo>
                  <a:cubicBezTo>
                    <a:pt x="860" y="253"/>
                    <a:pt x="860" y="253"/>
                    <a:pt x="860" y="253"/>
                  </a:cubicBezTo>
                  <a:cubicBezTo>
                    <a:pt x="860" y="263"/>
                    <a:pt x="860" y="263"/>
                    <a:pt x="860" y="263"/>
                  </a:cubicBezTo>
                  <a:cubicBezTo>
                    <a:pt x="870" y="260"/>
                    <a:pt x="870" y="260"/>
                    <a:pt x="870" y="260"/>
                  </a:cubicBezTo>
                  <a:cubicBezTo>
                    <a:pt x="861" y="228"/>
                    <a:pt x="843" y="199"/>
                    <a:pt x="818" y="179"/>
                  </a:cubicBezTo>
                  <a:cubicBezTo>
                    <a:pt x="793" y="159"/>
                    <a:pt x="762" y="147"/>
                    <a:pt x="728" y="147"/>
                  </a:cubicBezTo>
                  <a:cubicBezTo>
                    <a:pt x="699" y="147"/>
                    <a:pt x="671" y="156"/>
                    <a:pt x="648" y="172"/>
                  </a:cubicBezTo>
                  <a:cubicBezTo>
                    <a:pt x="654" y="180"/>
                    <a:pt x="654" y="180"/>
                    <a:pt x="654" y="180"/>
                  </a:cubicBezTo>
                  <a:cubicBezTo>
                    <a:pt x="664" y="179"/>
                    <a:pt x="664" y="179"/>
                    <a:pt x="664" y="179"/>
                  </a:cubicBezTo>
                  <a:cubicBezTo>
                    <a:pt x="657" y="128"/>
                    <a:pt x="633" y="84"/>
                    <a:pt x="598" y="51"/>
                  </a:cubicBezTo>
                  <a:cubicBezTo>
                    <a:pt x="564" y="19"/>
                    <a:pt x="518" y="0"/>
                    <a:pt x="468" y="0"/>
                  </a:cubicBezTo>
                  <a:cubicBezTo>
                    <a:pt x="424" y="0"/>
                    <a:pt x="382" y="15"/>
                    <a:pt x="349" y="42"/>
                  </a:cubicBezTo>
                  <a:cubicBezTo>
                    <a:pt x="316" y="68"/>
                    <a:pt x="291" y="106"/>
                    <a:pt x="279" y="148"/>
                  </a:cubicBezTo>
                  <a:cubicBezTo>
                    <a:pt x="288" y="151"/>
                    <a:pt x="288" y="151"/>
                    <a:pt x="288" y="151"/>
                  </a:cubicBezTo>
                  <a:cubicBezTo>
                    <a:pt x="291" y="142"/>
                    <a:pt x="291" y="142"/>
                    <a:pt x="291" y="142"/>
                  </a:cubicBezTo>
                  <a:cubicBezTo>
                    <a:pt x="280" y="138"/>
                    <a:pt x="268" y="136"/>
                    <a:pt x="255" y="136"/>
                  </a:cubicBezTo>
                  <a:cubicBezTo>
                    <a:pt x="220" y="136"/>
                    <a:pt x="188" y="150"/>
                    <a:pt x="164" y="173"/>
                  </a:cubicBezTo>
                  <a:cubicBezTo>
                    <a:pt x="139" y="195"/>
                    <a:pt x="123" y="226"/>
                    <a:pt x="117" y="262"/>
                  </a:cubicBezTo>
                  <a:cubicBezTo>
                    <a:pt x="127" y="263"/>
                    <a:pt x="127" y="263"/>
                    <a:pt x="127" y="263"/>
                  </a:cubicBezTo>
                  <a:cubicBezTo>
                    <a:pt x="127" y="253"/>
                    <a:pt x="127" y="253"/>
                    <a:pt x="127" y="253"/>
                  </a:cubicBezTo>
                  <a:cubicBezTo>
                    <a:pt x="106" y="253"/>
                    <a:pt x="106" y="253"/>
                    <a:pt x="106" y="253"/>
                  </a:cubicBezTo>
                  <a:cubicBezTo>
                    <a:pt x="77" y="253"/>
                    <a:pt x="50" y="266"/>
                    <a:pt x="31" y="286"/>
                  </a:cubicBezTo>
                  <a:cubicBezTo>
                    <a:pt x="11" y="307"/>
                    <a:pt x="0" y="335"/>
                    <a:pt x="0" y="366"/>
                  </a:cubicBezTo>
                  <a:cubicBezTo>
                    <a:pt x="0" y="374"/>
                    <a:pt x="0" y="374"/>
                    <a:pt x="0" y="374"/>
                  </a:cubicBezTo>
                  <a:cubicBezTo>
                    <a:pt x="0" y="405"/>
                    <a:pt x="11" y="433"/>
                    <a:pt x="31" y="454"/>
                  </a:cubicBezTo>
                  <a:cubicBezTo>
                    <a:pt x="50" y="474"/>
                    <a:pt x="77" y="487"/>
                    <a:pt x="106" y="487"/>
                  </a:cubicBezTo>
                  <a:cubicBezTo>
                    <a:pt x="242" y="487"/>
                    <a:pt x="242" y="487"/>
                    <a:pt x="242" y="487"/>
                  </a:cubicBezTo>
                  <a:cubicBezTo>
                    <a:pt x="242" y="467"/>
                    <a:pt x="242" y="467"/>
                    <a:pt x="242" y="467"/>
                  </a:cubicBezTo>
                  <a:cubicBezTo>
                    <a:pt x="106" y="467"/>
                    <a:pt x="106" y="467"/>
                    <a:pt x="106" y="467"/>
                  </a:cubicBezTo>
                  <a:cubicBezTo>
                    <a:pt x="83" y="467"/>
                    <a:pt x="61" y="457"/>
                    <a:pt x="45" y="440"/>
                  </a:cubicBezTo>
                  <a:cubicBezTo>
                    <a:pt x="30" y="423"/>
                    <a:pt x="20" y="400"/>
                    <a:pt x="20" y="374"/>
                  </a:cubicBezTo>
                  <a:cubicBezTo>
                    <a:pt x="20" y="366"/>
                    <a:pt x="20" y="366"/>
                    <a:pt x="20" y="366"/>
                  </a:cubicBezTo>
                  <a:cubicBezTo>
                    <a:pt x="20" y="340"/>
                    <a:pt x="30" y="317"/>
                    <a:pt x="45" y="300"/>
                  </a:cubicBezTo>
                  <a:cubicBezTo>
                    <a:pt x="61" y="283"/>
                    <a:pt x="83" y="273"/>
                    <a:pt x="106" y="273"/>
                  </a:cubicBezTo>
                  <a:cubicBezTo>
                    <a:pt x="136" y="273"/>
                    <a:pt x="136" y="273"/>
                    <a:pt x="136" y="273"/>
                  </a:cubicBezTo>
                  <a:cubicBezTo>
                    <a:pt x="137" y="264"/>
                    <a:pt x="137" y="264"/>
                    <a:pt x="137" y="264"/>
                  </a:cubicBezTo>
                  <a:cubicBezTo>
                    <a:pt x="142" y="234"/>
                    <a:pt x="157" y="207"/>
                    <a:pt x="177" y="187"/>
                  </a:cubicBezTo>
                  <a:cubicBezTo>
                    <a:pt x="198" y="168"/>
                    <a:pt x="225" y="157"/>
                    <a:pt x="255" y="157"/>
                  </a:cubicBezTo>
                  <a:cubicBezTo>
                    <a:pt x="265" y="157"/>
                    <a:pt x="276" y="158"/>
                    <a:pt x="286" y="161"/>
                  </a:cubicBezTo>
                  <a:cubicBezTo>
                    <a:pt x="295" y="164"/>
                    <a:pt x="295" y="164"/>
                    <a:pt x="295" y="164"/>
                  </a:cubicBezTo>
                  <a:cubicBezTo>
                    <a:pt x="298" y="154"/>
                    <a:pt x="298" y="154"/>
                    <a:pt x="298" y="154"/>
                  </a:cubicBezTo>
                  <a:cubicBezTo>
                    <a:pt x="310" y="115"/>
                    <a:pt x="332" y="82"/>
                    <a:pt x="362" y="58"/>
                  </a:cubicBezTo>
                  <a:cubicBezTo>
                    <a:pt x="392" y="34"/>
                    <a:pt x="428" y="20"/>
                    <a:pt x="468" y="20"/>
                  </a:cubicBezTo>
                  <a:cubicBezTo>
                    <a:pt x="513" y="20"/>
                    <a:pt x="553" y="37"/>
                    <a:pt x="584" y="66"/>
                  </a:cubicBezTo>
                  <a:cubicBezTo>
                    <a:pt x="616" y="95"/>
                    <a:pt x="637" y="136"/>
                    <a:pt x="644" y="182"/>
                  </a:cubicBezTo>
                  <a:cubicBezTo>
                    <a:pt x="646" y="198"/>
                    <a:pt x="646" y="198"/>
                    <a:pt x="646" y="198"/>
                  </a:cubicBezTo>
                  <a:cubicBezTo>
                    <a:pt x="660" y="189"/>
                    <a:pt x="660" y="189"/>
                    <a:pt x="660" y="189"/>
                  </a:cubicBezTo>
                  <a:cubicBezTo>
                    <a:pt x="680" y="175"/>
                    <a:pt x="703" y="167"/>
                    <a:pt x="728" y="167"/>
                  </a:cubicBezTo>
                  <a:cubicBezTo>
                    <a:pt x="757" y="167"/>
                    <a:pt x="784" y="177"/>
                    <a:pt x="805" y="195"/>
                  </a:cubicBezTo>
                  <a:cubicBezTo>
                    <a:pt x="827" y="212"/>
                    <a:pt x="843" y="237"/>
                    <a:pt x="851" y="266"/>
                  </a:cubicBezTo>
                  <a:cubicBezTo>
                    <a:pt x="853" y="273"/>
                    <a:pt x="853" y="273"/>
                    <a:pt x="853" y="273"/>
                  </a:cubicBezTo>
                  <a:cubicBezTo>
                    <a:pt x="864" y="273"/>
                    <a:pt x="864" y="273"/>
                    <a:pt x="864" y="273"/>
                  </a:cubicBezTo>
                  <a:cubicBezTo>
                    <a:pt x="888" y="273"/>
                    <a:pt x="909" y="283"/>
                    <a:pt x="925" y="300"/>
                  </a:cubicBezTo>
                  <a:cubicBezTo>
                    <a:pt x="941" y="317"/>
                    <a:pt x="951" y="340"/>
                    <a:pt x="951" y="366"/>
                  </a:cubicBezTo>
                  <a:cubicBezTo>
                    <a:pt x="951" y="374"/>
                    <a:pt x="951" y="374"/>
                    <a:pt x="951" y="374"/>
                  </a:cubicBezTo>
                  <a:cubicBezTo>
                    <a:pt x="951" y="400"/>
                    <a:pt x="941" y="423"/>
                    <a:pt x="925" y="440"/>
                  </a:cubicBezTo>
                  <a:cubicBezTo>
                    <a:pt x="909" y="457"/>
                    <a:pt x="888" y="467"/>
                    <a:pt x="864" y="467"/>
                  </a:cubicBezTo>
                  <a:cubicBezTo>
                    <a:pt x="718" y="467"/>
                    <a:pt x="718" y="467"/>
                    <a:pt x="718" y="467"/>
                  </a:cubicBezTo>
                  <a:cubicBezTo>
                    <a:pt x="718" y="487"/>
                    <a:pt x="718" y="487"/>
                    <a:pt x="718" y="487"/>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567" name="Freeform 1571">
              <a:extLst>
                <a:ext uri="{FF2B5EF4-FFF2-40B4-BE49-F238E27FC236}">
                  <a16:creationId xmlns:a16="http://schemas.microsoft.com/office/drawing/2014/main" id="{37015470-069E-4EA9-8B04-52A4EAD575C2}"/>
                </a:ext>
              </a:extLst>
            </p:cNvPr>
            <p:cNvSpPr>
              <a:spLocks noEditPoints="1"/>
            </p:cNvSpPr>
            <p:nvPr userDrawn="1"/>
          </p:nvSpPr>
          <p:spPr bwMode="auto">
            <a:xfrm>
              <a:off x="9434513" y="2832100"/>
              <a:ext cx="617538" cy="658813"/>
            </a:xfrm>
            <a:custGeom>
              <a:avLst/>
              <a:gdLst>
                <a:gd name="T0" fmla="*/ 296 w 312"/>
                <a:gd name="T1" fmla="*/ 139 h 333"/>
                <a:gd name="T2" fmla="*/ 270 w 312"/>
                <a:gd name="T3" fmla="*/ 139 h 333"/>
                <a:gd name="T4" fmla="*/ 255 w 312"/>
                <a:gd name="T5" fmla="*/ 100 h 333"/>
                <a:gd name="T6" fmla="*/ 273 w 312"/>
                <a:gd name="T7" fmla="*/ 81 h 333"/>
                <a:gd name="T8" fmla="*/ 273 w 312"/>
                <a:gd name="T9" fmla="*/ 56 h 333"/>
                <a:gd name="T10" fmla="*/ 260 w 312"/>
                <a:gd name="T11" fmla="*/ 42 h 333"/>
                <a:gd name="T12" fmla="*/ 237 w 312"/>
                <a:gd name="T13" fmla="*/ 42 h 333"/>
                <a:gd name="T14" fmla="*/ 219 w 312"/>
                <a:gd name="T15" fmla="*/ 61 h 333"/>
                <a:gd name="T16" fmla="*/ 182 w 312"/>
                <a:gd name="T17" fmla="*/ 45 h 333"/>
                <a:gd name="T18" fmla="*/ 182 w 312"/>
                <a:gd name="T19" fmla="*/ 18 h 333"/>
                <a:gd name="T20" fmla="*/ 166 w 312"/>
                <a:gd name="T21" fmla="*/ 0 h 333"/>
                <a:gd name="T22" fmla="*/ 147 w 312"/>
                <a:gd name="T23" fmla="*/ 0 h 333"/>
                <a:gd name="T24" fmla="*/ 130 w 312"/>
                <a:gd name="T25" fmla="*/ 18 h 333"/>
                <a:gd name="T26" fmla="*/ 130 w 312"/>
                <a:gd name="T27" fmla="*/ 45 h 333"/>
                <a:gd name="T28" fmla="*/ 94 w 312"/>
                <a:gd name="T29" fmla="*/ 61 h 333"/>
                <a:gd name="T30" fmla="*/ 76 w 312"/>
                <a:gd name="T31" fmla="*/ 41 h 333"/>
                <a:gd name="T32" fmla="*/ 53 w 312"/>
                <a:gd name="T33" fmla="*/ 41 h 333"/>
                <a:gd name="T34" fmla="*/ 40 w 312"/>
                <a:gd name="T35" fmla="*/ 55 h 333"/>
                <a:gd name="T36" fmla="*/ 40 w 312"/>
                <a:gd name="T37" fmla="*/ 80 h 333"/>
                <a:gd name="T38" fmla="*/ 58 w 312"/>
                <a:gd name="T39" fmla="*/ 99 h 333"/>
                <a:gd name="T40" fmla="*/ 42 w 312"/>
                <a:gd name="T41" fmla="*/ 138 h 333"/>
                <a:gd name="T42" fmla="*/ 17 w 312"/>
                <a:gd name="T43" fmla="*/ 138 h 333"/>
                <a:gd name="T44" fmla="*/ 0 w 312"/>
                <a:gd name="T45" fmla="*/ 156 h 333"/>
                <a:gd name="T46" fmla="*/ 0 w 312"/>
                <a:gd name="T47" fmla="*/ 176 h 333"/>
                <a:gd name="T48" fmla="*/ 17 w 312"/>
                <a:gd name="T49" fmla="*/ 194 h 333"/>
                <a:gd name="T50" fmla="*/ 42 w 312"/>
                <a:gd name="T51" fmla="*/ 194 h 333"/>
                <a:gd name="T52" fmla="*/ 57 w 312"/>
                <a:gd name="T53" fmla="*/ 233 h 333"/>
                <a:gd name="T54" fmla="*/ 39 w 312"/>
                <a:gd name="T55" fmla="*/ 252 h 333"/>
                <a:gd name="T56" fmla="*/ 39 w 312"/>
                <a:gd name="T57" fmla="*/ 277 h 333"/>
                <a:gd name="T58" fmla="*/ 52 w 312"/>
                <a:gd name="T59" fmla="*/ 291 h 333"/>
                <a:gd name="T60" fmla="*/ 75 w 312"/>
                <a:gd name="T61" fmla="*/ 291 h 333"/>
                <a:gd name="T62" fmla="*/ 93 w 312"/>
                <a:gd name="T63" fmla="*/ 272 h 333"/>
                <a:gd name="T64" fmla="*/ 130 w 312"/>
                <a:gd name="T65" fmla="*/ 289 h 333"/>
                <a:gd name="T66" fmla="*/ 130 w 312"/>
                <a:gd name="T67" fmla="*/ 316 h 333"/>
                <a:gd name="T68" fmla="*/ 146 w 312"/>
                <a:gd name="T69" fmla="*/ 333 h 333"/>
                <a:gd name="T70" fmla="*/ 165 w 312"/>
                <a:gd name="T71" fmla="*/ 333 h 333"/>
                <a:gd name="T72" fmla="*/ 182 w 312"/>
                <a:gd name="T73" fmla="*/ 316 h 333"/>
                <a:gd name="T74" fmla="*/ 182 w 312"/>
                <a:gd name="T75" fmla="*/ 289 h 333"/>
                <a:gd name="T76" fmla="*/ 218 w 312"/>
                <a:gd name="T77" fmla="*/ 273 h 333"/>
                <a:gd name="T78" fmla="*/ 236 w 312"/>
                <a:gd name="T79" fmla="*/ 292 h 333"/>
                <a:gd name="T80" fmla="*/ 259 w 312"/>
                <a:gd name="T81" fmla="*/ 292 h 333"/>
                <a:gd name="T82" fmla="*/ 273 w 312"/>
                <a:gd name="T83" fmla="*/ 278 h 333"/>
                <a:gd name="T84" fmla="*/ 273 w 312"/>
                <a:gd name="T85" fmla="*/ 253 h 333"/>
                <a:gd name="T86" fmla="*/ 255 w 312"/>
                <a:gd name="T87" fmla="*/ 234 h 333"/>
                <a:gd name="T88" fmla="*/ 270 w 312"/>
                <a:gd name="T89" fmla="*/ 195 h 333"/>
                <a:gd name="T90" fmla="*/ 296 w 312"/>
                <a:gd name="T91" fmla="*/ 195 h 333"/>
                <a:gd name="T92" fmla="*/ 312 w 312"/>
                <a:gd name="T93" fmla="*/ 177 h 333"/>
                <a:gd name="T94" fmla="*/ 312 w 312"/>
                <a:gd name="T95" fmla="*/ 157 h 333"/>
                <a:gd name="T96" fmla="*/ 296 w 312"/>
                <a:gd name="T97" fmla="*/ 139 h 333"/>
                <a:gd name="T98" fmla="*/ 156 w 312"/>
                <a:gd name="T99" fmla="*/ 222 h 333"/>
                <a:gd name="T100" fmla="*/ 104 w 312"/>
                <a:gd name="T101" fmla="*/ 167 h 333"/>
                <a:gd name="T102" fmla="*/ 156 w 312"/>
                <a:gd name="T103" fmla="*/ 111 h 333"/>
                <a:gd name="T104" fmla="*/ 208 w 312"/>
                <a:gd name="T105" fmla="*/ 167 h 333"/>
                <a:gd name="T106" fmla="*/ 156 w 312"/>
                <a:gd name="T107" fmla="*/ 222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2" h="333">
                  <a:moveTo>
                    <a:pt x="296" y="139"/>
                  </a:moveTo>
                  <a:cubicBezTo>
                    <a:pt x="270" y="139"/>
                    <a:pt x="270" y="139"/>
                    <a:pt x="270" y="139"/>
                  </a:cubicBezTo>
                  <a:cubicBezTo>
                    <a:pt x="267" y="125"/>
                    <a:pt x="262" y="112"/>
                    <a:pt x="255" y="100"/>
                  </a:cubicBezTo>
                  <a:cubicBezTo>
                    <a:pt x="273" y="81"/>
                    <a:pt x="273" y="81"/>
                    <a:pt x="273" y="81"/>
                  </a:cubicBezTo>
                  <a:cubicBezTo>
                    <a:pt x="280" y="74"/>
                    <a:pt x="280" y="63"/>
                    <a:pt x="273" y="56"/>
                  </a:cubicBezTo>
                  <a:cubicBezTo>
                    <a:pt x="260" y="42"/>
                    <a:pt x="260" y="42"/>
                    <a:pt x="260" y="42"/>
                  </a:cubicBezTo>
                  <a:cubicBezTo>
                    <a:pt x="253" y="35"/>
                    <a:pt x="243" y="35"/>
                    <a:pt x="237" y="42"/>
                  </a:cubicBezTo>
                  <a:cubicBezTo>
                    <a:pt x="219" y="61"/>
                    <a:pt x="219" y="61"/>
                    <a:pt x="219" y="61"/>
                  </a:cubicBezTo>
                  <a:cubicBezTo>
                    <a:pt x="208" y="53"/>
                    <a:pt x="195" y="48"/>
                    <a:pt x="182" y="45"/>
                  </a:cubicBezTo>
                  <a:cubicBezTo>
                    <a:pt x="182" y="18"/>
                    <a:pt x="182" y="18"/>
                    <a:pt x="182" y="18"/>
                  </a:cubicBezTo>
                  <a:cubicBezTo>
                    <a:pt x="182" y="8"/>
                    <a:pt x="175" y="0"/>
                    <a:pt x="166" y="0"/>
                  </a:cubicBezTo>
                  <a:cubicBezTo>
                    <a:pt x="147" y="0"/>
                    <a:pt x="147" y="0"/>
                    <a:pt x="147" y="0"/>
                  </a:cubicBezTo>
                  <a:cubicBezTo>
                    <a:pt x="138" y="0"/>
                    <a:pt x="130" y="8"/>
                    <a:pt x="130" y="18"/>
                  </a:cubicBezTo>
                  <a:cubicBezTo>
                    <a:pt x="130" y="45"/>
                    <a:pt x="130" y="45"/>
                    <a:pt x="130" y="45"/>
                  </a:cubicBezTo>
                  <a:cubicBezTo>
                    <a:pt x="117" y="48"/>
                    <a:pt x="105" y="53"/>
                    <a:pt x="94" y="61"/>
                  </a:cubicBezTo>
                  <a:cubicBezTo>
                    <a:pt x="76" y="41"/>
                    <a:pt x="76" y="41"/>
                    <a:pt x="76" y="41"/>
                  </a:cubicBezTo>
                  <a:cubicBezTo>
                    <a:pt x="70" y="34"/>
                    <a:pt x="60" y="34"/>
                    <a:pt x="53" y="41"/>
                  </a:cubicBezTo>
                  <a:cubicBezTo>
                    <a:pt x="40" y="55"/>
                    <a:pt x="40" y="55"/>
                    <a:pt x="40" y="55"/>
                  </a:cubicBezTo>
                  <a:cubicBezTo>
                    <a:pt x="33" y="62"/>
                    <a:pt x="33" y="73"/>
                    <a:pt x="40" y="80"/>
                  </a:cubicBezTo>
                  <a:cubicBezTo>
                    <a:pt x="58" y="99"/>
                    <a:pt x="58" y="99"/>
                    <a:pt x="58" y="99"/>
                  </a:cubicBezTo>
                  <a:cubicBezTo>
                    <a:pt x="50" y="111"/>
                    <a:pt x="45" y="124"/>
                    <a:pt x="42" y="138"/>
                  </a:cubicBezTo>
                  <a:cubicBezTo>
                    <a:pt x="17" y="138"/>
                    <a:pt x="17" y="138"/>
                    <a:pt x="17" y="138"/>
                  </a:cubicBezTo>
                  <a:cubicBezTo>
                    <a:pt x="8" y="138"/>
                    <a:pt x="0" y="146"/>
                    <a:pt x="0" y="156"/>
                  </a:cubicBezTo>
                  <a:cubicBezTo>
                    <a:pt x="0" y="176"/>
                    <a:pt x="0" y="176"/>
                    <a:pt x="0" y="176"/>
                  </a:cubicBezTo>
                  <a:cubicBezTo>
                    <a:pt x="0" y="186"/>
                    <a:pt x="8" y="194"/>
                    <a:pt x="17" y="194"/>
                  </a:cubicBezTo>
                  <a:cubicBezTo>
                    <a:pt x="42" y="194"/>
                    <a:pt x="42" y="194"/>
                    <a:pt x="42" y="194"/>
                  </a:cubicBezTo>
                  <a:cubicBezTo>
                    <a:pt x="45" y="208"/>
                    <a:pt x="50" y="221"/>
                    <a:pt x="57" y="233"/>
                  </a:cubicBezTo>
                  <a:cubicBezTo>
                    <a:pt x="39" y="252"/>
                    <a:pt x="39" y="252"/>
                    <a:pt x="39" y="252"/>
                  </a:cubicBezTo>
                  <a:cubicBezTo>
                    <a:pt x="33" y="259"/>
                    <a:pt x="33" y="270"/>
                    <a:pt x="39" y="277"/>
                  </a:cubicBezTo>
                  <a:cubicBezTo>
                    <a:pt x="52" y="291"/>
                    <a:pt x="52" y="291"/>
                    <a:pt x="52" y="291"/>
                  </a:cubicBezTo>
                  <a:cubicBezTo>
                    <a:pt x="59" y="298"/>
                    <a:pt x="69" y="298"/>
                    <a:pt x="75" y="291"/>
                  </a:cubicBezTo>
                  <a:cubicBezTo>
                    <a:pt x="93" y="272"/>
                    <a:pt x="93" y="272"/>
                    <a:pt x="93" y="272"/>
                  </a:cubicBezTo>
                  <a:cubicBezTo>
                    <a:pt x="105" y="280"/>
                    <a:pt x="117" y="285"/>
                    <a:pt x="130" y="289"/>
                  </a:cubicBezTo>
                  <a:cubicBezTo>
                    <a:pt x="130" y="316"/>
                    <a:pt x="130" y="316"/>
                    <a:pt x="130" y="316"/>
                  </a:cubicBezTo>
                  <a:cubicBezTo>
                    <a:pt x="130" y="325"/>
                    <a:pt x="137" y="333"/>
                    <a:pt x="146" y="333"/>
                  </a:cubicBezTo>
                  <a:cubicBezTo>
                    <a:pt x="165" y="333"/>
                    <a:pt x="165" y="333"/>
                    <a:pt x="165" y="333"/>
                  </a:cubicBezTo>
                  <a:cubicBezTo>
                    <a:pt x="174" y="333"/>
                    <a:pt x="182" y="326"/>
                    <a:pt x="182" y="316"/>
                  </a:cubicBezTo>
                  <a:cubicBezTo>
                    <a:pt x="182" y="289"/>
                    <a:pt x="182" y="289"/>
                    <a:pt x="182" y="289"/>
                  </a:cubicBezTo>
                  <a:cubicBezTo>
                    <a:pt x="195" y="286"/>
                    <a:pt x="207" y="280"/>
                    <a:pt x="218" y="273"/>
                  </a:cubicBezTo>
                  <a:cubicBezTo>
                    <a:pt x="236" y="292"/>
                    <a:pt x="236" y="292"/>
                    <a:pt x="236" y="292"/>
                  </a:cubicBezTo>
                  <a:cubicBezTo>
                    <a:pt x="243" y="299"/>
                    <a:pt x="253" y="299"/>
                    <a:pt x="259" y="292"/>
                  </a:cubicBezTo>
                  <a:cubicBezTo>
                    <a:pt x="273" y="278"/>
                    <a:pt x="273" y="278"/>
                    <a:pt x="273" y="278"/>
                  </a:cubicBezTo>
                  <a:cubicBezTo>
                    <a:pt x="279" y="271"/>
                    <a:pt x="279" y="260"/>
                    <a:pt x="273" y="253"/>
                  </a:cubicBezTo>
                  <a:cubicBezTo>
                    <a:pt x="255" y="234"/>
                    <a:pt x="255" y="234"/>
                    <a:pt x="255" y="234"/>
                  </a:cubicBezTo>
                  <a:cubicBezTo>
                    <a:pt x="262" y="222"/>
                    <a:pt x="267" y="209"/>
                    <a:pt x="270" y="195"/>
                  </a:cubicBezTo>
                  <a:cubicBezTo>
                    <a:pt x="296" y="195"/>
                    <a:pt x="296" y="195"/>
                    <a:pt x="296" y="195"/>
                  </a:cubicBezTo>
                  <a:cubicBezTo>
                    <a:pt x="305" y="195"/>
                    <a:pt x="312" y="187"/>
                    <a:pt x="312" y="177"/>
                  </a:cubicBezTo>
                  <a:cubicBezTo>
                    <a:pt x="312" y="157"/>
                    <a:pt x="312" y="157"/>
                    <a:pt x="312" y="157"/>
                  </a:cubicBezTo>
                  <a:cubicBezTo>
                    <a:pt x="312" y="147"/>
                    <a:pt x="305" y="139"/>
                    <a:pt x="296" y="139"/>
                  </a:cubicBezTo>
                  <a:close/>
                  <a:moveTo>
                    <a:pt x="156" y="222"/>
                  </a:moveTo>
                  <a:cubicBezTo>
                    <a:pt x="127" y="222"/>
                    <a:pt x="104" y="197"/>
                    <a:pt x="104" y="167"/>
                  </a:cubicBezTo>
                  <a:cubicBezTo>
                    <a:pt x="104" y="136"/>
                    <a:pt x="127" y="111"/>
                    <a:pt x="156" y="111"/>
                  </a:cubicBezTo>
                  <a:cubicBezTo>
                    <a:pt x="185" y="111"/>
                    <a:pt x="208" y="136"/>
                    <a:pt x="208" y="167"/>
                  </a:cubicBezTo>
                  <a:cubicBezTo>
                    <a:pt x="208" y="197"/>
                    <a:pt x="185" y="222"/>
                    <a:pt x="156" y="222"/>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1569" name="Freeform 1573">
              <a:extLst>
                <a:ext uri="{FF2B5EF4-FFF2-40B4-BE49-F238E27FC236}">
                  <a16:creationId xmlns:a16="http://schemas.microsoft.com/office/drawing/2014/main" id="{0FA295B7-A67B-40ED-A7AA-88C402804888}"/>
                </a:ext>
              </a:extLst>
            </p:cNvPr>
            <p:cNvSpPr>
              <a:spLocks/>
            </p:cNvSpPr>
            <p:nvPr userDrawn="1"/>
          </p:nvSpPr>
          <p:spPr bwMode="auto">
            <a:xfrm>
              <a:off x="7018338" y="4425950"/>
              <a:ext cx="995363" cy="1693863"/>
            </a:xfrm>
            <a:custGeom>
              <a:avLst/>
              <a:gdLst>
                <a:gd name="T0" fmla="*/ 495 w 503"/>
                <a:gd name="T1" fmla="*/ 856 h 856"/>
                <a:gd name="T2" fmla="*/ 8 w 503"/>
                <a:gd name="T3" fmla="*/ 856 h 856"/>
                <a:gd name="T4" fmla="*/ 0 w 503"/>
                <a:gd name="T5" fmla="*/ 848 h 856"/>
                <a:gd name="T6" fmla="*/ 0 w 503"/>
                <a:gd name="T7" fmla="*/ 8 h 856"/>
                <a:gd name="T8" fmla="*/ 8 w 503"/>
                <a:gd name="T9" fmla="*/ 0 h 856"/>
                <a:gd name="T10" fmla="*/ 495 w 503"/>
                <a:gd name="T11" fmla="*/ 0 h 856"/>
                <a:gd name="T12" fmla="*/ 503 w 503"/>
                <a:gd name="T13" fmla="*/ 8 h 856"/>
                <a:gd name="T14" fmla="*/ 503 w 503"/>
                <a:gd name="T15" fmla="*/ 848 h 856"/>
                <a:gd name="T16" fmla="*/ 495 w 503"/>
                <a:gd name="T17" fmla="*/ 856 h 8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3" h="856">
                  <a:moveTo>
                    <a:pt x="495" y="856"/>
                  </a:moveTo>
                  <a:cubicBezTo>
                    <a:pt x="8" y="856"/>
                    <a:pt x="8" y="856"/>
                    <a:pt x="8" y="856"/>
                  </a:cubicBezTo>
                  <a:cubicBezTo>
                    <a:pt x="4" y="856"/>
                    <a:pt x="0" y="852"/>
                    <a:pt x="0" y="848"/>
                  </a:cubicBezTo>
                  <a:cubicBezTo>
                    <a:pt x="0" y="8"/>
                    <a:pt x="0" y="8"/>
                    <a:pt x="0" y="8"/>
                  </a:cubicBezTo>
                  <a:cubicBezTo>
                    <a:pt x="0" y="4"/>
                    <a:pt x="4" y="0"/>
                    <a:pt x="8" y="0"/>
                  </a:cubicBezTo>
                  <a:cubicBezTo>
                    <a:pt x="495" y="0"/>
                    <a:pt x="495" y="0"/>
                    <a:pt x="495" y="0"/>
                  </a:cubicBezTo>
                  <a:cubicBezTo>
                    <a:pt x="499" y="0"/>
                    <a:pt x="503" y="4"/>
                    <a:pt x="503" y="8"/>
                  </a:cubicBezTo>
                  <a:cubicBezTo>
                    <a:pt x="503" y="848"/>
                    <a:pt x="503" y="848"/>
                    <a:pt x="503" y="848"/>
                  </a:cubicBezTo>
                  <a:cubicBezTo>
                    <a:pt x="503" y="852"/>
                    <a:pt x="499" y="856"/>
                    <a:pt x="495" y="85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570" name="Freeform 1574">
              <a:extLst>
                <a:ext uri="{FF2B5EF4-FFF2-40B4-BE49-F238E27FC236}">
                  <a16:creationId xmlns:a16="http://schemas.microsoft.com/office/drawing/2014/main" id="{4E76E22C-2B0F-4DB4-8DC2-C57CE5F53BF4}"/>
                </a:ext>
              </a:extLst>
            </p:cNvPr>
            <p:cNvSpPr>
              <a:spLocks/>
            </p:cNvSpPr>
            <p:nvPr userDrawn="1"/>
          </p:nvSpPr>
          <p:spPr bwMode="auto">
            <a:xfrm>
              <a:off x="6999288" y="4406900"/>
              <a:ext cx="723900" cy="781050"/>
            </a:xfrm>
            <a:custGeom>
              <a:avLst/>
              <a:gdLst>
                <a:gd name="T0" fmla="*/ 20 w 366"/>
                <a:gd name="T1" fmla="*/ 395 h 395"/>
                <a:gd name="T2" fmla="*/ 20 w 366"/>
                <a:gd name="T3" fmla="*/ 58 h 395"/>
                <a:gd name="T4" fmla="*/ 31 w 366"/>
                <a:gd name="T5" fmla="*/ 31 h 395"/>
                <a:gd name="T6" fmla="*/ 55 w 366"/>
                <a:gd name="T7" fmla="*/ 21 h 395"/>
                <a:gd name="T8" fmla="*/ 366 w 366"/>
                <a:gd name="T9" fmla="*/ 21 h 395"/>
                <a:gd name="T10" fmla="*/ 366 w 366"/>
                <a:gd name="T11" fmla="*/ 0 h 395"/>
                <a:gd name="T12" fmla="*/ 55 w 366"/>
                <a:gd name="T13" fmla="*/ 0 h 395"/>
                <a:gd name="T14" fmla="*/ 16 w 366"/>
                <a:gd name="T15" fmla="*/ 18 h 395"/>
                <a:gd name="T16" fmla="*/ 0 w 366"/>
                <a:gd name="T17" fmla="*/ 58 h 395"/>
                <a:gd name="T18" fmla="*/ 0 w 366"/>
                <a:gd name="T19" fmla="*/ 395 h 395"/>
                <a:gd name="T20" fmla="*/ 20 w 366"/>
                <a:gd name="T21" fmla="*/ 395 h 3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6" h="395">
                  <a:moveTo>
                    <a:pt x="20" y="395"/>
                  </a:moveTo>
                  <a:cubicBezTo>
                    <a:pt x="20" y="58"/>
                    <a:pt x="20" y="58"/>
                    <a:pt x="20" y="58"/>
                  </a:cubicBezTo>
                  <a:cubicBezTo>
                    <a:pt x="20" y="48"/>
                    <a:pt x="25" y="38"/>
                    <a:pt x="31" y="31"/>
                  </a:cubicBezTo>
                  <a:cubicBezTo>
                    <a:pt x="37" y="25"/>
                    <a:pt x="46" y="21"/>
                    <a:pt x="55" y="21"/>
                  </a:cubicBezTo>
                  <a:cubicBezTo>
                    <a:pt x="366" y="21"/>
                    <a:pt x="366" y="21"/>
                    <a:pt x="366" y="21"/>
                  </a:cubicBezTo>
                  <a:cubicBezTo>
                    <a:pt x="366" y="0"/>
                    <a:pt x="366" y="0"/>
                    <a:pt x="366" y="0"/>
                  </a:cubicBezTo>
                  <a:cubicBezTo>
                    <a:pt x="55" y="0"/>
                    <a:pt x="55" y="0"/>
                    <a:pt x="55" y="0"/>
                  </a:cubicBezTo>
                  <a:cubicBezTo>
                    <a:pt x="40" y="0"/>
                    <a:pt x="26" y="7"/>
                    <a:pt x="16" y="18"/>
                  </a:cubicBezTo>
                  <a:cubicBezTo>
                    <a:pt x="6" y="28"/>
                    <a:pt x="0" y="43"/>
                    <a:pt x="0" y="58"/>
                  </a:cubicBezTo>
                  <a:cubicBezTo>
                    <a:pt x="0" y="395"/>
                    <a:pt x="0" y="395"/>
                    <a:pt x="0" y="395"/>
                  </a:cubicBezTo>
                  <a:cubicBezTo>
                    <a:pt x="20" y="395"/>
                    <a:pt x="20" y="395"/>
                    <a:pt x="20" y="395"/>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1571" name="Freeform 1575">
              <a:extLst>
                <a:ext uri="{FF2B5EF4-FFF2-40B4-BE49-F238E27FC236}">
                  <a16:creationId xmlns:a16="http://schemas.microsoft.com/office/drawing/2014/main" id="{41F4E68F-2171-40F1-BAF8-E939DD96FF0C}"/>
                </a:ext>
              </a:extLst>
            </p:cNvPr>
            <p:cNvSpPr>
              <a:spLocks/>
            </p:cNvSpPr>
            <p:nvPr userDrawn="1"/>
          </p:nvSpPr>
          <p:spPr bwMode="auto">
            <a:xfrm>
              <a:off x="7924801" y="4406900"/>
              <a:ext cx="109538" cy="1731963"/>
            </a:xfrm>
            <a:custGeom>
              <a:avLst/>
              <a:gdLst>
                <a:gd name="T0" fmla="*/ 0 w 55"/>
                <a:gd name="T1" fmla="*/ 21 h 876"/>
                <a:gd name="T2" fmla="*/ 24 w 55"/>
                <a:gd name="T3" fmla="*/ 31 h 876"/>
                <a:gd name="T4" fmla="*/ 35 w 55"/>
                <a:gd name="T5" fmla="*/ 58 h 876"/>
                <a:gd name="T6" fmla="*/ 35 w 55"/>
                <a:gd name="T7" fmla="*/ 818 h 876"/>
                <a:gd name="T8" fmla="*/ 24 w 55"/>
                <a:gd name="T9" fmla="*/ 845 h 876"/>
                <a:gd name="T10" fmla="*/ 0 w 55"/>
                <a:gd name="T11" fmla="*/ 856 h 876"/>
                <a:gd name="T12" fmla="*/ 0 w 55"/>
                <a:gd name="T13" fmla="*/ 876 h 876"/>
                <a:gd name="T14" fmla="*/ 39 w 55"/>
                <a:gd name="T15" fmla="*/ 859 h 876"/>
                <a:gd name="T16" fmla="*/ 55 w 55"/>
                <a:gd name="T17" fmla="*/ 818 h 876"/>
                <a:gd name="T18" fmla="*/ 55 w 55"/>
                <a:gd name="T19" fmla="*/ 58 h 876"/>
                <a:gd name="T20" fmla="*/ 39 w 55"/>
                <a:gd name="T21" fmla="*/ 18 h 876"/>
                <a:gd name="T22" fmla="*/ 0 w 55"/>
                <a:gd name="T23" fmla="*/ 0 h 876"/>
                <a:gd name="T24" fmla="*/ 0 w 55"/>
                <a:gd name="T25" fmla="*/ 21 h 8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5" h="876">
                  <a:moveTo>
                    <a:pt x="0" y="21"/>
                  </a:moveTo>
                  <a:cubicBezTo>
                    <a:pt x="9" y="21"/>
                    <a:pt x="18" y="25"/>
                    <a:pt x="24" y="31"/>
                  </a:cubicBezTo>
                  <a:cubicBezTo>
                    <a:pt x="31" y="38"/>
                    <a:pt x="35" y="48"/>
                    <a:pt x="35" y="58"/>
                  </a:cubicBezTo>
                  <a:cubicBezTo>
                    <a:pt x="35" y="818"/>
                    <a:pt x="35" y="818"/>
                    <a:pt x="35" y="818"/>
                  </a:cubicBezTo>
                  <a:cubicBezTo>
                    <a:pt x="35" y="828"/>
                    <a:pt x="31" y="838"/>
                    <a:pt x="24" y="845"/>
                  </a:cubicBezTo>
                  <a:cubicBezTo>
                    <a:pt x="18" y="852"/>
                    <a:pt x="9" y="856"/>
                    <a:pt x="0" y="856"/>
                  </a:cubicBezTo>
                  <a:cubicBezTo>
                    <a:pt x="0" y="876"/>
                    <a:pt x="0" y="876"/>
                    <a:pt x="0" y="876"/>
                  </a:cubicBezTo>
                  <a:cubicBezTo>
                    <a:pt x="15" y="876"/>
                    <a:pt x="29" y="869"/>
                    <a:pt x="39" y="859"/>
                  </a:cubicBezTo>
                  <a:cubicBezTo>
                    <a:pt x="49" y="848"/>
                    <a:pt x="55" y="834"/>
                    <a:pt x="55" y="818"/>
                  </a:cubicBezTo>
                  <a:cubicBezTo>
                    <a:pt x="55" y="58"/>
                    <a:pt x="55" y="58"/>
                    <a:pt x="55" y="58"/>
                  </a:cubicBezTo>
                  <a:cubicBezTo>
                    <a:pt x="55" y="43"/>
                    <a:pt x="49" y="28"/>
                    <a:pt x="39" y="18"/>
                  </a:cubicBezTo>
                  <a:cubicBezTo>
                    <a:pt x="29" y="7"/>
                    <a:pt x="15" y="0"/>
                    <a:pt x="0" y="0"/>
                  </a:cubicBezTo>
                  <a:cubicBezTo>
                    <a:pt x="0" y="21"/>
                    <a:pt x="0" y="21"/>
                    <a:pt x="0" y="21"/>
                  </a:cubicBezTo>
                </a:path>
              </a:pathLst>
            </a:custGeom>
            <a:solidFill>
              <a:srgbClr val="0686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572" name="Rectangle 1576">
              <a:extLst>
                <a:ext uri="{FF2B5EF4-FFF2-40B4-BE49-F238E27FC236}">
                  <a16:creationId xmlns:a16="http://schemas.microsoft.com/office/drawing/2014/main" id="{C1808C67-313E-4E80-95F3-54BC57C94635}"/>
                </a:ext>
              </a:extLst>
            </p:cNvPr>
            <p:cNvSpPr>
              <a:spLocks noChangeArrowheads="1"/>
            </p:cNvSpPr>
            <p:nvPr userDrawn="1"/>
          </p:nvSpPr>
          <p:spPr bwMode="auto">
            <a:xfrm>
              <a:off x="7369176" y="4535488"/>
              <a:ext cx="295275" cy="38100"/>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1573" name="Freeform 1577">
              <a:extLst>
                <a:ext uri="{FF2B5EF4-FFF2-40B4-BE49-F238E27FC236}">
                  <a16:creationId xmlns:a16="http://schemas.microsoft.com/office/drawing/2014/main" id="{1F729F68-1FEE-460F-94BE-795B6D174472}"/>
                </a:ext>
              </a:extLst>
            </p:cNvPr>
            <p:cNvSpPr>
              <a:spLocks/>
            </p:cNvSpPr>
            <p:nvPr userDrawn="1"/>
          </p:nvSpPr>
          <p:spPr bwMode="auto">
            <a:xfrm>
              <a:off x="7369176" y="4535488"/>
              <a:ext cx="295275" cy="38100"/>
            </a:xfrm>
            <a:custGeom>
              <a:avLst/>
              <a:gdLst>
                <a:gd name="T0" fmla="*/ 0 w 186"/>
                <a:gd name="T1" fmla="*/ 24 h 24"/>
                <a:gd name="T2" fmla="*/ 186 w 186"/>
                <a:gd name="T3" fmla="*/ 24 h 24"/>
                <a:gd name="T4" fmla="*/ 186 w 186"/>
                <a:gd name="T5" fmla="*/ 0 h 24"/>
                <a:gd name="T6" fmla="*/ 0 w 186"/>
                <a:gd name="T7" fmla="*/ 0 h 24"/>
              </a:gdLst>
              <a:ahLst/>
              <a:cxnLst>
                <a:cxn ang="0">
                  <a:pos x="T0" y="T1"/>
                </a:cxn>
                <a:cxn ang="0">
                  <a:pos x="T2" y="T3"/>
                </a:cxn>
                <a:cxn ang="0">
                  <a:pos x="T4" y="T5"/>
                </a:cxn>
                <a:cxn ang="0">
                  <a:pos x="T6" y="T7"/>
                </a:cxn>
              </a:cxnLst>
              <a:rect l="0" t="0" r="r" b="b"/>
              <a:pathLst>
                <a:path w="186" h="24">
                  <a:moveTo>
                    <a:pt x="0" y="24"/>
                  </a:moveTo>
                  <a:lnTo>
                    <a:pt x="186" y="24"/>
                  </a:lnTo>
                  <a:lnTo>
                    <a:pt x="186"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574" name="Freeform 1578">
              <a:extLst>
                <a:ext uri="{FF2B5EF4-FFF2-40B4-BE49-F238E27FC236}">
                  <a16:creationId xmlns:a16="http://schemas.microsoft.com/office/drawing/2014/main" id="{4D6A594C-DC9E-4603-986D-25C3F34266F1}"/>
                </a:ext>
              </a:extLst>
            </p:cNvPr>
            <p:cNvSpPr>
              <a:spLocks/>
            </p:cNvSpPr>
            <p:nvPr userDrawn="1"/>
          </p:nvSpPr>
          <p:spPr bwMode="auto">
            <a:xfrm>
              <a:off x="7448551" y="5910263"/>
              <a:ext cx="136525" cy="141288"/>
            </a:xfrm>
            <a:custGeom>
              <a:avLst/>
              <a:gdLst>
                <a:gd name="T0" fmla="*/ 59 w 69"/>
                <a:gd name="T1" fmla="*/ 36 h 72"/>
                <a:gd name="T2" fmla="*/ 49 w 69"/>
                <a:gd name="T3" fmla="*/ 36 h 72"/>
                <a:gd name="T4" fmla="*/ 44 w 69"/>
                <a:gd name="T5" fmla="*/ 47 h 72"/>
                <a:gd name="T6" fmla="*/ 35 w 69"/>
                <a:gd name="T7" fmla="*/ 52 h 72"/>
                <a:gd name="T8" fmla="*/ 25 w 69"/>
                <a:gd name="T9" fmla="*/ 47 h 72"/>
                <a:gd name="T10" fmla="*/ 21 w 69"/>
                <a:gd name="T11" fmla="*/ 36 h 72"/>
                <a:gd name="T12" fmla="*/ 25 w 69"/>
                <a:gd name="T13" fmla="*/ 25 h 72"/>
                <a:gd name="T14" fmla="*/ 35 w 69"/>
                <a:gd name="T15" fmla="*/ 20 h 72"/>
                <a:gd name="T16" fmla="*/ 44 w 69"/>
                <a:gd name="T17" fmla="*/ 25 h 72"/>
                <a:gd name="T18" fmla="*/ 49 w 69"/>
                <a:gd name="T19" fmla="*/ 36 h 72"/>
                <a:gd name="T20" fmla="*/ 59 w 69"/>
                <a:gd name="T21" fmla="*/ 36 h 72"/>
                <a:gd name="T22" fmla="*/ 69 w 69"/>
                <a:gd name="T23" fmla="*/ 36 h 72"/>
                <a:gd name="T24" fmla="*/ 59 w 69"/>
                <a:gd name="T25" fmla="*/ 11 h 72"/>
                <a:gd name="T26" fmla="*/ 35 w 69"/>
                <a:gd name="T27" fmla="*/ 0 h 72"/>
                <a:gd name="T28" fmla="*/ 10 w 69"/>
                <a:gd name="T29" fmla="*/ 11 h 72"/>
                <a:gd name="T30" fmla="*/ 0 w 69"/>
                <a:gd name="T31" fmla="*/ 36 h 72"/>
                <a:gd name="T32" fmla="*/ 10 w 69"/>
                <a:gd name="T33" fmla="*/ 61 h 72"/>
                <a:gd name="T34" fmla="*/ 35 w 69"/>
                <a:gd name="T35" fmla="*/ 72 h 72"/>
                <a:gd name="T36" fmla="*/ 59 w 69"/>
                <a:gd name="T37" fmla="*/ 61 h 72"/>
                <a:gd name="T38" fmla="*/ 69 w 69"/>
                <a:gd name="T39" fmla="*/ 36 h 72"/>
                <a:gd name="T40" fmla="*/ 59 w 69"/>
                <a:gd name="T41" fmla="*/ 36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9" h="72">
                  <a:moveTo>
                    <a:pt x="59" y="36"/>
                  </a:moveTo>
                  <a:cubicBezTo>
                    <a:pt x="49" y="36"/>
                    <a:pt x="49" y="36"/>
                    <a:pt x="49" y="36"/>
                  </a:cubicBezTo>
                  <a:cubicBezTo>
                    <a:pt x="49" y="40"/>
                    <a:pt x="47" y="44"/>
                    <a:pt x="44" y="47"/>
                  </a:cubicBezTo>
                  <a:cubicBezTo>
                    <a:pt x="42" y="50"/>
                    <a:pt x="38" y="52"/>
                    <a:pt x="35" y="52"/>
                  </a:cubicBezTo>
                  <a:cubicBezTo>
                    <a:pt x="31" y="52"/>
                    <a:pt x="28" y="50"/>
                    <a:pt x="25" y="47"/>
                  </a:cubicBezTo>
                  <a:cubicBezTo>
                    <a:pt x="22" y="44"/>
                    <a:pt x="21" y="40"/>
                    <a:pt x="21" y="36"/>
                  </a:cubicBezTo>
                  <a:cubicBezTo>
                    <a:pt x="21" y="31"/>
                    <a:pt x="22" y="27"/>
                    <a:pt x="25" y="25"/>
                  </a:cubicBezTo>
                  <a:cubicBezTo>
                    <a:pt x="28" y="22"/>
                    <a:pt x="31" y="20"/>
                    <a:pt x="35" y="20"/>
                  </a:cubicBezTo>
                  <a:cubicBezTo>
                    <a:pt x="38" y="20"/>
                    <a:pt x="42" y="22"/>
                    <a:pt x="44" y="25"/>
                  </a:cubicBezTo>
                  <a:cubicBezTo>
                    <a:pt x="47" y="27"/>
                    <a:pt x="49" y="31"/>
                    <a:pt x="49" y="36"/>
                  </a:cubicBezTo>
                  <a:cubicBezTo>
                    <a:pt x="59" y="36"/>
                    <a:pt x="59" y="36"/>
                    <a:pt x="59" y="36"/>
                  </a:cubicBezTo>
                  <a:cubicBezTo>
                    <a:pt x="69" y="36"/>
                    <a:pt x="69" y="36"/>
                    <a:pt x="69" y="36"/>
                  </a:cubicBezTo>
                  <a:cubicBezTo>
                    <a:pt x="69" y="26"/>
                    <a:pt x="65" y="17"/>
                    <a:pt x="59" y="11"/>
                  </a:cubicBezTo>
                  <a:cubicBezTo>
                    <a:pt x="53" y="4"/>
                    <a:pt x="44" y="0"/>
                    <a:pt x="35" y="0"/>
                  </a:cubicBezTo>
                  <a:cubicBezTo>
                    <a:pt x="25" y="0"/>
                    <a:pt x="16" y="4"/>
                    <a:pt x="10" y="11"/>
                  </a:cubicBezTo>
                  <a:cubicBezTo>
                    <a:pt x="4" y="17"/>
                    <a:pt x="0" y="26"/>
                    <a:pt x="0" y="36"/>
                  </a:cubicBezTo>
                  <a:cubicBezTo>
                    <a:pt x="0" y="46"/>
                    <a:pt x="4" y="54"/>
                    <a:pt x="10" y="61"/>
                  </a:cubicBezTo>
                  <a:cubicBezTo>
                    <a:pt x="16" y="68"/>
                    <a:pt x="25" y="72"/>
                    <a:pt x="35" y="72"/>
                  </a:cubicBezTo>
                  <a:cubicBezTo>
                    <a:pt x="44" y="72"/>
                    <a:pt x="53" y="68"/>
                    <a:pt x="59" y="61"/>
                  </a:cubicBezTo>
                  <a:cubicBezTo>
                    <a:pt x="65" y="54"/>
                    <a:pt x="69" y="46"/>
                    <a:pt x="69" y="36"/>
                  </a:cubicBezTo>
                  <a:lnTo>
                    <a:pt x="59" y="36"/>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1575" name="Rectangle 1579">
              <a:extLst>
                <a:ext uri="{FF2B5EF4-FFF2-40B4-BE49-F238E27FC236}">
                  <a16:creationId xmlns:a16="http://schemas.microsoft.com/office/drawing/2014/main" id="{2D337547-E310-434D-9267-C4FEE06D8CA9}"/>
                </a:ext>
              </a:extLst>
            </p:cNvPr>
            <p:cNvSpPr>
              <a:spLocks noChangeArrowheads="1"/>
            </p:cNvSpPr>
            <p:nvPr userDrawn="1"/>
          </p:nvSpPr>
          <p:spPr bwMode="auto">
            <a:xfrm>
              <a:off x="7119938" y="4672013"/>
              <a:ext cx="795338" cy="1198563"/>
            </a:xfrm>
            <a:prstGeom prst="rect">
              <a:avLst/>
            </a:prstGeom>
            <a:solidFill>
              <a:schemeClr val="accent2">
                <a:lumMod val="60000"/>
                <a:lumOff val="4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1576" name="Rectangle 1580">
              <a:extLst>
                <a:ext uri="{FF2B5EF4-FFF2-40B4-BE49-F238E27FC236}">
                  <a16:creationId xmlns:a16="http://schemas.microsoft.com/office/drawing/2014/main" id="{EF38ABA1-EC7D-4D23-8508-A15477E61332}"/>
                </a:ext>
              </a:extLst>
            </p:cNvPr>
            <p:cNvSpPr>
              <a:spLocks noChangeArrowheads="1"/>
            </p:cNvSpPr>
            <p:nvPr userDrawn="1"/>
          </p:nvSpPr>
          <p:spPr bwMode="auto">
            <a:xfrm>
              <a:off x="7119938" y="4672013"/>
              <a:ext cx="795338" cy="1198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577" name="Freeform 1581">
              <a:extLst>
                <a:ext uri="{FF2B5EF4-FFF2-40B4-BE49-F238E27FC236}">
                  <a16:creationId xmlns:a16="http://schemas.microsoft.com/office/drawing/2014/main" id="{DE69A816-887D-48E4-ADEA-84DF6B383AEC}"/>
                </a:ext>
              </a:extLst>
            </p:cNvPr>
            <p:cNvSpPr>
              <a:spLocks noEditPoints="1"/>
            </p:cNvSpPr>
            <p:nvPr userDrawn="1"/>
          </p:nvSpPr>
          <p:spPr bwMode="auto">
            <a:xfrm>
              <a:off x="7610476" y="4425950"/>
              <a:ext cx="200025" cy="1673225"/>
            </a:xfrm>
            <a:custGeom>
              <a:avLst/>
              <a:gdLst>
                <a:gd name="T0" fmla="*/ 22 w 101"/>
                <a:gd name="T1" fmla="*/ 730 h 846"/>
                <a:gd name="T2" fmla="*/ 0 w 101"/>
                <a:gd name="T3" fmla="*/ 730 h 846"/>
                <a:gd name="T4" fmla="*/ 10 w 101"/>
                <a:gd name="T5" fmla="*/ 795 h 846"/>
                <a:gd name="T6" fmla="*/ 37 w 101"/>
                <a:gd name="T7" fmla="*/ 846 h 846"/>
                <a:gd name="T8" fmla="*/ 59 w 101"/>
                <a:gd name="T9" fmla="*/ 846 h 846"/>
                <a:gd name="T10" fmla="*/ 58 w 101"/>
                <a:gd name="T11" fmla="*/ 846 h 846"/>
                <a:gd name="T12" fmla="*/ 32 w 101"/>
                <a:gd name="T13" fmla="*/ 795 h 846"/>
                <a:gd name="T14" fmla="*/ 22 w 101"/>
                <a:gd name="T15" fmla="*/ 730 h 846"/>
                <a:gd name="T16" fmla="*/ 101 w 101"/>
                <a:gd name="T17" fmla="*/ 0 h 846"/>
                <a:gd name="T18" fmla="*/ 69 w 101"/>
                <a:gd name="T19" fmla="*/ 0 h 846"/>
                <a:gd name="T20" fmla="*/ 69 w 101"/>
                <a:gd name="T21" fmla="*/ 124 h 846"/>
                <a:gd name="T22" fmla="*/ 101 w 101"/>
                <a:gd name="T23" fmla="*/ 124 h 846"/>
                <a:gd name="T24" fmla="*/ 101 w 101"/>
                <a:gd name="T25" fmla="*/ 0 h 8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1" h="846">
                  <a:moveTo>
                    <a:pt x="22" y="730"/>
                  </a:moveTo>
                  <a:cubicBezTo>
                    <a:pt x="0" y="730"/>
                    <a:pt x="0" y="730"/>
                    <a:pt x="0" y="730"/>
                  </a:cubicBezTo>
                  <a:cubicBezTo>
                    <a:pt x="10" y="795"/>
                    <a:pt x="10" y="795"/>
                    <a:pt x="10" y="795"/>
                  </a:cubicBezTo>
                  <a:cubicBezTo>
                    <a:pt x="13" y="816"/>
                    <a:pt x="23" y="833"/>
                    <a:pt x="37" y="846"/>
                  </a:cubicBezTo>
                  <a:cubicBezTo>
                    <a:pt x="59" y="846"/>
                    <a:pt x="59" y="846"/>
                    <a:pt x="59" y="846"/>
                  </a:cubicBezTo>
                  <a:cubicBezTo>
                    <a:pt x="59" y="846"/>
                    <a:pt x="58" y="846"/>
                    <a:pt x="58" y="846"/>
                  </a:cubicBezTo>
                  <a:cubicBezTo>
                    <a:pt x="45" y="833"/>
                    <a:pt x="35" y="815"/>
                    <a:pt x="32" y="795"/>
                  </a:cubicBezTo>
                  <a:cubicBezTo>
                    <a:pt x="22" y="730"/>
                    <a:pt x="22" y="730"/>
                    <a:pt x="22" y="730"/>
                  </a:cubicBezTo>
                  <a:moveTo>
                    <a:pt x="101" y="0"/>
                  </a:moveTo>
                  <a:cubicBezTo>
                    <a:pt x="69" y="0"/>
                    <a:pt x="69" y="0"/>
                    <a:pt x="69" y="0"/>
                  </a:cubicBezTo>
                  <a:cubicBezTo>
                    <a:pt x="69" y="124"/>
                    <a:pt x="69" y="124"/>
                    <a:pt x="69" y="124"/>
                  </a:cubicBezTo>
                  <a:cubicBezTo>
                    <a:pt x="101" y="124"/>
                    <a:pt x="101" y="124"/>
                    <a:pt x="101" y="124"/>
                  </a:cubicBezTo>
                  <a:cubicBezTo>
                    <a:pt x="101" y="0"/>
                    <a:pt x="101" y="0"/>
                    <a:pt x="101" y="0"/>
                  </a:cubicBezTo>
                </a:path>
              </a:pathLst>
            </a:custGeom>
            <a:solidFill>
              <a:schemeClr val="accent2">
                <a:lumMod val="40000"/>
                <a:lumOff val="6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1578" name="Freeform 1582">
              <a:extLst>
                <a:ext uri="{FF2B5EF4-FFF2-40B4-BE49-F238E27FC236}">
                  <a16:creationId xmlns:a16="http://schemas.microsoft.com/office/drawing/2014/main" id="{2186AE48-88F3-4F48-A429-9F45A9E028D1}"/>
                </a:ext>
              </a:extLst>
            </p:cNvPr>
            <p:cNvSpPr>
              <a:spLocks noEditPoints="1"/>
            </p:cNvSpPr>
            <p:nvPr userDrawn="1"/>
          </p:nvSpPr>
          <p:spPr bwMode="auto">
            <a:xfrm>
              <a:off x="7605713" y="4672013"/>
              <a:ext cx="204788" cy="1198563"/>
            </a:xfrm>
            <a:custGeom>
              <a:avLst/>
              <a:gdLst>
                <a:gd name="T0" fmla="*/ 28 w 129"/>
                <a:gd name="T1" fmla="*/ 740 h 755"/>
                <a:gd name="T2" fmla="*/ 0 w 129"/>
                <a:gd name="T3" fmla="*/ 740 h 755"/>
                <a:gd name="T4" fmla="*/ 3 w 129"/>
                <a:gd name="T5" fmla="*/ 755 h 755"/>
                <a:gd name="T6" fmla="*/ 30 w 129"/>
                <a:gd name="T7" fmla="*/ 755 h 755"/>
                <a:gd name="T8" fmla="*/ 28 w 129"/>
                <a:gd name="T9" fmla="*/ 740 h 755"/>
                <a:gd name="T10" fmla="*/ 129 w 129"/>
                <a:gd name="T11" fmla="*/ 0 h 755"/>
                <a:gd name="T12" fmla="*/ 89 w 129"/>
                <a:gd name="T13" fmla="*/ 0 h 755"/>
                <a:gd name="T14" fmla="*/ 89 w 129"/>
                <a:gd name="T15" fmla="*/ 739 h 755"/>
                <a:gd name="T16" fmla="*/ 129 w 129"/>
                <a:gd name="T17" fmla="*/ 739 h 755"/>
                <a:gd name="T18" fmla="*/ 129 w 129"/>
                <a:gd name="T19" fmla="*/ 0 h 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9" h="755">
                  <a:moveTo>
                    <a:pt x="28" y="740"/>
                  </a:moveTo>
                  <a:lnTo>
                    <a:pt x="0" y="740"/>
                  </a:lnTo>
                  <a:lnTo>
                    <a:pt x="3" y="755"/>
                  </a:lnTo>
                  <a:lnTo>
                    <a:pt x="30" y="755"/>
                  </a:lnTo>
                  <a:lnTo>
                    <a:pt x="28" y="740"/>
                  </a:lnTo>
                  <a:close/>
                  <a:moveTo>
                    <a:pt x="129" y="0"/>
                  </a:moveTo>
                  <a:lnTo>
                    <a:pt x="89" y="0"/>
                  </a:lnTo>
                  <a:lnTo>
                    <a:pt x="89" y="739"/>
                  </a:lnTo>
                  <a:lnTo>
                    <a:pt x="129" y="739"/>
                  </a:lnTo>
                  <a:lnTo>
                    <a:pt x="129" y="0"/>
                  </a:lnTo>
                  <a:close/>
                </a:path>
              </a:pathLst>
            </a:custGeom>
            <a:solidFill>
              <a:schemeClr val="accent2">
                <a:lumMod val="75000"/>
                <a:alpha val="3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1579" name="Freeform 1583">
              <a:extLst>
                <a:ext uri="{FF2B5EF4-FFF2-40B4-BE49-F238E27FC236}">
                  <a16:creationId xmlns:a16="http://schemas.microsoft.com/office/drawing/2014/main" id="{117C7B55-7C24-4C7C-A714-BECEE2D0DCA0}"/>
                </a:ext>
              </a:extLst>
            </p:cNvPr>
            <p:cNvSpPr>
              <a:spLocks noEditPoints="1"/>
            </p:cNvSpPr>
            <p:nvPr userDrawn="1"/>
          </p:nvSpPr>
          <p:spPr bwMode="auto">
            <a:xfrm>
              <a:off x="7605713" y="4672013"/>
              <a:ext cx="204788" cy="1198563"/>
            </a:xfrm>
            <a:custGeom>
              <a:avLst/>
              <a:gdLst>
                <a:gd name="T0" fmla="*/ 28 w 129"/>
                <a:gd name="T1" fmla="*/ 740 h 755"/>
                <a:gd name="T2" fmla="*/ 0 w 129"/>
                <a:gd name="T3" fmla="*/ 740 h 755"/>
                <a:gd name="T4" fmla="*/ 3 w 129"/>
                <a:gd name="T5" fmla="*/ 755 h 755"/>
                <a:gd name="T6" fmla="*/ 30 w 129"/>
                <a:gd name="T7" fmla="*/ 755 h 755"/>
                <a:gd name="T8" fmla="*/ 28 w 129"/>
                <a:gd name="T9" fmla="*/ 740 h 755"/>
                <a:gd name="T10" fmla="*/ 129 w 129"/>
                <a:gd name="T11" fmla="*/ 0 h 755"/>
                <a:gd name="T12" fmla="*/ 89 w 129"/>
                <a:gd name="T13" fmla="*/ 0 h 755"/>
                <a:gd name="T14" fmla="*/ 89 w 129"/>
                <a:gd name="T15" fmla="*/ 739 h 755"/>
                <a:gd name="T16" fmla="*/ 129 w 129"/>
                <a:gd name="T17" fmla="*/ 739 h 755"/>
                <a:gd name="T18" fmla="*/ 129 w 129"/>
                <a:gd name="T19" fmla="*/ 0 h 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9" h="755">
                  <a:moveTo>
                    <a:pt x="28" y="740"/>
                  </a:moveTo>
                  <a:lnTo>
                    <a:pt x="0" y="740"/>
                  </a:lnTo>
                  <a:lnTo>
                    <a:pt x="3" y="755"/>
                  </a:lnTo>
                  <a:lnTo>
                    <a:pt x="30" y="755"/>
                  </a:lnTo>
                  <a:lnTo>
                    <a:pt x="28" y="740"/>
                  </a:lnTo>
                  <a:moveTo>
                    <a:pt x="129" y="0"/>
                  </a:moveTo>
                  <a:lnTo>
                    <a:pt x="89" y="0"/>
                  </a:lnTo>
                  <a:lnTo>
                    <a:pt x="89" y="739"/>
                  </a:lnTo>
                  <a:lnTo>
                    <a:pt x="129" y="739"/>
                  </a:lnTo>
                  <a:lnTo>
                    <a:pt x="12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580" name="Freeform 1584">
              <a:extLst>
                <a:ext uri="{FF2B5EF4-FFF2-40B4-BE49-F238E27FC236}">
                  <a16:creationId xmlns:a16="http://schemas.microsoft.com/office/drawing/2014/main" id="{BDE52EE6-3DEB-4741-A2B5-CFC5A054E1E9}"/>
                </a:ext>
              </a:extLst>
            </p:cNvPr>
            <p:cNvSpPr>
              <a:spLocks/>
            </p:cNvSpPr>
            <p:nvPr userDrawn="1"/>
          </p:nvSpPr>
          <p:spPr bwMode="auto">
            <a:xfrm>
              <a:off x="7810501" y="3786188"/>
              <a:ext cx="2876550" cy="2209800"/>
            </a:xfrm>
            <a:custGeom>
              <a:avLst/>
              <a:gdLst>
                <a:gd name="T0" fmla="*/ 1449 w 1453"/>
                <a:gd name="T1" fmla="*/ 1117 h 1117"/>
                <a:gd name="T2" fmla="*/ 4 w 1453"/>
                <a:gd name="T3" fmla="*/ 1117 h 1117"/>
                <a:gd name="T4" fmla="*/ 0 w 1453"/>
                <a:gd name="T5" fmla="*/ 1113 h 1117"/>
                <a:gd name="T6" fmla="*/ 0 w 1453"/>
                <a:gd name="T7" fmla="*/ 4 h 1117"/>
                <a:gd name="T8" fmla="*/ 4 w 1453"/>
                <a:gd name="T9" fmla="*/ 0 h 1117"/>
                <a:gd name="T10" fmla="*/ 1449 w 1453"/>
                <a:gd name="T11" fmla="*/ 0 h 1117"/>
                <a:gd name="T12" fmla="*/ 1453 w 1453"/>
                <a:gd name="T13" fmla="*/ 4 h 1117"/>
                <a:gd name="T14" fmla="*/ 1453 w 1453"/>
                <a:gd name="T15" fmla="*/ 1113 h 1117"/>
                <a:gd name="T16" fmla="*/ 1449 w 1453"/>
                <a:gd name="T17" fmla="*/ 1117 h 1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53" h="1117">
                  <a:moveTo>
                    <a:pt x="1449" y="1117"/>
                  </a:moveTo>
                  <a:cubicBezTo>
                    <a:pt x="4" y="1117"/>
                    <a:pt x="4" y="1117"/>
                    <a:pt x="4" y="1117"/>
                  </a:cubicBezTo>
                  <a:cubicBezTo>
                    <a:pt x="2" y="1117"/>
                    <a:pt x="0" y="1115"/>
                    <a:pt x="0" y="1113"/>
                  </a:cubicBezTo>
                  <a:cubicBezTo>
                    <a:pt x="0" y="4"/>
                    <a:pt x="0" y="4"/>
                    <a:pt x="0" y="4"/>
                  </a:cubicBezTo>
                  <a:cubicBezTo>
                    <a:pt x="0" y="2"/>
                    <a:pt x="2" y="0"/>
                    <a:pt x="4" y="0"/>
                  </a:cubicBezTo>
                  <a:cubicBezTo>
                    <a:pt x="1449" y="0"/>
                    <a:pt x="1449" y="0"/>
                    <a:pt x="1449" y="0"/>
                  </a:cubicBezTo>
                  <a:cubicBezTo>
                    <a:pt x="1451" y="0"/>
                    <a:pt x="1453" y="2"/>
                    <a:pt x="1453" y="4"/>
                  </a:cubicBezTo>
                  <a:cubicBezTo>
                    <a:pt x="1453" y="1113"/>
                    <a:pt x="1453" y="1113"/>
                    <a:pt x="1453" y="1113"/>
                  </a:cubicBezTo>
                  <a:cubicBezTo>
                    <a:pt x="1453" y="1115"/>
                    <a:pt x="1451" y="1117"/>
                    <a:pt x="1449" y="1117"/>
                  </a:cubicBezTo>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1581" name="Freeform 1585">
              <a:extLst>
                <a:ext uri="{FF2B5EF4-FFF2-40B4-BE49-F238E27FC236}">
                  <a16:creationId xmlns:a16="http://schemas.microsoft.com/office/drawing/2014/main" id="{7779D0D4-99FA-4CD5-ACB2-60D44C7CB563}"/>
                </a:ext>
              </a:extLst>
            </p:cNvPr>
            <p:cNvSpPr>
              <a:spLocks/>
            </p:cNvSpPr>
            <p:nvPr userDrawn="1"/>
          </p:nvSpPr>
          <p:spPr bwMode="auto">
            <a:xfrm>
              <a:off x="7789863" y="3767138"/>
              <a:ext cx="1192213" cy="2128838"/>
            </a:xfrm>
            <a:custGeom>
              <a:avLst/>
              <a:gdLst>
                <a:gd name="T0" fmla="*/ 20 w 602"/>
                <a:gd name="T1" fmla="*/ 1076 h 1076"/>
                <a:gd name="T2" fmla="*/ 20 w 602"/>
                <a:gd name="T3" fmla="*/ 48 h 1076"/>
                <a:gd name="T4" fmla="*/ 28 w 602"/>
                <a:gd name="T5" fmla="*/ 28 h 1076"/>
                <a:gd name="T6" fmla="*/ 46 w 602"/>
                <a:gd name="T7" fmla="*/ 20 h 1076"/>
                <a:gd name="T8" fmla="*/ 602 w 602"/>
                <a:gd name="T9" fmla="*/ 20 h 1076"/>
                <a:gd name="T10" fmla="*/ 602 w 602"/>
                <a:gd name="T11" fmla="*/ 0 h 1076"/>
                <a:gd name="T12" fmla="*/ 46 w 602"/>
                <a:gd name="T13" fmla="*/ 0 h 1076"/>
                <a:gd name="T14" fmla="*/ 13 w 602"/>
                <a:gd name="T15" fmla="*/ 14 h 1076"/>
                <a:gd name="T16" fmla="*/ 0 w 602"/>
                <a:gd name="T17" fmla="*/ 48 h 1076"/>
                <a:gd name="T18" fmla="*/ 0 w 602"/>
                <a:gd name="T19" fmla="*/ 1076 h 1076"/>
                <a:gd name="T20" fmla="*/ 20 w 602"/>
                <a:gd name="T21" fmla="*/ 1076 h 10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02" h="1076">
                  <a:moveTo>
                    <a:pt x="20" y="1076"/>
                  </a:moveTo>
                  <a:cubicBezTo>
                    <a:pt x="20" y="48"/>
                    <a:pt x="20" y="48"/>
                    <a:pt x="20" y="48"/>
                  </a:cubicBezTo>
                  <a:cubicBezTo>
                    <a:pt x="20" y="40"/>
                    <a:pt x="23" y="33"/>
                    <a:pt x="28" y="28"/>
                  </a:cubicBezTo>
                  <a:cubicBezTo>
                    <a:pt x="33" y="23"/>
                    <a:pt x="39" y="20"/>
                    <a:pt x="46" y="20"/>
                  </a:cubicBezTo>
                  <a:cubicBezTo>
                    <a:pt x="602" y="20"/>
                    <a:pt x="602" y="20"/>
                    <a:pt x="602" y="20"/>
                  </a:cubicBezTo>
                  <a:cubicBezTo>
                    <a:pt x="602" y="0"/>
                    <a:pt x="602" y="0"/>
                    <a:pt x="602" y="0"/>
                  </a:cubicBezTo>
                  <a:cubicBezTo>
                    <a:pt x="46" y="0"/>
                    <a:pt x="46" y="0"/>
                    <a:pt x="46" y="0"/>
                  </a:cubicBezTo>
                  <a:cubicBezTo>
                    <a:pt x="33" y="0"/>
                    <a:pt x="21" y="5"/>
                    <a:pt x="13" y="14"/>
                  </a:cubicBezTo>
                  <a:cubicBezTo>
                    <a:pt x="5" y="23"/>
                    <a:pt x="0" y="35"/>
                    <a:pt x="0" y="48"/>
                  </a:cubicBezTo>
                  <a:cubicBezTo>
                    <a:pt x="0" y="1076"/>
                    <a:pt x="0" y="1076"/>
                    <a:pt x="0" y="1076"/>
                  </a:cubicBezTo>
                  <a:cubicBezTo>
                    <a:pt x="20" y="1076"/>
                    <a:pt x="20" y="1076"/>
                    <a:pt x="20" y="1076"/>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1582" name="Freeform 1586">
              <a:extLst>
                <a:ext uri="{FF2B5EF4-FFF2-40B4-BE49-F238E27FC236}">
                  <a16:creationId xmlns:a16="http://schemas.microsoft.com/office/drawing/2014/main" id="{01EF6AD1-94BF-45FF-9E82-95C427D45527}"/>
                </a:ext>
              </a:extLst>
            </p:cNvPr>
            <p:cNvSpPr>
              <a:spLocks/>
            </p:cNvSpPr>
            <p:nvPr userDrawn="1"/>
          </p:nvSpPr>
          <p:spPr bwMode="auto">
            <a:xfrm>
              <a:off x="10153651" y="3767138"/>
              <a:ext cx="554038" cy="2249488"/>
            </a:xfrm>
            <a:custGeom>
              <a:avLst/>
              <a:gdLst>
                <a:gd name="T0" fmla="*/ 0 w 280"/>
                <a:gd name="T1" fmla="*/ 20 h 1137"/>
                <a:gd name="T2" fmla="*/ 234 w 280"/>
                <a:gd name="T3" fmla="*/ 20 h 1137"/>
                <a:gd name="T4" fmla="*/ 252 w 280"/>
                <a:gd name="T5" fmla="*/ 28 h 1137"/>
                <a:gd name="T6" fmla="*/ 260 w 280"/>
                <a:gd name="T7" fmla="*/ 48 h 1137"/>
                <a:gd name="T8" fmla="*/ 260 w 280"/>
                <a:gd name="T9" fmla="*/ 1088 h 1137"/>
                <a:gd name="T10" fmla="*/ 252 w 280"/>
                <a:gd name="T11" fmla="*/ 1109 h 1137"/>
                <a:gd name="T12" fmla="*/ 234 w 280"/>
                <a:gd name="T13" fmla="*/ 1117 h 1137"/>
                <a:gd name="T14" fmla="*/ 234 w 280"/>
                <a:gd name="T15" fmla="*/ 1137 h 1137"/>
                <a:gd name="T16" fmla="*/ 267 w 280"/>
                <a:gd name="T17" fmla="*/ 1122 h 1137"/>
                <a:gd name="T18" fmla="*/ 280 w 280"/>
                <a:gd name="T19" fmla="*/ 1088 h 1137"/>
                <a:gd name="T20" fmla="*/ 280 w 280"/>
                <a:gd name="T21" fmla="*/ 48 h 1137"/>
                <a:gd name="T22" fmla="*/ 267 w 280"/>
                <a:gd name="T23" fmla="*/ 14 h 1137"/>
                <a:gd name="T24" fmla="*/ 234 w 280"/>
                <a:gd name="T25" fmla="*/ 0 h 1137"/>
                <a:gd name="T26" fmla="*/ 0 w 280"/>
                <a:gd name="T27" fmla="*/ 0 h 1137"/>
                <a:gd name="T28" fmla="*/ 0 w 280"/>
                <a:gd name="T29" fmla="*/ 20 h 1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80" h="1137">
                  <a:moveTo>
                    <a:pt x="0" y="20"/>
                  </a:moveTo>
                  <a:cubicBezTo>
                    <a:pt x="234" y="20"/>
                    <a:pt x="234" y="20"/>
                    <a:pt x="234" y="20"/>
                  </a:cubicBezTo>
                  <a:cubicBezTo>
                    <a:pt x="241" y="20"/>
                    <a:pt x="247" y="23"/>
                    <a:pt x="252" y="28"/>
                  </a:cubicBezTo>
                  <a:cubicBezTo>
                    <a:pt x="257" y="33"/>
                    <a:pt x="260" y="40"/>
                    <a:pt x="260" y="48"/>
                  </a:cubicBezTo>
                  <a:cubicBezTo>
                    <a:pt x="260" y="1088"/>
                    <a:pt x="260" y="1088"/>
                    <a:pt x="260" y="1088"/>
                  </a:cubicBezTo>
                  <a:cubicBezTo>
                    <a:pt x="260" y="1096"/>
                    <a:pt x="257" y="1103"/>
                    <a:pt x="252" y="1109"/>
                  </a:cubicBezTo>
                  <a:cubicBezTo>
                    <a:pt x="247" y="1114"/>
                    <a:pt x="241" y="1117"/>
                    <a:pt x="234" y="1117"/>
                  </a:cubicBezTo>
                  <a:cubicBezTo>
                    <a:pt x="234" y="1137"/>
                    <a:pt x="234" y="1137"/>
                    <a:pt x="234" y="1137"/>
                  </a:cubicBezTo>
                  <a:cubicBezTo>
                    <a:pt x="247" y="1137"/>
                    <a:pt x="259" y="1131"/>
                    <a:pt x="267" y="1122"/>
                  </a:cubicBezTo>
                  <a:cubicBezTo>
                    <a:pt x="275" y="1114"/>
                    <a:pt x="280" y="1101"/>
                    <a:pt x="280" y="1088"/>
                  </a:cubicBezTo>
                  <a:cubicBezTo>
                    <a:pt x="280" y="48"/>
                    <a:pt x="280" y="48"/>
                    <a:pt x="280" y="48"/>
                  </a:cubicBezTo>
                  <a:cubicBezTo>
                    <a:pt x="280" y="35"/>
                    <a:pt x="275" y="23"/>
                    <a:pt x="267" y="14"/>
                  </a:cubicBezTo>
                  <a:cubicBezTo>
                    <a:pt x="259" y="5"/>
                    <a:pt x="247" y="0"/>
                    <a:pt x="234" y="0"/>
                  </a:cubicBezTo>
                  <a:cubicBezTo>
                    <a:pt x="0" y="0"/>
                    <a:pt x="0" y="0"/>
                    <a:pt x="0" y="0"/>
                  </a:cubicBezTo>
                  <a:cubicBezTo>
                    <a:pt x="0" y="20"/>
                    <a:pt x="0" y="20"/>
                    <a:pt x="0" y="20"/>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1583" name="Rectangle 1587">
              <a:extLst>
                <a:ext uri="{FF2B5EF4-FFF2-40B4-BE49-F238E27FC236}">
                  <a16:creationId xmlns:a16="http://schemas.microsoft.com/office/drawing/2014/main" id="{D4FFB306-89BC-48BA-B6C3-1E2237C39FC6}"/>
                </a:ext>
              </a:extLst>
            </p:cNvPr>
            <p:cNvSpPr>
              <a:spLocks noChangeArrowheads="1"/>
            </p:cNvSpPr>
            <p:nvPr userDrawn="1"/>
          </p:nvSpPr>
          <p:spPr bwMode="auto">
            <a:xfrm>
              <a:off x="7948613" y="3960813"/>
              <a:ext cx="2584450" cy="1792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584" name="Rectangle 1588">
              <a:extLst>
                <a:ext uri="{FF2B5EF4-FFF2-40B4-BE49-F238E27FC236}">
                  <a16:creationId xmlns:a16="http://schemas.microsoft.com/office/drawing/2014/main" id="{BAE4E887-CDEB-4F0F-961D-DFFB3D57C402}"/>
                </a:ext>
              </a:extLst>
            </p:cNvPr>
            <p:cNvSpPr>
              <a:spLocks noChangeArrowheads="1"/>
            </p:cNvSpPr>
            <p:nvPr userDrawn="1"/>
          </p:nvSpPr>
          <p:spPr bwMode="auto">
            <a:xfrm>
              <a:off x="7948613" y="3960813"/>
              <a:ext cx="2584450" cy="1792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585" name="Freeform 1589">
              <a:extLst>
                <a:ext uri="{FF2B5EF4-FFF2-40B4-BE49-F238E27FC236}">
                  <a16:creationId xmlns:a16="http://schemas.microsoft.com/office/drawing/2014/main" id="{4765D8B6-19E5-4C9F-BE26-07B0D90021A4}"/>
                </a:ext>
              </a:extLst>
            </p:cNvPr>
            <p:cNvSpPr>
              <a:spLocks/>
            </p:cNvSpPr>
            <p:nvPr userDrawn="1"/>
          </p:nvSpPr>
          <p:spPr bwMode="auto">
            <a:xfrm>
              <a:off x="7673976" y="5865813"/>
              <a:ext cx="3133725" cy="254000"/>
            </a:xfrm>
            <a:custGeom>
              <a:avLst/>
              <a:gdLst>
                <a:gd name="T0" fmla="*/ 1497 w 1583"/>
                <a:gd name="T1" fmla="*/ 128 h 128"/>
                <a:gd name="T2" fmla="*/ 78 w 1583"/>
                <a:gd name="T3" fmla="*/ 128 h 128"/>
                <a:gd name="T4" fmla="*/ 10 w 1583"/>
                <a:gd name="T5" fmla="*/ 65 h 128"/>
                <a:gd name="T6" fmla="*/ 0 w 1583"/>
                <a:gd name="T7" fmla="*/ 0 h 128"/>
                <a:gd name="T8" fmla="*/ 657 w 1583"/>
                <a:gd name="T9" fmla="*/ 0 h 128"/>
                <a:gd name="T10" fmla="*/ 682 w 1583"/>
                <a:gd name="T11" fmla="*/ 38 h 128"/>
                <a:gd name="T12" fmla="*/ 864 w 1583"/>
                <a:gd name="T13" fmla="*/ 38 h 128"/>
                <a:gd name="T14" fmla="*/ 891 w 1583"/>
                <a:gd name="T15" fmla="*/ 0 h 128"/>
                <a:gd name="T16" fmla="*/ 1583 w 1583"/>
                <a:gd name="T17" fmla="*/ 0 h 128"/>
                <a:gd name="T18" fmla="*/ 1575 w 1583"/>
                <a:gd name="T19" fmla="*/ 57 h 128"/>
                <a:gd name="T20" fmla="*/ 1497 w 1583"/>
                <a:gd name="T21" fmla="*/ 12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83" h="128">
                  <a:moveTo>
                    <a:pt x="1497" y="128"/>
                  </a:moveTo>
                  <a:cubicBezTo>
                    <a:pt x="78" y="128"/>
                    <a:pt x="78" y="128"/>
                    <a:pt x="78" y="128"/>
                  </a:cubicBezTo>
                  <a:cubicBezTo>
                    <a:pt x="44" y="128"/>
                    <a:pt x="15" y="101"/>
                    <a:pt x="10" y="65"/>
                  </a:cubicBezTo>
                  <a:cubicBezTo>
                    <a:pt x="0" y="0"/>
                    <a:pt x="0" y="0"/>
                    <a:pt x="0" y="0"/>
                  </a:cubicBezTo>
                  <a:cubicBezTo>
                    <a:pt x="657" y="0"/>
                    <a:pt x="657" y="0"/>
                    <a:pt x="657" y="0"/>
                  </a:cubicBezTo>
                  <a:cubicBezTo>
                    <a:pt x="682" y="38"/>
                    <a:pt x="682" y="38"/>
                    <a:pt x="682" y="38"/>
                  </a:cubicBezTo>
                  <a:cubicBezTo>
                    <a:pt x="864" y="38"/>
                    <a:pt x="864" y="38"/>
                    <a:pt x="864" y="38"/>
                  </a:cubicBezTo>
                  <a:cubicBezTo>
                    <a:pt x="891" y="0"/>
                    <a:pt x="891" y="0"/>
                    <a:pt x="891" y="0"/>
                  </a:cubicBezTo>
                  <a:cubicBezTo>
                    <a:pt x="1583" y="0"/>
                    <a:pt x="1583" y="0"/>
                    <a:pt x="1583" y="0"/>
                  </a:cubicBezTo>
                  <a:cubicBezTo>
                    <a:pt x="1575" y="57"/>
                    <a:pt x="1575" y="57"/>
                    <a:pt x="1575" y="57"/>
                  </a:cubicBezTo>
                  <a:cubicBezTo>
                    <a:pt x="1568" y="98"/>
                    <a:pt x="1535" y="128"/>
                    <a:pt x="1497" y="12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586" name="Freeform 1590">
              <a:extLst>
                <a:ext uri="{FF2B5EF4-FFF2-40B4-BE49-F238E27FC236}">
                  <a16:creationId xmlns:a16="http://schemas.microsoft.com/office/drawing/2014/main" id="{A42D113D-0379-414C-A53A-64811D76BEEC}"/>
                </a:ext>
              </a:extLst>
            </p:cNvPr>
            <p:cNvSpPr>
              <a:spLocks/>
            </p:cNvSpPr>
            <p:nvPr userDrawn="1"/>
          </p:nvSpPr>
          <p:spPr bwMode="auto">
            <a:xfrm>
              <a:off x="7650163" y="5845175"/>
              <a:ext cx="3181350" cy="293688"/>
            </a:xfrm>
            <a:custGeom>
              <a:avLst/>
              <a:gdLst>
                <a:gd name="T0" fmla="*/ 1509 w 1607"/>
                <a:gd name="T1" fmla="*/ 139 h 149"/>
                <a:gd name="T2" fmla="*/ 1509 w 1607"/>
                <a:gd name="T3" fmla="*/ 129 h 149"/>
                <a:gd name="T4" fmla="*/ 90 w 1607"/>
                <a:gd name="T5" fmla="*/ 129 h 149"/>
                <a:gd name="T6" fmla="*/ 52 w 1607"/>
                <a:gd name="T7" fmla="*/ 114 h 149"/>
                <a:gd name="T8" fmla="*/ 32 w 1607"/>
                <a:gd name="T9" fmla="*/ 75 h 149"/>
                <a:gd name="T10" fmla="*/ 23 w 1607"/>
                <a:gd name="T11" fmla="*/ 21 h 149"/>
                <a:gd name="T12" fmla="*/ 663 w 1607"/>
                <a:gd name="T13" fmla="*/ 21 h 149"/>
                <a:gd name="T14" fmla="*/ 689 w 1607"/>
                <a:gd name="T15" fmla="*/ 59 h 149"/>
                <a:gd name="T16" fmla="*/ 881 w 1607"/>
                <a:gd name="T17" fmla="*/ 59 h 149"/>
                <a:gd name="T18" fmla="*/ 908 w 1607"/>
                <a:gd name="T19" fmla="*/ 21 h 149"/>
                <a:gd name="T20" fmla="*/ 1584 w 1607"/>
                <a:gd name="T21" fmla="*/ 21 h 149"/>
                <a:gd name="T22" fmla="*/ 1577 w 1607"/>
                <a:gd name="T23" fmla="*/ 66 h 149"/>
                <a:gd name="T24" fmla="*/ 1553 w 1607"/>
                <a:gd name="T25" fmla="*/ 111 h 149"/>
                <a:gd name="T26" fmla="*/ 1509 w 1607"/>
                <a:gd name="T27" fmla="*/ 129 h 149"/>
                <a:gd name="T28" fmla="*/ 1509 w 1607"/>
                <a:gd name="T29" fmla="*/ 139 h 149"/>
                <a:gd name="T30" fmla="*/ 1509 w 1607"/>
                <a:gd name="T31" fmla="*/ 149 h 149"/>
                <a:gd name="T32" fmla="*/ 1567 w 1607"/>
                <a:gd name="T33" fmla="*/ 126 h 149"/>
                <a:gd name="T34" fmla="*/ 1597 w 1607"/>
                <a:gd name="T35" fmla="*/ 69 h 149"/>
                <a:gd name="T36" fmla="*/ 1607 w 1607"/>
                <a:gd name="T37" fmla="*/ 0 h 149"/>
                <a:gd name="T38" fmla="*/ 898 w 1607"/>
                <a:gd name="T39" fmla="*/ 0 h 149"/>
                <a:gd name="T40" fmla="*/ 871 w 1607"/>
                <a:gd name="T41" fmla="*/ 39 h 149"/>
                <a:gd name="T42" fmla="*/ 700 w 1607"/>
                <a:gd name="T43" fmla="*/ 39 h 149"/>
                <a:gd name="T44" fmla="*/ 674 w 1607"/>
                <a:gd name="T45" fmla="*/ 0 h 149"/>
                <a:gd name="T46" fmla="*/ 0 w 1607"/>
                <a:gd name="T47" fmla="*/ 0 h 149"/>
                <a:gd name="T48" fmla="*/ 12 w 1607"/>
                <a:gd name="T49" fmla="*/ 78 h 149"/>
                <a:gd name="T50" fmla="*/ 38 w 1607"/>
                <a:gd name="T51" fmla="*/ 129 h 149"/>
                <a:gd name="T52" fmla="*/ 90 w 1607"/>
                <a:gd name="T53" fmla="*/ 149 h 149"/>
                <a:gd name="T54" fmla="*/ 1509 w 1607"/>
                <a:gd name="T55" fmla="*/ 149 h 149"/>
                <a:gd name="T56" fmla="*/ 1509 w 1607"/>
                <a:gd name="T57" fmla="*/ 139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07" h="149">
                  <a:moveTo>
                    <a:pt x="1509" y="139"/>
                  </a:moveTo>
                  <a:cubicBezTo>
                    <a:pt x="1509" y="129"/>
                    <a:pt x="1509" y="129"/>
                    <a:pt x="1509" y="129"/>
                  </a:cubicBezTo>
                  <a:cubicBezTo>
                    <a:pt x="90" y="129"/>
                    <a:pt x="90" y="129"/>
                    <a:pt x="90" y="129"/>
                  </a:cubicBezTo>
                  <a:cubicBezTo>
                    <a:pt x="76" y="129"/>
                    <a:pt x="63" y="123"/>
                    <a:pt x="52" y="114"/>
                  </a:cubicBezTo>
                  <a:cubicBezTo>
                    <a:pt x="42" y="104"/>
                    <a:pt x="34" y="91"/>
                    <a:pt x="32" y="75"/>
                  </a:cubicBezTo>
                  <a:cubicBezTo>
                    <a:pt x="23" y="21"/>
                    <a:pt x="23" y="21"/>
                    <a:pt x="23" y="21"/>
                  </a:cubicBezTo>
                  <a:cubicBezTo>
                    <a:pt x="663" y="21"/>
                    <a:pt x="663" y="21"/>
                    <a:pt x="663" y="21"/>
                  </a:cubicBezTo>
                  <a:cubicBezTo>
                    <a:pt x="689" y="59"/>
                    <a:pt x="689" y="59"/>
                    <a:pt x="689" y="59"/>
                  </a:cubicBezTo>
                  <a:cubicBezTo>
                    <a:pt x="881" y="59"/>
                    <a:pt x="881" y="59"/>
                    <a:pt x="881" y="59"/>
                  </a:cubicBezTo>
                  <a:cubicBezTo>
                    <a:pt x="908" y="21"/>
                    <a:pt x="908" y="21"/>
                    <a:pt x="908" y="21"/>
                  </a:cubicBezTo>
                  <a:cubicBezTo>
                    <a:pt x="1584" y="21"/>
                    <a:pt x="1584" y="21"/>
                    <a:pt x="1584" y="21"/>
                  </a:cubicBezTo>
                  <a:cubicBezTo>
                    <a:pt x="1577" y="66"/>
                    <a:pt x="1577" y="66"/>
                    <a:pt x="1577" y="66"/>
                  </a:cubicBezTo>
                  <a:cubicBezTo>
                    <a:pt x="1574" y="85"/>
                    <a:pt x="1565" y="100"/>
                    <a:pt x="1553" y="111"/>
                  </a:cubicBezTo>
                  <a:cubicBezTo>
                    <a:pt x="1541" y="122"/>
                    <a:pt x="1525" y="129"/>
                    <a:pt x="1509" y="129"/>
                  </a:cubicBezTo>
                  <a:cubicBezTo>
                    <a:pt x="1509" y="139"/>
                    <a:pt x="1509" y="139"/>
                    <a:pt x="1509" y="139"/>
                  </a:cubicBezTo>
                  <a:cubicBezTo>
                    <a:pt x="1509" y="149"/>
                    <a:pt x="1509" y="149"/>
                    <a:pt x="1509" y="149"/>
                  </a:cubicBezTo>
                  <a:cubicBezTo>
                    <a:pt x="1531" y="149"/>
                    <a:pt x="1551" y="140"/>
                    <a:pt x="1567" y="126"/>
                  </a:cubicBezTo>
                  <a:cubicBezTo>
                    <a:pt x="1582" y="112"/>
                    <a:pt x="1593" y="92"/>
                    <a:pt x="1597" y="69"/>
                  </a:cubicBezTo>
                  <a:cubicBezTo>
                    <a:pt x="1607" y="0"/>
                    <a:pt x="1607" y="0"/>
                    <a:pt x="1607" y="0"/>
                  </a:cubicBezTo>
                  <a:cubicBezTo>
                    <a:pt x="898" y="0"/>
                    <a:pt x="898" y="0"/>
                    <a:pt x="898" y="0"/>
                  </a:cubicBezTo>
                  <a:cubicBezTo>
                    <a:pt x="871" y="39"/>
                    <a:pt x="871" y="39"/>
                    <a:pt x="871" y="39"/>
                  </a:cubicBezTo>
                  <a:cubicBezTo>
                    <a:pt x="700" y="39"/>
                    <a:pt x="700" y="39"/>
                    <a:pt x="700" y="39"/>
                  </a:cubicBezTo>
                  <a:cubicBezTo>
                    <a:pt x="674" y="0"/>
                    <a:pt x="674" y="0"/>
                    <a:pt x="674" y="0"/>
                  </a:cubicBezTo>
                  <a:cubicBezTo>
                    <a:pt x="0" y="0"/>
                    <a:pt x="0" y="0"/>
                    <a:pt x="0" y="0"/>
                  </a:cubicBezTo>
                  <a:cubicBezTo>
                    <a:pt x="12" y="78"/>
                    <a:pt x="12" y="78"/>
                    <a:pt x="12" y="78"/>
                  </a:cubicBezTo>
                  <a:cubicBezTo>
                    <a:pt x="15" y="98"/>
                    <a:pt x="25" y="116"/>
                    <a:pt x="38" y="129"/>
                  </a:cubicBezTo>
                  <a:cubicBezTo>
                    <a:pt x="52" y="141"/>
                    <a:pt x="71" y="149"/>
                    <a:pt x="90" y="149"/>
                  </a:cubicBezTo>
                  <a:cubicBezTo>
                    <a:pt x="1509" y="149"/>
                    <a:pt x="1509" y="149"/>
                    <a:pt x="1509" y="149"/>
                  </a:cubicBezTo>
                  <a:cubicBezTo>
                    <a:pt x="1509" y="139"/>
                    <a:pt x="1509" y="139"/>
                    <a:pt x="1509" y="139"/>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1587" name="Freeform 1591">
              <a:extLst>
                <a:ext uri="{FF2B5EF4-FFF2-40B4-BE49-F238E27FC236}">
                  <a16:creationId xmlns:a16="http://schemas.microsoft.com/office/drawing/2014/main" id="{F249AF13-399E-468D-84C7-DB1A3043CC60}"/>
                </a:ext>
              </a:extLst>
            </p:cNvPr>
            <p:cNvSpPr>
              <a:spLocks noEditPoints="1"/>
            </p:cNvSpPr>
            <p:nvPr userDrawn="1"/>
          </p:nvSpPr>
          <p:spPr bwMode="auto">
            <a:xfrm>
              <a:off x="8797926" y="4411663"/>
              <a:ext cx="849313" cy="908050"/>
            </a:xfrm>
            <a:custGeom>
              <a:avLst/>
              <a:gdLst>
                <a:gd name="T0" fmla="*/ 407 w 429"/>
                <a:gd name="T1" fmla="*/ 192 h 459"/>
                <a:gd name="T2" fmla="*/ 372 w 429"/>
                <a:gd name="T3" fmla="*/ 192 h 459"/>
                <a:gd name="T4" fmla="*/ 351 w 429"/>
                <a:gd name="T5" fmla="*/ 138 h 459"/>
                <a:gd name="T6" fmla="*/ 375 w 429"/>
                <a:gd name="T7" fmla="*/ 112 h 459"/>
                <a:gd name="T8" fmla="*/ 376 w 429"/>
                <a:gd name="T9" fmla="*/ 78 h 459"/>
                <a:gd name="T10" fmla="*/ 357 w 429"/>
                <a:gd name="T11" fmla="*/ 58 h 459"/>
                <a:gd name="T12" fmla="*/ 325 w 429"/>
                <a:gd name="T13" fmla="*/ 58 h 459"/>
                <a:gd name="T14" fmla="*/ 300 w 429"/>
                <a:gd name="T15" fmla="*/ 84 h 459"/>
                <a:gd name="T16" fmla="*/ 250 w 429"/>
                <a:gd name="T17" fmla="*/ 62 h 459"/>
                <a:gd name="T18" fmla="*/ 250 w 429"/>
                <a:gd name="T19" fmla="*/ 24 h 459"/>
                <a:gd name="T20" fmla="*/ 228 w 429"/>
                <a:gd name="T21" fmla="*/ 0 h 459"/>
                <a:gd name="T22" fmla="*/ 201 w 429"/>
                <a:gd name="T23" fmla="*/ 0 h 459"/>
                <a:gd name="T24" fmla="*/ 179 w 429"/>
                <a:gd name="T25" fmla="*/ 24 h 459"/>
                <a:gd name="T26" fmla="*/ 179 w 429"/>
                <a:gd name="T27" fmla="*/ 62 h 459"/>
                <a:gd name="T28" fmla="*/ 129 w 429"/>
                <a:gd name="T29" fmla="*/ 84 h 459"/>
                <a:gd name="T30" fmla="*/ 105 w 429"/>
                <a:gd name="T31" fmla="*/ 57 h 459"/>
                <a:gd name="T32" fmla="*/ 73 w 429"/>
                <a:gd name="T33" fmla="*/ 57 h 459"/>
                <a:gd name="T34" fmla="*/ 54 w 429"/>
                <a:gd name="T35" fmla="*/ 77 h 459"/>
                <a:gd name="T36" fmla="*/ 54 w 429"/>
                <a:gd name="T37" fmla="*/ 111 h 459"/>
                <a:gd name="T38" fmla="*/ 79 w 429"/>
                <a:gd name="T39" fmla="*/ 137 h 459"/>
                <a:gd name="T40" fmla="*/ 57 w 429"/>
                <a:gd name="T41" fmla="*/ 191 h 459"/>
                <a:gd name="T42" fmla="*/ 23 w 429"/>
                <a:gd name="T43" fmla="*/ 191 h 459"/>
                <a:gd name="T44" fmla="*/ 0 w 429"/>
                <a:gd name="T45" fmla="*/ 215 h 459"/>
                <a:gd name="T46" fmla="*/ 0 w 429"/>
                <a:gd name="T47" fmla="*/ 243 h 459"/>
                <a:gd name="T48" fmla="*/ 22 w 429"/>
                <a:gd name="T49" fmla="*/ 267 h 459"/>
                <a:gd name="T50" fmla="*/ 57 w 429"/>
                <a:gd name="T51" fmla="*/ 267 h 459"/>
                <a:gd name="T52" fmla="*/ 78 w 429"/>
                <a:gd name="T53" fmla="*/ 321 h 459"/>
                <a:gd name="T54" fmla="*/ 53 w 429"/>
                <a:gd name="T55" fmla="*/ 348 h 459"/>
                <a:gd name="T56" fmla="*/ 53 w 429"/>
                <a:gd name="T57" fmla="*/ 382 h 459"/>
                <a:gd name="T58" fmla="*/ 71 w 429"/>
                <a:gd name="T59" fmla="*/ 401 h 459"/>
                <a:gd name="T60" fmla="*/ 103 w 429"/>
                <a:gd name="T61" fmla="*/ 402 h 459"/>
                <a:gd name="T62" fmla="*/ 128 w 429"/>
                <a:gd name="T63" fmla="*/ 375 h 459"/>
                <a:gd name="T64" fmla="*/ 178 w 429"/>
                <a:gd name="T65" fmla="*/ 398 h 459"/>
                <a:gd name="T66" fmla="*/ 178 w 429"/>
                <a:gd name="T67" fmla="*/ 435 h 459"/>
                <a:gd name="T68" fmla="*/ 201 w 429"/>
                <a:gd name="T69" fmla="*/ 459 h 459"/>
                <a:gd name="T70" fmla="*/ 227 w 429"/>
                <a:gd name="T71" fmla="*/ 459 h 459"/>
                <a:gd name="T72" fmla="*/ 250 w 429"/>
                <a:gd name="T73" fmla="*/ 435 h 459"/>
                <a:gd name="T74" fmla="*/ 250 w 429"/>
                <a:gd name="T75" fmla="*/ 398 h 459"/>
                <a:gd name="T76" fmla="*/ 300 w 429"/>
                <a:gd name="T77" fmla="*/ 376 h 459"/>
                <a:gd name="T78" fmla="*/ 325 w 429"/>
                <a:gd name="T79" fmla="*/ 402 h 459"/>
                <a:gd name="T80" fmla="*/ 357 w 429"/>
                <a:gd name="T81" fmla="*/ 402 h 459"/>
                <a:gd name="T82" fmla="*/ 375 w 429"/>
                <a:gd name="T83" fmla="*/ 383 h 459"/>
                <a:gd name="T84" fmla="*/ 375 w 429"/>
                <a:gd name="T85" fmla="*/ 349 h 459"/>
                <a:gd name="T86" fmla="*/ 351 w 429"/>
                <a:gd name="T87" fmla="*/ 322 h 459"/>
                <a:gd name="T88" fmla="*/ 372 w 429"/>
                <a:gd name="T89" fmla="*/ 268 h 459"/>
                <a:gd name="T90" fmla="*/ 406 w 429"/>
                <a:gd name="T91" fmla="*/ 268 h 459"/>
                <a:gd name="T92" fmla="*/ 429 w 429"/>
                <a:gd name="T93" fmla="*/ 244 h 459"/>
                <a:gd name="T94" fmla="*/ 429 w 429"/>
                <a:gd name="T95" fmla="*/ 216 h 459"/>
                <a:gd name="T96" fmla="*/ 407 w 429"/>
                <a:gd name="T97" fmla="*/ 192 h 459"/>
                <a:gd name="T98" fmla="*/ 214 w 429"/>
                <a:gd name="T99" fmla="*/ 307 h 459"/>
                <a:gd name="T100" fmla="*/ 143 w 429"/>
                <a:gd name="T101" fmla="*/ 230 h 459"/>
                <a:gd name="T102" fmla="*/ 214 w 429"/>
                <a:gd name="T103" fmla="*/ 153 h 459"/>
                <a:gd name="T104" fmla="*/ 286 w 429"/>
                <a:gd name="T105" fmla="*/ 230 h 459"/>
                <a:gd name="T106" fmla="*/ 214 w 429"/>
                <a:gd name="T107" fmla="*/ 307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29" h="459">
                  <a:moveTo>
                    <a:pt x="407" y="192"/>
                  </a:moveTo>
                  <a:cubicBezTo>
                    <a:pt x="372" y="192"/>
                    <a:pt x="372" y="192"/>
                    <a:pt x="372" y="192"/>
                  </a:cubicBezTo>
                  <a:cubicBezTo>
                    <a:pt x="368" y="173"/>
                    <a:pt x="360" y="154"/>
                    <a:pt x="351" y="138"/>
                  </a:cubicBezTo>
                  <a:cubicBezTo>
                    <a:pt x="375" y="112"/>
                    <a:pt x="375" y="112"/>
                    <a:pt x="375" y="112"/>
                  </a:cubicBezTo>
                  <a:cubicBezTo>
                    <a:pt x="384" y="102"/>
                    <a:pt x="384" y="87"/>
                    <a:pt x="376" y="78"/>
                  </a:cubicBezTo>
                  <a:cubicBezTo>
                    <a:pt x="357" y="58"/>
                    <a:pt x="357" y="58"/>
                    <a:pt x="357" y="58"/>
                  </a:cubicBezTo>
                  <a:cubicBezTo>
                    <a:pt x="348" y="48"/>
                    <a:pt x="334" y="48"/>
                    <a:pt x="325" y="58"/>
                  </a:cubicBezTo>
                  <a:cubicBezTo>
                    <a:pt x="300" y="84"/>
                    <a:pt x="300" y="84"/>
                    <a:pt x="300" y="84"/>
                  </a:cubicBezTo>
                  <a:cubicBezTo>
                    <a:pt x="285" y="74"/>
                    <a:pt x="268" y="66"/>
                    <a:pt x="250" y="62"/>
                  </a:cubicBezTo>
                  <a:cubicBezTo>
                    <a:pt x="250" y="24"/>
                    <a:pt x="250" y="24"/>
                    <a:pt x="250" y="24"/>
                  </a:cubicBezTo>
                  <a:cubicBezTo>
                    <a:pt x="250" y="11"/>
                    <a:pt x="240" y="0"/>
                    <a:pt x="228" y="0"/>
                  </a:cubicBezTo>
                  <a:cubicBezTo>
                    <a:pt x="201" y="0"/>
                    <a:pt x="201" y="0"/>
                    <a:pt x="201" y="0"/>
                  </a:cubicBezTo>
                  <a:cubicBezTo>
                    <a:pt x="189" y="0"/>
                    <a:pt x="179" y="11"/>
                    <a:pt x="179" y="24"/>
                  </a:cubicBezTo>
                  <a:cubicBezTo>
                    <a:pt x="179" y="62"/>
                    <a:pt x="179" y="62"/>
                    <a:pt x="179" y="62"/>
                  </a:cubicBezTo>
                  <a:cubicBezTo>
                    <a:pt x="161" y="66"/>
                    <a:pt x="144" y="74"/>
                    <a:pt x="129" y="84"/>
                  </a:cubicBezTo>
                  <a:cubicBezTo>
                    <a:pt x="105" y="57"/>
                    <a:pt x="105" y="57"/>
                    <a:pt x="105" y="57"/>
                  </a:cubicBezTo>
                  <a:cubicBezTo>
                    <a:pt x="96" y="48"/>
                    <a:pt x="82" y="47"/>
                    <a:pt x="73" y="57"/>
                  </a:cubicBezTo>
                  <a:cubicBezTo>
                    <a:pt x="54" y="77"/>
                    <a:pt x="54" y="77"/>
                    <a:pt x="54" y="77"/>
                  </a:cubicBezTo>
                  <a:cubicBezTo>
                    <a:pt x="45" y="86"/>
                    <a:pt x="45" y="101"/>
                    <a:pt x="54" y="111"/>
                  </a:cubicBezTo>
                  <a:cubicBezTo>
                    <a:pt x="79" y="137"/>
                    <a:pt x="79" y="137"/>
                    <a:pt x="79" y="137"/>
                  </a:cubicBezTo>
                  <a:cubicBezTo>
                    <a:pt x="69" y="154"/>
                    <a:pt x="62" y="172"/>
                    <a:pt x="57" y="191"/>
                  </a:cubicBezTo>
                  <a:cubicBezTo>
                    <a:pt x="23" y="191"/>
                    <a:pt x="23" y="191"/>
                    <a:pt x="23" y="191"/>
                  </a:cubicBezTo>
                  <a:cubicBezTo>
                    <a:pt x="10" y="191"/>
                    <a:pt x="0" y="202"/>
                    <a:pt x="0" y="215"/>
                  </a:cubicBezTo>
                  <a:cubicBezTo>
                    <a:pt x="0" y="243"/>
                    <a:pt x="0" y="243"/>
                    <a:pt x="0" y="243"/>
                  </a:cubicBezTo>
                  <a:cubicBezTo>
                    <a:pt x="0" y="256"/>
                    <a:pt x="10" y="267"/>
                    <a:pt x="22" y="267"/>
                  </a:cubicBezTo>
                  <a:cubicBezTo>
                    <a:pt x="57" y="267"/>
                    <a:pt x="57" y="267"/>
                    <a:pt x="57" y="267"/>
                  </a:cubicBezTo>
                  <a:cubicBezTo>
                    <a:pt x="61" y="287"/>
                    <a:pt x="68" y="305"/>
                    <a:pt x="78" y="321"/>
                  </a:cubicBezTo>
                  <a:cubicBezTo>
                    <a:pt x="53" y="348"/>
                    <a:pt x="53" y="348"/>
                    <a:pt x="53" y="348"/>
                  </a:cubicBezTo>
                  <a:cubicBezTo>
                    <a:pt x="44" y="357"/>
                    <a:pt x="44" y="372"/>
                    <a:pt x="53" y="382"/>
                  </a:cubicBezTo>
                  <a:cubicBezTo>
                    <a:pt x="71" y="401"/>
                    <a:pt x="71" y="401"/>
                    <a:pt x="71" y="401"/>
                  </a:cubicBezTo>
                  <a:cubicBezTo>
                    <a:pt x="80" y="411"/>
                    <a:pt x="94" y="411"/>
                    <a:pt x="103" y="402"/>
                  </a:cubicBezTo>
                  <a:cubicBezTo>
                    <a:pt x="128" y="375"/>
                    <a:pt x="128" y="375"/>
                    <a:pt x="128" y="375"/>
                  </a:cubicBezTo>
                  <a:cubicBezTo>
                    <a:pt x="143" y="386"/>
                    <a:pt x="160" y="393"/>
                    <a:pt x="178" y="398"/>
                  </a:cubicBezTo>
                  <a:cubicBezTo>
                    <a:pt x="178" y="435"/>
                    <a:pt x="178" y="435"/>
                    <a:pt x="178" y="435"/>
                  </a:cubicBezTo>
                  <a:cubicBezTo>
                    <a:pt x="178" y="448"/>
                    <a:pt x="188" y="459"/>
                    <a:pt x="201" y="459"/>
                  </a:cubicBezTo>
                  <a:cubicBezTo>
                    <a:pt x="227" y="459"/>
                    <a:pt x="227" y="459"/>
                    <a:pt x="227" y="459"/>
                  </a:cubicBezTo>
                  <a:cubicBezTo>
                    <a:pt x="239" y="459"/>
                    <a:pt x="250" y="449"/>
                    <a:pt x="250" y="435"/>
                  </a:cubicBezTo>
                  <a:cubicBezTo>
                    <a:pt x="250" y="398"/>
                    <a:pt x="250" y="398"/>
                    <a:pt x="250" y="398"/>
                  </a:cubicBezTo>
                  <a:cubicBezTo>
                    <a:pt x="268" y="394"/>
                    <a:pt x="285" y="386"/>
                    <a:pt x="300" y="376"/>
                  </a:cubicBezTo>
                  <a:cubicBezTo>
                    <a:pt x="325" y="402"/>
                    <a:pt x="325" y="402"/>
                    <a:pt x="325" y="402"/>
                  </a:cubicBezTo>
                  <a:cubicBezTo>
                    <a:pt x="333" y="412"/>
                    <a:pt x="348" y="412"/>
                    <a:pt x="357" y="402"/>
                  </a:cubicBezTo>
                  <a:cubicBezTo>
                    <a:pt x="375" y="383"/>
                    <a:pt x="375" y="383"/>
                    <a:pt x="375" y="383"/>
                  </a:cubicBezTo>
                  <a:cubicBezTo>
                    <a:pt x="384" y="373"/>
                    <a:pt x="384" y="358"/>
                    <a:pt x="375" y="349"/>
                  </a:cubicBezTo>
                  <a:cubicBezTo>
                    <a:pt x="351" y="322"/>
                    <a:pt x="351" y="322"/>
                    <a:pt x="351" y="322"/>
                  </a:cubicBezTo>
                  <a:cubicBezTo>
                    <a:pt x="360" y="306"/>
                    <a:pt x="367" y="288"/>
                    <a:pt x="372" y="268"/>
                  </a:cubicBezTo>
                  <a:cubicBezTo>
                    <a:pt x="406" y="268"/>
                    <a:pt x="406" y="268"/>
                    <a:pt x="406" y="268"/>
                  </a:cubicBezTo>
                  <a:cubicBezTo>
                    <a:pt x="419" y="268"/>
                    <a:pt x="429" y="258"/>
                    <a:pt x="429" y="244"/>
                  </a:cubicBezTo>
                  <a:cubicBezTo>
                    <a:pt x="429" y="216"/>
                    <a:pt x="429" y="216"/>
                    <a:pt x="429" y="216"/>
                  </a:cubicBezTo>
                  <a:cubicBezTo>
                    <a:pt x="429" y="203"/>
                    <a:pt x="419" y="192"/>
                    <a:pt x="407" y="192"/>
                  </a:cubicBezTo>
                  <a:close/>
                  <a:moveTo>
                    <a:pt x="214" y="307"/>
                  </a:moveTo>
                  <a:cubicBezTo>
                    <a:pt x="175" y="307"/>
                    <a:pt x="143" y="272"/>
                    <a:pt x="143" y="230"/>
                  </a:cubicBezTo>
                  <a:cubicBezTo>
                    <a:pt x="143" y="188"/>
                    <a:pt x="175" y="153"/>
                    <a:pt x="214" y="153"/>
                  </a:cubicBezTo>
                  <a:cubicBezTo>
                    <a:pt x="254" y="153"/>
                    <a:pt x="286" y="188"/>
                    <a:pt x="286" y="230"/>
                  </a:cubicBezTo>
                  <a:cubicBezTo>
                    <a:pt x="286" y="272"/>
                    <a:pt x="254" y="307"/>
                    <a:pt x="214" y="307"/>
                  </a:cubicBezTo>
                  <a:close/>
                </a:path>
              </a:pathLst>
            </a:custGeom>
            <a:solidFill>
              <a:schemeClr val="accent2">
                <a:lumMod val="60000"/>
                <a:lumOff val="4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1588" name="Freeform 1592">
              <a:extLst>
                <a:ext uri="{FF2B5EF4-FFF2-40B4-BE49-F238E27FC236}">
                  <a16:creationId xmlns:a16="http://schemas.microsoft.com/office/drawing/2014/main" id="{30341A00-728D-4432-843F-D23F15C0D092}"/>
                </a:ext>
              </a:extLst>
            </p:cNvPr>
            <p:cNvSpPr>
              <a:spLocks/>
            </p:cNvSpPr>
            <p:nvPr userDrawn="1"/>
          </p:nvSpPr>
          <p:spPr bwMode="auto">
            <a:xfrm>
              <a:off x="9747251" y="4922838"/>
              <a:ext cx="46038" cy="52388"/>
            </a:xfrm>
            <a:custGeom>
              <a:avLst/>
              <a:gdLst>
                <a:gd name="T0" fmla="*/ 3 w 23"/>
                <a:gd name="T1" fmla="*/ 0 h 27"/>
                <a:gd name="T2" fmla="*/ 0 w 23"/>
                <a:gd name="T3" fmla="*/ 23 h 27"/>
                <a:gd name="T4" fmla="*/ 20 w 23"/>
                <a:gd name="T5" fmla="*/ 27 h 27"/>
                <a:gd name="T6" fmla="*/ 23 w 23"/>
                <a:gd name="T7" fmla="*/ 2 h 27"/>
                <a:gd name="T8" fmla="*/ 3 w 23"/>
                <a:gd name="T9" fmla="*/ 0 h 27"/>
              </a:gdLst>
              <a:ahLst/>
              <a:cxnLst>
                <a:cxn ang="0">
                  <a:pos x="T0" y="T1"/>
                </a:cxn>
                <a:cxn ang="0">
                  <a:pos x="T2" y="T3"/>
                </a:cxn>
                <a:cxn ang="0">
                  <a:pos x="T4" y="T5"/>
                </a:cxn>
                <a:cxn ang="0">
                  <a:pos x="T6" y="T7"/>
                </a:cxn>
                <a:cxn ang="0">
                  <a:pos x="T8" y="T9"/>
                </a:cxn>
              </a:cxnLst>
              <a:rect l="0" t="0" r="r" b="b"/>
              <a:pathLst>
                <a:path w="23" h="27">
                  <a:moveTo>
                    <a:pt x="3" y="0"/>
                  </a:moveTo>
                  <a:cubicBezTo>
                    <a:pt x="2" y="8"/>
                    <a:pt x="1" y="15"/>
                    <a:pt x="0" y="23"/>
                  </a:cubicBezTo>
                  <a:cubicBezTo>
                    <a:pt x="20" y="27"/>
                    <a:pt x="20" y="27"/>
                    <a:pt x="20" y="27"/>
                  </a:cubicBezTo>
                  <a:cubicBezTo>
                    <a:pt x="21" y="19"/>
                    <a:pt x="23" y="10"/>
                    <a:pt x="23" y="2"/>
                  </a:cubicBezTo>
                  <a:cubicBezTo>
                    <a:pt x="3" y="0"/>
                    <a:pt x="3" y="0"/>
                    <a:pt x="3"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589" name="Freeform 1593">
              <a:extLst>
                <a:ext uri="{FF2B5EF4-FFF2-40B4-BE49-F238E27FC236}">
                  <a16:creationId xmlns:a16="http://schemas.microsoft.com/office/drawing/2014/main" id="{95DE32A6-15F4-4A5D-A555-EFC04BD7C8BE}"/>
                </a:ext>
              </a:extLst>
            </p:cNvPr>
            <p:cNvSpPr>
              <a:spLocks noEditPoints="1"/>
            </p:cNvSpPr>
            <p:nvPr userDrawn="1"/>
          </p:nvSpPr>
          <p:spPr bwMode="auto">
            <a:xfrm>
              <a:off x="8685213" y="4733925"/>
              <a:ext cx="1073150" cy="714375"/>
            </a:xfrm>
            <a:custGeom>
              <a:avLst/>
              <a:gdLst>
                <a:gd name="T0" fmla="*/ 20 w 542"/>
                <a:gd name="T1" fmla="*/ 58 h 361"/>
                <a:gd name="T2" fmla="*/ 26 w 542"/>
                <a:gd name="T3" fmla="*/ 4 h 361"/>
                <a:gd name="T4" fmla="*/ 6 w 542"/>
                <a:gd name="T5" fmla="*/ 0 h 361"/>
                <a:gd name="T6" fmla="*/ 0 w 542"/>
                <a:gd name="T7" fmla="*/ 57 h 361"/>
                <a:gd name="T8" fmla="*/ 20 w 542"/>
                <a:gd name="T9" fmla="*/ 58 h 361"/>
                <a:gd name="T10" fmla="*/ 37 w 542"/>
                <a:gd name="T11" fmla="*/ 163 h 361"/>
                <a:gd name="T12" fmla="*/ 24 w 542"/>
                <a:gd name="T13" fmla="*/ 111 h 361"/>
                <a:gd name="T14" fmla="*/ 4 w 542"/>
                <a:gd name="T15" fmla="*/ 114 h 361"/>
                <a:gd name="T16" fmla="*/ 18 w 542"/>
                <a:gd name="T17" fmla="*/ 170 h 361"/>
                <a:gd name="T18" fmla="*/ 37 w 542"/>
                <a:gd name="T19" fmla="*/ 163 h 361"/>
                <a:gd name="T20" fmla="*/ 92 w 542"/>
                <a:gd name="T21" fmla="*/ 254 h 361"/>
                <a:gd name="T22" fmla="*/ 60 w 542"/>
                <a:gd name="T23" fmla="*/ 211 h 361"/>
                <a:gd name="T24" fmla="*/ 43 w 542"/>
                <a:gd name="T25" fmla="*/ 221 h 361"/>
                <a:gd name="T26" fmla="*/ 76 w 542"/>
                <a:gd name="T27" fmla="*/ 268 h 361"/>
                <a:gd name="T28" fmla="*/ 92 w 542"/>
                <a:gd name="T29" fmla="*/ 254 h 361"/>
                <a:gd name="T30" fmla="*/ 176 w 542"/>
                <a:gd name="T31" fmla="*/ 318 h 361"/>
                <a:gd name="T32" fmla="*/ 131 w 542"/>
                <a:gd name="T33" fmla="*/ 290 h 361"/>
                <a:gd name="T34" fmla="*/ 118 w 542"/>
                <a:gd name="T35" fmla="*/ 307 h 361"/>
                <a:gd name="T36" fmla="*/ 167 w 542"/>
                <a:gd name="T37" fmla="*/ 336 h 361"/>
                <a:gd name="T38" fmla="*/ 176 w 542"/>
                <a:gd name="T39" fmla="*/ 318 h 361"/>
                <a:gd name="T40" fmla="*/ 279 w 542"/>
                <a:gd name="T41" fmla="*/ 341 h 361"/>
                <a:gd name="T42" fmla="*/ 226 w 542"/>
                <a:gd name="T43" fmla="*/ 335 h 361"/>
                <a:gd name="T44" fmla="*/ 222 w 542"/>
                <a:gd name="T45" fmla="*/ 355 h 361"/>
                <a:gd name="T46" fmla="*/ 279 w 542"/>
                <a:gd name="T47" fmla="*/ 361 h 361"/>
                <a:gd name="T48" fmla="*/ 279 w 542"/>
                <a:gd name="T49" fmla="*/ 341 h 361"/>
                <a:gd name="T50" fmla="*/ 382 w 542"/>
                <a:gd name="T51" fmla="*/ 319 h 361"/>
                <a:gd name="T52" fmla="*/ 332 w 542"/>
                <a:gd name="T53" fmla="*/ 336 h 361"/>
                <a:gd name="T54" fmla="*/ 336 w 542"/>
                <a:gd name="T55" fmla="*/ 356 h 361"/>
                <a:gd name="T56" fmla="*/ 391 w 542"/>
                <a:gd name="T57" fmla="*/ 338 h 361"/>
                <a:gd name="T58" fmla="*/ 382 w 542"/>
                <a:gd name="T59" fmla="*/ 319 h 361"/>
                <a:gd name="T60" fmla="*/ 467 w 542"/>
                <a:gd name="T61" fmla="*/ 256 h 361"/>
                <a:gd name="T62" fmla="*/ 428 w 542"/>
                <a:gd name="T63" fmla="*/ 292 h 361"/>
                <a:gd name="T64" fmla="*/ 440 w 542"/>
                <a:gd name="T65" fmla="*/ 309 h 361"/>
                <a:gd name="T66" fmla="*/ 483 w 542"/>
                <a:gd name="T67" fmla="*/ 270 h 361"/>
                <a:gd name="T68" fmla="*/ 467 w 542"/>
                <a:gd name="T69" fmla="*/ 256 h 361"/>
                <a:gd name="T70" fmla="*/ 523 w 542"/>
                <a:gd name="T71" fmla="*/ 166 h 361"/>
                <a:gd name="T72" fmla="*/ 499 w 542"/>
                <a:gd name="T73" fmla="*/ 214 h 361"/>
                <a:gd name="T74" fmla="*/ 517 w 542"/>
                <a:gd name="T75" fmla="*/ 224 h 361"/>
                <a:gd name="T76" fmla="*/ 542 w 542"/>
                <a:gd name="T77" fmla="*/ 173 h 361"/>
                <a:gd name="T78" fmla="*/ 523 w 542"/>
                <a:gd name="T79" fmla="*/ 166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42" h="361">
                  <a:moveTo>
                    <a:pt x="20" y="58"/>
                  </a:moveTo>
                  <a:cubicBezTo>
                    <a:pt x="20" y="39"/>
                    <a:pt x="22" y="22"/>
                    <a:pt x="26" y="4"/>
                  </a:cubicBezTo>
                  <a:cubicBezTo>
                    <a:pt x="6" y="0"/>
                    <a:pt x="6" y="0"/>
                    <a:pt x="6" y="0"/>
                  </a:cubicBezTo>
                  <a:cubicBezTo>
                    <a:pt x="2" y="19"/>
                    <a:pt x="0" y="38"/>
                    <a:pt x="0" y="57"/>
                  </a:cubicBezTo>
                  <a:lnTo>
                    <a:pt x="20" y="58"/>
                  </a:lnTo>
                  <a:close/>
                  <a:moveTo>
                    <a:pt x="37" y="163"/>
                  </a:moveTo>
                  <a:cubicBezTo>
                    <a:pt x="31" y="146"/>
                    <a:pt x="27" y="129"/>
                    <a:pt x="24" y="111"/>
                  </a:cubicBezTo>
                  <a:cubicBezTo>
                    <a:pt x="4" y="114"/>
                    <a:pt x="4" y="114"/>
                    <a:pt x="4" y="114"/>
                  </a:cubicBezTo>
                  <a:cubicBezTo>
                    <a:pt x="7" y="133"/>
                    <a:pt x="12" y="152"/>
                    <a:pt x="18" y="170"/>
                  </a:cubicBezTo>
                  <a:lnTo>
                    <a:pt x="37" y="163"/>
                  </a:lnTo>
                  <a:close/>
                  <a:moveTo>
                    <a:pt x="92" y="254"/>
                  </a:moveTo>
                  <a:cubicBezTo>
                    <a:pt x="80" y="241"/>
                    <a:pt x="69" y="226"/>
                    <a:pt x="60" y="211"/>
                  </a:cubicBezTo>
                  <a:cubicBezTo>
                    <a:pt x="43" y="221"/>
                    <a:pt x="43" y="221"/>
                    <a:pt x="43" y="221"/>
                  </a:cubicBezTo>
                  <a:cubicBezTo>
                    <a:pt x="53" y="238"/>
                    <a:pt x="64" y="253"/>
                    <a:pt x="76" y="268"/>
                  </a:cubicBezTo>
                  <a:cubicBezTo>
                    <a:pt x="92" y="254"/>
                    <a:pt x="92" y="254"/>
                    <a:pt x="92" y="254"/>
                  </a:cubicBezTo>
                  <a:close/>
                  <a:moveTo>
                    <a:pt x="176" y="318"/>
                  </a:moveTo>
                  <a:cubicBezTo>
                    <a:pt x="160" y="310"/>
                    <a:pt x="145" y="301"/>
                    <a:pt x="131" y="290"/>
                  </a:cubicBezTo>
                  <a:cubicBezTo>
                    <a:pt x="118" y="307"/>
                    <a:pt x="118" y="307"/>
                    <a:pt x="118" y="307"/>
                  </a:cubicBezTo>
                  <a:cubicBezTo>
                    <a:pt x="134" y="318"/>
                    <a:pt x="150" y="328"/>
                    <a:pt x="167" y="336"/>
                  </a:cubicBezTo>
                  <a:cubicBezTo>
                    <a:pt x="176" y="318"/>
                    <a:pt x="176" y="318"/>
                    <a:pt x="176" y="318"/>
                  </a:cubicBezTo>
                  <a:close/>
                  <a:moveTo>
                    <a:pt x="279" y="341"/>
                  </a:moveTo>
                  <a:cubicBezTo>
                    <a:pt x="261" y="341"/>
                    <a:pt x="243" y="339"/>
                    <a:pt x="226" y="335"/>
                  </a:cubicBezTo>
                  <a:cubicBezTo>
                    <a:pt x="222" y="355"/>
                    <a:pt x="222" y="355"/>
                    <a:pt x="222" y="355"/>
                  </a:cubicBezTo>
                  <a:cubicBezTo>
                    <a:pt x="240" y="359"/>
                    <a:pt x="259" y="361"/>
                    <a:pt x="279" y="361"/>
                  </a:cubicBezTo>
                  <a:cubicBezTo>
                    <a:pt x="279" y="341"/>
                    <a:pt x="279" y="341"/>
                    <a:pt x="279" y="341"/>
                  </a:cubicBezTo>
                  <a:close/>
                  <a:moveTo>
                    <a:pt x="382" y="319"/>
                  </a:moveTo>
                  <a:cubicBezTo>
                    <a:pt x="366" y="326"/>
                    <a:pt x="349" y="332"/>
                    <a:pt x="332" y="336"/>
                  </a:cubicBezTo>
                  <a:cubicBezTo>
                    <a:pt x="336" y="356"/>
                    <a:pt x="336" y="356"/>
                    <a:pt x="336" y="356"/>
                  </a:cubicBezTo>
                  <a:cubicBezTo>
                    <a:pt x="355" y="352"/>
                    <a:pt x="373" y="346"/>
                    <a:pt x="391" y="338"/>
                  </a:cubicBezTo>
                  <a:lnTo>
                    <a:pt x="382" y="319"/>
                  </a:lnTo>
                  <a:close/>
                  <a:moveTo>
                    <a:pt x="467" y="256"/>
                  </a:moveTo>
                  <a:cubicBezTo>
                    <a:pt x="455" y="270"/>
                    <a:pt x="442" y="282"/>
                    <a:pt x="428" y="292"/>
                  </a:cubicBezTo>
                  <a:cubicBezTo>
                    <a:pt x="440" y="309"/>
                    <a:pt x="440" y="309"/>
                    <a:pt x="440" y="309"/>
                  </a:cubicBezTo>
                  <a:cubicBezTo>
                    <a:pt x="455" y="297"/>
                    <a:pt x="470" y="284"/>
                    <a:pt x="483" y="270"/>
                  </a:cubicBezTo>
                  <a:lnTo>
                    <a:pt x="467" y="256"/>
                  </a:lnTo>
                  <a:close/>
                  <a:moveTo>
                    <a:pt x="523" y="166"/>
                  </a:moveTo>
                  <a:cubicBezTo>
                    <a:pt x="516" y="182"/>
                    <a:pt x="508" y="199"/>
                    <a:pt x="499" y="214"/>
                  </a:cubicBezTo>
                  <a:cubicBezTo>
                    <a:pt x="517" y="224"/>
                    <a:pt x="517" y="224"/>
                    <a:pt x="517" y="224"/>
                  </a:cubicBezTo>
                  <a:cubicBezTo>
                    <a:pt x="526" y="208"/>
                    <a:pt x="535" y="191"/>
                    <a:pt x="542" y="173"/>
                  </a:cubicBezTo>
                  <a:cubicBezTo>
                    <a:pt x="523" y="166"/>
                    <a:pt x="523" y="166"/>
                    <a:pt x="523" y="166"/>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590" name="Freeform 1594">
              <a:extLst>
                <a:ext uri="{FF2B5EF4-FFF2-40B4-BE49-F238E27FC236}">
                  <a16:creationId xmlns:a16="http://schemas.microsoft.com/office/drawing/2014/main" id="{1AEE7C57-C4D2-4B21-A938-AE8BB11C028D}"/>
                </a:ext>
              </a:extLst>
            </p:cNvPr>
            <p:cNvSpPr>
              <a:spLocks/>
            </p:cNvSpPr>
            <p:nvPr userDrawn="1"/>
          </p:nvSpPr>
          <p:spPr bwMode="auto">
            <a:xfrm>
              <a:off x="8731251" y="4543425"/>
              <a:ext cx="69850" cy="92075"/>
            </a:xfrm>
            <a:custGeom>
              <a:avLst/>
              <a:gdLst>
                <a:gd name="T0" fmla="*/ 19 w 35"/>
                <a:gd name="T1" fmla="*/ 47 h 47"/>
                <a:gd name="T2" fmla="*/ 29 w 35"/>
                <a:gd name="T3" fmla="*/ 25 h 47"/>
                <a:gd name="T4" fmla="*/ 20 w 35"/>
                <a:gd name="T5" fmla="*/ 21 h 47"/>
                <a:gd name="T6" fmla="*/ 11 w 35"/>
                <a:gd name="T7" fmla="*/ 16 h 47"/>
                <a:gd name="T8" fmla="*/ 8 w 35"/>
                <a:gd name="T9" fmla="*/ 22 h 47"/>
                <a:gd name="T10" fmla="*/ 17 w 35"/>
                <a:gd name="T11" fmla="*/ 26 h 47"/>
                <a:gd name="T12" fmla="*/ 26 w 35"/>
                <a:gd name="T13" fmla="*/ 30 h 47"/>
                <a:gd name="T14" fmla="*/ 35 w 35"/>
                <a:gd name="T15" fmla="*/ 7 h 47"/>
                <a:gd name="T16" fmla="*/ 16 w 35"/>
                <a:gd name="T17" fmla="*/ 0 h 47"/>
                <a:gd name="T18" fmla="*/ 7 w 35"/>
                <a:gd name="T19" fmla="*/ 23 h 47"/>
                <a:gd name="T20" fmla="*/ 26 w 35"/>
                <a:gd name="T21" fmla="*/ 31 h 47"/>
                <a:gd name="T22" fmla="*/ 29 w 35"/>
                <a:gd name="T23" fmla="*/ 25 h 47"/>
                <a:gd name="T24" fmla="*/ 11 w 35"/>
                <a:gd name="T25" fmla="*/ 16 h 47"/>
                <a:gd name="T26" fmla="*/ 0 w 35"/>
                <a:gd name="T27" fmla="*/ 39 h 47"/>
                <a:gd name="T28" fmla="*/ 19 w 35"/>
                <a:gd name="T29" fmla="*/ 47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5" h="47">
                  <a:moveTo>
                    <a:pt x="19" y="47"/>
                  </a:moveTo>
                  <a:cubicBezTo>
                    <a:pt x="22" y="39"/>
                    <a:pt x="25" y="32"/>
                    <a:pt x="29" y="25"/>
                  </a:cubicBezTo>
                  <a:cubicBezTo>
                    <a:pt x="20" y="21"/>
                    <a:pt x="20" y="21"/>
                    <a:pt x="20" y="21"/>
                  </a:cubicBezTo>
                  <a:cubicBezTo>
                    <a:pt x="11" y="16"/>
                    <a:pt x="11" y="16"/>
                    <a:pt x="11" y="16"/>
                  </a:cubicBezTo>
                  <a:cubicBezTo>
                    <a:pt x="8" y="22"/>
                    <a:pt x="8" y="22"/>
                    <a:pt x="8" y="22"/>
                  </a:cubicBezTo>
                  <a:cubicBezTo>
                    <a:pt x="17" y="26"/>
                    <a:pt x="17" y="26"/>
                    <a:pt x="17" y="26"/>
                  </a:cubicBezTo>
                  <a:cubicBezTo>
                    <a:pt x="26" y="30"/>
                    <a:pt x="26" y="30"/>
                    <a:pt x="26" y="30"/>
                  </a:cubicBezTo>
                  <a:cubicBezTo>
                    <a:pt x="35" y="7"/>
                    <a:pt x="35" y="7"/>
                    <a:pt x="35" y="7"/>
                  </a:cubicBezTo>
                  <a:cubicBezTo>
                    <a:pt x="16" y="0"/>
                    <a:pt x="16" y="0"/>
                    <a:pt x="16" y="0"/>
                  </a:cubicBezTo>
                  <a:cubicBezTo>
                    <a:pt x="7" y="23"/>
                    <a:pt x="7" y="23"/>
                    <a:pt x="7" y="23"/>
                  </a:cubicBezTo>
                  <a:cubicBezTo>
                    <a:pt x="26" y="31"/>
                    <a:pt x="26" y="31"/>
                    <a:pt x="26" y="31"/>
                  </a:cubicBezTo>
                  <a:cubicBezTo>
                    <a:pt x="29" y="25"/>
                    <a:pt x="29" y="25"/>
                    <a:pt x="29" y="25"/>
                  </a:cubicBezTo>
                  <a:cubicBezTo>
                    <a:pt x="11" y="16"/>
                    <a:pt x="11" y="16"/>
                    <a:pt x="11" y="16"/>
                  </a:cubicBezTo>
                  <a:cubicBezTo>
                    <a:pt x="7" y="24"/>
                    <a:pt x="3" y="31"/>
                    <a:pt x="0" y="39"/>
                  </a:cubicBezTo>
                  <a:cubicBezTo>
                    <a:pt x="19" y="47"/>
                    <a:pt x="19" y="47"/>
                    <a:pt x="19" y="47"/>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591" name="Freeform 1595">
              <a:extLst>
                <a:ext uri="{FF2B5EF4-FFF2-40B4-BE49-F238E27FC236}">
                  <a16:creationId xmlns:a16="http://schemas.microsoft.com/office/drawing/2014/main" id="{3AEB1664-0CA6-43C5-BD92-2BFC1C895D8E}"/>
                </a:ext>
              </a:extLst>
            </p:cNvPr>
            <p:cNvSpPr>
              <a:spLocks noEditPoints="1"/>
            </p:cNvSpPr>
            <p:nvPr userDrawn="1"/>
          </p:nvSpPr>
          <p:spPr bwMode="auto">
            <a:xfrm>
              <a:off x="8797926" y="3068638"/>
              <a:ext cx="571500" cy="1398588"/>
            </a:xfrm>
            <a:custGeom>
              <a:avLst/>
              <a:gdLst>
                <a:gd name="T0" fmla="*/ 356 w 360"/>
                <a:gd name="T1" fmla="*/ 19 h 881"/>
                <a:gd name="T2" fmla="*/ 360 w 360"/>
                <a:gd name="T3" fmla="*/ 10 h 881"/>
                <a:gd name="T4" fmla="*/ 336 w 360"/>
                <a:gd name="T5" fmla="*/ 0 h 881"/>
                <a:gd name="T6" fmla="*/ 332 w 360"/>
                <a:gd name="T7" fmla="*/ 10 h 881"/>
                <a:gd name="T8" fmla="*/ 356 w 360"/>
                <a:gd name="T9" fmla="*/ 19 h 881"/>
                <a:gd name="T10" fmla="*/ 308 w 360"/>
                <a:gd name="T11" fmla="*/ 142 h 881"/>
                <a:gd name="T12" fmla="*/ 332 w 360"/>
                <a:gd name="T13" fmla="*/ 81 h 881"/>
                <a:gd name="T14" fmla="*/ 308 w 360"/>
                <a:gd name="T15" fmla="*/ 71 h 881"/>
                <a:gd name="T16" fmla="*/ 285 w 360"/>
                <a:gd name="T17" fmla="*/ 133 h 881"/>
                <a:gd name="T18" fmla="*/ 308 w 360"/>
                <a:gd name="T19" fmla="*/ 142 h 881"/>
                <a:gd name="T20" fmla="*/ 261 w 360"/>
                <a:gd name="T21" fmla="*/ 266 h 881"/>
                <a:gd name="T22" fmla="*/ 285 w 360"/>
                <a:gd name="T23" fmla="*/ 203 h 881"/>
                <a:gd name="T24" fmla="*/ 261 w 360"/>
                <a:gd name="T25" fmla="*/ 195 h 881"/>
                <a:gd name="T26" fmla="*/ 237 w 360"/>
                <a:gd name="T27" fmla="*/ 256 h 881"/>
                <a:gd name="T28" fmla="*/ 261 w 360"/>
                <a:gd name="T29" fmla="*/ 266 h 881"/>
                <a:gd name="T30" fmla="*/ 214 w 360"/>
                <a:gd name="T31" fmla="*/ 389 h 881"/>
                <a:gd name="T32" fmla="*/ 237 w 360"/>
                <a:gd name="T33" fmla="*/ 327 h 881"/>
                <a:gd name="T34" fmla="*/ 214 w 360"/>
                <a:gd name="T35" fmla="*/ 318 h 881"/>
                <a:gd name="T36" fmla="*/ 190 w 360"/>
                <a:gd name="T37" fmla="*/ 379 h 881"/>
                <a:gd name="T38" fmla="*/ 214 w 360"/>
                <a:gd name="T39" fmla="*/ 389 h 881"/>
                <a:gd name="T40" fmla="*/ 166 w 360"/>
                <a:gd name="T41" fmla="*/ 511 h 881"/>
                <a:gd name="T42" fmla="*/ 190 w 360"/>
                <a:gd name="T43" fmla="*/ 450 h 881"/>
                <a:gd name="T44" fmla="*/ 166 w 360"/>
                <a:gd name="T45" fmla="*/ 441 h 881"/>
                <a:gd name="T46" fmla="*/ 143 w 360"/>
                <a:gd name="T47" fmla="*/ 502 h 881"/>
                <a:gd name="T48" fmla="*/ 166 w 360"/>
                <a:gd name="T49" fmla="*/ 511 h 881"/>
                <a:gd name="T50" fmla="*/ 119 w 360"/>
                <a:gd name="T51" fmla="*/ 634 h 881"/>
                <a:gd name="T52" fmla="*/ 143 w 360"/>
                <a:gd name="T53" fmla="*/ 573 h 881"/>
                <a:gd name="T54" fmla="*/ 119 w 360"/>
                <a:gd name="T55" fmla="*/ 565 h 881"/>
                <a:gd name="T56" fmla="*/ 95 w 360"/>
                <a:gd name="T57" fmla="*/ 626 h 881"/>
                <a:gd name="T58" fmla="*/ 119 w 360"/>
                <a:gd name="T59" fmla="*/ 634 h 881"/>
                <a:gd name="T60" fmla="*/ 71 w 360"/>
                <a:gd name="T61" fmla="*/ 758 h 881"/>
                <a:gd name="T62" fmla="*/ 95 w 360"/>
                <a:gd name="T63" fmla="*/ 697 h 881"/>
                <a:gd name="T64" fmla="*/ 71 w 360"/>
                <a:gd name="T65" fmla="*/ 687 h 881"/>
                <a:gd name="T66" fmla="*/ 48 w 360"/>
                <a:gd name="T67" fmla="*/ 749 h 881"/>
                <a:gd name="T68" fmla="*/ 71 w 360"/>
                <a:gd name="T69" fmla="*/ 758 h 881"/>
                <a:gd name="T70" fmla="*/ 24 w 360"/>
                <a:gd name="T71" fmla="*/ 881 h 881"/>
                <a:gd name="T72" fmla="*/ 48 w 360"/>
                <a:gd name="T73" fmla="*/ 819 h 881"/>
                <a:gd name="T74" fmla="*/ 24 w 360"/>
                <a:gd name="T75" fmla="*/ 810 h 881"/>
                <a:gd name="T76" fmla="*/ 0 w 360"/>
                <a:gd name="T77" fmla="*/ 872 h 881"/>
                <a:gd name="T78" fmla="*/ 24 w 360"/>
                <a:gd name="T79" fmla="*/ 881 h 8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60" h="881">
                  <a:moveTo>
                    <a:pt x="356" y="19"/>
                  </a:moveTo>
                  <a:lnTo>
                    <a:pt x="360" y="10"/>
                  </a:lnTo>
                  <a:lnTo>
                    <a:pt x="336" y="0"/>
                  </a:lnTo>
                  <a:lnTo>
                    <a:pt x="332" y="10"/>
                  </a:lnTo>
                  <a:lnTo>
                    <a:pt x="356" y="19"/>
                  </a:lnTo>
                  <a:close/>
                  <a:moveTo>
                    <a:pt x="308" y="142"/>
                  </a:moveTo>
                  <a:lnTo>
                    <a:pt x="332" y="81"/>
                  </a:lnTo>
                  <a:lnTo>
                    <a:pt x="308" y="71"/>
                  </a:lnTo>
                  <a:lnTo>
                    <a:pt x="285" y="133"/>
                  </a:lnTo>
                  <a:lnTo>
                    <a:pt x="308" y="142"/>
                  </a:lnTo>
                  <a:close/>
                  <a:moveTo>
                    <a:pt x="261" y="266"/>
                  </a:moveTo>
                  <a:lnTo>
                    <a:pt x="285" y="203"/>
                  </a:lnTo>
                  <a:lnTo>
                    <a:pt x="261" y="195"/>
                  </a:lnTo>
                  <a:lnTo>
                    <a:pt x="237" y="256"/>
                  </a:lnTo>
                  <a:lnTo>
                    <a:pt x="261" y="266"/>
                  </a:lnTo>
                  <a:close/>
                  <a:moveTo>
                    <a:pt x="214" y="389"/>
                  </a:moveTo>
                  <a:lnTo>
                    <a:pt x="237" y="327"/>
                  </a:lnTo>
                  <a:lnTo>
                    <a:pt x="214" y="318"/>
                  </a:lnTo>
                  <a:lnTo>
                    <a:pt x="190" y="379"/>
                  </a:lnTo>
                  <a:lnTo>
                    <a:pt x="214" y="389"/>
                  </a:lnTo>
                  <a:close/>
                  <a:moveTo>
                    <a:pt x="166" y="511"/>
                  </a:moveTo>
                  <a:lnTo>
                    <a:pt x="190" y="450"/>
                  </a:lnTo>
                  <a:lnTo>
                    <a:pt x="166" y="441"/>
                  </a:lnTo>
                  <a:lnTo>
                    <a:pt x="143" y="502"/>
                  </a:lnTo>
                  <a:lnTo>
                    <a:pt x="166" y="511"/>
                  </a:lnTo>
                  <a:close/>
                  <a:moveTo>
                    <a:pt x="119" y="634"/>
                  </a:moveTo>
                  <a:lnTo>
                    <a:pt x="143" y="573"/>
                  </a:lnTo>
                  <a:lnTo>
                    <a:pt x="119" y="565"/>
                  </a:lnTo>
                  <a:lnTo>
                    <a:pt x="95" y="626"/>
                  </a:lnTo>
                  <a:lnTo>
                    <a:pt x="119" y="634"/>
                  </a:lnTo>
                  <a:close/>
                  <a:moveTo>
                    <a:pt x="71" y="758"/>
                  </a:moveTo>
                  <a:lnTo>
                    <a:pt x="95" y="697"/>
                  </a:lnTo>
                  <a:lnTo>
                    <a:pt x="71" y="687"/>
                  </a:lnTo>
                  <a:lnTo>
                    <a:pt x="48" y="749"/>
                  </a:lnTo>
                  <a:lnTo>
                    <a:pt x="71" y="758"/>
                  </a:lnTo>
                  <a:close/>
                  <a:moveTo>
                    <a:pt x="24" y="881"/>
                  </a:moveTo>
                  <a:lnTo>
                    <a:pt x="48" y="819"/>
                  </a:lnTo>
                  <a:lnTo>
                    <a:pt x="24" y="810"/>
                  </a:lnTo>
                  <a:lnTo>
                    <a:pt x="0" y="872"/>
                  </a:lnTo>
                  <a:lnTo>
                    <a:pt x="24" y="881"/>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592" name="Freeform 1596">
              <a:extLst>
                <a:ext uri="{FF2B5EF4-FFF2-40B4-BE49-F238E27FC236}">
                  <a16:creationId xmlns:a16="http://schemas.microsoft.com/office/drawing/2014/main" id="{059CFA12-8951-4702-A03F-D41CE609A920}"/>
                </a:ext>
              </a:extLst>
            </p:cNvPr>
            <p:cNvSpPr>
              <a:spLocks/>
            </p:cNvSpPr>
            <p:nvPr userDrawn="1"/>
          </p:nvSpPr>
          <p:spPr bwMode="auto">
            <a:xfrm>
              <a:off x="9348788" y="2933700"/>
              <a:ext cx="76200" cy="104775"/>
            </a:xfrm>
            <a:custGeom>
              <a:avLst/>
              <a:gdLst>
                <a:gd name="T0" fmla="*/ 19 w 38"/>
                <a:gd name="T1" fmla="*/ 53 h 53"/>
                <a:gd name="T2" fmla="*/ 31 w 38"/>
                <a:gd name="T3" fmla="*/ 21 h 53"/>
                <a:gd name="T4" fmla="*/ 22 w 38"/>
                <a:gd name="T5" fmla="*/ 17 h 53"/>
                <a:gd name="T6" fmla="*/ 18 w 38"/>
                <a:gd name="T7" fmla="*/ 27 h 53"/>
                <a:gd name="T8" fmla="*/ 27 w 38"/>
                <a:gd name="T9" fmla="*/ 31 h 53"/>
                <a:gd name="T10" fmla="*/ 38 w 38"/>
                <a:gd name="T11" fmla="*/ 10 h 53"/>
                <a:gd name="T12" fmla="*/ 20 w 38"/>
                <a:gd name="T13" fmla="*/ 0 h 53"/>
                <a:gd name="T14" fmla="*/ 9 w 38"/>
                <a:gd name="T15" fmla="*/ 23 h 53"/>
                <a:gd name="T16" fmla="*/ 5 w 38"/>
                <a:gd name="T17" fmla="*/ 32 h 53"/>
                <a:gd name="T18" fmla="*/ 5 w 38"/>
                <a:gd name="T19" fmla="*/ 32 h 53"/>
                <a:gd name="T20" fmla="*/ 0 w 38"/>
                <a:gd name="T21" fmla="*/ 46 h 53"/>
                <a:gd name="T22" fmla="*/ 19 w 38"/>
                <a:gd name="T2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8" h="53">
                  <a:moveTo>
                    <a:pt x="19" y="53"/>
                  </a:moveTo>
                  <a:cubicBezTo>
                    <a:pt x="31" y="21"/>
                    <a:pt x="31" y="21"/>
                    <a:pt x="31" y="21"/>
                  </a:cubicBezTo>
                  <a:cubicBezTo>
                    <a:pt x="22" y="17"/>
                    <a:pt x="22" y="17"/>
                    <a:pt x="22" y="17"/>
                  </a:cubicBezTo>
                  <a:cubicBezTo>
                    <a:pt x="18" y="27"/>
                    <a:pt x="18" y="27"/>
                    <a:pt x="18" y="27"/>
                  </a:cubicBezTo>
                  <a:cubicBezTo>
                    <a:pt x="27" y="31"/>
                    <a:pt x="27" y="31"/>
                    <a:pt x="27" y="31"/>
                  </a:cubicBezTo>
                  <a:cubicBezTo>
                    <a:pt x="30" y="23"/>
                    <a:pt x="34" y="16"/>
                    <a:pt x="38" y="10"/>
                  </a:cubicBezTo>
                  <a:cubicBezTo>
                    <a:pt x="20" y="0"/>
                    <a:pt x="20" y="0"/>
                    <a:pt x="20" y="0"/>
                  </a:cubicBezTo>
                  <a:cubicBezTo>
                    <a:pt x="16" y="7"/>
                    <a:pt x="12" y="15"/>
                    <a:pt x="9" y="23"/>
                  </a:cubicBezTo>
                  <a:cubicBezTo>
                    <a:pt x="5" y="32"/>
                    <a:pt x="5" y="32"/>
                    <a:pt x="5" y="32"/>
                  </a:cubicBezTo>
                  <a:cubicBezTo>
                    <a:pt x="5" y="32"/>
                    <a:pt x="5" y="32"/>
                    <a:pt x="5" y="32"/>
                  </a:cubicBezTo>
                  <a:cubicBezTo>
                    <a:pt x="0" y="46"/>
                    <a:pt x="0" y="46"/>
                    <a:pt x="0" y="46"/>
                  </a:cubicBezTo>
                  <a:cubicBezTo>
                    <a:pt x="19" y="53"/>
                    <a:pt x="19" y="53"/>
                    <a:pt x="19" y="5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593" name="Freeform 1597">
              <a:extLst>
                <a:ext uri="{FF2B5EF4-FFF2-40B4-BE49-F238E27FC236}">
                  <a16:creationId xmlns:a16="http://schemas.microsoft.com/office/drawing/2014/main" id="{B29A6971-2ACD-490A-88B7-BDDD1FEBB04A}"/>
                </a:ext>
              </a:extLst>
            </p:cNvPr>
            <p:cNvSpPr>
              <a:spLocks noEditPoints="1"/>
            </p:cNvSpPr>
            <p:nvPr userDrawn="1"/>
          </p:nvSpPr>
          <p:spPr bwMode="auto">
            <a:xfrm>
              <a:off x="9447213" y="2720975"/>
              <a:ext cx="709613" cy="2124075"/>
            </a:xfrm>
            <a:custGeom>
              <a:avLst/>
              <a:gdLst>
                <a:gd name="T0" fmla="*/ 164 w 358"/>
                <a:gd name="T1" fmla="*/ 1070 h 1074"/>
                <a:gd name="T2" fmla="*/ 193 w 358"/>
                <a:gd name="T3" fmla="*/ 1025 h 1074"/>
                <a:gd name="T4" fmla="*/ 195 w 358"/>
                <a:gd name="T5" fmla="*/ 914 h 1074"/>
                <a:gd name="T6" fmla="*/ 204 w 358"/>
                <a:gd name="T7" fmla="*/ 971 h 1074"/>
                <a:gd name="T8" fmla="*/ 195 w 358"/>
                <a:gd name="T9" fmla="*/ 914 h 1074"/>
                <a:gd name="T10" fmla="*/ 206 w 358"/>
                <a:gd name="T11" fmla="*/ 861 h 1074"/>
                <a:gd name="T12" fmla="*/ 237 w 358"/>
                <a:gd name="T13" fmla="*/ 812 h 1074"/>
                <a:gd name="T14" fmla="*/ 239 w 358"/>
                <a:gd name="T15" fmla="*/ 701 h 1074"/>
                <a:gd name="T16" fmla="*/ 248 w 358"/>
                <a:gd name="T17" fmla="*/ 758 h 1074"/>
                <a:gd name="T18" fmla="*/ 239 w 358"/>
                <a:gd name="T19" fmla="*/ 701 h 1074"/>
                <a:gd name="T20" fmla="*/ 250 w 358"/>
                <a:gd name="T21" fmla="*/ 648 h 1074"/>
                <a:gd name="T22" fmla="*/ 280 w 358"/>
                <a:gd name="T23" fmla="*/ 599 h 1074"/>
                <a:gd name="T24" fmla="*/ 282 w 358"/>
                <a:gd name="T25" fmla="*/ 488 h 1074"/>
                <a:gd name="T26" fmla="*/ 291 w 358"/>
                <a:gd name="T27" fmla="*/ 545 h 1074"/>
                <a:gd name="T28" fmla="*/ 282 w 358"/>
                <a:gd name="T29" fmla="*/ 488 h 1074"/>
                <a:gd name="T30" fmla="*/ 293 w 358"/>
                <a:gd name="T31" fmla="*/ 435 h 1074"/>
                <a:gd name="T32" fmla="*/ 324 w 358"/>
                <a:gd name="T33" fmla="*/ 386 h 1074"/>
                <a:gd name="T34" fmla="*/ 326 w 358"/>
                <a:gd name="T35" fmla="*/ 275 h 1074"/>
                <a:gd name="T36" fmla="*/ 335 w 358"/>
                <a:gd name="T37" fmla="*/ 332 h 1074"/>
                <a:gd name="T38" fmla="*/ 326 w 358"/>
                <a:gd name="T39" fmla="*/ 275 h 1074"/>
                <a:gd name="T40" fmla="*/ 338 w 358"/>
                <a:gd name="T41" fmla="*/ 209 h 1074"/>
                <a:gd name="T42" fmla="*/ 338 w 358"/>
                <a:gd name="T43" fmla="*/ 215 h 1074"/>
                <a:gd name="T44" fmla="*/ 356 w 358"/>
                <a:gd name="T45" fmla="*/ 226 h 1074"/>
                <a:gd name="T46" fmla="*/ 358 w 358"/>
                <a:gd name="T47" fmla="*/ 209 h 1074"/>
                <a:gd name="T48" fmla="*/ 358 w 358"/>
                <a:gd name="T49" fmla="*/ 209 h 1074"/>
                <a:gd name="T50" fmla="*/ 335 w 358"/>
                <a:gd name="T51" fmla="*/ 172 h 1074"/>
                <a:gd name="T52" fmla="*/ 319 w 358"/>
                <a:gd name="T53" fmla="*/ 123 h 1074"/>
                <a:gd name="T54" fmla="*/ 305 w 358"/>
                <a:gd name="T55" fmla="*/ 67 h 1074"/>
                <a:gd name="T56" fmla="*/ 203 w 358"/>
                <a:gd name="T57" fmla="*/ 27 h 1074"/>
                <a:gd name="T58" fmla="*/ 261 w 358"/>
                <a:gd name="T59" fmla="*/ 31 h 1074"/>
                <a:gd name="T60" fmla="*/ 203 w 358"/>
                <a:gd name="T61" fmla="*/ 27 h 1074"/>
                <a:gd name="T62" fmla="*/ 149 w 358"/>
                <a:gd name="T63" fmla="*/ 20 h 1074"/>
                <a:gd name="T64" fmla="*/ 153 w 358"/>
                <a:gd name="T65" fmla="*/ 0 h 1074"/>
                <a:gd name="T66" fmla="*/ 96 w 358"/>
                <a:gd name="T67" fmla="*/ 7 h 1074"/>
                <a:gd name="T68" fmla="*/ 15 w 358"/>
                <a:gd name="T69" fmla="*/ 80 h 1074"/>
                <a:gd name="T70" fmla="*/ 44 w 358"/>
                <a:gd name="T71" fmla="*/ 30 h 1074"/>
                <a:gd name="T72" fmla="*/ 15 w 358"/>
                <a:gd name="T73" fmla="*/ 80 h 10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58" h="1074">
                  <a:moveTo>
                    <a:pt x="174" y="1021"/>
                  </a:moveTo>
                  <a:cubicBezTo>
                    <a:pt x="164" y="1070"/>
                    <a:pt x="164" y="1070"/>
                    <a:pt x="164" y="1070"/>
                  </a:cubicBezTo>
                  <a:cubicBezTo>
                    <a:pt x="183" y="1074"/>
                    <a:pt x="183" y="1074"/>
                    <a:pt x="183" y="1074"/>
                  </a:cubicBezTo>
                  <a:cubicBezTo>
                    <a:pt x="193" y="1025"/>
                    <a:pt x="193" y="1025"/>
                    <a:pt x="193" y="1025"/>
                  </a:cubicBezTo>
                  <a:lnTo>
                    <a:pt x="174" y="1021"/>
                  </a:lnTo>
                  <a:close/>
                  <a:moveTo>
                    <a:pt x="195" y="914"/>
                  </a:moveTo>
                  <a:cubicBezTo>
                    <a:pt x="184" y="967"/>
                    <a:pt x="184" y="967"/>
                    <a:pt x="184" y="967"/>
                  </a:cubicBezTo>
                  <a:cubicBezTo>
                    <a:pt x="204" y="971"/>
                    <a:pt x="204" y="971"/>
                    <a:pt x="204" y="971"/>
                  </a:cubicBezTo>
                  <a:cubicBezTo>
                    <a:pt x="215" y="918"/>
                    <a:pt x="215" y="918"/>
                    <a:pt x="215" y="918"/>
                  </a:cubicBezTo>
                  <a:lnTo>
                    <a:pt x="195" y="914"/>
                  </a:lnTo>
                  <a:close/>
                  <a:moveTo>
                    <a:pt x="217" y="808"/>
                  </a:moveTo>
                  <a:cubicBezTo>
                    <a:pt x="206" y="861"/>
                    <a:pt x="206" y="861"/>
                    <a:pt x="206" y="861"/>
                  </a:cubicBezTo>
                  <a:cubicBezTo>
                    <a:pt x="226" y="865"/>
                    <a:pt x="226" y="865"/>
                    <a:pt x="226" y="865"/>
                  </a:cubicBezTo>
                  <a:cubicBezTo>
                    <a:pt x="237" y="812"/>
                    <a:pt x="237" y="812"/>
                    <a:pt x="237" y="812"/>
                  </a:cubicBezTo>
                  <a:lnTo>
                    <a:pt x="217" y="808"/>
                  </a:lnTo>
                  <a:close/>
                  <a:moveTo>
                    <a:pt x="239" y="701"/>
                  </a:moveTo>
                  <a:cubicBezTo>
                    <a:pt x="228" y="754"/>
                    <a:pt x="228" y="754"/>
                    <a:pt x="228" y="754"/>
                  </a:cubicBezTo>
                  <a:cubicBezTo>
                    <a:pt x="248" y="758"/>
                    <a:pt x="248" y="758"/>
                    <a:pt x="248" y="758"/>
                  </a:cubicBezTo>
                  <a:cubicBezTo>
                    <a:pt x="259" y="705"/>
                    <a:pt x="259" y="705"/>
                    <a:pt x="259" y="705"/>
                  </a:cubicBezTo>
                  <a:lnTo>
                    <a:pt x="239" y="701"/>
                  </a:lnTo>
                  <a:close/>
                  <a:moveTo>
                    <a:pt x="260" y="595"/>
                  </a:moveTo>
                  <a:cubicBezTo>
                    <a:pt x="250" y="648"/>
                    <a:pt x="250" y="648"/>
                    <a:pt x="250" y="648"/>
                  </a:cubicBezTo>
                  <a:cubicBezTo>
                    <a:pt x="269" y="652"/>
                    <a:pt x="269" y="652"/>
                    <a:pt x="269" y="652"/>
                  </a:cubicBezTo>
                  <a:cubicBezTo>
                    <a:pt x="280" y="599"/>
                    <a:pt x="280" y="599"/>
                    <a:pt x="280" y="599"/>
                  </a:cubicBezTo>
                  <a:lnTo>
                    <a:pt x="260" y="595"/>
                  </a:lnTo>
                  <a:close/>
                  <a:moveTo>
                    <a:pt x="282" y="488"/>
                  </a:moveTo>
                  <a:cubicBezTo>
                    <a:pt x="271" y="541"/>
                    <a:pt x="271" y="541"/>
                    <a:pt x="271" y="541"/>
                  </a:cubicBezTo>
                  <a:cubicBezTo>
                    <a:pt x="291" y="545"/>
                    <a:pt x="291" y="545"/>
                    <a:pt x="291" y="545"/>
                  </a:cubicBezTo>
                  <a:cubicBezTo>
                    <a:pt x="302" y="492"/>
                    <a:pt x="302" y="492"/>
                    <a:pt x="302" y="492"/>
                  </a:cubicBezTo>
                  <a:lnTo>
                    <a:pt x="282" y="488"/>
                  </a:lnTo>
                  <a:close/>
                  <a:moveTo>
                    <a:pt x="304" y="382"/>
                  </a:moveTo>
                  <a:cubicBezTo>
                    <a:pt x="293" y="435"/>
                    <a:pt x="293" y="435"/>
                    <a:pt x="293" y="435"/>
                  </a:cubicBezTo>
                  <a:cubicBezTo>
                    <a:pt x="313" y="439"/>
                    <a:pt x="313" y="439"/>
                    <a:pt x="313" y="439"/>
                  </a:cubicBezTo>
                  <a:cubicBezTo>
                    <a:pt x="324" y="386"/>
                    <a:pt x="324" y="386"/>
                    <a:pt x="324" y="386"/>
                  </a:cubicBezTo>
                  <a:lnTo>
                    <a:pt x="304" y="382"/>
                  </a:lnTo>
                  <a:close/>
                  <a:moveTo>
                    <a:pt x="326" y="275"/>
                  </a:moveTo>
                  <a:cubicBezTo>
                    <a:pt x="315" y="328"/>
                    <a:pt x="315" y="328"/>
                    <a:pt x="315" y="328"/>
                  </a:cubicBezTo>
                  <a:cubicBezTo>
                    <a:pt x="335" y="332"/>
                    <a:pt x="335" y="332"/>
                    <a:pt x="335" y="332"/>
                  </a:cubicBezTo>
                  <a:cubicBezTo>
                    <a:pt x="345" y="279"/>
                    <a:pt x="345" y="279"/>
                    <a:pt x="345" y="279"/>
                  </a:cubicBezTo>
                  <a:lnTo>
                    <a:pt x="326" y="275"/>
                  </a:lnTo>
                  <a:close/>
                  <a:moveTo>
                    <a:pt x="335" y="172"/>
                  </a:moveTo>
                  <a:cubicBezTo>
                    <a:pt x="337" y="184"/>
                    <a:pt x="338" y="196"/>
                    <a:pt x="338" y="209"/>
                  </a:cubicBezTo>
                  <a:cubicBezTo>
                    <a:pt x="338" y="209"/>
                    <a:pt x="338" y="209"/>
                    <a:pt x="338" y="209"/>
                  </a:cubicBezTo>
                  <a:cubicBezTo>
                    <a:pt x="338" y="215"/>
                    <a:pt x="338" y="215"/>
                    <a:pt x="338" y="215"/>
                  </a:cubicBezTo>
                  <a:cubicBezTo>
                    <a:pt x="336" y="222"/>
                    <a:pt x="336" y="222"/>
                    <a:pt x="336" y="222"/>
                  </a:cubicBezTo>
                  <a:cubicBezTo>
                    <a:pt x="356" y="226"/>
                    <a:pt x="356" y="226"/>
                    <a:pt x="356" y="226"/>
                  </a:cubicBezTo>
                  <a:cubicBezTo>
                    <a:pt x="358" y="217"/>
                    <a:pt x="358" y="217"/>
                    <a:pt x="358" y="217"/>
                  </a:cubicBezTo>
                  <a:cubicBezTo>
                    <a:pt x="358" y="209"/>
                    <a:pt x="358" y="209"/>
                    <a:pt x="358" y="209"/>
                  </a:cubicBezTo>
                  <a:cubicBezTo>
                    <a:pt x="348" y="209"/>
                    <a:pt x="348" y="209"/>
                    <a:pt x="348" y="209"/>
                  </a:cubicBezTo>
                  <a:cubicBezTo>
                    <a:pt x="358" y="209"/>
                    <a:pt x="358" y="209"/>
                    <a:pt x="358" y="209"/>
                  </a:cubicBezTo>
                  <a:cubicBezTo>
                    <a:pt x="358" y="195"/>
                    <a:pt x="357" y="181"/>
                    <a:pt x="354" y="168"/>
                  </a:cubicBezTo>
                  <a:lnTo>
                    <a:pt x="335" y="172"/>
                  </a:lnTo>
                  <a:close/>
                  <a:moveTo>
                    <a:pt x="290" y="80"/>
                  </a:moveTo>
                  <a:cubicBezTo>
                    <a:pt x="301" y="93"/>
                    <a:pt x="311" y="107"/>
                    <a:pt x="319" y="123"/>
                  </a:cubicBezTo>
                  <a:cubicBezTo>
                    <a:pt x="337" y="114"/>
                    <a:pt x="337" y="114"/>
                    <a:pt x="337" y="114"/>
                  </a:cubicBezTo>
                  <a:cubicBezTo>
                    <a:pt x="329" y="97"/>
                    <a:pt x="318" y="81"/>
                    <a:pt x="305" y="67"/>
                  </a:cubicBezTo>
                  <a:cubicBezTo>
                    <a:pt x="290" y="80"/>
                    <a:pt x="290" y="80"/>
                    <a:pt x="290" y="80"/>
                  </a:cubicBezTo>
                  <a:close/>
                  <a:moveTo>
                    <a:pt x="203" y="27"/>
                  </a:moveTo>
                  <a:cubicBezTo>
                    <a:pt x="220" y="32"/>
                    <a:pt x="236" y="39"/>
                    <a:pt x="251" y="48"/>
                  </a:cubicBezTo>
                  <a:cubicBezTo>
                    <a:pt x="261" y="31"/>
                    <a:pt x="261" y="31"/>
                    <a:pt x="261" y="31"/>
                  </a:cubicBezTo>
                  <a:cubicBezTo>
                    <a:pt x="245" y="21"/>
                    <a:pt x="228" y="13"/>
                    <a:pt x="209" y="8"/>
                  </a:cubicBezTo>
                  <a:cubicBezTo>
                    <a:pt x="203" y="27"/>
                    <a:pt x="203" y="27"/>
                    <a:pt x="203" y="27"/>
                  </a:cubicBezTo>
                  <a:close/>
                  <a:moveTo>
                    <a:pt x="102" y="27"/>
                  </a:moveTo>
                  <a:cubicBezTo>
                    <a:pt x="117" y="22"/>
                    <a:pt x="133" y="20"/>
                    <a:pt x="149" y="20"/>
                  </a:cubicBezTo>
                  <a:cubicBezTo>
                    <a:pt x="150" y="20"/>
                    <a:pt x="151" y="20"/>
                    <a:pt x="152" y="20"/>
                  </a:cubicBezTo>
                  <a:cubicBezTo>
                    <a:pt x="153" y="0"/>
                    <a:pt x="153" y="0"/>
                    <a:pt x="153" y="0"/>
                  </a:cubicBezTo>
                  <a:cubicBezTo>
                    <a:pt x="152" y="0"/>
                    <a:pt x="150" y="0"/>
                    <a:pt x="149" y="0"/>
                  </a:cubicBezTo>
                  <a:cubicBezTo>
                    <a:pt x="131" y="0"/>
                    <a:pt x="113" y="2"/>
                    <a:pt x="96" y="7"/>
                  </a:cubicBezTo>
                  <a:cubicBezTo>
                    <a:pt x="102" y="27"/>
                    <a:pt x="102" y="27"/>
                    <a:pt x="102" y="27"/>
                  </a:cubicBezTo>
                  <a:close/>
                  <a:moveTo>
                    <a:pt x="15" y="80"/>
                  </a:moveTo>
                  <a:cubicBezTo>
                    <a:pt x="27" y="67"/>
                    <a:pt x="40" y="56"/>
                    <a:pt x="55" y="47"/>
                  </a:cubicBezTo>
                  <a:cubicBezTo>
                    <a:pt x="44" y="30"/>
                    <a:pt x="44" y="30"/>
                    <a:pt x="44" y="30"/>
                  </a:cubicBezTo>
                  <a:cubicBezTo>
                    <a:pt x="28" y="40"/>
                    <a:pt x="13" y="52"/>
                    <a:pt x="0" y="66"/>
                  </a:cubicBezTo>
                  <a:cubicBezTo>
                    <a:pt x="15" y="80"/>
                    <a:pt x="15" y="80"/>
                    <a:pt x="15" y="8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594" name="Freeform 1598">
              <a:extLst>
                <a:ext uri="{FF2B5EF4-FFF2-40B4-BE49-F238E27FC236}">
                  <a16:creationId xmlns:a16="http://schemas.microsoft.com/office/drawing/2014/main" id="{BE7FCAEE-E99F-460D-953E-8C156B65420C}"/>
                </a:ext>
              </a:extLst>
            </p:cNvPr>
            <p:cNvSpPr>
              <a:spLocks/>
            </p:cNvSpPr>
            <p:nvPr userDrawn="1"/>
          </p:nvSpPr>
          <p:spPr bwMode="auto">
            <a:xfrm>
              <a:off x="9753601" y="4886325"/>
              <a:ext cx="47625" cy="55563"/>
            </a:xfrm>
            <a:custGeom>
              <a:avLst/>
              <a:gdLst>
                <a:gd name="T0" fmla="*/ 6 w 30"/>
                <a:gd name="T1" fmla="*/ 0 h 35"/>
                <a:gd name="T2" fmla="*/ 0 w 30"/>
                <a:gd name="T3" fmla="*/ 30 h 35"/>
                <a:gd name="T4" fmla="*/ 23 w 30"/>
                <a:gd name="T5" fmla="*/ 35 h 35"/>
                <a:gd name="T6" fmla="*/ 30 w 30"/>
                <a:gd name="T7" fmla="*/ 5 h 35"/>
                <a:gd name="T8" fmla="*/ 6 w 30"/>
                <a:gd name="T9" fmla="*/ 0 h 35"/>
              </a:gdLst>
              <a:ahLst/>
              <a:cxnLst>
                <a:cxn ang="0">
                  <a:pos x="T0" y="T1"/>
                </a:cxn>
                <a:cxn ang="0">
                  <a:pos x="T2" y="T3"/>
                </a:cxn>
                <a:cxn ang="0">
                  <a:pos x="T4" y="T5"/>
                </a:cxn>
                <a:cxn ang="0">
                  <a:pos x="T6" y="T7"/>
                </a:cxn>
                <a:cxn ang="0">
                  <a:pos x="T8" y="T9"/>
                </a:cxn>
              </a:cxnLst>
              <a:rect l="0" t="0" r="r" b="b"/>
              <a:pathLst>
                <a:path w="30" h="35">
                  <a:moveTo>
                    <a:pt x="6" y="0"/>
                  </a:moveTo>
                  <a:lnTo>
                    <a:pt x="0" y="30"/>
                  </a:lnTo>
                  <a:lnTo>
                    <a:pt x="23" y="35"/>
                  </a:lnTo>
                  <a:lnTo>
                    <a:pt x="30" y="5"/>
                  </a:lnTo>
                  <a:lnTo>
                    <a:pt x="6"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596" name="Freeform 1600">
              <a:extLst>
                <a:ext uri="{FF2B5EF4-FFF2-40B4-BE49-F238E27FC236}">
                  <a16:creationId xmlns:a16="http://schemas.microsoft.com/office/drawing/2014/main" id="{B2EF69EC-4DCD-4D98-A25D-026628492F68}"/>
                </a:ext>
              </a:extLst>
            </p:cNvPr>
            <p:cNvSpPr>
              <a:spLocks noEditPoints="1"/>
            </p:cNvSpPr>
            <p:nvPr userDrawn="1"/>
          </p:nvSpPr>
          <p:spPr bwMode="auto">
            <a:xfrm>
              <a:off x="10171113" y="4878388"/>
              <a:ext cx="327025" cy="19050"/>
            </a:xfrm>
            <a:custGeom>
              <a:avLst/>
              <a:gdLst>
                <a:gd name="T0" fmla="*/ 58 w 206"/>
                <a:gd name="T1" fmla="*/ 0 h 12"/>
                <a:gd name="T2" fmla="*/ 0 w 206"/>
                <a:gd name="T3" fmla="*/ 0 h 12"/>
                <a:gd name="T4" fmla="*/ 0 w 206"/>
                <a:gd name="T5" fmla="*/ 12 h 12"/>
                <a:gd name="T6" fmla="*/ 58 w 206"/>
                <a:gd name="T7" fmla="*/ 12 h 12"/>
                <a:gd name="T8" fmla="*/ 58 w 206"/>
                <a:gd name="T9" fmla="*/ 0 h 12"/>
                <a:gd name="T10" fmla="*/ 206 w 206"/>
                <a:gd name="T11" fmla="*/ 0 h 12"/>
                <a:gd name="T12" fmla="*/ 147 w 206"/>
                <a:gd name="T13" fmla="*/ 0 h 12"/>
                <a:gd name="T14" fmla="*/ 147 w 206"/>
                <a:gd name="T15" fmla="*/ 12 h 12"/>
                <a:gd name="T16" fmla="*/ 206 w 206"/>
                <a:gd name="T17" fmla="*/ 12 h 12"/>
                <a:gd name="T18" fmla="*/ 206 w 206"/>
                <a:gd name="T1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6" h="12">
                  <a:moveTo>
                    <a:pt x="58" y="0"/>
                  </a:moveTo>
                  <a:lnTo>
                    <a:pt x="0" y="0"/>
                  </a:lnTo>
                  <a:lnTo>
                    <a:pt x="0" y="12"/>
                  </a:lnTo>
                  <a:lnTo>
                    <a:pt x="58" y="12"/>
                  </a:lnTo>
                  <a:lnTo>
                    <a:pt x="58" y="0"/>
                  </a:lnTo>
                  <a:close/>
                  <a:moveTo>
                    <a:pt x="206" y="0"/>
                  </a:moveTo>
                  <a:lnTo>
                    <a:pt x="147" y="0"/>
                  </a:lnTo>
                  <a:lnTo>
                    <a:pt x="147" y="12"/>
                  </a:lnTo>
                  <a:lnTo>
                    <a:pt x="206" y="12"/>
                  </a:lnTo>
                  <a:lnTo>
                    <a:pt x="206" y="0"/>
                  </a:lnTo>
                  <a:close/>
                </a:path>
              </a:pathLst>
            </a:custGeom>
            <a:solidFill>
              <a:srgbClr val="BBDDF4"/>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1597" name="Freeform 1601">
              <a:extLst>
                <a:ext uri="{FF2B5EF4-FFF2-40B4-BE49-F238E27FC236}">
                  <a16:creationId xmlns:a16="http://schemas.microsoft.com/office/drawing/2014/main" id="{2CC46815-84F3-4EAB-B5E5-F953FEE42180}"/>
                </a:ext>
              </a:extLst>
            </p:cNvPr>
            <p:cNvSpPr>
              <a:spLocks noEditPoints="1"/>
            </p:cNvSpPr>
            <p:nvPr userDrawn="1"/>
          </p:nvSpPr>
          <p:spPr bwMode="auto">
            <a:xfrm>
              <a:off x="10171113" y="4878388"/>
              <a:ext cx="327025" cy="19050"/>
            </a:xfrm>
            <a:custGeom>
              <a:avLst/>
              <a:gdLst>
                <a:gd name="T0" fmla="*/ 58 w 206"/>
                <a:gd name="T1" fmla="*/ 0 h 12"/>
                <a:gd name="T2" fmla="*/ 0 w 206"/>
                <a:gd name="T3" fmla="*/ 0 h 12"/>
                <a:gd name="T4" fmla="*/ 0 w 206"/>
                <a:gd name="T5" fmla="*/ 12 h 12"/>
                <a:gd name="T6" fmla="*/ 58 w 206"/>
                <a:gd name="T7" fmla="*/ 12 h 12"/>
                <a:gd name="T8" fmla="*/ 58 w 206"/>
                <a:gd name="T9" fmla="*/ 0 h 12"/>
                <a:gd name="T10" fmla="*/ 206 w 206"/>
                <a:gd name="T11" fmla="*/ 0 h 12"/>
                <a:gd name="T12" fmla="*/ 147 w 206"/>
                <a:gd name="T13" fmla="*/ 0 h 12"/>
                <a:gd name="T14" fmla="*/ 147 w 206"/>
                <a:gd name="T15" fmla="*/ 12 h 12"/>
                <a:gd name="T16" fmla="*/ 206 w 206"/>
                <a:gd name="T17" fmla="*/ 12 h 12"/>
                <a:gd name="T18" fmla="*/ 206 w 206"/>
                <a:gd name="T1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6" h="12">
                  <a:moveTo>
                    <a:pt x="58" y="0"/>
                  </a:moveTo>
                  <a:lnTo>
                    <a:pt x="0" y="0"/>
                  </a:lnTo>
                  <a:lnTo>
                    <a:pt x="0" y="12"/>
                  </a:lnTo>
                  <a:lnTo>
                    <a:pt x="58" y="12"/>
                  </a:lnTo>
                  <a:lnTo>
                    <a:pt x="58" y="0"/>
                  </a:lnTo>
                  <a:moveTo>
                    <a:pt x="206" y="0"/>
                  </a:moveTo>
                  <a:lnTo>
                    <a:pt x="147" y="0"/>
                  </a:lnTo>
                  <a:lnTo>
                    <a:pt x="147" y="12"/>
                  </a:lnTo>
                  <a:lnTo>
                    <a:pt x="206" y="12"/>
                  </a:lnTo>
                  <a:lnTo>
                    <a:pt x="206" y="0"/>
                  </a:lnTo>
                </a:path>
              </a:pathLst>
            </a:custGeom>
            <a:solidFill>
              <a:schemeClr val="accent2">
                <a:lumMod val="40000"/>
                <a:lumOff val="6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1598" name="Rectangle 1602">
              <a:extLst>
                <a:ext uri="{FF2B5EF4-FFF2-40B4-BE49-F238E27FC236}">
                  <a16:creationId xmlns:a16="http://schemas.microsoft.com/office/drawing/2014/main" id="{2FAE3B0C-CE31-48E9-9C5F-D9FD20D89157}"/>
                </a:ext>
              </a:extLst>
            </p:cNvPr>
            <p:cNvSpPr>
              <a:spLocks noChangeArrowheads="1"/>
            </p:cNvSpPr>
            <p:nvPr userDrawn="1"/>
          </p:nvSpPr>
          <p:spPr bwMode="auto">
            <a:xfrm>
              <a:off x="9839326" y="5753100"/>
              <a:ext cx="92075" cy="92075"/>
            </a:xfrm>
            <a:prstGeom prst="rect">
              <a:avLst/>
            </a:prstGeom>
            <a:solidFill>
              <a:schemeClr val="accent2">
                <a:lumMod val="60000"/>
                <a:lumOff val="40000"/>
                <a:alpha val="5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1599" name="Rectangle 1603">
              <a:extLst>
                <a:ext uri="{FF2B5EF4-FFF2-40B4-BE49-F238E27FC236}">
                  <a16:creationId xmlns:a16="http://schemas.microsoft.com/office/drawing/2014/main" id="{ACED3C5D-C7D6-4052-9B7E-826A9E15BB5B}"/>
                </a:ext>
              </a:extLst>
            </p:cNvPr>
            <p:cNvSpPr>
              <a:spLocks noChangeArrowheads="1"/>
            </p:cNvSpPr>
            <p:nvPr userDrawn="1"/>
          </p:nvSpPr>
          <p:spPr bwMode="auto">
            <a:xfrm>
              <a:off x="9839326" y="5753100"/>
              <a:ext cx="92075" cy="92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600" name="Freeform 1604">
              <a:extLst>
                <a:ext uri="{FF2B5EF4-FFF2-40B4-BE49-F238E27FC236}">
                  <a16:creationId xmlns:a16="http://schemas.microsoft.com/office/drawing/2014/main" id="{1EEBCC4C-B347-473A-A3E8-6DF7553AA126}"/>
                </a:ext>
              </a:extLst>
            </p:cNvPr>
            <p:cNvSpPr>
              <a:spLocks/>
            </p:cNvSpPr>
            <p:nvPr userDrawn="1"/>
          </p:nvSpPr>
          <p:spPr bwMode="auto">
            <a:xfrm>
              <a:off x="9839326" y="4878388"/>
              <a:ext cx="174625" cy="874713"/>
            </a:xfrm>
            <a:custGeom>
              <a:avLst/>
              <a:gdLst>
                <a:gd name="T0" fmla="*/ 88 w 88"/>
                <a:gd name="T1" fmla="*/ 0 h 442"/>
                <a:gd name="T2" fmla="*/ 46 w 88"/>
                <a:gd name="T3" fmla="*/ 0 h 442"/>
                <a:gd name="T4" fmla="*/ 0 w 88"/>
                <a:gd name="T5" fmla="*/ 49 h 442"/>
                <a:gd name="T6" fmla="*/ 0 w 88"/>
                <a:gd name="T7" fmla="*/ 442 h 442"/>
                <a:gd name="T8" fmla="*/ 46 w 88"/>
                <a:gd name="T9" fmla="*/ 442 h 442"/>
                <a:gd name="T10" fmla="*/ 46 w 88"/>
                <a:gd name="T11" fmla="*/ 49 h 442"/>
                <a:gd name="T12" fmla="*/ 88 w 88"/>
                <a:gd name="T13" fmla="*/ 0 h 442"/>
                <a:gd name="T14" fmla="*/ 88 w 88"/>
                <a:gd name="T15" fmla="*/ 0 h 4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 h="442">
                  <a:moveTo>
                    <a:pt x="88" y="0"/>
                  </a:moveTo>
                  <a:cubicBezTo>
                    <a:pt x="46" y="0"/>
                    <a:pt x="46" y="0"/>
                    <a:pt x="46" y="0"/>
                  </a:cubicBezTo>
                  <a:cubicBezTo>
                    <a:pt x="20" y="0"/>
                    <a:pt x="0" y="22"/>
                    <a:pt x="0" y="49"/>
                  </a:cubicBezTo>
                  <a:cubicBezTo>
                    <a:pt x="0" y="442"/>
                    <a:pt x="0" y="442"/>
                    <a:pt x="0" y="442"/>
                  </a:cubicBezTo>
                  <a:cubicBezTo>
                    <a:pt x="46" y="442"/>
                    <a:pt x="46" y="442"/>
                    <a:pt x="46" y="442"/>
                  </a:cubicBezTo>
                  <a:cubicBezTo>
                    <a:pt x="46" y="49"/>
                    <a:pt x="46" y="49"/>
                    <a:pt x="46" y="49"/>
                  </a:cubicBezTo>
                  <a:cubicBezTo>
                    <a:pt x="46" y="23"/>
                    <a:pt x="65" y="2"/>
                    <a:pt x="88" y="0"/>
                  </a:cubicBezTo>
                  <a:cubicBezTo>
                    <a:pt x="88" y="0"/>
                    <a:pt x="88" y="0"/>
                    <a:pt x="88" y="0"/>
                  </a:cubicBezTo>
                </a:path>
              </a:pathLst>
            </a:custGeom>
            <a:solidFill>
              <a:schemeClr val="accent2">
                <a:lumMod val="40000"/>
                <a:lumOff val="6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1601" name="Freeform 1605">
              <a:extLst>
                <a:ext uri="{FF2B5EF4-FFF2-40B4-BE49-F238E27FC236}">
                  <a16:creationId xmlns:a16="http://schemas.microsoft.com/office/drawing/2014/main" id="{8A52A9D0-9541-4F16-B173-B96487E19D2D}"/>
                </a:ext>
              </a:extLst>
            </p:cNvPr>
            <p:cNvSpPr>
              <a:spLocks/>
            </p:cNvSpPr>
            <p:nvPr userDrawn="1"/>
          </p:nvSpPr>
          <p:spPr bwMode="auto">
            <a:xfrm>
              <a:off x="9839326" y="5886450"/>
              <a:ext cx="111125" cy="212725"/>
            </a:xfrm>
            <a:custGeom>
              <a:avLst/>
              <a:gdLst>
                <a:gd name="T0" fmla="*/ 46 w 56"/>
                <a:gd name="T1" fmla="*/ 0 h 108"/>
                <a:gd name="T2" fmla="*/ 0 w 56"/>
                <a:gd name="T3" fmla="*/ 0 h 108"/>
                <a:gd name="T4" fmla="*/ 0 w 56"/>
                <a:gd name="T5" fmla="*/ 78 h 108"/>
                <a:gd name="T6" fmla="*/ 9 w 56"/>
                <a:gd name="T7" fmla="*/ 108 h 108"/>
                <a:gd name="T8" fmla="*/ 56 w 56"/>
                <a:gd name="T9" fmla="*/ 108 h 108"/>
                <a:gd name="T10" fmla="*/ 46 w 56"/>
                <a:gd name="T11" fmla="*/ 78 h 108"/>
                <a:gd name="T12" fmla="*/ 46 w 56"/>
                <a:gd name="T13" fmla="*/ 0 h 108"/>
              </a:gdLst>
              <a:ahLst/>
              <a:cxnLst>
                <a:cxn ang="0">
                  <a:pos x="T0" y="T1"/>
                </a:cxn>
                <a:cxn ang="0">
                  <a:pos x="T2" y="T3"/>
                </a:cxn>
                <a:cxn ang="0">
                  <a:pos x="T4" y="T5"/>
                </a:cxn>
                <a:cxn ang="0">
                  <a:pos x="T6" y="T7"/>
                </a:cxn>
                <a:cxn ang="0">
                  <a:pos x="T8" y="T9"/>
                </a:cxn>
                <a:cxn ang="0">
                  <a:pos x="T10" y="T11"/>
                </a:cxn>
                <a:cxn ang="0">
                  <a:pos x="T12" y="T13"/>
                </a:cxn>
              </a:cxnLst>
              <a:rect l="0" t="0" r="r" b="b"/>
              <a:pathLst>
                <a:path w="56" h="108">
                  <a:moveTo>
                    <a:pt x="46" y="0"/>
                  </a:moveTo>
                  <a:cubicBezTo>
                    <a:pt x="0" y="0"/>
                    <a:pt x="0" y="0"/>
                    <a:pt x="0" y="0"/>
                  </a:cubicBezTo>
                  <a:cubicBezTo>
                    <a:pt x="0" y="78"/>
                    <a:pt x="0" y="78"/>
                    <a:pt x="0" y="78"/>
                  </a:cubicBezTo>
                  <a:cubicBezTo>
                    <a:pt x="0" y="89"/>
                    <a:pt x="3" y="99"/>
                    <a:pt x="9" y="108"/>
                  </a:cubicBezTo>
                  <a:cubicBezTo>
                    <a:pt x="56" y="108"/>
                    <a:pt x="56" y="108"/>
                    <a:pt x="56" y="108"/>
                  </a:cubicBezTo>
                  <a:cubicBezTo>
                    <a:pt x="50" y="99"/>
                    <a:pt x="46" y="89"/>
                    <a:pt x="46" y="78"/>
                  </a:cubicBezTo>
                  <a:cubicBezTo>
                    <a:pt x="46" y="0"/>
                    <a:pt x="46" y="0"/>
                    <a:pt x="46" y="0"/>
                  </a:cubicBezTo>
                </a:path>
              </a:pathLst>
            </a:custGeom>
            <a:solidFill>
              <a:schemeClr val="accent2">
                <a:lumMod val="40000"/>
                <a:lumOff val="6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1602" name="Rectangle 1606">
              <a:extLst>
                <a:ext uri="{FF2B5EF4-FFF2-40B4-BE49-F238E27FC236}">
                  <a16:creationId xmlns:a16="http://schemas.microsoft.com/office/drawing/2014/main" id="{CA5F757C-EA2A-444F-9F29-7378F7A63962}"/>
                </a:ext>
              </a:extLst>
            </p:cNvPr>
            <p:cNvSpPr>
              <a:spLocks noChangeArrowheads="1"/>
            </p:cNvSpPr>
            <p:nvPr userDrawn="1"/>
          </p:nvSpPr>
          <p:spPr bwMode="auto">
            <a:xfrm>
              <a:off x="9839326" y="5845175"/>
              <a:ext cx="92075" cy="41275"/>
            </a:xfrm>
            <a:prstGeom prst="rect">
              <a:avLst/>
            </a:prstGeom>
            <a:solidFill>
              <a:schemeClr val="accent2">
                <a:lumMod val="75000"/>
                <a:alpha val="3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1603" name="Rectangle 1607">
              <a:extLst>
                <a:ext uri="{FF2B5EF4-FFF2-40B4-BE49-F238E27FC236}">
                  <a16:creationId xmlns:a16="http://schemas.microsoft.com/office/drawing/2014/main" id="{445D7497-8F66-4F99-A7BB-1160C12642E4}"/>
                </a:ext>
              </a:extLst>
            </p:cNvPr>
            <p:cNvSpPr>
              <a:spLocks noChangeArrowheads="1"/>
            </p:cNvSpPr>
            <p:nvPr userDrawn="1"/>
          </p:nvSpPr>
          <p:spPr bwMode="auto">
            <a:xfrm>
              <a:off x="9839326" y="5845175"/>
              <a:ext cx="92075" cy="4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604" name="Freeform 1608">
              <a:extLst>
                <a:ext uri="{FF2B5EF4-FFF2-40B4-BE49-F238E27FC236}">
                  <a16:creationId xmlns:a16="http://schemas.microsoft.com/office/drawing/2014/main" id="{9C3742D0-7FA5-4E38-93BE-154A19267DEA}"/>
                </a:ext>
              </a:extLst>
            </p:cNvPr>
            <p:cNvSpPr>
              <a:spLocks/>
            </p:cNvSpPr>
            <p:nvPr userDrawn="1"/>
          </p:nvSpPr>
          <p:spPr bwMode="auto">
            <a:xfrm>
              <a:off x="10707688" y="4878388"/>
              <a:ext cx="849313" cy="1220788"/>
            </a:xfrm>
            <a:custGeom>
              <a:avLst/>
              <a:gdLst>
                <a:gd name="T0" fmla="*/ 383 w 429"/>
                <a:gd name="T1" fmla="*/ 0 h 617"/>
                <a:gd name="T2" fmla="*/ 0 w 429"/>
                <a:gd name="T3" fmla="*/ 0 h 617"/>
                <a:gd name="T4" fmla="*/ 0 w 429"/>
                <a:gd name="T5" fmla="*/ 488 h 617"/>
                <a:gd name="T6" fmla="*/ 63 w 429"/>
                <a:gd name="T7" fmla="*/ 488 h 617"/>
                <a:gd name="T8" fmla="*/ 53 w 429"/>
                <a:gd name="T9" fmla="*/ 557 h 617"/>
                <a:gd name="T10" fmla="*/ 23 w 429"/>
                <a:gd name="T11" fmla="*/ 614 h 617"/>
                <a:gd name="T12" fmla="*/ 20 w 429"/>
                <a:gd name="T13" fmla="*/ 617 h 617"/>
                <a:gd name="T14" fmla="*/ 419 w 429"/>
                <a:gd name="T15" fmla="*/ 617 h 617"/>
                <a:gd name="T16" fmla="*/ 429 w 429"/>
                <a:gd name="T17" fmla="*/ 587 h 617"/>
                <a:gd name="T18" fmla="*/ 429 w 429"/>
                <a:gd name="T19" fmla="*/ 49 h 617"/>
                <a:gd name="T20" fmla="*/ 383 w 429"/>
                <a:gd name="T21" fmla="*/ 0 h 6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29" h="617">
                  <a:moveTo>
                    <a:pt x="383" y="0"/>
                  </a:moveTo>
                  <a:cubicBezTo>
                    <a:pt x="0" y="0"/>
                    <a:pt x="0" y="0"/>
                    <a:pt x="0" y="0"/>
                  </a:cubicBezTo>
                  <a:cubicBezTo>
                    <a:pt x="0" y="488"/>
                    <a:pt x="0" y="488"/>
                    <a:pt x="0" y="488"/>
                  </a:cubicBezTo>
                  <a:cubicBezTo>
                    <a:pt x="63" y="488"/>
                    <a:pt x="63" y="488"/>
                    <a:pt x="63" y="488"/>
                  </a:cubicBezTo>
                  <a:cubicBezTo>
                    <a:pt x="53" y="557"/>
                    <a:pt x="53" y="557"/>
                    <a:pt x="53" y="557"/>
                  </a:cubicBezTo>
                  <a:cubicBezTo>
                    <a:pt x="49" y="580"/>
                    <a:pt x="38" y="600"/>
                    <a:pt x="23" y="614"/>
                  </a:cubicBezTo>
                  <a:cubicBezTo>
                    <a:pt x="22" y="615"/>
                    <a:pt x="21" y="616"/>
                    <a:pt x="20" y="617"/>
                  </a:cubicBezTo>
                  <a:cubicBezTo>
                    <a:pt x="419" y="617"/>
                    <a:pt x="419" y="617"/>
                    <a:pt x="419" y="617"/>
                  </a:cubicBezTo>
                  <a:cubicBezTo>
                    <a:pt x="425" y="608"/>
                    <a:pt x="429" y="598"/>
                    <a:pt x="429" y="587"/>
                  </a:cubicBezTo>
                  <a:cubicBezTo>
                    <a:pt x="429" y="49"/>
                    <a:pt x="429" y="49"/>
                    <a:pt x="429" y="49"/>
                  </a:cubicBezTo>
                  <a:cubicBezTo>
                    <a:pt x="429" y="22"/>
                    <a:pt x="408" y="0"/>
                    <a:pt x="383" y="0"/>
                  </a:cubicBezTo>
                </a:path>
              </a:pathLst>
            </a:custGeom>
            <a:solidFill>
              <a:schemeClr val="accent2">
                <a:lumMod val="40000"/>
                <a:lumOff val="6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1605" name="Freeform 1609">
              <a:extLst>
                <a:ext uri="{FF2B5EF4-FFF2-40B4-BE49-F238E27FC236}">
                  <a16:creationId xmlns:a16="http://schemas.microsoft.com/office/drawing/2014/main" id="{AA3A0E23-8A5A-4098-B47C-F8CECE2A59DF}"/>
                </a:ext>
              </a:extLst>
            </p:cNvPr>
            <p:cNvSpPr>
              <a:spLocks/>
            </p:cNvSpPr>
            <p:nvPr userDrawn="1"/>
          </p:nvSpPr>
          <p:spPr bwMode="auto">
            <a:xfrm>
              <a:off x="10668001" y="4878388"/>
              <a:ext cx="39688" cy="966788"/>
            </a:xfrm>
            <a:custGeom>
              <a:avLst/>
              <a:gdLst>
                <a:gd name="T0" fmla="*/ 25 w 25"/>
                <a:gd name="T1" fmla="*/ 0 h 609"/>
                <a:gd name="T2" fmla="*/ 0 w 25"/>
                <a:gd name="T3" fmla="*/ 0 h 609"/>
                <a:gd name="T4" fmla="*/ 24 w 25"/>
                <a:gd name="T5" fmla="*/ 0 h 609"/>
                <a:gd name="T6" fmla="*/ 24 w 25"/>
                <a:gd name="T7" fmla="*/ 609 h 609"/>
                <a:gd name="T8" fmla="*/ 25 w 25"/>
                <a:gd name="T9" fmla="*/ 609 h 609"/>
                <a:gd name="T10" fmla="*/ 25 w 25"/>
                <a:gd name="T11" fmla="*/ 0 h 609"/>
              </a:gdLst>
              <a:ahLst/>
              <a:cxnLst>
                <a:cxn ang="0">
                  <a:pos x="T0" y="T1"/>
                </a:cxn>
                <a:cxn ang="0">
                  <a:pos x="T2" y="T3"/>
                </a:cxn>
                <a:cxn ang="0">
                  <a:pos x="T4" y="T5"/>
                </a:cxn>
                <a:cxn ang="0">
                  <a:pos x="T6" y="T7"/>
                </a:cxn>
                <a:cxn ang="0">
                  <a:pos x="T8" y="T9"/>
                </a:cxn>
                <a:cxn ang="0">
                  <a:pos x="T10" y="T11"/>
                </a:cxn>
              </a:cxnLst>
              <a:rect l="0" t="0" r="r" b="b"/>
              <a:pathLst>
                <a:path w="25" h="609">
                  <a:moveTo>
                    <a:pt x="25" y="0"/>
                  </a:moveTo>
                  <a:lnTo>
                    <a:pt x="0" y="0"/>
                  </a:lnTo>
                  <a:lnTo>
                    <a:pt x="24" y="0"/>
                  </a:lnTo>
                  <a:lnTo>
                    <a:pt x="24" y="609"/>
                  </a:lnTo>
                  <a:lnTo>
                    <a:pt x="25" y="609"/>
                  </a:lnTo>
                  <a:lnTo>
                    <a:pt x="25" y="0"/>
                  </a:lnTo>
                  <a:close/>
                </a:path>
              </a:pathLst>
            </a:custGeom>
            <a:solidFill>
              <a:srgbClr val="067C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606" name="Freeform 1610">
              <a:extLst>
                <a:ext uri="{FF2B5EF4-FFF2-40B4-BE49-F238E27FC236}">
                  <a16:creationId xmlns:a16="http://schemas.microsoft.com/office/drawing/2014/main" id="{6916D20B-E028-42F6-A856-54135557A976}"/>
                </a:ext>
              </a:extLst>
            </p:cNvPr>
            <p:cNvSpPr>
              <a:spLocks/>
            </p:cNvSpPr>
            <p:nvPr userDrawn="1"/>
          </p:nvSpPr>
          <p:spPr bwMode="auto">
            <a:xfrm>
              <a:off x="10668001" y="4878388"/>
              <a:ext cx="39688" cy="966788"/>
            </a:xfrm>
            <a:custGeom>
              <a:avLst/>
              <a:gdLst>
                <a:gd name="T0" fmla="*/ 25 w 25"/>
                <a:gd name="T1" fmla="*/ 0 h 609"/>
                <a:gd name="T2" fmla="*/ 0 w 25"/>
                <a:gd name="T3" fmla="*/ 0 h 609"/>
                <a:gd name="T4" fmla="*/ 24 w 25"/>
                <a:gd name="T5" fmla="*/ 0 h 609"/>
                <a:gd name="T6" fmla="*/ 24 w 25"/>
                <a:gd name="T7" fmla="*/ 609 h 609"/>
                <a:gd name="T8" fmla="*/ 25 w 25"/>
                <a:gd name="T9" fmla="*/ 609 h 609"/>
                <a:gd name="T10" fmla="*/ 25 w 25"/>
                <a:gd name="T11" fmla="*/ 0 h 609"/>
              </a:gdLst>
              <a:ahLst/>
              <a:cxnLst>
                <a:cxn ang="0">
                  <a:pos x="T0" y="T1"/>
                </a:cxn>
                <a:cxn ang="0">
                  <a:pos x="T2" y="T3"/>
                </a:cxn>
                <a:cxn ang="0">
                  <a:pos x="T4" y="T5"/>
                </a:cxn>
                <a:cxn ang="0">
                  <a:pos x="T6" y="T7"/>
                </a:cxn>
                <a:cxn ang="0">
                  <a:pos x="T8" y="T9"/>
                </a:cxn>
                <a:cxn ang="0">
                  <a:pos x="T10" y="T11"/>
                </a:cxn>
              </a:cxnLst>
              <a:rect l="0" t="0" r="r" b="b"/>
              <a:pathLst>
                <a:path w="25" h="609">
                  <a:moveTo>
                    <a:pt x="25" y="0"/>
                  </a:moveTo>
                  <a:lnTo>
                    <a:pt x="0" y="0"/>
                  </a:lnTo>
                  <a:lnTo>
                    <a:pt x="24" y="0"/>
                  </a:lnTo>
                  <a:lnTo>
                    <a:pt x="24" y="609"/>
                  </a:lnTo>
                  <a:lnTo>
                    <a:pt x="25" y="609"/>
                  </a:lnTo>
                  <a:lnTo>
                    <a:pt x="2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607" name="Freeform 1611">
              <a:extLst>
                <a:ext uri="{FF2B5EF4-FFF2-40B4-BE49-F238E27FC236}">
                  <a16:creationId xmlns:a16="http://schemas.microsoft.com/office/drawing/2014/main" id="{E557DFA9-DFFE-496E-A8F3-AE3B8168B2C1}"/>
                </a:ext>
              </a:extLst>
            </p:cNvPr>
            <p:cNvSpPr>
              <a:spLocks/>
            </p:cNvSpPr>
            <p:nvPr userDrawn="1"/>
          </p:nvSpPr>
          <p:spPr bwMode="auto">
            <a:xfrm>
              <a:off x="10706101" y="5845175"/>
              <a:ext cx="125413" cy="254000"/>
            </a:xfrm>
            <a:custGeom>
              <a:avLst/>
              <a:gdLst>
                <a:gd name="T0" fmla="*/ 64 w 64"/>
                <a:gd name="T1" fmla="*/ 0 h 129"/>
                <a:gd name="T2" fmla="*/ 1 w 64"/>
                <a:gd name="T3" fmla="*/ 0 h 129"/>
                <a:gd name="T4" fmla="*/ 0 w 64"/>
                <a:gd name="T5" fmla="*/ 0 h 129"/>
                <a:gd name="T6" fmla="*/ 0 w 64"/>
                <a:gd name="T7" fmla="*/ 1 h 129"/>
                <a:gd name="T8" fmla="*/ 63 w 64"/>
                <a:gd name="T9" fmla="*/ 1 h 129"/>
                <a:gd name="T10" fmla="*/ 52 w 64"/>
                <a:gd name="T11" fmla="*/ 69 h 129"/>
                <a:gd name="T12" fmla="*/ 19 w 64"/>
                <a:gd name="T13" fmla="*/ 129 h 129"/>
                <a:gd name="T14" fmla="*/ 21 w 64"/>
                <a:gd name="T15" fmla="*/ 129 h 129"/>
                <a:gd name="T16" fmla="*/ 24 w 64"/>
                <a:gd name="T17" fmla="*/ 126 h 129"/>
                <a:gd name="T18" fmla="*/ 54 w 64"/>
                <a:gd name="T19" fmla="*/ 69 h 129"/>
                <a:gd name="T20" fmla="*/ 64 w 64"/>
                <a:gd name="T21" fmla="*/ 0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 h="129">
                  <a:moveTo>
                    <a:pt x="64" y="0"/>
                  </a:moveTo>
                  <a:cubicBezTo>
                    <a:pt x="1" y="0"/>
                    <a:pt x="1" y="0"/>
                    <a:pt x="1" y="0"/>
                  </a:cubicBezTo>
                  <a:cubicBezTo>
                    <a:pt x="0" y="0"/>
                    <a:pt x="0" y="0"/>
                    <a:pt x="0" y="0"/>
                  </a:cubicBezTo>
                  <a:cubicBezTo>
                    <a:pt x="0" y="1"/>
                    <a:pt x="0" y="1"/>
                    <a:pt x="0" y="1"/>
                  </a:cubicBezTo>
                  <a:cubicBezTo>
                    <a:pt x="63" y="1"/>
                    <a:pt x="63" y="1"/>
                    <a:pt x="63" y="1"/>
                  </a:cubicBezTo>
                  <a:cubicBezTo>
                    <a:pt x="52" y="69"/>
                    <a:pt x="52" y="69"/>
                    <a:pt x="52" y="69"/>
                  </a:cubicBezTo>
                  <a:cubicBezTo>
                    <a:pt x="49" y="94"/>
                    <a:pt x="36" y="115"/>
                    <a:pt x="19" y="129"/>
                  </a:cubicBezTo>
                  <a:cubicBezTo>
                    <a:pt x="21" y="129"/>
                    <a:pt x="21" y="129"/>
                    <a:pt x="21" y="129"/>
                  </a:cubicBezTo>
                  <a:cubicBezTo>
                    <a:pt x="22" y="128"/>
                    <a:pt x="23" y="127"/>
                    <a:pt x="24" y="126"/>
                  </a:cubicBezTo>
                  <a:cubicBezTo>
                    <a:pt x="39" y="112"/>
                    <a:pt x="50" y="92"/>
                    <a:pt x="54" y="69"/>
                  </a:cubicBezTo>
                  <a:cubicBezTo>
                    <a:pt x="64" y="0"/>
                    <a:pt x="64" y="0"/>
                    <a:pt x="64" y="0"/>
                  </a:cubicBezTo>
                </a:path>
              </a:pathLst>
            </a:custGeom>
            <a:solidFill>
              <a:srgbClr val="067C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608" name="Freeform 1612">
              <a:extLst>
                <a:ext uri="{FF2B5EF4-FFF2-40B4-BE49-F238E27FC236}">
                  <a16:creationId xmlns:a16="http://schemas.microsoft.com/office/drawing/2014/main" id="{A579CACB-B084-414D-8B37-1DFE2A06F0CC}"/>
                </a:ext>
              </a:extLst>
            </p:cNvPr>
            <p:cNvSpPr>
              <a:spLocks noEditPoints="1"/>
            </p:cNvSpPr>
            <p:nvPr userDrawn="1"/>
          </p:nvSpPr>
          <p:spPr bwMode="auto">
            <a:xfrm>
              <a:off x="10013951" y="4878388"/>
              <a:ext cx="390525" cy="19050"/>
            </a:xfrm>
            <a:custGeom>
              <a:avLst/>
              <a:gdLst>
                <a:gd name="T0" fmla="*/ 47 w 197"/>
                <a:gd name="T1" fmla="*/ 0 h 9"/>
                <a:gd name="T2" fmla="*/ 4 w 197"/>
                <a:gd name="T3" fmla="*/ 0 h 9"/>
                <a:gd name="T4" fmla="*/ 0 w 197"/>
                <a:gd name="T5" fmla="*/ 0 h 9"/>
                <a:gd name="T6" fmla="*/ 0 w 197"/>
                <a:gd name="T7" fmla="*/ 9 h 9"/>
                <a:gd name="T8" fmla="*/ 79 w 197"/>
                <a:gd name="T9" fmla="*/ 9 h 9"/>
                <a:gd name="T10" fmla="*/ 47 w 197"/>
                <a:gd name="T11" fmla="*/ 9 h 9"/>
                <a:gd name="T12" fmla="*/ 47 w 197"/>
                <a:gd name="T13" fmla="*/ 0 h 9"/>
                <a:gd name="T14" fmla="*/ 191 w 197"/>
                <a:gd name="T15" fmla="*/ 0 h 9"/>
                <a:gd name="T16" fmla="*/ 126 w 197"/>
                <a:gd name="T17" fmla="*/ 0 h 9"/>
                <a:gd name="T18" fmla="*/ 144 w 197"/>
                <a:gd name="T19" fmla="*/ 0 h 9"/>
                <a:gd name="T20" fmla="*/ 144 w 197"/>
                <a:gd name="T21" fmla="*/ 9 h 9"/>
                <a:gd name="T22" fmla="*/ 197 w 197"/>
                <a:gd name="T23" fmla="*/ 9 h 9"/>
                <a:gd name="T24" fmla="*/ 191 w 197"/>
                <a:gd name="T25" fmla="*/ 9 h 9"/>
                <a:gd name="T26" fmla="*/ 191 w 197"/>
                <a:gd name="T27"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7" h="9">
                  <a:moveTo>
                    <a:pt x="47" y="0"/>
                  </a:moveTo>
                  <a:cubicBezTo>
                    <a:pt x="4" y="0"/>
                    <a:pt x="4" y="0"/>
                    <a:pt x="4" y="0"/>
                  </a:cubicBezTo>
                  <a:cubicBezTo>
                    <a:pt x="3" y="0"/>
                    <a:pt x="1" y="0"/>
                    <a:pt x="0" y="0"/>
                  </a:cubicBezTo>
                  <a:cubicBezTo>
                    <a:pt x="0" y="9"/>
                    <a:pt x="0" y="9"/>
                    <a:pt x="0" y="9"/>
                  </a:cubicBezTo>
                  <a:cubicBezTo>
                    <a:pt x="79" y="9"/>
                    <a:pt x="79" y="9"/>
                    <a:pt x="79" y="9"/>
                  </a:cubicBezTo>
                  <a:cubicBezTo>
                    <a:pt x="47" y="9"/>
                    <a:pt x="47" y="9"/>
                    <a:pt x="47" y="9"/>
                  </a:cubicBezTo>
                  <a:cubicBezTo>
                    <a:pt x="47" y="0"/>
                    <a:pt x="47" y="0"/>
                    <a:pt x="47" y="0"/>
                  </a:cubicBezTo>
                  <a:moveTo>
                    <a:pt x="191" y="0"/>
                  </a:moveTo>
                  <a:cubicBezTo>
                    <a:pt x="126" y="0"/>
                    <a:pt x="126" y="0"/>
                    <a:pt x="126" y="0"/>
                  </a:cubicBezTo>
                  <a:cubicBezTo>
                    <a:pt x="144" y="0"/>
                    <a:pt x="144" y="0"/>
                    <a:pt x="144" y="0"/>
                  </a:cubicBezTo>
                  <a:cubicBezTo>
                    <a:pt x="144" y="9"/>
                    <a:pt x="144" y="9"/>
                    <a:pt x="144" y="9"/>
                  </a:cubicBezTo>
                  <a:cubicBezTo>
                    <a:pt x="197" y="9"/>
                    <a:pt x="197" y="9"/>
                    <a:pt x="197" y="9"/>
                  </a:cubicBezTo>
                  <a:cubicBezTo>
                    <a:pt x="191" y="9"/>
                    <a:pt x="191" y="9"/>
                    <a:pt x="191" y="9"/>
                  </a:cubicBezTo>
                  <a:cubicBezTo>
                    <a:pt x="191" y="0"/>
                    <a:pt x="191" y="0"/>
                    <a:pt x="191" y="0"/>
                  </a:cubicBezTo>
                </a:path>
              </a:pathLst>
            </a:custGeom>
            <a:solidFill>
              <a:schemeClr val="accent2">
                <a:lumMod val="40000"/>
                <a:lumOff val="6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1609" name="Freeform 1613">
              <a:extLst>
                <a:ext uri="{FF2B5EF4-FFF2-40B4-BE49-F238E27FC236}">
                  <a16:creationId xmlns:a16="http://schemas.microsoft.com/office/drawing/2014/main" id="{7DDDC0A5-9563-4FD8-AEBB-6E1D64A398A7}"/>
                </a:ext>
              </a:extLst>
            </p:cNvPr>
            <p:cNvSpPr>
              <a:spLocks/>
            </p:cNvSpPr>
            <p:nvPr userDrawn="1"/>
          </p:nvSpPr>
          <p:spPr bwMode="auto">
            <a:xfrm>
              <a:off x="9931401" y="4878388"/>
              <a:ext cx="736600" cy="966788"/>
            </a:xfrm>
            <a:custGeom>
              <a:avLst/>
              <a:gdLst>
                <a:gd name="T0" fmla="*/ 464 w 464"/>
                <a:gd name="T1" fmla="*/ 0 h 609"/>
                <a:gd name="T2" fmla="*/ 379 w 464"/>
                <a:gd name="T3" fmla="*/ 0 h 609"/>
                <a:gd name="T4" fmla="*/ 379 w 464"/>
                <a:gd name="T5" fmla="*/ 551 h 609"/>
                <a:gd name="T6" fmla="*/ 0 w 464"/>
                <a:gd name="T7" fmla="*/ 551 h 609"/>
                <a:gd name="T8" fmla="*/ 0 w 464"/>
                <a:gd name="T9" fmla="*/ 609 h 609"/>
                <a:gd name="T10" fmla="*/ 464 w 464"/>
                <a:gd name="T11" fmla="*/ 609 h 609"/>
                <a:gd name="T12" fmla="*/ 464 w 464"/>
                <a:gd name="T13" fmla="*/ 0 h 609"/>
              </a:gdLst>
              <a:ahLst/>
              <a:cxnLst>
                <a:cxn ang="0">
                  <a:pos x="T0" y="T1"/>
                </a:cxn>
                <a:cxn ang="0">
                  <a:pos x="T2" y="T3"/>
                </a:cxn>
                <a:cxn ang="0">
                  <a:pos x="T4" y="T5"/>
                </a:cxn>
                <a:cxn ang="0">
                  <a:pos x="T6" y="T7"/>
                </a:cxn>
                <a:cxn ang="0">
                  <a:pos x="T8" y="T9"/>
                </a:cxn>
                <a:cxn ang="0">
                  <a:pos x="T10" y="T11"/>
                </a:cxn>
                <a:cxn ang="0">
                  <a:pos x="T12" y="T13"/>
                </a:cxn>
              </a:cxnLst>
              <a:rect l="0" t="0" r="r" b="b"/>
              <a:pathLst>
                <a:path w="464" h="609">
                  <a:moveTo>
                    <a:pt x="464" y="0"/>
                  </a:moveTo>
                  <a:lnTo>
                    <a:pt x="379" y="0"/>
                  </a:lnTo>
                  <a:lnTo>
                    <a:pt x="379" y="551"/>
                  </a:lnTo>
                  <a:lnTo>
                    <a:pt x="0" y="551"/>
                  </a:lnTo>
                  <a:lnTo>
                    <a:pt x="0" y="609"/>
                  </a:lnTo>
                  <a:lnTo>
                    <a:pt x="464" y="609"/>
                  </a:lnTo>
                  <a:lnTo>
                    <a:pt x="464" y="0"/>
                  </a:lnTo>
                  <a:close/>
                </a:path>
              </a:pathLst>
            </a:custGeom>
            <a:solidFill>
              <a:srgbClr val="3189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610" name="Freeform 1614">
              <a:extLst>
                <a:ext uri="{FF2B5EF4-FFF2-40B4-BE49-F238E27FC236}">
                  <a16:creationId xmlns:a16="http://schemas.microsoft.com/office/drawing/2014/main" id="{016134BF-F555-4919-BD81-A337D9501C98}"/>
                </a:ext>
              </a:extLst>
            </p:cNvPr>
            <p:cNvSpPr>
              <a:spLocks/>
            </p:cNvSpPr>
            <p:nvPr userDrawn="1"/>
          </p:nvSpPr>
          <p:spPr bwMode="auto">
            <a:xfrm>
              <a:off x="9931401" y="4878388"/>
              <a:ext cx="736600" cy="966788"/>
            </a:xfrm>
            <a:custGeom>
              <a:avLst/>
              <a:gdLst>
                <a:gd name="T0" fmla="*/ 464 w 464"/>
                <a:gd name="T1" fmla="*/ 0 h 609"/>
                <a:gd name="T2" fmla="*/ 379 w 464"/>
                <a:gd name="T3" fmla="*/ 0 h 609"/>
                <a:gd name="T4" fmla="*/ 379 w 464"/>
                <a:gd name="T5" fmla="*/ 551 h 609"/>
                <a:gd name="T6" fmla="*/ 0 w 464"/>
                <a:gd name="T7" fmla="*/ 551 h 609"/>
                <a:gd name="T8" fmla="*/ 0 w 464"/>
                <a:gd name="T9" fmla="*/ 609 h 609"/>
                <a:gd name="T10" fmla="*/ 464 w 464"/>
                <a:gd name="T11" fmla="*/ 609 h 609"/>
                <a:gd name="T12" fmla="*/ 464 w 464"/>
                <a:gd name="T13" fmla="*/ 0 h 609"/>
              </a:gdLst>
              <a:ahLst/>
              <a:cxnLst>
                <a:cxn ang="0">
                  <a:pos x="T0" y="T1"/>
                </a:cxn>
                <a:cxn ang="0">
                  <a:pos x="T2" y="T3"/>
                </a:cxn>
                <a:cxn ang="0">
                  <a:pos x="T4" y="T5"/>
                </a:cxn>
                <a:cxn ang="0">
                  <a:pos x="T6" y="T7"/>
                </a:cxn>
                <a:cxn ang="0">
                  <a:pos x="T8" y="T9"/>
                </a:cxn>
                <a:cxn ang="0">
                  <a:pos x="T10" y="T11"/>
                </a:cxn>
                <a:cxn ang="0">
                  <a:pos x="T12" y="T13"/>
                </a:cxn>
              </a:cxnLst>
              <a:rect l="0" t="0" r="r" b="b"/>
              <a:pathLst>
                <a:path w="464" h="609">
                  <a:moveTo>
                    <a:pt x="464" y="0"/>
                  </a:moveTo>
                  <a:lnTo>
                    <a:pt x="379" y="0"/>
                  </a:lnTo>
                  <a:lnTo>
                    <a:pt x="379" y="551"/>
                  </a:lnTo>
                  <a:lnTo>
                    <a:pt x="0" y="551"/>
                  </a:lnTo>
                  <a:lnTo>
                    <a:pt x="0" y="609"/>
                  </a:lnTo>
                  <a:lnTo>
                    <a:pt x="464" y="609"/>
                  </a:lnTo>
                  <a:lnTo>
                    <a:pt x="46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611" name="Rectangle 1615">
              <a:extLst>
                <a:ext uri="{FF2B5EF4-FFF2-40B4-BE49-F238E27FC236}">
                  <a16:creationId xmlns:a16="http://schemas.microsoft.com/office/drawing/2014/main" id="{26A73AEB-CD76-4A56-87BA-511559C1D6C8}"/>
                </a:ext>
              </a:extLst>
            </p:cNvPr>
            <p:cNvSpPr>
              <a:spLocks noChangeArrowheads="1"/>
            </p:cNvSpPr>
            <p:nvPr userDrawn="1"/>
          </p:nvSpPr>
          <p:spPr bwMode="auto">
            <a:xfrm>
              <a:off x="10668001" y="4878388"/>
              <a:ext cx="38100" cy="966788"/>
            </a:xfrm>
            <a:prstGeom prst="rect">
              <a:avLst/>
            </a:prstGeom>
            <a:solidFill>
              <a:srgbClr val="0675B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612" name="Rectangle 1616">
              <a:extLst>
                <a:ext uri="{FF2B5EF4-FFF2-40B4-BE49-F238E27FC236}">
                  <a16:creationId xmlns:a16="http://schemas.microsoft.com/office/drawing/2014/main" id="{0B65B830-4F3B-49F0-B34B-193ADFB91BB1}"/>
                </a:ext>
              </a:extLst>
            </p:cNvPr>
            <p:cNvSpPr>
              <a:spLocks noChangeArrowheads="1"/>
            </p:cNvSpPr>
            <p:nvPr userDrawn="1"/>
          </p:nvSpPr>
          <p:spPr bwMode="auto">
            <a:xfrm>
              <a:off x="10668001" y="4878388"/>
              <a:ext cx="38100" cy="966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613" name="Freeform 1617">
              <a:extLst>
                <a:ext uri="{FF2B5EF4-FFF2-40B4-BE49-F238E27FC236}">
                  <a16:creationId xmlns:a16="http://schemas.microsoft.com/office/drawing/2014/main" id="{2F01E858-86F8-48DC-90BB-8F31FB0202A8}"/>
                </a:ext>
              </a:extLst>
            </p:cNvPr>
            <p:cNvSpPr>
              <a:spLocks/>
            </p:cNvSpPr>
            <p:nvPr userDrawn="1"/>
          </p:nvSpPr>
          <p:spPr bwMode="auto">
            <a:xfrm>
              <a:off x="9931401" y="4878388"/>
              <a:ext cx="601663" cy="874713"/>
            </a:xfrm>
            <a:custGeom>
              <a:avLst/>
              <a:gdLst>
                <a:gd name="T0" fmla="*/ 304 w 304"/>
                <a:gd name="T1" fmla="*/ 0 h 442"/>
                <a:gd name="T2" fmla="*/ 286 w 304"/>
                <a:gd name="T3" fmla="*/ 0 h 442"/>
                <a:gd name="T4" fmla="*/ 286 w 304"/>
                <a:gd name="T5" fmla="*/ 9 h 442"/>
                <a:gd name="T6" fmla="*/ 239 w 304"/>
                <a:gd name="T7" fmla="*/ 9 h 442"/>
                <a:gd name="T8" fmla="*/ 186 w 304"/>
                <a:gd name="T9" fmla="*/ 9 h 442"/>
                <a:gd name="T10" fmla="*/ 186 w 304"/>
                <a:gd name="T11" fmla="*/ 0 h 442"/>
                <a:gd name="T12" fmla="*/ 168 w 304"/>
                <a:gd name="T13" fmla="*/ 0 h 442"/>
                <a:gd name="T14" fmla="*/ 168 w 304"/>
                <a:gd name="T15" fmla="*/ 9 h 442"/>
                <a:gd name="T16" fmla="*/ 121 w 304"/>
                <a:gd name="T17" fmla="*/ 9 h 442"/>
                <a:gd name="T18" fmla="*/ 42 w 304"/>
                <a:gd name="T19" fmla="*/ 9 h 442"/>
                <a:gd name="T20" fmla="*/ 42 w 304"/>
                <a:gd name="T21" fmla="*/ 0 h 442"/>
                <a:gd name="T22" fmla="*/ 0 w 304"/>
                <a:gd name="T23" fmla="*/ 49 h 442"/>
                <a:gd name="T24" fmla="*/ 0 w 304"/>
                <a:gd name="T25" fmla="*/ 442 h 442"/>
                <a:gd name="T26" fmla="*/ 304 w 304"/>
                <a:gd name="T27" fmla="*/ 442 h 442"/>
                <a:gd name="T28" fmla="*/ 304 w 304"/>
                <a:gd name="T29" fmla="*/ 0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4" h="442">
                  <a:moveTo>
                    <a:pt x="304" y="0"/>
                  </a:moveTo>
                  <a:cubicBezTo>
                    <a:pt x="286" y="0"/>
                    <a:pt x="286" y="0"/>
                    <a:pt x="286" y="0"/>
                  </a:cubicBezTo>
                  <a:cubicBezTo>
                    <a:pt x="286" y="9"/>
                    <a:pt x="286" y="9"/>
                    <a:pt x="286" y="9"/>
                  </a:cubicBezTo>
                  <a:cubicBezTo>
                    <a:pt x="239" y="9"/>
                    <a:pt x="239" y="9"/>
                    <a:pt x="239" y="9"/>
                  </a:cubicBezTo>
                  <a:cubicBezTo>
                    <a:pt x="186" y="9"/>
                    <a:pt x="186" y="9"/>
                    <a:pt x="186" y="9"/>
                  </a:cubicBezTo>
                  <a:cubicBezTo>
                    <a:pt x="186" y="0"/>
                    <a:pt x="186" y="0"/>
                    <a:pt x="186" y="0"/>
                  </a:cubicBezTo>
                  <a:cubicBezTo>
                    <a:pt x="168" y="0"/>
                    <a:pt x="168" y="0"/>
                    <a:pt x="168" y="0"/>
                  </a:cubicBezTo>
                  <a:cubicBezTo>
                    <a:pt x="168" y="9"/>
                    <a:pt x="168" y="9"/>
                    <a:pt x="168" y="9"/>
                  </a:cubicBezTo>
                  <a:cubicBezTo>
                    <a:pt x="121" y="9"/>
                    <a:pt x="121" y="9"/>
                    <a:pt x="121" y="9"/>
                  </a:cubicBezTo>
                  <a:cubicBezTo>
                    <a:pt x="42" y="9"/>
                    <a:pt x="42" y="9"/>
                    <a:pt x="42" y="9"/>
                  </a:cubicBezTo>
                  <a:cubicBezTo>
                    <a:pt x="42" y="0"/>
                    <a:pt x="42" y="0"/>
                    <a:pt x="42" y="0"/>
                  </a:cubicBezTo>
                  <a:cubicBezTo>
                    <a:pt x="19" y="2"/>
                    <a:pt x="0" y="23"/>
                    <a:pt x="0" y="49"/>
                  </a:cubicBezTo>
                  <a:cubicBezTo>
                    <a:pt x="0" y="442"/>
                    <a:pt x="0" y="442"/>
                    <a:pt x="0" y="442"/>
                  </a:cubicBezTo>
                  <a:cubicBezTo>
                    <a:pt x="304" y="442"/>
                    <a:pt x="304" y="442"/>
                    <a:pt x="304" y="442"/>
                  </a:cubicBezTo>
                  <a:cubicBezTo>
                    <a:pt x="304" y="0"/>
                    <a:pt x="304" y="0"/>
                    <a:pt x="304" y="0"/>
                  </a:cubicBezTo>
                </a:path>
              </a:pathLst>
            </a:custGeom>
            <a:solidFill>
              <a:srgbClr val="7FB0C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614" name="Freeform 1618">
              <a:extLst>
                <a:ext uri="{FF2B5EF4-FFF2-40B4-BE49-F238E27FC236}">
                  <a16:creationId xmlns:a16="http://schemas.microsoft.com/office/drawing/2014/main" id="{A5E939A4-1602-40F6-AB70-91036F4F224B}"/>
                </a:ext>
              </a:extLst>
            </p:cNvPr>
            <p:cNvSpPr>
              <a:spLocks/>
            </p:cNvSpPr>
            <p:nvPr userDrawn="1"/>
          </p:nvSpPr>
          <p:spPr bwMode="auto">
            <a:xfrm>
              <a:off x="9931401" y="5886450"/>
              <a:ext cx="855663" cy="212725"/>
            </a:xfrm>
            <a:custGeom>
              <a:avLst/>
              <a:gdLst>
                <a:gd name="T0" fmla="*/ 432 w 432"/>
                <a:gd name="T1" fmla="*/ 0 h 108"/>
                <a:gd name="T2" fmla="*/ 0 w 432"/>
                <a:gd name="T3" fmla="*/ 0 h 108"/>
                <a:gd name="T4" fmla="*/ 0 w 432"/>
                <a:gd name="T5" fmla="*/ 78 h 108"/>
                <a:gd name="T6" fmla="*/ 10 w 432"/>
                <a:gd name="T7" fmla="*/ 108 h 108"/>
                <a:gd name="T8" fmla="*/ 357 w 432"/>
                <a:gd name="T9" fmla="*/ 108 h 108"/>
                <a:gd name="T10" fmla="*/ 401 w 432"/>
                <a:gd name="T11" fmla="*/ 90 h 108"/>
                <a:gd name="T12" fmla="*/ 425 w 432"/>
                <a:gd name="T13" fmla="*/ 45 h 108"/>
                <a:gd name="T14" fmla="*/ 432 w 432"/>
                <a:gd name="T15" fmla="*/ 0 h 1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32" h="108">
                  <a:moveTo>
                    <a:pt x="432" y="0"/>
                  </a:moveTo>
                  <a:cubicBezTo>
                    <a:pt x="0" y="0"/>
                    <a:pt x="0" y="0"/>
                    <a:pt x="0" y="0"/>
                  </a:cubicBezTo>
                  <a:cubicBezTo>
                    <a:pt x="0" y="78"/>
                    <a:pt x="0" y="78"/>
                    <a:pt x="0" y="78"/>
                  </a:cubicBezTo>
                  <a:cubicBezTo>
                    <a:pt x="0" y="89"/>
                    <a:pt x="4" y="99"/>
                    <a:pt x="10" y="108"/>
                  </a:cubicBezTo>
                  <a:cubicBezTo>
                    <a:pt x="357" y="108"/>
                    <a:pt x="357" y="108"/>
                    <a:pt x="357" y="108"/>
                  </a:cubicBezTo>
                  <a:cubicBezTo>
                    <a:pt x="373" y="108"/>
                    <a:pt x="389" y="101"/>
                    <a:pt x="401" y="90"/>
                  </a:cubicBezTo>
                  <a:cubicBezTo>
                    <a:pt x="413" y="79"/>
                    <a:pt x="422" y="64"/>
                    <a:pt x="425" y="45"/>
                  </a:cubicBezTo>
                  <a:cubicBezTo>
                    <a:pt x="432" y="0"/>
                    <a:pt x="432" y="0"/>
                    <a:pt x="432" y="0"/>
                  </a:cubicBezTo>
                </a:path>
              </a:pathLst>
            </a:custGeom>
            <a:solidFill>
              <a:srgbClr val="7FB0C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615" name="Freeform 1619">
              <a:extLst>
                <a:ext uri="{FF2B5EF4-FFF2-40B4-BE49-F238E27FC236}">
                  <a16:creationId xmlns:a16="http://schemas.microsoft.com/office/drawing/2014/main" id="{188548BF-C376-4C7D-9E7E-98FFD8ABB7A3}"/>
                </a:ext>
              </a:extLst>
            </p:cNvPr>
            <p:cNvSpPr>
              <a:spLocks/>
            </p:cNvSpPr>
            <p:nvPr userDrawn="1"/>
          </p:nvSpPr>
          <p:spPr bwMode="auto">
            <a:xfrm>
              <a:off x="9931401" y="5845175"/>
              <a:ext cx="898525" cy="254000"/>
            </a:xfrm>
            <a:custGeom>
              <a:avLst/>
              <a:gdLst>
                <a:gd name="T0" fmla="*/ 391 w 454"/>
                <a:gd name="T1" fmla="*/ 0 h 129"/>
                <a:gd name="T2" fmla="*/ 372 w 454"/>
                <a:gd name="T3" fmla="*/ 0 h 129"/>
                <a:gd name="T4" fmla="*/ 0 w 454"/>
                <a:gd name="T5" fmla="*/ 0 h 129"/>
                <a:gd name="T6" fmla="*/ 0 w 454"/>
                <a:gd name="T7" fmla="*/ 21 h 129"/>
                <a:gd name="T8" fmla="*/ 432 w 454"/>
                <a:gd name="T9" fmla="*/ 21 h 129"/>
                <a:gd name="T10" fmla="*/ 425 w 454"/>
                <a:gd name="T11" fmla="*/ 66 h 129"/>
                <a:gd name="T12" fmla="*/ 401 w 454"/>
                <a:gd name="T13" fmla="*/ 111 h 129"/>
                <a:gd name="T14" fmla="*/ 357 w 454"/>
                <a:gd name="T15" fmla="*/ 129 h 129"/>
                <a:gd name="T16" fmla="*/ 410 w 454"/>
                <a:gd name="T17" fmla="*/ 129 h 129"/>
                <a:gd name="T18" fmla="*/ 443 w 454"/>
                <a:gd name="T19" fmla="*/ 69 h 129"/>
                <a:gd name="T20" fmla="*/ 454 w 454"/>
                <a:gd name="T21" fmla="*/ 1 h 129"/>
                <a:gd name="T22" fmla="*/ 391 w 454"/>
                <a:gd name="T23" fmla="*/ 1 h 129"/>
                <a:gd name="T24" fmla="*/ 391 w 454"/>
                <a:gd name="T25" fmla="*/ 0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54" h="129">
                  <a:moveTo>
                    <a:pt x="391" y="0"/>
                  </a:moveTo>
                  <a:cubicBezTo>
                    <a:pt x="372" y="0"/>
                    <a:pt x="372" y="0"/>
                    <a:pt x="372" y="0"/>
                  </a:cubicBezTo>
                  <a:cubicBezTo>
                    <a:pt x="0" y="0"/>
                    <a:pt x="0" y="0"/>
                    <a:pt x="0" y="0"/>
                  </a:cubicBezTo>
                  <a:cubicBezTo>
                    <a:pt x="0" y="21"/>
                    <a:pt x="0" y="21"/>
                    <a:pt x="0" y="21"/>
                  </a:cubicBezTo>
                  <a:cubicBezTo>
                    <a:pt x="432" y="21"/>
                    <a:pt x="432" y="21"/>
                    <a:pt x="432" y="21"/>
                  </a:cubicBezTo>
                  <a:cubicBezTo>
                    <a:pt x="425" y="66"/>
                    <a:pt x="425" y="66"/>
                    <a:pt x="425" y="66"/>
                  </a:cubicBezTo>
                  <a:cubicBezTo>
                    <a:pt x="422" y="85"/>
                    <a:pt x="413" y="100"/>
                    <a:pt x="401" y="111"/>
                  </a:cubicBezTo>
                  <a:cubicBezTo>
                    <a:pt x="389" y="122"/>
                    <a:pt x="373" y="129"/>
                    <a:pt x="357" y="129"/>
                  </a:cubicBezTo>
                  <a:cubicBezTo>
                    <a:pt x="410" y="129"/>
                    <a:pt x="410" y="129"/>
                    <a:pt x="410" y="129"/>
                  </a:cubicBezTo>
                  <a:cubicBezTo>
                    <a:pt x="427" y="115"/>
                    <a:pt x="440" y="94"/>
                    <a:pt x="443" y="69"/>
                  </a:cubicBezTo>
                  <a:cubicBezTo>
                    <a:pt x="454" y="1"/>
                    <a:pt x="454" y="1"/>
                    <a:pt x="454" y="1"/>
                  </a:cubicBezTo>
                  <a:cubicBezTo>
                    <a:pt x="391" y="1"/>
                    <a:pt x="391" y="1"/>
                    <a:pt x="391" y="1"/>
                  </a:cubicBezTo>
                  <a:cubicBezTo>
                    <a:pt x="391" y="0"/>
                    <a:pt x="391" y="0"/>
                    <a:pt x="391" y="0"/>
                  </a:cubicBezTo>
                </a:path>
              </a:pathLst>
            </a:custGeom>
            <a:solidFill>
              <a:srgbClr val="0675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616" name="Freeform 1620">
              <a:extLst>
                <a:ext uri="{FF2B5EF4-FFF2-40B4-BE49-F238E27FC236}">
                  <a16:creationId xmlns:a16="http://schemas.microsoft.com/office/drawing/2014/main" id="{65086622-4CCC-4BBA-AF3D-F71BF4E652F3}"/>
                </a:ext>
              </a:extLst>
            </p:cNvPr>
            <p:cNvSpPr>
              <a:spLocks/>
            </p:cNvSpPr>
            <p:nvPr userDrawn="1"/>
          </p:nvSpPr>
          <p:spPr bwMode="auto">
            <a:xfrm>
              <a:off x="9902826" y="4897438"/>
              <a:ext cx="1590675" cy="1222375"/>
            </a:xfrm>
            <a:custGeom>
              <a:avLst/>
              <a:gdLst>
                <a:gd name="T0" fmla="*/ 795 w 803"/>
                <a:gd name="T1" fmla="*/ 618 h 618"/>
                <a:gd name="T2" fmla="*/ 7 w 803"/>
                <a:gd name="T3" fmla="*/ 618 h 618"/>
                <a:gd name="T4" fmla="*/ 0 w 803"/>
                <a:gd name="T5" fmla="*/ 610 h 618"/>
                <a:gd name="T6" fmla="*/ 0 w 803"/>
                <a:gd name="T7" fmla="*/ 8 h 618"/>
                <a:gd name="T8" fmla="*/ 7 w 803"/>
                <a:gd name="T9" fmla="*/ 0 h 618"/>
                <a:gd name="T10" fmla="*/ 795 w 803"/>
                <a:gd name="T11" fmla="*/ 0 h 618"/>
                <a:gd name="T12" fmla="*/ 803 w 803"/>
                <a:gd name="T13" fmla="*/ 8 h 618"/>
                <a:gd name="T14" fmla="*/ 803 w 803"/>
                <a:gd name="T15" fmla="*/ 610 h 618"/>
                <a:gd name="T16" fmla="*/ 795 w 803"/>
                <a:gd name="T17" fmla="*/ 618 h 6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03" h="618">
                  <a:moveTo>
                    <a:pt x="795" y="618"/>
                  </a:moveTo>
                  <a:cubicBezTo>
                    <a:pt x="7" y="618"/>
                    <a:pt x="7" y="618"/>
                    <a:pt x="7" y="618"/>
                  </a:cubicBezTo>
                  <a:cubicBezTo>
                    <a:pt x="3" y="618"/>
                    <a:pt x="0" y="614"/>
                    <a:pt x="0" y="610"/>
                  </a:cubicBezTo>
                  <a:cubicBezTo>
                    <a:pt x="0" y="8"/>
                    <a:pt x="0" y="8"/>
                    <a:pt x="0" y="8"/>
                  </a:cubicBezTo>
                  <a:cubicBezTo>
                    <a:pt x="0" y="3"/>
                    <a:pt x="3" y="0"/>
                    <a:pt x="7" y="0"/>
                  </a:cubicBezTo>
                  <a:cubicBezTo>
                    <a:pt x="795" y="0"/>
                    <a:pt x="795" y="0"/>
                    <a:pt x="795" y="0"/>
                  </a:cubicBezTo>
                  <a:cubicBezTo>
                    <a:pt x="799" y="0"/>
                    <a:pt x="803" y="3"/>
                    <a:pt x="803" y="8"/>
                  </a:cubicBezTo>
                  <a:cubicBezTo>
                    <a:pt x="803" y="610"/>
                    <a:pt x="803" y="610"/>
                    <a:pt x="803" y="610"/>
                  </a:cubicBezTo>
                  <a:cubicBezTo>
                    <a:pt x="803" y="614"/>
                    <a:pt x="799" y="618"/>
                    <a:pt x="795" y="61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617" name="Freeform 1621">
              <a:extLst>
                <a:ext uri="{FF2B5EF4-FFF2-40B4-BE49-F238E27FC236}">
                  <a16:creationId xmlns:a16="http://schemas.microsoft.com/office/drawing/2014/main" id="{3DACC5CB-CAE4-4DF5-8D5B-55E14DD92138}"/>
                </a:ext>
              </a:extLst>
            </p:cNvPr>
            <p:cNvSpPr>
              <a:spLocks/>
            </p:cNvSpPr>
            <p:nvPr userDrawn="1"/>
          </p:nvSpPr>
          <p:spPr bwMode="auto">
            <a:xfrm>
              <a:off x="9883776" y="4876800"/>
              <a:ext cx="1628775" cy="1262063"/>
            </a:xfrm>
            <a:custGeom>
              <a:avLst/>
              <a:gdLst>
                <a:gd name="T0" fmla="*/ 286 w 823"/>
                <a:gd name="T1" fmla="*/ 20 h 638"/>
                <a:gd name="T2" fmla="*/ 775 w 823"/>
                <a:gd name="T3" fmla="*/ 20 h 638"/>
                <a:gd name="T4" fmla="*/ 794 w 823"/>
                <a:gd name="T5" fmla="*/ 28 h 638"/>
                <a:gd name="T6" fmla="*/ 803 w 823"/>
                <a:gd name="T7" fmla="*/ 50 h 638"/>
                <a:gd name="T8" fmla="*/ 803 w 823"/>
                <a:gd name="T9" fmla="*/ 588 h 638"/>
                <a:gd name="T10" fmla="*/ 794 w 823"/>
                <a:gd name="T11" fmla="*/ 609 h 638"/>
                <a:gd name="T12" fmla="*/ 775 w 823"/>
                <a:gd name="T13" fmla="*/ 618 h 638"/>
                <a:gd name="T14" fmla="*/ 47 w 823"/>
                <a:gd name="T15" fmla="*/ 618 h 638"/>
                <a:gd name="T16" fmla="*/ 28 w 823"/>
                <a:gd name="T17" fmla="*/ 609 h 638"/>
                <a:gd name="T18" fmla="*/ 20 w 823"/>
                <a:gd name="T19" fmla="*/ 588 h 638"/>
                <a:gd name="T20" fmla="*/ 20 w 823"/>
                <a:gd name="T21" fmla="*/ 50 h 638"/>
                <a:gd name="T22" fmla="*/ 28 w 823"/>
                <a:gd name="T23" fmla="*/ 28 h 638"/>
                <a:gd name="T24" fmla="*/ 47 w 823"/>
                <a:gd name="T25" fmla="*/ 20 h 638"/>
                <a:gd name="T26" fmla="*/ 89 w 823"/>
                <a:gd name="T27" fmla="*/ 20 h 638"/>
                <a:gd name="T28" fmla="*/ 89 w 823"/>
                <a:gd name="T29" fmla="*/ 0 h 638"/>
                <a:gd name="T30" fmla="*/ 47 w 823"/>
                <a:gd name="T31" fmla="*/ 0 h 638"/>
                <a:gd name="T32" fmla="*/ 13 w 823"/>
                <a:gd name="T33" fmla="*/ 15 h 638"/>
                <a:gd name="T34" fmla="*/ 0 w 823"/>
                <a:gd name="T35" fmla="*/ 50 h 638"/>
                <a:gd name="T36" fmla="*/ 0 w 823"/>
                <a:gd name="T37" fmla="*/ 588 h 638"/>
                <a:gd name="T38" fmla="*/ 13 w 823"/>
                <a:gd name="T39" fmla="*/ 623 h 638"/>
                <a:gd name="T40" fmla="*/ 47 w 823"/>
                <a:gd name="T41" fmla="*/ 638 h 638"/>
                <a:gd name="T42" fmla="*/ 775 w 823"/>
                <a:gd name="T43" fmla="*/ 638 h 638"/>
                <a:gd name="T44" fmla="*/ 809 w 823"/>
                <a:gd name="T45" fmla="*/ 623 h 638"/>
                <a:gd name="T46" fmla="*/ 823 w 823"/>
                <a:gd name="T47" fmla="*/ 588 h 638"/>
                <a:gd name="T48" fmla="*/ 823 w 823"/>
                <a:gd name="T49" fmla="*/ 50 h 638"/>
                <a:gd name="T50" fmla="*/ 809 w 823"/>
                <a:gd name="T51" fmla="*/ 15 h 638"/>
                <a:gd name="T52" fmla="*/ 775 w 823"/>
                <a:gd name="T53" fmla="*/ 0 h 638"/>
                <a:gd name="T54" fmla="*/ 286 w 823"/>
                <a:gd name="T55" fmla="*/ 0 h 638"/>
                <a:gd name="T56" fmla="*/ 286 w 823"/>
                <a:gd name="T57" fmla="*/ 20 h 6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23" h="638">
                  <a:moveTo>
                    <a:pt x="286" y="20"/>
                  </a:moveTo>
                  <a:cubicBezTo>
                    <a:pt x="775" y="20"/>
                    <a:pt x="775" y="20"/>
                    <a:pt x="775" y="20"/>
                  </a:cubicBezTo>
                  <a:cubicBezTo>
                    <a:pt x="783" y="20"/>
                    <a:pt x="789" y="23"/>
                    <a:pt x="794" y="28"/>
                  </a:cubicBezTo>
                  <a:cubicBezTo>
                    <a:pt x="799" y="34"/>
                    <a:pt x="803" y="41"/>
                    <a:pt x="803" y="50"/>
                  </a:cubicBezTo>
                  <a:cubicBezTo>
                    <a:pt x="803" y="588"/>
                    <a:pt x="803" y="588"/>
                    <a:pt x="803" y="588"/>
                  </a:cubicBezTo>
                  <a:cubicBezTo>
                    <a:pt x="803" y="596"/>
                    <a:pt x="799" y="604"/>
                    <a:pt x="794" y="609"/>
                  </a:cubicBezTo>
                  <a:cubicBezTo>
                    <a:pt x="789" y="615"/>
                    <a:pt x="783" y="618"/>
                    <a:pt x="775" y="618"/>
                  </a:cubicBezTo>
                  <a:cubicBezTo>
                    <a:pt x="47" y="618"/>
                    <a:pt x="47" y="618"/>
                    <a:pt x="47" y="618"/>
                  </a:cubicBezTo>
                  <a:cubicBezTo>
                    <a:pt x="40" y="618"/>
                    <a:pt x="33" y="615"/>
                    <a:pt x="28" y="609"/>
                  </a:cubicBezTo>
                  <a:cubicBezTo>
                    <a:pt x="23" y="604"/>
                    <a:pt x="20" y="596"/>
                    <a:pt x="20" y="588"/>
                  </a:cubicBezTo>
                  <a:cubicBezTo>
                    <a:pt x="20" y="50"/>
                    <a:pt x="20" y="50"/>
                    <a:pt x="20" y="50"/>
                  </a:cubicBezTo>
                  <a:cubicBezTo>
                    <a:pt x="20" y="41"/>
                    <a:pt x="23" y="34"/>
                    <a:pt x="28" y="28"/>
                  </a:cubicBezTo>
                  <a:cubicBezTo>
                    <a:pt x="33" y="23"/>
                    <a:pt x="40" y="20"/>
                    <a:pt x="47" y="20"/>
                  </a:cubicBezTo>
                  <a:cubicBezTo>
                    <a:pt x="89" y="20"/>
                    <a:pt x="89" y="20"/>
                    <a:pt x="89" y="20"/>
                  </a:cubicBezTo>
                  <a:cubicBezTo>
                    <a:pt x="89" y="0"/>
                    <a:pt x="89" y="0"/>
                    <a:pt x="89" y="0"/>
                  </a:cubicBezTo>
                  <a:cubicBezTo>
                    <a:pt x="47" y="0"/>
                    <a:pt x="47" y="0"/>
                    <a:pt x="47" y="0"/>
                  </a:cubicBezTo>
                  <a:cubicBezTo>
                    <a:pt x="34" y="0"/>
                    <a:pt x="22" y="6"/>
                    <a:pt x="13" y="15"/>
                  </a:cubicBezTo>
                  <a:cubicBezTo>
                    <a:pt x="5" y="24"/>
                    <a:pt x="0" y="36"/>
                    <a:pt x="0" y="50"/>
                  </a:cubicBezTo>
                  <a:cubicBezTo>
                    <a:pt x="0" y="588"/>
                    <a:pt x="0" y="588"/>
                    <a:pt x="0" y="588"/>
                  </a:cubicBezTo>
                  <a:cubicBezTo>
                    <a:pt x="0" y="601"/>
                    <a:pt x="5" y="614"/>
                    <a:pt x="13" y="623"/>
                  </a:cubicBezTo>
                  <a:cubicBezTo>
                    <a:pt x="22" y="632"/>
                    <a:pt x="34" y="638"/>
                    <a:pt x="47" y="638"/>
                  </a:cubicBezTo>
                  <a:cubicBezTo>
                    <a:pt x="775" y="638"/>
                    <a:pt x="775" y="638"/>
                    <a:pt x="775" y="638"/>
                  </a:cubicBezTo>
                  <a:cubicBezTo>
                    <a:pt x="789" y="638"/>
                    <a:pt x="801" y="632"/>
                    <a:pt x="809" y="623"/>
                  </a:cubicBezTo>
                  <a:cubicBezTo>
                    <a:pt x="818" y="614"/>
                    <a:pt x="823" y="601"/>
                    <a:pt x="823" y="588"/>
                  </a:cubicBezTo>
                  <a:cubicBezTo>
                    <a:pt x="823" y="50"/>
                    <a:pt x="823" y="50"/>
                    <a:pt x="823" y="50"/>
                  </a:cubicBezTo>
                  <a:cubicBezTo>
                    <a:pt x="823" y="36"/>
                    <a:pt x="818" y="24"/>
                    <a:pt x="809" y="15"/>
                  </a:cubicBezTo>
                  <a:cubicBezTo>
                    <a:pt x="801" y="6"/>
                    <a:pt x="789" y="0"/>
                    <a:pt x="775" y="0"/>
                  </a:cubicBezTo>
                  <a:cubicBezTo>
                    <a:pt x="286" y="0"/>
                    <a:pt x="286" y="0"/>
                    <a:pt x="286" y="0"/>
                  </a:cubicBezTo>
                  <a:cubicBezTo>
                    <a:pt x="286" y="20"/>
                    <a:pt x="286" y="20"/>
                    <a:pt x="286" y="2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1618" name="Rectangle 1622">
              <a:extLst>
                <a:ext uri="{FF2B5EF4-FFF2-40B4-BE49-F238E27FC236}">
                  <a16:creationId xmlns:a16="http://schemas.microsoft.com/office/drawing/2014/main" id="{7B600322-61EE-446B-91EB-11D939710E89}"/>
                </a:ext>
              </a:extLst>
            </p:cNvPr>
            <p:cNvSpPr>
              <a:spLocks noChangeArrowheads="1"/>
            </p:cNvSpPr>
            <p:nvPr userDrawn="1"/>
          </p:nvSpPr>
          <p:spPr bwMode="auto">
            <a:xfrm>
              <a:off x="10218738" y="4876800"/>
              <a:ext cx="128588" cy="39688"/>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1619" name="Freeform 1623">
              <a:extLst>
                <a:ext uri="{FF2B5EF4-FFF2-40B4-BE49-F238E27FC236}">
                  <a16:creationId xmlns:a16="http://schemas.microsoft.com/office/drawing/2014/main" id="{F570064B-540B-4A33-A828-80C1AE21BFE6}"/>
                </a:ext>
              </a:extLst>
            </p:cNvPr>
            <p:cNvSpPr>
              <a:spLocks/>
            </p:cNvSpPr>
            <p:nvPr userDrawn="1"/>
          </p:nvSpPr>
          <p:spPr bwMode="auto">
            <a:xfrm>
              <a:off x="10218738" y="4876800"/>
              <a:ext cx="128588" cy="39688"/>
            </a:xfrm>
            <a:custGeom>
              <a:avLst/>
              <a:gdLst>
                <a:gd name="T0" fmla="*/ 0 w 81"/>
                <a:gd name="T1" fmla="*/ 25 h 25"/>
                <a:gd name="T2" fmla="*/ 81 w 81"/>
                <a:gd name="T3" fmla="*/ 25 h 25"/>
                <a:gd name="T4" fmla="*/ 81 w 81"/>
                <a:gd name="T5" fmla="*/ 0 h 25"/>
                <a:gd name="T6" fmla="*/ 0 w 81"/>
                <a:gd name="T7" fmla="*/ 0 h 25"/>
              </a:gdLst>
              <a:ahLst/>
              <a:cxnLst>
                <a:cxn ang="0">
                  <a:pos x="T0" y="T1"/>
                </a:cxn>
                <a:cxn ang="0">
                  <a:pos x="T2" y="T3"/>
                </a:cxn>
                <a:cxn ang="0">
                  <a:pos x="T4" y="T5"/>
                </a:cxn>
                <a:cxn ang="0">
                  <a:pos x="T6" y="T7"/>
                </a:cxn>
              </a:cxnLst>
              <a:rect l="0" t="0" r="r" b="b"/>
              <a:pathLst>
                <a:path w="81" h="25">
                  <a:moveTo>
                    <a:pt x="0" y="25"/>
                  </a:moveTo>
                  <a:lnTo>
                    <a:pt x="81" y="25"/>
                  </a:lnTo>
                  <a:lnTo>
                    <a:pt x="81"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620" name="Rectangle 1624">
              <a:extLst>
                <a:ext uri="{FF2B5EF4-FFF2-40B4-BE49-F238E27FC236}">
                  <a16:creationId xmlns:a16="http://schemas.microsoft.com/office/drawing/2014/main" id="{6669438D-4E9E-4B2D-AD3E-E1888FDBE205}"/>
                </a:ext>
              </a:extLst>
            </p:cNvPr>
            <p:cNvSpPr>
              <a:spLocks noChangeArrowheads="1"/>
            </p:cNvSpPr>
            <p:nvPr userDrawn="1"/>
          </p:nvSpPr>
          <p:spPr bwMode="auto">
            <a:xfrm>
              <a:off x="10006013" y="5349875"/>
              <a:ext cx="39688" cy="314325"/>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1621" name="Freeform 1625">
              <a:extLst>
                <a:ext uri="{FF2B5EF4-FFF2-40B4-BE49-F238E27FC236}">
                  <a16:creationId xmlns:a16="http://schemas.microsoft.com/office/drawing/2014/main" id="{A5ABE04A-E59C-41B9-8A7A-2AE27F355B86}"/>
                </a:ext>
              </a:extLst>
            </p:cNvPr>
            <p:cNvSpPr>
              <a:spLocks/>
            </p:cNvSpPr>
            <p:nvPr userDrawn="1"/>
          </p:nvSpPr>
          <p:spPr bwMode="auto">
            <a:xfrm>
              <a:off x="10006013" y="5349875"/>
              <a:ext cx="39688" cy="314325"/>
            </a:xfrm>
            <a:custGeom>
              <a:avLst/>
              <a:gdLst>
                <a:gd name="T0" fmla="*/ 0 w 25"/>
                <a:gd name="T1" fmla="*/ 0 h 198"/>
                <a:gd name="T2" fmla="*/ 0 w 25"/>
                <a:gd name="T3" fmla="*/ 198 h 198"/>
                <a:gd name="T4" fmla="*/ 25 w 25"/>
                <a:gd name="T5" fmla="*/ 198 h 198"/>
                <a:gd name="T6" fmla="*/ 25 w 25"/>
                <a:gd name="T7" fmla="*/ 0 h 198"/>
              </a:gdLst>
              <a:ahLst/>
              <a:cxnLst>
                <a:cxn ang="0">
                  <a:pos x="T0" y="T1"/>
                </a:cxn>
                <a:cxn ang="0">
                  <a:pos x="T2" y="T3"/>
                </a:cxn>
                <a:cxn ang="0">
                  <a:pos x="T4" y="T5"/>
                </a:cxn>
                <a:cxn ang="0">
                  <a:pos x="T6" y="T7"/>
                </a:cxn>
              </a:cxnLst>
              <a:rect l="0" t="0" r="r" b="b"/>
              <a:pathLst>
                <a:path w="25" h="198">
                  <a:moveTo>
                    <a:pt x="0" y="0"/>
                  </a:moveTo>
                  <a:lnTo>
                    <a:pt x="0" y="198"/>
                  </a:lnTo>
                  <a:lnTo>
                    <a:pt x="25" y="198"/>
                  </a:lnTo>
                  <a:lnTo>
                    <a:pt x="2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622" name="Rectangle 1626">
              <a:extLst>
                <a:ext uri="{FF2B5EF4-FFF2-40B4-BE49-F238E27FC236}">
                  <a16:creationId xmlns:a16="http://schemas.microsoft.com/office/drawing/2014/main" id="{B87927D9-0C31-4308-B414-3586609537BB}"/>
                </a:ext>
              </a:extLst>
            </p:cNvPr>
            <p:cNvSpPr>
              <a:spLocks noChangeArrowheads="1"/>
            </p:cNvSpPr>
            <p:nvPr userDrawn="1"/>
          </p:nvSpPr>
          <p:spPr bwMode="auto">
            <a:xfrm>
              <a:off x="10109201" y="5002213"/>
              <a:ext cx="1162050" cy="1012825"/>
            </a:xfrm>
            <a:prstGeom prst="rect">
              <a:avLst/>
            </a:pr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1623" name="Freeform 1627">
              <a:extLst>
                <a:ext uri="{FF2B5EF4-FFF2-40B4-BE49-F238E27FC236}">
                  <a16:creationId xmlns:a16="http://schemas.microsoft.com/office/drawing/2014/main" id="{38041F14-05F9-4416-9C98-96C23D4E6742}"/>
                </a:ext>
              </a:extLst>
            </p:cNvPr>
            <p:cNvSpPr>
              <a:spLocks/>
            </p:cNvSpPr>
            <p:nvPr userDrawn="1"/>
          </p:nvSpPr>
          <p:spPr bwMode="auto">
            <a:xfrm>
              <a:off x="11285538" y="5443538"/>
              <a:ext cx="122238" cy="128588"/>
            </a:xfrm>
            <a:custGeom>
              <a:avLst/>
              <a:gdLst>
                <a:gd name="T0" fmla="*/ 51 w 62"/>
                <a:gd name="T1" fmla="*/ 33 h 65"/>
                <a:gd name="T2" fmla="*/ 41 w 62"/>
                <a:gd name="T3" fmla="*/ 33 h 65"/>
                <a:gd name="T4" fmla="*/ 38 w 62"/>
                <a:gd name="T5" fmla="*/ 42 h 65"/>
                <a:gd name="T6" fmla="*/ 31 w 62"/>
                <a:gd name="T7" fmla="*/ 45 h 65"/>
                <a:gd name="T8" fmla="*/ 23 w 62"/>
                <a:gd name="T9" fmla="*/ 42 h 65"/>
                <a:gd name="T10" fmla="*/ 20 w 62"/>
                <a:gd name="T11" fmla="*/ 33 h 65"/>
                <a:gd name="T12" fmla="*/ 23 w 62"/>
                <a:gd name="T13" fmla="*/ 24 h 65"/>
                <a:gd name="T14" fmla="*/ 31 w 62"/>
                <a:gd name="T15" fmla="*/ 21 h 65"/>
                <a:gd name="T16" fmla="*/ 38 w 62"/>
                <a:gd name="T17" fmla="*/ 24 h 65"/>
                <a:gd name="T18" fmla="*/ 41 w 62"/>
                <a:gd name="T19" fmla="*/ 33 h 65"/>
                <a:gd name="T20" fmla="*/ 51 w 62"/>
                <a:gd name="T21" fmla="*/ 33 h 65"/>
                <a:gd name="T22" fmla="*/ 62 w 62"/>
                <a:gd name="T23" fmla="*/ 33 h 65"/>
                <a:gd name="T24" fmla="*/ 53 w 62"/>
                <a:gd name="T25" fmla="*/ 10 h 65"/>
                <a:gd name="T26" fmla="*/ 31 w 62"/>
                <a:gd name="T27" fmla="*/ 0 h 65"/>
                <a:gd name="T28" fmla="*/ 8 w 62"/>
                <a:gd name="T29" fmla="*/ 10 h 65"/>
                <a:gd name="T30" fmla="*/ 0 w 62"/>
                <a:gd name="T31" fmla="*/ 33 h 65"/>
                <a:gd name="T32" fmla="*/ 8 w 62"/>
                <a:gd name="T33" fmla="*/ 56 h 65"/>
                <a:gd name="T34" fmla="*/ 31 w 62"/>
                <a:gd name="T35" fmla="*/ 65 h 65"/>
                <a:gd name="T36" fmla="*/ 53 w 62"/>
                <a:gd name="T37" fmla="*/ 56 h 65"/>
                <a:gd name="T38" fmla="*/ 62 w 62"/>
                <a:gd name="T39" fmla="*/ 33 h 65"/>
                <a:gd name="T40" fmla="*/ 51 w 62"/>
                <a:gd name="T41" fmla="*/ 3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2" h="65">
                  <a:moveTo>
                    <a:pt x="51" y="33"/>
                  </a:moveTo>
                  <a:cubicBezTo>
                    <a:pt x="41" y="33"/>
                    <a:pt x="41" y="33"/>
                    <a:pt x="41" y="33"/>
                  </a:cubicBezTo>
                  <a:cubicBezTo>
                    <a:pt x="41" y="36"/>
                    <a:pt x="40" y="40"/>
                    <a:pt x="38" y="42"/>
                  </a:cubicBezTo>
                  <a:cubicBezTo>
                    <a:pt x="36" y="44"/>
                    <a:pt x="33" y="45"/>
                    <a:pt x="31" y="45"/>
                  </a:cubicBezTo>
                  <a:cubicBezTo>
                    <a:pt x="28" y="45"/>
                    <a:pt x="25" y="44"/>
                    <a:pt x="23" y="42"/>
                  </a:cubicBezTo>
                  <a:cubicBezTo>
                    <a:pt x="21" y="40"/>
                    <a:pt x="20" y="36"/>
                    <a:pt x="20" y="33"/>
                  </a:cubicBezTo>
                  <a:cubicBezTo>
                    <a:pt x="20" y="29"/>
                    <a:pt x="21" y="26"/>
                    <a:pt x="23" y="24"/>
                  </a:cubicBezTo>
                  <a:cubicBezTo>
                    <a:pt x="25" y="22"/>
                    <a:pt x="28" y="21"/>
                    <a:pt x="31" y="21"/>
                  </a:cubicBezTo>
                  <a:cubicBezTo>
                    <a:pt x="33" y="21"/>
                    <a:pt x="36" y="22"/>
                    <a:pt x="38" y="24"/>
                  </a:cubicBezTo>
                  <a:cubicBezTo>
                    <a:pt x="40" y="26"/>
                    <a:pt x="41" y="29"/>
                    <a:pt x="41" y="33"/>
                  </a:cubicBezTo>
                  <a:cubicBezTo>
                    <a:pt x="51" y="33"/>
                    <a:pt x="51" y="33"/>
                    <a:pt x="51" y="33"/>
                  </a:cubicBezTo>
                  <a:cubicBezTo>
                    <a:pt x="62" y="33"/>
                    <a:pt x="62" y="33"/>
                    <a:pt x="62" y="33"/>
                  </a:cubicBezTo>
                  <a:cubicBezTo>
                    <a:pt x="62" y="24"/>
                    <a:pt x="58" y="16"/>
                    <a:pt x="53" y="10"/>
                  </a:cubicBezTo>
                  <a:cubicBezTo>
                    <a:pt x="47" y="4"/>
                    <a:pt x="39" y="0"/>
                    <a:pt x="31" y="0"/>
                  </a:cubicBezTo>
                  <a:cubicBezTo>
                    <a:pt x="22" y="0"/>
                    <a:pt x="14" y="4"/>
                    <a:pt x="8" y="10"/>
                  </a:cubicBezTo>
                  <a:cubicBezTo>
                    <a:pt x="3" y="16"/>
                    <a:pt x="0" y="24"/>
                    <a:pt x="0" y="33"/>
                  </a:cubicBezTo>
                  <a:cubicBezTo>
                    <a:pt x="0" y="42"/>
                    <a:pt x="3" y="50"/>
                    <a:pt x="8" y="56"/>
                  </a:cubicBezTo>
                  <a:cubicBezTo>
                    <a:pt x="14" y="61"/>
                    <a:pt x="22" y="65"/>
                    <a:pt x="31" y="65"/>
                  </a:cubicBezTo>
                  <a:cubicBezTo>
                    <a:pt x="39" y="65"/>
                    <a:pt x="47" y="61"/>
                    <a:pt x="53" y="56"/>
                  </a:cubicBezTo>
                  <a:cubicBezTo>
                    <a:pt x="58" y="50"/>
                    <a:pt x="62" y="42"/>
                    <a:pt x="62" y="33"/>
                  </a:cubicBezTo>
                  <a:lnTo>
                    <a:pt x="51" y="33"/>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1624" name="Freeform 1628">
              <a:extLst>
                <a:ext uri="{FF2B5EF4-FFF2-40B4-BE49-F238E27FC236}">
                  <a16:creationId xmlns:a16="http://schemas.microsoft.com/office/drawing/2014/main" id="{6356C7CA-58A8-4749-A3D6-ED9730A0CA12}"/>
                </a:ext>
              </a:extLst>
            </p:cNvPr>
            <p:cNvSpPr>
              <a:spLocks/>
            </p:cNvSpPr>
            <p:nvPr userDrawn="1"/>
          </p:nvSpPr>
          <p:spPr bwMode="auto">
            <a:xfrm>
              <a:off x="10529888" y="5194300"/>
              <a:ext cx="339725" cy="420688"/>
            </a:xfrm>
            <a:custGeom>
              <a:avLst/>
              <a:gdLst>
                <a:gd name="T0" fmla="*/ 163 w 172"/>
                <a:gd name="T1" fmla="*/ 119 h 213"/>
                <a:gd name="T2" fmla="*/ 21 w 172"/>
                <a:gd name="T3" fmla="*/ 207 h 213"/>
                <a:gd name="T4" fmla="*/ 0 w 172"/>
                <a:gd name="T5" fmla="*/ 194 h 213"/>
                <a:gd name="T6" fmla="*/ 0 w 172"/>
                <a:gd name="T7" fmla="*/ 18 h 213"/>
                <a:gd name="T8" fmla="*/ 21 w 172"/>
                <a:gd name="T9" fmla="*/ 5 h 213"/>
                <a:gd name="T10" fmla="*/ 163 w 172"/>
                <a:gd name="T11" fmla="*/ 94 h 213"/>
                <a:gd name="T12" fmla="*/ 163 w 172"/>
                <a:gd name="T13" fmla="*/ 119 h 213"/>
              </a:gdLst>
              <a:ahLst/>
              <a:cxnLst>
                <a:cxn ang="0">
                  <a:pos x="T0" y="T1"/>
                </a:cxn>
                <a:cxn ang="0">
                  <a:pos x="T2" y="T3"/>
                </a:cxn>
                <a:cxn ang="0">
                  <a:pos x="T4" y="T5"/>
                </a:cxn>
                <a:cxn ang="0">
                  <a:pos x="T6" y="T7"/>
                </a:cxn>
                <a:cxn ang="0">
                  <a:pos x="T8" y="T9"/>
                </a:cxn>
                <a:cxn ang="0">
                  <a:pos x="T10" y="T11"/>
                </a:cxn>
                <a:cxn ang="0">
                  <a:pos x="T12" y="T13"/>
                </a:cxn>
              </a:cxnLst>
              <a:rect l="0" t="0" r="r" b="b"/>
              <a:pathLst>
                <a:path w="172" h="213">
                  <a:moveTo>
                    <a:pt x="163" y="119"/>
                  </a:moveTo>
                  <a:cubicBezTo>
                    <a:pt x="21" y="207"/>
                    <a:pt x="21" y="207"/>
                    <a:pt x="21" y="207"/>
                  </a:cubicBezTo>
                  <a:cubicBezTo>
                    <a:pt x="12" y="213"/>
                    <a:pt x="0" y="206"/>
                    <a:pt x="0" y="194"/>
                  </a:cubicBezTo>
                  <a:cubicBezTo>
                    <a:pt x="0" y="18"/>
                    <a:pt x="0" y="18"/>
                    <a:pt x="0" y="18"/>
                  </a:cubicBezTo>
                  <a:cubicBezTo>
                    <a:pt x="0" y="7"/>
                    <a:pt x="12" y="0"/>
                    <a:pt x="21" y="5"/>
                  </a:cubicBezTo>
                  <a:cubicBezTo>
                    <a:pt x="163" y="94"/>
                    <a:pt x="163" y="94"/>
                    <a:pt x="163" y="94"/>
                  </a:cubicBezTo>
                  <a:cubicBezTo>
                    <a:pt x="172" y="99"/>
                    <a:pt x="172" y="113"/>
                    <a:pt x="163" y="119"/>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1625" name="Freeform 1629">
              <a:extLst>
                <a:ext uri="{FF2B5EF4-FFF2-40B4-BE49-F238E27FC236}">
                  <a16:creationId xmlns:a16="http://schemas.microsoft.com/office/drawing/2014/main" id="{9D008822-EC18-4219-9544-69450BF36B66}"/>
                </a:ext>
              </a:extLst>
            </p:cNvPr>
            <p:cNvSpPr>
              <a:spLocks/>
            </p:cNvSpPr>
            <p:nvPr userDrawn="1"/>
          </p:nvSpPr>
          <p:spPr bwMode="auto">
            <a:xfrm>
              <a:off x="10509251" y="5180013"/>
              <a:ext cx="376238" cy="446088"/>
            </a:xfrm>
            <a:custGeom>
              <a:avLst/>
              <a:gdLst>
                <a:gd name="T0" fmla="*/ 173 w 190"/>
                <a:gd name="T1" fmla="*/ 126 h 226"/>
                <a:gd name="T2" fmla="*/ 168 w 190"/>
                <a:gd name="T3" fmla="*/ 117 h 226"/>
                <a:gd name="T4" fmla="*/ 25 w 190"/>
                <a:gd name="T5" fmla="*/ 205 h 226"/>
                <a:gd name="T6" fmla="*/ 24 w 190"/>
                <a:gd name="T7" fmla="*/ 206 h 226"/>
                <a:gd name="T8" fmla="*/ 22 w 190"/>
                <a:gd name="T9" fmla="*/ 205 h 226"/>
                <a:gd name="T10" fmla="*/ 20 w 190"/>
                <a:gd name="T11" fmla="*/ 201 h 226"/>
                <a:gd name="T12" fmla="*/ 20 w 190"/>
                <a:gd name="T13" fmla="*/ 25 h 226"/>
                <a:gd name="T14" fmla="*/ 22 w 190"/>
                <a:gd name="T15" fmla="*/ 22 h 226"/>
                <a:gd name="T16" fmla="*/ 24 w 190"/>
                <a:gd name="T17" fmla="*/ 21 h 226"/>
                <a:gd name="T18" fmla="*/ 25 w 190"/>
                <a:gd name="T19" fmla="*/ 21 h 226"/>
                <a:gd name="T20" fmla="*/ 25 w 190"/>
                <a:gd name="T21" fmla="*/ 21 h 226"/>
                <a:gd name="T22" fmla="*/ 168 w 190"/>
                <a:gd name="T23" fmla="*/ 109 h 226"/>
                <a:gd name="T24" fmla="*/ 169 w 190"/>
                <a:gd name="T25" fmla="*/ 111 h 226"/>
                <a:gd name="T26" fmla="*/ 170 w 190"/>
                <a:gd name="T27" fmla="*/ 113 h 226"/>
                <a:gd name="T28" fmla="*/ 169 w 190"/>
                <a:gd name="T29" fmla="*/ 116 h 226"/>
                <a:gd name="T30" fmla="*/ 168 w 190"/>
                <a:gd name="T31" fmla="*/ 117 h 226"/>
                <a:gd name="T32" fmla="*/ 168 w 190"/>
                <a:gd name="T33" fmla="*/ 117 h 226"/>
                <a:gd name="T34" fmla="*/ 173 w 190"/>
                <a:gd name="T35" fmla="*/ 126 h 226"/>
                <a:gd name="T36" fmla="*/ 179 w 190"/>
                <a:gd name="T37" fmla="*/ 134 h 226"/>
                <a:gd name="T38" fmla="*/ 187 w 190"/>
                <a:gd name="T39" fmla="*/ 125 h 226"/>
                <a:gd name="T40" fmla="*/ 190 w 190"/>
                <a:gd name="T41" fmla="*/ 113 h 226"/>
                <a:gd name="T42" fmla="*/ 187 w 190"/>
                <a:gd name="T43" fmla="*/ 102 h 226"/>
                <a:gd name="T44" fmla="*/ 179 w 190"/>
                <a:gd name="T45" fmla="*/ 92 h 226"/>
                <a:gd name="T46" fmla="*/ 36 w 190"/>
                <a:gd name="T47" fmla="*/ 4 h 226"/>
                <a:gd name="T48" fmla="*/ 36 w 190"/>
                <a:gd name="T49" fmla="*/ 4 h 226"/>
                <a:gd name="T50" fmla="*/ 24 w 190"/>
                <a:gd name="T51" fmla="*/ 0 h 226"/>
                <a:gd name="T52" fmla="*/ 7 w 190"/>
                <a:gd name="T53" fmla="*/ 8 h 226"/>
                <a:gd name="T54" fmla="*/ 0 w 190"/>
                <a:gd name="T55" fmla="*/ 25 h 226"/>
                <a:gd name="T56" fmla="*/ 0 w 190"/>
                <a:gd name="T57" fmla="*/ 201 h 226"/>
                <a:gd name="T58" fmla="*/ 7 w 190"/>
                <a:gd name="T59" fmla="*/ 219 h 226"/>
                <a:gd name="T60" fmla="*/ 24 w 190"/>
                <a:gd name="T61" fmla="*/ 226 h 226"/>
                <a:gd name="T62" fmla="*/ 36 w 190"/>
                <a:gd name="T63" fmla="*/ 223 h 226"/>
                <a:gd name="T64" fmla="*/ 179 w 190"/>
                <a:gd name="T65" fmla="*/ 134 h 226"/>
                <a:gd name="T66" fmla="*/ 179 w 190"/>
                <a:gd name="T67" fmla="*/ 134 h 226"/>
                <a:gd name="T68" fmla="*/ 173 w 190"/>
                <a:gd name="T69" fmla="*/ 126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0" h="226">
                  <a:moveTo>
                    <a:pt x="173" y="126"/>
                  </a:moveTo>
                  <a:cubicBezTo>
                    <a:pt x="168" y="117"/>
                    <a:pt x="168" y="117"/>
                    <a:pt x="168" y="117"/>
                  </a:cubicBezTo>
                  <a:cubicBezTo>
                    <a:pt x="25" y="205"/>
                    <a:pt x="25" y="205"/>
                    <a:pt x="25" y="205"/>
                  </a:cubicBezTo>
                  <a:cubicBezTo>
                    <a:pt x="25" y="206"/>
                    <a:pt x="24" y="206"/>
                    <a:pt x="24" y="206"/>
                  </a:cubicBezTo>
                  <a:cubicBezTo>
                    <a:pt x="23" y="206"/>
                    <a:pt x="22" y="205"/>
                    <a:pt x="22" y="205"/>
                  </a:cubicBezTo>
                  <a:cubicBezTo>
                    <a:pt x="21" y="204"/>
                    <a:pt x="20" y="203"/>
                    <a:pt x="20" y="201"/>
                  </a:cubicBezTo>
                  <a:cubicBezTo>
                    <a:pt x="20" y="25"/>
                    <a:pt x="20" y="25"/>
                    <a:pt x="20" y="25"/>
                  </a:cubicBezTo>
                  <a:cubicBezTo>
                    <a:pt x="20" y="23"/>
                    <a:pt x="21" y="22"/>
                    <a:pt x="22" y="22"/>
                  </a:cubicBezTo>
                  <a:cubicBezTo>
                    <a:pt x="22" y="21"/>
                    <a:pt x="23" y="21"/>
                    <a:pt x="24" y="21"/>
                  </a:cubicBezTo>
                  <a:cubicBezTo>
                    <a:pt x="24" y="21"/>
                    <a:pt x="25" y="21"/>
                    <a:pt x="25" y="21"/>
                  </a:cubicBezTo>
                  <a:cubicBezTo>
                    <a:pt x="25" y="21"/>
                    <a:pt x="25" y="21"/>
                    <a:pt x="25" y="21"/>
                  </a:cubicBezTo>
                  <a:cubicBezTo>
                    <a:pt x="168" y="109"/>
                    <a:pt x="168" y="109"/>
                    <a:pt x="168" y="109"/>
                  </a:cubicBezTo>
                  <a:cubicBezTo>
                    <a:pt x="169" y="110"/>
                    <a:pt x="169" y="110"/>
                    <a:pt x="169" y="111"/>
                  </a:cubicBezTo>
                  <a:cubicBezTo>
                    <a:pt x="170" y="111"/>
                    <a:pt x="170" y="112"/>
                    <a:pt x="170" y="113"/>
                  </a:cubicBezTo>
                  <a:cubicBezTo>
                    <a:pt x="170" y="114"/>
                    <a:pt x="170" y="115"/>
                    <a:pt x="169" y="116"/>
                  </a:cubicBezTo>
                  <a:cubicBezTo>
                    <a:pt x="169" y="116"/>
                    <a:pt x="169" y="117"/>
                    <a:pt x="168" y="117"/>
                  </a:cubicBezTo>
                  <a:cubicBezTo>
                    <a:pt x="168" y="117"/>
                    <a:pt x="168" y="117"/>
                    <a:pt x="168" y="117"/>
                  </a:cubicBezTo>
                  <a:cubicBezTo>
                    <a:pt x="173" y="126"/>
                    <a:pt x="173" y="126"/>
                    <a:pt x="173" y="126"/>
                  </a:cubicBezTo>
                  <a:cubicBezTo>
                    <a:pt x="179" y="134"/>
                    <a:pt x="179" y="134"/>
                    <a:pt x="179" y="134"/>
                  </a:cubicBezTo>
                  <a:cubicBezTo>
                    <a:pt x="183" y="132"/>
                    <a:pt x="186" y="129"/>
                    <a:pt x="187" y="125"/>
                  </a:cubicBezTo>
                  <a:cubicBezTo>
                    <a:pt x="189" y="121"/>
                    <a:pt x="190" y="117"/>
                    <a:pt x="190" y="113"/>
                  </a:cubicBezTo>
                  <a:cubicBezTo>
                    <a:pt x="190" y="109"/>
                    <a:pt x="189" y="105"/>
                    <a:pt x="187" y="102"/>
                  </a:cubicBezTo>
                  <a:cubicBezTo>
                    <a:pt x="186" y="98"/>
                    <a:pt x="183" y="94"/>
                    <a:pt x="179" y="92"/>
                  </a:cubicBezTo>
                  <a:cubicBezTo>
                    <a:pt x="36" y="4"/>
                    <a:pt x="36" y="4"/>
                    <a:pt x="36" y="4"/>
                  </a:cubicBezTo>
                  <a:cubicBezTo>
                    <a:pt x="36" y="4"/>
                    <a:pt x="36" y="4"/>
                    <a:pt x="36" y="4"/>
                  </a:cubicBezTo>
                  <a:cubicBezTo>
                    <a:pt x="32" y="2"/>
                    <a:pt x="28" y="0"/>
                    <a:pt x="24" y="0"/>
                  </a:cubicBezTo>
                  <a:cubicBezTo>
                    <a:pt x="17" y="0"/>
                    <a:pt x="11" y="3"/>
                    <a:pt x="7" y="8"/>
                  </a:cubicBezTo>
                  <a:cubicBezTo>
                    <a:pt x="3" y="12"/>
                    <a:pt x="0" y="18"/>
                    <a:pt x="0" y="25"/>
                  </a:cubicBezTo>
                  <a:cubicBezTo>
                    <a:pt x="0" y="201"/>
                    <a:pt x="0" y="201"/>
                    <a:pt x="0" y="201"/>
                  </a:cubicBezTo>
                  <a:cubicBezTo>
                    <a:pt x="0" y="208"/>
                    <a:pt x="3" y="215"/>
                    <a:pt x="7" y="219"/>
                  </a:cubicBezTo>
                  <a:cubicBezTo>
                    <a:pt x="11" y="223"/>
                    <a:pt x="17" y="226"/>
                    <a:pt x="24" y="226"/>
                  </a:cubicBezTo>
                  <a:cubicBezTo>
                    <a:pt x="28" y="226"/>
                    <a:pt x="32" y="225"/>
                    <a:pt x="36" y="223"/>
                  </a:cubicBezTo>
                  <a:cubicBezTo>
                    <a:pt x="179" y="134"/>
                    <a:pt x="179" y="134"/>
                    <a:pt x="179" y="134"/>
                  </a:cubicBezTo>
                  <a:cubicBezTo>
                    <a:pt x="179" y="134"/>
                    <a:pt x="179" y="134"/>
                    <a:pt x="179" y="134"/>
                  </a:cubicBezTo>
                  <a:lnTo>
                    <a:pt x="173" y="126"/>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1626" name="Rectangle 1630">
              <a:extLst>
                <a:ext uri="{FF2B5EF4-FFF2-40B4-BE49-F238E27FC236}">
                  <a16:creationId xmlns:a16="http://schemas.microsoft.com/office/drawing/2014/main" id="{7654F371-09FF-4DBA-9C75-5D122AFE0180}"/>
                </a:ext>
              </a:extLst>
            </p:cNvPr>
            <p:cNvSpPr>
              <a:spLocks noChangeArrowheads="1"/>
            </p:cNvSpPr>
            <p:nvPr userDrawn="1"/>
          </p:nvSpPr>
          <p:spPr bwMode="auto">
            <a:xfrm>
              <a:off x="10252076" y="5799138"/>
              <a:ext cx="889000" cy="39688"/>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1627" name="Freeform 1631">
              <a:extLst>
                <a:ext uri="{FF2B5EF4-FFF2-40B4-BE49-F238E27FC236}">
                  <a16:creationId xmlns:a16="http://schemas.microsoft.com/office/drawing/2014/main" id="{02F9C124-81FE-4314-B2C6-87EAF8666B5C}"/>
                </a:ext>
              </a:extLst>
            </p:cNvPr>
            <p:cNvSpPr>
              <a:spLocks/>
            </p:cNvSpPr>
            <p:nvPr userDrawn="1"/>
          </p:nvSpPr>
          <p:spPr bwMode="auto">
            <a:xfrm>
              <a:off x="10252076" y="5799138"/>
              <a:ext cx="889000" cy="39688"/>
            </a:xfrm>
            <a:custGeom>
              <a:avLst/>
              <a:gdLst>
                <a:gd name="T0" fmla="*/ 0 w 560"/>
                <a:gd name="T1" fmla="*/ 25 h 25"/>
                <a:gd name="T2" fmla="*/ 560 w 560"/>
                <a:gd name="T3" fmla="*/ 25 h 25"/>
                <a:gd name="T4" fmla="*/ 560 w 560"/>
                <a:gd name="T5" fmla="*/ 0 h 25"/>
                <a:gd name="T6" fmla="*/ 0 w 560"/>
                <a:gd name="T7" fmla="*/ 0 h 25"/>
              </a:gdLst>
              <a:ahLst/>
              <a:cxnLst>
                <a:cxn ang="0">
                  <a:pos x="T0" y="T1"/>
                </a:cxn>
                <a:cxn ang="0">
                  <a:pos x="T2" y="T3"/>
                </a:cxn>
                <a:cxn ang="0">
                  <a:pos x="T4" y="T5"/>
                </a:cxn>
                <a:cxn ang="0">
                  <a:pos x="T6" y="T7"/>
                </a:cxn>
              </a:cxnLst>
              <a:rect l="0" t="0" r="r" b="b"/>
              <a:pathLst>
                <a:path w="560" h="25">
                  <a:moveTo>
                    <a:pt x="0" y="25"/>
                  </a:moveTo>
                  <a:lnTo>
                    <a:pt x="560" y="25"/>
                  </a:lnTo>
                  <a:lnTo>
                    <a:pt x="56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628" name="Rectangle 1632">
              <a:extLst>
                <a:ext uri="{FF2B5EF4-FFF2-40B4-BE49-F238E27FC236}">
                  <a16:creationId xmlns:a16="http://schemas.microsoft.com/office/drawing/2014/main" id="{22D60C26-10AE-4977-8F8D-F4BA38BCA570}"/>
                </a:ext>
              </a:extLst>
            </p:cNvPr>
            <p:cNvSpPr>
              <a:spLocks noChangeArrowheads="1"/>
            </p:cNvSpPr>
            <p:nvPr userDrawn="1"/>
          </p:nvSpPr>
          <p:spPr bwMode="auto">
            <a:xfrm>
              <a:off x="10429876" y="5743575"/>
              <a:ext cx="39688" cy="150813"/>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1629" name="Freeform 1633">
              <a:extLst>
                <a:ext uri="{FF2B5EF4-FFF2-40B4-BE49-F238E27FC236}">
                  <a16:creationId xmlns:a16="http://schemas.microsoft.com/office/drawing/2014/main" id="{F9DD1540-EE70-4F53-8D22-ECFA04C87ED4}"/>
                </a:ext>
              </a:extLst>
            </p:cNvPr>
            <p:cNvSpPr>
              <a:spLocks/>
            </p:cNvSpPr>
            <p:nvPr userDrawn="1"/>
          </p:nvSpPr>
          <p:spPr bwMode="auto">
            <a:xfrm>
              <a:off x="10429876" y="5743575"/>
              <a:ext cx="39688" cy="150813"/>
            </a:xfrm>
            <a:custGeom>
              <a:avLst/>
              <a:gdLst>
                <a:gd name="T0" fmla="*/ 25 w 25"/>
                <a:gd name="T1" fmla="*/ 95 h 95"/>
                <a:gd name="T2" fmla="*/ 25 w 25"/>
                <a:gd name="T3" fmla="*/ 0 h 95"/>
                <a:gd name="T4" fmla="*/ 0 w 25"/>
                <a:gd name="T5" fmla="*/ 0 h 95"/>
                <a:gd name="T6" fmla="*/ 0 w 25"/>
                <a:gd name="T7" fmla="*/ 95 h 95"/>
              </a:gdLst>
              <a:ahLst/>
              <a:cxnLst>
                <a:cxn ang="0">
                  <a:pos x="T0" y="T1"/>
                </a:cxn>
                <a:cxn ang="0">
                  <a:pos x="T2" y="T3"/>
                </a:cxn>
                <a:cxn ang="0">
                  <a:pos x="T4" y="T5"/>
                </a:cxn>
                <a:cxn ang="0">
                  <a:pos x="T6" y="T7"/>
                </a:cxn>
              </a:cxnLst>
              <a:rect l="0" t="0" r="r" b="b"/>
              <a:pathLst>
                <a:path w="25" h="95">
                  <a:moveTo>
                    <a:pt x="25" y="95"/>
                  </a:moveTo>
                  <a:lnTo>
                    <a:pt x="25" y="0"/>
                  </a:lnTo>
                  <a:lnTo>
                    <a:pt x="0" y="0"/>
                  </a:lnTo>
                  <a:lnTo>
                    <a:pt x="0" y="9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630" name="Rectangle 1634">
              <a:extLst>
                <a:ext uri="{FF2B5EF4-FFF2-40B4-BE49-F238E27FC236}">
                  <a16:creationId xmlns:a16="http://schemas.microsoft.com/office/drawing/2014/main" id="{C5C5F3F5-94EF-4B09-8342-E935797B7D14}"/>
                </a:ext>
              </a:extLst>
            </p:cNvPr>
            <p:cNvSpPr>
              <a:spLocks noChangeArrowheads="1"/>
            </p:cNvSpPr>
            <p:nvPr userDrawn="1"/>
          </p:nvSpPr>
          <p:spPr bwMode="auto">
            <a:xfrm>
              <a:off x="4230688" y="6099175"/>
              <a:ext cx="7743825" cy="39688"/>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1631" name="Rectangle 1635">
              <a:extLst>
                <a:ext uri="{FF2B5EF4-FFF2-40B4-BE49-F238E27FC236}">
                  <a16:creationId xmlns:a16="http://schemas.microsoft.com/office/drawing/2014/main" id="{6F1EB1E8-8B23-4940-A276-7C3FC0EBBB33}"/>
                </a:ext>
              </a:extLst>
            </p:cNvPr>
            <p:cNvSpPr>
              <a:spLocks noChangeArrowheads="1"/>
            </p:cNvSpPr>
            <p:nvPr userDrawn="1"/>
          </p:nvSpPr>
          <p:spPr bwMode="auto">
            <a:xfrm>
              <a:off x="4230688" y="6099175"/>
              <a:ext cx="7743825" cy="39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632" name="Freeform 1636">
              <a:extLst>
                <a:ext uri="{FF2B5EF4-FFF2-40B4-BE49-F238E27FC236}">
                  <a16:creationId xmlns:a16="http://schemas.microsoft.com/office/drawing/2014/main" id="{10BE920C-844B-44CD-8A20-74543C73E3CF}"/>
                </a:ext>
              </a:extLst>
            </p:cNvPr>
            <p:cNvSpPr>
              <a:spLocks/>
            </p:cNvSpPr>
            <p:nvPr userDrawn="1"/>
          </p:nvSpPr>
          <p:spPr bwMode="auto">
            <a:xfrm>
              <a:off x="5257801" y="5211763"/>
              <a:ext cx="849313" cy="908050"/>
            </a:xfrm>
            <a:custGeom>
              <a:avLst/>
              <a:gdLst>
                <a:gd name="T0" fmla="*/ 419 w 429"/>
                <a:gd name="T1" fmla="*/ 459 h 459"/>
                <a:gd name="T2" fmla="*/ 10 w 429"/>
                <a:gd name="T3" fmla="*/ 459 h 459"/>
                <a:gd name="T4" fmla="*/ 0 w 429"/>
                <a:gd name="T5" fmla="*/ 448 h 459"/>
                <a:gd name="T6" fmla="*/ 0 w 429"/>
                <a:gd name="T7" fmla="*/ 10 h 459"/>
                <a:gd name="T8" fmla="*/ 10 w 429"/>
                <a:gd name="T9" fmla="*/ 0 h 459"/>
                <a:gd name="T10" fmla="*/ 419 w 429"/>
                <a:gd name="T11" fmla="*/ 0 h 459"/>
                <a:gd name="T12" fmla="*/ 429 w 429"/>
                <a:gd name="T13" fmla="*/ 10 h 459"/>
                <a:gd name="T14" fmla="*/ 429 w 429"/>
                <a:gd name="T15" fmla="*/ 448 h 459"/>
                <a:gd name="T16" fmla="*/ 419 w 429"/>
                <a:gd name="T17" fmla="*/ 459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9" h="459">
                  <a:moveTo>
                    <a:pt x="419" y="459"/>
                  </a:moveTo>
                  <a:cubicBezTo>
                    <a:pt x="10" y="459"/>
                    <a:pt x="10" y="459"/>
                    <a:pt x="10" y="459"/>
                  </a:cubicBezTo>
                  <a:cubicBezTo>
                    <a:pt x="5" y="459"/>
                    <a:pt x="0" y="454"/>
                    <a:pt x="0" y="448"/>
                  </a:cubicBezTo>
                  <a:cubicBezTo>
                    <a:pt x="0" y="10"/>
                    <a:pt x="0" y="10"/>
                    <a:pt x="0" y="10"/>
                  </a:cubicBezTo>
                  <a:cubicBezTo>
                    <a:pt x="0" y="4"/>
                    <a:pt x="5" y="0"/>
                    <a:pt x="10" y="0"/>
                  </a:cubicBezTo>
                  <a:cubicBezTo>
                    <a:pt x="419" y="0"/>
                    <a:pt x="419" y="0"/>
                    <a:pt x="419" y="0"/>
                  </a:cubicBezTo>
                  <a:cubicBezTo>
                    <a:pt x="425" y="0"/>
                    <a:pt x="429" y="4"/>
                    <a:pt x="429" y="10"/>
                  </a:cubicBezTo>
                  <a:cubicBezTo>
                    <a:pt x="429" y="448"/>
                    <a:pt x="429" y="448"/>
                    <a:pt x="429" y="448"/>
                  </a:cubicBezTo>
                  <a:cubicBezTo>
                    <a:pt x="429" y="454"/>
                    <a:pt x="425" y="459"/>
                    <a:pt x="419" y="45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633" name="Freeform 1637">
              <a:extLst>
                <a:ext uri="{FF2B5EF4-FFF2-40B4-BE49-F238E27FC236}">
                  <a16:creationId xmlns:a16="http://schemas.microsoft.com/office/drawing/2014/main" id="{D374F71B-5753-4CED-844B-3A30E965D96D}"/>
                </a:ext>
              </a:extLst>
            </p:cNvPr>
            <p:cNvSpPr>
              <a:spLocks/>
            </p:cNvSpPr>
            <p:nvPr userDrawn="1"/>
          </p:nvSpPr>
          <p:spPr bwMode="auto">
            <a:xfrm>
              <a:off x="5257801" y="5511800"/>
              <a:ext cx="849313" cy="392113"/>
            </a:xfrm>
            <a:custGeom>
              <a:avLst/>
              <a:gdLst>
                <a:gd name="T0" fmla="*/ 535 w 535"/>
                <a:gd name="T1" fmla="*/ 197 h 247"/>
                <a:gd name="T2" fmla="*/ 386 w 535"/>
                <a:gd name="T3" fmla="*/ 51 h 247"/>
                <a:gd name="T4" fmla="*/ 268 w 535"/>
                <a:gd name="T5" fmla="*/ 148 h 247"/>
                <a:gd name="T6" fmla="*/ 135 w 535"/>
                <a:gd name="T7" fmla="*/ 0 h 247"/>
                <a:gd name="T8" fmla="*/ 0 w 535"/>
                <a:gd name="T9" fmla="*/ 162 h 247"/>
                <a:gd name="T10" fmla="*/ 0 w 535"/>
                <a:gd name="T11" fmla="*/ 247 h 247"/>
                <a:gd name="T12" fmla="*/ 535 w 535"/>
                <a:gd name="T13" fmla="*/ 247 h 247"/>
                <a:gd name="T14" fmla="*/ 535 w 535"/>
                <a:gd name="T15" fmla="*/ 197 h 2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35" h="247">
                  <a:moveTo>
                    <a:pt x="535" y="197"/>
                  </a:moveTo>
                  <a:lnTo>
                    <a:pt x="386" y="51"/>
                  </a:lnTo>
                  <a:lnTo>
                    <a:pt x="268" y="148"/>
                  </a:lnTo>
                  <a:lnTo>
                    <a:pt x="135" y="0"/>
                  </a:lnTo>
                  <a:lnTo>
                    <a:pt x="0" y="162"/>
                  </a:lnTo>
                  <a:lnTo>
                    <a:pt x="0" y="247"/>
                  </a:lnTo>
                  <a:lnTo>
                    <a:pt x="535" y="247"/>
                  </a:lnTo>
                  <a:lnTo>
                    <a:pt x="535" y="197"/>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1634" name="Freeform 1638">
              <a:extLst>
                <a:ext uri="{FF2B5EF4-FFF2-40B4-BE49-F238E27FC236}">
                  <a16:creationId xmlns:a16="http://schemas.microsoft.com/office/drawing/2014/main" id="{EE91B498-8D43-4A5A-BF19-BDC11413EFCB}"/>
                </a:ext>
              </a:extLst>
            </p:cNvPr>
            <p:cNvSpPr>
              <a:spLocks/>
            </p:cNvSpPr>
            <p:nvPr userDrawn="1"/>
          </p:nvSpPr>
          <p:spPr bwMode="auto">
            <a:xfrm>
              <a:off x="5257801" y="5511800"/>
              <a:ext cx="849313" cy="392113"/>
            </a:xfrm>
            <a:custGeom>
              <a:avLst/>
              <a:gdLst>
                <a:gd name="T0" fmla="*/ 535 w 535"/>
                <a:gd name="T1" fmla="*/ 197 h 247"/>
                <a:gd name="T2" fmla="*/ 386 w 535"/>
                <a:gd name="T3" fmla="*/ 51 h 247"/>
                <a:gd name="T4" fmla="*/ 268 w 535"/>
                <a:gd name="T5" fmla="*/ 148 h 247"/>
                <a:gd name="T6" fmla="*/ 135 w 535"/>
                <a:gd name="T7" fmla="*/ 0 h 247"/>
                <a:gd name="T8" fmla="*/ 0 w 535"/>
                <a:gd name="T9" fmla="*/ 162 h 247"/>
                <a:gd name="T10" fmla="*/ 0 w 535"/>
                <a:gd name="T11" fmla="*/ 247 h 247"/>
                <a:gd name="T12" fmla="*/ 535 w 535"/>
                <a:gd name="T13" fmla="*/ 247 h 247"/>
                <a:gd name="T14" fmla="*/ 535 w 535"/>
                <a:gd name="T15" fmla="*/ 197 h 2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35" h="247">
                  <a:moveTo>
                    <a:pt x="535" y="197"/>
                  </a:moveTo>
                  <a:lnTo>
                    <a:pt x="386" y="51"/>
                  </a:lnTo>
                  <a:lnTo>
                    <a:pt x="268" y="148"/>
                  </a:lnTo>
                  <a:lnTo>
                    <a:pt x="135" y="0"/>
                  </a:lnTo>
                  <a:lnTo>
                    <a:pt x="0" y="162"/>
                  </a:lnTo>
                  <a:lnTo>
                    <a:pt x="0" y="247"/>
                  </a:lnTo>
                  <a:lnTo>
                    <a:pt x="535" y="247"/>
                  </a:lnTo>
                  <a:lnTo>
                    <a:pt x="535" y="19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635" name="Freeform 1639">
              <a:extLst>
                <a:ext uri="{FF2B5EF4-FFF2-40B4-BE49-F238E27FC236}">
                  <a16:creationId xmlns:a16="http://schemas.microsoft.com/office/drawing/2014/main" id="{C912500E-E496-4AF1-BC29-40A3236D70AE}"/>
                </a:ext>
              </a:extLst>
            </p:cNvPr>
            <p:cNvSpPr>
              <a:spLocks/>
            </p:cNvSpPr>
            <p:nvPr userDrawn="1"/>
          </p:nvSpPr>
          <p:spPr bwMode="auto">
            <a:xfrm>
              <a:off x="5238751" y="5191125"/>
              <a:ext cx="889000" cy="947738"/>
            </a:xfrm>
            <a:custGeom>
              <a:avLst/>
              <a:gdLst>
                <a:gd name="T0" fmla="*/ 429 w 449"/>
                <a:gd name="T1" fmla="*/ 433 h 479"/>
                <a:gd name="T2" fmla="*/ 422 w 449"/>
                <a:gd name="T3" fmla="*/ 451 h 479"/>
                <a:gd name="T4" fmla="*/ 406 w 449"/>
                <a:gd name="T5" fmla="*/ 458 h 479"/>
                <a:gd name="T6" fmla="*/ 44 w 449"/>
                <a:gd name="T7" fmla="*/ 458 h 479"/>
                <a:gd name="T8" fmla="*/ 27 w 449"/>
                <a:gd name="T9" fmla="*/ 451 h 479"/>
                <a:gd name="T10" fmla="*/ 20 w 449"/>
                <a:gd name="T11" fmla="*/ 433 h 479"/>
                <a:gd name="T12" fmla="*/ 20 w 449"/>
                <a:gd name="T13" fmla="*/ 46 h 479"/>
                <a:gd name="T14" fmla="*/ 27 w 449"/>
                <a:gd name="T15" fmla="*/ 27 h 479"/>
                <a:gd name="T16" fmla="*/ 44 w 449"/>
                <a:gd name="T17" fmla="*/ 20 h 479"/>
                <a:gd name="T18" fmla="*/ 365 w 449"/>
                <a:gd name="T19" fmla="*/ 20 h 479"/>
                <a:gd name="T20" fmla="*/ 365 w 449"/>
                <a:gd name="T21" fmla="*/ 0 h 479"/>
                <a:gd name="T22" fmla="*/ 44 w 449"/>
                <a:gd name="T23" fmla="*/ 0 h 479"/>
                <a:gd name="T24" fmla="*/ 12 w 449"/>
                <a:gd name="T25" fmla="*/ 13 h 479"/>
                <a:gd name="T26" fmla="*/ 0 w 449"/>
                <a:gd name="T27" fmla="*/ 46 h 479"/>
                <a:gd name="T28" fmla="*/ 0 w 449"/>
                <a:gd name="T29" fmla="*/ 433 h 479"/>
                <a:gd name="T30" fmla="*/ 12 w 449"/>
                <a:gd name="T31" fmla="*/ 465 h 479"/>
                <a:gd name="T32" fmla="*/ 44 w 449"/>
                <a:gd name="T33" fmla="*/ 479 h 479"/>
                <a:gd name="T34" fmla="*/ 406 w 449"/>
                <a:gd name="T35" fmla="*/ 479 h 479"/>
                <a:gd name="T36" fmla="*/ 437 w 449"/>
                <a:gd name="T37" fmla="*/ 465 h 479"/>
                <a:gd name="T38" fmla="*/ 449 w 449"/>
                <a:gd name="T39" fmla="*/ 433 h 479"/>
                <a:gd name="T40" fmla="*/ 429 w 449"/>
                <a:gd name="T41" fmla="*/ 433 h 4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49" h="479">
                  <a:moveTo>
                    <a:pt x="429" y="433"/>
                  </a:moveTo>
                  <a:cubicBezTo>
                    <a:pt x="429" y="440"/>
                    <a:pt x="426" y="447"/>
                    <a:pt x="422" y="451"/>
                  </a:cubicBezTo>
                  <a:cubicBezTo>
                    <a:pt x="418" y="456"/>
                    <a:pt x="412" y="458"/>
                    <a:pt x="406" y="458"/>
                  </a:cubicBezTo>
                  <a:cubicBezTo>
                    <a:pt x="44" y="458"/>
                    <a:pt x="44" y="458"/>
                    <a:pt x="44" y="458"/>
                  </a:cubicBezTo>
                  <a:cubicBezTo>
                    <a:pt x="37" y="458"/>
                    <a:pt x="32" y="456"/>
                    <a:pt x="27" y="451"/>
                  </a:cubicBezTo>
                  <a:cubicBezTo>
                    <a:pt x="23" y="447"/>
                    <a:pt x="20" y="440"/>
                    <a:pt x="20" y="433"/>
                  </a:cubicBezTo>
                  <a:cubicBezTo>
                    <a:pt x="20" y="46"/>
                    <a:pt x="20" y="46"/>
                    <a:pt x="20" y="46"/>
                  </a:cubicBezTo>
                  <a:cubicBezTo>
                    <a:pt x="20" y="38"/>
                    <a:pt x="23" y="32"/>
                    <a:pt x="27" y="27"/>
                  </a:cubicBezTo>
                  <a:cubicBezTo>
                    <a:pt x="32" y="23"/>
                    <a:pt x="37" y="20"/>
                    <a:pt x="44" y="20"/>
                  </a:cubicBezTo>
                  <a:cubicBezTo>
                    <a:pt x="365" y="20"/>
                    <a:pt x="365" y="20"/>
                    <a:pt x="365" y="20"/>
                  </a:cubicBezTo>
                  <a:cubicBezTo>
                    <a:pt x="365" y="0"/>
                    <a:pt x="365" y="0"/>
                    <a:pt x="365" y="0"/>
                  </a:cubicBezTo>
                  <a:cubicBezTo>
                    <a:pt x="44" y="0"/>
                    <a:pt x="44" y="0"/>
                    <a:pt x="44" y="0"/>
                  </a:cubicBezTo>
                  <a:cubicBezTo>
                    <a:pt x="31" y="0"/>
                    <a:pt x="20" y="5"/>
                    <a:pt x="12" y="13"/>
                  </a:cubicBezTo>
                  <a:cubicBezTo>
                    <a:pt x="5" y="22"/>
                    <a:pt x="0" y="33"/>
                    <a:pt x="0" y="46"/>
                  </a:cubicBezTo>
                  <a:cubicBezTo>
                    <a:pt x="0" y="433"/>
                    <a:pt x="0" y="433"/>
                    <a:pt x="0" y="433"/>
                  </a:cubicBezTo>
                  <a:cubicBezTo>
                    <a:pt x="0" y="445"/>
                    <a:pt x="5" y="457"/>
                    <a:pt x="12" y="465"/>
                  </a:cubicBezTo>
                  <a:cubicBezTo>
                    <a:pt x="20" y="473"/>
                    <a:pt x="31" y="479"/>
                    <a:pt x="44" y="479"/>
                  </a:cubicBezTo>
                  <a:cubicBezTo>
                    <a:pt x="406" y="479"/>
                    <a:pt x="406" y="479"/>
                    <a:pt x="406" y="479"/>
                  </a:cubicBezTo>
                  <a:cubicBezTo>
                    <a:pt x="418" y="479"/>
                    <a:pt x="429" y="473"/>
                    <a:pt x="437" y="465"/>
                  </a:cubicBezTo>
                  <a:cubicBezTo>
                    <a:pt x="445" y="457"/>
                    <a:pt x="449" y="445"/>
                    <a:pt x="449" y="433"/>
                  </a:cubicBezTo>
                  <a:cubicBezTo>
                    <a:pt x="429" y="433"/>
                    <a:pt x="429" y="433"/>
                    <a:pt x="429" y="43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1636" name="Rectangle 1640">
              <a:extLst>
                <a:ext uri="{FF2B5EF4-FFF2-40B4-BE49-F238E27FC236}">
                  <a16:creationId xmlns:a16="http://schemas.microsoft.com/office/drawing/2014/main" id="{2FAF4C83-D46A-48B3-9A77-80F11F2C32EB}"/>
                </a:ext>
              </a:extLst>
            </p:cNvPr>
            <p:cNvSpPr>
              <a:spLocks noChangeArrowheads="1"/>
            </p:cNvSpPr>
            <p:nvPr userDrawn="1"/>
          </p:nvSpPr>
          <p:spPr bwMode="auto">
            <a:xfrm>
              <a:off x="5257801" y="5883275"/>
              <a:ext cx="849313" cy="39688"/>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1637" name="Rectangle 1641">
              <a:extLst>
                <a:ext uri="{FF2B5EF4-FFF2-40B4-BE49-F238E27FC236}">
                  <a16:creationId xmlns:a16="http://schemas.microsoft.com/office/drawing/2014/main" id="{64B71A63-136D-450C-8B80-0DE2C8B02D4A}"/>
                </a:ext>
              </a:extLst>
            </p:cNvPr>
            <p:cNvSpPr>
              <a:spLocks noChangeArrowheads="1"/>
            </p:cNvSpPr>
            <p:nvPr userDrawn="1"/>
          </p:nvSpPr>
          <p:spPr bwMode="auto">
            <a:xfrm>
              <a:off x="5257801" y="5883275"/>
              <a:ext cx="849313" cy="39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638" name="Freeform 1642">
              <a:extLst>
                <a:ext uri="{FF2B5EF4-FFF2-40B4-BE49-F238E27FC236}">
                  <a16:creationId xmlns:a16="http://schemas.microsoft.com/office/drawing/2014/main" id="{1F5938AB-7858-4F86-9A74-51FB5E98F667}"/>
                </a:ext>
              </a:extLst>
            </p:cNvPr>
            <p:cNvSpPr>
              <a:spLocks/>
            </p:cNvSpPr>
            <p:nvPr userDrawn="1"/>
          </p:nvSpPr>
          <p:spPr bwMode="auto">
            <a:xfrm>
              <a:off x="5241926" y="5480050"/>
              <a:ext cx="641350" cy="303213"/>
            </a:xfrm>
            <a:custGeom>
              <a:avLst/>
              <a:gdLst>
                <a:gd name="T0" fmla="*/ 20 w 404"/>
                <a:gd name="T1" fmla="*/ 191 h 191"/>
                <a:gd name="T2" fmla="*/ 146 w 404"/>
                <a:gd name="T3" fmla="*/ 39 h 191"/>
                <a:gd name="T4" fmla="*/ 276 w 404"/>
                <a:gd name="T5" fmla="*/ 186 h 191"/>
                <a:gd name="T6" fmla="*/ 404 w 404"/>
                <a:gd name="T7" fmla="*/ 81 h 191"/>
                <a:gd name="T8" fmla="*/ 388 w 404"/>
                <a:gd name="T9" fmla="*/ 61 h 191"/>
                <a:gd name="T10" fmla="*/ 280 w 404"/>
                <a:gd name="T11" fmla="*/ 151 h 191"/>
                <a:gd name="T12" fmla="*/ 145 w 404"/>
                <a:gd name="T13" fmla="*/ 0 h 191"/>
                <a:gd name="T14" fmla="*/ 0 w 404"/>
                <a:gd name="T15" fmla="*/ 175 h 191"/>
                <a:gd name="T16" fmla="*/ 20 w 404"/>
                <a:gd name="T17" fmla="*/ 191 h 191"/>
                <a:gd name="T18" fmla="*/ 20 w 404"/>
                <a:gd name="T19" fmla="*/ 191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4" h="191">
                  <a:moveTo>
                    <a:pt x="20" y="191"/>
                  </a:moveTo>
                  <a:lnTo>
                    <a:pt x="146" y="39"/>
                  </a:lnTo>
                  <a:lnTo>
                    <a:pt x="276" y="186"/>
                  </a:lnTo>
                  <a:lnTo>
                    <a:pt x="404" y="81"/>
                  </a:lnTo>
                  <a:lnTo>
                    <a:pt x="388" y="61"/>
                  </a:lnTo>
                  <a:lnTo>
                    <a:pt x="280" y="151"/>
                  </a:lnTo>
                  <a:lnTo>
                    <a:pt x="145" y="0"/>
                  </a:lnTo>
                  <a:lnTo>
                    <a:pt x="0" y="175"/>
                  </a:lnTo>
                  <a:lnTo>
                    <a:pt x="20" y="191"/>
                  </a:lnTo>
                  <a:lnTo>
                    <a:pt x="20" y="191"/>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1639" name="Freeform 1643">
              <a:extLst>
                <a:ext uri="{FF2B5EF4-FFF2-40B4-BE49-F238E27FC236}">
                  <a16:creationId xmlns:a16="http://schemas.microsoft.com/office/drawing/2014/main" id="{0C9604B8-B359-4BD6-87D7-A5B8FAFD8ED1}"/>
                </a:ext>
              </a:extLst>
            </p:cNvPr>
            <p:cNvSpPr>
              <a:spLocks/>
            </p:cNvSpPr>
            <p:nvPr userDrawn="1"/>
          </p:nvSpPr>
          <p:spPr bwMode="auto">
            <a:xfrm>
              <a:off x="5241926" y="5480050"/>
              <a:ext cx="641350" cy="303213"/>
            </a:xfrm>
            <a:custGeom>
              <a:avLst/>
              <a:gdLst>
                <a:gd name="T0" fmla="*/ 20 w 404"/>
                <a:gd name="T1" fmla="*/ 191 h 191"/>
                <a:gd name="T2" fmla="*/ 146 w 404"/>
                <a:gd name="T3" fmla="*/ 39 h 191"/>
                <a:gd name="T4" fmla="*/ 276 w 404"/>
                <a:gd name="T5" fmla="*/ 186 h 191"/>
                <a:gd name="T6" fmla="*/ 404 w 404"/>
                <a:gd name="T7" fmla="*/ 81 h 191"/>
                <a:gd name="T8" fmla="*/ 388 w 404"/>
                <a:gd name="T9" fmla="*/ 61 h 191"/>
                <a:gd name="T10" fmla="*/ 280 w 404"/>
                <a:gd name="T11" fmla="*/ 151 h 191"/>
                <a:gd name="T12" fmla="*/ 145 w 404"/>
                <a:gd name="T13" fmla="*/ 0 h 191"/>
                <a:gd name="T14" fmla="*/ 0 w 404"/>
                <a:gd name="T15" fmla="*/ 175 h 191"/>
                <a:gd name="T16" fmla="*/ 20 w 404"/>
                <a:gd name="T17" fmla="*/ 191 h 191"/>
                <a:gd name="T18" fmla="*/ 20 w 404"/>
                <a:gd name="T19" fmla="*/ 191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4" h="191">
                  <a:moveTo>
                    <a:pt x="20" y="191"/>
                  </a:moveTo>
                  <a:lnTo>
                    <a:pt x="146" y="39"/>
                  </a:lnTo>
                  <a:lnTo>
                    <a:pt x="276" y="186"/>
                  </a:lnTo>
                  <a:lnTo>
                    <a:pt x="404" y="81"/>
                  </a:lnTo>
                  <a:lnTo>
                    <a:pt x="388" y="61"/>
                  </a:lnTo>
                  <a:lnTo>
                    <a:pt x="280" y="151"/>
                  </a:lnTo>
                  <a:lnTo>
                    <a:pt x="145" y="0"/>
                  </a:lnTo>
                  <a:lnTo>
                    <a:pt x="0" y="175"/>
                  </a:lnTo>
                  <a:lnTo>
                    <a:pt x="20" y="191"/>
                  </a:lnTo>
                  <a:lnTo>
                    <a:pt x="20" y="19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640" name="Oval 1644">
              <a:extLst>
                <a:ext uri="{FF2B5EF4-FFF2-40B4-BE49-F238E27FC236}">
                  <a16:creationId xmlns:a16="http://schemas.microsoft.com/office/drawing/2014/main" id="{E41BB8AE-7668-4091-815F-245A04791700}"/>
                </a:ext>
              </a:extLst>
            </p:cNvPr>
            <p:cNvSpPr>
              <a:spLocks noChangeArrowheads="1"/>
            </p:cNvSpPr>
            <p:nvPr userDrawn="1"/>
          </p:nvSpPr>
          <p:spPr bwMode="auto">
            <a:xfrm>
              <a:off x="5756276" y="5345113"/>
              <a:ext cx="85725" cy="90488"/>
            </a:xfrm>
            <a:prstGeom prst="ellipse">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1641" name="Freeform 1645">
              <a:extLst>
                <a:ext uri="{FF2B5EF4-FFF2-40B4-BE49-F238E27FC236}">
                  <a16:creationId xmlns:a16="http://schemas.microsoft.com/office/drawing/2014/main" id="{05F6B107-3938-427E-A4B3-E0F855ECFF68}"/>
                </a:ext>
              </a:extLst>
            </p:cNvPr>
            <p:cNvSpPr>
              <a:spLocks/>
            </p:cNvSpPr>
            <p:nvPr userDrawn="1"/>
          </p:nvSpPr>
          <p:spPr bwMode="auto">
            <a:xfrm>
              <a:off x="5737226" y="5326063"/>
              <a:ext cx="125413" cy="130175"/>
            </a:xfrm>
            <a:custGeom>
              <a:avLst/>
              <a:gdLst>
                <a:gd name="T0" fmla="*/ 53 w 63"/>
                <a:gd name="T1" fmla="*/ 33 h 66"/>
                <a:gd name="T2" fmla="*/ 43 w 63"/>
                <a:gd name="T3" fmla="*/ 33 h 66"/>
                <a:gd name="T4" fmla="*/ 39 w 63"/>
                <a:gd name="T5" fmla="*/ 42 h 66"/>
                <a:gd name="T6" fmla="*/ 31 w 63"/>
                <a:gd name="T7" fmla="*/ 45 h 66"/>
                <a:gd name="T8" fmla="*/ 24 w 63"/>
                <a:gd name="T9" fmla="*/ 42 h 66"/>
                <a:gd name="T10" fmla="*/ 20 w 63"/>
                <a:gd name="T11" fmla="*/ 33 h 66"/>
                <a:gd name="T12" fmla="*/ 24 w 63"/>
                <a:gd name="T13" fmla="*/ 23 h 66"/>
                <a:gd name="T14" fmla="*/ 31 w 63"/>
                <a:gd name="T15" fmla="*/ 20 h 66"/>
                <a:gd name="T16" fmla="*/ 39 w 63"/>
                <a:gd name="T17" fmla="*/ 23 h 66"/>
                <a:gd name="T18" fmla="*/ 43 w 63"/>
                <a:gd name="T19" fmla="*/ 33 h 66"/>
                <a:gd name="T20" fmla="*/ 53 w 63"/>
                <a:gd name="T21" fmla="*/ 33 h 66"/>
                <a:gd name="T22" fmla="*/ 63 w 63"/>
                <a:gd name="T23" fmla="*/ 33 h 66"/>
                <a:gd name="T24" fmla="*/ 54 w 63"/>
                <a:gd name="T25" fmla="*/ 9 h 66"/>
                <a:gd name="T26" fmla="*/ 31 w 63"/>
                <a:gd name="T27" fmla="*/ 0 h 66"/>
                <a:gd name="T28" fmla="*/ 9 w 63"/>
                <a:gd name="T29" fmla="*/ 9 h 66"/>
                <a:gd name="T30" fmla="*/ 0 w 63"/>
                <a:gd name="T31" fmla="*/ 33 h 66"/>
                <a:gd name="T32" fmla="*/ 9 w 63"/>
                <a:gd name="T33" fmla="*/ 56 h 66"/>
                <a:gd name="T34" fmla="*/ 31 w 63"/>
                <a:gd name="T35" fmla="*/ 65 h 66"/>
                <a:gd name="T36" fmla="*/ 54 w 63"/>
                <a:gd name="T37" fmla="*/ 56 h 66"/>
                <a:gd name="T38" fmla="*/ 63 w 63"/>
                <a:gd name="T39" fmla="*/ 33 h 66"/>
                <a:gd name="T40" fmla="*/ 53 w 63"/>
                <a:gd name="T41" fmla="*/ 33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3" h="66">
                  <a:moveTo>
                    <a:pt x="53" y="33"/>
                  </a:moveTo>
                  <a:cubicBezTo>
                    <a:pt x="43" y="33"/>
                    <a:pt x="43" y="33"/>
                    <a:pt x="43" y="33"/>
                  </a:cubicBezTo>
                  <a:cubicBezTo>
                    <a:pt x="43" y="36"/>
                    <a:pt x="41" y="40"/>
                    <a:pt x="39" y="42"/>
                  </a:cubicBezTo>
                  <a:cubicBezTo>
                    <a:pt x="37" y="44"/>
                    <a:pt x="34" y="45"/>
                    <a:pt x="31" y="45"/>
                  </a:cubicBezTo>
                  <a:cubicBezTo>
                    <a:pt x="29" y="45"/>
                    <a:pt x="26" y="44"/>
                    <a:pt x="24" y="42"/>
                  </a:cubicBezTo>
                  <a:cubicBezTo>
                    <a:pt x="22" y="40"/>
                    <a:pt x="20" y="36"/>
                    <a:pt x="20" y="33"/>
                  </a:cubicBezTo>
                  <a:cubicBezTo>
                    <a:pt x="20" y="29"/>
                    <a:pt x="22" y="26"/>
                    <a:pt x="24" y="23"/>
                  </a:cubicBezTo>
                  <a:cubicBezTo>
                    <a:pt x="26" y="21"/>
                    <a:pt x="29" y="20"/>
                    <a:pt x="31" y="20"/>
                  </a:cubicBezTo>
                  <a:cubicBezTo>
                    <a:pt x="34" y="20"/>
                    <a:pt x="37" y="21"/>
                    <a:pt x="39" y="23"/>
                  </a:cubicBezTo>
                  <a:cubicBezTo>
                    <a:pt x="41" y="26"/>
                    <a:pt x="43" y="29"/>
                    <a:pt x="43" y="33"/>
                  </a:cubicBezTo>
                  <a:cubicBezTo>
                    <a:pt x="53" y="33"/>
                    <a:pt x="53" y="33"/>
                    <a:pt x="53" y="33"/>
                  </a:cubicBezTo>
                  <a:cubicBezTo>
                    <a:pt x="63" y="33"/>
                    <a:pt x="63" y="33"/>
                    <a:pt x="63" y="33"/>
                  </a:cubicBezTo>
                  <a:cubicBezTo>
                    <a:pt x="63" y="24"/>
                    <a:pt x="60" y="15"/>
                    <a:pt x="54" y="9"/>
                  </a:cubicBezTo>
                  <a:cubicBezTo>
                    <a:pt x="48" y="3"/>
                    <a:pt x="40" y="0"/>
                    <a:pt x="31" y="0"/>
                  </a:cubicBezTo>
                  <a:cubicBezTo>
                    <a:pt x="23" y="0"/>
                    <a:pt x="15" y="3"/>
                    <a:pt x="9" y="9"/>
                  </a:cubicBezTo>
                  <a:cubicBezTo>
                    <a:pt x="3" y="15"/>
                    <a:pt x="0" y="24"/>
                    <a:pt x="0" y="33"/>
                  </a:cubicBezTo>
                  <a:cubicBezTo>
                    <a:pt x="0" y="41"/>
                    <a:pt x="3" y="50"/>
                    <a:pt x="9" y="56"/>
                  </a:cubicBezTo>
                  <a:cubicBezTo>
                    <a:pt x="15" y="62"/>
                    <a:pt x="23" y="66"/>
                    <a:pt x="31" y="65"/>
                  </a:cubicBezTo>
                  <a:cubicBezTo>
                    <a:pt x="40" y="66"/>
                    <a:pt x="48" y="62"/>
                    <a:pt x="54" y="56"/>
                  </a:cubicBezTo>
                  <a:cubicBezTo>
                    <a:pt x="60" y="50"/>
                    <a:pt x="63" y="41"/>
                    <a:pt x="63" y="33"/>
                  </a:cubicBezTo>
                  <a:cubicBezTo>
                    <a:pt x="53" y="33"/>
                    <a:pt x="53" y="33"/>
                    <a:pt x="53" y="3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1642" name="Rectangle 1646">
              <a:extLst>
                <a:ext uri="{FF2B5EF4-FFF2-40B4-BE49-F238E27FC236}">
                  <a16:creationId xmlns:a16="http://schemas.microsoft.com/office/drawing/2014/main" id="{EF4F5CA7-5B85-41C5-8E7A-C59C8378804E}"/>
                </a:ext>
              </a:extLst>
            </p:cNvPr>
            <p:cNvSpPr>
              <a:spLocks noChangeArrowheads="1"/>
            </p:cNvSpPr>
            <p:nvPr userDrawn="1"/>
          </p:nvSpPr>
          <p:spPr bwMode="auto">
            <a:xfrm>
              <a:off x="5407026" y="5326063"/>
              <a:ext cx="234950" cy="39688"/>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1643" name="Freeform 1647">
              <a:extLst>
                <a:ext uri="{FF2B5EF4-FFF2-40B4-BE49-F238E27FC236}">
                  <a16:creationId xmlns:a16="http://schemas.microsoft.com/office/drawing/2014/main" id="{CD15F02E-422D-4442-8761-280F0421E872}"/>
                </a:ext>
              </a:extLst>
            </p:cNvPr>
            <p:cNvSpPr>
              <a:spLocks/>
            </p:cNvSpPr>
            <p:nvPr userDrawn="1"/>
          </p:nvSpPr>
          <p:spPr bwMode="auto">
            <a:xfrm>
              <a:off x="5407026" y="5326063"/>
              <a:ext cx="234950" cy="39688"/>
            </a:xfrm>
            <a:custGeom>
              <a:avLst/>
              <a:gdLst>
                <a:gd name="T0" fmla="*/ 0 w 148"/>
                <a:gd name="T1" fmla="*/ 25 h 25"/>
                <a:gd name="T2" fmla="*/ 148 w 148"/>
                <a:gd name="T3" fmla="*/ 25 h 25"/>
                <a:gd name="T4" fmla="*/ 148 w 148"/>
                <a:gd name="T5" fmla="*/ 0 h 25"/>
                <a:gd name="T6" fmla="*/ 0 w 148"/>
                <a:gd name="T7" fmla="*/ 0 h 25"/>
              </a:gdLst>
              <a:ahLst/>
              <a:cxnLst>
                <a:cxn ang="0">
                  <a:pos x="T0" y="T1"/>
                </a:cxn>
                <a:cxn ang="0">
                  <a:pos x="T2" y="T3"/>
                </a:cxn>
                <a:cxn ang="0">
                  <a:pos x="T4" y="T5"/>
                </a:cxn>
                <a:cxn ang="0">
                  <a:pos x="T6" y="T7"/>
                </a:cxn>
              </a:cxnLst>
              <a:rect l="0" t="0" r="r" b="b"/>
              <a:pathLst>
                <a:path w="148" h="25">
                  <a:moveTo>
                    <a:pt x="0" y="25"/>
                  </a:moveTo>
                  <a:lnTo>
                    <a:pt x="148" y="25"/>
                  </a:lnTo>
                  <a:lnTo>
                    <a:pt x="148"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644" name="Rectangle 1648">
              <a:extLst>
                <a:ext uri="{FF2B5EF4-FFF2-40B4-BE49-F238E27FC236}">
                  <a16:creationId xmlns:a16="http://schemas.microsoft.com/office/drawing/2014/main" id="{E4DCA3EB-7E4D-475B-B268-8DD23031C2E6}"/>
                </a:ext>
              </a:extLst>
            </p:cNvPr>
            <p:cNvSpPr>
              <a:spLocks noChangeArrowheads="1"/>
            </p:cNvSpPr>
            <p:nvPr userDrawn="1"/>
          </p:nvSpPr>
          <p:spPr bwMode="auto">
            <a:xfrm>
              <a:off x="5314951" y="5397500"/>
              <a:ext cx="234950" cy="39688"/>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1645" name="Freeform 1649">
              <a:extLst>
                <a:ext uri="{FF2B5EF4-FFF2-40B4-BE49-F238E27FC236}">
                  <a16:creationId xmlns:a16="http://schemas.microsoft.com/office/drawing/2014/main" id="{45C7BD41-D787-4456-930A-46DCC2BBD5B9}"/>
                </a:ext>
              </a:extLst>
            </p:cNvPr>
            <p:cNvSpPr>
              <a:spLocks/>
            </p:cNvSpPr>
            <p:nvPr userDrawn="1"/>
          </p:nvSpPr>
          <p:spPr bwMode="auto">
            <a:xfrm>
              <a:off x="5314951" y="5397500"/>
              <a:ext cx="234950" cy="39688"/>
            </a:xfrm>
            <a:custGeom>
              <a:avLst/>
              <a:gdLst>
                <a:gd name="T0" fmla="*/ 0 w 148"/>
                <a:gd name="T1" fmla="*/ 25 h 25"/>
                <a:gd name="T2" fmla="*/ 148 w 148"/>
                <a:gd name="T3" fmla="*/ 25 h 25"/>
                <a:gd name="T4" fmla="*/ 148 w 148"/>
                <a:gd name="T5" fmla="*/ 0 h 25"/>
                <a:gd name="T6" fmla="*/ 0 w 148"/>
                <a:gd name="T7" fmla="*/ 0 h 25"/>
              </a:gdLst>
              <a:ahLst/>
              <a:cxnLst>
                <a:cxn ang="0">
                  <a:pos x="T0" y="T1"/>
                </a:cxn>
                <a:cxn ang="0">
                  <a:pos x="T2" y="T3"/>
                </a:cxn>
                <a:cxn ang="0">
                  <a:pos x="T4" y="T5"/>
                </a:cxn>
                <a:cxn ang="0">
                  <a:pos x="T6" y="T7"/>
                </a:cxn>
              </a:cxnLst>
              <a:rect l="0" t="0" r="r" b="b"/>
              <a:pathLst>
                <a:path w="148" h="25">
                  <a:moveTo>
                    <a:pt x="0" y="25"/>
                  </a:moveTo>
                  <a:lnTo>
                    <a:pt x="148" y="25"/>
                  </a:lnTo>
                  <a:lnTo>
                    <a:pt x="148"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390" name="任意多边形: 形状 1389">
              <a:extLst>
                <a:ext uri="{FF2B5EF4-FFF2-40B4-BE49-F238E27FC236}">
                  <a16:creationId xmlns:a16="http://schemas.microsoft.com/office/drawing/2014/main" id="{05DDEF23-21D1-48F8-9EC4-0AA3314BD77C}"/>
                </a:ext>
              </a:extLst>
            </p:cNvPr>
            <p:cNvSpPr>
              <a:spLocks noChangeArrowheads="1"/>
            </p:cNvSpPr>
            <p:nvPr userDrawn="1"/>
          </p:nvSpPr>
          <p:spPr bwMode="auto">
            <a:xfrm>
              <a:off x="6980239" y="5192230"/>
              <a:ext cx="204788" cy="906945"/>
            </a:xfrm>
            <a:custGeom>
              <a:avLst/>
              <a:gdLst>
                <a:gd name="connsiteX0" fmla="*/ 0 w 204788"/>
                <a:gd name="connsiteY0" fmla="*/ 0 h 906945"/>
                <a:gd name="connsiteX1" fmla="*/ 204788 w 204788"/>
                <a:gd name="connsiteY1" fmla="*/ 138410 h 906945"/>
                <a:gd name="connsiteX2" fmla="*/ 204788 w 204788"/>
                <a:gd name="connsiteY2" fmla="*/ 906945 h 906945"/>
                <a:gd name="connsiteX3" fmla="*/ 0 w 204788"/>
                <a:gd name="connsiteY3" fmla="*/ 906945 h 906945"/>
              </a:gdLst>
              <a:ahLst/>
              <a:cxnLst>
                <a:cxn ang="0">
                  <a:pos x="connsiteX0" y="connsiteY0"/>
                </a:cxn>
                <a:cxn ang="0">
                  <a:pos x="connsiteX1" y="connsiteY1"/>
                </a:cxn>
                <a:cxn ang="0">
                  <a:pos x="connsiteX2" y="connsiteY2"/>
                </a:cxn>
                <a:cxn ang="0">
                  <a:pos x="connsiteX3" y="connsiteY3"/>
                </a:cxn>
              </a:cxnLst>
              <a:rect l="l" t="t" r="r" b="b"/>
              <a:pathLst>
                <a:path w="204788" h="906945">
                  <a:moveTo>
                    <a:pt x="0" y="0"/>
                  </a:moveTo>
                  <a:lnTo>
                    <a:pt x="204788" y="138410"/>
                  </a:lnTo>
                  <a:lnTo>
                    <a:pt x="204788" y="906945"/>
                  </a:lnTo>
                  <a:lnTo>
                    <a:pt x="0" y="906945"/>
                  </a:lnTo>
                  <a:close/>
                </a:path>
              </a:pathLst>
            </a:custGeom>
            <a:solidFill>
              <a:schemeClr val="accent2">
                <a:lumMod val="60000"/>
                <a:lumOff val="40000"/>
                <a:alpha val="70000"/>
              </a:schemeClr>
            </a:solidFill>
            <a:ln>
              <a:noFill/>
            </a:ln>
          </p:spPr>
          <p:txBody>
            <a:bodyPr vert="horz" wrap="square" lIns="91440" tIns="45720" rIns="91440" bIns="45720" numCol="1" anchor="t" anchorCtr="0" compatLnSpc="1">
              <a:prstTxWarp prst="textNoShape">
                <a:avLst/>
              </a:prstTxWarp>
              <a:noAutofit/>
            </a:bodyPr>
            <a:lstStyle/>
            <a:p>
              <a:endParaRPr lang="zh-CN" altLang="en-US"/>
            </a:p>
          </p:txBody>
        </p:sp>
        <p:sp>
          <p:nvSpPr>
            <p:cNvPr id="11648" name="Freeform 1652">
              <a:extLst>
                <a:ext uri="{FF2B5EF4-FFF2-40B4-BE49-F238E27FC236}">
                  <a16:creationId xmlns:a16="http://schemas.microsoft.com/office/drawing/2014/main" id="{B09201CA-08BA-4FB1-944E-19E39F36A063}"/>
                </a:ext>
              </a:extLst>
            </p:cNvPr>
            <p:cNvSpPr>
              <a:spLocks/>
            </p:cNvSpPr>
            <p:nvPr userDrawn="1"/>
          </p:nvSpPr>
          <p:spPr bwMode="auto">
            <a:xfrm>
              <a:off x="7119938" y="5303838"/>
              <a:ext cx="66675" cy="566738"/>
            </a:xfrm>
            <a:custGeom>
              <a:avLst/>
              <a:gdLst>
                <a:gd name="T0" fmla="*/ 0 w 34"/>
                <a:gd name="T1" fmla="*/ 0 h 286"/>
                <a:gd name="T2" fmla="*/ 0 w 34"/>
                <a:gd name="T3" fmla="*/ 286 h 286"/>
                <a:gd name="T4" fmla="*/ 33 w 34"/>
                <a:gd name="T5" fmla="*/ 286 h 286"/>
                <a:gd name="T6" fmla="*/ 34 w 34"/>
                <a:gd name="T7" fmla="*/ 47 h 286"/>
                <a:gd name="T8" fmla="*/ 17 w 34"/>
                <a:gd name="T9" fmla="*/ 14 h 286"/>
                <a:gd name="T10" fmla="*/ 0 w 34"/>
                <a:gd name="T11" fmla="*/ 0 h 286"/>
              </a:gdLst>
              <a:ahLst/>
              <a:cxnLst>
                <a:cxn ang="0">
                  <a:pos x="T0" y="T1"/>
                </a:cxn>
                <a:cxn ang="0">
                  <a:pos x="T2" y="T3"/>
                </a:cxn>
                <a:cxn ang="0">
                  <a:pos x="T4" y="T5"/>
                </a:cxn>
                <a:cxn ang="0">
                  <a:pos x="T6" y="T7"/>
                </a:cxn>
                <a:cxn ang="0">
                  <a:pos x="T8" y="T9"/>
                </a:cxn>
                <a:cxn ang="0">
                  <a:pos x="T10" y="T11"/>
                </a:cxn>
              </a:cxnLst>
              <a:rect l="0" t="0" r="r" b="b"/>
              <a:pathLst>
                <a:path w="34" h="286">
                  <a:moveTo>
                    <a:pt x="0" y="0"/>
                  </a:moveTo>
                  <a:cubicBezTo>
                    <a:pt x="0" y="286"/>
                    <a:pt x="0" y="286"/>
                    <a:pt x="0" y="286"/>
                  </a:cubicBezTo>
                  <a:cubicBezTo>
                    <a:pt x="33" y="286"/>
                    <a:pt x="33" y="286"/>
                    <a:pt x="33" y="286"/>
                  </a:cubicBezTo>
                  <a:cubicBezTo>
                    <a:pt x="34" y="47"/>
                    <a:pt x="34" y="47"/>
                    <a:pt x="34" y="47"/>
                  </a:cubicBezTo>
                  <a:cubicBezTo>
                    <a:pt x="34" y="33"/>
                    <a:pt x="27" y="20"/>
                    <a:pt x="17" y="14"/>
                  </a:cubicBezTo>
                  <a:cubicBezTo>
                    <a:pt x="0" y="0"/>
                    <a:pt x="0" y="0"/>
                    <a:pt x="0" y="0"/>
                  </a:cubicBezTo>
                </a:path>
              </a:pathLst>
            </a:custGeom>
            <a:solidFill>
              <a:schemeClr val="accent2">
                <a:lumMod val="75000"/>
                <a:alpha val="3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1650" name="Freeform 1654">
              <a:extLst>
                <a:ext uri="{FF2B5EF4-FFF2-40B4-BE49-F238E27FC236}">
                  <a16:creationId xmlns:a16="http://schemas.microsoft.com/office/drawing/2014/main" id="{A652170B-F9E9-4217-875E-AF41E6E5EC3B}"/>
                </a:ext>
              </a:extLst>
            </p:cNvPr>
            <p:cNvSpPr>
              <a:spLocks noEditPoints="1"/>
            </p:cNvSpPr>
            <p:nvPr userDrawn="1"/>
          </p:nvSpPr>
          <p:spPr bwMode="auto">
            <a:xfrm>
              <a:off x="5848351" y="5211763"/>
              <a:ext cx="258763" cy="885825"/>
            </a:xfrm>
            <a:custGeom>
              <a:avLst/>
              <a:gdLst>
                <a:gd name="T0" fmla="*/ 131 w 131"/>
                <a:gd name="T1" fmla="*/ 360 h 448"/>
                <a:gd name="T2" fmla="*/ 0 w 131"/>
                <a:gd name="T3" fmla="*/ 360 h 448"/>
                <a:gd name="T4" fmla="*/ 0 w 131"/>
                <a:gd name="T5" fmla="*/ 427 h 448"/>
                <a:gd name="T6" fmla="*/ 6 w 131"/>
                <a:gd name="T7" fmla="*/ 448 h 448"/>
                <a:gd name="T8" fmla="*/ 98 w 131"/>
                <a:gd name="T9" fmla="*/ 448 h 448"/>
                <a:gd name="T10" fmla="*/ 114 w 131"/>
                <a:gd name="T11" fmla="*/ 441 h 448"/>
                <a:gd name="T12" fmla="*/ 121 w 131"/>
                <a:gd name="T13" fmla="*/ 423 h 448"/>
                <a:gd name="T14" fmla="*/ 131 w 131"/>
                <a:gd name="T15" fmla="*/ 423 h 448"/>
                <a:gd name="T16" fmla="*/ 131 w 131"/>
                <a:gd name="T17" fmla="*/ 360 h 448"/>
                <a:gd name="T18" fmla="*/ 101 w 131"/>
                <a:gd name="T19" fmla="*/ 0 h 448"/>
                <a:gd name="T20" fmla="*/ 89 w 131"/>
                <a:gd name="T21" fmla="*/ 0 h 448"/>
                <a:gd name="T22" fmla="*/ 89 w 131"/>
                <a:gd name="T23" fmla="*/ 27 h 448"/>
                <a:gd name="T24" fmla="*/ 78 w 131"/>
                <a:gd name="T25" fmla="*/ 34 h 448"/>
                <a:gd name="T26" fmla="*/ 72 w 131"/>
                <a:gd name="T27" fmla="*/ 23 h 448"/>
                <a:gd name="T28" fmla="*/ 18 w 131"/>
                <a:gd name="T29" fmla="*/ 61 h 448"/>
                <a:gd name="T30" fmla="*/ 4 w 131"/>
                <a:gd name="T31" fmla="*/ 77 h 448"/>
                <a:gd name="T32" fmla="*/ 7 w 131"/>
                <a:gd name="T33" fmla="*/ 91 h 448"/>
                <a:gd name="T34" fmla="*/ 7 w 131"/>
                <a:gd name="T35" fmla="*/ 91 h 448"/>
                <a:gd name="T36" fmla="*/ 7 w 131"/>
                <a:gd name="T37" fmla="*/ 91 h 448"/>
                <a:gd name="T38" fmla="*/ 1 w 131"/>
                <a:gd name="T39" fmla="*/ 110 h 448"/>
                <a:gd name="T40" fmla="*/ 0 w 131"/>
                <a:gd name="T41" fmla="*/ 189 h 448"/>
                <a:gd name="T42" fmla="*/ 5 w 131"/>
                <a:gd name="T43" fmla="*/ 185 h 448"/>
                <a:gd name="T44" fmla="*/ 11 w 131"/>
                <a:gd name="T45" fmla="*/ 193 h 448"/>
                <a:gd name="T46" fmla="*/ 131 w 131"/>
                <a:gd name="T47" fmla="*/ 310 h 448"/>
                <a:gd name="T48" fmla="*/ 131 w 131"/>
                <a:gd name="T49" fmla="*/ 32 h 448"/>
                <a:gd name="T50" fmla="*/ 101 w 131"/>
                <a:gd name="T51" fmla="*/ 0 h 4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31" h="448">
                  <a:moveTo>
                    <a:pt x="131" y="360"/>
                  </a:moveTo>
                  <a:cubicBezTo>
                    <a:pt x="0" y="360"/>
                    <a:pt x="0" y="360"/>
                    <a:pt x="0" y="360"/>
                  </a:cubicBezTo>
                  <a:cubicBezTo>
                    <a:pt x="0" y="427"/>
                    <a:pt x="0" y="427"/>
                    <a:pt x="0" y="427"/>
                  </a:cubicBezTo>
                  <a:cubicBezTo>
                    <a:pt x="0" y="435"/>
                    <a:pt x="2" y="442"/>
                    <a:pt x="6" y="448"/>
                  </a:cubicBezTo>
                  <a:cubicBezTo>
                    <a:pt x="98" y="448"/>
                    <a:pt x="98" y="448"/>
                    <a:pt x="98" y="448"/>
                  </a:cubicBezTo>
                  <a:cubicBezTo>
                    <a:pt x="104" y="448"/>
                    <a:pt x="110" y="446"/>
                    <a:pt x="114" y="441"/>
                  </a:cubicBezTo>
                  <a:cubicBezTo>
                    <a:pt x="118" y="437"/>
                    <a:pt x="121" y="430"/>
                    <a:pt x="121" y="423"/>
                  </a:cubicBezTo>
                  <a:cubicBezTo>
                    <a:pt x="131" y="423"/>
                    <a:pt x="131" y="423"/>
                    <a:pt x="131" y="423"/>
                  </a:cubicBezTo>
                  <a:cubicBezTo>
                    <a:pt x="131" y="360"/>
                    <a:pt x="131" y="360"/>
                    <a:pt x="131" y="360"/>
                  </a:cubicBezTo>
                  <a:moveTo>
                    <a:pt x="101" y="0"/>
                  </a:moveTo>
                  <a:cubicBezTo>
                    <a:pt x="89" y="0"/>
                    <a:pt x="89" y="0"/>
                    <a:pt x="89" y="0"/>
                  </a:cubicBezTo>
                  <a:cubicBezTo>
                    <a:pt x="89" y="27"/>
                    <a:pt x="89" y="27"/>
                    <a:pt x="89" y="27"/>
                  </a:cubicBezTo>
                  <a:cubicBezTo>
                    <a:pt x="78" y="34"/>
                    <a:pt x="78" y="34"/>
                    <a:pt x="78" y="34"/>
                  </a:cubicBezTo>
                  <a:cubicBezTo>
                    <a:pt x="72" y="23"/>
                    <a:pt x="72" y="23"/>
                    <a:pt x="72" y="23"/>
                  </a:cubicBezTo>
                  <a:cubicBezTo>
                    <a:pt x="18" y="61"/>
                    <a:pt x="18" y="61"/>
                    <a:pt x="18" y="61"/>
                  </a:cubicBezTo>
                  <a:cubicBezTo>
                    <a:pt x="12" y="64"/>
                    <a:pt x="7" y="70"/>
                    <a:pt x="4" y="77"/>
                  </a:cubicBezTo>
                  <a:cubicBezTo>
                    <a:pt x="6" y="81"/>
                    <a:pt x="7" y="86"/>
                    <a:pt x="7" y="91"/>
                  </a:cubicBezTo>
                  <a:cubicBezTo>
                    <a:pt x="7" y="91"/>
                    <a:pt x="7" y="91"/>
                    <a:pt x="7" y="91"/>
                  </a:cubicBezTo>
                  <a:cubicBezTo>
                    <a:pt x="7" y="91"/>
                    <a:pt x="7" y="91"/>
                    <a:pt x="7" y="91"/>
                  </a:cubicBezTo>
                  <a:cubicBezTo>
                    <a:pt x="7" y="98"/>
                    <a:pt x="5" y="105"/>
                    <a:pt x="1" y="110"/>
                  </a:cubicBezTo>
                  <a:cubicBezTo>
                    <a:pt x="0" y="189"/>
                    <a:pt x="0" y="189"/>
                    <a:pt x="0" y="189"/>
                  </a:cubicBezTo>
                  <a:cubicBezTo>
                    <a:pt x="5" y="185"/>
                    <a:pt x="5" y="185"/>
                    <a:pt x="5" y="185"/>
                  </a:cubicBezTo>
                  <a:cubicBezTo>
                    <a:pt x="11" y="193"/>
                    <a:pt x="11" y="193"/>
                    <a:pt x="11" y="193"/>
                  </a:cubicBezTo>
                  <a:cubicBezTo>
                    <a:pt x="131" y="310"/>
                    <a:pt x="131" y="310"/>
                    <a:pt x="131" y="310"/>
                  </a:cubicBezTo>
                  <a:cubicBezTo>
                    <a:pt x="131" y="32"/>
                    <a:pt x="131" y="32"/>
                    <a:pt x="131" y="32"/>
                  </a:cubicBezTo>
                  <a:cubicBezTo>
                    <a:pt x="131" y="14"/>
                    <a:pt x="118" y="0"/>
                    <a:pt x="101" y="0"/>
                  </a:cubicBezTo>
                </a:path>
              </a:pathLst>
            </a:custGeom>
            <a:solidFill>
              <a:schemeClr val="accent2">
                <a:lumMod val="60000"/>
                <a:lumOff val="40000"/>
                <a:alpha val="70000"/>
              </a:schemeClr>
            </a:solidFill>
            <a:ln>
              <a:noFill/>
            </a:ln>
          </p:spPr>
          <p:txBody>
            <a:bodyPr vert="horz" wrap="square" lIns="91440" tIns="45720" rIns="91440" bIns="45720" numCol="1" anchor="t" anchorCtr="0" compatLnSpc="1">
              <a:prstTxWarp prst="textNoShape">
                <a:avLst/>
              </a:prstTxWarp>
            </a:bodyPr>
            <a:lstStyle/>
            <a:p>
              <a:endParaRPr lang="zh-CN" altLang="en-US" dirty="0"/>
            </a:p>
          </p:txBody>
        </p:sp>
        <p:sp>
          <p:nvSpPr>
            <p:cNvPr id="11651" name="Freeform 1655">
              <a:extLst>
                <a:ext uri="{FF2B5EF4-FFF2-40B4-BE49-F238E27FC236}">
                  <a16:creationId xmlns:a16="http://schemas.microsoft.com/office/drawing/2014/main" id="{102E9E06-A253-4E87-91BD-1571F8FF7F60}"/>
                </a:ext>
              </a:extLst>
            </p:cNvPr>
            <p:cNvSpPr>
              <a:spLocks/>
            </p:cNvSpPr>
            <p:nvPr userDrawn="1"/>
          </p:nvSpPr>
          <p:spPr bwMode="auto">
            <a:xfrm>
              <a:off x="5848351" y="5592763"/>
              <a:ext cx="258763" cy="290513"/>
            </a:xfrm>
            <a:custGeom>
              <a:avLst/>
              <a:gdLst>
                <a:gd name="T0" fmla="*/ 14 w 163"/>
                <a:gd name="T1" fmla="*/ 0 h 183"/>
                <a:gd name="T2" fmla="*/ 22 w 163"/>
                <a:gd name="T3" fmla="*/ 10 h 183"/>
                <a:gd name="T4" fmla="*/ 0 w 163"/>
                <a:gd name="T5" fmla="*/ 28 h 183"/>
                <a:gd name="T6" fmla="*/ 0 w 163"/>
                <a:gd name="T7" fmla="*/ 183 h 183"/>
                <a:gd name="T8" fmla="*/ 163 w 163"/>
                <a:gd name="T9" fmla="*/ 183 h 183"/>
                <a:gd name="T10" fmla="*/ 163 w 163"/>
                <a:gd name="T11" fmla="*/ 146 h 183"/>
                <a:gd name="T12" fmla="*/ 14 w 163"/>
                <a:gd name="T13" fmla="*/ 0 h 183"/>
              </a:gdLst>
              <a:ahLst/>
              <a:cxnLst>
                <a:cxn ang="0">
                  <a:pos x="T0" y="T1"/>
                </a:cxn>
                <a:cxn ang="0">
                  <a:pos x="T2" y="T3"/>
                </a:cxn>
                <a:cxn ang="0">
                  <a:pos x="T4" y="T5"/>
                </a:cxn>
                <a:cxn ang="0">
                  <a:pos x="T6" y="T7"/>
                </a:cxn>
                <a:cxn ang="0">
                  <a:pos x="T8" y="T9"/>
                </a:cxn>
                <a:cxn ang="0">
                  <a:pos x="T10" y="T11"/>
                </a:cxn>
                <a:cxn ang="0">
                  <a:pos x="T12" y="T13"/>
                </a:cxn>
              </a:cxnLst>
              <a:rect l="0" t="0" r="r" b="b"/>
              <a:pathLst>
                <a:path w="163" h="183">
                  <a:moveTo>
                    <a:pt x="14" y="0"/>
                  </a:moveTo>
                  <a:lnTo>
                    <a:pt x="22" y="10"/>
                  </a:lnTo>
                  <a:lnTo>
                    <a:pt x="0" y="28"/>
                  </a:lnTo>
                  <a:lnTo>
                    <a:pt x="0" y="183"/>
                  </a:lnTo>
                  <a:lnTo>
                    <a:pt x="163" y="183"/>
                  </a:lnTo>
                  <a:lnTo>
                    <a:pt x="163" y="146"/>
                  </a:lnTo>
                  <a:lnTo>
                    <a:pt x="14" y="0"/>
                  </a:lnTo>
                  <a:close/>
                </a:path>
              </a:pathLst>
            </a:custGeom>
            <a:solidFill>
              <a:schemeClr val="accent2">
                <a:lumMod val="75000"/>
                <a:alpha val="3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1652" name="Freeform 1656">
              <a:extLst>
                <a:ext uri="{FF2B5EF4-FFF2-40B4-BE49-F238E27FC236}">
                  <a16:creationId xmlns:a16="http://schemas.microsoft.com/office/drawing/2014/main" id="{530E8A18-26D6-4ED5-82B2-53FDD46D3CFB}"/>
                </a:ext>
              </a:extLst>
            </p:cNvPr>
            <p:cNvSpPr>
              <a:spLocks/>
            </p:cNvSpPr>
            <p:nvPr userDrawn="1"/>
          </p:nvSpPr>
          <p:spPr bwMode="auto">
            <a:xfrm>
              <a:off x="5848351" y="5592763"/>
              <a:ext cx="258763" cy="290513"/>
            </a:xfrm>
            <a:custGeom>
              <a:avLst/>
              <a:gdLst>
                <a:gd name="T0" fmla="*/ 14 w 163"/>
                <a:gd name="T1" fmla="*/ 0 h 183"/>
                <a:gd name="T2" fmla="*/ 22 w 163"/>
                <a:gd name="T3" fmla="*/ 10 h 183"/>
                <a:gd name="T4" fmla="*/ 0 w 163"/>
                <a:gd name="T5" fmla="*/ 28 h 183"/>
                <a:gd name="T6" fmla="*/ 0 w 163"/>
                <a:gd name="T7" fmla="*/ 183 h 183"/>
                <a:gd name="T8" fmla="*/ 163 w 163"/>
                <a:gd name="T9" fmla="*/ 183 h 183"/>
                <a:gd name="T10" fmla="*/ 163 w 163"/>
                <a:gd name="T11" fmla="*/ 146 h 183"/>
                <a:gd name="T12" fmla="*/ 14 w 163"/>
                <a:gd name="T13" fmla="*/ 0 h 183"/>
              </a:gdLst>
              <a:ahLst/>
              <a:cxnLst>
                <a:cxn ang="0">
                  <a:pos x="T0" y="T1"/>
                </a:cxn>
                <a:cxn ang="0">
                  <a:pos x="T2" y="T3"/>
                </a:cxn>
                <a:cxn ang="0">
                  <a:pos x="T4" y="T5"/>
                </a:cxn>
                <a:cxn ang="0">
                  <a:pos x="T6" y="T7"/>
                </a:cxn>
                <a:cxn ang="0">
                  <a:pos x="T8" y="T9"/>
                </a:cxn>
                <a:cxn ang="0">
                  <a:pos x="T10" y="T11"/>
                </a:cxn>
                <a:cxn ang="0">
                  <a:pos x="T12" y="T13"/>
                </a:cxn>
              </a:cxnLst>
              <a:rect l="0" t="0" r="r" b="b"/>
              <a:pathLst>
                <a:path w="163" h="183">
                  <a:moveTo>
                    <a:pt x="14" y="0"/>
                  </a:moveTo>
                  <a:lnTo>
                    <a:pt x="22" y="10"/>
                  </a:lnTo>
                  <a:lnTo>
                    <a:pt x="0" y="28"/>
                  </a:lnTo>
                  <a:lnTo>
                    <a:pt x="0" y="183"/>
                  </a:lnTo>
                  <a:lnTo>
                    <a:pt x="163" y="183"/>
                  </a:lnTo>
                  <a:lnTo>
                    <a:pt x="163" y="14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654" name="Freeform 1658">
              <a:extLst>
                <a:ext uri="{FF2B5EF4-FFF2-40B4-BE49-F238E27FC236}">
                  <a16:creationId xmlns:a16="http://schemas.microsoft.com/office/drawing/2014/main" id="{77A47AE4-4359-4EFD-B82B-9A3A581DF164}"/>
                </a:ext>
              </a:extLst>
            </p:cNvPr>
            <p:cNvSpPr>
              <a:spLocks/>
            </p:cNvSpPr>
            <p:nvPr userDrawn="1"/>
          </p:nvSpPr>
          <p:spPr bwMode="auto">
            <a:xfrm>
              <a:off x="5848351" y="5883275"/>
              <a:ext cx="258763" cy="39688"/>
            </a:xfrm>
            <a:custGeom>
              <a:avLst/>
              <a:gdLst>
                <a:gd name="T0" fmla="*/ 163 w 163"/>
                <a:gd name="T1" fmla="*/ 0 h 25"/>
                <a:gd name="T2" fmla="*/ 163 w 163"/>
                <a:gd name="T3" fmla="*/ 0 h 25"/>
                <a:gd name="T4" fmla="*/ 0 w 163"/>
                <a:gd name="T5" fmla="*/ 0 h 25"/>
                <a:gd name="T6" fmla="*/ 0 w 163"/>
                <a:gd name="T7" fmla="*/ 25 h 25"/>
                <a:gd name="T8" fmla="*/ 163 w 163"/>
                <a:gd name="T9" fmla="*/ 25 h 25"/>
                <a:gd name="T10" fmla="*/ 163 w 163"/>
                <a:gd name="T11" fmla="*/ 0 h 25"/>
              </a:gdLst>
              <a:ahLst/>
              <a:cxnLst>
                <a:cxn ang="0">
                  <a:pos x="T0" y="T1"/>
                </a:cxn>
                <a:cxn ang="0">
                  <a:pos x="T2" y="T3"/>
                </a:cxn>
                <a:cxn ang="0">
                  <a:pos x="T4" y="T5"/>
                </a:cxn>
                <a:cxn ang="0">
                  <a:pos x="T6" y="T7"/>
                </a:cxn>
                <a:cxn ang="0">
                  <a:pos x="T8" y="T9"/>
                </a:cxn>
                <a:cxn ang="0">
                  <a:pos x="T10" y="T11"/>
                </a:cxn>
              </a:cxnLst>
              <a:rect l="0" t="0" r="r" b="b"/>
              <a:pathLst>
                <a:path w="163" h="25">
                  <a:moveTo>
                    <a:pt x="163" y="0"/>
                  </a:moveTo>
                  <a:lnTo>
                    <a:pt x="163" y="0"/>
                  </a:lnTo>
                  <a:lnTo>
                    <a:pt x="0" y="0"/>
                  </a:lnTo>
                  <a:lnTo>
                    <a:pt x="0" y="25"/>
                  </a:lnTo>
                  <a:lnTo>
                    <a:pt x="163" y="25"/>
                  </a:lnTo>
                  <a:lnTo>
                    <a:pt x="163" y="0"/>
                  </a:lnTo>
                  <a:close/>
                </a:path>
              </a:pathLst>
            </a:custGeom>
            <a:solidFill>
              <a:schemeClr val="accent2">
                <a:lumMod val="75000"/>
                <a:alpha val="3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1655" name="Freeform 1659">
              <a:extLst>
                <a:ext uri="{FF2B5EF4-FFF2-40B4-BE49-F238E27FC236}">
                  <a16:creationId xmlns:a16="http://schemas.microsoft.com/office/drawing/2014/main" id="{FD0DBFC2-704D-4D5B-8BBA-830018250E5D}"/>
                </a:ext>
              </a:extLst>
            </p:cNvPr>
            <p:cNvSpPr>
              <a:spLocks/>
            </p:cNvSpPr>
            <p:nvPr userDrawn="1"/>
          </p:nvSpPr>
          <p:spPr bwMode="auto">
            <a:xfrm>
              <a:off x="5848351" y="5883275"/>
              <a:ext cx="258763" cy="39688"/>
            </a:xfrm>
            <a:custGeom>
              <a:avLst/>
              <a:gdLst>
                <a:gd name="T0" fmla="*/ 163 w 163"/>
                <a:gd name="T1" fmla="*/ 0 h 25"/>
                <a:gd name="T2" fmla="*/ 163 w 163"/>
                <a:gd name="T3" fmla="*/ 0 h 25"/>
                <a:gd name="T4" fmla="*/ 0 w 163"/>
                <a:gd name="T5" fmla="*/ 0 h 25"/>
                <a:gd name="T6" fmla="*/ 0 w 163"/>
                <a:gd name="T7" fmla="*/ 25 h 25"/>
                <a:gd name="T8" fmla="*/ 163 w 163"/>
                <a:gd name="T9" fmla="*/ 25 h 25"/>
                <a:gd name="T10" fmla="*/ 163 w 163"/>
                <a:gd name="T11" fmla="*/ 0 h 25"/>
              </a:gdLst>
              <a:ahLst/>
              <a:cxnLst>
                <a:cxn ang="0">
                  <a:pos x="T0" y="T1"/>
                </a:cxn>
                <a:cxn ang="0">
                  <a:pos x="T2" y="T3"/>
                </a:cxn>
                <a:cxn ang="0">
                  <a:pos x="T4" y="T5"/>
                </a:cxn>
                <a:cxn ang="0">
                  <a:pos x="T6" y="T7"/>
                </a:cxn>
                <a:cxn ang="0">
                  <a:pos x="T8" y="T9"/>
                </a:cxn>
                <a:cxn ang="0">
                  <a:pos x="T10" y="T11"/>
                </a:cxn>
              </a:cxnLst>
              <a:rect l="0" t="0" r="r" b="b"/>
              <a:pathLst>
                <a:path w="163" h="25">
                  <a:moveTo>
                    <a:pt x="163" y="0"/>
                  </a:moveTo>
                  <a:lnTo>
                    <a:pt x="163" y="0"/>
                  </a:lnTo>
                  <a:lnTo>
                    <a:pt x="0" y="0"/>
                  </a:lnTo>
                  <a:lnTo>
                    <a:pt x="0" y="25"/>
                  </a:lnTo>
                  <a:lnTo>
                    <a:pt x="163" y="25"/>
                  </a:lnTo>
                  <a:lnTo>
                    <a:pt x="16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656" name="Freeform 1660">
              <a:extLst>
                <a:ext uri="{FF2B5EF4-FFF2-40B4-BE49-F238E27FC236}">
                  <a16:creationId xmlns:a16="http://schemas.microsoft.com/office/drawing/2014/main" id="{32D5AAFB-F67A-4589-A35E-52C89A61E078}"/>
                </a:ext>
              </a:extLst>
            </p:cNvPr>
            <p:cNvSpPr>
              <a:spLocks/>
            </p:cNvSpPr>
            <p:nvPr userDrawn="1"/>
          </p:nvSpPr>
          <p:spPr bwMode="auto">
            <a:xfrm>
              <a:off x="5848351" y="5576888"/>
              <a:ext cx="34925" cy="60325"/>
            </a:xfrm>
            <a:custGeom>
              <a:avLst/>
              <a:gdLst>
                <a:gd name="T0" fmla="*/ 6 w 22"/>
                <a:gd name="T1" fmla="*/ 0 h 38"/>
                <a:gd name="T2" fmla="*/ 0 w 22"/>
                <a:gd name="T3" fmla="*/ 5 h 38"/>
                <a:gd name="T4" fmla="*/ 0 w 22"/>
                <a:gd name="T5" fmla="*/ 38 h 38"/>
                <a:gd name="T6" fmla="*/ 22 w 22"/>
                <a:gd name="T7" fmla="*/ 20 h 38"/>
                <a:gd name="T8" fmla="*/ 14 w 22"/>
                <a:gd name="T9" fmla="*/ 10 h 38"/>
                <a:gd name="T10" fmla="*/ 6 w 22"/>
                <a:gd name="T11" fmla="*/ 0 h 38"/>
              </a:gdLst>
              <a:ahLst/>
              <a:cxnLst>
                <a:cxn ang="0">
                  <a:pos x="T0" y="T1"/>
                </a:cxn>
                <a:cxn ang="0">
                  <a:pos x="T2" y="T3"/>
                </a:cxn>
                <a:cxn ang="0">
                  <a:pos x="T4" y="T5"/>
                </a:cxn>
                <a:cxn ang="0">
                  <a:pos x="T6" y="T7"/>
                </a:cxn>
                <a:cxn ang="0">
                  <a:pos x="T8" y="T9"/>
                </a:cxn>
                <a:cxn ang="0">
                  <a:pos x="T10" y="T11"/>
                </a:cxn>
              </a:cxnLst>
              <a:rect l="0" t="0" r="r" b="b"/>
              <a:pathLst>
                <a:path w="22" h="38">
                  <a:moveTo>
                    <a:pt x="6" y="0"/>
                  </a:moveTo>
                  <a:lnTo>
                    <a:pt x="0" y="5"/>
                  </a:lnTo>
                  <a:lnTo>
                    <a:pt x="0" y="38"/>
                  </a:lnTo>
                  <a:lnTo>
                    <a:pt x="22" y="20"/>
                  </a:lnTo>
                  <a:lnTo>
                    <a:pt x="14" y="10"/>
                  </a:lnTo>
                  <a:lnTo>
                    <a:pt x="6" y="0"/>
                  </a:lnTo>
                  <a:close/>
                </a:path>
              </a:pathLst>
            </a:custGeom>
            <a:solidFill>
              <a:schemeClr val="accent2">
                <a:lumMod val="75000"/>
                <a:alpha val="5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1657" name="Freeform 1661">
              <a:extLst>
                <a:ext uri="{FF2B5EF4-FFF2-40B4-BE49-F238E27FC236}">
                  <a16:creationId xmlns:a16="http://schemas.microsoft.com/office/drawing/2014/main" id="{8C599CEA-F5D5-4C2A-BC89-16AF5399E281}"/>
                </a:ext>
              </a:extLst>
            </p:cNvPr>
            <p:cNvSpPr>
              <a:spLocks/>
            </p:cNvSpPr>
            <p:nvPr userDrawn="1"/>
          </p:nvSpPr>
          <p:spPr bwMode="auto">
            <a:xfrm>
              <a:off x="5848351" y="5576888"/>
              <a:ext cx="34925" cy="60325"/>
            </a:xfrm>
            <a:custGeom>
              <a:avLst/>
              <a:gdLst>
                <a:gd name="T0" fmla="*/ 6 w 22"/>
                <a:gd name="T1" fmla="*/ 0 h 38"/>
                <a:gd name="T2" fmla="*/ 0 w 22"/>
                <a:gd name="T3" fmla="*/ 5 h 38"/>
                <a:gd name="T4" fmla="*/ 0 w 22"/>
                <a:gd name="T5" fmla="*/ 38 h 38"/>
                <a:gd name="T6" fmla="*/ 22 w 22"/>
                <a:gd name="T7" fmla="*/ 20 h 38"/>
                <a:gd name="T8" fmla="*/ 14 w 22"/>
                <a:gd name="T9" fmla="*/ 10 h 38"/>
                <a:gd name="T10" fmla="*/ 6 w 22"/>
                <a:gd name="T11" fmla="*/ 0 h 38"/>
              </a:gdLst>
              <a:ahLst/>
              <a:cxnLst>
                <a:cxn ang="0">
                  <a:pos x="T0" y="T1"/>
                </a:cxn>
                <a:cxn ang="0">
                  <a:pos x="T2" y="T3"/>
                </a:cxn>
                <a:cxn ang="0">
                  <a:pos x="T4" y="T5"/>
                </a:cxn>
                <a:cxn ang="0">
                  <a:pos x="T6" y="T7"/>
                </a:cxn>
                <a:cxn ang="0">
                  <a:pos x="T8" y="T9"/>
                </a:cxn>
                <a:cxn ang="0">
                  <a:pos x="T10" y="T11"/>
                </a:cxn>
              </a:cxnLst>
              <a:rect l="0" t="0" r="r" b="b"/>
              <a:pathLst>
                <a:path w="22" h="38">
                  <a:moveTo>
                    <a:pt x="6" y="0"/>
                  </a:moveTo>
                  <a:lnTo>
                    <a:pt x="0" y="5"/>
                  </a:lnTo>
                  <a:lnTo>
                    <a:pt x="0" y="38"/>
                  </a:lnTo>
                  <a:lnTo>
                    <a:pt x="22" y="20"/>
                  </a:lnTo>
                  <a:lnTo>
                    <a:pt x="14" y="1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658" name="Freeform 1662">
              <a:extLst>
                <a:ext uri="{FF2B5EF4-FFF2-40B4-BE49-F238E27FC236}">
                  <a16:creationId xmlns:a16="http://schemas.microsoft.com/office/drawing/2014/main" id="{6BB7DD9B-AABD-474E-A666-1E47EBF75CB8}"/>
                </a:ext>
              </a:extLst>
            </p:cNvPr>
            <p:cNvSpPr>
              <a:spLocks noEditPoints="1"/>
            </p:cNvSpPr>
            <p:nvPr userDrawn="1"/>
          </p:nvSpPr>
          <p:spPr bwMode="auto">
            <a:xfrm>
              <a:off x="5849938" y="5364163"/>
              <a:ext cx="12700" cy="65088"/>
            </a:xfrm>
            <a:custGeom>
              <a:avLst/>
              <a:gdLst>
                <a:gd name="T0" fmla="*/ 6 w 6"/>
                <a:gd name="T1" fmla="*/ 14 h 33"/>
                <a:gd name="T2" fmla="*/ 0 w 6"/>
                <a:gd name="T3" fmla="*/ 14 h 33"/>
                <a:gd name="T4" fmla="*/ 0 w 6"/>
                <a:gd name="T5" fmla="*/ 16 h 33"/>
                <a:gd name="T6" fmla="*/ 0 w 6"/>
                <a:gd name="T7" fmla="*/ 33 h 33"/>
                <a:gd name="T8" fmla="*/ 6 w 6"/>
                <a:gd name="T9" fmla="*/ 14 h 33"/>
                <a:gd name="T10" fmla="*/ 6 w 6"/>
                <a:gd name="T11" fmla="*/ 14 h 33"/>
                <a:gd name="T12" fmla="*/ 6 w 6"/>
                <a:gd name="T13" fmla="*/ 14 h 33"/>
                <a:gd name="T14" fmla="*/ 6 w 6"/>
                <a:gd name="T15" fmla="*/ 14 h 33"/>
                <a:gd name="T16" fmla="*/ 3 w 6"/>
                <a:gd name="T17" fmla="*/ 0 h 33"/>
                <a:gd name="T18" fmla="*/ 0 w 6"/>
                <a:gd name="T19" fmla="*/ 14 h 33"/>
                <a:gd name="T20" fmla="*/ 6 w 6"/>
                <a:gd name="T21" fmla="*/ 14 h 33"/>
                <a:gd name="T22" fmla="*/ 6 w 6"/>
                <a:gd name="T23" fmla="*/ 14 h 33"/>
                <a:gd name="T24" fmla="*/ 3 w 6"/>
                <a:gd name="T25"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33">
                  <a:moveTo>
                    <a:pt x="6" y="14"/>
                  </a:moveTo>
                  <a:cubicBezTo>
                    <a:pt x="0" y="14"/>
                    <a:pt x="0" y="14"/>
                    <a:pt x="0" y="14"/>
                  </a:cubicBezTo>
                  <a:cubicBezTo>
                    <a:pt x="0" y="14"/>
                    <a:pt x="0" y="15"/>
                    <a:pt x="0" y="16"/>
                  </a:cubicBezTo>
                  <a:cubicBezTo>
                    <a:pt x="0" y="33"/>
                    <a:pt x="0" y="33"/>
                    <a:pt x="0" y="33"/>
                  </a:cubicBezTo>
                  <a:cubicBezTo>
                    <a:pt x="4" y="28"/>
                    <a:pt x="6" y="21"/>
                    <a:pt x="6" y="14"/>
                  </a:cubicBezTo>
                  <a:moveTo>
                    <a:pt x="6" y="14"/>
                  </a:moveTo>
                  <a:cubicBezTo>
                    <a:pt x="6" y="14"/>
                    <a:pt x="6" y="14"/>
                    <a:pt x="6" y="14"/>
                  </a:cubicBezTo>
                  <a:cubicBezTo>
                    <a:pt x="6" y="14"/>
                    <a:pt x="6" y="14"/>
                    <a:pt x="6" y="14"/>
                  </a:cubicBezTo>
                  <a:moveTo>
                    <a:pt x="3" y="0"/>
                  </a:moveTo>
                  <a:cubicBezTo>
                    <a:pt x="1" y="4"/>
                    <a:pt x="0" y="9"/>
                    <a:pt x="0" y="14"/>
                  </a:cubicBezTo>
                  <a:cubicBezTo>
                    <a:pt x="6" y="14"/>
                    <a:pt x="6" y="14"/>
                    <a:pt x="6" y="14"/>
                  </a:cubicBezTo>
                  <a:cubicBezTo>
                    <a:pt x="6" y="14"/>
                    <a:pt x="6" y="14"/>
                    <a:pt x="6" y="14"/>
                  </a:cubicBezTo>
                  <a:cubicBezTo>
                    <a:pt x="6" y="9"/>
                    <a:pt x="5" y="4"/>
                    <a:pt x="3" y="0"/>
                  </a:cubicBezTo>
                </a:path>
              </a:pathLst>
            </a:custGeom>
            <a:solidFill>
              <a:schemeClr val="accent2">
                <a:lumMod val="75000"/>
                <a:alpha val="3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1659" name="Freeform 1663">
              <a:extLst>
                <a:ext uri="{FF2B5EF4-FFF2-40B4-BE49-F238E27FC236}">
                  <a16:creationId xmlns:a16="http://schemas.microsoft.com/office/drawing/2014/main" id="{9D8F12D4-DE8D-4C2A-9D65-78DDD09EE345}"/>
                </a:ext>
              </a:extLst>
            </p:cNvPr>
            <p:cNvSpPr>
              <a:spLocks/>
            </p:cNvSpPr>
            <p:nvPr userDrawn="1"/>
          </p:nvSpPr>
          <p:spPr bwMode="auto">
            <a:xfrm>
              <a:off x="5915026" y="5364163"/>
              <a:ext cx="1209675" cy="377825"/>
            </a:xfrm>
            <a:custGeom>
              <a:avLst/>
              <a:gdLst>
                <a:gd name="T0" fmla="*/ 762 w 762"/>
                <a:gd name="T1" fmla="*/ 3 h 238"/>
                <a:gd name="T2" fmla="*/ 762 w 762"/>
                <a:gd name="T3" fmla="*/ 0 h 238"/>
                <a:gd name="T4" fmla="*/ 0 w 762"/>
                <a:gd name="T5" fmla="*/ 0 h 238"/>
                <a:gd name="T6" fmla="*/ 379 w 762"/>
                <a:gd name="T7" fmla="*/ 238 h 238"/>
                <a:gd name="T8" fmla="*/ 762 w 762"/>
                <a:gd name="T9" fmla="*/ 3 h 238"/>
              </a:gdLst>
              <a:ahLst/>
              <a:cxnLst>
                <a:cxn ang="0">
                  <a:pos x="T0" y="T1"/>
                </a:cxn>
                <a:cxn ang="0">
                  <a:pos x="T2" y="T3"/>
                </a:cxn>
                <a:cxn ang="0">
                  <a:pos x="T4" y="T5"/>
                </a:cxn>
                <a:cxn ang="0">
                  <a:pos x="T6" y="T7"/>
                </a:cxn>
                <a:cxn ang="0">
                  <a:pos x="T8" y="T9"/>
                </a:cxn>
              </a:cxnLst>
              <a:rect l="0" t="0" r="r" b="b"/>
              <a:pathLst>
                <a:path w="762" h="238">
                  <a:moveTo>
                    <a:pt x="762" y="3"/>
                  </a:moveTo>
                  <a:lnTo>
                    <a:pt x="762" y="0"/>
                  </a:lnTo>
                  <a:lnTo>
                    <a:pt x="0" y="0"/>
                  </a:lnTo>
                  <a:lnTo>
                    <a:pt x="379" y="238"/>
                  </a:lnTo>
                  <a:lnTo>
                    <a:pt x="762"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1660" name="Freeform 1664">
              <a:extLst>
                <a:ext uri="{FF2B5EF4-FFF2-40B4-BE49-F238E27FC236}">
                  <a16:creationId xmlns:a16="http://schemas.microsoft.com/office/drawing/2014/main" id="{750CEDEF-49F3-4724-B7F6-2DCD9DBF0B47}"/>
                </a:ext>
              </a:extLst>
            </p:cNvPr>
            <p:cNvSpPr>
              <a:spLocks/>
            </p:cNvSpPr>
            <p:nvPr userDrawn="1"/>
          </p:nvSpPr>
          <p:spPr bwMode="auto">
            <a:xfrm>
              <a:off x="5913438" y="4986338"/>
              <a:ext cx="1209675" cy="377825"/>
            </a:xfrm>
            <a:custGeom>
              <a:avLst/>
              <a:gdLst>
                <a:gd name="T0" fmla="*/ 762 w 762"/>
                <a:gd name="T1" fmla="*/ 234 h 238"/>
                <a:gd name="T2" fmla="*/ 762 w 762"/>
                <a:gd name="T3" fmla="*/ 238 h 238"/>
                <a:gd name="T4" fmla="*/ 0 w 762"/>
                <a:gd name="T5" fmla="*/ 238 h 238"/>
                <a:gd name="T6" fmla="*/ 379 w 762"/>
                <a:gd name="T7" fmla="*/ 0 h 238"/>
                <a:gd name="T8" fmla="*/ 762 w 762"/>
                <a:gd name="T9" fmla="*/ 234 h 238"/>
              </a:gdLst>
              <a:ahLst/>
              <a:cxnLst>
                <a:cxn ang="0">
                  <a:pos x="T0" y="T1"/>
                </a:cxn>
                <a:cxn ang="0">
                  <a:pos x="T2" y="T3"/>
                </a:cxn>
                <a:cxn ang="0">
                  <a:pos x="T4" y="T5"/>
                </a:cxn>
                <a:cxn ang="0">
                  <a:pos x="T6" y="T7"/>
                </a:cxn>
                <a:cxn ang="0">
                  <a:pos x="T8" y="T9"/>
                </a:cxn>
              </a:cxnLst>
              <a:rect l="0" t="0" r="r" b="b"/>
              <a:pathLst>
                <a:path w="762" h="238">
                  <a:moveTo>
                    <a:pt x="762" y="234"/>
                  </a:moveTo>
                  <a:lnTo>
                    <a:pt x="762" y="238"/>
                  </a:lnTo>
                  <a:lnTo>
                    <a:pt x="0" y="238"/>
                  </a:lnTo>
                  <a:lnTo>
                    <a:pt x="379" y="0"/>
                  </a:lnTo>
                  <a:lnTo>
                    <a:pt x="762" y="234"/>
                  </a:lnTo>
                  <a:close/>
                </a:path>
              </a:pathLst>
            </a:custGeom>
            <a:solidFill>
              <a:schemeClr val="accent2">
                <a:lumMod val="40000"/>
                <a:lumOff val="6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1661" name="Freeform 1665">
              <a:extLst>
                <a:ext uri="{FF2B5EF4-FFF2-40B4-BE49-F238E27FC236}">
                  <a16:creationId xmlns:a16="http://schemas.microsoft.com/office/drawing/2014/main" id="{9C54448C-C478-4164-8BC0-ED3B6A68A16F}"/>
                </a:ext>
              </a:extLst>
            </p:cNvPr>
            <p:cNvSpPr>
              <a:spLocks/>
            </p:cNvSpPr>
            <p:nvPr userDrawn="1"/>
          </p:nvSpPr>
          <p:spPr bwMode="auto">
            <a:xfrm>
              <a:off x="6088063" y="4908550"/>
              <a:ext cx="874713" cy="908050"/>
            </a:xfrm>
            <a:custGeom>
              <a:avLst/>
              <a:gdLst>
                <a:gd name="T0" fmla="*/ 442 w 442"/>
                <a:gd name="T1" fmla="*/ 459 h 459"/>
                <a:gd name="T2" fmla="*/ 0 w 442"/>
                <a:gd name="T3" fmla="*/ 459 h 459"/>
                <a:gd name="T4" fmla="*/ 0 w 442"/>
                <a:gd name="T5" fmla="*/ 8 h 459"/>
                <a:gd name="T6" fmla="*/ 7 w 442"/>
                <a:gd name="T7" fmla="*/ 0 h 459"/>
                <a:gd name="T8" fmla="*/ 435 w 442"/>
                <a:gd name="T9" fmla="*/ 0 h 459"/>
                <a:gd name="T10" fmla="*/ 442 w 442"/>
                <a:gd name="T11" fmla="*/ 8 h 459"/>
                <a:gd name="T12" fmla="*/ 442 w 442"/>
                <a:gd name="T13" fmla="*/ 459 h 459"/>
              </a:gdLst>
              <a:ahLst/>
              <a:cxnLst>
                <a:cxn ang="0">
                  <a:pos x="T0" y="T1"/>
                </a:cxn>
                <a:cxn ang="0">
                  <a:pos x="T2" y="T3"/>
                </a:cxn>
                <a:cxn ang="0">
                  <a:pos x="T4" y="T5"/>
                </a:cxn>
                <a:cxn ang="0">
                  <a:pos x="T6" y="T7"/>
                </a:cxn>
                <a:cxn ang="0">
                  <a:pos x="T8" y="T9"/>
                </a:cxn>
                <a:cxn ang="0">
                  <a:pos x="T10" y="T11"/>
                </a:cxn>
                <a:cxn ang="0">
                  <a:pos x="T12" y="T13"/>
                </a:cxn>
              </a:cxnLst>
              <a:rect l="0" t="0" r="r" b="b"/>
              <a:pathLst>
                <a:path w="442" h="459">
                  <a:moveTo>
                    <a:pt x="442" y="459"/>
                  </a:moveTo>
                  <a:cubicBezTo>
                    <a:pt x="0" y="459"/>
                    <a:pt x="0" y="459"/>
                    <a:pt x="0" y="459"/>
                  </a:cubicBezTo>
                  <a:cubicBezTo>
                    <a:pt x="0" y="8"/>
                    <a:pt x="0" y="8"/>
                    <a:pt x="0" y="8"/>
                  </a:cubicBezTo>
                  <a:cubicBezTo>
                    <a:pt x="0" y="4"/>
                    <a:pt x="3" y="0"/>
                    <a:pt x="7" y="0"/>
                  </a:cubicBezTo>
                  <a:cubicBezTo>
                    <a:pt x="435" y="0"/>
                    <a:pt x="435" y="0"/>
                    <a:pt x="435" y="0"/>
                  </a:cubicBezTo>
                  <a:cubicBezTo>
                    <a:pt x="439" y="0"/>
                    <a:pt x="442" y="4"/>
                    <a:pt x="442" y="8"/>
                  </a:cubicBezTo>
                  <a:lnTo>
                    <a:pt x="442" y="45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662" name="Freeform 1666">
              <a:extLst>
                <a:ext uri="{FF2B5EF4-FFF2-40B4-BE49-F238E27FC236}">
                  <a16:creationId xmlns:a16="http://schemas.microsoft.com/office/drawing/2014/main" id="{1F7F5E7B-B5FD-44AC-93AB-F7A3F51B92CB}"/>
                </a:ext>
              </a:extLst>
            </p:cNvPr>
            <p:cNvSpPr>
              <a:spLocks/>
            </p:cNvSpPr>
            <p:nvPr userDrawn="1"/>
          </p:nvSpPr>
          <p:spPr bwMode="auto">
            <a:xfrm>
              <a:off x="6067426" y="4889500"/>
              <a:ext cx="915988" cy="949325"/>
            </a:xfrm>
            <a:custGeom>
              <a:avLst/>
              <a:gdLst>
                <a:gd name="T0" fmla="*/ 452 w 462"/>
                <a:gd name="T1" fmla="*/ 469 h 480"/>
                <a:gd name="T2" fmla="*/ 452 w 462"/>
                <a:gd name="T3" fmla="*/ 459 h 480"/>
                <a:gd name="T4" fmla="*/ 20 w 462"/>
                <a:gd name="T5" fmla="*/ 459 h 480"/>
                <a:gd name="T6" fmla="*/ 20 w 462"/>
                <a:gd name="T7" fmla="*/ 18 h 480"/>
                <a:gd name="T8" fmla="*/ 17 w 462"/>
                <a:gd name="T9" fmla="*/ 18 h 480"/>
                <a:gd name="T10" fmla="*/ 19 w 462"/>
                <a:gd name="T11" fmla="*/ 20 h 480"/>
                <a:gd name="T12" fmla="*/ 20 w 462"/>
                <a:gd name="T13" fmla="*/ 18 h 480"/>
                <a:gd name="T14" fmla="*/ 17 w 462"/>
                <a:gd name="T15" fmla="*/ 18 h 480"/>
                <a:gd name="T16" fmla="*/ 19 w 462"/>
                <a:gd name="T17" fmla="*/ 20 h 480"/>
                <a:gd name="T18" fmla="*/ 17 w 462"/>
                <a:gd name="T19" fmla="*/ 18 h 480"/>
                <a:gd name="T20" fmla="*/ 17 w 462"/>
                <a:gd name="T21" fmla="*/ 20 h 480"/>
                <a:gd name="T22" fmla="*/ 19 w 462"/>
                <a:gd name="T23" fmla="*/ 20 h 480"/>
                <a:gd name="T24" fmla="*/ 17 w 462"/>
                <a:gd name="T25" fmla="*/ 18 h 480"/>
                <a:gd name="T26" fmla="*/ 17 w 462"/>
                <a:gd name="T27" fmla="*/ 20 h 480"/>
                <a:gd name="T28" fmla="*/ 445 w 462"/>
                <a:gd name="T29" fmla="*/ 20 h 480"/>
                <a:gd name="T30" fmla="*/ 445 w 462"/>
                <a:gd name="T31" fmla="*/ 18 h 480"/>
                <a:gd name="T32" fmla="*/ 443 w 462"/>
                <a:gd name="T33" fmla="*/ 20 h 480"/>
                <a:gd name="T34" fmla="*/ 445 w 462"/>
                <a:gd name="T35" fmla="*/ 20 h 480"/>
                <a:gd name="T36" fmla="*/ 445 w 462"/>
                <a:gd name="T37" fmla="*/ 18 h 480"/>
                <a:gd name="T38" fmla="*/ 443 w 462"/>
                <a:gd name="T39" fmla="*/ 20 h 480"/>
                <a:gd name="T40" fmla="*/ 445 w 462"/>
                <a:gd name="T41" fmla="*/ 18 h 480"/>
                <a:gd name="T42" fmla="*/ 442 w 462"/>
                <a:gd name="T43" fmla="*/ 18 h 480"/>
                <a:gd name="T44" fmla="*/ 443 w 462"/>
                <a:gd name="T45" fmla="*/ 20 h 480"/>
                <a:gd name="T46" fmla="*/ 445 w 462"/>
                <a:gd name="T47" fmla="*/ 18 h 480"/>
                <a:gd name="T48" fmla="*/ 442 w 462"/>
                <a:gd name="T49" fmla="*/ 18 h 480"/>
                <a:gd name="T50" fmla="*/ 442 w 462"/>
                <a:gd name="T51" fmla="*/ 469 h 480"/>
                <a:gd name="T52" fmla="*/ 452 w 462"/>
                <a:gd name="T53" fmla="*/ 469 h 480"/>
                <a:gd name="T54" fmla="*/ 452 w 462"/>
                <a:gd name="T55" fmla="*/ 459 h 480"/>
                <a:gd name="T56" fmla="*/ 452 w 462"/>
                <a:gd name="T57" fmla="*/ 469 h 480"/>
                <a:gd name="T58" fmla="*/ 462 w 462"/>
                <a:gd name="T59" fmla="*/ 469 h 480"/>
                <a:gd name="T60" fmla="*/ 462 w 462"/>
                <a:gd name="T61" fmla="*/ 18 h 480"/>
                <a:gd name="T62" fmla="*/ 457 w 462"/>
                <a:gd name="T63" fmla="*/ 5 h 480"/>
                <a:gd name="T64" fmla="*/ 445 w 462"/>
                <a:gd name="T65" fmla="*/ 0 h 480"/>
                <a:gd name="T66" fmla="*/ 17 w 462"/>
                <a:gd name="T67" fmla="*/ 0 h 480"/>
                <a:gd name="T68" fmla="*/ 5 w 462"/>
                <a:gd name="T69" fmla="*/ 5 h 480"/>
                <a:gd name="T70" fmla="*/ 0 w 462"/>
                <a:gd name="T71" fmla="*/ 18 h 480"/>
                <a:gd name="T72" fmla="*/ 0 w 462"/>
                <a:gd name="T73" fmla="*/ 480 h 480"/>
                <a:gd name="T74" fmla="*/ 462 w 462"/>
                <a:gd name="T75" fmla="*/ 480 h 480"/>
                <a:gd name="T76" fmla="*/ 462 w 462"/>
                <a:gd name="T77" fmla="*/ 469 h 480"/>
                <a:gd name="T78" fmla="*/ 452 w 462"/>
                <a:gd name="T79" fmla="*/ 469 h 4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62" h="480">
                  <a:moveTo>
                    <a:pt x="452" y="469"/>
                  </a:moveTo>
                  <a:cubicBezTo>
                    <a:pt x="452" y="459"/>
                    <a:pt x="452" y="459"/>
                    <a:pt x="452" y="459"/>
                  </a:cubicBezTo>
                  <a:cubicBezTo>
                    <a:pt x="20" y="459"/>
                    <a:pt x="20" y="459"/>
                    <a:pt x="20" y="459"/>
                  </a:cubicBezTo>
                  <a:cubicBezTo>
                    <a:pt x="20" y="18"/>
                    <a:pt x="20" y="18"/>
                    <a:pt x="20" y="18"/>
                  </a:cubicBezTo>
                  <a:cubicBezTo>
                    <a:pt x="17" y="18"/>
                    <a:pt x="17" y="18"/>
                    <a:pt x="17" y="18"/>
                  </a:cubicBezTo>
                  <a:cubicBezTo>
                    <a:pt x="19" y="20"/>
                    <a:pt x="19" y="20"/>
                    <a:pt x="19" y="20"/>
                  </a:cubicBezTo>
                  <a:cubicBezTo>
                    <a:pt x="20" y="19"/>
                    <a:pt x="20" y="18"/>
                    <a:pt x="20" y="18"/>
                  </a:cubicBezTo>
                  <a:cubicBezTo>
                    <a:pt x="17" y="18"/>
                    <a:pt x="17" y="18"/>
                    <a:pt x="17" y="18"/>
                  </a:cubicBezTo>
                  <a:cubicBezTo>
                    <a:pt x="19" y="20"/>
                    <a:pt x="19" y="20"/>
                    <a:pt x="19" y="20"/>
                  </a:cubicBezTo>
                  <a:cubicBezTo>
                    <a:pt x="17" y="18"/>
                    <a:pt x="17" y="18"/>
                    <a:pt x="17" y="18"/>
                  </a:cubicBezTo>
                  <a:cubicBezTo>
                    <a:pt x="17" y="20"/>
                    <a:pt x="17" y="20"/>
                    <a:pt x="17" y="20"/>
                  </a:cubicBezTo>
                  <a:cubicBezTo>
                    <a:pt x="18" y="20"/>
                    <a:pt x="19" y="20"/>
                    <a:pt x="19" y="20"/>
                  </a:cubicBezTo>
                  <a:cubicBezTo>
                    <a:pt x="17" y="18"/>
                    <a:pt x="17" y="18"/>
                    <a:pt x="17" y="18"/>
                  </a:cubicBezTo>
                  <a:cubicBezTo>
                    <a:pt x="17" y="20"/>
                    <a:pt x="17" y="20"/>
                    <a:pt x="17" y="20"/>
                  </a:cubicBezTo>
                  <a:cubicBezTo>
                    <a:pt x="445" y="20"/>
                    <a:pt x="445" y="20"/>
                    <a:pt x="445" y="20"/>
                  </a:cubicBezTo>
                  <a:cubicBezTo>
                    <a:pt x="445" y="18"/>
                    <a:pt x="445" y="18"/>
                    <a:pt x="445" y="18"/>
                  </a:cubicBezTo>
                  <a:cubicBezTo>
                    <a:pt x="443" y="20"/>
                    <a:pt x="443" y="20"/>
                    <a:pt x="443" y="20"/>
                  </a:cubicBezTo>
                  <a:cubicBezTo>
                    <a:pt x="443" y="20"/>
                    <a:pt x="444" y="20"/>
                    <a:pt x="445" y="20"/>
                  </a:cubicBezTo>
                  <a:cubicBezTo>
                    <a:pt x="445" y="18"/>
                    <a:pt x="445" y="18"/>
                    <a:pt x="445" y="18"/>
                  </a:cubicBezTo>
                  <a:cubicBezTo>
                    <a:pt x="443" y="20"/>
                    <a:pt x="443" y="20"/>
                    <a:pt x="443" y="20"/>
                  </a:cubicBezTo>
                  <a:cubicBezTo>
                    <a:pt x="445" y="18"/>
                    <a:pt x="445" y="18"/>
                    <a:pt x="445" y="18"/>
                  </a:cubicBezTo>
                  <a:cubicBezTo>
                    <a:pt x="442" y="18"/>
                    <a:pt x="442" y="18"/>
                    <a:pt x="442" y="18"/>
                  </a:cubicBezTo>
                  <a:cubicBezTo>
                    <a:pt x="442" y="18"/>
                    <a:pt x="443" y="19"/>
                    <a:pt x="443" y="20"/>
                  </a:cubicBezTo>
                  <a:cubicBezTo>
                    <a:pt x="445" y="18"/>
                    <a:pt x="445" y="18"/>
                    <a:pt x="445" y="18"/>
                  </a:cubicBezTo>
                  <a:cubicBezTo>
                    <a:pt x="442" y="18"/>
                    <a:pt x="442" y="18"/>
                    <a:pt x="442" y="18"/>
                  </a:cubicBezTo>
                  <a:cubicBezTo>
                    <a:pt x="442" y="469"/>
                    <a:pt x="442" y="469"/>
                    <a:pt x="442" y="469"/>
                  </a:cubicBezTo>
                  <a:cubicBezTo>
                    <a:pt x="452" y="469"/>
                    <a:pt x="452" y="469"/>
                    <a:pt x="452" y="469"/>
                  </a:cubicBezTo>
                  <a:cubicBezTo>
                    <a:pt x="452" y="459"/>
                    <a:pt x="452" y="459"/>
                    <a:pt x="452" y="459"/>
                  </a:cubicBezTo>
                  <a:cubicBezTo>
                    <a:pt x="452" y="469"/>
                    <a:pt x="452" y="469"/>
                    <a:pt x="452" y="469"/>
                  </a:cubicBezTo>
                  <a:cubicBezTo>
                    <a:pt x="462" y="469"/>
                    <a:pt x="462" y="469"/>
                    <a:pt x="462" y="469"/>
                  </a:cubicBezTo>
                  <a:cubicBezTo>
                    <a:pt x="462" y="18"/>
                    <a:pt x="462" y="18"/>
                    <a:pt x="462" y="18"/>
                  </a:cubicBezTo>
                  <a:cubicBezTo>
                    <a:pt x="462" y="13"/>
                    <a:pt x="461" y="8"/>
                    <a:pt x="457" y="5"/>
                  </a:cubicBezTo>
                  <a:cubicBezTo>
                    <a:pt x="454" y="2"/>
                    <a:pt x="450" y="0"/>
                    <a:pt x="445" y="0"/>
                  </a:cubicBezTo>
                  <a:cubicBezTo>
                    <a:pt x="17" y="0"/>
                    <a:pt x="17" y="0"/>
                    <a:pt x="17" y="0"/>
                  </a:cubicBezTo>
                  <a:cubicBezTo>
                    <a:pt x="12" y="0"/>
                    <a:pt x="8" y="2"/>
                    <a:pt x="5" y="5"/>
                  </a:cubicBezTo>
                  <a:cubicBezTo>
                    <a:pt x="2" y="8"/>
                    <a:pt x="0" y="13"/>
                    <a:pt x="0" y="18"/>
                  </a:cubicBezTo>
                  <a:cubicBezTo>
                    <a:pt x="0" y="480"/>
                    <a:pt x="0" y="480"/>
                    <a:pt x="0" y="480"/>
                  </a:cubicBezTo>
                  <a:cubicBezTo>
                    <a:pt x="462" y="480"/>
                    <a:pt x="462" y="480"/>
                    <a:pt x="462" y="480"/>
                  </a:cubicBezTo>
                  <a:cubicBezTo>
                    <a:pt x="462" y="469"/>
                    <a:pt x="462" y="469"/>
                    <a:pt x="462" y="469"/>
                  </a:cubicBezTo>
                  <a:lnTo>
                    <a:pt x="452" y="469"/>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1663" name="Freeform 1667">
              <a:extLst>
                <a:ext uri="{FF2B5EF4-FFF2-40B4-BE49-F238E27FC236}">
                  <a16:creationId xmlns:a16="http://schemas.microsoft.com/office/drawing/2014/main" id="{01B2921D-25C5-4633-AEB5-CEC9E5BDB310}"/>
                </a:ext>
              </a:extLst>
            </p:cNvPr>
            <p:cNvSpPr>
              <a:spLocks/>
            </p:cNvSpPr>
            <p:nvPr userDrawn="1"/>
          </p:nvSpPr>
          <p:spPr bwMode="auto">
            <a:xfrm>
              <a:off x="5911851" y="5364163"/>
              <a:ext cx="604838" cy="747713"/>
            </a:xfrm>
            <a:custGeom>
              <a:avLst/>
              <a:gdLst>
                <a:gd name="T0" fmla="*/ 2 w 381"/>
                <a:gd name="T1" fmla="*/ 0 h 471"/>
                <a:gd name="T2" fmla="*/ 0 w 381"/>
                <a:gd name="T3" fmla="*/ 0 h 471"/>
                <a:gd name="T4" fmla="*/ 0 w 381"/>
                <a:gd name="T5" fmla="*/ 471 h 471"/>
                <a:gd name="T6" fmla="*/ 381 w 381"/>
                <a:gd name="T7" fmla="*/ 238 h 471"/>
                <a:gd name="T8" fmla="*/ 2 w 381"/>
                <a:gd name="T9" fmla="*/ 0 h 471"/>
              </a:gdLst>
              <a:ahLst/>
              <a:cxnLst>
                <a:cxn ang="0">
                  <a:pos x="T0" y="T1"/>
                </a:cxn>
                <a:cxn ang="0">
                  <a:pos x="T2" y="T3"/>
                </a:cxn>
                <a:cxn ang="0">
                  <a:pos x="T4" y="T5"/>
                </a:cxn>
                <a:cxn ang="0">
                  <a:pos x="T6" y="T7"/>
                </a:cxn>
                <a:cxn ang="0">
                  <a:pos x="T8" y="T9"/>
                </a:cxn>
              </a:cxnLst>
              <a:rect l="0" t="0" r="r" b="b"/>
              <a:pathLst>
                <a:path w="381" h="471">
                  <a:moveTo>
                    <a:pt x="2" y="0"/>
                  </a:moveTo>
                  <a:lnTo>
                    <a:pt x="0" y="0"/>
                  </a:lnTo>
                  <a:lnTo>
                    <a:pt x="0" y="471"/>
                  </a:lnTo>
                  <a:lnTo>
                    <a:pt x="381" y="238"/>
                  </a:lnTo>
                  <a:lnTo>
                    <a:pt x="2" y="0"/>
                  </a:ln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1664" name="Freeform 1668">
              <a:extLst>
                <a:ext uri="{FF2B5EF4-FFF2-40B4-BE49-F238E27FC236}">
                  <a16:creationId xmlns:a16="http://schemas.microsoft.com/office/drawing/2014/main" id="{4EC686A8-7FBF-4171-990C-0E1DB2CB4E23}"/>
                </a:ext>
              </a:extLst>
            </p:cNvPr>
            <p:cNvSpPr>
              <a:spLocks/>
            </p:cNvSpPr>
            <p:nvPr userDrawn="1"/>
          </p:nvSpPr>
          <p:spPr bwMode="auto">
            <a:xfrm>
              <a:off x="6516688" y="5368925"/>
              <a:ext cx="608013" cy="750888"/>
            </a:xfrm>
            <a:custGeom>
              <a:avLst/>
              <a:gdLst>
                <a:gd name="T0" fmla="*/ 383 w 383"/>
                <a:gd name="T1" fmla="*/ 0 h 473"/>
                <a:gd name="T2" fmla="*/ 0 w 383"/>
                <a:gd name="T3" fmla="*/ 235 h 473"/>
                <a:gd name="T4" fmla="*/ 381 w 383"/>
                <a:gd name="T5" fmla="*/ 473 h 473"/>
                <a:gd name="T6" fmla="*/ 383 w 383"/>
                <a:gd name="T7" fmla="*/ 473 h 473"/>
                <a:gd name="T8" fmla="*/ 383 w 383"/>
                <a:gd name="T9" fmla="*/ 0 h 473"/>
              </a:gdLst>
              <a:ahLst/>
              <a:cxnLst>
                <a:cxn ang="0">
                  <a:pos x="T0" y="T1"/>
                </a:cxn>
                <a:cxn ang="0">
                  <a:pos x="T2" y="T3"/>
                </a:cxn>
                <a:cxn ang="0">
                  <a:pos x="T4" y="T5"/>
                </a:cxn>
                <a:cxn ang="0">
                  <a:pos x="T6" y="T7"/>
                </a:cxn>
                <a:cxn ang="0">
                  <a:pos x="T8" y="T9"/>
                </a:cxn>
              </a:cxnLst>
              <a:rect l="0" t="0" r="r" b="b"/>
              <a:pathLst>
                <a:path w="383" h="473">
                  <a:moveTo>
                    <a:pt x="383" y="0"/>
                  </a:moveTo>
                  <a:lnTo>
                    <a:pt x="0" y="235"/>
                  </a:lnTo>
                  <a:lnTo>
                    <a:pt x="381" y="473"/>
                  </a:lnTo>
                  <a:lnTo>
                    <a:pt x="383" y="473"/>
                  </a:lnTo>
                  <a:lnTo>
                    <a:pt x="383" y="0"/>
                  </a:ln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1665" name="Freeform 1669">
              <a:extLst>
                <a:ext uri="{FF2B5EF4-FFF2-40B4-BE49-F238E27FC236}">
                  <a16:creationId xmlns:a16="http://schemas.microsoft.com/office/drawing/2014/main" id="{1CEDC346-6128-43E9-BD5B-A366B13E5080}"/>
                </a:ext>
              </a:extLst>
            </p:cNvPr>
            <p:cNvSpPr>
              <a:spLocks/>
            </p:cNvSpPr>
            <p:nvPr userDrawn="1"/>
          </p:nvSpPr>
          <p:spPr bwMode="auto">
            <a:xfrm>
              <a:off x="5935664" y="5741988"/>
              <a:ext cx="1185862" cy="370387"/>
            </a:xfrm>
            <a:custGeom>
              <a:avLst/>
              <a:gdLst>
                <a:gd name="T0" fmla="*/ 0 w 762"/>
                <a:gd name="T1" fmla="*/ 233 h 238"/>
                <a:gd name="T2" fmla="*/ 0 w 762"/>
                <a:gd name="T3" fmla="*/ 238 h 238"/>
                <a:gd name="T4" fmla="*/ 762 w 762"/>
                <a:gd name="T5" fmla="*/ 238 h 238"/>
                <a:gd name="T6" fmla="*/ 381 w 762"/>
                <a:gd name="T7" fmla="*/ 0 h 238"/>
                <a:gd name="T8" fmla="*/ 166 w 762"/>
                <a:gd name="T9" fmla="*/ 132 h 238"/>
                <a:gd name="T10" fmla="*/ 0 w 762"/>
                <a:gd name="T11" fmla="*/ 233 h 238"/>
              </a:gdLst>
              <a:ahLst/>
              <a:cxnLst>
                <a:cxn ang="0">
                  <a:pos x="T0" y="T1"/>
                </a:cxn>
                <a:cxn ang="0">
                  <a:pos x="T2" y="T3"/>
                </a:cxn>
                <a:cxn ang="0">
                  <a:pos x="T4" y="T5"/>
                </a:cxn>
                <a:cxn ang="0">
                  <a:pos x="T6" y="T7"/>
                </a:cxn>
                <a:cxn ang="0">
                  <a:pos x="T8" y="T9"/>
                </a:cxn>
                <a:cxn ang="0">
                  <a:pos x="T10" y="T11"/>
                </a:cxn>
              </a:cxnLst>
              <a:rect l="0" t="0" r="r" b="b"/>
              <a:pathLst>
                <a:path w="762" h="238">
                  <a:moveTo>
                    <a:pt x="0" y="233"/>
                  </a:moveTo>
                  <a:lnTo>
                    <a:pt x="0" y="238"/>
                  </a:lnTo>
                  <a:lnTo>
                    <a:pt x="762" y="238"/>
                  </a:lnTo>
                  <a:lnTo>
                    <a:pt x="381" y="0"/>
                  </a:lnTo>
                  <a:lnTo>
                    <a:pt x="166" y="132"/>
                  </a:lnTo>
                  <a:lnTo>
                    <a:pt x="0" y="233"/>
                  </a:lnTo>
                  <a:close/>
                </a:path>
              </a:pathLst>
            </a:custGeom>
            <a:solidFill>
              <a:schemeClr val="accent2">
                <a:lumMod val="60000"/>
                <a:lumOff val="4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1666" name="Freeform 1670">
              <a:extLst>
                <a:ext uri="{FF2B5EF4-FFF2-40B4-BE49-F238E27FC236}">
                  <a16:creationId xmlns:a16="http://schemas.microsoft.com/office/drawing/2014/main" id="{5163CC29-80B3-47C5-A905-CD5F7E46842D}"/>
                </a:ext>
              </a:extLst>
            </p:cNvPr>
            <p:cNvSpPr>
              <a:spLocks/>
            </p:cNvSpPr>
            <p:nvPr userDrawn="1"/>
          </p:nvSpPr>
          <p:spPr bwMode="auto">
            <a:xfrm>
              <a:off x="5905501" y="5345113"/>
              <a:ext cx="1208088" cy="777875"/>
            </a:xfrm>
            <a:custGeom>
              <a:avLst/>
              <a:gdLst>
                <a:gd name="T0" fmla="*/ 0 w 761"/>
                <a:gd name="T1" fmla="*/ 22 h 490"/>
                <a:gd name="T2" fmla="*/ 747 w 761"/>
                <a:gd name="T3" fmla="*/ 490 h 490"/>
                <a:gd name="T4" fmla="*/ 761 w 761"/>
                <a:gd name="T5" fmla="*/ 469 h 490"/>
                <a:gd name="T6" fmla="*/ 12 w 761"/>
                <a:gd name="T7" fmla="*/ 0 h 490"/>
                <a:gd name="T8" fmla="*/ 0 w 761"/>
                <a:gd name="T9" fmla="*/ 22 h 490"/>
              </a:gdLst>
              <a:ahLst/>
              <a:cxnLst>
                <a:cxn ang="0">
                  <a:pos x="T0" y="T1"/>
                </a:cxn>
                <a:cxn ang="0">
                  <a:pos x="T2" y="T3"/>
                </a:cxn>
                <a:cxn ang="0">
                  <a:pos x="T4" y="T5"/>
                </a:cxn>
                <a:cxn ang="0">
                  <a:pos x="T6" y="T7"/>
                </a:cxn>
                <a:cxn ang="0">
                  <a:pos x="T8" y="T9"/>
                </a:cxn>
              </a:cxnLst>
              <a:rect l="0" t="0" r="r" b="b"/>
              <a:pathLst>
                <a:path w="761" h="490">
                  <a:moveTo>
                    <a:pt x="0" y="22"/>
                  </a:moveTo>
                  <a:lnTo>
                    <a:pt x="747" y="490"/>
                  </a:lnTo>
                  <a:lnTo>
                    <a:pt x="761" y="469"/>
                  </a:lnTo>
                  <a:lnTo>
                    <a:pt x="12" y="0"/>
                  </a:lnTo>
                  <a:lnTo>
                    <a:pt x="0" y="22"/>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1667" name="Freeform 1671">
              <a:extLst>
                <a:ext uri="{FF2B5EF4-FFF2-40B4-BE49-F238E27FC236}">
                  <a16:creationId xmlns:a16="http://schemas.microsoft.com/office/drawing/2014/main" id="{9C5A1242-53FE-48A5-ADF4-D88E234ED1A3}"/>
                </a:ext>
              </a:extLst>
            </p:cNvPr>
            <p:cNvSpPr>
              <a:spLocks/>
            </p:cNvSpPr>
            <p:nvPr userDrawn="1"/>
          </p:nvSpPr>
          <p:spPr bwMode="auto">
            <a:xfrm>
              <a:off x="5905501" y="5345113"/>
              <a:ext cx="1208088" cy="777875"/>
            </a:xfrm>
            <a:custGeom>
              <a:avLst/>
              <a:gdLst>
                <a:gd name="T0" fmla="*/ 0 w 761"/>
                <a:gd name="T1" fmla="*/ 22 h 490"/>
                <a:gd name="T2" fmla="*/ 747 w 761"/>
                <a:gd name="T3" fmla="*/ 490 h 490"/>
                <a:gd name="T4" fmla="*/ 761 w 761"/>
                <a:gd name="T5" fmla="*/ 469 h 490"/>
                <a:gd name="T6" fmla="*/ 12 w 761"/>
                <a:gd name="T7" fmla="*/ 0 h 490"/>
              </a:gdLst>
              <a:ahLst/>
              <a:cxnLst>
                <a:cxn ang="0">
                  <a:pos x="T0" y="T1"/>
                </a:cxn>
                <a:cxn ang="0">
                  <a:pos x="T2" y="T3"/>
                </a:cxn>
                <a:cxn ang="0">
                  <a:pos x="T4" y="T5"/>
                </a:cxn>
                <a:cxn ang="0">
                  <a:pos x="T6" y="T7"/>
                </a:cxn>
              </a:cxnLst>
              <a:rect l="0" t="0" r="r" b="b"/>
              <a:pathLst>
                <a:path w="761" h="490">
                  <a:moveTo>
                    <a:pt x="0" y="22"/>
                  </a:moveTo>
                  <a:lnTo>
                    <a:pt x="747" y="490"/>
                  </a:lnTo>
                  <a:lnTo>
                    <a:pt x="761" y="469"/>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668" name="Freeform 1672">
              <a:extLst>
                <a:ext uri="{FF2B5EF4-FFF2-40B4-BE49-F238E27FC236}">
                  <a16:creationId xmlns:a16="http://schemas.microsoft.com/office/drawing/2014/main" id="{3702011A-8C14-4DC0-92EA-9D8EE3788C17}"/>
                </a:ext>
              </a:extLst>
            </p:cNvPr>
            <p:cNvSpPr>
              <a:spLocks/>
            </p:cNvSpPr>
            <p:nvPr userDrawn="1"/>
          </p:nvSpPr>
          <p:spPr bwMode="auto">
            <a:xfrm>
              <a:off x="5921376" y="5353050"/>
              <a:ext cx="1211263" cy="768350"/>
            </a:xfrm>
            <a:custGeom>
              <a:avLst/>
              <a:gdLst>
                <a:gd name="T0" fmla="*/ 14 w 763"/>
                <a:gd name="T1" fmla="*/ 484 h 484"/>
                <a:gd name="T2" fmla="*/ 763 w 763"/>
                <a:gd name="T3" fmla="*/ 22 h 484"/>
                <a:gd name="T4" fmla="*/ 750 w 763"/>
                <a:gd name="T5" fmla="*/ 0 h 484"/>
                <a:gd name="T6" fmla="*/ 0 w 763"/>
                <a:gd name="T7" fmla="*/ 463 h 484"/>
                <a:gd name="T8" fmla="*/ 14 w 763"/>
                <a:gd name="T9" fmla="*/ 484 h 484"/>
              </a:gdLst>
              <a:ahLst/>
              <a:cxnLst>
                <a:cxn ang="0">
                  <a:pos x="T0" y="T1"/>
                </a:cxn>
                <a:cxn ang="0">
                  <a:pos x="T2" y="T3"/>
                </a:cxn>
                <a:cxn ang="0">
                  <a:pos x="T4" y="T5"/>
                </a:cxn>
                <a:cxn ang="0">
                  <a:pos x="T6" y="T7"/>
                </a:cxn>
                <a:cxn ang="0">
                  <a:pos x="T8" y="T9"/>
                </a:cxn>
              </a:cxnLst>
              <a:rect l="0" t="0" r="r" b="b"/>
              <a:pathLst>
                <a:path w="763" h="484">
                  <a:moveTo>
                    <a:pt x="14" y="484"/>
                  </a:moveTo>
                  <a:lnTo>
                    <a:pt x="763" y="22"/>
                  </a:lnTo>
                  <a:lnTo>
                    <a:pt x="750" y="0"/>
                  </a:lnTo>
                  <a:lnTo>
                    <a:pt x="0" y="463"/>
                  </a:lnTo>
                  <a:lnTo>
                    <a:pt x="14" y="484"/>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1669" name="Freeform 1673">
              <a:extLst>
                <a:ext uri="{FF2B5EF4-FFF2-40B4-BE49-F238E27FC236}">
                  <a16:creationId xmlns:a16="http://schemas.microsoft.com/office/drawing/2014/main" id="{FECBF5E7-627F-4187-B31C-756F47C0D7A6}"/>
                </a:ext>
              </a:extLst>
            </p:cNvPr>
            <p:cNvSpPr>
              <a:spLocks/>
            </p:cNvSpPr>
            <p:nvPr userDrawn="1"/>
          </p:nvSpPr>
          <p:spPr bwMode="auto">
            <a:xfrm>
              <a:off x="5921376" y="5353050"/>
              <a:ext cx="1211263" cy="768350"/>
            </a:xfrm>
            <a:custGeom>
              <a:avLst/>
              <a:gdLst>
                <a:gd name="T0" fmla="*/ 14 w 763"/>
                <a:gd name="T1" fmla="*/ 484 h 484"/>
                <a:gd name="T2" fmla="*/ 763 w 763"/>
                <a:gd name="T3" fmla="*/ 22 h 484"/>
                <a:gd name="T4" fmla="*/ 750 w 763"/>
                <a:gd name="T5" fmla="*/ 0 h 484"/>
                <a:gd name="T6" fmla="*/ 0 w 763"/>
                <a:gd name="T7" fmla="*/ 463 h 484"/>
              </a:gdLst>
              <a:ahLst/>
              <a:cxnLst>
                <a:cxn ang="0">
                  <a:pos x="T0" y="T1"/>
                </a:cxn>
                <a:cxn ang="0">
                  <a:pos x="T2" y="T3"/>
                </a:cxn>
                <a:cxn ang="0">
                  <a:pos x="T4" y="T5"/>
                </a:cxn>
                <a:cxn ang="0">
                  <a:pos x="T6" y="T7"/>
                </a:cxn>
              </a:cxnLst>
              <a:rect l="0" t="0" r="r" b="b"/>
              <a:pathLst>
                <a:path w="763" h="484">
                  <a:moveTo>
                    <a:pt x="14" y="484"/>
                  </a:moveTo>
                  <a:lnTo>
                    <a:pt x="763" y="22"/>
                  </a:lnTo>
                  <a:lnTo>
                    <a:pt x="750" y="0"/>
                  </a:lnTo>
                  <a:lnTo>
                    <a:pt x="0" y="46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670" name="Freeform 1674">
              <a:extLst>
                <a:ext uri="{FF2B5EF4-FFF2-40B4-BE49-F238E27FC236}">
                  <a16:creationId xmlns:a16="http://schemas.microsoft.com/office/drawing/2014/main" id="{C7D7D450-574B-4001-87E2-F2C1991F5648}"/>
                </a:ext>
              </a:extLst>
            </p:cNvPr>
            <p:cNvSpPr>
              <a:spLocks/>
            </p:cNvSpPr>
            <p:nvPr userDrawn="1"/>
          </p:nvSpPr>
          <p:spPr bwMode="auto">
            <a:xfrm>
              <a:off x="6988176" y="5256213"/>
              <a:ext cx="155575" cy="882650"/>
            </a:xfrm>
            <a:custGeom>
              <a:avLst/>
              <a:gdLst>
                <a:gd name="T0" fmla="*/ 3 w 78"/>
                <a:gd name="T1" fmla="*/ 446 h 446"/>
                <a:gd name="T2" fmla="*/ 40 w 78"/>
                <a:gd name="T3" fmla="*/ 446 h 446"/>
                <a:gd name="T4" fmla="*/ 40 w 78"/>
                <a:gd name="T5" fmla="*/ 446 h 446"/>
                <a:gd name="T6" fmla="*/ 40 w 78"/>
                <a:gd name="T7" fmla="*/ 446 h 446"/>
                <a:gd name="T8" fmla="*/ 40 w 78"/>
                <a:gd name="T9" fmla="*/ 439 h 446"/>
                <a:gd name="T10" fmla="*/ 40 w 78"/>
                <a:gd name="T11" fmla="*/ 446 h 446"/>
                <a:gd name="T12" fmla="*/ 40 w 78"/>
                <a:gd name="T13" fmla="*/ 446 h 446"/>
                <a:gd name="T14" fmla="*/ 40 w 78"/>
                <a:gd name="T15" fmla="*/ 439 h 446"/>
                <a:gd name="T16" fmla="*/ 40 w 78"/>
                <a:gd name="T17" fmla="*/ 446 h 446"/>
                <a:gd name="T18" fmla="*/ 66 w 78"/>
                <a:gd name="T19" fmla="*/ 434 h 446"/>
                <a:gd name="T20" fmla="*/ 77 w 78"/>
                <a:gd name="T21" fmla="*/ 407 h 446"/>
                <a:gd name="T22" fmla="*/ 78 w 78"/>
                <a:gd name="T23" fmla="*/ 71 h 446"/>
                <a:gd name="T24" fmla="*/ 78 w 78"/>
                <a:gd name="T25" fmla="*/ 71 h 446"/>
                <a:gd name="T26" fmla="*/ 78 w 78"/>
                <a:gd name="T27" fmla="*/ 70 h 446"/>
                <a:gd name="T28" fmla="*/ 71 w 78"/>
                <a:gd name="T29" fmla="*/ 71 h 446"/>
                <a:gd name="T30" fmla="*/ 78 w 78"/>
                <a:gd name="T31" fmla="*/ 71 h 446"/>
                <a:gd name="T32" fmla="*/ 78 w 78"/>
                <a:gd name="T33" fmla="*/ 70 h 446"/>
                <a:gd name="T34" fmla="*/ 71 w 78"/>
                <a:gd name="T35" fmla="*/ 71 h 446"/>
                <a:gd name="T36" fmla="*/ 78 w 78"/>
                <a:gd name="T37" fmla="*/ 71 h 446"/>
                <a:gd name="T38" fmla="*/ 60 w 78"/>
                <a:gd name="T39" fmla="*/ 37 h 446"/>
                <a:gd name="T40" fmla="*/ 55 w 78"/>
                <a:gd name="T41" fmla="*/ 45 h 446"/>
                <a:gd name="T42" fmla="*/ 61 w 78"/>
                <a:gd name="T43" fmla="*/ 37 h 446"/>
                <a:gd name="T44" fmla="*/ 13 w 78"/>
                <a:gd name="T45" fmla="*/ 0 h 446"/>
                <a:gd name="T46" fmla="*/ 0 w 78"/>
                <a:gd name="T47" fmla="*/ 16 h 446"/>
                <a:gd name="T48" fmla="*/ 49 w 78"/>
                <a:gd name="T49" fmla="*/ 54 h 446"/>
                <a:gd name="T50" fmla="*/ 49 w 78"/>
                <a:gd name="T51" fmla="*/ 54 h 446"/>
                <a:gd name="T52" fmla="*/ 58 w 78"/>
                <a:gd name="T53" fmla="*/ 71 h 446"/>
                <a:gd name="T54" fmla="*/ 58 w 78"/>
                <a:gd name="T55" fmla="*/ 71 h 446"/>
                <a:gd name="T56" fmla="*/ 65 w 78"/>
                <a:gd name="T57" fmla="*/ 71 h 446"/>
                <a:gd name="T58" fmla="*/ 58 w 78"/>
                <a:gd name="T59" fmla="*/ 71 h 446"/>
                <a:gd name="T60" fmla="*/ 58 w 78"/>
                <a:gd name="T61" fmla="*/ 71 h 446"/>
                <a:gd name="T62" fmla="*/ 65 w 78"/>
                <a:gd name="T63" fmla="*/ 71 h 446"/>
                <a:gd name="T64" fmla="*/ 58 w 78"/>
                <a:gd name="T65" fmla="*/ 71 h 446"/>
                <a:gd name="T66" fmla="*/ 58 w 78"/>
                <a:gd name="T67" fmla="*/ 71 h 446"/>
                <a:gd name="T68" fmla="*/ 57 w 78"/>
                <a:gd name="T69" fmla="*/ 407 h 446"/>
                <a:gd name="T70" fmla="*/ 52 w 78"/>
                <a:gd name="T71" fmla="*/ 420 h 446"/>
                <a:gd name="T72" fmla="*/ 40 w 78"/>
                <a:gd name="T73" fmla="*/ 426 h 446"/>
                <a:gd name="T74" fmla="*/ 40 w 78"/>
                <a:gd name="T75" fmla="*/ 426 h 446"/>
                <a:gd name="T76" fmla="*/ 40 w 78"/>
                <a:gd name="T77" fmla="*/ 432 h 446"/>
                <a:gd name="T78" fmla="*/ 40 w 78"/>
                <a:gd name="T79" fmla="*/ 426 h 446"/>
                <a:gd name="T80" fmla="*/ 40 w 78"/>
                <a:gd name="T81" fmla="*/ 426 h 446"/>
                <a:gd name="T82" fmla="*/ 40 w 78"/>
                <a:gd name="T83" fmla="*/ 432 h 446"/>
                <a:gd name="T84" fmla="*/ 40 w 78"/>
                <a:gd name="T85" fmla="*/ 426 h 446"/>
                <a:gd name="T86" fmla="*/ 3 w 78"/>
                <a:gd name="T87" fmla="*/ 425 h 446"/>
                <a:gd name="T88" fmla="*/ 3 w 78"/>
                <a:gd name="T89" fmla="*/ 446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78" h="446">
                  <a:moveTo>
                    <a:pt x="3" y="446"/>
                  </a:moveTo>
                  <a:cubicBezTo>
                    <a:pt x="40" y="446"/>
                    <a:pt x="40" y="446"/>
                    <a:pt x="40" y="446"/>
                  </a:cubicBezTo>
                  <a:cubicBezTo>
                    <a:pt x="40" y="446"/>
                    <a:pt x="40" y="446"/>
                    <a:pt x="40" y="446"/>
                  </a:cubicBezTo>
                  <a:cubicBezTo>
                    <a:pt x="40" y="446"/>
                    <a:pt x="40" y="446"/>
                    <a:pt x="40" y="446"/>
                  </a:cubicBezTo>
                  <a:cubicBezTo>
                    <a:pt x="40" y="439"/>
                    <a:pt x="40" y="439"/>
                    <a:pt x="40" y="439"/>
                  </a:cubicBezTo>
                  <a:cubicBezTo>
                    <a:pt x="40" y="446"/>
                    <a:pt x="40" y="446"/>
                    <a:pt x="40" y="446"/>
                  </a:cubicBezTo>
                  <a:cubicBezTo>
                    <a:pt x="40" y="446"/>
                    <a:pt x="40" y="446"/>
                    <a:pt x="40" y="446"/>
                  </a:cubicBezTo>
                  <a:cubicBezTo>
                    <a:pt x="40" y="439"/>
                    <a:pt x="40" y="439"/>
                    <a:pt x="40" y="439"/>
                  </a:cubicBezTo>
                  <a:cubicBezTo>
                    <a:pt x="40" y="446"/>
                    <a:pt x="40" y="446"/>
                    <a:pt x="40" y="446"/>
                  </a:cubicBezTo>
                  <a:cubicBezTo>
                    <a:pt x="50" y="446"/>
                    <a:pt x="60" y="441"/>
                    <a:pt x="66" y="434"/>
                  </a:cubicBezTo>
                  <a:cubicBezTo>
                    <a:pt x="73" y="427"/>
                    <a:pt x="77" y="417"/>
                    <a:pt x="77" y="407"/>
                  </a:cubicBezTo>
                  <a:cubicBezTo>
                    <a:pt x="78" y="71"/>
                    <a:pt x="78" y="71"/>
                    <a:pt x="78" y="71"/>
                  </a:cubicBezTo>
                  <a:cubicBezTo>
                    <a:pt x="78" y="71"/>
                    <a:pt x="78" y="71"/>
                    <a:pt x="78" y="71"/>
                  </a:cubicBezTo>
                  <a:cubicBezTo>
                    <a:pt x="78" y="70"/>
                    <a:pt x="78" y="70"/>
                    <a:pt x="78" y="70"/>
                  </a:cubicBezTo>
                  <a:cubicBezTo>
                    <a:pt x="71" y="71"/>
                    <a:pt x="71" y="71"/>
                    <a:pt x="71" y="71"/>
                  </a:cubicBezTo>
                  <a:cubicBezTo>
                    <a:pt x="78" y="71"/>
                    <a:pt x="78" y="71"/>
                    <a:pt x="78" y="71"/>
                  </a:cubicBezTo>
                  <a:cubicBezTo>
                    <a:pt x="78" y="70"/>
                    <a:pt x="78" y="70"/>
                    <a:pt x="78" y="70"/>
                  </a:cubicBezTo>
                  <a:cubicBezTo>
                    <a:pt x="71" y="71"/>
                    <a:pt x="71" y="71"/>
                    <a:pt x="71" y="71"/>
                  </a:cubicBezTo>
                  <a:cubicBezTo>
                    <a:pt x="78" y="71"/>
                    <a:pt x="78" y="71"/>
                    <a:pt x="78" y="71"/>
                  </a:cubicBezTo>
                  <a:cubicBezTo>
                    <a:pt x="78" y="57"/>
                    <a:pt x="71" y="44"/>
                    <a:pt x="60" y="37"/>
                  </a:cubicBezTo>
                  <a:cubicBezTo>
                    <a:pt x="55" y="45"/>
                    <a:pt x="55" y="45"/>
                    <a:pt x="55" y="45"/>
                  </a:cubicBezTo>
                  <a:cubicBezTo>
                    <a:pt x="61" y="37"/>
                    <a:pt x="61" y="37"/>
                    <a:pt x="61" y="37"/>
                  </a:cubicBezTo>
                  <a:cubicBezTo>
                    <a:pt x="13" y="0"/>
                    <a:pt x="13" y="0"/>
                    <a:pt x="13" y="0"/>
                  </a:cubicBezTo>
                  <a:cubicBezTo>
                    <a:pt x="0" y="16"/>
                    <a:pt x="0" y="16"/>
                    <a:pt x="0" y="16"/>
                  </a:cubicBezTo>
                  <a:cubicBezTo>
                    <a:pt x="49" y="54"/>
                    <a:pt x="49" y="54"/>
                    <a:pt x="49" y="54"/>
                  </a:cubicBezTo>
                  <a:cubicBezTo>
                    <a:pt x="49" y="54"/>
                    <a:pt x="49" y="54"/>
                    <a:pt x="49" y="54"/>
                  </a:cubicBezTo>
                  <a:cubicBezTo>
                    <a:pt x="54" y="57"/>
                    <a:pt x="58" y="64"/>
                    <a:pt x="58" y="71"/>
                  </a:cubicBezTo>
                  <a:cubicBezTo>
                    <a:pt x="58" y="71"/>
                    <a:pt x="58" y="71"/>
                    <a:pt x="58" y="71"/>
                  </a:cubicBezTo>
                  <a:cubicBezTo>
                    <a:pt x="65" y="71"/>
                    <a:pt x="65" y="71"/>
                    <a:pt x="65" y="71"/>
                  </a:cubicBezTo>
                  <a:cubicBezTo>
                    <a:pt x="58" y="71"/>
                    <a:pt x="58" y="71"/>
                    <a:pt x="58" y="71"/>
                  </a:cubicBezTo>
                  <a:cubicBezTo>
                    <a:pt x="58" y="71"/>
                    <a:pt x="58" y="71"/>
                    <a:pt x="58" y="71"/>
                  </a:cubicBezTo>
                  <a:cubicBezTo>
                    <a:pt x="65" y="71"/>
                    <a:pt x="65" y="71"/>
                    <a:pt x="65" y="71"/>
                  </a:cubicBezTo>
                  <a:cubicBezTo>
                    <a:pt x="58" y="71"/>
                    <a:pt x="58" y="71"/>
                    <a:pt x="58" y="71"/>
                  </a:cubicBezTo>
                  <a:cubicBezTo>
                    <a:pt x="58" y="71"/>
                    <a:pt x="58" y="71"/>
                    <a:pt x="58" y="71"/>
                  </a:cubicBezTo>
                  <a:cubicBezTo>
                    <a:pt x="57" y="407"/>
                    <a:pt x="57" y="407"/>
                    <a:pt x="57" y="407"/>
                  </a:cubicBezTo>
                  <a:cubicBezTo>
                    <a:pt x="57" y="412"/>
                    <a:pt x="55" y="417"/>
                    <a:pt x="52" y="420"/>
                  </a:cubicBezTo>
                  <a:cubicBezTo>
                    <a:pt x="49" y="424"/>
                    <a:pt x="44" y="426"/>
                    <a:pt x="40" y="426"/>
                  </a:cubicBezTo>
                  <a:cubicBezTo>
                    <a:pt x="40" y="426"/>
                    <a:pt x="40" y="426"/>
                    <a:pt x="40" y="426"/>
                  </a:cubicBezTo>
                  <a:cubicBezTo>
                    <a:pt x="40" y="432"/>
                    <a:pt x="40" y="432"/>
                    <a:pt x="40" y="432"/>
                  </a:cubicBezTo>
                  <a:cubicBezTo>
                    <a:pt x="40" y="426"/>
                    <a:pt x="40" y="426"/>
                    <a:pt x="40" y="426"/>
                  </a:cubicBezTo>
                  <a:cubicBezTo>
                    <a:pt x="40" y="426"/>
                    <a:pt x="40" y="426"/>
                    <a:pt x="40" y="426"/>
                  </a:cubicBezTo>
                  <a:cubicBezTo>
                    <a:pt x="40" y="432"/>
                    <a:pt x="40" y="432"/>
                    <a:pt x="40" y="432"/>
                  </a:cubicBezTo>
                  <a:cubicBezTo>
                    <a:pt x="40" y="426"/>
                    <a:pt x="40" y="426"/>
                    <a:pt x="40" y="426"/>
                  </a:cubicBezTo>
                  <a:cubicBezTo>
                    <a:pt x="3" y="425"/>
                    <a:pt x="3" y="425"/>
                    <a:pt x="3" y="425"/>
                  </a:cubicBezTo>
                  <a:cubicBezTo>
                    <a:pt x="3" y="446"/>
                    <a:pt x="3" y="446"/>
                    <a:pt x="3" y="446"/>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dirty="0"/>
            </a:p>
          </p:txBody>
        </p:sp>
        <p:sp>
          <p:nvSpPr>
            <p:cNvPr id="11671" name="Freeform 1675">
              <a:extLst>
                <a:ext uri="{FF2B5EF4-FFF2-40B4-BE49-F238E27FC236}">
                  <a16:creationId xmlns:a16="http://schemas.microsoft.com/office/drawing/2014/main" id="{A6013422-731C-41D2-A1FD-6533216C80D3}"/>
                </a:ext>
              </a:extLst>
            </p:cNvPr>
            <p:cNvSpPr>
              <a:spLocks/>
            </p:cNvSpPr>
            <p:nvPr userDrawn="1"/>
          </p:nvSpPr>
          <p:spPr bwMode="auto">
            <a:xfrm>
              <a:off x="5891213" y="5254625"/>
              <a:ext cx="825500" cy="877888"/>
            </a:xfrm>
            <a:custGeom>
              <a:avLst/>
              <a:gdLst>
                <a:gd name="T0" fmla="*/ 72 w 417"/>
                <a:gd name="T1" fmla="*/ 0 h 444"/>
                <a:gd name="T2" fmla="*/ 18 w 417"/>
                <a:gd name="T3" fmla="*/ 38 h 444"/>
                <a:gd name="T4" fmla="*/ 24 w 417"/>
                <a:gd name="T5" fmla="*/ 47 h 444"/>
                <a:gd name="T6" fmla="*/ 19 w 417"/>
                <a:gd name="T7" fmla="*/ 38 h 444"/>
                <a:gd name="T8" fmla="*/ 1 w 417"/>
                <a:gd name="T9" fmla="*/ 71 h 444"/>
                <a:gd name="T10" fmla="*/ 0 w 417"/>
                <a:gd name="T11" fmla="*/ 405 h 444"/>
                <a:gd name="T12" fmla="*/ 10 w 417"/>
                <a:gd name="T13" fmla="*/ 405 h 444"/>
                <a:gd name="T14" fmla="*/ 0 w 417"/>
                <a:gd name="T15" fmla="*/ 404 h 444"/>
                <a:gd name="T16" fmla="*/ 0 w 417"/>
                <a:gd name="T17" fmla="*/ 405 h 444"/>
                <a:gd name="T18" fmla="*/ 10 w 417"/>
                <a:gd name="T19" fmla="*/ 432 h 444"/>
                <a:gd name="T20" fmla="*/ 37 w 417"/>
                <a:gd name="T21" fmla="*/ 444 h 444"/>
                <a:gd name="T22" fmla="*/ 417 w 417"/>
                <a:gd name="T23" fmla="*/ 444 h 444"/>
                <a:gd name="T24" fmla="*/ 417 w 417"/>
                <a:gd name="T25" fmla="*/ 424 h 444"/>
                <a:gd name="T26" fmla="*/ 37 w 417"/>
                <a:gd name="T27" fmla="*/ 423 h 444"/>
                <a:gd name="T28" fmla="*/ 37 w 417"/>
                <a:gd name="T29" fmla="*/ 423 h 444"/>
                <a:gd name="T30" fmla="*/ 25 w 417"/>
                <a:gd name="T31" fmla="*/ 418 h 444"/>
                <a:gd name="T32" fmla="*/ 20 w 417"/>
                <a:gd name="T33" fmla="*/ 405 h 444"/>
                <a:gd name="T34" fmla="*/ 12 w 417"/>
                <a:gd name="T35" fmla="*/ 405 h 444"/>
                <a:gd name="T36" fmla="*/ 20 w 417"/>
                <a:gd name="T37" fmla="*/ 405 h 444"/>
                <a:gd name="T38" fmla="*/ 20 w 417"/>
                <a:gd name="T39" fmla="*/ 405 h 444"/>
                <a:gd name="T40" fmla="*/ 12 w 417"/>
                <a:gd name="T41" fmla="*/ 405 h 444"/>
                <a:gd name="T42" fmla="*/ 20 w 417"/>
                <a:gd name="T43" fmla="*/ 405 h 444"/>
                <a:gd name="T44" fmla="*/ 15 w 417"/>
                <a:gd name="T45" fmla="*/ 405 h 444"/>
                <a:gd name="T46" fmla="*/ 20 w 417"/>
                <a:gd name="T47" fmla="*/ 405 h 444"/>
                <a:gd name="T48" fmla="*/ 20 w 417"/>
                <a:gd name="T49" fmla="*/ 405 h 444"/>
                <a:gd name="T50" fmla="*/ 15 w 417"/>
                <a:gd name="T51" fmla="*/ 405 h 444"/>
                <a:gd name="T52" fmla="*/ 20 w 417"/>
                <a:gd name="T53" fmla="*/ 405 h 444"/>
                <a:gd name="T54" fmla="*/ 20 w 417"/>
                <a:gd name="T55" fmla="*/ 405 h 444"/>
                <a:gd name="T56" fmla="*/ 21 w 417"/>
                <a:gd name="T57" fmla="*/ 71 h 444"/>
                <a:gd name="T58" fmla="*/ 29 w 417"/>
                <a:gd name="T59" fmla="*/ 55 h 444"/>
                <a:gd name="T60" fmla="*/ 30 w 417"/>
                <a:gd name="T61" fmla="*/ 55 h 444"/>
                <a:gd name="T62" fmla="*/ 84 w 417"/>
                <a:gd name="T63" fmla="*/ 17 h 444"/>
                <a:gd name="T64" fmla="*/ 72 w 417"/>
                <a:gd name="T65" fmla="*/ 0 h 4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17" h="444">
                  <a:moveTo>
                    <a:pt x="72" y="0"/>
                  </a:moveTo>
                  <a:cubicBezTo>
                    <a:pt x="18" y="38"/>
                    <a:pt x="18" y="38"/>
                    <a:pt x="18" y="38"/>
                  </a:cubicBezTo>
                  <a:cubicBezTo>
                    <a:pt x="24" y="47"/>
                    <a:pt x="24" y="47"/>
                    <a:pt x="24" y="47"/>
                  </a:cubicBezTo>
                  <a:cubicBezTo>
                    <a:pt x="19" y="38"/>
                    <a:pt x="19" y="38"/>
                    <a:pt x="19" y="38"/>
                  </a:cubicBezTo>
                  <a:cubicBezTo>
                    <a:pt x="7" y="45"/>
                    <a:pt x="1" y="58"/>
                    <a:pt x="1" y="71"/>
                  </a:cubicBezTo>
                  <a:cubicBezTo>
                    <a:pt x="0" y="405"/>
                    <a:pt x="0" y="405"/>
                    <a:pt x="0" y="405"/>
                  </a:cubicBezTo>
                  <a:cubicBezTo>
                    <a:pt x="10" y="405"/>
                    <a:pt x="10" y="405"/>
                    <a:pt x="10" y="405"/>
                  </a:cubicBezTo>
                  <a:cubicBezTo>
                    <a:pt x="0" y="404"/>
                    <a:pt x="0" y="404"/>
                    <a:pt x="0" y="404"/>
                  </a:cubicBezTo>
                  <a:cubicBezTo>
                    <a:pt x="0" y="405"/>
                    <a:pt x="0" y="405"/>
                    <a:pt x="0" y="405"/>
                  </a:cubicBezTo>
                  <a:cubicBezTo>
                    <a:pt x="0" y="415"/>
                    <a:pt x="4" y="425"/>
                    <a:pt x="10" y="432"/>
                  </a:cubicBezTo>
                  <a:cubicBezTo>
                    <a:pt x="17" y="439"/>
                    <a:pt x="26" y="444"/>
                    <a:pt x="37" y="444"/>
                  </a:cubicBezTo>
                  <a:cubicBezTo>
                    <a:pt x="417" y="444"/>
                    <a:pt x="417" y="444"/>
                    <a:pt x="417" y="444"/>
                  </a:cubicBezTo>
                  <a:cubicBezTo>
                    <a:pt x="417" y="424"/>
                    <a:pt x="417" y="424"/>
                    <a:pt x="417" y="424"/>
                  </a:cubicBezTo>
                  <a:cubicBezTo>
                    <a:pt x="37" y="423"/>
                    <a:pt x="37" y="423"/>
                    <a:pt x="37" y="423"/>
                  </a:cubicBezTo>
                  <a:cubicBezTo>
                    <a:pt x="37" y="423"/>
                    <a:pt x="37" y="423"/>
                    <a:pt x="37" y="423"/>
                  </a:cubicBezTo>
                  <a:cubicBezTo>
                    <a:pt x="32" y="423"/>
                    <a:pt x="28" y="422"/>
                    <a:pt x="25" y="418"/>
                  </a:cubicBezTo>
                  <a:cubicBezTo>
                    <a:pt x="22" y="415"/>
                    <a:pt x="20" y="410"/>
                    <a:pt x="20" y="405"/>
                  </a:cubicBezTo>
                  <a:cubicBezTo>
                    <a:pt x="12" y="405"/>
                    <a:pt x="12" y="405"/>
                    <a:pt x="12" y="405"/>
                  </a:cubicBezTo>
                  <a:cubicBezTo>
                    <a:pt x="20" y="405"/>
                    <a:pt x="20" y="405"/>
                    <a:pt x="20" y="405"/>
                  </a:cubicBezTo>
                  <a:cubicBezTo>
                    <a:pt x="20" y="405"/>
                    <a:pt x="20" y="405"/>
                    <a:pt x="20" y="405"/>
                  </a:cubicBezTo>
                  <a:cubicBezTo>
                    <a:pt x="12" y="405"/>
                    <a:pt x="12" y="405"/>
                    <a:pt x="12" y="405"/>
                  </a:cubicBezTo>
                  <a:cubicBezTo>
                    <a:pt x="20" y="405"/>
                    <a:pt x="20" y="405"/>
                    <a:pt x="20" y="405"/>
                  </a:cubicBezTo>
                  <a:cubicBezTo>
                    <a:pt x="15" y="405"/>
                    <a:pt x="15" y="405"/>
                    <a:pt x="15" y="405"/>
                  </a:cubicBezTo>
                  <a:cubicBezTo>
                    <a:pt x="20" y="405"/>
                    <a:pt x="20" y="405"/>
                    <a:pt x="20" y="405"/>
                  </a:cubicBezTo>
                  <a:cubicBezTo>
                    <a:pt x="20" y="405"/>
                    <a:pt x="20" y="405"/>
                    <a:pt x="20" y="405"/>
                  </a:cubicBezTo>
                  <a:cubicBezTo>
                    <a:pt x="15" y="405"/>
                    <a:pt x="15" y="405"/>
                    <a:pt x="15" y="405"/>
                  </a:cubicBezTo>
                  <a:cubicBezTo>
                    <a:pt x="20" y="405"/>
                    <a:pt x="20" y="405"/>
                    <a:pt x="20" y="405"/>
                  </a:cubicBezTo>
                  <a:cubicBezTo>
                    <a:pt x="20" y="405"/>
                    <a:pt x="20" y="405"/>
                    <a:pt x="20" y="405"/>
                  </a:cubicBezTo>
                  <a:cubicBezTo>
                    <a:pt x="21" y="71"/>
                    <a:pt x="21" y="71"/>
                    <a:pt x="21" y="71"/>
                  </a:cubicBezTo>
                  <a:cubicBezTo>
                    <a:pt x="21" y="65"/>
                    <a:pt x="24" y="58"/>
                    <a:pt x="29" y="55"/>
                  </a:cubicBezTo>
                  <a:cubicBezTo>
                    <a:pt x="30" y="55"/>
                    <a:pt x="30" y="55"/>
                    <a:pt x="30" y="55"/>
                  </a:cubicBezTo>
                  <a:cubicBezTo>
                    <a:pt x="84" y="17"/>
                    <a:pt x="84" y="17"/>
                    <a:pt x="84" y="17"/>
                  </a:cubicBezTo>
                  <a:cubicBezTo>
                    <a:pt x="72" y="0"/>
                    <a:pt x="72" y="0"/>
                    <a:pt x="72" y="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1672" name="Rectangle 1676">
              <a:extLst>
                <a:ext uri="{FF2B5EF4-FFF2-40B4-BE49-F238E27FC236}">
                  <a16:creationId xmlns:a16="http://schemas.microsoft.com/office/drawing/2014/main" id="{160B625D-AD85-498B-8709-0C9E96270E3F}"/>
                </a:ext>
              </a:extLst>
            </p:cNvPr>
            <p:cNvSpPr>
              <a:spLocks noChangeArrowheads="1"/>
            </p:cNvSpPr>
            <p:nvPr userDrawn="1"/>
          </p:nvSpPr>
          <p:spPr bwMode="auto">
            <a:xfrm>
              <a:off x="6215063" y="5122863"/>
              <a:ext cx="631825" cy="39688"/>
            </a:xfrm>
            <a:prstGeom prst="rect">
              <a:avLst/>
            </a:prstGeom>
            <a:solidFill>
              <a:srgbClr val="0686D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673" name="Freeform 1677">
              <a:extLst>
                <a:ext uri="{FF2B5EF4-FFF2-40B4-BE49-F238E27FC236}">
                  <a16:creationId xmlns:a16="http://schemas.microsoft.com/office/drawing/2014/main" id="{98FC4154-013F-4E07-A768-EF3CCCFD8964}"/>
                </a:ext>
              </a:extLst>
            </p:cNvPr>
            <p:cNvSpPr>
              <a:spLocks/>
            </p:cNvSpPr>
            <p:nvPr userDrawn="1"/>
          </p:nvSpPr>
          <p:spPr bwMode="auto">
            <a:xfrm>
              <a:off x="6215063" y="5122863"/>
              <a:ext cx="631825" cy="39688"/>
            </a:xfrm>
            <a:custGeom>
              <a:avLst/>
              <a:gdLst>
                <a:gd name="T0" fmla="*/ 0 w 398"/>
                <a:gd name="T1" fmla="*/ 25 h 25"/>
                <a:gd name="T2" fmla="*/ 398 w 398"/>
                <a:gd name="T3" fmla="*/ 25 h 25"/>
                <a:gd name="T4" fmla="*/ 398 w 398"/>
                <a:gd name="T5" fmla="*/ 0 h 25"/>
                <a:gd name="T6" fmla="*/ 0 w 398"/>
                <a:gd name="T7" fmla="*/ 0 h 25"/>
              </a:gdLst>
              <a:ahLst/>
              <a:cxnLst>
                <a:cxn ang="0">
                  <a:pos x="T0" y="T1"/>
                </a:cxn>
                <a:cxn ang="0">
                  <a:pos x="T2" y="T3"/>
                </a:cxn>
                <a:cxn ang="0">
                  <a:pos x="T4" y="T5"/>
                </a:cxn>
                <a:cxn ang="0">
                  <a:pos x="T6" y="T7"/>
                </a:cxn>
              </a:cxnLst>
              <a:rect l="0" t="0" r="r" b="b"/>
              <a:pathLst>
                <a:path w="398" h="25">
                  <a:moveTo>
                    <a:pt x="0" y="25"/>
                  </a:moveTo>
                  <a:lnTo>
                    <a:pt x="398" y="25"/>
                  </a:lnTo>
                  <a:lnTo>
                    <a:pt x="398" y="0"/>
                  </a:lnTo>
                  <a:lnTo>
                    <a:pt x="0" y="0"/>
                  </a:lnTo>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1674" name="Rectangle 1678">
              <a:extLst>
                <a:ext uri="{FF2B5EF4-FFF2-40B4-BE49-F238E27FC236}">
                  <a16:creationId xmlns:a16="http://schemas.microsoft.com/office/drawing/2014/main" id="{79B8B31F-4675-43DC-9672-A49B53478C25}"/>
                </a:ext>
              </a:extLst>
            </p:cNvPr>
            <p:cNvSpPr>
              <a:spLocks noChangeArrowheads="1"/>
            </p:cNvSpPr>
            <p:nvPr userDrawn="1"/>
          </p:nvSpPr>
          <p:spPr bwMode="auto">
            <a:xfrm>
              <a:off x="6215063" y="5284788"/>
              <a:ext cx="631825" cy="39688"/>
            </a:xfrm>
            <a:prstGeom prst="rect">
              <a:avLst/>
            </a:prstGeom>
            <a:solidFill>
              <a:srgbClr val="0686D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675" name="Freeform 1679">
              <a:extLst>
                <a:ext uri="{FF2B5EF4-FFF2-40B4-BE49-F238E27FC236}">
                  <a16:creationId xmlns:a16="http://schemas.microsoft.com/office/drawing/2014/main" id="{20AAF0EE-0F28-48F7-BB1E-C392CA940ADD}"/>
                </a:ext>
              </a:extLst>
            </p:cNvPr>
            <p:cNvSpPr>
              <a:spLocks/>
            </p:cNvSpPr>
            <p:nvPr userDrawn="1"/>
          </p:nvSpPr>
          <p:spPr bwMode="auto">
            <a:xfrm>
              <a:off x="6215063" y="5284788"/>
              <a:ext cx="631825" cy="39688"/>
            </a:xfrm>
            <a:custGeom>
              <a:avLst/>
              <a:gdLst>
                <a:gd name="T0" fmla="*/ 0 w 398"/>
                <a:gd name="T1" fmla="*/ 25 h 25"/>
                <a:gd name="T2" fmla="*/ 398 w 398"/>
                <a:gd name="T3" fmla="*/ 25 h 25"/>
                <a:gd name="T4" fmla="*/ 398 w 398"/>
                <a:gd name="T5" fmla="*/ 0 h 25"/>
                <a:gd name="T6" fmla="*/ 0 w 398"/>
                <a:gd name="T7" fmla="*/ 0 h 25"/>
              </a:gdLst>
              <a:ahLst/>
              <a:cxnLst>
                <a:cxn ang="0">
                  <a:pos x="T0" y="T1"/>
                </a:cxn>
                <a:cxn ang="0">
                  <a:pos x="T2" y="T3"/>
                </a:cxn>
                <a:cxn ang="0">
                  <a:pos x="T4" y="T5"/>
                </a:cxn>
                <a:cxn ang="0">
                  <a:pos x="T6" y="T7"/>
                </a:cxn>
              </a:cxnLst>
              <a:rect l="0" t="0" r="r" b="b"/>
              <a:pathLst>
                <a:path w="398" h="25">
                  <a:moveTo>
                    <a:pt x="0" y="25"/>
                  </a:moveTo>
                  <a:lnTo>
                    <a:pt x="398" y="25"/>
                  </a:lnTo>
                  <a:lnTo>
                    <a:pt x="398" y="0"/>
                  </a:lnTo>
                  <a:lnTo>
                    <a:pt x="0" y="0"/>
                  </a:lnTo>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1676" name="Rectangle 1680">
              <a:extLst>
                <a:ext uri="{FF2B5EF4-FFF2-40B4-BE49-F238E27FC236}">
                  <a16:creationId xmlns:a16="http://schemas.microsoft.com/office/drawing/2014/main" id="{6D6ADB00-BF65-4837-8BA7-04932C46BB44}"/>
                </a:ext>
              </a:extLst>
            </p:cNvPr>
            <p:cNvSpPr>
              <a:spLocks noChangeArrowheads="1"/>
            </p:cNvSpPr>
            <p:nvPr userDrawn="1"/>
          </p:nvSpPr>
          <p:spPr bwMode="auto">
            <a:xfrm>
              <a:off x="6215063" y="5446713"/>
              <a:ext cx="631825" cy="41275"/>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1677" name="Freeform 1681">
              <a:extLst>
                <a:ext uri="{FF2B5EF4-FFF2-40B4-BE49-F238E27FC236}">
                  <a16:creationId xmlns:a16="http://schemas.microsoft.com/office/drawing/2014/main" id="{D531C3EF-AA3E-4014-921F-B8F5F282F69D}"/>
                </a:ext>
              </a:extLst>
            </p:cNvPr>
            <p:cNvSpPr>
              <a:spLocks/>
            </p:cNvSpPr>
            <p:nvPr userDrawn="1"/>
          </p:nvSpPr>
          <p:spPr bwMode="auto">
            <a:xfrm>
              <a:off x="6215063" y="5446713"/>
              <a:ext cx="631825" cy="41275"/>
            </a:xfrm>
            <a:custGeom>
              <a:avLst/>
              <a:gdLst>
                <a:gd name="T0" fmla="*/ 0 w 398"/>
                <a:gd name="T1" fmla="*/ 26 h 26"/>
                <a:gd name="T2" fmla="*/ 398 w 398"/>
                <a:gd name="T3" fmla="*/ 26 h 26"/>
                <a:gd name="T4" fmla="*/ 398 w 398"/>
                <a:gd name="T5" fmla="*/ 0 h 26"/>
                <a:gd name="T6" fmla="*/ 0 w 398"/>
                <a:gd name="T7" fmla="*/ 0 h 26"/>
              </a:gdLst>
              <a:ahLst/>
              <a:cxnLst>
                <a:cxn ang="0">
                  <a:pos x="T0" y="T1"/>
                </a:cxn>
                <a:cxn ang="0">
                  <a:pos x="T2" y="T3"/>
                </a:cxn>
                <a:cxn ang="0">
                  <a:pos x="T4" y="T5"/>
                </a:cxn>
                <a:cxn ang="0">
                  <a:pos x="T6" y="T7"/>
                </a:cxn>
              </a:cxnLst>
              <a:rect l="0" t="0" r="r" b="b"/>
              <a:pathLst>
                <a:path w="398" h="26">
                  <a:moveTo>
                    <a:pt x="0" y="26"/>
                  </a:moveTo>
                  <a:lnTo>
                    <a:pt x="398" y="26"/>
                  </a:lnTo>
                  <a:lnTo>
                    <a:pt x="398"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678" name="Freeform 1682">
              <a:extLst>
                <a:ext uri="{FF2B5EF4-FFF2-40B4-BE49-F238E27FC236}">
                  <a16:creationId xmlns:a16="http://schemas.microsoft.com/office/drawing/2014/main" id="{6708E02B-4809-4525-ACBC-A0108A39DAB2}"/>
                </a:ext>
              </a:extLst>
            </p:cNvPr>
            <p:cNvSpPr>
              <a:spLocks/>
            </p:cNvSpPr>
            <p:nvPr userDrawn="1"/>
          </p:nvSpPr>
          <p:spPr bwMode="auto">
            <a:xfrm>
              <a:off x="4818063" y="5983288"/>
              <a:ext cx="171450" cy="133350"/>
            </a:xfrm>
            <a:custGeom>
              <a:avLst/>
              <a:gdLst>
                <a:gd name="T0" fmla="*/ 84 w 86"/>
                <a:gd name="T1" fmla="*/ 26 h 68"/>
                <a:gd name="T2" fmla="*/ 48 w 86"/>
                <a:gd name="T3" fmla="*/ 64 h 68"/>
                <a:gd name="T4" fmla="*/ 3 w 86"/>
                <a:gd name="T5" fmla="*/ 41 h 68"/>
                <a:gd name="T6" fmla="*/ 39 w 86"/>
                <a:gd name="T7" fmla="*/ 4 h 68"/>
                <a:gd name="T8" fmla="*/ 84 w 86"/>
                <a:gd name="T9" fmla="*/ 26 h 68"/>
              </a:gdLst>
              <a:ahLst/>
              <a:cxnLst>
                <a:cxn ang="0">
                  <a:pos x="T0" y="T1"/>
                </a:cxn>
                <a:cxn ang="0">
                  <a:pos x="T2" y="T3"/>
                </a:cxn>
                <a:cxn ang="0">
                  <a:pos x="T4" y="T5"/>
                </a:cxn>
                <a:cxn ang="0">
                  <a:pos x="T6" y="T7"/>
                </a:cxn>
                <a:cxn ang="0">
                  <a:pos x="T8" y="T9"/>
                </a:cxn>
              </a:cxnLst>
              <a:rect l="0" t="0" r="r" b="b"/>
              <a:pathLst>
                <a:path w="86" h="68">
                  <a:moveTo>
                    <a:pt x="84" y="26"/>
                  </a:moveTo>
                  <a:cubicBezTo>
                    <a:pt x="86" y="43"/>
                    <a:pt x="71" y="60"/>
                    <a:pt x="48" y="64"/>
                  </a:cubicBezTo>
                  <a:cubicBezTo>
                    <a:pt x="26" y="68"/>
                    <a:pt x="6" y="58"/>
                    <a:pt x="3" y="41"/>
                  </a:cubicBezTo>
                  <a:cubicBezTo>
                    <a:pt x="0" y="25"/>
                    <a:pt x="16" y="8"/>
                    <a:pt x="39" y="4"/>
                  </a:cubicBezTo>
                  <a:cubicBezTo>
                    <a:pt x="61" y="0"/>
                    <a:pt x="81" y="10"/>
                    <a:pt x="84" y="2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679" name="Freeform 1683">
              <a:extLst>
                <a:ext uri="{FF2B5EF4-FFF2-40B4-BE49-F238E27FC236}">
                  <a16:creationId xmlns:a16="http://schemas.microsoft.com/office/drawing/2014/main" id="{6CE4B0B4-F276-412A-AAC2-919DE29EAB69}"/>
                </a:ext>
              </a:extLst>
            </p:cNvPr>
            <p:cNvSpPr>
              <a:spLocks/>
            </p:cNvSpPr>
            <p:nvPr userDrawn="1"/>
          </p:nvSpPr>
          <p:spPr bwMode="auto">
            <a:xfrm>
              <a:off x="4805363" y="5969000"/>
              <a:ext cx="198438" cy="161925"/>
            </a:xfrm>
            <a:custGeom>
              <a:avLst/>
              <a:gdLst>
                <a:gd name="T0" fmla="*/ 91 w 101"/>
                <a:gd name="T1" fmla="*/ 33 h 82"/>
                <a:gd name="T2" fmla="*/ 81 w 101"/>
                <a:gd name="T3" fmla="*/ 35 h 82"/>
                <a:gd name="T4" fmla="*/ 81 w 101"/>
                <a:gd name="T5" fmla="*/ 37 h 82"/>
                <a:gd name="T6" fmla="*/ 79 w 101"/>
                <a:gd name="T7" fmla="*/ 44 h 82"/>
                <a:gd name="T8" fmla="*/ 70 w 101"/>
                <a:gd name="T9" fmla="*/ 54 h 82"/>
                <a:gd name="T10" fmla="*/ 53 w 101"/>
                <a:gd name="T11" fmla="*/ 61 h 82"/>
                <a:gd name="T12" fmla="*/ 45 w 101"/>
                <a:gd name="T13" fmla="*/ 61 h 82"/>
                <a:gd name="T14" fmla="*/ 27 w 101"/>
                <a:gd name="T15" fmla="*/ 57 h 82"/>
                <a:gd name="T16" fmla="*/ 22 w 101"/>
                <a:gd name="T17" fmla="*/ 52 h 82"/>
                <a:gd name="T18" fmla="*/ 20 w 101"/>
                <a:gd name="T19" fmla="*/ 47 h 82"/>
                <a:gd name="T20" fmla="*/ 20 w 101"/>
                <a:gd name="T21" fmla="*/ 45 h 82"/>
                <a:gd name="T22" fmla="*/ 22 w 101"/>
                <a:gd name="T23" fmla="*/ 38 h 82"/>
                <a:gd name="T24" fmla="*/ 31 w 101"/>
                <a:gd name="T25" fmla="*/ 28 h 82"/>
                <a:gd name="T26" fmla="*/ 47 w 101"/>
                <a:gd name="T27" fmla="*/ 21 h 82"/>
                <a:gd name="T28" fmla="*/ 47 w 101"/>
                <a:gd name="T29" fmla="*/ 21 h 82"/>
                <a:gd name="T30" fmla="*/ 56 w 101"/>
                <a:gd name="T31" fmla="*/ 20 h 82"/>
                <a:gd name="T32" fmla="*/ 74 w 101"/>
                <a:gd name="T33" fmla="*/ 25 h 82"/>
                <a:gd name="T34" fmla="*/ 79 w 101"/>
                <a:gd name="T35" fmla="*/ 30 h 82"/>
                <a:gd name="T36" fmla="*/ 81 w 101"/>
                <a:gd name="T37" fmla="*/ 35 h 82"/>
                <a:gd name="T38" fmla="*/ 91 w 101"/>
                <a:gd name="T39" fmla="*/ 33 h 82"/>
                <a:gd name="T40" fmla="*/ 101 w 101"/>
                <a:gd name="T41" fmla="*/ 32 h 82"/>
                <a:gd name="T42" fmla="*/ 95 w 101"/>
                <a:gd name="T43" fmla="*/ 18 h 82"/>
                <a:gd name="T44" fmla="*/ 78 w 101"/>
                <a:gd name="T45" fmla="*/ 5 h 82"/>
                <a:gd name="T46" fmla="*/ 56 w 101"/>
                <a:gd name="T47" fmla="*/ 0 h 82"/>
                <a:gd name="T48" fmla="*/ 44 w 101"/>
                <a:gd name="T49" fmla="*/ 1 h 82"/>
                <a:gd name="T50" fmla="*/ 44 w 101"/>
                <a:gd name="T51" fmla="*/ 1 h 82"/>
                <a:gd name="T52" fmla="*/ 13 w 101"/>
                <a:gd name="T53" fmla="*/ 16 h 82"/>
                <a:gd name="T54" fmla="*/ 3 w 101"/>
                <a:gd name="T55" fmla="*/ 29 h 82"/>
                <a:gd name="T56" fmla="*/ 0 w 101"/>
                <a:gd name="T57" fmla="*/ 45 h 82"/>
                <a:gd name="T58" fmla="*/ 0 w 101"/>
                <a:gd name="T59" fmla="*/ 50 h 82"/>
                <a:gd name="T60" fmla="*/ 6 w 101"/>
                <a:gd name="T61" fmla="*/ 64 h 82"/>
                <a:gd name="T62" fmla="*/ 23 w 101"/>
                <a:gd name="T63" fmla="*/ 77 h 82"/>
                <a:gd name="T64" fmla="*/ 45 w 101"/>
                <a:gd name="T65" fmla="*/ 82 h 82"/>
                <a:gd name="T66" fmla="*/ 57 w 101"/>
                <a:gd name="T67" fmla="*/ 81 h 82"/>
                <a:gd name="T68" fmla="*/ 88 w 101"/>
                <a:gd name="T69" fmla="*/ 65 h 82"/>
                <a:gd name="T70" fmla="*/ 97 w 101"/>
                <a:gd name="T71" fmla="*/ 53 h 82"/>
                <a:gd name="T72" fmla="*/ 101 w 101"/>
                <a:gd name="T73" fmla="*/ 37 h 82"/>
                <a:gd name="T74" fmla="*/ 101 w 101"/>
                <a:gd name="T75" fmla="*/ 32 h 82"/>
                <a:gd name="T76" fmla="*/ 91 w 101"/>
                <a:gd name="T77" fmla="*/ 33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01" h="82">
                  <a:moveTo>
                    <a:pt x="91" y="33"/>
                  </a:moveTo>
                  <a:cubicBezTo>
                    <a:pt x="81" y="35"/>
                    <a:pt x="81" y="35"/>
                    <a:pt x="81" y="35"/>
                  </a:cubicBezTo>
                  <a:cubicBezTo>
                    <a:pt x="81" y="36"/>
                    <a:pt x="81" y="36"/>
                    <a:pt x="81" y="37"/>
                  </a:cubicBezTo>
                  <a:cubicBezTo>
                    <a:pt x="81" y="39"/>
                    <a:pt x="80" y="41"/>
                    <a:pt x="79" y="44"/>
                  </a:cubicBezTo>
                  <a:cubicBezTo>
                    <a:pt x="78" y="47"/>
                    <a:pt x="74" y="51"/>
                    <a:pt x="70" y="54"/>
                  </a:cubicBezTo>
                  <a:cubicBezTo>
                    <a:pt x="65" y="57"/>
                    <a:pt x="60" y="60"/>
                    <a:pt x="53" y="61"/>
                  </a:cubicBezTo>
                  <a:cubicBezTo>
                    <a:pt x="51" y="61"/>
                    <a:pt x="48" y="61"/>
                    <a:pt x="45" y="61"/>
                  </a:cubicBezTo>
                  <a:cubicBezTo>
                    <a:pt x="38" y="61"/>
                    <a:pt x="32" y="60"/>
                    <a:pt x="27" y="57"/>
                  </a:cubicBezTo>
                  <a:cubicBezTo>
                    <a:pt x="25" y="55"/>
                    <a:pt x="23" y="54"/>
                    <a:pt x="22" y="52"/>
                  </a:cubicBezTo>
                  <a:cubicBezTo>
                    <a:pt x="21" y="50"/>
                    <a:pt x="20" y="49"/>
                    <a:pt x="20" y="47"/>
                  </a:cubicBezTo>
                  <a:cubicBezTo>
                    <a:pt x="20" y="46"/>
                    <a:pt x="20" y="45"/>
                    <a:pt x="20" y="45"/>
                  </a:cubicBezTo>
                  <a:cubicBezTo>
                    <a:pt x="20" y="43"/>
                    <a:pt x="20" y="40"/>
                    <a:pt x="22" y="38"/>
                  </a:cubicBezTo>
                  <a:cubicBezTo>
                    <a:pt x="23" y="35"/>
                    <a:pt x="26" y="31"/>
                    <a:pt x="31" y="28"/>
                  </a:cubicBezTo>
                  <a:cubicBezTo>
                    <a:pt x="35" y="25"/>
                    <a:pt x="41" y="22"/>
                    <a:pt x="47" y="21"/>
                  </a:cubicBezTo>
                  <a:cubicBezTo>
                    <a:pt x="47" y="21"/>
                    <a:pt x="47" y="21"/>
                    <a:pt x="47" y="21"/>
                  </a:cubicBezTo>
                  <a:cubicBezTo>
                    <a:pt x="50" y="21"/>
                    <a:pt x="53" y="20"/>
                    <a:pt x="56" y="20"/>
                  </a:cubicBezTo>
                  <a:cubicBezTo>
                    <a:pt x="63" y="20"/>
                    <a:pt x="69" y="22"/>
                    <a:pt x="74" y="25"/>
                  </a:cubicBezTo>
                  <a:cubicBezTo>
                    <a:pt x="76" y="26"/>
                    <a:pt x="77" y="28"/>
                    <a:pt x="79" y="30"/>
                  </a:cubicBezTo>
                  <a:cubicBezTo>
                    <a:pt x="80" y="31"/>
                    <a:pt x="80" y="33"/>
                    <a:pt x="81" y="35"/>
                  </a:cubicBezTo>
                  <a:cubicBezTo>
                    <a:pt x="91" y="33"/>
                    <a:pt x="91" y="33"/>
                    <a:pt x="91" y="33"/>
                  </a:cubicBezTo>
                  <a:cubicBezTo>
                    <a:pt x="101" y="32"/>
                    <a:pt x="101" y="32"/>
                    <a:pt x="101" y="32"/>
                  </a:cubicBezTo>
                  <a:cubicBezTo>
                    <a:pt x="100" y="27"/>
                    <a:pt x="98" y="22"/>
                    <a:pt x="95" y="18"/>
                  </a:cubicBezTo>
                  <a:cubicBezTo>
                    <a:pt x="91" y="12"/>
                    <a:pt x="85" y="8"/>
                    <a:pt x="78" y="5"/>
                  </a:cubicBezTo>
                  <a:cubicBezTo>
                    <a:pt x="71" y="2"/>
                    <a:pt x="64" y="0"/>
                    <a:pt x="56" y="0"/>
                  </a:cubicBezTo>
                  <a:cubicBezTo>
                    <a:pt x="52" y="0"/>
                    <a:pt x="48" y="0"/>
                    <a:pt x="44" y="1"/>
                  </a:cubicBezTo>
                  <a:cubicBezTo>
                    <a:pt x="44" y="1"/>
                    <a:pt x="44" y="1"/>
                    <a:pt x="44" y="1"/>
                  </a:cubicBezTo>
                  <a:cubicBezTo>
                    <a:pt x="32" y="3"/>
                    <a:pt x="21" y="9"/>
                    <a:pt x="13" y="16"/>
                  </a:cubicBezTo>
                  <a:cubicBezTo>
                    <a:pt x="9" y="20"/>
                    <a:pt x="6" y="24"/>
                    <a:pt x="3" y="29"/>
                  </a:cubicBezTo>
                  <a:cubicBezTo>
                    <a:pt x="1" y="34"/>
                    <a:pt x="0" y="39"/>
                    <a:pt x="0" y="45"/>
                  </a:cubicBezTo>
                  <a:cubicBezTo>
                    <a:pt x="0" y="46"/>
                    <a:pt x="0" y="48"/>
                    <a:pt x="0" y="50"/>
                  </a:cubicBezTo>
                  <a:cubicBezTo>
                    <a:pt x="1" y="55"/>
                    <a:pt x="3" y="60"/>
                    <a:pt x="6" y="64"/>
                  </a:cubicBezTo>
                  <a:cubicBezTo>
                    <a:pt x="10" y="70"/>
                    <a:pt x="16" y="74"/>
                    <a:pt x="23" y="77"/>
                  </a:cubicBezTo>
                  <a:cubicBezTo>
                    <a:pt x="30" y="80"/>
                    <a:pt x="37" y="82"/>
                    <a:pt x="45" y="82"/>
                  </a:cubicBezTo>
                  <a:cubicBezTo>
                    <a:pt x="49" y="82"/>
                    <a:pt x="53" y="81"/>
                    <a:pt x="57" y="81"/>
                  </a:cubicBezTo>
                  <a:cubicBezTo>
                    <a:pt x="69" y="78"/>
                    <a:pt x="80" y="73"/>
                    <a:pt x="88" y="65"/>
                  </a:cubicBezTo>
                  <a:cubicBezTo>
                    <a:pt x="92" y="62"/>
                    <a:pt x="95" y="57"/>
                    <a:pt x="97" y="53"/>
                  </a:cubicBezTo>
                  <a:cubicBezTo>
                    <a:pt x="100" y="48"/>
                    <a:pt x="101" y="43"/>
                    <a:pt x="101" y="37"/>
                  </a:cubicBezTo>
                  <a:cubicBezTo>
                    <a:pt x="101" y="35"/>
                    <a:pt x="101" y="34"/>
                    <a:pt x="101" y="32"/>
                  </a:cubicBezTo>
                  <a:lnTo>
                    <a:pt x="91" y="33"/>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1680" name="Freeform 1684">
              <a:extLst>
                <a:ext uri="{FF2B5EF4-FFF2-40B4-BE49-F238E27FC236}">
                  <a16:creationId xmlns:a16="http://schemas.microsoft.com/office/drawing/2014/main" id="{D41AD810-EA29-4944-9B1F-B3D14185A0EE}"/>
                </a:ext>
              </a:extLst>
            </p:cNvPr>
            <p:cNvSpPr>
              <a:spLocks/>
            </p:cNvSpPr>
            <p:nvPr userDrawn="1"/>
          </p:nvSpPr>
          <p:spPr bwMode="auto">
            <a:xfrm>
              <a:off x="5046663" y="5983288"/>
              <a:ext cx="169863" cy="133350"/>
            </a:xfrm>
            <a:custGeom>
              <a:avLst/>
              <a:gdLst>
                <a:gd name="T0" fmla="*/ 83 w 86"/>
                <a:gd name="T1" fmla="*/ 26 h 68"/>
                <a:gd name="T2" fmla="*/ 48 w 86"/>
                <a:gd name="T3" fmla="*/ 64 h 68"/>
                <a:gd name="T4" fmla="*/ 2 w 86"/>
                <a:gd name="T5" fmla="*/ 41 h 68"/>
                <a:gd name="T6" fmla="*/ 38 w 86"/>
                <a:gd name="T7" fmla="*/ 4 h 68"/>
                <a:gd name="T8" fmla="*/ 83 w 86"/>
                <a:gd name="T9" fmla="*/ 26 h 68"/>
              </a:gdLst>
              <a:ahLst/>
              <a:cxnLst>
                <a:cxn ang="0">
                  <a:pos x="T0" y="T1"/>
                </a:cxn>
                <a:cxn ang="0">
                  <a:pos x="T2" y="T3"/>
                </a:cxn>
                <a:cxn ang="0">
                  <a:pos x="T4" y="T5"/>
                </a:cxn>
                <a:cxn ang="0">
                  <a:pos x="T6" y="T7"/>
                </a:cxn>
                <a:cxn ang="0">
                  <a:pos x="T8" y="T9"/>
                </a:cxn>
              </a:cxnLst>
              <a:rect l="0" t="0" r="r" b="b"/>
              <a:pathLst>
                <a:path w="86" h="68">
                  <a:moveTo>
                    <a:pt x="83" y="26"/>
                  </a:moveTo>
                  <a:cubicBezTo>
                    <a:pt x="86" y="43"/>
                    <a:pt x="70" y="60"/>
                    <a:pt x="48" y="64"/>
                  </a:cubicBezTo>
                  <a:cubicBezTo>
                    <a:pt x="25" y="68"/>
                    <a:pt x="5" y="58"/>
                    <a:pt x="2" y="41"/>
                  </a:cubicBezTo>
                  <a:cubicBezTo>
                    <a:pt x="0" y="25"/>
                    <a:pt x="16" y="8"/>
                    <a:pt x="38" y="4"/>
                  </a:cubicBezTo>
                  <a:cubicBezTo>
                    <a:pt x="60" y="0"/>
                    <a:pt x="80" y="10"/>
                    <a:pt x="83" y="2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681" name="Freeform 1685">
              <a:extLst>
                <a:ext uri="{FF2B5EF4-FFF2-40B4-BE49-F238E27FC236}">
                  <a16:creationId xmlns:a16="http://schemas.microsoft.com/office/drawing/2014/main" id="{81C7DFEA-BF32-4C58-9AE9-11D88A9CB9A0}"/>
                </a:ext>
              </a:extLst>
            </p:cNvPr>
            <p:cNvSpPr>
              <a:spLocks/>
            </p:cNvSpPr>
            <p:nvPr userDrawn="1"/>
          </p:nvSpPr>
          <p:spPr bwMode="auto">
            <a:xfrm>
              <a:off x="5030788" y="5969000"/>
              <a:ext cx="201613" cy="161925"/>
            </a:xfrm>
            <a:custGeom>
              <a:avLst/>
              <a:gdLst>
                <a:gd name="T0" fmla="*/ 91 w 102"/>
                <a:gd name="T1" fmla="*/ 33 h 82"/>
                <a:gd name="T2" fmla="*/ 81 w 102"/>
                <a:gd name="T3" fmla="*/ 35 h 82"/>
                <a:gd name="T4" fmla="*/ 81 w 102"/>
                <a:gd name="T5" fmla="*/ 37 h 82"/>
                <a:gd name="T6" fmla="*/ 80 w 102"/>
                <a:gd name="T7" fmla="*/ 44 h 82"/>
                <a:gd name="T8" fmla="*/ 70 w 102"/>
                <a:gd name="T9" fmla="*/ 54 h 82"/>
                <a:gd name="T10" fmla="*/ 54 w 102"/>
                <a:gd name="T11" fmla="*/ 61 h 82"/>
                <a:gd name="T12" fmla="*/ 46 w 102"/>
                <a:gd name="T13" fmla="*/ 61 h 82"/>
                <a:gd name="T14" fmla="*/ 28 w 102"/>
                <a:gd name="T15" fmla="*/ 57 h 82"/>
                <a:gd name="T16" fmla="*/ 23 w 102"/>
                <a:gd name="T17" fmla="*/ 52 h 82"/>
                <a:gd name="T18" fmla="*/ 20 w 102"/>
                <a:gd name="T19" fmla="*/ 47 h 82"/>
                <a:gd name="T20" fmla="*/ 20 w 102"/>
                <a:gd name="T21" fmla="*/ 45 h 82"/>
                <a:gd name="T22" fmla="*/ 22 w 102"/>
                <a:gd name="T23" fmla="*/ 38 h 82"/>
                <a:gd name="T24" fmla="*/ 31 w 102"/>
                <a:gd name="T25" fmla="*/ 28 h 82"/>
                <a:gd name="T26" fmla="*/ 48 w 102"/>
                <a:gd name="T27" fmla="*/ 21 h 82"/>
                <a:gd name="T28" fmla="*/ 48 w 102"/>
                <a:gd name="T29" fmla="*/ 21 h 82"/>
                <a:gd name="T30" fmla="*/ 56 w 102"/>
                <a:gd name="T31" fmla="*/ 20 h 82"/>
                <a:gd name="T32" fmla="*/ 74 w 102"/>
                <a:gd name="T33" fmla="*/ 25 h 82"/>
                <a:gd name="T34" fmla="*/ 79 w 102"/>
                <a:gd name="T35" fmla="*/ 30 h 82"/>
                <a:gd name="T36" fmla="*/ 81 w 102"/>
                <a:gd name="T37" fmla="*/ 35 h 82"/>
                <a:gd name="T38" fmla="*/ 91 w 102"/>
                <a:gd name="T39" fmla="*/ 33 h 82"/>
                <a:gd name="T40" fmla="*/ 101 w 102"/>
                <a:gd name="T41" fmla="*/ 32 h 82"/>
                <a:gd name="T42" fmla="*/ 95 w 102"/>
                <a:gd name="T43" fmla="*/ 18 h 82"/>
                <a:gd name="T44" fmla="*/ 78 w 102"/>
                <a:gd name="T45" fmla="*/ 5 h 82"/>
                <a:gd name="T46" fmla="*/ 56 w 102"/>
                <a:gd name="T47" fmla="*/ 0 h 82"/>
                <a:gd name="T48" fmla="*/ 44 w 102"/>
                <a:gd name="T49" fmla="*/ 1 h 82"/>
                <a:gd name="T50" fmla="*/ 44 w 102"/>
                <a:gd name="T51" fmla="*/ 1 h 82"/>
                <a:gd name="T52" fmla="*/ 13 w 102"/>
                <a:gd name="T53" fmla="*/ 16 h 82"/>
                <a:gd name="T54" fmla="*/ 4 w 102"/>
                <a:gd name="T55" fmla="*/ 29 h 82"/>
                <a:gd name="T56" fmla="*/ 0 w 102"/>
                <a:gd name="T57" fmla="*/ 45 h 82"/>
                <a:gd name="T58" fmla="*/ 0 w 102"/>
                <a:gd name="T59" fmla="*/ 50 h 82"/>
                <a:gd name="T60" fmla="*/ 6 w 102"/>
                <a:gd name="T61" fmla="*/ 64 h 82"/>
                <a:gd name="T62" fmla="*/ 23 w 102"/>
                <a:gd name="T63" fmla="*/ 77 h 82"/>
                <a:gd name="T64" fmla="*/ 46 w 102"/>
                <a:gd name="T65" fmla="*/ 82 h 82"/>
                <a:gd name="T66" fmla="*/ 57 w 102"/>
                <a:gd name="T67" fmla="*/ 81 h 82"/>
                <a:gd name="T68" fmla="*/ 88 w 102"/>
                <a:gd name="T69" fmla="*/ 65 h 82"/>
                <a:gd name="T70" fmla="*/ 98 w 102"/>
                <a:gd name="T71" fmla="*/ 53 h 82"/>
                <a:gd name="T72" fmla="*/ 102 w 102"/>
                <a:gd name="T73" fmla="*/ 37 h 82"/>
                <a:gd name="T74" fmla="*/ 101 w 102"/>
                <a:gd name="T75" fmla="*/ 32 h 82"/>
                <a:gd name="T76" fmla="*/ 91 w 102"/>
                <a:gd name="T77" fmla="*/ 33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02" h="82">
                  <a:moveTo>
                    <a:pt x="91" y="33"/>
                  </a:moveTo>
                  <a:cubicBezTo>
                    <a:pt x="81" y="35"/>
                    <a:pt x="81" y="35"/>
                    <a:pt x="81" y="35"/>
                  </a:cubicBezTo>
                  <a:cubicBezTo>
                    <a:pt x="81" y="36"/>
                    <a:pt x="81" y="36"/>
                    <a:pt x="81" y="37"/>
                  </a:cubicBezTo>
                  <a:cubicBezTo>
                    <a:pt x="81" y="39"/>
                    <a:pt x="81" y="41"/>
                    <a:pt x="80" y="44"/>
                  </a:cubicBezTo>
                  <a:cubicBezTo>
                    <a:pt x="78" y="47"/>
                    <a:pt x="75" y="51"/>
                    <a:pt x="70" y="54"/>
                  </a:cubicBezTo>
                  <a:cubicBezTo>
                    <a:pt x="66" y="57"/>
                    <a:pt x="60" y="60"/>
                    <a:pt x="54" y="61"/>
                  </a:cubicBezTo>
                  <a:cubicBezTo>
                    <a:pt x="51" y="61"/>
                    <a:pt x="48" y="61"/>
                    <a:pt x="46" y="61"/>
                  </a:cubicBezTo>
                  <a:cubicBezTo>
                    <a:pt x="38" y="61"/>
                    <a:pt x="32" y="60"/>
                    <a:pt x="28" y="57"/>
                  </a:cubicBezTo>
                  <a:cubicBezTo>
                    <a:pt x="25" y="55"/>
                    <a:pt x="24" y="54"/>
                    <a:pt x="23" y="52"/>
                  </a:cubicBezTo>
                  <a:cubicBezTo>
                    <a:pt x="21" y="50"/>
                    <a:pt x="21" y="49"/>
                    <a:pt x="20" y="47"/>
                  </a:cubicBezTo>
                  <a:cubicBezTo>
                    <a:pt x="20" y="46"/>
                    <a:pt x="20" y="45"/>
                    <a:pt x="20" y="45"/>
                  </a:cubicBezTo>
                  <a:cubicBezTo>
                    <a:pt x="20" y="43"/>
                    <a:pt x="21" y="40"/>
                    <a:pt x="22" y="38"/>
                  </a:cubicBezTo>
                  <a:cubicBezTo>
                    <a:pt x="24" y="35"/>
                    <a:pt x="27" y="31"/>
                    <a:pt x="31" y="28"/>
                  </a:cubicBezTo>
                  <a:cubicBezTo>
                    <a:pt x="36" y="25"/>
                    <a:pt x="41" y="22"/>
                    <a:pt x="48" y="21"/>
                  </a:cubicBezTo>
                  <a:cubicBezTo>
                    <a:pt x="48" y="21"/>
                    <a:pt x="48" y="21"/>
                    <a:pt x="48" y="21"/>
                  </a:cubicBezTo>
                  <a:cubicBezTo>
                    <a:pt x="51" y="21"/>
                    <a:pt x="53" y="20"/>
                    <a:pt x="56" y="20"/>
                  </a:cubicBezTo>
                  <a:cubicBezTo>
                    <a:pt x="63" y="20"/>
                    <a:pt x="70" y="22"/>
                    <a:pt x="74" y="25"/>
                  </a:cubicBezTo>
                  <a:cubicBezTo>
                    <a:pt x="76" y="26"/>
                    <a:pt x="78" y="28"/>
                    <a:pt x="79" y="30"/>
                  </a:cubicBezTo>
                  <a:cubicBezTo>
                    <a:pt x="80" y="31"/>
                    <a:pt x="81" y="33"/>
                    <a:pt x="81" y="35"/>
                  </a:cubicBezTo>
                  <a:cubicBezTo>
                    <a:pt x="91" y="33"/>
                    <a:pt x="91" y="33"/>
                    <a:pt x="91" y="33"/>
                  </a:cubicBezTo>
                  <a:cubicBezTo>
                    <a:pt x="101" y="32"/>
                    <a:pt x="101" y="32"/>
                    <a:pt x="101" y="32"/>
                  </a:cubicBezTo>
                  <a:cubicBezTo>
                    <a:pt x="100" y="27"/>
                    <a:pt x="98" y="22"/>
                    <a:pt x="95" y="18"/>
                  </a:cubicBezTo>
                  <a:cubicBezTo>
                    <a:pt x="91" y="12"/>
                    <a:pt x="85" y="8"/>
                    <a:pt x="78" y="5"/>
                  </a:cubicBezTo>
                  <a:cubicBezTo>
                    <a:pt x="72" y="2"/>
                    <a:pt x="64" y="0"/>
                    <a:pt x="56" y="0"/>
                  </a:cubicBezTo>
                  <a:cubicBezTo>
                    <a:pt x="52" y="0"/>
                    <a:pt x="48" y="0"/>
                    <a:pt x="44" y="1"/>
                  </a:cubicBezTo>
                  <a:cubicBezTo>
                    <a:pt x="44" y="1"/>
                    <a:pt x="44" y="1"/>
                    <a:pt x="44" y="1"/>
                  </a:cubicBezTo>
                  <a:cubicBezTo>
                    <a:pt x="32" y="3"/>
                    <a:pt x="21" y="9"/>
                    <a:pt x="13" y="16"/>
                  </a:cubicBezTo>
                  <a:cubicBezTo>
                    <a:pt x="9" y="20"/>
                    <a:pt x="6" y="24"/>
                    <a:pt x="4" y="29"/>
                  </a:cubicBezTo>
                  <a:cubicBezTo>
                    <a:pt x="1" y="34"/>
                    <a:pt x="0" y="39"/>
                    <a:pt x="0" y="45"/>
                  </a:cubicBezTo>
                  <a:cubicBezTo>
                    <a:pt x="0" y="46"/>
                    <a:pt x="0" y="48"/>
                    <a:pt x="0" y="50"/>
                  </a:cubicBezTo>
                  <a:cubicBezTo>
                    <a:pt x="1" y="55"/>
                    <a:pt x="3" y="60"/>
                    <a:pt x="6" y="64"/>
                  </a:cubicBezTo>
                  <a:cubicBezTo>
                    <a:pt x="10" y="70"/>
                    <a:pt x="16" y="74"/>
                    <a:pt x="23" y="77"/>
                  </a:cubicBezTo>
                  <a:cubicBezTo>
                    <a:pt x="30" y="80"/>
                    <a:pt x="38" y="82"/>
                    <a:pt x="46" y="82"/>
                  </a:cubicBezTo>
                  <a:cubicBezTo>
                    <a:pt x="49" y="82"/>
                    <a:pt x="53" y="81"/>
                    <a:pt x="57" y="81"/>
                  </a:cubicBezTo>
                  <a:cubicBezTo>
                    <a:pt x="70" y="78"/>
                    <a:pt x="80" y="73"/>
                    <a:pt x="88" y="65"/>
                  </a:cubicBezTo>
                  <a:cubicBezTo>
                    <a:pt x="92" y="62"/>
                    <a:pt x="95" y="57"/>
                    <a:pt x="98" y="53"/>
                  </a:cubicBezTo>
                  <a:cubicBezTo>
                    <a:pt x="100" y="48"/>
                    <a:pt x="102" y="43"/>
                    <a:pt x="102" y="37"/>
                  </a:cubicBezTo>
                  <a:cubicBezTo>
                    <a:pt x="102" y="35"/>
                    <a:pt x="101" y="34"/>
                    <a:pt x="101" y="32"/>
                  </a:cubicBezTo>
                  <a:lnTo>
                    <a:pt x="91" y="33"/>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1682" name="Freeform 1686">
              <a:extLst>
                <a:ext uri="{FF2B5EF4-FFF2-40B4-BE49-F238E27FC236}">
                  <a16:creationId xmlns:a16="http://schemas.microsoft.com/office/drawing/2014/main" id="{3D21CCD1-5AC7-432A-B302-F371C15CC754}"/>
                </a:ext>
              </a:extLst>
            </p:cNvPr>
            <p:cNvSpPr>
              <a:spLocks/>
            </p:cNvSpPr>
            <p:nvPr userDrawn="1"/>
          </p:nvSpPr>
          <p:spPr bwMode="auto">
            <a:xfrm>
              <a:off x="4965701" y="5718175"/>
              <a:ext cx="266700" cy="323850"/>
            </a:xfrm>
            <a:custGeom>
              <a:avLst/>
              <a:gdLst>
                <a:gd name="T0" fmla="*/ 24 w 168"/>
                <a:gd name="T1" fmla="*/ 204 h 204"/>
                <a:gd name="T2" fmla="*/ 24 w 168"/>
                <a:gd name="T3" fmla="*/ 25 h 204"/>
                <a:gd name="T4" fmla="*/ 142 w 168"/>
                <a:gd name="T5" fmla="*/ 25 h 204"/>
                <a:gd name="T6" fmla="*/ 142 w 168"/>
                <a:gd name="T7" fmla="*/ 204 h 204"/>
                <a:gd name="T8" fmla="*/ 168 w 168"/>
                <a:gd name="T9" fmla="*/ 204 h 204"/>
                <a:gd name="T10" fmla="*/ 168 w 168"/>
                <a:gd name="T11" fmla="*/ 0 h 204"/>
                <a:gd name="T12" fmla="*/ 0 w 168"/>
                <a:gd name="T13" fmla="*/ 0 h 204"/>
                <a:gd name="T14" fmla="*/ 0 w 168"/>
                <a:gd name="T15" fmla="*/ 204 h 204"/>
                <a:gd name="T16" fmla="*/ 24 w 168"/>
                <a:gd name="T17" fmla="*/ 204 h 204"/>
                <a:gd name="T18" fmla="*/ 24 w 168"/>
                <a:gd name="T19" fmla="*/ 204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8" h="204">
                  <a:moveTo>
                    <a:pt x="24" y="204"/>
                  </a:moveTo>
                  <a:lnTo>
                    <a:pt x="24" y="25"/>
                  </a:lnTo>
                  <a:lnTo>
                    <a:pt x="142" y="25"/>
                  </a:lnTo>
                  <a:lnTo>
                    <a:pt x="142" y="204"/>
                  </a:lnTo>
                  <a:lnTo>
                    <a:pt x="168" y="204"/>
                  </a:lnTo>
                  <a:lnTo>
                    <a:pt x="168" y="0"/>
                  </a:lnTo>
                  <a:lnTo>
                    <a:pt x="0" y="0"/>
                  </a:lnTo>
                  <a:lnTo>
                    <a:pt x="0" y="204"/>
                  </a:lnTo>
                  <a:lnTo>
                    <a:pt x="24" y="204"/>
                  </a:lnTo>
                  <a:lnTo>
                    <a:pt x="24" y="204"/>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1683" name="Freeform 1687">
              <a:extLst>
                <a:ext uri="{FF2B5EF4-FFF2-40B4-BE49-F238E27FC236}">
                  <a16:creationId xmlns:a16="http://schemas.microsoft.com/office/drawing/2014/main" id="{4AEEF728-3F63-4F94-A5F0-4D4F35362419}"/>
                </a:ext>
              </a:extLst>
            </p:cNvPr>
            <p:cNvSpPr>
              <a:spLocks/>
            </p:cNvSpPr>
            <p:nvPr userDrawn="1"/>
          </p:nvSpPr>
          <p:spPr bwMode="auto">
            <a:xfrm>
              <a:off x="5905501" y="3783013"/>
              <a:ext cx="319088" cy="268288"/>
            </a:xfrm>
            <a:custGeom>
              <a:avLst/>
              <a:gdLst>
                <a:gd name="T0" fmla="*/ 140 w 161"/>
                <a:gd name="T1" fmla="*/ 0 h 136"/>
                <a:gd name="T2" fmla="*/ 132 w 161"/>
                <a:gd name="T3" fmla="*/ 45 h 136"/>
                <a:gd name="T4" fmla="*/ 109 w 161"/>
                <a:gd name="T5" fmla="*/ 82 h 136"/>
                <a:gd name="T6" fmla="*/ 75 w 161"/>
                <a:gd name="T7" fmla="*/ 107 h 136"/>
                <a:gd name="T8" fmla="*/ 33 w 161"/>
                <a:gd name="T9" fmla="*/ 116 h 136"/>
                <a:gd name="T10" fmla="*/ 6 w 161"/>
                <a:gd name="T11" fmla="*/ 112 h 136"/>
                <a:gd name="T12" fmla="*/ 0 w 161"/>
                <a:gd name="T13" fmla="*/ 131 h 136"/>
                <a:gd name="T14" fmla="*/ 33 w 161"/>
                <a:gd name="T15" fmla="*/ 136 h 136"/>
                <a:gd name="T16" fmla="*/ 83 w 161"/>
                <a:gd name="T17" fmla="*/ 125 h 136"/>
                <a:gd name="T18" fmla="*/ 124 w 161"/>
                <a:gd name="T19" fmla="*/ 96 h 136"/>
                <a:gd name="T20" fmla="*/ 151 w 161"/>
                <a:gd name="T21" fmla="*/ 53 h 136"/>
                <a:gd name="T22" fmla="*/ 161 w 161"/>
                <a:gd name="T23" fmla="*/ 0 h 136"/>
                <a:gd name="T24" fmla="*/ 140 w 161"/>
                <a:gd name="T25" fmla="*/ 0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1" h="136">
                  <a:moveTo>
                    <a:pt x="140" y="0"/>
                  </a:moveTo>
                  <a:cubicBezTo>
                    <a:pt x="140" y="16"/>
                    <a:pt x="137" y="32"/>
                    <a:pt x="132" y="45"/>
                  </a:cubicBezTo>
                  <a:cubicBezTo>
                    <a:pt x="126" y="59"/>
                    <a:pt x="119" y="72"/>
                    <a:pt x="109" y="82"/>
                  </a:cubicBezTo>
                  <a:cubicBezTo>
                    <a:pt x="99" y="92"/>
                    <a:pt x="88" y="101"/>
                    <a:pt x="75" y="107"/>
                  </a:cubicBezTo>
                  <a:cubicBezTo>
                    <a:pt x="62" y="112"/>
                    <a:pt x="48" y="116"/>
                    <a:pt x="33" y="116"/>
                  </a:cubicBezTo>
                  <a:cubicBezTo>
                    <a:pt x="24" y="116"/>
                    <a:pt x="14" y="114"/>
                    <a:pt x="6" y="112"/>
                  </a:cubicBezTo>
                  <a:cubicBezTo>
                    <a:pt x="0" y="131"/>
                    <a:pt x="0" y="131"/>
                    <a:pt x="0" y="131"/>
                  </a:cubicBezTo>
                  <a:cubicBezTo>
                    <a:pt x="11" y="134"/>
                    <a:pt x="22" y="136"/>
                    <a:pt x="33" y="136"/>
                  </a:cubicBezTo>
                  <a:cubicBezTo>
                    <a:pt x="51" y="136"/>
                    <a:pt x="68" y="132"/>
                    <a:pt x="83" y="125"/>
                  </a:cubicBezTo>
                  <a:cubicBezTo>
                    <a:pt x="98" y="118"/>
                    <a:pt x="112" y="108"/>
                    <a:pt x="124" y="96"/>
                  </a:cubicBezTo>
                  <a:cubicBezTo>
                    <a:pt x="135" y="84"/>
                    <a:pt x="144" y="69"/>
                    <a:pt x="151" y="53"/>
                  </a:cubicBezTo>
                  <a:cubicBezTo>
                    <a:pt x="157" y="37"/>
                    <a:pt x="161" y="19"/>
                    <a:pt x="161" y="0"/>
                  </a:cubicBezTo>
                  <a:cubicBezTo>
                    <a:pt x="140" y="0"/>
                    <a:pt x="140" y="0"/>
                    <a:pt x="140"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684" name="Freeform 1688">
              <a:extLst>
                <a:ext uri="{FF2B5EF4-FFF2-40B4-BE49-F238E27FC236}">
                  <a16:creationId xmlns:a16="http://schemas.microsoft.com/office/drawing/2014/main" id="{B2DB4FE1-E498-4A0F-AAEF-3CB21E53D2CE}"/>
                </a:ext>
              </a:extLst>
            </p:cNvPr>
            <p:cNvSpPr>
              <a:spLocks/>
            </p:cNvSpPr>
            <p:nvPr userDrawn="1"/>
          </p:nvSpPr>
          <p:spPr bwMode="auto">
            <a:xfrm>
              <a:off x="5881688" y="3981450"/>
              <a:ext cx="96838" cy="107950"/>
            </a:xfrm>
            <a:custGeom>
              <a:avLst/>
              <a:gdLst>
                <a:gd name="T0" fmla="*/ 61 w 61"/>
                <a:gd name="T1" fmla="*/ 7 h 68"/>
                <a:gd name="T2" fmla="*/ 24 w 61"/>
                <a:gd name="T3" fmla="*/ 28 h 68"/>
                <a:gd name="T4" fmla="*/ 42 w 61"/>
                <a:gd name="T5" fmla="*/ 68 h 68"/>
                <a:gd name="T6" fmla="*/ 19 w 61"/>
                <a:gd name="T7" fmla="*/ 59 h 68"/>
                <a:gd name="T8" fmla="*/ 0 w 61"/>
                <a:gd name="T9" fmla="*/ 20 h 68"/>
                <a:gd name="T10" fmla="*/ 37 w 61"/>
                <a:gd name="T11" fmla="*/ 0 h 68"/>
                <a:gd name="T12" fmla="*/ 61 w 61"/>
                <a:gd name="T13" fmla="*/ 7 h 68"/>
              </a:gdLst>
              <a:ahLst/>
              <a:cxnLst>
                <a:cxn ang="0">
                  <a:pos x="T0" y="T1"/>
                </a:cxn>
                <a:cxn ang="0">
                  <a:pos x="T2" y="T3"/>
                </a:cxn>
                <a:cxn ang="0">
                  <a:pos x="T4" y="T5"/>
                </a:cxn>
                <a:cxn ang="0">
                  <a:pos x="T6" y="T7"/>
                </a:cxn>
                <a:cxn ang="0">
                  <a:pos x="T8" y="T9"/>
                </a:cxn>
                <a:cxn ang="0">
                  <a:pos x="T10" y="T11"/>
                </a:cxn>
                <a:cxn ang="0">
                  <a:pos x="T12" y="T13"/>
                </a:cxn>
              </a:cxnLst>
              <a:rect l="0" t="0" r="r" b="b"/>
              <a:pathLst>
                <a:path w="61" h="68">
                  <a:moveTo>
                    <a:pt x="61" y="7"/>
                  </a:moveTo>
                  <a:lnTo>
                    <a:pt x="24" y="28"/>
                  </a:lnTo>
                  <a:lnTo>
                    <a:pt x="42" y="68"/>
                  </a:lnTo>
                  <a:lnTo>
                    <a:pt x="19" y="59"/>
                  </a:lnTo>
                  <a:lnTo>
                    <a:pt x="0" y="20"/>
                  </a:lnTo>
                  <a:lnTo>
                    <a:pt x="37" y="0"/>
                  </a:lnTo>
                  <a:lnTo>
                    <a:pt x="61" y="7"/>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685" name="Freeform 1689">
              <a:extLst>
                <a:ext uri="{FF2B5EF4-FFF2-40B4-BE49-F238E27FC236}">
                  <a16:creationId xmlns:a16="http://schemas.microsoft.com/office/drawing/2014/main" id="{68ADA69C-3086-484A-B4C3-885FBE161C42}"/>
                </a:ext>
              </a:extLst>
            </p:cNvPr>
            <p:cNvSpPr>
              <a:spLocks/>
            </p:cNvSpPr>
            <p:nvPr userDrawn="1"/>
          </p:nvSpPr>
          <p:spPr bwMode="auto">
            <a:xfrm>
              <a:off x="5719763" y="3516313"/>
              <a:ext cx="396875" cy="371475"/>
            </a:xfrm>
            <a:custGeom>
              <a:avLst/>
              <a:gdLst>
                <a:gd name="T0" fmla="*/ 29 w 201"/>
                <a:gd name="T1" fmla="*/ 180 h 188"/>
                <a:gd name="T2" fmla="*/ 20 w 201"/>
                <a:gd name="T3" fmla="*/ 135 h 188"/>
                <a:gd name="T4" fmla="*/ 29 w 201"/>
                <a:gd name="T5" fmla="*/ 90 h 188"/>
                <a:gd name="T6" fmla="*/ 52 w 201"/>
                <a:gd name="T7" fmla="*/ 54 h 188"/>
                <a:gd name="T8" fmla="*/ 86 w 201"/>
                <a:gd name="T9" fmla="*/ 29 h 188"/>
                <a:gd name="T10" fmla="*/ 127 w 201"/>
                <a:gd name="T11" fmla="*/ 20 h 188"/>
                <a:gd name="T12" fmla="*/ 169 w 201"/>
                <a:gd name="T13" fmla="*/ 29 h 188"/>
                <a:gd name="T14" fmla="*/ 189 w 201"/>
                <a:gd name="T15" fmla="*/ 41 h 188"/>
                <a:gd name="T16" fmla="*/ 201 w 201"/>
                <a:gd name="T17" fmla="*/ 25 h 188"/>
                <a:gd name="T18" fmla="*/ 177 w 201"/>
                <a:gd name="T19" fmla="*/ 11 h 188"/>
                <a:gd name="T20" fmla="*/ 127 w 201"/>
                <a:gd name="T21" fmla="*/ 0 h 188"/>
                <a:gd name="T22" fmla="*/ 78 w 201"/>
                <a:gd name="T23" fmla="*/ 11 h 188"/>
                <a:gd name="T24" fmla="*/ 37 w 201"/>
                <a:gd name="T25" fmla="*/ 40 h 188"/>
                <a:gd name="T26" fmla="*/ 10 w 201"/>
                <a:gd name="T27" fmla="*/ 83 h 188"/>
                <a:gd name="T28" fmla="*/ 0 w 201"/>
                <a:gd name="T29" fmla="*/ 135 h 188"/>
                <a:gd name="T30" fmla="*/ 10 w 201"/>
                <a:gd name="T31" fmla="*/ 188 h 188"/>
                <a:gd name="T32" fmla="*/ 29 w 201"/>
                <a:gd name="T33" fmla="*/ 180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1" h="188">
                  <a:moveTo>
                    <a:pt x="29" y="180"/>
                  </a:moveTo>
                  <a:cubicBezTo>
                    <a:pt x="23" y="167"/>
                    <a:pt x="20" y="151"/>
                    <a:pt x="20" y="135"/>
                  </a:cubicBezTo>
                  <a:cubicBezTo>
                    <a:pt x="20" y="119"/>
                    <a:pt x="23" y="104"/>
                    <a:pt x="29" y="90"/>
                  </a:cubicBezTo>
                  <a:cubicBezTo>
                    <a:pt x="34" y="77"/>
                    <a:pt x="42" y="64"/>
                    <a:pt x="52" y="54"/>
                  </a:cubicBezTo>
                  <a:cubicBezTo>
                    <a:pt x="62" y="43"/>
                    <a:pt x="73" y="35"/>
                    <a:pt x="86" y="29"/>
                  </a:cubicBezTo>
                  <a:cubicBezTo>
                    <a:pt x="99" y="23"/>
                    <a:pt x="113" y="20"/>
                    <a:pt x="127" y="20"/>
                  </a:cubicBezTo>
                  <a:cubicBezTo>
                    <a:pt x="142" y="20"/>
                    <a:pt x="156" y="23"/>
                    <a:pt x="169" y="29"/>
                  </a:cubicBezTo>
                  <a:cubicBezTo>
                    <a:pt x="176" y="32"/>
                    <a:pt x="183" y="36"/>
                    <a:pt x="189" y="41"/>
                  </a:cubicBezTo>
                  <a:cubicBezTo>
                    <a:pt x="201" y="25"/>
                    <a:pt x="201" y="25"/>
                    <a:pt x="201" y="25"/>
                  </a:cubicBezTo>
                  <a:cubicBezTo>
                    <a:pt x="194" y="19"/>
                    <a:pt x="186" y="15"/>
                    <a:pt x="177" y="11"/>
                  </a:cubicBezTo>
                  <a:cubicBezTo>
                    <a:pt x="162" y="4"/>
                    <a:pt x="145" y="0"/>
                    <a:pt x="127" y="0"/>
                  </a:cubicBezTo>
                  <a:cubicBezTo>
                    <a:pt x="110" y="0"/>
                    <a:pt x="93" y="4"/>
                    <a:pt x="78" y="11"/>
                  </a:cubicBezTo>
                  <a:cubicBezTo>
                    <a:pt x="62" y="18"/>
                    <a:pt x="49" y="28"/>
                    <a:pt x="37" y="40"/>
                  </a:cubicBezTo>
                  <a:cubicBezTo>
                    <a:pt x="26" y="52"/>
                    <a:pt x="16" y="67"/>
                    <a:pt x="10" y="83"/>
                  </a:cubicBezTo>
                  <a:cubicBezTo>
                    <a:pt x="4" y="99"/>
                    <a:pt x="0" y="117"/>
                    <a:pt x="0" y="135"/>
                  </a:cubicBezTo>
                  <a:cubicBezTo>
                    <a:pt x="0" y="154"/>
                    <a:pt x="4" y="172"/>
                    <a:pt x="10" y="188"/>
                  </a:cubicBezTo>
                  <a:cubicBezTo>
                    <a:pt x="29" y="180"/>
                    <a:pt x="29" y="180"/>
                    <a:pt x="29" y="18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686" name="Freeform 1690">
              <a:extLst>
                <a:ext uri="{FF2B5EF4-FFF2-40B4-BE49-F238E27FC236}">
                  <a16:creationId xmlns:a16="http://schemas.microsoft.com/office/drawing/2014/main" id="{2B1BFFB2-5216-4287-9E7E-9C1AB2E4BD03}"/>
                </a:ext>
              </a:extLst>
            </p:cNvPr>
            <p:cNvSpPr>
              <a:spLocks/>
            </p:cNvSpPr>
            <p:nvPr userDrawn="1"/>
          </p:nvSpPr>
          <p:spPr bwMode="auto">
            <a:xfrm>
              <a:off x="6015038" y="3486150"/>
              <a:ext cx="120650" cy="130175"/>
            </a:xfrm>
            <a:custGeom>
              <a:avLst/>
              <a:gdLst>
                <a:gd name="T0" fmla="*/ 0 w 76"/>
                <a:gd name="T1" fmla="*/ 61 h 82"/>
                <a:gd name="T2" fmla="*/ 52 w 76"/>
                <a:gd name="T3" fmla="*/ 56 h 82"/>
                <a:gd name="T4" fmla="*/ 47 w 76"/>
                <a:gd name="T5" fmla="*/ 0 h 82"/>
                <a:gd name="T6" fmla="*/ 71 w 76"/>
                <a:gd name="T7" fmla="*/ 21 h 82"/>
                <a:gd name="T8" fmla="*/ 76 w 76"/>
                <a:gd name="T9" fmla="*/ 77 h 82"/>
                <a:gd name="T10" fmla="*/ 25 w 76"/>
                <a:gd name="T11" fmla="*/ 82 h 82"/>
                <a:gd name="T12" fmla="*/ 0 w 76"/>
                <a:gd name="T13" fmla="*/ 61 h 82"/>
              </a:gdLst>
              <a:ahLst/>
              <a:cxnLst>
                <a:cxn ang="0">
                  <a:pos x="T0" y="T1"/>
                </a:cxn>
                <a:cxn ang="0">
                  <a:pos x="T2" y="T3"/>
                </a:cxn>
                <a:cxn ang="0">
                  <a:pos x="T4" y="T5"/>
                </a:cxn>
                <a:cxn ang="0">
                  <a:pos x="T6" y="T7"/>
                </a:cxn>
                <a:cxn ang="0">
                  <a:pos x="T8" y="T9"/>
                </a:cxn>
                <a:cxn ang="0">
                  <a:pos x="T10" y="T11"/>
                </a:cxn>
                <a:cxn ang="0">
                  <a:pos x="T12" y="T13"/>
                </a:cxn>
              </a:cxnLst>
              <a:rect l="0" t="0" r="r" b="b"/>
              <a:pathLst>
                <a:path w="76" h="82">
                  <a:moveTo>
                    <a:pt x="0" y="61"/>
                  </a:moveTo>
                  <a:lnTo>
                    <a:pt x="52" y="56"/>
                  </a:lnTo>
                  <a:lnTo>
                    <a:pt x="47" y="0"/>
                  </a:lnTo>
                  <a:lnTo>
                    <a:pt x="71" y="21"/>
                  </a:lnTo>
                  <a:lnTo>
                    <a:pt x="76" y="77"/>
                  </a:lnTo>
                  <a:lnTo>
                    <a:pt x="25" y="82"/>
                  </a:lnTo>
                  <a:lnTo>
                    <a:pt x="0" y="61"/>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687" name="Oval 1691">
              <a:extLst>
                <a:ext uri="{FF2B5EF4-FFF2-40B4-BE49-F238E27FC236}">
                  <a16:creationId xmlns:a16="http://schemas.microsoft.com/office/drawing/2014/main" id="{EC1FA55B-B5AB-4537-8FA4-CF7B1896183B}"/>
                </a:ext>
              </a:extLst>
            </p:cNvPr>
            <p:cNvSpPr>
              <a:spLocks noChangeArrowheads="1"/>
            </p:cNvSpPr>
            <p:nvPr userDrawn="1"/>
          </p:nvSpPr>
          <p:spPr bwMode="auto">
            <a:xfrm>
              <a:off x="5838826" y="3651250"/>
              <a:ext cx="250825" cy="266700"/>
            </a:xfrm>
            <a:prstGeom prst="ellipse">
              <a:avLst/>
            </a:prstGeom>
            <a:solidFill>
              <a:schemeClr val="accent2">
                <a:lumMod val="60000"/>
                <a:lumOff val="4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1688" name="Freeform 1692">
              <a:extLst>
                <a:ext uri="{FF2B5EF4-FFF2-40B4-BE49-F238E27FC236}">
                  <a16:creationId xmlns:a16="http://schemas.microsoft.com/office/drawing/2014/main" id="{E265F51F-7D56-4372-9B5D-6D3462592972}"/>
                </a:ext>
              </a:extLst>
            </p:cNvPr>
            <p:cNvSpPr>
              <a:spLocks/>
            </p:cNvSpPr>
            <p:nvPr userDrawn="1"/>
          </p:nvSpPr>
          <p:spPr bwMode="auto">
            <a:xfrm>
              <a:off x="5816601" y="3629025"/>
              <a:ext cx="292100" cy="307975"/>
            </a:xfrm>
            <a:custGeom>
              <a:avLst/>
              <a:gdLst>
                <a:gd name="T0" fmla="*/ 138 w 148"/>
                <a:gd name="T1" fmla="*/ 78 h 156"/>
                <a:gd name="T2" fmla="*/ 127 w 148"/>
                <a:gd name="T3" fmla="*/ 78 h 156"/>
                <a:gd name="T4" fmla="*/ 112 w 148"/>
                <a:gd name="T5" fmla="*/ 119 h 156"/>
                <a:gd name="T6" fmla="*/ 74 w 148"/>
                <a:gd name="T7" fmla="*/ 136 h 156"/>
                <a:gd name="T8" fmla="*/ 37 w 148"/>
                <a:gd name="T9" fmla="*/ 119 h 156"/>
                <a:gd name="T10" fmla="*/ 21 w 148"/>
                <a:gd name="T11" fmla="*/ 78 h 156"/>
                <a:gd name="T12" fmla="*/ 37 w 148"/>
                <a:gd name="T13" fmla="*/ 37 h 156"/>
                <a:gd name="T14" fmla="*/ 74 w 148"/>
                <a:gd name="T15" fmla="*/ 21 h 156"/>
                <a:gd name="T16" fmla="*/ 112 w 148"/>
                <a:gd name="T17" fmla="*/ 37 h 156"/>
                <a:gd name="T18" fmla="*/ 127 w 148"/>
                <a:gd name="T19" fmla="*/ 78 h 156"/>
                <a:gd name="T20" fmla="*/ 138 w 148"/>
                <a:gd name="T21" fmla="*/ 78 h 156"/>
                <a:gd name="T22" fmla="*/ 148 w 148"/>
                <a:gd name="T23" fmla="*/ 78 h 156"/>
                <a:gd name="T24" fmla="*/ 126 w 148"/>
                <a:gd name="T25" fmla="*/ 23 h 156"/>
                <a:gd name="T26" fmla="*/ 74 w 148"/>
                <a:gd name="T27" fmla="*/ 0 h 156"/>
                <a:gd name="T28" fmla="*/ 22 w 148"/>
                <a:gd name="T29" fmla="*/ 23 h 156"/>
                <a:gd name="T30" fmla="*/ 0 w 148"/>
                <a:gd name="T31" fmla="*/ 78 h 156"/>
                <a:gd name="T32" fmla="*/ 22 w 148"/>
                <a:gd name="T33" fmla="*/ 133 h 156"/>
                <a:gd name="T34" fmla="*/ 74 w 148"/>
                <a:gd name="T35" fmla="*/ 156 h 156"/>
                <a:gd name="T36" fmla="*/ 126 w 148"/>
                <a:gd name="T37" fmla="*/ 133 h 156"/>
                <a:gd name="T38" fmla="*/ 148 w 148"/>
                <a:gd name="T39" fmla="*/ 78 h 156"/>
                <a:gd name="T40" fmla="*/ 138 w 148"/>
                <a:gd name="T41" fmla="*/ 78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8" h="156">
                  <a:moveTo>
                    <a:pt x="138" y="78"/>
                  </a:moveTo>
                  <a:cubicBezTo>
                    <a:pt x="127" y="78"/>
                    <a:pt x="127" y="78"/>
                    <a:pt x="127" y="78"/>
                  </a:cubicBezTo>
                  <a:cubicBezTo>
                    <a:pt x="127" y="95"/>
                    <a:pt x="121" y="109"/>
                    <a:pt x="112" y="119"/>
                  </a:cubicBezTo>
                  <a:cubicBezTo>
                    <a:pt x="102" y="130"/>
                    <a:pt x="89" y="136"/>
                    <a:pt x="74" y="136"/>
                  </a:cubicBezTo>
                  <a:cubicBezTo>
                    <a:pt x="60" y="136"/>
                    <a:pt x="46" y="130"/>
                    <a:pt x="37" y="119"/>
                  </a:cubicBezTo>
                  <a:cubicBezTo>
                    <a:pt x="27" y="109"/>
                    <a:pt x="21" y="95"/>
                    <a:pt x="21" y="78"/>
                  </a:cubicBezTo>
                  <a:cubicBezTo>
                    <a:pt x="21" y="62"/>
                    <a:pt x="27" y="48"/>
                    <a:pt x="37" y="37"/>
                  </a:cubicBezTo>
                  <a:cubicBezTo>
                    <a:pt x="46" y="27"/>
                    <a:pt x="60" y="21"/>
                    <a:pt x="74" y="21"/>
                  </a:cubicBezTo>
                  <a:cubicBezTo>
                    <a:pt x="89" y="21"/>
                    <a:pt x="102" y="27"/>
                    <a:pt x="112" y="37"/>
                  </a:cubicBezTo>
                  <a:cubicBezTo>
                    <a:pt x="121" y="48"/>
                    <a:pt x="127" y="62"/>
                    <a:pt x="127" y="78"/>
                  </a:cubicBezTo>
                  <a:cubicBezTo>
                    <a:pt x="138" y="78"/>
                    <a:pt x="138" y="78"/>
                    <a:pt x="138" y="78"/>
                  </a:cubicBezTo>
                  <a:cubicBezTo>
                    <a:pt x="148" y="78"/>
                    <a:pt x="148" y="78"/>
                    <a:pt x="148" y="78"/>
                  </a:cubicBezTo>
                  <a:cubicBezTo>
                    <a:pt x="148" y="57"/>
                    <a:pt x="140" y="38"/>
                    <a:pt x="126" y="23"/>
                  </a:cubicBezTo>
                  <a:cubicBezTo>
                    <a:pt x="113" y="9"/>
                    <a:pt x="95" y="0"/>
                    <a:pt x="74" y="0"/>
                  </a:cubicBezTo>
                  <a:cubicBezTo>
                    <a:pt x="54" y="0"/>
                    <a:pt x="35" y="9"/>
                    <a:pt x="22" y="23"/>
                  </a:cubicBezTo>
                  <a:cubicBezTo>
                    <a:pt x="9" y="38"/>
                    <a:pt x="1" y="57"/>
                    <a:pt x="0" y="78"/>
                  </a:cubicBezTo>
                  <a:cubicBezTo>
                    <a:pt x="1" y="100"/>
                    <a:pt x="9" y="119"/>
                    <a:pt x="22" y="133"/>
                  </a:cubicBezTo>
                  <a:cubicBezTo>
                    <a:pt x="35" y="147"/>
                    <a:pt x="54" y="156"/>
                    <a:pt x="74" y="156"/>
                  </a:cubicBezTo>
                  <a:cubicBezTo>
                    <a:pt x="95" y="156"/>
                    <a:pt x="113" y="147"/>
                    <a:pt x="126" y="133"/>
                  </a:cubicBezTo>
                  <a:cubicBezTo>
                    <a:pt x="140" y="119"/>
                    <a:pt x="148" y="100"/>
                    <a:pt x="148" y="78"/>
                  </a:cubicBezTo>
                  <a:lnTo>
                    <a:pt x="138" y="78"/>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689" name="Freeform 1693">
              <a:extLst>
                <a:ext uri="{FF2B5EF4-FFF2-40B4-BE49-F238E27FC236}">
                  <a16:creationId xmlns:a16="http://schemas.microsoft.com/office/drawing/2014/main" id="{4C806C38-07A7-4581-9EFF-0CF01E6F19D9}"/>
                </a:ext>
              </a:extLst>
            </p:cNvPr>
            <p:cNvSpPr>
              <a:spLocks/>
            </p:cNvSpPr>
            <p:nvPr userDrawn="1"/>
          </p:nvSpPr>
          <p:spPr bwMode="auto">
            <a:xfrm>
              <a:off x="9523413" y="2384425"/>
              <a:ext cx="447675" cy="182563"/>
            </a:xfrm>
            <a:custGeom>
              <a:avLst/>
              <a:gdLst>
                <a:gd name="T0" fmla="*/ 226 w 226"/>
                <a:gd name="T1" fmla="*/ 82 h 92"/>
                <a:gd name="T2" fmla="*/ 167 w 226"/>
                <a:gd name="T3" fmla="*/ 23 h 92"/>
                <a:gd name="T4" fmla="*/ 85 w 226"/>
                <a:gd name="T5" fmla="*/ 0 h 92"/>
                <a:gd name="T6" fmla="*/ 0 w 226"/>
                <a:gd name="T7" fmla="*/ 25 h 92"/>
                <a:gd name="T8" fmla="*/ 11 w 226"/>
                <a:gd name="T9" fmla="*/ 42 h 92"/>
                <a:gd name="T10" fmla="*/ 85 w 226"/>
                <a:gd name="T11" fmla="*/ 21 h 92"/>
                <a:gd name="T12" fmla="*/ 156 w 226"/>
                <a:gd name="T13" fmla="*/ 40 h 92"/>
                <a:gd name="T14" fmla="*/ 208 w 226"/>
                <a:gd name="T15" fmla="*/ 92 h 92"/>
                <a:gd name="T16" fmla="*/ 226 w 226"/>
                <a:gd name="T17" fmla="*/ 8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 h="92">
                  <a:moveTo>
                    <a:pt x="226" y="82"/>
                  </a:moveTo>
                  <a:cubicBezTo>
                    <a:pt x="211" y="57"/>
                    <a:pt x="190" y="37"/>
                    <a:pt x="167" y="23"/>
                  </a:cubicBezTo>
                  <a:cubicBezTo>
                    <a:pt x="143" y="9"/>
                    <a:pt x="115" y="0"/>
                    <a:pt x="85" y="0"/>
                  </a:cubicBezTo>
                  <a:cubicBezTo>
                    <a:pt x="54" y="0"/>
                    <a:pt x="25" y="9"/>
                    <a:pt x="0" y="25"/>
                  </a:cubicBezTo>
                  <a:cubicBezTo>
                    <a:pt x="11" y="42"/>
                    <a:pt x="11" y="42"/>
                    <a:pt x="11" y="42"/>
                  </a:cubicBezTo>
                  <a:cubicBezTo>
                    <a:pt x="33" y="29"/>
                    <a:pt x="58" y="21"/>
                    <a:pt x="85" y="21"/>
                  </a:cubicBezTo>
                  <a:cubicBezTo>
                    <a:pt x="111" y="21"/>
                    <a:pt x="135" y="28"/>
                    <a:pt x="156" y="40"/>
                  </a:cubicBezTo>
                  <a:cubicBezTo>
                    <a:pt x="177" y="53"/>
                    <a:pt x="195" y="71"/>
                    <a:pt x="208" y="92"/>
                  </a:cubicBezTo>
                  <a:cubicBezTo>
                    <a:pt x="226" y="82"/>
                    <a:pt x="226" y="82"/>
                    <a:pt x="226" y="82"/>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690" name="Freeform 1694">
              <a:extLst>
                <a:ext uri="{FF2B5EF4-FFF2-40B4-BE49-F238E27FC236}">
                  <a16:creationId xmlns:a16="http://schemas.microsoft.com/office/drawing/2014/main" id="{705C35D9-941D-409B-A7A2-F3F72C8F3AC8}"/>
                </a:ext>
              </a:extLst>
            </p:cNvPr>
            <p:cNvSpPr>
              <a:spLocks/>
            </p:cNvSpPr>
            <p:nvPr userDrawn="1"/>
          </p:nvSpPr>
          <p:spPr bwMode="auto">
            <a:xfrm>
              <a:off x="9291638" y="2500313"/>
              <a:ext cx="152400" cy="160338"/>
            </a:xfrm>
            <a:custGeom>
              <a:avLst/>
              <a:gdLst>
                <a:gd name="T0" fmla="*/ 0 w 77"/>
                <a:gd name="T1" fmla="*/ 20 h 81"/>
                <a:gd name="T2" fmla="*/ 40 w 77"/>
                <a:gd name="T3" fmla="*/ 38 h 81"/>
                <a:gd name="T4" fmla="*/ 57 w 77"/>
                <a:gd name="T5" fmla="*/ 81 h 81"/>
                <a:gd name="T6" fmla="*/ 77 w 77"/>
                <a:gd name="T7" fmla="*/ 81 h 81"/>
                <a:gd name="T8" fmla="*/ 55 w 77"/>
                <a:gd name="T9" fmla="*/ 24 h 81"/>
                <a:gd name="T10" fmla="*/ 0 w 77"/>
                <a:gd name="T11" fmla="*/ 0 h 81"/>
                <a:gd name="T12" fmla="*/ 0 w 77"/>
                <a:gd name="T13" fmla="*/ 20 h 81"/>
              </a:gdLst>
              <a:ahLst/>
              <a:cxnLst>
                <a:cxn ang="0">
                  <a:pos x="T0" y="T1"/>
                </a:cxn>
                <a:cxn ang="0">
                  <a:pos x="T2" y="T3"/>
                </a:cxn>
                <a:cxn ang="0">
                  <a:pos x="T4" y="T5"/>
                </a:cxn>
                <a:cxn ang="0">
                  <a:pos x="T6" y="T7"/>
                </a:cxn>
                <a:cxn ang="0">
                  <a:pos x="T8" y="T9"/>
                </a:cxn>
                <a:cxn ang="0">
                  <a:pos x="T10" y="T11"/>
                </a:cxn>
                <a:cxn ang="0">
                  <a:pos x="T12" y="T13"/>
                </a:cxn>
              </a:cxnLst>
              <a:rect l="0" t="0" r="r" b="b"/>
              <a:pathLst>
                <a:path w="77" h="81">
                  <a:moveTo>
                    <a:pt x="0" y="20"/>
                  </a:moveTo>
                  <a:cubicBezTo>
                    <a:pt x="16" y="20"/>
                    <a:pt x="30" y="27"/>
                    <a:pt x="40" y="38"/>
                  </a:cubicBezTo>
                  <a:cubicBezTo>
                    <a:pt x="51" y="49"/>
                    <a:pt x="57" y="64"/>
                    <a:pt x="57" y="81"/>
                  </a:cubicBezTo>
                  <a:cubicBezTo>
                    <a:pt x="77" y="81"/>
                    <a:pt x="77" y="81"/>
                    <a:pt x="77" y="81"/>
                  </a:cubicBezTo>
                  <a:cubicBezTo>
                    <a:pt x="77" y="59"/>
                    <a:pt x="69" y="39"/>
                    <a:pt x="55" y="24"/>
                  </a:cubicBezTo>
                  <a:cubicBezTo>
                    <a:pt x="41" y="9"/>
                    <a:pt x="22" y="0"/>
                    <a:pt x="0" y="0"/>
                  </a:cubicBezTo>
                  <a:cubicBezTo>
                    <a:pt x="0" y="20"/>
                    <a:pt x="0" y="20"/>
                    <a:pt x="0" y="2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388" name="Freeform 1571">
              <a:extLst>
                <a:ext uri="{FF2B5EF4-FFF2-40B4-BE49-F238E27FC236}">
                  <a16:creationId xmlns:a16="http://schemas.microsoft.com/office/drawing/2014/main" id="{8B6B4286-D37E-435E-89D2-C15E4CDA5D45}"/>
                </a:ext>
              </a:extLst>
            </p:cNvPr>
            <p:cNvSpPr>
              <a:spLocks noEditPoints="1"/>
            </p:cNvSpPr>
            <p:nvPr userDrawn="1"/>
          </p:nvSpPr>
          <p:spPr bwMode="auto">
            <a:xfrm>
              <a:off x="9440863" y="2832100"/>
              <a:ext cx="604838" cy="655639"/>
            </a:xfrm>
            <a:custGeom>
              <a:avLst/>
              <a:gdLst>
                <a:gd name="T0" fmla="*/ 296 w 312"/>
                <a:gd name="T1" fmla="*/ 139 h 333"/>
                <a:gd name="T2" fmla="*/ 270 w 312"/>
                <a:gd name="T3" fmla="*/ 139 h 333"/>
                <a:gd name="T4" fmla="*/ 255 w 312"/>
                <a:gd name="T5" fmla="*/ 100 h 333"/>
                <a:gd name="T6" fmla="*/ 273 w 312"/>
                <a:gd name="T7" fmla="*/ 81 h 333"/>
                <a:gd name="T8" fmla="*/ 273 w 312"/>
                <a:gd name="T9" fmla="*/ 56 h 333"/>
                <a:gd name="T10" fmla="*/ 260 w 312"/>
                <a:gd name="T11" fmla="*/ 42 h 333"/>
                <a:gd name="T12" fmla="*/ 237 w 312"/>
                <a:gd name="T13" fmla="*/ 42 h 333"/>
                <a:gd name="T14" fmla="*/ 219 w 312"/>
                <a:gd name="T15" fmla="*/ 61 h 333"/>
                <a:gd name="T16" fmla="*/ 182 w 312"/>
                <a:gd name="T17" fmla="*/ 45 h 333"/>
                <a:gd name="T18" fmla="*/ 182 w 312"/>
                <a:gd name="T19" fmla="*/ 18 h 333"/>
                <a:gd name="T20" fmla="*/ 166 w 312"/>
                <a:gd name="T21" fmla="*/ 0 h 333"/>
                <a:gd name="T22" fmla="*/ 147 w 312"/>
                <a:gd name="T23" fmla="*/ 0 h 333"/>
                <a:gd name="T24" fmla="*/ 130 w 312"/>
                <a:gd name="T25" fmla="*/ 18 h 333"/>
                <a:gd name="T26" fmla="*/ 130 w 312"/>
                <a:gd name="T27" fmla="*/ 45 h 333"/>
                <a:gd name="T28" fmla="*/ 94 w 312"/>
                <a:gd name="T29" fmla="*/ 61 h 333"/>
                <a:gd name="T30" fmla="*/ 76 w 312"/>
                <a:gd name="T31" fmla="*/ 41 h 333"/>
                <a:gd name="T32" fmla="*/ 53 w 312"/>
                <a:gd name="T33" fmla="*/ 41 h 333"/>
                <a:gd name="T34" fmla="*/ 40 w 312"/>
                <a:gd name="T35" fmla="*/ 55 h 333"/>
                <a:gd name="T36" fmla="*/ 40 w 312"/>
                <a:gd name="T37" fmla="*/ 80 h 333"/>
                <a:gd name="T38" fmla="*/ 58 w 312"/>
                <a:gd name="T39" fmla="*/ 99 h 333"/>
                <a:gd name="T40" fmla="*/ 42 w 312"/>
                <a:gd name="T41" fmla="*/ 138 h 333"/>
                <a:gd name="T42" fmla="*/ 17 w 312"/>
                <a:gd name="T43" fmla="*/ 138 h 333"/>
                <a:gd name="T44" fmla="*/ 0 w 312"/>
                <a:gd name="T45" fmla="*/ 156 h 333"/>
                <a:gd name="T46" fmla="*/ 0 w 312"/>
                <a:gd name="T47" fmla="*/ 176 h 333"/>
                <a:gd name="T48" fmla="*/ 17 w 312"/>
                <a:gd name="T49" fmla="*/ 194 h 333"/>
                <a:gd name="T50" fmla="*/ 42 w 312"/>
                <a:gd name="T51" fmla="*/ 194 h 333"/>
                <a:gd name="T52" fmla="*/ 57 w 312"/>
                <a:gd name="T53" fmla="*/ 233 h 333"/>
                <a:gd name="T54" fmla="*/ 39 w 312"/>
                <a:gd name="T55" fmla="*/ 252 h 333"/>
                <a:gd name="T56" fmla="*/ 39 w 312"/>
                <a:gd name="T57" fmla="*/ 277 h 333"/>
                <a:gd name="T58" fmla="*/ 52 w 312"/>
                <a:gd name="T59" fmla="*/ 291 h 333"/>
                <a:gd name="T60" fmla="*/ 75 w 312"/>
                <a:gd name="T61" fmla="*/ 291 h 333"/>
                <a:gd name="T62" fmla="*/ 93 w 312"/>
                <a:gd name="T63" fmla="*/ 272 h 333"/>
                <a:gd name="T64" fmla="*/ 130 w 312"/>
                <a:gd name="T65" fmla="*/ 289 h 333"/>
                <a:gd name="T66" fmla="*/ 130 w 312"/>
                <a:gd name="T67" fmla="*/ 316 h 333"/>
                <a:gd name="T68" fmla="*/ 146 w 312"/>
                <a:gd name="T69" fmla="*/ 333 h 333"/>
                <a:gd name="T70" fmla="*/ 165 w 312"/>
                <a:gd name="T71" fmla="*/ 333 h 333"/>
                <a:gd name="T72" fmla="*/ 182 w 312"/>
                <a:gd name="T73" fmla="*/ 316 h 333"/>
                <a:gd name="T74" fmla="*/ 182 w 312"/>
                <a:gd name="T75" fmla="*/ 289 h 333"/>
                <a:gd name="T76" fmla="*/ 218 w 312"/>
                <a:gd name="T77" fmla="*/ 273 h 333"/>
                <a:gd name="T78" fmla="*/ 236 w 312"/>
                <a:gd name="T79" fmla="*/ 292 h 333"/>
                <a:gd name="T80" fmla="*/ 259 w 312"/>
                <a:gd name="T81" fmla="*/ 292 h 333"/>
                <a:gd name="T82" fmla="*/ 273 w 312"/>
                <a:gd name="T83" fmla="*/ 278 h 333"/>
                <a:gd name="T84" fmla="*/ 273 w 312"/>
                <a:gd name="T85" fmla="*/ 253 h 333"/>
                <a:gd name="T86" fmla="*/ 255 w 312"/>
                <a:gd name="T87" fmla="*/ 234 h 333"/>
                <a:gd name="T88" fmla="*/ 270 w 312"/>
                <a:gd name="T89" fmla="*/ 195 h 333"/>
                <a:gd name="T90" fmla="*/ 296 w 312"/>
                <a:gd name="T91" fmla="*/ 195 h 333"/>
                <a:gd name="T92" fmla="*/ 312 w 312"/>
                <a:gd name="T93" fmla="*/ 177 h 333"/>
                <a:gd name="T94" fmla="*/ 312 w 312"/>
                <a:gd name="T95" fmla="*/ 157 h 333"/>
                <a:gd name="T96" fmla="*/ 296 w 312"/>
                <a:gd name="T97" fmla="*/ 139 h 333"/>
                <a:gd name="T98" fmla="*/ 156 w 312"/>
                <a:gd name="T99" fmla="*/ 222 h 333"/>
                <a:gd name="T100" fmla="*/ 104 w 312"/>
                <a:gd name="T101" fmla="*/ 167 h 333"/>
                <a:gd name="T102" fmla="*/ 156 w 312"/>
                <a:gd name="T103" fmla="*/ 111 h 333"/>
                <a:gd name="T104" fmla="*/ 208 w 312"/>
                <a:gd name="T105" fmla="*/ 167 h 333"/>
                <a:gd name="T106" fmla="*/ 156 w 312"/>
                <a:gd name="T107" fmla="*/ 222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2" h="333">
                  <a:moveTo>
                    <a:pt x="296" y="139"/>
                  </a:moveTo>
                  <a:cubicBezTo>
                    <a:pt x="270" y="139"/>
                    <a:pt x="270" y="139"/>
                    <a:pt x="270" y="139"/>
                  </a:cubicBezTo>
                  <a:cubicBezTo>
                    <a:pt x="267" y="125"/>
                    <a:pt x="262" y="112"/>
                    <a:pt x="255" y="100"/>
                  </a:cubicBezTo>
                  <a:cubicBezTo>
                    <a:pt x="273" y="81"/>
                    <a:pt x="273" y="81"/>
                    <a:pt x="273" y="81"/>
                  </a:cubicBezTo>
                  <a:cubicBezTo>
                    <a:pt x="280" y="74"/>
                    <a:pt x="280" y="63"/>
                    <a:pt x="273" y="56"/>
                  </a:cubicBezTo>
                  <a:cubicBezTo>
                    <a:pt x="260" y="42"/>
                    <a:pt x="260" y="42"/>
                    <a:pt x="260" y="42"/>
                  </a:cubicBezTo>
                  <a:cubicBezTo>
                    <a:pt x="253" y="35"/>
                    <a:pt x="243" y="35"/>
                    <a:pt x="237" y="42"/>
                  </a:cubicBezTo>
                  <a:cubicBezTo>
                    <a:pt x="219" y="61"/>
                    <a:pt x="219" y="61"/>
                    <a:pt x="219" y="61"/>
                  </a:cubicBezTo>
                  <a:cubicBezTo>
                    <a:pt x="208" y="53"/>
                    <a:pt x="195" y="48"/>
                    <a:pt x="182" y="45"/>
                  </a:cubicBezTo>
                  <a:cubicBezTo>
                    <a:pt x="182" y="18"/>
                    <a:pt x="182" y="18"/>
                    <a:pt x="182" y="18"/>
                  </a:cubicBezTo>
                  <a:cubicBezTo>
                    <a:pt x="182" y="8"/>
                    <a:pt x="175" y="0"/>
                    <a:pt x="166" y="0"/>
                  </a:cubicBezTo>
                  <a:cubicBezTo>
                    <a:pt x="147" y="0"/>
                    <a:pt x="147" y="0"/>
                    <a:pt x="147" y="0"/>
                  </a:cubicBezTo>
                  <a:cubicBezTo>
                    <a:pt x="138" y="0"/>
                    <a:pt x="130" y="8"/>
                    <a:pt x="130" y="18"/>
                  </a:cubicBezTo>
                  <a:cubicBezTo>
                    <a:pt x="130" y="45"/>
                    <a:pt x="130" y="45"/>
                    <a:pt x="130" y="45"/>
                  </a:cubicBezTo>
                  <a:cubicBezTo>
                    <a:pt x="117" y="48"/>
                    <a:pt x="105" y="53"/>
                    <a:pt x="94" y="61"/>
                  </a:cubicBezTo>
                  <a:cubicBezTo>
                    <a:pt x="76" y="41"/>
                    <a:pt x="76" y="41"/>
                    <a:pt x="76" y="41"/>
                  </a:cubicBezTo>
                  <a:cubicBezTo>
                    <a:pt x="70" y="34"/>
                    <a:pt x="60" y="34"/>
                    <a:pt x="53" y="41"/>
                  </a:cubicBezTo>
                  <a:cubicBezTo>
                    <a:pt x="40" y="55"/>
                    <a:pt x="40" y="55"/>
                    <a:pt x="40" y="55"/>
                  </a:cubicBezTo>
                  <a:cubicBezTo>
                    <a:pt x="33" y="62"/>
                    <a:pt x="33" y="73"/>
                    <a:pt x="40" y="80"/>
                  </a:cubicBezTo>
                  <a:cubicBezTo>
                    <a:pt x="58" y="99"/>
                    <a:pt x="58" y="99"/>
                    <a:pt x="58" y="99"/>
                  </a:cubicBezTo>
                  <a:cubicBezTo>
                    <a:pt x="50" y="111"/>
                    <a:pt x="45" y="124"/>
                    <a:pt x="42" y="138"/>
                  </a:cubicBezTo>
                  <a:cubicBezTo>
                    <a:pt x="17" y="138"/>
                    <a:pt x="17" y="138"/>
                    <a:pt x="17" y="138"/>
                  </a:cubicBezTo>
                  <a:cubicBezTo>
                    <a:pt x="8" y="138"/>
                    <a:pt x="0" y="146"/>
                    <a:pt x="0" y="156"/>
                  </a:cubicBezTo>
                  <a:cubicBezTo>
                    <a:pt x="0" y="176"/>
                    <a:pt x="0" y="176"/>
                    <a:pt x="0" y="176"/>
                  </a:cubicBezTo>
                  <a:cubicBezTo>
                    <a:pt x="0" y="186"/>
                    <a:pt x="8" y="194"/>
                    <a:pt x="17" y="194"/>
                  </a:cubicBezTo>
                  <a:cubicBezTo>
                    <a:pt x="42" y="194"/>
                    <a:pt x="42" y="194"/>
                    <a:pt x="42" y="194"/>
                  </a:cubicBezTo>
                  <a:cubicBezTo>
                    <a:pt x="45" y="208"/>
                    <a:pt x="50" y="221"/>
                    <a:pt x="57" y="233"/>
                  </a:cubicBezTo>
                  <a:cubicBezTo>
                    <a:pt x="39" y="252"/>
                    <a:pt x="39" y="252"/>
                    <a:pt x="39" y="252"/>
                  </a:cubicBezTo>
                  <a:cubicBezTo>
                    <a:pt x="33" y="259"/>
                    <a:pt x="33" y="270"/>
                    <a:pt x="39" y="277"/>
                  </a:cubicBezTo>
                  <a:cubicBezTo>
                    <a:pt x="52" y="291"/>
                    <a:pt x="52" y="291"/>
                    <a:pt x="52" y="291"/>
                  </a:cubicBezTo>
                  <a:cubicBezTo>
                    <a:pt x="59" y="298"/>
                    <a:pt x="69" y="298"/>
                    <a:pt x="75" y="291"/>
                  </a:cubicBezTo>
                  <a:cubicBezTo>
                    <a:pt x="93" y="272"/>
                    <a:pt x="93" y="272"/>
                    <a:pt x="93" y="272"/>
                  </a:cubicBezTo>
                  <a:cubicBezTo>
                    <a:pt x="105" y="280"/>
                    <a:pt x="117" y="285"/>
                    <a:pt x="130" y="289"/>
                  </a:cubicBezTo>
                  <a:cubicBezTo>
                    <a:pt x="130" y="316"/>
                    <a:pt x="130" y="316"/>
                    <a:pt x="130" y="316"/>
                  </a:cubicBezTo>
                  <a:cubicBezTo>
                    <a:pt x="130" y="325"/>
                    <a:pt x="137" y="333"/>
                    <a:pt x="146" y="333"/>
                  </a:cubicBezTo>
                  <a:cubicBezTo>
                    <a:pt x="165" y="333"/>
                    <a:pt x="165" y="333"/>
                    <a:pt x="165" y="333"/>
                  </a:cubicBezTo>
                  <a:cubicBezTo>
                    <a:pt x="174" y="333"/>
                    <a:pt x="182" y="326"/>
                    <a:pt x="182" y="316"/>
                  </a:cubicBezTo>
                  <a:cubicBezTo>
                    <a:pt x="182" y="289"/>
                    <a:pt x="182" y="289"/>
                    <a:pt x="182" y="289"/>
                  </a:cubicBezTo>
                  <a:cubicBezTo>
                    <a:pt x="195" y="286"/>
                    <a:pt x="207" y="280"/>
                    <a:pt x="218" y="273"/>
                  </a:cubicBezTo>
                  <a:cubicBezTo>
                    <a:pt x="236" y="292"/>
                    <a:pt x="236" y="292"/>
                    <a:pt x="236" y="292"/>
                  </a:cubicBezTo>
                  <a:cubicBezTo>
                    <a:pt x="243" y="299"/>
                    <a:pt x="253" y="299"/>
                    <a:pt x="259" y="292"/>
                  </a:cubicBezTo>
                  <a:cubicBezTo>
                    <a:pt x="273" y="278"/>
                    <a:pt x="273" y="278"/>
                    <a:pt x="273" y="278"/>
                  </a:cubicBezTo>
                  <a:cubicBezTo>
                    <a:pt x="279" y="271"/>
                    <a:pt x="279" y="260"/>
                    <a:pt x="273" y="253"/>
                  </a:cubicBezTo>
                  <a:cubicBezTo>
                    <a:pt x="255" y="234"/>
                    <a:pt x="255" y="234"/>
                    <a:pt x="255" y="234"/>
                  </a:cubicBezTo>
                  <a:cubicBezTo>
                    <a:pt x="262" y="222"/>
                    <a:pt x="267" y="209"/>
                    <a:pt x="270" y="195"/>
                  </a:cubicBezTo>
                  <a:cubicBezTo>
                    <a:pt x="296" y="195"/>
                    <a:pt x="296" y="195"/>
                    <a:pt x="296" y="195"/>
                  </a:cubicBezTo>
                  <a:cubicBezTo>
                    <a:pt x="305" y="195"/>
                    <a:pt x="312" y="187"/>
                    <a:pt x="312" y="177"/>
                  </a:cubicBezTo>
                  <a:cubicBezTo>
                    <a:pt x="312" y="157"/>
                    <a:pt x="312" y="157"/>
                    <a:pt x="312" y="157"/>
                  </a:cubicBezTo>
                  <a:cubicBezTo>
                    <a:pt x="312" y="147"/>
                    <a:pt x="305" y="139"/>
                    <a:pt x="296" y="139"/>
                  </a:cubicBezTo>
                  <a:close/>
                  <a:moveTo>
                    <a:pt x="156" y="222"/>
                  </a:moveTo>
                  <a:cubicBezTo>
                    <a:pt x="127" y="222"/>
                    <a:pt x="104" y="197"/>
                    <a:pt x="104" y="167"/>
                  </a:cubicBezTo>
                  <a:cubicBezTo>
                    <a:pt x="104" y="136"/>
                    <a:pt x="127" y="111"/>
                    <a:pt x="156" y="111"/>
                  </a:cubicBezTo>
                  <a:cubicBezTo>
                    <a:pt x="185" y="111"/>
                    <a:pt x="208" y="136"/>
                    <a:pt x="208" y="167"/>
                  </a:cubicBezTo>
                  <a:cubicBezTo>
                    <a:pt x="208" y="197"/>
                    <a:pt x="185" y="222"/>
                    <a:pt x="156" y="222"/>
                  </a:cubicBezTo>
                  <a:close/>
                </a:path>
              </a:pathLst>
            </a:custGeom>
            <a:noFill/>
            <a:ln w="3810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zh-CN" altLang="en-US"/>
            </a:p>
          </p:txBody>
        </p:sp>
      </p:grpSp>
      <p:sp>
        <p:nvSpPr>
          <p:cNvPr id="9801" name="副标题 2"/>
          <p:cNvSpPr>
            <a:spLocks noGrp="1"/>
          </p:cNvSpPr>
          <p:nvPr userDrawn="1">
            <p:ph type="subTitle" idx="1"/>
          </p:nvPr>
        </p:nvSpPr>
        <p:spPr>
          <a:xfrm>
            <a:off x="821109" y="2749551"/>
            <a:ext cx="5789241" cy="558799"/>
          </a:xfrm>
        </p:spPr>
        <p:txBody>
          <a:bodyPr anchor="ctr">
            <a:normAutofit/>
          </a:bodyPr>
          <a:lstStyle>
            <a:lvl1pPr marL="0" indent="0" algn="l">
              <a:buNone/>
              <a:defRPr sz="200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9802" name="标题 1"/>
          <p:cNvSpPr>
            <a:spLocks noGrp="1"/>
          </p:cNvSpPr>
          <p:nvPr userDrawn="1">
            <p:ph type="ctrTitle"/>
          </p:nvPr>
        </p:nvSpPr>
        <p:spPr>
          <a:xfrm>
            <a:off x="821109" y="1329508"/>
            <a:ext cx="5789241" cy="1363434"/>
          </a:xfrm>
        </p:spPr>
        <p:txBody>
          <a:bodyPr anchor="ctr">
            <a:normAutofit/>
          </a:bodyPr>
          <a:lstStyle>
            <a:lvl1pPr algn="l">
              <a:defRPr sz="4000">
                <a:solidFill>
                  <a:schemeClr val="tx1"/>
                </a:solidFill>
              </a:defRPr>
            </a:lvl1pPr>
          </a:lstStyle>
          <a:p>
            <a:r>
              <a:rPr lang="en-US" dirty="0"/>
              <a:t>Click to edit Master title style</a:t>
            </a:r>
            <a:endParaRPr lang="zh-CN" altLang="en-US" dirty="0"/>
          </a:p>
        </p:txBody>
      </p:sp>
      <p:sp>
        <p:nvSpPr>
          <p:cNvPr id="12" name="文本占位符 13"/>
          <p:cNvSpPr>
            <a:spLocks noGrp="1"/>
          </p:cNvSpPr>
          <p:nvPr userDrawn="1">
            <p:ph type="body" sz="quarter" idx="10" hasCustomPrompt="1"/>
          </p:nvPr>
        </p:nvSpPr>
        <p:spPr>
          <a:xfrm>
            <a:off x="821109" y="4447268"/>
            <a:ext cx="2390890" cy="296271"/>
          </a:xfrm>
          <a:prstGeom prst="roundRect">
            <a:avLst>
              <a:gd name="adj" fmla="val 50000"/>
            </a:avLst>
          </a:prstGeom>
          <a:solidFill>
            <a:schemeClr val="accent2"/>
          </a:solidFill>
        </p:spPr>
        <p:txBody>
          <a:bodyPr vert="horz" anchor="ctr">
            <a:noAutofit/>
          </a:bodyPr>
          <a:lstStyle>
            <a:lvl1pPr marL="0" indent="0" algn="l">
              <a:buNone/>
              <a:defRPr sz="1500" b="0">
                <a:solidFill>
                  <a:schemeClr val="tx1"/>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dirty="0"/>
              <a:t>Signature</a:t>
            </a:r>
          </a:p>
        </p:txBody>
      </p:sp>
      <p:sp>
        <p:nvSpPr>
          <p:cNvPr id="13" name="文本占位符 13"/>
          <p:cNvSpPr>
            <a:spLocks noGrp="1"/>
          </p:cNvSpPr>
          <p:nvPr userDrawn="1">
            <p:ph type="body" sz="quarter" idx="11" hasCustomPrompt="1"/>
          </p:nvPr>
        </p:nvSpPr>
        <p:spPr>
          <a:xfrm>
            <a:off x="821110" y="4855065"/>
            <a:ext cx="1562100" cy="296271"/>
          </a:xfrm>
          <a:prstGeom prst="roundRect">
            <a:avLst>
              <a:gd name="adj" fmla="val 50000"/>
            </a:avLst>
          </a:prstGeom>
          <a:ln w="19050">
            <a:solidFill>
              <a:schemeClr val="accent1"/>
            </a:solidFill>
          </a:ln>
        </p:spPr>
        <p:txBody>
          <a:bodyPr vert="horz" anchor="ctr">
            <a:noAutofit/>
          </a:bodyPr>
          <a:lstStyle>
            <a:lvl1pPr marL="0" indent="0" algn="l">
              <a:buNone/>
              <a:defRPr sz="1500" b="0">
                <a:solidFill>
                  <a:schemeClr val="tx1"/>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dirty="0"/>
              <a:t>Date</a:t>
            </a:r>
            <a:endParaRPr lang="zh-CN" altLang="en-US" dirty="0"/>
          </a:p>
        </p:txBody>
      </p:sp>
    </p:spTree>
    <p:extLst>
      <p:ext uri="{BB962C8B-B14F-4D97-AF65-F5344CB8AC3E}">
        <p14:creationId xmlns:p14="http://schemas.microsoft.com/office/powerpoint/2010/main" val="2882586885"/>
      </p:ext>
    </p:extLst>
  </p:cSld>
  <p:clrMapOvr>
    <a:overrideClrMapping bg1="lt1" tx1="dk1" bg2="lt2" tx2="dk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secHead" preserve="1" userDrawn="1">
  <p:cSld name="节标题">
    <p:spTree>
      <p:nvGrpSpPr>
        <p:cNvPr id="1" name=""/>
        <p:cNvGrpSpPr/>
        <p:nvPr/>
      </p:nvGrpSpPr>
      <p:grpSpPr>
        <a:xfrm>
          <a:off x="0" y="0"/>
          <a:ext cx="0" cy="0"/>
          <a:chOff x="0" y="0"/>
          <a:chExt cx="0" cy="0"/>
        </a:xfrm>
      </p:grpSpPr>
      <p:grpSp>
        <p:nvGrpSpPr>
          <p:cNvPr id="1192" name="组合 1191">
            <a:extLst>
              <a:ext uri="{FF2B5EF4-FFF2-40B4-BE49-F238E27FC236}">
                <a16:creationId xmlns:a16="http://schemas.microsoft.com/office/drawing/2014/main" id="{A829ABFA-574A-45C2-AF4B-A291324AA443}"/>
              </a:ext>
            </a:extLst>
          </p:cNvPr>
          <p:cNvGrpSpPr/>
          <p:nvPr userDrawn="1"/>
        </p:nvGrpSpPr>
        <p:grpSpPr>
          <a:xfrm flipH="1">
            <a:off x="669925" y="2450874"/>
            <a:ext cx="6080875" cy="2849940"/>
            <a:chOff x="3638551" y="2232025"/>
            <a:chExt cx="8335962" cy="3906838"/>
          </a:xfrm>
        </p:grpSpPr>
        <p:sp>
          <p:nvSpPr>
            <p:cNvPr id="1193" name="Freeform 1544">
              <a:extLst>
                <a:ext uri="{FF2B5EF4-FFF2-40B4-BE49-F238E27FC236}">
                  <a16:creationId xmlns:a16="http://schemas.microsoft.com/office/drawing/2014/main" id="{E4AAAC9A-8589-4B00-94C7-127240C43F99}"/>
                </a:ext>
              </a:extLst>
            </p:cNvPr>
            <p:cNvSpPr>
              <a:spLocks/>
            </p:cNvSpPr>
            <p:nvPr userDrawn="1"/>
          </p:nvSpPr>
          <p:spPr bwMode="auto">
            <a:xfrm>
              <a:off x="4878388" y="2660650"/>
              <a:ext cx="6911975" cy="2052638"/>
            </a:xfrm>
            <a:custGeom>
              <a:avLst/>
              <a:gdLst>
                <a:gd name="T0" fmla="*/ 1434 w 3491"/>
                <a:gd name="T1" fmla="*/ 0 h 1037"/>
                <a:gd name="T2" fmla="*/ 499 w 3491"/>
                <a:gd name="T3" fmla="*/ 0 h 1037"/>
                <a:gd name="T4" fmla="*/ 410 w 3491"/>
                <a:gd name="T5" fmla="*/ 131 h 1037"/>
                <a:gd name="T6" fmla="*/ 499 w 3491"/>
                <a:gd name="T7" fmla="*/ 261 h 1037"/>
                <a:gd name="T8" fmla="*/ 710 w 3491"/>
                <a:gd name="T9" fmla="*/ 261 h 1037"/>
                <a:gd name="T10" fmla="*/ 764 w 3491"/>
                <a:gd name="T11" fmla="*/ 340 h 1037"/>
                <a:gd name="T12" fmla="*/ 710 w 3491"/>
                <a:gd name="T13" fmla="*/ 418 h 1037"/>
                <a:gd name="T14" fmla="*/ 79 w 3491"/>
                <a:gd name="T15" fmla="*/ 418 h 1037"/>
                <a:gd name="T16" fmla="*/ 0 w 3491"/>
                <a:gd name="T17" fmla="*/ 535 h 1037"/>
                <a:gd name="T18" fmla="*/ 0 w 3491"/>
                <a:gd name="T19" fmla="*/ 535 h 1037"/>
                <a:gd name="T20" fmla="*/ 79 w 3491"/>
                <a:gd name="T21" fmla="*/ 651 h 1037"/>
                <a:gd name="T22" fmla="*/ 888 w 3491"/>
                <a:gd name="T23" fmla="*/ 651 h 1037"/>
                <a:gd name="T24" fmla="*/ 950 w 3491"/>
                <a:gd name="T25" fmla="*/ 744 h 1037"/>
                <a:gd name="T26" fmla="*/ 888 w 3491"/>
                <a:gd name="T27" fmla="*/ 836 h 1037"/>
                <a:gd name="T28" fmla="*/ 335 w 3491"/>
                <a:gd name="T29" fmla="*/ 836 h 1037"/>
                <a:gd name="T30" fmla="*/ 271 w 3491"/>
                <a:gd name="T31" fmla="*/ 930 h 1037"/>
                <a:gd name="T32" fmla="*/ 271 w 3491"/>
                <a:gd name="T33" fmla="*/ 943 h 1037"/>
                <a:gd name="T34" fmla="*/ 335 w 3491"/>
                <a:gd name="T35" fmla="*/ 1037 h 1037"/>
                <a:gd name="T36" fmla="*/ 3400 w 3491"/>
                <a:gd name="T37" fmla="*/ 1037 h 1037"/>
                <a:gd name="T38" fmla="*/ 3491 w 3491"/>
                <a:gd name="T39" fmla="*/ 905 h 1037"/>
                <a:gd name="T40" fmla="*/ 3400 w 3491"/>
                <a:gd name="T41" fmla="*/ 773 h 1037"/>
                <a:gd name="T42" fmla="*/ 2993 w 3491"/>
                <a:gd name="T43" fmla="*/ 773 h 1037"/>
                <a:gd name="T44" fmla="*/ 2928 w 3491"/>
                <a:gd name="T45" fmla="*/ 678 h 1037"/>
                <a:gd name="T46" fmla="*/ 2993 w 3491"/>
                <a:gd name="T47" fmla="*/ 583 h 1037"/>
                <a:gd name="T48" fmla="*/ 3219 w 3491"/>
                <a:gd name="T49" fmla="*/ 583 h 1037"/>
                <a:gd name="T50" fmla="*/ 3301 w 3491"/>
                <a:gd name="T51" fmla="*/ 463 h 1037"/>
                <a:gd name="T52" fmla="*/ 3219 w 3491"/>
                <a:gd name="T53" fmla="*/ 343 h 1037"/>
                <a:gd name="T54" fmla="*/ 2481 w 3491"/>
                <a:gd name="T55" fmla="*/ 343 h 1037"/>
                <a:gd name="T56" fmla="*/ 2428 w 3491"/>
                <a:gd name="T57" fmla="*/ 266 h 1037"/>
                <a:gd name="T58" fmla="*/ 2481 w 3491"/>
                <a:gd name="T59" fmla="*/ 189 h 1037"/>
                <a:gd name="T60" fmla="*/ 3120 w 3491"/>
                <a:gd name="T61" fmla="*/ 189 h 1037"/>
                <a:gd name="T62" fmla="*/ 3185 w 3491"/>
                <a:gd name="T63" fmla="*/ 94 h 1037"/>
                <a:gd name="T64" fmla="*/ 3120 w 3491"/>
                <a:gd name="T65" fmla="*/ 0 h 1037"/>
                <a:gd name="T66" fmla="*/ 1434 w 3491"/>
                <a:gd name="T67" fmla="*/ 0 h 10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91" h="1037">
                  <a:moveTo>
                    <a:pt x="1434" y="0"/>
                  </a:moveTo>
                  <a:cubicBezTo>
                    <a:pt x="499" y="0"/>
                    <a:pt x="499" y="0"/>
                    <a:pt x="499" y="0"/>
                  </a:cubicBezTo>
                  <a:cubicBezTo>
                    <a:pt x="450" y="0"/>
                    <a:pt x="410" y="58"/>
                    <a:pt x="410" y="131"/>
                  </a:cubicBezTo>
                  <a:cubicBezTo>
                    <a:pt x="410" y="203"/>
                    <a:pt x="450" y="261"/>
                    <a:pt x="499" y="261"/>
                  </a:cubicBezTo>
                  <a:cubicBezTo>
                    <a:pt x="710" y="261"/>
                    <a:pt x="710" y="261"/>
                    <a:pt x="710" y="261"/>
                  </a:cubicBezTo>
                  <a:cubicBezTo>
                    <a:pt x="740" y="261"/>
                    <a:pt x="764" y="296"/>
                    <a:pt x="764" y="340"/>
                  </a:cubicBezTo>
                  <a:cubicBezTo>
                    <a:pt x="764" y="383"/>
                    <a:pt x="740" y="418"/>
                    <a:pt x="710" y="418"/>
                  </a:cubicBezTo>
                  <a:cubicBezTo>
                    <a:pt x="79" y="418"/>
                    <a:pt x="79" y="418"/>
                    <a:pt x="79" y="418"/>
                  </a:cubicBezTo>
                  <a:cubicBezTo>
                    <a:pt x="35" y="418"/>
                    <a:pt x="0" y="470"/>
                    <a:pt x="0" y="535"/>
                  </a:cubicBezTo>
                  <a:cubicBezTo>
                    <a:pt x="0" y="535"/>
                    <a:pt x="0" y="535"/>
                    <a:pt x="0" y="535"/>
                  </a:cubicBezTo>
                  <a:cubicBezTo>
                    <a:pt x="0" y="599"/>
                    <a:pt x="35" y="651"/>
                    <a:pt x="79" y="651"/>
                  </a:cubicBezTo>
                  <a:cubicBezTo>
                    <a:pt x="888" y="651"/>
                    <a:pt x="888" y="651"/>
                    <a:pt x="888" y="651"/>
                  </a:cubicBezTo>
                  <a:cubicBezTo>
                    <a:pt x="922" y="651"/>
                    <a:pt x="951" y="693"/>
                    <a:pt x="950" y="744"/>
                  </a:cubicBezTo>
                  <a:cubicBezTo>
                    <a:pt x="950" y="795"/>
                    <a:pt x="922" y="836"/>
                    <a:pt x="888" y="836"/>
                  </a:cubicBezTo>
                  <a:cubicBezTo>
                    <a:pt x="335" y="836"/>
                    <a:pt x="335" y="836"/>
                    <a:pt x="335" y="836"/>
                  </a:cubicBezTo>
                  <a:cubicBezTo>
                    <a:pt x="300" y="836"/>
                    <a:pt x="271" y="878"/>
                    <a:pt x="271" y="930"/>
                  </a:cubicBezTo>
                  <a:cubicBezTo>
                    <a:pt x="271" y="943"/>
                    <a:pt x="271" y="943"/>
                    <a:pt x="271" y="943"/>
                  </a:cubicBezTo>
                  <a:cubicBezTo>
                    <a:pt x="271" y="995"/>
                    <a:pt x="300" y="1037"/>
                    <a:pt x="335" y="1037"/>
                  </a:cubicBezTo>
                  <a:cubicBezTo>
                    <a:pt x="3400" y="1037"/>
                    <a:pt x="3400" y="1037"/>
                    <a:pt x="3400" y="1037"/>
                  </a:cubicBezTo>
                  <a:cubicBezTo>
                    <a:pt x="3450" y="1037"/>
                    <a:pt x="3491" y="978"/>
                    <a:pt x="3491" y="905"/>
                  </a:cubicBezTo>
                  <a:cubicBezTo>
                    <a:pt x="3491" y="832"/>
                    <a:pt x="3450" y="773"/>
                    <a:pt x="3400" y="773"/>
                  </a:cubicBezTo>
                  <a:cubicBezTo>
                    <a:pt x="2993" y="773"/>
                    <a:pt x="2993" y="773"/>
                    <a:pt x="2993" y="773"/>
                  </a:cubicBezTo>
                  <a:cubicBezTo>
                    <a:pt x="2957" y="773"/>
                    <a:pt x="2928" y="730"/>
                    <a:pt x="2928" y="678"/>
                  </a:cubicBezTo>
                  <a:cubicBezTo>
                    <a:pt x="2928" y="625"/>
                    <a:pt x="2957" y="583"/>
                    <a:pt x="2993" y="583"/>
                  </a:cubicBezTo>
                  <a:cubicBezTo>
                    <a:pt x="3219" y="583"/>
                    <a:pt x="3219" y="583"/>
                    <a:pt x="3219" y="583"/>
                  </a:cubicBezTo>
                  <a:cubicBezTo>
                    <a:pt x="3264" y="583"/>
                    <a:pt x="3301" y="529"/>
                    <a:pt x="3301" y="463"/>
                  </a:cubicBezTo>
                  <a:cubicBezTo>
                    <a:pt x="3301" y="397"/>
                    <a:pt x="3264" y="343"/>
                    <a:pt x="3219" y="343"/>
                  </a:cubicBezTo>
                  <a:cubicBezTo>
                    <a:pt x="2481" y="343"/>
                    <a:pt x="2481" y="343"/>
                    <a:pt x="2481" y="343"/>
                  </a:cubicBezTo>
                  <a:cubicBezTo>
                    <a:pt x="2452" y="343"/>
                    <a:pt x="2428" y="308"/>
                    <a:pt x="2428" y="266"/>
                  </a:cubicBezTo>
                  <a:cubicBezTo>
                    <a:pt x="2428" y="223"/>
                    <a:pt x="2452" y="189"/>
                    <a:pt x="2481" y="189"/>
                  </a:cubicBezTo>
                  <a:cubicBezTo>
                    <a:pt x="3120" y="189"/>
                    <a:pt x="3120" y="189"/>
                    <a:pt x="3120" y="189"/>
                  </a:cubicBezTo>
                  <a:cubicBezTo>
                    <a:pt x="3156" y="189"/>
                    <a:pt x="3185" y="146"/>
                    <a:pt x="3185" y="94"/>
                  </a:cubicBezTo>
                  <a:cubicBezTo>
                    <a:pt x="3185" y="42"/>
                    <a:pt x="3156" y="0"/>
                    <a:pt x="3120" y="0"/>
                  </a:cubicBezTo>
                  <a:cubicBezTo>
                    <a:pt x="1434" y="0"/>
                    <a:pt x="1434" y="0"/>
                    <a:pt x="1434" y="0"/>
                  </a:cubicBezTo>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194" name="Freeform 1545">
              <a:extLst>
                <a:ext uri="{FF2B5EF4-FFF2-40B4-BE49-F238E27FC236}">
                  <a16:creationId xmlns:a16="http://schemas.microsoft.com/office/drawing/2014/main" id="{3655B964-75B6-4316-90CB-513D801BB51B}"/>
                </a:ext>
              </a:extLst>
            </p:cNvPr>
            <p:cNvSpPr>
              <a:spLocks/>
            </p:cNvSpPr>
            <p:nvPr userDrawn="1"/>
          </p:nvSpPr>
          <p:spPr bwMode="auto">
            <a:xfrm>
              <a:off x="3638551" y="4946650"/>
              <a:ext cx="1562100" cy="460375"/>
            </a:xfrm>
            <a:custGeom>
              <a:avLst/>
              <a:gdLst>
                <a:gd name="T0" fmla="*/ 680 w 789"/>
                <a:gd name="T1" fmla="*/ 233 h 233"/>
                <a:gd name="T2" fmla="*/ 108 w 789"/>
                <a:gd name="T3" fmla="*/ 233 h 233"/>
                <a:gd name="T4" fmla="*/ 0 w 789"/>
                <a:gd name="T5" fmla="*/ 116 h 233"/>
                <a:gd name="T6" fmla="*/ 108 w 789"/>
                <a:gd name="T7" fmla="*/ 0 h 233"/>
                <a:gd name="T8" fmla="*/ 680 w 789"/>
                <a:gd name="T9" fmla="*/ 0 h 233"/>
                <a:gd name="T10" fmla="*/ 789 w 789"/>
                <a:gd name="T11" fmla="*/ 116 h 233"/>
                <a:gd name="T12" fmla="*/ 680 w 789"/>
                <a:gd name="T13" fmla="*/ 233 h 233"/>
              </a:gdLst>
              <a:ahLst/>
              <a:cxnLst>
                <a:cxn ang="0">
                  <a:pos x="T0" y="T1"/>
                </a:cxn>
                <a:cxn ang="0">
                  <a:pos x="T2" y="T3"/>
                </a:cxn>
                <a:cxn ang="0">
                  <a:pos x="T4" y="T5"/>
                </a:cxn>
                <a:cxn ang="0">
                  <a:pos x="T6" y="T7"/>
                </a:cxn>
                <a:cxn ang="0">
                  <a:pos x="T8" y="T9"/>
                </a:cxn>
                <a:cxn ang="0">
                  <a:pos x="T10" y="T11"/>
                </a:cxn>
                <a:cxn ang="0">
                  <a:pos x="T12" y="T13"/>
                </a:cxn>
              </a:cxnLst>
              <a:rect l="0" t="0" r="r" b="b"/>
              <a:pathLst>
                <a:path w="789" h="233">
                  <a:moveTo>
                    <a:pt x="680" y="233"/>
                  </a:moveTo>
                  <a:cubicBezTo>
                    <a:pt x="108" y="233"/>
                    <a:pt x="108" y="233"/>
                    <a:pt x="108" y="233"/>
                  </a:cubicBezTo>
                  <a:cubicBezTo>
                    <a:pt x="48" y="233"/>
                    <a:pt x="0" y="181"/>
                    <a:pt x="0" y="116"/>
                  </a:cubicBezTo>
                  <a:cubicBezTo>
                    <a:pt x="0" y="52"/>
                    <a:pt x="48" y="0"/>
                    <a:pt x="108" y="0"/>
                  </a:cubicBezTo>
                  <a:cubicBezTo>
                    <a:pt x="680" y="0"/>
                    <a:pt x="680" y="0"/>
                    <a:pt x="680" y="0"/>
                  </a:cubicBezTo>
                  <a:cubicBezTo>
                    <a:pt x="740" y="0"/>
                    <a:pt x="789" y="52"/>
                    <a:pt x="789" y="116"/>
                  </a:cubicBezTo>
                  <a:cubicBezTo>
                    <a:pt x="789" y="181"/>
                    <a:pt x="740" y="233"/>
                    <a:pt x="680" y="233"/>
                  </a:cubicBez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195" name="Oval 1546">
              <a:extLst>
                <a:ext uri="{FF2B5EF4-FFF2-40B4-BE49-F238E27FC236}">
                  <a16:creationId xmlns:a16="http://schemas.microsoft.com/office/drawing/2014/main" id="{5E164709-F890-4C6B-BABF-042E4C86B1A8}"/>
                </a:ext>
              </a:extLst>
            </p:cNvPr>
            <p:cNvSpPr>
              <a:spLocks noChangeArrowheads="1"/>
            </p:cNvSpPr>
            <p:nvPr userDrawn="1"/>
          </p:nvSpPr>
          <p:spPr bwMode="auto">
            <a:xfrm>
              <a:off x="4606926" y="4511675"/>
              <a:ext cx="44450" cy="49213"/>
            </a:xfrm>
            <a:prstGeom prst="ellipse">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196" name="Oval 1547">
              <a:extLst>
                <a:ext uri="{FF2B5EF4-FFF2-40B4-BE49-F238E27FC236}">
                  <a16:creationId xmlns:a16="http://schemas.microsoft.com/office/drawing/2014/main" id="{15D7E3EA-95E9-49B1-B0E1-5CA508857D78}"/>
                </a:ext>
              </a:extLst>
            </p:cNvPr>
            <p:cNvSpPr>
              <a:spLocks noChangeArrowheads="1"/>
            </p:cNvSpPr>
            <p:nvPr userDrawn="1"/>
          </p:nvSpPr>
          <p:spPr bwMode="auto">
            <a:xfrm>
              <a:off x="11576051" y="2941638"/>
              <a:ext cx="80963" cy="87313"/>
            </a:xfrm>
            <a:prstGeom prst="ellipse">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197" name="Oval 1548">
              <a:extLst>
                <a:ext uri="{FF2B5EF4-FFF2-40B4-BE49-F238E27FC236}">
                  <a16:creationId xmlns:a16="http://schemas.microsoft.com/office/drawing/2014/main" id="{693350EE-2466-4950-9A35-DDBB565CB709}"/>
                </a:ext>
              </a:extLst>
            </p:cNvPr>
            <p:cNvSpPr>
              <a:spLocks noChangeArrowheads="1"/>
            </p:cNvSpPr>
            <p:nvPr userDrawn="1"/>
          </p:nvSpPr>
          <p:spPr bwMode="auto">
            <a:xfrm>
              <a:off x="7227888" y="2667000"/>
              <a:ext cx="46038" cy="49213"/>
            </a:xfrm>
            <a:prstGeom prst="ellipse">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198" name="Oval 1549">
              <a:extLst>
                <a:ext uri="{FF2B5EF4-FFF2-40B4-BE49-F238E27FC236}">
                  <a16:creationId xmlns:a16="http://schemas.microsoft.com/office/drawing/2014/main" id="{F2549A97-3629-420C-B64B-24806AA6E3D1}"/>
                </a:ext>
              </a:extLst>
            </p:cNvPr>
            <p:cNvSpPr>
              <a:spLocks noChangeArrowheads="1"/>
            </p:cNvSpPr>
            <p:nvPr userDrawn="1"/>
          </p:nvSpPr>
          <p:spPr bwMode="auto">
            <a:xfrm>
              <a:off x="5738813" y="2860675"/>
              <a:ext cx="61913" cy="65088"/>
            </a:xfrm>
            <a:prstGeom prst="ellipse">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199" name="Freeform 1550">
              <a:extLst>
                <a:ext uri="{FF2B5EF4-FFF2-40B4-BE49-F238E27FC236}">
                  <a16:creationId xmlns:a16="http://schemas.microsoft.com/office/drawing/2014/main" id="{A24446CC-A44B-41E9-96B6-0BFCB4A2D37D}"/>
                </a:ext>
              </a:extLst>
            </p:cNvPr>
            <p:cNvSpPr>
              <a:spLocks/>
            </p:cNvSpPr>
            <p:nvPr userDrawn="1"/>
          </p:nvSpPr>
          <p:spPr bwMode="auto">
            <a:xfrm>
              <a:off x="7127876" y="2247900"/>
              <a:ext cx="117475" cy="127000"/>
            </a:xfrm>
            <a:custGeom>
              <a:avLst/>
              <a:gdLst>
                <a:gd name="T0" fmla="*/ 60 w 60"/>
                <a:gd name="T1" fmla="*/ 32 h 64"/>
                <a:gd name="T2" fmla="*/ 30 w 60"/>
                <a:gd name="T3" fmla="*/ 64 h 64"/>
                <a:gd name="T4" fmla="*/ 0 w 60"/>
                <a:gd name="T5" fmla="*/ 32 h 64"/>
                <a:gd name="T6" fmla="*/ 30 w 60"/>
                <a:gd name="T7" fmla="*/ 0 h 64"/>
                <a:gd name="T8" fmla="*/ 60 w 60"/>
                <a:gd name="T9" fmla="*/ 32 h 64"/>
              </a:gdLst>
              <a:ahLst/>
              <a:cxnLst>
                <a:cxn ang="0">
                  <a:pos x="T0" y="T1"/>
                </a:cxn>
                <a:cxn ang="0">
                  <a:pos x="T2" y="T3"/>
                </a:cxn>
                <a:cxn ang="0">
                  <a:pos x="T4" y="T5"/>
                </a:cxn>
                <a:cxn ang="0">
                  <a:pos x="T6" y="T7"/>
                </a:cxn>
                <a:cxn ang="0">
                  <a:pos x="T8" y="T9"/>
                </a:cxn>
              </a:cxnLst>
              <a:rect l="0" t="0" r="r" b="b"/>
              <a:pathLst>
                <a:path w="60" h="64">
                  <a:moveTo>
                    <a:pt x="60" y="32"/>
                  </a:moveTo>
                  <a:cubicBezTo>
                    <a:pt x="39" y="37"/>
                    <a:pt x="35" y="42"/>
                    <a:pt x="30" y="64"/>
                  </a:cubicBezTo>
                  <a:cubicBezTo>
                    <a:pt x="24" y="42"/>
                    <a:pt x="20" y="37"/>
                    <a:pt x="0" y="32"/>
                  </a:cubicBezTo>
                  <a:cubicBezTo>
                    <a:pt x="20" y="26"/>
                    <a:pt x="24" y="21"/>
                    <a:pt x="30" y="0"/>
                  </a:cubicBezTo>
                  <a:cubicBezTo>
                    <a:pt x="35" y="21"/>
                    <a:pt x="39" y="26"/>
                    <a:pt x="60" y="32"/>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00" name="Freeform 1551">
              <a:extLst>
                <a:ext uri="{FF2B5EF4-FFF2-40B4-BE49-F238E27FC236}">
                  <a16:creationId xmlns:a16="http://schemas.microsoft.com/office/drawing/2014/main" id="{67CCDF25-1BCF-48BC-B738-8D7F02119DAE}"/>
                </a:ext>
              </a:extLst>
            </p:cNvPr>
            <p:cNvSpPr>
              <a:spLocks/>
            </p:cNvSpPr>
            <p:nvPr userDrawn="1"/>
          </p:nvSpPr>
          <p:spPr bwMode="auto">
            <a:xfrm>
              <a:off x="5192713" y="3324225"/>
              <a:ext cx="111125" cy="119063"/>
            </a:xfrm>
            <a:custGeom>
              <a:avLst/>
              <a:gdLst>
                <a:gd name="T0" fmla="*/ 56 w 56"/>
                <a:gd name="T1" fmla="*/ 30 h 60"/>
                <a:gd name="T2" fmla="*/ 28 w 56"/>
                <a:gd name="T3" fmla="*/ 60 h 60"/>
                <a:gd name="T4" fmla="*/ 0 w 56"/>
                <a:gd name="T5" fmla="*/ 30 h 60"/>
                <a:gd name="T6" fmla="*/ 28 w 56"/>
                <a:gd name="T7" fmla="*/ 0 h 60"/>
                <a:gd name="T8" fmla="*/ 56 w 56"/>
                <a:gd name="T9" fmla="*/ 30 h 60"/>
              </a:gdLst>
              <a:ahLst/>
              <a:cxnLst>
                <a:cxn ang="0">
                  <a:pos x="T0" y="T1"/>
                </a:cxn>
                <a:cxn ang="0">
                  <a:pos x="T2" y="T3"/>
                </a:cxn>
                <a:cxn ang="0">
                  <a:pos x="T4" y="T5"/>
                </a:cxn>
                <a:cxn ang="0">
                  <a:pos x="T6" y="T7"/>
                </a:cxn>
                <a:cxn ang="0">
                  <a:pos x="T8" y="T9"/>
                </a:cxn>
              </a:cxnLst>
              <a:rect l="0" t="0" r="r" b="b"/>
              <a:pathLst>
                <a:path w="56" h="60">
                  <a:moveTo>
                    <a:pt x="56" y="30"/>
                  </a:moveTo>
                  <a:cubicBezTo>
                    <a:pt x="37" y="36"/>
                    <a:pt x="33" y="40"/>
                    <a:pt x="28" y="60"/>
                  </a:cubicBezTo>
                  <a:cubicBezTo>
                    <a:pt x="23" y="40"/>
                    <a:pt x="19" y="36"/>
                    <a:pt x="0" y="30"/>
                  </a:cubicBezTo>
                  <a:cubicBezTo>
                    <a:pt x="19" y="25"/>
                    <a:pt x="23" y="21"/>
                    <a:pt x="28" y="0"/>
                  </a:cubicBezTo>
                  <a:cubicBezTo>
                    <a:pt x="33" y="21"/>
                    <a:pt x="37" y="25"/>
                    <a:pt x="56" y="3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01" name="Freeform 1552">
              <a:extLst>
                <a:ext uri="{FF2B5EF4-FFF2-40B4-BE49-F238E27FC236}">
                  <a16:creationId xmlns:a16="http://schemas.microsoft.com/office/drawing/2014/main" id="{2A79294D-158F-4552-A1F3-182F85A99C4A}"/>
                </a:ext>
              </a:extLst>
            </p:cNvPr>
            <p:cNvSpPr>
              <a:spLocks/>
            </p:cNvSpPr>
            <p:nvPr userDrawn="1"/>
          </p:nvSpPr>
          <p:spPr bwMode="auto">
            <a:xfrm>
              <a:off x="10860088" y="2263775"/>
              <a:ext cx="111125" cy="119063"/>
            </a:xfrm>
            <a:custGeom>
              <a:avLst/>
              <a:gdLst>
                <a:gd name="T0" fmla="*/ 56 w 56"/>
                <a:gd name="T1" fmla="*/ 30 h 60"/>
                <a:gd name="T2" fmla="*/ 28 w 56"/>
                <a:gd name="T3" fmla="*/ 60 h 60"/>
                <a:gd name="T4" fmla="*/ 0 w 56"/>
                <a:gd name="T5" fmla="*/ 30 h 60"/>
                <a:gd name="T6" fmla="*/ 28 w 56"/>
                <a:gd name="T7" fmla="*/ 0 h 60"/>
                <a:gd name="T8" fmla="*/ 56 w 56"/>
                <a:gd name="T9" fmla="*/ 30 h 60"/>
              </a:gdLst>
              <a:ahLst/>
              <a:cxnLst>
                <a:cxn ang="0">
                  <a:pos x="T0" y="T1"/>
                </a:cxn>
                <a:cxn ang="0">
                  <a:pos x="T2" y="T3"/>
                </a:cxn>
                <a:cxn ang="0">
                  <a:pos x="T4" y="T5"/>
                </a:cxn>
                <a:cxn ang="0">
                  <a:pos x="T6" y="T7"/>
                </a:cxn>
                <a:cxn ang="0">
                  <a:pos x="T8" y="T9"/>
                </a:cxn>
              </a:cxnLst>
              <a:rect l="0" t="0" r="r" b="b"/>
              <a:pathLst>
                <a:path w="56" h="60">
                  <a:moveTo>
                    <a:pt x="56" y="30"/>
                  </a:moveTo>
                  <a:cubicBezTo>
                    <a:pt x="37" y="35"/>
                    <a:pt x="33" y="39"/>
                    <a:pt x="28" y="60"/>
                  </a:cubicBezTo>
                  <a:cubicBezTo>
                    <a:pt x="23" y="39"/>
                    <a:pt x="19" y="35"/>
                    <a:pt x="0" y="30"/>
                  </a:cubicBezTo>
                  <a:cubicBezTo>
                    <a:pt x="19" y="24"/>
                    <a:pt x="23" y="20"/>
                    <a:pt x="28" y="0"/>
                  </a:cubicBezTo>
                  <a:cubicBezTo>
                    <a:pt x="33" y="20"/>
                    <a:pt x="37" y="24"/>
                    <a:pt x="56" y="3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02" name="Freeform 1553">
              <a:extLst>
                <a:ext uri="{FF2B5EF4-FFF2-40B4-BE49-F238E27FC236}">
                  <a16:creationId xmlns:a16="http://schemas.microsoft.com/office/drawing/2014/main" id="{EC8B4389-8AED-4BFC-BE89-B4950AEDEE2C}"/>
                </a:ext>
              </a:extLst>
            </p:cNvPr>
            <p:cNvSpPr>
              <a:spLocks/>
            </p:cNvSpPr>
            <p:nvPr userDrawn="1"/>
          </p:nvSpPr>
          <p:spPr bwMode="auto">
            <a:xfrm>
              <a:off x="8458201" y="3019425"/>
              <a:ext cx="184150" cy="195263"/>
            </a:xfrm>
            <a:custGeom>
              <a:avLst/>
              <a:gdLst>
                <a:gd name="T0" fmla="*/ 93 w 93"/>
                <a:gd name="T1" fmla="*/ 49 h 99"/>
                <a:gd name="T2" fmla="*/ 47 w 93"/>
                <a:gd name="T3" fmla="*/ 99 h 99"/>
                <a:gd name="T4" fmla="*/ 0 w 93"/>
                <a:gd name="T5" fmla="*/ 49 h 99"/>
                <a:gd name="T6" fmla="*/ 47 w 93"/>
                <a:gd name="T7" fmla="*/ 0 h 99"/>
                <a:gd name="T8" fmla="*/ 93 w 93"/>
                <a:gd name="T9" fmla="*/ 49 h 99"/>
              </a:gdLst>
              <a:ahLst/>
              <a:cxnLst>
                <a:cxn ang="0">
                  <a:pos x="T0" y="T1"/>
                </a:cxn>
                <a:cxn ang="0">
                  <a:pos x="T2" y="T3"/>
                </a:cxn>
                <a:cxn ang="0">
                  <a:pos x="T4" y="T5"/>
                </a:cxn>
                <a:cxn ang="0">
                  <a:pos x="T6" y="T7"/>
                </a:cxn>
                <a:cxn ang="0">
                  <a:pos x="T8" y="T9"/>
                </a:cxn>
              </a:cxnLst>
              <a:rect l="0" t="0" r="r" b="b"/>
              <a:pathLst>
                <a:path w="93" h="99">
                  <a:moveTo>
                    <a:pt x="93" y="49"/>
                  </a:moveTo>
                  <a:cubicBezTo>
                    <a:pt x="61" y="58"/>
                    <a:pt x="55" y="65"/>
                    <a:pt x="47" y="99"/>
                  </a:cubicBezTo>
                  <a:cubicBezTo>
                    <a:pt x="38" y="65"/>
                    <a:pt x="32" y="58"/>
                    <a:pt x="0" y="49"/>
                  </a:cubicBezTo>
                  <a:cubicBezTo>
                    <a:pt x="32" y="41"/>
                    <a:pt x="38" y="33"/>
                    <a:pt x="47" y="0"/>
                  </a:cubicBezTo>
                  <a:cubicBezTo>
                    <a:pt x="55" y="33"/>
                    <a:pt x="61" y="41"/>
                    <a:pt x="93" y="49"/>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03" name="Oval 1554">
              <a:extLst>
                <a:ext uri="{FF2B5EF4-FFF2-40B4-BE49-F238E27FC236}">
                  <a16:creationId xmlns:a16="http://schemas.microsoft.com/office/drawing/2014/main" id="{6ACF7A15-F52D-4111-859E-F2AA80823EF3}"/>
                </a:ext>
              </a:extLst>
            </p:cNvPr>
            <p:cNvSpPr>
              <a:spLocks noChangeArrowheads="1"/>
            </p:cNvSpPr>
            <p:nvPr userDrawn="1"/>
          </p:nvSpPr>
          <p:spPr bwMode="auto">
            <a:xfrm>
              <a:off x="4470401" y="5626100"/>
              <a:ext cx="80963" cy="87313"/>
            </a:xfrm>
            <a:prstGeom prst="ellipse">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04" name="Oval 1555">
              <a:extLst>
                <a:ext uri="{FF2B5EF4-FFF2-40B4-BE49-F238E27FC236}">
                  <a16:creationId xmlns:a16="http://schemas.microsoft.com/office/drawing/2014/main" id="{9E4D0B7B-33F7-4642-8834-E36F85B3810A}"/>
                </a:ext>
              </a:extLst>
            </p:cNvPr>
            <p:cNvSpPr>
              <a:spLocks noChangeArrowheads="1"/>
            </p:cNvSpPr>
            <p:nvPr userDrawn="1"/>
          </p:nvSpPr>
          <p:spPr bwMode="auto">
            <a:xfrm>
              <a:off x="8458201" y="2508250"/>
              <a:ext cx="88900" cy="95250"/>
            </a:xfrm>
            <a:prstGeom prst="ellipse">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05" name="Oval 1556">
              <a:extLst>
                <a:ext uri="{FF2B5EF4-FFF2-40B4-BE49-F238E27FC236}">
                  <a16:creationId xmlns:a16="http://schemas.microsoft.com/office/drawing/2014/main" id="{AF2619F9-C76C-4065-BBBC-D2C4F19AE5FE}"/>
                </a:ext>
              </a:extLst>
            </p:cNvPr>
            <p:cNvSpPr>
              <a:spLocks noChangeArrowheads="1"/>
            </p:cNvSpPr>
            <p:nvPr userDrawn="1"/>
          </p:nvSpPr>
          <p:spPr bwMode="auto">
            <a:xfrm>
              <a:off x="4216401" y="3829050"/>
              <a:ext cx="77788" cy="80963"/>
            </a:xfrm>
            <a:prstGeom prst="ellipse">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06" name="Freeform 1557">
              <a:extLst>
                <a:ext uri="{FF2B5EF4-FFF2-40B4-BE49-F238E27FC236}">
                  <a16:creationId xmlns:a16="http://schemas.microsoft.com/office/drawing/2014/main" id="{85B3E580-D746-409F-A83A-8521B8C63B96}"/>
                </a:ext>
              </a:extLst>
            </p:cNvPr>
            <p:cNvSpPr>
              <a:spLocks/>
            </p:cNvSpPr>
            <p:nvPr userDrawn="1"/>
          </p:nvSpPr>
          <p:spPr bwMode="auto">
            <a:xfrm>
              <a:off x="6130926" y="2817813"/>
              <a:ext cx="119063" cy="127000"/>
            </a:xfrm>
            <a:custGeom>
              <a:avLst/>
              <a:gdLst>
                <a:gd name="T0" fmla="*/ 60 w 60"/>
                <a:gd name="T1" fmla="*/ 32 h 64"/>
                <a:gd name="T2" fmla="*/ 30 w 60"/>
                <a:gd name="T3" fmla="*/ 64 h 64"/>
                <a:gd name="T4" fmla="*/ 0 w 60"/>
                <a:gd name="T5" fmla="*/ 32 h 64"/>
                <a:gd name="T6" fmla="*/ 30 w 60"/>
                <a:gd name="T7" fmla="*/ 0 h 64"/>
                <a:gd name="T8" fmla="*/ 60 w 60"/>
                <a:gd name="T9" fmla="*/ 32 h 64"/>
              </a:gdLst>
              <a:ahLst/>
              <a:cxnLst>
                <a:cxn ang="0">
                  <a:pos x="T0" y="T1"/>
                </a:cxn>
                <a:cxn ang="0">
                  <a:pos x="T2" y="T3"/>
                </a:cxn>
                <a:cxn ang="0">
                  <a:pos x="T4" y="T5"/>
                </a:cxn>
                <a:cxn ang="0">
                  <a:pos x="T6" y="T7"/>
                </a:cxn>
                <a:cxn ang="0">
                  <a:pos x="T8" y="T9"/>
                </a:cxn>
              </a:cxnLst>
              <a:rect l="0" t="0" r="r" b="b"/>
              <a:pathLst>
                <a:path w="60" h="64">
                  <a:moveTo>
                    <a:pt x="60" y="32"/>
                  </a:moveTo>
                  <a:cubicBezTo>
                    <a:pt x="40" y="38"/>
                    <a:pt x="35" y="42"/>
                    <a:pt x="30" y="64"/>
                  </a:cubicBezTo>
                  <a:cubicBezTo>
                    <a:pt x="25" y="42"/>
                    <a:pt x="20" y="38"/>
                    <a:pt x="0" y="32"/>
                  </a:cubicBezTo>
                  <a:cubicBezTo>
                    <a:pt x="20" y="26"/>
                    <a:pt x="25" y="22"/>
                    <a:pt x="30" y="0"/>
                  </a:cubicBezTo>
                  <a:cubicBezTo>
                    <a:pt x="35" y="22"/>
                    <a:pt x="40" y="26"/>
                    <a:pt x="60" y="32"/>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07" name="Freeform 1558">
              <a:extLst>
                <a:ext uri="{FF2B5EF4-FFF2-40B4-BE49-F238E27FC236}">
                  <a16:creationId xmlns:a16="http://schemas.microsoft.com/office/drawing/2014/main" id="{9038BB86-CB13-4A33-BAE9-D3F80C0D6097}"/>
                </a:ext>
              </a:extLst>
            </p:cNvPr>
            <p:cNvSpPr>
              <a:spLocks/>
            </p:cNvSpPr>
            <p:nvPr userDrawn="1"/>
          </p:nvSpPr>
          <p:spPr bwMode="auto">
            <a:xfrm>
              <a:off x="11168063" y="2892425"/>
              <a:ext cx="120650" cy="128588"/>
            </a:xfrm>
            <a:custGeom>
              <a:avLst/>
              <a:gdLst>
                <a:gd name="T0" fmla="*/ 61 w 61"/>
                <a:gd name="T1" fmla="*/ 33 h 65"/>
                <a:gd name="T2" fmla="*/ 31 w 61"/>
                <a:gd name="T3" fmla="*/ 65 h 65"/>
                <a:gd name="T4" fmla="*/ 0 w 61"/>
                <a:gd name="T5" fmla="*/ 33 h 65"/>
                <a:gd name="T6" fmla="*/ 31 w 61"/>
                <a:gd name="T7" fmla="*/ 0 h 65"/>
                <a:gd name="T8" fmla="*/ 61 w 61"/>
                <a:gd name="T9" fmla="*/ 33 h 65"/>
              </a:gdLst>
              <a:ahLst/>
              <a:cxnLst>
                <a:cxn ang="0">
                  <a:pos x="T0" y="T1"/>
                </a:cxn>
                <a:cxn ang="0">
                  <a:pos x="T2" y="T3"/>
                </a:cxn>
                <a:cxn ang="0">
                  <a:pos x="T4" y="T5"/>
                </a:cxn>
                <a:cxn ang="0">
                  <a:pos x="T6" y="T7"/>
                </a:cxn>
                <a:cxn ang="0">
                  <a:pos x="T8" y="T9"/>
                </a:cxn>
              </a:cxnLst>
              <a:rect l="0" t="0" r="r" b="b"/>
              <a:pathLst>
                <a:path w="61" h="65">
                  <a:moveTo>
                    <a:pt x="61" y="33"/>
                  </a:moveTo>
                  <a:cubicBezTo>
                    <a:pt x="40" y="39"/>
                    <a:pt x="36" y="43"/>
                    <a:pt x="31" y="65"/>
                  </a:cubicBezTo>
                  <a:cubicBezTo>
                    <a:pt x="25" y="43"/>
                    <a:pt x="21" y="39"/>
                    <a:pt x="0" y="33"/>
                  </a:cubicBezTo>
                  <a:cubicBezTo>
                    <a:pt x="21" y="27"/>
                    <a:pt x="25" y="22"/>
                    <a:pt x="31" y="0"/>
                  </a:cubicBezTo>
                  <a:cubicBezTo>
                    <a:pt x="36" y="22"/>
                    <a:pt x="40" y="27"/>
                    <a:pt x="61" y="33"/>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08" name="Freeform 1559">
              <a:extLst>
                <a:ext uri="{FF2B5EF4-FFF2-40B4-BE49-F238E27FC236}">
                  <a16:creationId xmlns:a16="http://schemas.microsoft.com/office/drawing/2014/main" id="{BE76E40A-5A6A-4467-B530-10AA278EEB2A}"/>
                </a:ext>
              </a:extLst>
            </p:cNvPr>
            <p:cNvSpPr>
              <a:spLocks/>
            </p:cNvSpPr>
            <p:nvPr userDrawn="1"/>
          </p:nvSpPr>
          <p:spPr bwMode="auto">
            <a:xfrm>
              <a:off x="6559551" y="3073400"/>
              <a:ext cx="2171700" cy="1068388"/>
            </a:xfrm>
            <a:custGeom>
              <a:avLst/>
              <a:gdLst>
                <a:gd name="T0" fmla="*/ 986 w 1097"/>
                <a:gd name="T1" fmla="*/ 293 h 540"/>
                <a:gd name="T2" fmla="*/ 982 w 1097"/>
                <a:gd name="T3" fmla="*/ 293 h 540"/>
                <a:gd name="T4" fmla="*/ 829 w 1097"/>
                <a:gd name="T5" fmla="*/ 170 h 540"/>
                <a:gd name="T6" fmla="*/ 744 w 1097"/>
                <a:gd name="T7" fmla="*/ 197 h 540"/>
                <a:gd name="T8" fmla="*/ 529 w 1097"/>
                <a:gd name="T9" fmla="*/ 0 h 540"/>
                <a:gd name="T10" fmla="*/ 322 w 1097"/>
                <a:gd name="T11" fmla="*/ 164 h 540"/>
                <a:gd name="T12" fmla="*/ 283 w 1097"/>
                <a:gd name="T13" fmla="*/ 158 h 540"/>
                <a:gd name="T14" fmla="*/ 136 w 1097"/>
                <a:gd name="T15" fmla="*/ 293 h 540"/>
                <a:gd name="T16" fmla="*/ 111 w 1097"/>
                <a:gd name="T17" fmla="*/ 293 h 540"/>
                <a:gd name="T18" fmla="*/ 0 w 1097"/>
                <a:gd name="T19" fmla="*/ 412 h 540"/>
                <a:gd name="T20" fmla="*/ 0 w 1097"/>
                <a:gd name="T21" fmla="*/ 420 h 540"/>
                <a:gd name="T22" fmla="*/ 111 w 1097"/>
                <a:gd name="T23" fmla="*/ 540 h 540"/>
                <a:gd name="T24" fmla="*/ 986 w 1097"/>
                <a:gd name="T25" fmla="*/ 540 h 540"/>
                <a:gd name="T26" fmla="*/ 1097 w 1097"/>
                <a:gd name="T27" fmla="*/ 420 h 540"/>
                <a:gd name="T28" fmla="*/ 1097 w 1097"/>
                <a:gd name="T29" fmla="*/ 412 h 540"/>
                <a:gd name="T30" fmla="*/ 986 w 1097"/>
                <a:gd name="T31" fmla="*/ 293 h 5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97" h="540">
                  <a:moveTo>
                    <a:pt x="986" y="293"/>
                  </a:moveTo>
                  <a:cubicBezTo>
                    <a:pt x="982" y="293"/>
                    <a:pt x="982" y="293"/>
                    <a:pt x="982" y="293"/>
                  </a:cubicBezTo>
                  <a:cubicBezTo>
                    <a:pt x="962" y="222"/>
                    <a:pt x="902" y="170"/>
                    <a:pt x="829" y="170"/>
                  </a:cubicBezTo>
                  <a:cubicBezTo>
                    <a:pt x="798" y="170"/>
                    <a:pt x="768" y="180"/>
                    <a:pt x="744" y="197"/>
                  </a:cubicBezTo>
                  <a:cubicBezTo>
                    <a:pt x="728" y="86"/>
                    <a:pt x="638" y="0"/>
                    <a:pt x="529" y="0"/>
                  </a:cubicBezTo>
                  <a:cubicBezTo>
                    <a:pt x="432" y="0"/>
                    <a:pt x="349" y="69"/>
                    <a:pt x="322" y="164"/>
                  </a:cubicBezTo>
                  <a:cubicBezTo>
                    <a:pt x="309" y="160"/>
                    <a:pt x="296" y="158"/>
                    <a:pt x="283" y="158"/>
                  </a:cubicBezTo>
                  <a:cubicBezTo>
                    <a:pt x="209" y="158"/>
                    <a:pt x="147" y="216"/>
                    <a:pt x="136" y="293"/>
                  </a:cubicBezTo>
                  <a:cubicBezTo>
                    <a:pt x="111" y="293"/>
                    <a:pt x="111" y="293"/>
                    <a:pt x="111" y="293"/>
                  </a:cubicBezTo>
                  <a:cubicBezTo>
                    <a:pt x="50" y="293"/>
                    <a:pt x="0" y="346"/>
                    <a:pt x="0" y="412"/>
                  </a:cubicBezTo>
                  <a:cubicBezTo>
                    <a:pt x="0" y="420"/>
                    <a:pt x="0" y="420"/>
                    <a:pt x="0" y="420"/>
                  </a:cubicBezTo>
                  <a:cubicBezTo>
                    <a:pt x="0" y="486"/>
                    <a:pt x="50" y="540"/>
                    <a:pt x="111" y="540"/>
                  </a:cubicBezTo>
                  <a:cubicBezTo>
                    <a:pt x="986" y="540"/>
                    <a:pt x="986" y="540"/>
                    <a:pt x="986" y="540"/>
                  </a:cubicBezTo>
                  <a:cubicBezTo>
                    <a:pt x="1047" y="540"/>
                    <a:pt x="1097" y="486"/>
                    <a:pt x="1097" y="420"/>
                  </a:cubicBezTo>
                  <a:cubicBezTo>
                    <a:pt x="1097" y="412"/>
                    <a:pt x="1097" y="412"/>
                    <a:pt x="1097" y="412"/>
                  </a:cubicBezTo>
                  <a:cubicBezTo>
                    <a:pt x="1097" y="346"/>
                    <a:pt x="1047" y="293"/>
                    <a:pt x="986" y="293"/>
                  </a:cubicBez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09" name="Freeform 1560">
              <a:extLst>
                <a:ext uri="{FF2B5EF4-FFF2-40B4-BE49-F238E27FC236}">
                  <a16:creationId xmlns:a16="http://schemas.microsoft.com/office/drawing/2014/main" id="{DF7D4C84-8D52-4278-B4DE-D7EFBBC8CF23}"/>
                </a:ext>
              </a:extLst>
            </p:cNvPr>
            <p:cNvSpPr>
              <a:spLocks/>
            </p:cNvSpPr>
            <p:nvPr userDrawn="1"/>
          </p:nvSpPr>
          <p:spPr bwMode="auto">
            <a:xfrm>
              <a:off x="6586538" y="3198813"/>
              <a:ext cx="1917700" cy="942975"/>
            </a:xfrm>
            <a:custGeom>
              <a:avLst/>
              <a:gdLst>
                <a:gd name="T0" fmla="*/ 870 w 968"/>
                <a:gd name="T1" fmla="*/ 258 h 476"/>
                <a:gd name="T2" fmla="*/ 866 w 968"/>
                <a:gd name="T3" fmla="*/ 258 h 476"/>
                <a:gd name="T4" fmla="*/ 731 w 968"/>
                <a:gd name="T5" fmla="*/ 150 h 476"/>
                <a:gd name="T6" fmla="*/ 656 w 968"/>
                <a:gd name="T7" fmla="*/ 174 h 476"/>
                <a:gd name="T8" fmla="*/ 467 w 968"/>
                <a:gd name="T9" fmla="*/ 0 h 476"/>
                <a:gd name="T10" fmla="*/ 284 w 968"/>
                <a:gd name="T11" fmla="*/ 144 h 476"/>
                <a:gd name="T12" fmla="*/ 250 w 968"/>
                <a:gd name="T13" fmla="*/ 139 h 476"/>
                <a:gd name="T14" fmla="*/ 120 w 968"/>
                <a:gd name="T15" fmla="*/ 258 h 476"/>
                <a:gd name="T16" fmla="*/ 99 w 968"/>
                <a:gd name="T17" fmla="*/ 258 h 476"/>
                <a:gd name="T18" fmla="*/ 0 w 968"/>
                <a:gd name="T19" fmla="*/ 363 h 476"/>
                <a:gd name="T20" fmla="*/ 0 w 968"/>
                <a:gd name="T21" fmla="*/ 371 h 476"/>
                <a:gd name="T22" fmla="*/ 99 w 968"/>
                <a:gd name="T23" fmla="*/ 476 h 476"/>
                <a:gd name="T24" fmla="*/ 870 w 968"/>
                <a:gd name="T25" fmla="*/ 476 h 476"/>
                <a:gd name="T26" fmla="*/ 968 w 968"/>
                <a:gd name="T27" fmla="*/ 371 h 476"/>
                <a:gd name="T28" fmla="*/ 968 w 968"/>
                <a:gd name="T29" fmla="*/ 363 h 476"/>
                <a:gd name="T30" fmla="*/ 870 w 968"/>
                <a:gd name="T31" fmla="*/ 258 h 4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68" h="476">
                  <a:moveTo>
                    <a:pt x="870" y="258"/>
                  </a:moveTo>
                  <a:cubicBezTo>
                    <a:pt x="866" y="258"/>
                    <a:pt x="866" y="258"/>
                    <a:pt x="866" y="258"/>
                  </a:cubicBezTo>
                  <a:cubicBezTo>
                    <a:pt x="849" y="196"/>
                    <a:pt x="795" y="150"/>
                    <a:pt x="731" y="150"/>
                  </a:cubicBezTo>
                  <a:cubicBezTo>
                    <a:pt x="704" y="150"/>
                    <a:pt x="678" y="159"/>
                    <a:pt x="656" y="174"/>
                  </a:cubicBezTo>
                  <a:cubicBezTo>
                    <a:pt x="642" y="75"/>
                    <a:pt x="563" y="0"/>
                    <a:pt x="467" y="0"/>
                  </a:cubicBezTo>
                  <a:cubicBezTo>
                    <a:pt x="381" y="0"/>
                    <a:pt x="308" y="61"/>
                    <a:pt x="284" y="144"/>
                  </a:cubicBezTo>
                  <a:cubicBezTo>
                    <a:pt x="273" y="141"/>
                    <a:pt x="262" y="139"/>
                    <a:pt x="250" y="139"/>
                  </a:cubicBezTo>
                  <a:cubicBezTo>
                    <a:pt x="184" y="139"/>
                    <a:pt x="130" y="191"/>
                    <a:pt x="120" y="258"/>
                  </a:cubicBezTo>
                  <a:cubicBezTo>
                    <a:pt x="99" y="258"/>
                    <a:pt x="99" y="258"/>
                    <a:pt x="99" y="258"/>
                  </a:cubicBezTo>
                  <a:cubicBezTo>
                    <a:pt x="45" y="258"/>
                    <a:pt x="0" y="305"/>
                    <a:pt x="0" y="363"/>
                  </a:cubicBezTo>
                  <a:cubicBezTo>
                    <a:pt x="0" y="371"/>
                    <a:pt x="0" y="371"/>
                    <a:pt x="0" y="371"/>
                  </a:cubicBezTo>
                  <a:cubicBezTo>
                    <a:pt x="0" y="428"/>
                    <a:pt x="45" y="476"/>
                    <a:pt x="99" y="476"/>
                  </a:cubicBezTo>
                  <a:cubicBezTo>
                    <a:pt x="870" y="476"/>
                    <a:pt x="870" y="476"/>
                    <a:pt x="870" y="476"/>
                  </a:cubicBezTo>
                  <a:cubicBezTo>
                    <a:pt x="924" y="476"/>
                    <a:pt x="968" y="428"/>
                    <a:pt x="968" y="371"/>
                  </a:cubicBezTo>
                  <a:cubicBezTo>
                    <a:pt x="968" y="363"/>
                    <a:pt x="968" y="363"/>
                    <a:pt x="968" y="363"/>
                  </a:cubicBezTo>
                  <a:cubicBezTo>
                    <a:pt x="968" y="305"/>
                    <a:pt x="924" y="258"/>
                    <a:pt x="870" y="2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10" name="Freeform 1561">
              <a:extLst>
                <a:ext uri="{FF2B5EF4-FFF2-40B4-BE49-F238E27FC236}">
                  <a16:creationId xmlns:a16="http://schemas.microsoft.com/office/drawing/2014/main" id="{6542772A-5062-4DDD-9F25-837E06BB2B0D}"/>
                </a:ext>
              </a:extLst>
            </p:cNvPr>
            <p:cNvSpPr>
              <a:spLocks/>
            </p:cNvSpPr>
            <p:nvPr userDrawn="1"/>
          </p:nvSpPr>
          <p:spPr bwMode="auto">
            <a:xfrm>
              <a:off x="7392988" y="3230563"/>
              <a:ext cx="511175" cy="206375"/>
            </a:xfrm>
            <a:custGeom>
              <a:avLst/>
              <a:gdLst>
                <a:gd name="T0" fmla="*/ 258 w 258"/>
                <a:gd name="T1" fmla="*/ 93 h 104"/>
                <a:gd name="T2" fmla="*/ 191 w 258"/>
                <a:gd name="T3" fmla="*/ 26 h 104"/>
                <a:gd name="T4" fmla="*/ 98 w 258"/>
                <a:gd name="T5" fmla="*/ 0 h 104"/>
                <a:gd name="T6" fmla="*/ 0 w 258"/>
                <a:gd name="T7" fmla="*/ 28 h 104"/>
                <a:gd name="T8" fmla="*/ 11 w 258"/>
                <a:gd name="T9" fmla="*/ 46 h 104"/>
                <a:gd name="T10" fmla="*/ 98 w 258"/>
                <a:gd name="T11" fmla="*/ 20 h 104"/>
                <a:gd name="T12" fmla="*/ 180 w 258"/>
                <a:gd name="T13" fmla="*/ 43 h 104"/>
                <a:gd name="T14" fmla="*/ 241 w 258"/>
                <a:gd name="T15" fmla="*/ 104 h 104"/>
                <a:gd name="T16" fmla="*/ 258 w 258"/>
                <a:gd name="T17" fmla="*/ 9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8" h="104">
                  <a:moveTo>
                    <a:pt x="258" y="93"/>
                  </a:moveTo>
                  <a:cubicBezTo>
                    <a:pt x="241" y="65"/>
                    <a:pt x="218" y="42"/>
                    <a:pt x="191" y="26"/>
                  </a:cubicBezTo>
                  <a:cubicBezTo>
                    <a:pt x="163" y="9"/>
                    <a:pt x="132" y="0"/>
                    <a:pt x="98" y="0"/>
                  </a:cubicBezTo>
                  <a:cubicBezTo>
                    <a:pt x="62" y="0"/>
                    <a:pt x="29" y="10"/>
                    <a:pt x="0" y="28"/>
                  </a:cubicBezTo>
                  <a:cubicBezTo>
                    <a:pt x="11" y="46"/>
                    <a:pt x="11" y="46"/>
                    <a:pt x="11" y="46"/>
                  </a:cubicBezTo>
                  <a:cubicBezTo>
                    <a:pt x="37" y="29"/>
                    <a:pt x="66" y="20"/>
                    <a:pt x="98" y="20"/>
                  </a:cubicBezTo>
                  <a:cubicBezTo>
                    <a:pt x="128" y="20"/>
                    <a:pt x="156" y="28"/>
                    <a:pt x="180" y="43"/>
                  </a:cubicBezTo>
                  <a:cubicBezTo>
                    <a:pt x="205" y="57"/>
                    <a:pt x="226" y="78"/>
                    <a:pt x="241" y="104"/>
                  </a:cubicBezTo>
                  <a:cubicBezTo>
                    <a:pt x="258" y="93"/>
                    <a:pt x="258" y="93"/>
                    <a:pt x="258" y="9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11" name="Freeform 1562">
              <a:extLst>
                <a:ext uri="{FF2B5EF4-FFF2-40B4-BE49-F238E27FC236}">
                  <a16:creationId xmlns:a16="http://schemas.microsoft.com/office/drawing/2014/main" id="{2C1694BA-5269-4B1E-866F-5BCB06340080}"/>
                </a:ext>
              </a:extLst>
            </p:cNvPr>
            <p:cNvSpPr>
              <a:spLocks/>
            </p:cNvSpPr>
            <p:nvPr userDrawn="1"/>
          </p:nvSpPr>
          <p:spPr bwMode="auto">
            <a:xfrm>
              <a:off x="6538913" y="3052763"/>
              <a:ext cx="2214563" cy="1108075"/>
            </a:xfrm>
            <a:custGeom>
              <a:avLst/>
              <a:gdLst>
                <a:gd name="T0" fmla="*/ 996 w 1118"/>
                <a:gd name="T1" fmla="*/ 560 h 560"/>
                <a:gd name="T2" fmla="*/ 1118 w 1118"/>
                <a:gd name="T3" fmla="*/ 430 h 560"/>
                <a:gd name="T4" fmla="*/ 1082 w 1118"/>
                <a:gd name="T5" fmla="*/ 331 h 560"/>
                <a:gd name="T6" fmla="*/ 992 w 1118"/>
                <a:gd name="T7" fmla="*/ 292 h 560"/>
                <a:gd name="T8" fmla="*/ 1001 w 1118"/>
                <a:gd name="T9" fmla="*/ 300 h 560"/>
                <a:gd name="T10" fmla="*/ 839 w 1118"/>
                <a:gd name="T11" fmla="*/ 170 h 560"/>
                <a:gd name="T12" fmla="*/ 754 w 1118"/>
                <a:gd name="T13" fmla="*/ 207 h 560"/>
                <a:gd name="T14" fmla="*/ 688 w 1118"/>
                <a:gd name="T15" fmla="*/ 60 h 560"/>
                <a:gd name="T16" fmla="*/ 365 w 1118"/>
                <a:gd name="T17" fmla="*/ 87 h 560"/>
                <a:gd name="T18" fmla="*/ 322 w 1118"/>
                <a:gd name="T19" fmla="*/ 171 h 560"/>
                <a:gd name="T20" fmla="*/ 335 w 1118"/>
                <a:gd name="T21" fmla="*/ 164 h 560"/>
                <a:gd name="T22" fmla="*/ 189 w 1118"/>
                <a:gd name="T23" fmla="*/ 199 h 560"/>
                <a:gd name="T24" fmla="*/ 146 w 1118"/>
                <a:gd name="T25" fmla="*/ 303 h 560"/>
                <a:gd name="T26" fmla="*/ 121 w 1118"/>
                <a:gd name="T27" fmla="*/ 292 h 560"/>
                <a:gd name="T28" fmla="*/ 0 w 1118"/>
                <a:gd name="T29" fmla="*/ 422 h 560"/>
                <a:gd name="T30" fmla="*/ 35 w 1118"/>
                <a:gd name="T31" fmla="*/ 522 h 560"/>
                <a:gd name="T32" fmla="*/ 610 w 1118"/>
                <a:gd name="T33" fmla="*/ 560 h 560"/>
                <a:gd name="T34" fmla="*/ 121 w 1118"/>
                <a:gd name="T35" fmla="*/ 539 h 560"/>
                <a:gd name="T36" fmla="*/ 20 w 1118"/>
                <a:gd name="T37" fmla="*/ 430 h 560"/>
                <a:gd name="T38" fmla="*/ 50 w 1118"/>
                <a:gd name="T39" fmla="*/ 344 h 560"/>
                <a:gd name="T40" fmla="*/ 155 w 1118"/>
                <a:gd name="T41" fmla="*/ 313 h 560"/>
                <a:gd name="T42" fmla="*/ 203 w 1118"/>
                <a:gd name="T43" fmla="*/ 214 h 560"/>
                <a:gd name="T44" fmla="*/ 329 w 1118"/>
                <a:gd name="T45" fmla="*/ 183 h 560"/>
                <a:gd name="T46" fmla="*/ 341 w 1118"/>
                <a:gd name="T47" fmla="*/ 177 h 560"/>
                <a:gd name="T48" fmla="*/ 381 w 1118"/>
                <a:gd name="T49" fmla="*/ 99 h 560"/>
                <a:gd name="T50" fmla="*/ 674 w 1118"/>
                <a:gd name="T51" fmla="*/ 74 h 560"/>
                <a:gd name="T52" fmla="*/ 746 w 1118"/>
                <a:gd name="T53" fmla="*/ 225 h 560"/>
                <a:gd name="T54" fmla="*/ 839 w 1118"/>
                <a:gd name="T55" fmla="*/ 190 h 560"/>
                <a:gd name="T56" fmla="*/ 982 w 1118"/>
                <a:gd name="T57" fmla="*/ 305 h 560"/>
                <a:gd name="T58" fmla="*/ 996 w 1118"/>
                <a:gd name="T59" fmla="*/ 313 h 560"/>
                <a:gd name="T60" fmla="*/ 1097 w 1118"/>
                <a:gd name="T61" fmla="*/ 422 h 560"/>
                <a:gd name="T62" fmla="*/ 1067 w 1118"/>
                <a:gd name="T63" fmla="*/ 508 h 560"/>
                <a:gd name="T64" fmla="*/ 863 w 1118"/>
                <a:gd name="T65" fmla="*/ 539 h 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18" h="560">
                  <a:moveTo>
                    <a:pt x="863" y="560"/>
                  </a:moveTo>
                  <a:cubicBezTo>
                    <a:pt x="996" y="560"/>
                    <a:pt x="996" y="560"/>
                    <a:pt x="996" y="560"/>
                  </a:cubicBezTo>
                  <a:cubicBezTo>
                    <a:pt x="1030" y="560"/>
                    <a:pt x="1060" y="545"/>
                    <a:pt x="1082" y="522"/>
                  </a:cubicBezTo>
                  <a:cubicBezTo>
                    <a:pt x="1104" y="498"/>
                    <a:pt x="1118" y="466"/>
                    <a:pt x="1118" y="430"/>
                  </a:cubicBezTo>
                  <a:cubicBezTo>
                    <a:pt x="1118" y="422"/>
                    <a:pt x="1118" y="422"/>
                    <a:pt x="1118" y="422"/>
                  </a:cubicBezTo>
                  <a:cubicBezTo>
                    <a:pt x="1118" y="386"/>
                    <a:pt x="1104" y="354"/>
                    <a:pt x="1082" y="331"/>
                  </a:cubicBezTo>
                  <a:cubicBezTo>
                    <a:pt x="1060" y="307"/>
                    <a:pt x="1030" y="292"/>
                    <a:pt x="996" y="292"/>
                  </a:cubicBezTo>
                  <a:cubicBezTo>
                    <a:pt x="992" y="292"/>
                    <a:pt x="992" y="292"/>
                    <a:pt x="992" y="292"/>
                  </a:cubicBezTo>
                  <a:cubicBezTo>
                    <a:pt x="992" y="303"/>
                    <a:pt x="992" y="303"/>
                    <a:pt x="992" y="303"/>
                  </a:cubicBezTo>
                  <a:cubicBezTo>
                    <a:pt x="1001" y="300"/>
                    <a:pt x="1001" y="300"/>
                    <a:pt x="1001" y="300"/>
                  </a:cubicBezTo>
                  <a:cubicBezTo>
                    <a:pt x="991" y="263"/>
                    <a:pt x="970" y="230"/>
                    <a:pt x="942" y="207"/>
                  </a:cubicBezTo>
                  <a:cubicBezTo>
                    <a:pt x="913" y="184"/>
                    <a:pt x="878" y="170"/>
                    <a:pt x="839" y="170"/>
                  </a:cubicBezTo>
                  <a:cubicBezTo>
                    <a:pt x="806" y="170"/>
                    <a:pt x="774" y="181"/>
                    <a:pt x="748" y="199"/>
                  </a:cubicBezTo>
                  <a:cubicBezTo>
                    <a:pt x="754" y="207"/>
                    <a:pt x="754" y="207"/>
                    <a:pt x="754" y="207"/>
                  </a:cubicBezTo>
                  <a:cubicBezTo>
                    <a:pt x="764" y="206"/>
                    <a:pt x="764" y="206"/>
                    <a:pt x="764" y="206"/>
                  </a:cubicBezTo>
                  <a:cubicBezTo>
                    <a:pt x="755" y="148"/>
                    <a:pt x="728" y="96"/>
                    <a:pt x="688" y="60"/>
                  </a:cubicBezTo>
                  <a:cubicBezTo>
                    <a:pt x="648" y="23"/>
                    <a:pt x="596" y="0"/>
                    <a:pt x="539" y="0"/>
                  </a:cubicBezTo>
                  <a:cubicBezTo>
                    <a:pt x="469" y="0"/>
                    <a:pt x="407" y="34"/>
                    <a:pt x="365" y="87"/>
                  </a:cubicBezTo>
                  <a:cubicBezTo>
                    <a:pt x="356" y="98"/>
                    <a:pt x="348" y="111"/>
                    <a:pt x="341" y="125"/>
                  </a:cubicBezTo>
                  <a:cubicBezTo>
                    <a:pt x="333" y="139"/>
                    <a:pt x="327" y="155"/>
                    <a:pt x="322" y="171"/>
                  </a:cubicBezTo>
                  <a:cubicBezTo>
                    <a:pt x="332" y="174"/>
                    <a:pt x="332" y="174"/>
                    <a:pt x="332" y="174"/>
                  </a:cubicBezTo>
                  <a:cubicBezTo>
                    <a:pt x="335" y="164"/>
                    <a:pt x="335" y="164"/>
                    <a:pt x="335" y="164"/>
                  </a:cubicBezTo>
                  <a:cubicBezTo>
                    <a:pt x="321" y="160"/>
                    <a:pt x="307" y="158"/>
                    <a:pt x="293" y="158"/>
                  </a:cubicBezTo>
                  <a:cubicBezTo>
                    <a:pt x="253" y="158"/>
                    <a:pt x="217" y="174"/>
                    <a:pt x="189" y="199"/>
                  </a:cubicBezTo>
                  <a:cubicBezTo>
                    <a:pt x="161" y="225"/>
                    <a:pt x="142" y="261"/>
                    <a:pt x="136" y="301"/>
                  </a:cubicBezTo>
                  <a:cubicBezTo>
                    <a:pt x="146" y="303"/>
                    <a:pt x="146" y="303"/>
                    <a:pt x="146" y="303"/>
                  </a:cubicBezTo>
                  <a:cubicBezTo>
                    <a:pt x="146" y="292"/>
                    <a:pt x="146" y="292"/>
                    <a:pt x="146" y="292"/>
                  </a:cubicBezTo>
                  <a:cubicBezTo>
                    <a:pt x="121" y="292"/>
                    <a:pt x="121" y="292"/>
                    <a:pt x="121" y="292"/>
                  </a:cubicBezTo>
                  <a:cubicBezTo>
                    <a:pt x="88" y="292"/>
                    <a:pt x="57" y="307"/>
                    <a:pt x="35" y="331"/>
                  </a:cubicBezTo>
                  <a:cubicBezTo>
                    <a:pt x="13" y="354"/>
                    <a:pt x="0" y="386"/>
                    <a:pt x="0" y="422"/>
                  </a:cubicBezTo>
                  <a:cubicBezTo>
                    <a:pt x="0" y="430"/>
                    <a:pt x="0" y="430"/>
                    <a:pt x="0" y="430"/>
                  </a:cubicBezTo>
                  <a:cubicBezTo>
                    <a:pt x="0" y="466"/>
                    <a:pt x="13" y="498"/>
                    <a:pt x="35" y="522"/>
                  </a:cubicBezTo>
                  <a:cubicBezTo>
                    <a:pt x="57" y="545"/>
                    <a:pt x="88" y="560"/>
                    <a:pt x="121" y="560"/>
                  </a:cubicBezTo>
                  <a:cubicBezTo>
                    <a:pt x="610" y="560"/>
                    <a:pt x="610" y="560"/>
                    <a:pt x="610" y="560"/>
                  </a:cubicBezTo>
                  <a:cubicBezTo>
                    <a:pt x="610" y="539"/>
                    <a:pt x="610" y="539"/>
                    <a:pt x="610" y="539"/>
                  </a:cubicBezTo>
                  <a:cubicBezTo>
                    <a:pt x="121" y="539"/>
                    <a:pt x="121" y="539"/>
                    <a:pt x="121" y="539"/>
                  </a:cubicBezTo>
                  <a:cubicBezTo>
                    <a:pt x="94" y="539"/>
                    <a:pt x="69" y="527"/>
                    <a:pt x="50" y="508"/>
                  </a:cubicBezTo>
                  <a:cubicBezTo>
                    <a:pt x="32" y="488"/>
                    <a:pt x="20" y="461"/>
                    <a:pt x="20" y="430"/>
                  </a:cubicBezTo>
                  <a:cubicBezTo>
                    <a:pt x="20" y="422"/>
                    <a:pt x="20" y="422"/>
                    <a:pt x="20" y="422"/>
                  </a:cubicBezTo>
                  <a:cubicBezTo>
                    <a:pt x="20" y="392"/>
                    <a:pt x="32" y="364"/>
                    <a:pt x="50" y="344"/>
                  </a:cubicBezTo>
                  <a:cubicBezTo>
                    <a:pt x="69" y="325"/>
                    <a:pt x="94" y="313"/>
                    <a:pt x="121" y="313"/>
                  </a:cubicBezTo>
                  <a:cubicBezTo>
                    <a:pt x="155" y="313"/>
                    <a:pt x="155" y="313"/>
                    <a:pt x="155" y="313"/>
                  </a:cubicBezTo>
                  <a:cubicBezTo>
                    <a:pt x="156" y="304"/>
                    <a:pt x="156" y="304"/>
                    <a:pt x="156" y="304"/>
                  </a:cubicBezTo>
                  <a:cubicBezTo>
                    <a:pt x="161" y="268"/>
                    <a:pt x="178" y="237"/>
                    <a:pt x="203" y="214"/>
                  </a:cubicBezTo>
                  <a:cubicBezTo>
                    <a:pt x="227" y="192"/>
                    <a:pt x="258" y="178"/>
                    <a:pt x="293" y="178"/>
                  </a:cubicBezTo>
                  <a:cubicBezTo>
                    <a:pt x="305" y="178"/>
                    <a:pt x="317" y="180"/>
                    <a:pt x="329" y="183"/>
                  </a:cubicBezTo>
                  <a:cubicBezTo>
                    <a:pt x="339" y="186"/>
                    <a:pt x="339" y="186"/>
                    <a:pt x="339" y="186"/>
                  </a:cubicBezTo>
                  <a:cubicBezTo>
                    <a:pt x="341" y="177"/>
                    <a:pt x="341" y="177"/>
                    <a:pt x="341" y="177"/>
                  </a:cubicBezTo>
                  <a:cubicBezTo>
                    <a:pt x="346" y="162"/>
                    <a:pt x="352" y="147"/>
                    <a:pt x="359" y="134"/>
                  </a:cubicBezTo>
                  <a:cubicBezTo>
                    <a:pt x="365" y="122"/>
                    <a:pt x="373" y="110"/>
                    <a:pt x="381" y="99"/>
                  </a:cubicBezTo>
                  <a:cubicBezTo>
                    <a:pt x="419" y="51"/>
                    <a:pt x="476" y="20"/>
                    <a:pt x="539" y="20"/>
                  </a:cubicBezTo>
                  <a:cubicBezTo>
                    <a:pt x="591" y="20"/>
                    <a:pt x="638" y="41"/>
                    <a:pt x="674" y="74"/>
                  </a:cubicBezTo>
                  <a:cubicBezTo>
                    <a:pt x="711" y="108"/>
                    <a:pt x="736" y="155"/>
                    <a:pt x="744" y="209"/>
                  </a:cubicBezTo>
                  <a:cubicBezTo>
                    <a:pt x="746" y="225"/>
                    <a:pt x="746" y="225"/>
                    <a:pt x="746" y="225"/>
                  </a:cubicBezTo>
                  <a:cubicBezTo>
                    <a:pt x="759" y="215"/>
                    <a:pt x="759" y="215"/>
                    <a:pt x="759" y="215"/>
                  </a:cubicBezTo>
                  <a:cubicBezTo>
                    <a:pt x="783" y="200"/>
                    <a:pt x="810" y="190"/>
                    <a:pt x="839" y="190"/>
                  </a:cubicBezTo>
                  <a:cubicBezTo>
                    <a:pt x="873" y="190"/>
                    <a:pt x="904" y="202"/>
                    <a:pt x="929" y="223"/>
                  </a:cubicBezTo>
                  <a:cubicBezTo>
                    <a:pt x="954" y="243"/>
                    <a:pt x="973" y="272"/>
                    <a:pt x="982" y="305"/>
                  </a:cubicBezTo>
                  <a:cubicBezTo>
                    <a:pt x="984" y="313"/>
                    <a:pt x="984" y="313"/>
                    <a:pt x="984" y="313"/>
                  </a:cubicBezTo>
                  <a:cubicBezTo>
                    <a:pt x="996" y="313"/>
                    <a:pt x="996" y="313"/>
                    <a:pt x="996" y="313"/>
                  </a:cubicBezTo>
                  <a:cubicBezTo>
                    <a:pt x="1024" y="313"/>
                    <a:pt x="1049" y="325"/>
                    <a:pt x="1067" y="344"/>
                  </a:cubicBezTo>
                  <a:cubicBezTo>
                    <a:pt x="1086" y="364"/>
                    <a:pt x="1097" y="392"/>
                    <a:pt x="1097" y="422"/>
                  </a:cubicBezTo>
                  <a:cubicBezTo>
                    <a:pt x="1097" y="430"/>
                    <a:pt x="1097" y="430"/>
                    <a:pt x="1097" y="430"/>
                  </a:cubicBezTo>
                  <a:cubicBezTo>
                    <a:pt x="1097" y="461"/>
                    <a:pt x="1086" y="488"/>
                    <a:pt x="1067" y="508"/>
                  </a:cubicBezTo>
                  <a:cubicBezTo>
                    <a:pt x="1049" y="527"/>
                    <a:pt x="1024" y="539"/>
                    <a:pt x="996" y="539"/>
                  </a:cubicBezTo>
                  <a:cubicBezTo>
                    <a:pt x="863" y="539"/>
                    <a:pt x="863" y="539"/>
                    <a:pt x="863" y="539"/>
                  </a:cubicBezTo>
                  <a:cubicBezTo>
                    <a:pt x="863" y="560"/>
                    <a:pt x="863" y="560"/>
                    <a:pt x="863" y="56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12" name="Freeform 1563">
              <a:extLst>
                <a:ext uri="{FF2B5EF4-FFF2-40B4-BE49-F238E27FC236}">
                  <a16:creationId xmlns:a16="http://schemas.microsoft.com/office/drawing/2014/main" id="{5578F22D-2268-418B-B13E-FB98225009AB}"/>
                </a:ext>
              </a:extLst>
            </p:cNvPr>
            <p:cNvSpPr>
              <a:spLocks/>
            </p:cNvSpPr>
            <p:nvPr userDrawn="1"/>
          </p:nvSpPr>
          <p:spPr bwMode="auto">
            <a:xfrm>
              <a:off x="7124701" y="3363913"/>
              <a:ext cx="173038" cy="184150"/>
            </a:xfrm>
            <a:custGeom>
              <a:avLst/>
              <a:gdLst>
                <a:gd name="T0" fmla="*/ 0 w 87"/>
                <a:gd name="T1" fmla="*/ 20 h 93"/>
                <a:gd name="T2" fmla="*/ 47 w 87"/>
                <a:gd name="T3" fmla="*/ 42 h 93"/>
                <a:gd name="T4" fmla="*/ 67 w 87"/>
                <a:gd name="T5" fmla="*/ 93 h 93"/>
                <a:gd name="T6" fmla="*/ 87 w 87"/>
                <a:gd name="T7" fmla="*/ 93 h 93"/>
                <a:gd name="T8" fmla="*/ 62 w 87"/>
                <a:gd name="T9" fmla="*/ 28 h 93"/>
                <a:gd name="T10" fmla="*/ 0 w 87"/>
                <a:gd name="T11" fmla="*/ 0 h 93"/>
                <a:gd name="T12" fmla="*/ 0 w 87"/>
                <a:gd name="T13" fmla="*/ 20 h 93"/>
              </a:gdLst>
              <a:ahLst/>
              <a:cxnLst>
                <a:cxn ang="0">
                  <a:pos x="T0" y="T1"/>
                </a:cxn>
                <a:cxn ang="0">
                  <a:pos x="T2" y="T3"/>
                </a:cxn>
                <a:cxn ang="0">
                  <a:pos x="T4" y="T5"/>
                </a:cxn>
                <a:cxn ang="0">
                  <a:pos x="T6" y="T7"/>
                </a:cxn>
                <a:cxn ang="0">
                  <a:pos x="T8" y="T9"/>
                </a:cxn>
                <a:cxn ang="0">
                  <a:pos x="T10" y="T11"/>
                </a:cxn>
                <a:cxn ang="0">
                  <a:pos x="T12" y="T13"/>
                </a:cxn>
              </a:cxnLst>
              <a:rect l="0" t="0" r="r" b="b"/>
              <a:pathLst>
                <a:path w="87" h="93">
                  <a:moveTo>
                    <a:pt x="0" y="20"/>
                  </a:moveTo>
                  <a:cubicBezTo>
                    <a:pt x="18" y="21"/>
                    <a:pt x="35" y="28"/>
                    <a:pt x="47" y="42"/>
                  </a:cubicBezTo>
                  <a:cubicBezTo>
                    <a:pt x="59" y="55"/>
                    <a:pt x="67" y="73"/>
                    <a:pt x="67" y="93"/>
                  </a:cubicBezTo>
                  <a:cubicBezTo>
                    <a:pt x="87" y="93"/>
                    <a:pt x="87" y="93"/>
                    <a:pt x="87" y="93"/>
                  </a:cubicBezTo>
                  <a:cubicBezTo>
                    <a:pt x="87" y="68"/>
                    <a:pt x="78" y="44"/>
                    <a:pt x="62" y="28"/>
                  </a:cubicBezTo>
                  <a:cubicBezTo>
                    <a:pt x="46" y="11"/>
                    <a:pt x="24" y="0"/>
                    <a:pt x="0" y="0"/>
                  </a:cubicBezTo>
                  <a:cubicBezTo>
                    <a:pt x="0" y="20"/>
                    <a:pt x="0" y="20"/>
                    <a:pt x="0" y="2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13" name="Freeform 1564">
              <a:extLst>
                <a:ext uri="{FF2B5EF4-FFF2-40B4-BE49-F238E27FC236}">
                  <a16:creationId xmlns:a16="http://schemas.microsoft.com/office/drawing/2014/main" id="{6D7F4CF1-796C-44D8-BD25-32F2A3FBF478}"/>
                </a:ext>
              </a:extLst>
            </p:cNvPr>
            <p:cNvSpPr>
              <a:spLocks/>
            </p:cNvSpPr>
            <p:nvPr userDrawn="1"/>
          </p:nvSpPr>
          <p:spPr bwMode="auto">
            <a:xfrm>
              <a:off x="5380038" y="4356100"/>
              <a:ext cx="1547813" cy="760413"/>
            </a:xfrm>
            <a:custGeom>
              <a:avLst/>
              <a:gdLst>
                <a:gd name="T0" fmla="*/ 702 w 781"/>
                <a:gd name="T1" fmla="*/ 208 h 384"/>
                <a:gd name="T2" fmla="*/ 699 w 781"/>
                <a:gd name="T3" fmla="*/ 208 h 384"/>
                <a:gd name="T4" fmla="*/ 590 w 781"/>
                <a:gd name="T5" fmla="*/ 121 h 384"/>
                <a:gd name="T6" fmla="*/ 529 w 781"/>
                <a:gd name="T7" fmla="*/ 141 h 384"/>
                <a:gd name="T8" fmla="*/ 377 w 781"/>
                <a:gd name="T9" fmla="*/ 0 h 384"/>
                <a:gd name="T10" fmla="*/ 229 w 781"/>
                <a:gd name="T11" fmla="*/ 117 h 384"/>
                <a:gd name="T12" fmla="*/ 201 w 781"/>
                <a:gd name="T13" fmla="*/ 113 h 384"/>
                <a:gd name="T14" fmla="*/ 97 w 781"/>
                <a:gd name="T15" fmla="*/ 208 h 384"/>
                <a:gd name="T16" fmla="*/ 79 w 781"/>
                <a:gd name="T17" fmla="*/ 208 h 384"/>
                <a:gd name="T18" fmla="*/ 0 w 781"/>
                <a:gd name="T19" fmla="*/ 293 h 384"/>
                <a:gd name="T20" fmla="*/ 0 w 781"/>
                <a:gd name="T21" fmla="*/ 300 h 384"/>
                <a:gd name="T22" fmla="*/ 79 w 781"/>
                <a:gd name="T23" fmla="*/ 384 h 384"/>
                <a:gd name="T24" fmla="*/ 702 w 781"/>
                <a:gd name="T25" fmla="*/ 384 h 384"/>
                <a:gd name="T26" fmla="*/ 781 w 781"/>
                <a:gd name="T27" fmla="*/ 300 h 384"/>
                <a:gd name="T28" fmla="*/ 781 w 781"/>
                <a:gd name="T29" fmla="*/ 293 h 384"/>
                <a:gd name="T30" fmla="*/ 702 w 781"/>
                <a:gd name="T31" fmla="*/ 208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81" h="384">
                  <a:moveTo>
                    <a:pt x="702" y="208"/>
                  </a:moveTo>
                  <a:cubicBezTo>
                    <a:pt x="699" y="208"/>
                    <a:pt x="699" y="208"/>
                    <a:pt x="699" y="208"/>
                  </a:cubicBezTo>
                  <a:cubicBezTo>
                    <a:pt x="685" y="158"/>
                    <a:pt x="642" y="121"/>
                    <a:pt x="590" y="121"/>
                  </a:cubicBezTo>
                  <a:cubicBezTo>
                    <a:pt x="568" y="121"/>
                    <a:pt x="547" y="128"/>
                    <a:pt x="529" y="141"/>
                  </a:cubicBezTo>
                  <a:cubicBezTo>
                    <a:pt x="518" y="61"/>
                    <a:pt x="454" y="0"/>
                    <a:pt x="377" y="0"/>
                  </a:cubicBezTo>
                  <a:cubicBezTo>
                    <a:pt x="307" y="0"/>
                    <a:pt x="248" y="49"/>
                    <a:pt x="229" y="117"/>
                  </a:cubicBezTo>
                  <a:cubicBezTo>
                    <a:pt x="220" y="114"/>
                    <a:pt x="211" y="113"/>
                    <a:pt x="201" y="113"/>
                  </a:cubicBezTo>
                  <a:cubicBezTo>
                    <a:pt x="148" y="113"/>
                    <a:pt x="105" y="154"/>
                    <a:pt x="97" y="208"/>
                  </a:cubicBezTo>
                  <a:cubicBezTo>
                    <a:pt x="79" y="208"/>
                    <a:pt x="79" y="208"/>
                    <a:pt x="79" y="208"/>
                  </a:cubicBezTo>
                  <a:cubicBezTo>
                    <a:pt x="36" y="208"/>
                    <a:pt x="0" y="247"/>
                    <a:pt x="0" y="293"/>
                  </a:cubicBezTo>
                  <a:cubicBezTo>
                    <a:pt x="0" y="300"/>
                    <a:pt x="0" y="300"/>
                    <a:pt x="0" y="300"/>
                  </a:cubicBezTo>
                  <a:cubicBezTo>
                    <a:pt x="0" y="346"/>
                    <a:pt x="36" y="384"/>
                    <a:pt x="79" y="384"/>
                  </a:cubicBezTo>
                  <a:cubicBezTo>
                    <a:pt x="702" y="384"/>
                    <a:pt x="702" y="384"/>
                    <a:pt x="702" y="384"/>
                  </a:cubicBezTo>
                  <a:cubicBezTo>
                    <a:pt x="745" y="384"/>
                    <a:pt x="781" y="346"/>
                    <a:pt x="781" y="300"/>
                  </a:cubicBezTo>
                  <a:cubicBezTo>
                    <a:pt x="781" y="293"/>
                    <a:pt x="781" y="293"/>
                    <a:pt x="781" y="293"/>
                  </a:cubicBezTo>
                  <a:cubicBezTo>
                    <a:pt x="781" y="247"/>
                    <a:pt x="745" y="208"/>
                    <a:pt x="702" y="208"/>
                  </a:cubicBez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14" name="Freeform 1565">
              <a:extLst>
                <a:ext uri="{FF2B5EF4-FFF2-40B4-BE49-F238E27FC236}">
                  <a16:creationId xmlns:a16="http://schemas.microsoft.com/office/drawing/2014/main" id="{211AB67F-DD6F-4FF9-9E15-C0AAF3B27AAB}"/>
                </a:ext>
              </a:extLst>
            </p:cNvPr>
            <p:cNvSpPr>
              <a:spLocks/>
            </p:cNvSpPr>
            <p:nvPr userDrawn="1"/>
          </p:nvSpPr>
          <p:spPr bwMode="auto">
            <a:xfrm>
              <a:off x="5400676" y="4448175"/>
              <a:ext cx="1363663" cy="668338"/>
            </a:xfrm>
            <a:custGeom>
              <a:avLst/>
              <a:gdLst>
                <a:gd name="T0" fmla="*/ 619 w 689"/>
                <a:gd name="T1" fmla="*/ 183 h 338"/>
                <a:gd name="T2" fmla="*/ 616 w 689"/>
                <a:gd name="T3" fmla="*/ 183 h 338"/>
                <a:gd name="T4" fmla="*/ 520 w 689"/>
                <a:gd name="T5" fmla="*/ 107 h 338"/>
                <a:gd name="T6" fmla="*/ 467 w 689"/>
                <a:gd name="T7" fmla="*/ 123 h 338"/>
                <a:gd name="T8" fmla="*/ 332 w 689"/>
                <a:gd name="T9" fmla="*/ 0 h 338"/>
                <a:gd name="T10" fmla="*/ 202 w 689"/>
                <a:gd name="T11" fmla="*/ 102 h 338"/>
                <a:gd name="T12" fmla="*/ 178 w 689"/>
                <a:gd name="T13" fmla="*/ 99 h 338"/>
                <a:gd name="T14" fmla="*/ 85 w 689"/>
                <a:gd name="T15" fmla="*/ 183 h 338"/>
                <a:gd name="T16" fmla="*/ 70 w 689"/>
                <a:gd name="T17" fmla="*/ 183 h 338"/>
                <a:gd name="T18" fmla="*/ 0 w 689"/>
                <a:gd name="T19" fmla="*/ 258 h 338"/>
                <a:gd name="T20" fmla="*/ 0 w 689"/>
                <a:gd name="T21" fmla="*/ 264 h 338"/>
                <a:gd name="T22" fmla="*/ 70 w 689"/>
                <a:gd name="T23" fmla="*/ 338 h 338"/>
                <a:gd name="T24" fmla="*/ 619 w 689"/>
                <a:gd name="T25" fmla="*/ 338 h 338"/>
                <a:gd name="T26" fmla="*/ 689 w 689"/>
                <a:gd name="T27" fmla="*/ 264 h 338"/>
                <a:gd name="T28" fmla="*/ 689 w 689"/>
                <a:gd name="T29" fmla="*/ 258 h 338"/>
                <a:gd name="T30" fmla="*/ 619 w 689"/>
                <a:gd name="T31" fmla="*/ 183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89" h="338">
                  <a:moveTo>
                    <a:pt x="619" y="183"/>
                  </a:moveTo>
                  <a:cubicBezTo>
                    <a:pt x="616" y="183"/>
                    <a:pt x="616" y="183"/>
                    <a:pt x="616" y="183"/>
                  </a:cubicBezTo>
                  <a:cubicBezTo>
                    <a:pt x="604" y="139"/>
                    <a:pt x="566" y="107"/>
                    <a:pt x="520" y="107"/>
                  </a:cubicBezTo>
                  <a:cubicBezTo>
                    <a:pt x="501" y="107"/>
                    <a:pt x="482" y="113"/>
                    <a:pt x="467" y="123"/>
                  </a:cubicBezTo>
                  <a:cubicBezTo>
                    <a:pt x="457" y="54"/>
                    <a:pt x="400" y="0"/>
                    <a:pt x="332" y="0"/>
                  </a:cubicBezTo>
                  <a:cubicBezTo>
                    <a:pt x="271" y="0"/>
                    <a:pt x="219" y="43"/>
                    <a:pt x="202" y="102"/>
                  </a:cubicBezTo>
                  <a:cubicBezTo>
                    <a:pt x="194" y="100"/>
                    <a:pt x="186" y="99"/>
                    <a:pt x="178" y="99"/>
                  </a:cubicBezTo>
                  <a:cubicBezTo>
                    <a:pt x="131" y="99"/>
                    <a:pt x="92" y="136"/>
                    <a:pt x="85" y="183"/>
                  </a:cubicBezTo>
                  <a:cubicBezTo>
                    <a:pt x="70" y="183"/>
                    <a:pt x="70" y="183"/>
                    <a:pt x="70" y="183"/>
                  </a:cubicBezTo>
                  <a:cubicBezTo>
                    <a:pt x="32" y="183"/>
                    <a:pt x="0" y="217"/>
                    <a:pt x="0" y="258"/>
                  </a:cubicBezTo>
                  <a:cubicBezTo>
                    <a:pt x="0" y="264"/>
                    <a:pt x="0" y="264"/>
                    <a:pt x="0" y="264"/>
                  </a:cubicBezTo>
                  <a:cubicBezTo>
                    <a:pt x="0" y="305"/>
                    <a:pt x="32" y="338"/>
                    <a:pt x="70" y="338"/>
                  </a:cubicBezTo>
                  <a:cubicBezTo>
                    <a:pt x="619" y="338"/>
                    <a:pt x="619" y="338"/>
                    <a:pt x="619" y="338"/>
                  </a:cubicBezTo>
                  <a:cubicBezTo>
                    <a:pt x="657" y="338"/>
                    <a:pt x="689" y="305"/>
                    <a:pt x="689" y="264"/>
                  </a:cubicBezTo>
                  <a:cubicBezTo>
                    <a:pt x="689" y="258"/>
                    <a:pt x="689" y="258"/>
                    <a:pt x="689" y="258"/>
                  </a:cubicBezTo>
                  <a:cubicBezTo>
                    <a:pt x="689" y="217"/>
                    <a:pt x="657" y="183"/>
                    <a:pt x="619" y="18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15" name="Freeform 1566">
              <a:extLst>
                <a:ext uri="{FF2B5EF4-FFF2-40B4-BE49-F238E27FC236}">
                  <a16:creationId xmlns:a16="http://schemas.microsoft.com/office/drawing/2014/main" id="{51895629-CEBC-4B5C-BA54-3FCF978D669F}"/>
                </a:ext>
              </a:extLst>
            </p:cNvPr>
            <p:cNvSpPr>
              <a:spLocks/>
            </p:cNvSpPr>
            <p:nvPr userDrawn="1"/>
          </p:nvSpPr>
          <p:spPr bwMode="auto">
            <a:xfrm>
              <a:off x="5970588" y="4464050"/>
              <a:ext cx="373063" cy="153988"/>
            </a:xfrm>
            <a:custGeom>
              <a:avLst/>
              <a:gdLst>
                <a:gd name="T0" fmla="*/ 188 w 188"/>
                <a:gd name="T1" fmla="*/ 68 h 78"/>
                <a:gd name="T2" fmla="*/ 139 w 188"/>
                <a:gd name="T3" fmla="*/ 19 h 78"/>
                <a:gd name="T4" fmla="*/ 71 w 188"/>
                <a:gd name="T5" fmla="*/ 0 h 78"/>
                <a:gd name="T6" fmla="*/ 0 w 188"/>
                <a:gd name="T7" fmla="*/ 21 h 78"/>
                <a:gd name="T8" fmla="*/ 11 w 188"/>
                <a:gd name="T9" fmla="*/ 38 h 78"/>
                <a:gd name="T10" fmla="*/ 71 w 188"/>
                <a:gd name="T11" fmla="*/ 20 h 78"/>
                <a:gd name="T12" fmla="*/ 129 w 188"/>
                <a:gd name="T13" fmla="*/ 36 h 78"/>
                <a:gd name="T14" fmla="*/ 171 w 188"/>
                <a:gd name="T15" fmla="*/ 78 h 78"/>
                <a:gd name="T16" fmla="*/ 188 w 188"/>
                <a:gd name="T17" fmla="*/ 6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8" h="78">
                  <a:moveTo>
                    <a:pt x="188" y="68"/>
                  </a:moveTo>
                  <a:cubicBezTo>
                    <a:pt x="176" y="48"/>
                    <a:pt x="159" y="31"/>
                    <a:pt x="139" y="19"/>
                  </a:cubicBezTo>
                  <a:cubicBezTo>
                    <a:pt x="119" y="7"/>
                    <a:pt x="96" y="0"/>
                    <a:pt x="71" y="0"/>
                  </a:cubicBezTo>
                  <a:cubicBezTo>
                    <a:pt x="45" y="0"/>
                    <a:pt x="21" y="8"/>
                    <a:pt x="0" y="21"/>
                  </a:cubicBezTo>
                  <a:cubicBezTo>
                    <a:pt x="11" y="38"/>
                    <a:pt x="11" y="38"/>
                    <a:pt x="11" y="38"/>
                  </a:cubicBezTo>
                  <a:cubicBezTo>
                    <a:pt x="29" y="27"/>
                    <a:pt x="49" y="20"/>
                    <a:pt x="71" y="20"/>
                  </a:cubicBezTo>
                  <a:cubicBezTo>
                    <a:pt x="92" y="20"/>
                    <a:pt x="112" y="26"/>
                    <a:pt x="129" y="36"/>
                  </a:cubicBezTo>
                  <a:cubicBezTo>
                    <a:pt x="146" y="46"/>
                    <a:pt x="160" y="61"/>
                    <a:pt x="171" y="78"/>
                  </a:cubicBezTo>
                  <a:cubicBezTo>
                    <a:pt x="188" y="68"/>
                    <a:pt x="188" y="68"/>
                    <a:pt x="188" y="68"/>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16" name="Freeform 1567">
              <a:extLst>
                <a:ext uri="{FF2B5EF4-FFF2-40B4-BE49-F238E27FC236}">
                  <a16:creationId xmlns:a16="http://schemas.microsoft.com/office/drawing/2014/main" id="{417F45DA-BF80-4F64-8E1F-1D5E7C6645A4}"/>
                </a:ext>
              </a:extLst>
            </p:cNvPr>
            <p:cNvSpPr>
              <a:spLocks/>
            </p:cNvSpPr>
            <p:nvPr userDrawn="1"/>
          </p:nvSpPr>
          <p:spPr bwMode="auto">
            <a:xfrm>
              <a:off x="5360988" y="4337050"/>
              <a:ext cx="1585913" cy="798513"/>
            </a:xfrm>
            <a:custGeom>
              <a:avLst/>
              <a:gdLst>
                <a:gd name="T0" fmla="*/ 712 w 801"/>
                <a:gd name="T1" fmla="*/ 404 h 404"/>
                <a:gd name="T2" fmla="*/ 801 w 801"/>
                <a:gd name="T3" fmla="*/ 310 h 404"/>
                <a:gd name="T4" fmla="*/ 775 w 801"/>
                <a:gd name="T5" fmla="*/ 236 h 404"/>
                <a:gd name="T6" fmla="*/ 709 w 801"/>
                <a:gd name="T7" fmla="*/ 208 h 404"/>
                <a:gd name="T8" fmla="*/ 718 w 801"/>
                <a:gd name="T9" fmla="*/ 216 h 404"/>
                <a:gd name="T10" fmla="*/ 600 w 801"/>
                <a:gd name="T11" fmla="*/ 121 h 404"/>
                <a:gd name="T12" fmla="*/ 539 w 801"/>
                <a:gd name="T13" fmla="*/ 151 h 404"/>
                <a:gd name="T14" fmla="*/ 495 w 801"/>
                <a:gd name="T15" fmla="*/ 43 h 404"/>
                <a:gd name="T16" fmla="*/ 260 w 801"/>
                <a:gd name="T17" fmla="*/ 63 h 404"/>
                <a:gd name="T18" fmla="*/ 229 w 801"/>
                <a:gd name="T19" fmla="*/ 124 h 404"/>
                <a:gd name="T20" fmla="*/ 242 w 801"/>
                <a:gd name="T21" fmla="*/ 117 h 404"/>
                <a:gd name="T22" fmla="*/ 135 w 801"/>
                <a:gd name="T23" fmla="*/ 143 h 404"/>
                <a:gd name="T24" fmla="*/ 107 w 801"/>
                <a:gd name="T25" fmla="*/ 218 h 404"/>
                <a:gd name="T26" fmla="*/ 89 w 801"/>
                <a:gd name="T27" fmla="*/ 208 h 404"/>
                <a:gd name="T28" fmla="*/ 0 w 801"/>
                <a:gd name="T29" fmla="*/ 303 h 404"/>
                <a:gd name="T30" fmla="*/ 26 w 801"/>
                <a:gd name="T31" fmla="*/ 376 h 404"/>
                <a:gd name="T32" fmla="*/ 343 w 801"/>
                <a:gd name="T33" fmla="*/ 404 h 404"/>
                <a:gd name="T34" fmla="*/ 89 w 801"/>
                <a:gd name="T35" fmla="*/ 384 h 404"/>
                <a:gd name="T36" fmla="*/ 20 w 801"/>
                <a:gd name="T37" fmla="*/ 310 h 404"/>
                <a:gd name="T38" fmla="*/ 41 w 801"/>
                <a:gd name="T39" fmla="*/ 250 h 404"/>
                <a:gd name="T40" fmla="*/ 115 w 801"/>
                <a:gd name="T41" fmla="*/ 229 h 404"/>
                <a:gd name="T42" fmla="*/ 149 w 801"/>
                <a:gd name="T43" fmla="*/ 158 h 404"/>
                <a:gd name="T44" fmla="*/ 236 w 801"/>
                <a:gd name="T45" fmla="*/ 136 h 404"/>
                <a:gd name="T46" fmla="*/ 249 w 801"/>
                <a:gd name="T47" fmla="*/ 130 h 404"/>
                <a:gd name="T48" fmla="*/ 276 w 801"/>
                <a:gd name="T49" fmla="*/ 76 h 404"/>
                <a:gd name="T50" fmla="*/ 481 w 801"/>
                <a:gd name="T51" fmla="*/ 58 h 404"/>
                <a:gd name="T52" fmla="*/ 532 w 801"/>
                <a:gd name="T53" fmla="*/ 168 h 404"/>
                <a:gd name="T54" fmla="*/ 600 w 801"/>
                <a:gd name="T55" fmla="*/ 141 h 404"/>
                <a:gd name="T56" fmla="*/ 699 w 801"/>
                <a:gd name="T57" fmla="*/ 221 h 404"/>
                <a:gd name="T58" fmla="*/ 712 w 801"/>
                <a:gd name="T59" fmla="*/ 229 h 404"/>
                <a:gd name="T60" fmla="*/ 781 w 801"/>
                <a:gd name="T61" fmla="*/ 303 h 404"/>
                <a:gd name="T62" fmla="*/ 760 w 801"/>
                <a:gd name="T63" fmla="*/ 363 h 404"/>
                <a:gd name="T64" fmla="*/ 617 w 801"/>
                <a:gd name="T65" fmla="*/ 384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01" h="404">
                  <a:moveTo>
                    <a:pt x="617" y="404"/>
                  </a:moveTo>
                  <a:cubicBezTo>
                    <a:pt x="712" y="404"/>
                    <a:pt x="712" y="404"/>
                    <a:pt x="712" y="404"/>
                  </a:cubicBezTo>
                  <a:cubicBezTo>
                    <a:pt x="737" y="404"/>
                    <a:pt x="759" y="394"/>
                    <a:pt x="775" y="376"/>
                  </a:cubicBezTo>
                  <a:cubicBezTo>
                    <a:pt x="791" y="359"/>
                    <a:pt x="801" y="335"/>
                    <a:pt x="801" y="310"/>
                  </a:cubicBezTo>
                  <a:cubicBezTo>
                    <a:pt x="801" y="303"/>
                    <a:pt x="801" y="303"/>
                    <a:pt x="801" y="303"/>
                  </a:cubicBezTo>
                  <a:cubicBezTo>
                    <a:pt x="801" y="277"/>
                    <a:pt x="791" y="254"/>
                    <a:pt x="775" y="236"/>
                  </a:cubicBezTo>
                  <a:cubicBezTo>
                    <a:pt x="759" y="219"/>
                    <a:pt x="737" y="208"/>
                    <a:pt x="712" y="208"/>
                  </a:cubicBezTo>
                  <a:cubicBezTo>
                    <a:pt x="709" y="208"/>
                    <a:pt x="709" y="208"/>
                    <a:pt x="709" y="208"/>
                  </a:cubicBezTo>
                  <a:cubicBezTo>
                    <a:pt x="709" y="218"/>
                    <a:pt x="709" y="218"/>
                    <a:pt x="709" y="218"/>
                  </a:cubicBezTo>
                  <a:cubicBezTo>
                    <a:pt x="718" y="216"/>
                    <a:pt x="718" y="216"/>
                    <a:pt x="718" y="216"/>
                  </a:cubicBezTo>
                  <a:cubicBezTo>
                    <a:pt x="711" y="189"/>
                    <a:pt x="696" y="165"/>
                    <a:pt x="675" y="148"/>
                  </a:cubicBezTo>
                  <a:cubicBezTo>
                    <a:pt x="654" y="131"/>
                    <a:pt x="628" y="121"/>
                    <a:pt x="600" y="121"/>
                  </a:cubicBezTo>
                  <a:cubicBezTo>
                    <a:pt x="576" y="121"/>
                    <a:pt x="553" y="129"/>
                    <a:pt x="534" y="142"/>
                  </a:cubicBezTo>
                  <a:cubicBezTo>
                    <a:pt x="539" y="151"/>
                    <a:pt x="539" y="151"/>
                    <a:pt x="539" y="151"/>
                  </a:cubicBezTo>
                  <a:cubicBezTo>
                    <a:pt x="549" y="149"/>
                    <a:pt x="549" y="149"/>
                    <a:pt x="549" y="149"/>
                  </a:cubicBezTo>
                  <a:cubicBezTo>
                    <a:pt x="543" y="107"/>
                    <a:pt x="523" y="70"/>
                    <a:pt x="495" y="43"/>
                  </a:cubicBezTo>
                  <a:cubicBezTo>
                    <a:pt x="466" y="17"/>
                    <a:pt x="428" y="0"/>
                    <a:pt x="387" y="0"/>
                  </a:cubicBezTo>
                  <a:cubicBezTo>
                    <a:pt x="336" y="0"/>
                    <a:pt x="290" y="25"/>
                    <a:pt x="260" y="63"/>
                  </a:cubicBezTo>
                  <a:cubicBezTo>
                    <a:pt x="254" y="72"/>
                    <a:pt x="248" y="81"/>
                    <a:pt x="243" y="90"/>
                  </a:cubicBezTo>
                  <a:cubicBezTo>
                    <a:pt x="237" y="101"/>
                    <a:pt x="233" y="112"/>
                    <a:pt x="229" y="124"/>
                  </a:cubicBezTo>
                  <a:cubicBezTo>
                    <a:pt x="239" y="127"/>
                    <a:pt x="239" y="127"/>
                    <a:pt x="239" y="127"/>
                  </a:cubicBezTo>
                  <a:cubicBezTo>
                    <a:pt x="242" y="117"/>
                    <a:pt x="242" y="117"/>
                    <a:pt x="242" y="117"/>
                  </a:cubicBezTo>
                  <a:cubicBezTo>
                    <a:pt x="232" y="114"/>
                    <a:pt x="222" y="113"/>
                    <a:pt x="211" y="113"/>
                  </a:cubicBezTo>
                  <a:cubicBezTo>
                    <a:pt x="182" y="113"/>
                    <a:pt x="155" y="124"/>
                    <a:pt x="135" y="143"/>
                  </a:cubicBezTo>
                  <a:cubicBezTo>
                    <a:pt x="115" y="162"/>
                    <a:pt x="101" y="188"/>
                    <a:pt x="97" y="217"/>
                  </a:cubicBezTo>
                  <a:cubicBezTo>
                    <a:pt x="107" y="218"/>
                    <a:pt x="107" y="218"/>
                    <a:pt x="107" y="218"/>
                  </a:cubicBezTo>
                  <a:cubicBezTo>
                    <a:pt x="107" y="208"/>
                    <a:pt x="107" y="208"/>
                    <a:pt x="107" y="208"/>
                  </a:cubicBezTo>
                  <a:cubicBezTo>
                    <a:pt x="89" y="208"/>
                    <a:pt x="89" y="208"/>
                    <a:pt x="89" y="208"/>
                  </a:cubicBezTo>
                  <a:cubicBezTo>
                    <a:pt x="64" y="208"/>
                    <a:pt x="42" y="219"/>
                    <a:pt x="26" y="236"/>
                  </a:cubicBezTo>
                  <a:cubicBezTo>
                    <a:pt x="10" y="254"/>
                    <a:pt x="0" y="277"/>
                    <a:pt x="0" y="303"/>
                  </a:cubicBezTo>
                  <a:cubicBezTo>
                    <a:pt x="0" y="310"/>
                    <a:pt x="0" y="310"/>
                    <a:pt x="0" y="310"/>
                  </a:cubicBezTo>
                  <a:cubicBezTo>
                    <a:pt x="0" y="335"/>
                    <a:pt x="10" y="359"/>
                    <a:pt x="26" y="376"/>
                  </a:cubicBezTo>
                  <a:cubicBezTo>
                    <a:pt x="42" y="394"/>
                    <a:pt x="64" y="404"/>
                    <a:pt x="89" y="404"/>
                  </a:cubicBezTo>
                  <a:cubicBezTo>
                    <a:pt x="343" y="404"/>
                    <a:pt x="343" y="404"/>
                    <a:pt x="343" y="404"/>
                  </a:cubicBezTo>
                  <a:cubicBezTo>
                    <a:pt x="343" y="384"/>
                    <a:pt x="343" y="384"/>
                    <a:pt x="343" y="384"/>
                  </a:cubicBezTo>
                  <a:cubicBezTo>
                    <a:pt x="89" y="384"/>
                    <a:pt x="89" y="384"/>
                    <a:pt x="89" y="384"/>
                  </a:cubicBezTo>
                  <a:cubicBezTo>
                    <a:pt x="70" y="384"/>
                    <a:pt x="53" y="376"/>
                    <a:pt x="41" y="363"/>
                  </a:cubicBezTo>
                  <a:cubicBezTo>
                    <a:pt x="28" y="349"/>
                    <a:pt x="20" y="330"/>
                    <a:pt x="20" y="310"/>
                  </a:cubicBezTo>
                  <a:cubicBezTo>
                    <a:pt x="20" y="303"/>
                    <a:pt x="20" y="303"/>
                    <a:pt x="20" y="303"/>
                  </a:cubicBezTo>
                  <a:cubicBezTo>
                    <a:pt x="20" y="283"/>
                    <a:pt x="28" y="264"/>
                    <a:pt x="41" y="250"/>
                  </a:cubicBezTo>
                  <a:cubicBezTo>
                    <a:pt x="53" y="237"/>
                    <a:pt x="70" y="229"/>
                    <a:pt x="89" y="229"/>
                  </a:cubicBezTo>
                  <a:cubicBezTo>
                    <a:pt x="115" y="229"/>
                    <a:pt x="115" y="229"/>
                    <a:pt x="115" y="229"/>
                  </a:cubicBezTo>
                  <a:cubicBezTo>
                    <a:pt x="117" y="220"/>
                    <a:pt x="117" y="220"/>
                    <a:pt x="117" y="220"/>
                  </a:cubicBezTo>
                  <a:cubicBezTo>
                    <a:pt x="120" y="195"/>
                    <a:pt x="132" y="173"/>
                    <a:pt x="149" y="158"/>
                  </a:cubicBezTo>
                  <a:cubicBezTo>
                    <a:pt x="166" y="142"/>
                    <a:pt x="188" y="133"/>
                    <a:pt x="211" y="133"/>
                  </a:cubicBezTo>
                  <a:cubicBezTo>
                    <a:pt x="220" y="133"/>
                    <a:pt x="228" y="134"/>
                    <a:pt x="236" y="136"/>
                  </a:cubicBezTo>
                  <a:cubicBezTo>
                    <a:pt x="246" y="139"/>
                    <a:pt x="246" y="139"/>
                    <a:pt x="246" y="139"/>
                  </a:cubicBezTo>
                  <a:cubicBezTo>
                    <a:pt x="249" y="130"/>
                    <a:pt x="249" y="130"/>
                    <a:pt x="249" y="130"/>
                  </a:cubicBezTo>
                  <a:cubicBezTo>
                    <a:pt x="252" y="119"/>
                    <a:pt x="256" y="109"/>
                    <a:pt x="261" y="100"/>
                  </a:cubicBezTo>
                  <a:cubicBezTo>
                    <a:pt x="265" y="91"/>
                    <a:pt x="270" y="83"/>
                    <a:pt x="276" y="76"/>
                  </a:cubicBezTo>
                  <a:cubicBezTo>
                    <a:pt x="303" y="42"/>
                    <a:pt x="342" y="21"/>
                    <a:pt x="387" y="21"/>
                  </a:cubicBezTo>
                  <a:cubicBezTo>
                    <a:pt x="423" y="21"/>
                    <a:pt x="455" y="35"/>
                    <a:pt x="481" y="58"/>
                  </a:cubicBezTo>
                  <a:cubicBezTo>
                    <a:pt x="506" y="82"/>
                    <a:pt x="524" y="115"/>
                    <a:pt x="529" y="152"/>
                  </a:cubicBezTo>
                  <a:cubicBezTo>
                    <a:pt x="532" y="168"/>
                    <a:pt x="532" y="168"/>
                    <a:pt x="532" y="168"/>
                  </a:cubicBezTo>
                  <a:cubicBezTo>
                    <a:pt x="545" y="159"/>
                    <a:pt x="545" y="159"/>
                    <a:pt x="545" y="159"/>
                  </a:cubicBezTo>
                  <a:cubicBezTo>
                    <a:pt x="561" y="148"/>
                    <a:pt x="580" y="142"/>
                    <a:pt x="600" y="141"/>
                  </a:cubicBezTo>
                  <a:cubicBezTo>
                    <a:pt x="623" y="142"/>
                    <a:pt x="645" y="150"/>
                    <a:pt x="662" y="164"/>
                  </a:cubicBezTo>
                  <a:cubicBezTo>
                    <a:pt x="679" y="178"/>
                    <a:pt x="693" y="198"/>
                    <a:pt x="699" y="221"/>
                  </a:cubicBezTo>
                  <a:cubicBezTo>
                    <a:pt x="701" y="229"/>
                    <a:pt x="701" y="229"/>
                    <a:pt x="701" y="229"/>
                  </a:cubicBezTo>
                  <a:cubicBezTo>
                    <a:pt x="712" y="229"/>
                    <a:pt x="712" y="229"/>
                    <a:pt x="712" y="229"/>
                  </a:cubicBezTo>
                  <a:cubicBezTo>
                    <a:pt x="731" y="229"/>
                    <a:pt x="748" y="237"/>
                    <a:pt x="760" y="250"/>
                  </a:cubicBezTo>
                  <a:cubicBezTo>
                    <a:pt x="773" y="264"/>
                    <a:pt x="781" y="283"/>
                    <a:pt x="781" y="303"/>
                  </a:cubicBezTo>
                  <a:cubicBezTo>
                    <a:pt x="781" y="310"/>
                    <a:pt x="781" y="310"/>
                    <a:pt x="781" y="310"/>
                  </a:cubicBezTo>
                  <a:cubicBezTo>
                    <a:pt x="781" y="330"/>
                    <a:pt x="773" y="349"/>
                    <a:pt x="760" y="363"/>
                  </a:cubicBezTo>
                  <a:cubicBezTo>
                    <a:pt x="748" y="376"/>
                    <a:pt x="731" y="384"/>
                    <a:pt x="712" y="384"/>
                  </a:cubicBezTo>
                  <a:cubicBezTo>
                    <a:pt x="617" y="384"/>
                    <a:pt x="617" y="384"/>
                    <a:pt x="617" y="384"/>
                  </a:cubicBezTo>
                  <a:cubicBezTo>
                    <a:pt x="617" y="404"/>
                    <a:pt x="617" y="404"/>
                    <a:pt x="617" y="404"/>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17" name="Freeform 1568">
              <a:extLst>
                <a:ext uri="{FF2B5EF4-FFF2-40B4-BE49-F238E27FC236}">
                  <a16:creationId xmlns:a16="http://schemas.microsoft.com/office/drawing/2014/main" id="{E501291F-478C-44CA-A723-B16B857258EE}"/>
                </a:ext>
              </a:extLst>
            </p:cNvPr>
            <p:cNvSpPr>
              <a:spLocks/>
            </p:cNvSpPr>
            <p:nvPr userDrawn="1"/>
          </p:nvSpPr>
          <p:spPr bwMode="auto">
            <a:xfrm>
              <a:off x="5783263" y="4559300"/>
              <a:ext cx="128588" cy="134938"/>
            </a:xfrm>
            <a:custGeom>
              <a:avLst/>
              <a:gdLst>
                <a:gd name="T0" fmla="*/ 0 w 65"/>
                <a:gd name="T1" fmla="*/ 20 h 69"/>
                <a:gd name="T2" fmla="*/ 32 w 65"/>
                <a:gd name="T3" fmla="*/ 34 h 69"/>
                <a:gd name="T4" fmla="*/ 45 w 65"/>
                <a:gd name="T5" fmla="*/ 69 h 69"/>
                <a:gd name="T6" fmla="*/ 65 w 65"/>
                <a:gd name="T7" fmla="*/ 69 h 69"/>
                <a:gd name="T8" fmla="*/ 47 w 65"/>
                <a:gd name="T9" fmla="*/ 21 h 69"/>
                <a:gd name="T10" fmla="*/ 0 w 65"/>
                <a:gd name="T11" fmla="*/ 0 h 69"/>
                <a:gd name="T12" fmla="*/ 0 w 65"/>
                <a:gd name="T13" fmla="*/ 20 h 69"/>
              </a:gdLst>
              <a:ahLst/>
              <a:cxnLst>
                <a:cxn ang="0">
                  <a:pos x="T0" y="T1"/>
                </a:cxn>
                <a:cxn ang="0">
                  <a:pos x="T2" y="T3"/>
                </a:cxn>
                <a:cxn ang="0">
                  <a:pos x="T4" y="T5"/>
                </a:cxn>
                <a:cxn ang="0">
                  <a:pos x="T6" y="T7"/>
                </a:cxn>
                <a:cxn ang="0">
                  <a:pos x="T8" y="T9"/>
                </a:cxn>
                <a:cxn ang="0">
                  <a:pos x="T10" y="T11"/>
                </a:cxn>
                <a:cxn ang="0">
                  <a:pos x="T12" y="T13"/>
                </a:cxn>
              </a:cxnLst>
              <a:rect l="0" t="0" r="r" b="b"/>
              <a:pathLst>
                <a:path w="65" h="69">
                  <a:moveTo>
                    <a:pt x="0" y="20"/>
                  </a:moveTo>
                  <a:cubicBezTo>
                    <a:pt x="13" y="20"/>
                    <a:pt x="24" y="26"/>
                    <a:pt x="32" y="34"/>
                  </a:cubicBezTo>
                  <a:cubicBezTo>
                    <a:pt x="40" y="43"/>
                    <a:pt x="45" y="55"/>
                    <a:pt x="45" y="69"/>
                  </a:cubicBezTo>
                  <a:cubicBezTo>
                    <a:pt x="65" y="69"/>
                    <a:pt x="65" y="69"/>
                    <a:pt x="65" y="69"/>
                  </a:cubicBezTo>
                  <a:cubicBezTo>
                    <a:pt x="65" y="50"/>
                    <a:pt x="58" y="33"/>
                    <a:pt x="47" y="21"/>
                  </a:cubicBezTo>
                  <a:cubicBezTo>
                    <a:pt x="35" y="8"/>
                    <a:pt x="18" y="0"/>
                    <a:pt x="0" y="0"/>
                  </a:cubicBezTo>
                  <a:cubicBezTo>
                    <a:pt x="0" y="20"/>
                    <a:pt x="0" y="20"/>
                    <a:pt x="0" y="2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18" name="Freeform 1569">
              <a:extLst>
                <a:ext uri="{FF2B5EF4-FFF2-40B4-BE49-F238E27FC236}">
                  <a16:creationId xmlns:a16="http://schemas.microsoft.com/office/drawing/2014/main" id="{B232C091-AC31-4486-9B5C-FF5067431DE3}"/>
                </a:ext>
              </a:extLst>
            </p:cNvPr>
            <p:cNvSpPr>
              <a:spLocks/>
            </p:cNvSpPr>
            <p:nvPr userDrawn="1"/>
          </p:nvSpPr>
          <p:spPr bwMode="auto">
            <a:xfrm>
              <a:off x="8802688" y="2251075"/>
              <a:ext cx="1882775" cy="923925"/>
            </a:xfrm>
            <a:custGeom>
              <a:avLst/>
              <a:gdLst>
                <a:gd name="T0" fmla="*/ 854 w 951"/>
                <a:gd name="T1" fmla="*/ 253 h 467"/>
                <a:gd name="T2" fmla="*/ 850 w 951"/>
                <a:gd name="T3" fmla="*/ 253 h 467"/>
                <a:gd name="T4" fmla="*/ 718 w 951"/>
                <a:gd name="T5" fmla="*/ 147 h 467"/>
                <a:gd name="T6" fmla="*/ 644 w 951"/>
                <a:gd name="T7" fmla="*/ 170 h 467"/>
                <a:gd name="T8" fmla="*/ 458 w 951"/>
                <a:gd name="T9" fmla="*/ 0 h 467"/>
                <a:gd name="T10" fmla="*/ 278 w 951"/>
                <a:gd name="T11" fmla="*/ 141 h 467"/>
                <a:gd name="T12" fmla="*/ 245 w 951"/>
                <a:gd name="T13" fmla="*/ 136 h 467"/>
                <a:gd name="T14" fmla="*/ 117 w 951"/>
                <a:gd name="T15" fmla="*/ 253 h 467"/>
                <a:gd name="T16" fmla="*/ 96 w 951"/>
                <a:gd name="T17" fmla="*/ 253 h 467"/>
                <a:gd name="T18" fmla="*/ 0 w 951"/>
                <a:gd name="T19" fmla="*/ 356 h 467"/>
                <a:gd name="T20" fmla="*/ 0 w 951"/>
                <a:gd name="T21" fmla="*/ 364 h 467"/>
                <a:gd name="T22" fmla="*/ 96 w 951"/>
                <a:gd name="T23" fmla="*/ 467 h 467"/>
                <a:gd name="T24" fmla="*/ 854 w 951"/>
                <a:gd name="T25" fmla="*/ 467 h 467"/>
                <a:gd name="T26" fmla="*/ 951 w 951"/>
                <a:gd name="T27" fmla="*/ 364 h 467"/>
                <a:gd name="T28" fmla="*/ 951 w 951"/>
                <a:gd name="T29" fmla="*/ 356 h 467"/>
                <a:gd name="T30" fmla="*/ 854 w 951"/>
                <a:gd name="T31" fmla="*/ 253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51" h="467">
                  <a:moveTo>
                    <a:pt x="854" y="253"/>
                  </a:moveTo>
                  <a:cubicBezTo>
                    <a:pt x="850" y="253"/>
                    <a:pt x="850" y="253"/>
                    <a:pt x="850" y="253"/>
                  </a:cubicBezTo>
                  <a:cubicBezTo>
                    <a:pt x="834" y="192"/>
                    <a:pt x="781" y="147"/>
                    <a:pt x="718" y="147"/>
                  </a:cubicBezTo>
                  <a:cubicBezTo>
                    <a:pt x="691" y="147"/>
                    <a:pt x="666" y="156"/>
                    <a:pt x="644" y="170"/>
                  </a:cubicBezTo>
                  <a:cubicBezTo>
                    <a:pt x="630" y="74"/>
                    <a:pt x="552" y="0"/>
                    <a:pt x="458" y="0"/>
                  </a:cubicBezTo>
                  <a:cubicBezTo>
                    <a:pt x="374" y="0"/>
                    <a:pt x="302" y="59"/>
                    <a:pt x="278" y="141"/>
                  </a:cubicBezTo>
                  <a:cubicBezTo>
                    <a:pt x="268" y="138"/>
                    <a:pt x="257" y="136"/>
                    <a:pt x="245" y="136"/>
                  </a:cubicBezTo>
                  <a:cubicBezTo>
                    <a:pt x="180" y="136"/>
                    <a:pt x="127" y="187"/>
                    <a:pt x="117" y="253"/>
                  </a:cubicBezTo>
                  <a:cubicBezTo>
                    <a:pt x="96" y="253"/>
                    <a:pt x="96" y="253"/>
                    <a:pt x="96" y="253"/>
                  </a:cubicBezTo>
                  <a:cubicBezTo>
                    <a:pt x="43" y="253"/>
                    <a:pt x="0" y="299"/>
                    <a:pt x="0" y="356"/>
                  </a:cubicBezTo>
                  <a:cubicBezTo>
                    <a:pt x="0" y="364"/>
                    <a:pt x="0" y="364"/>
                    <a:pt x="0" y="364"/>
                  </a:cubicBezTo>
                  <a:cubicBezTo>
                    <a:pt x="0" y="421"/>
                    <a:pt x="43" y="467"/>
                    <a:pt x="96" y="467"/>
                  </a:cubicBezTo>
                  <a:cubicBezTo>
                    <a:pt x="854" y="467"/>
                    <a:pt x="854" y="467"/>
                    <a:pt x="854" y="467"/>
                  </a:cubicBezTo>
                  <a:cubicBezTo>
                    <a:pt x="907" y="467"/>
                    <a:pt x="951" y="421"/>
                    <a:pt x="951" y="364"/>
                  </a:cubicBezTo>
                  <a:cubicBezTo>
                    <a:pt x="951" y="356"/>
                    <a:pt x="951" y="356"/>
                    <a:pt x="951" y="356"/>
                  </a:cubicBezTo>
                  <a:cubicBezTo>
                    <a:pt x="951" y="299"/>
                    <a:pt x="907" y="253"/>
                    <a:pt x="854" y="25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dirty="0"/>
            </a:p>
          </p:txBody>
        </p:sp>
        <p:sp>
          <p:nvSpPr>
            <p:cNvPr id="1219" name="Freeform 1570">
              <a:extLst>
                <a:ext uri="{FF2B5EF4-FFF2-40B4-BE49-F238E27FC236}">
                  <a16:creationId xmlns:a16="http://schemas.microsoft.com/office/drawing/2014/main" id="{60DA73ED-644B-442B-B179-7F50BED7CA12}"/>
                </a:ext>
              </a:extLst>
            </p:cNvPr>
            <p:cNvSpPr>
              <a:spLocks/>
            </p:cNvSpPr>
            <p:nvPr userDrawn="1"/>
          </p:nvSpPr>
          <p:spPr bwMode="auto">
            <a:xfrm>
              <a:off x="8782051" y="2232025"/>
              <a:ext cx="1924050" cy="963613"/>
            </a:xfrm>
            <a:custGeom>
              <a:avLst/>
              <a:gdLst>
                <a:gd name="T0" fmla="*/ 864 w 971"/>
                <a:gd name="T1" fmla="*/ 487 h 487"/>
                <a:gd name="T2" fmla="*/ 971 w 971"/>
                <a:gd name="T3" fmla="*/ 374 h 487"/>
                <a:gd name="T4" fmla="*/ 940 w 971"/>
                <a:gd name="T5" fmla="*/ 286 h 487"/>
                <a:gd name="T6" fmla="*/ 860 w 971"/>
                <a:gd name="T7" fmla="*/ 253 h 487"/>
                <a:gd name="T8" fmla="*/ 870 w 971"/>
                <a:gd name="T9" fmla="*/ 260 h 487"/>
                <a:gd name="T10" fmla="*/ 728 w 971"/>
                <a:gd name="T11" fmla="*/ 147 h 487"/>
                <a:gd name="T12" fmla="*/ 654 w 971"/>
                <a:gd name="T13" fmla="*/ 180 h 487"/>
                <a:gd name="T14" fmla="*/ 598 w 971"/>
                <a:gd name="T15" fmla="*/ 51 h 487"/>
                <a:gd name="T16" fmla="*/ 349 w 971"/>
                <a:gd name="T17" fmla="*/ 42 h 487"/>
                <a:gd name="T18" fmla="*/ 288 w 971"/>
                <a:gd name="T19" fmla="*/ 151 h 487"/>
                <a:gd name="T20" fmla="*/ 255 w 971"/>
                <a:gd name="T21" fmla="*/ 136 h 487"/>
                <a:gd name="T22" fmla="*/ 117 w 971"/>
                <a:gd name="T23" fmla="*/ 262 h 487"/>
                <a:gd name="T24" fmla="*/ 127 w 971"/>
                <a:gd name="T25" fmla="*/ 253 h 487"/>
                <a:gd name="T26" fmla="*/ 31 w 971"/>
                <a:gd name="T27" fmla="*/ 286 h 487"/>
                <a:gd name="T28" fmla="*/ 0 w 971"/>
                <a:gd name="T29" fmla="*/ 374 h 487"/>
                <a:gd name="T30" fmla="*/ 106 w 971"/>
                <a:gd name="T31" fmla="*/ 487 h 487"/>
                <a:gd name="T32" fmla="*/ 242 w 971"/>
                <a:gd name="T33" fmla="*/ 467 h 487"/>
                <a:gd name="T34" fmla="*/ 45 w 971"/>
                <a:gd name="T35" fmla="*/ 440 h 487"/>
                <a:gd name="T36" fmla="*/ 20 w 971"/>
                <a:gd name="T37" fmla="*/ 366 h 487"/>
                <a:gd name="T38" fmla="*/ 106 w 971"/>
                <a:gd name="T39" fmla="*/ 273 h 487"/>
                <a:gd name="T40" fmla="*/ 137 w 971"/>
                <a:gd name="T41" fmla="*/ 264 h 487"/>
                <a:gd name="T42" fmla="*/ 255 w 971"/>
                <a:gd name="T43" fmla="*/ 157 h 487"/>
                <a:gd name="T44" fmla="*/ 295 w 971"/>
                <a:gd name="T45" fmla="*/ 164 h 487"/>
                <a:gd name="T46" fmla="*/ 362 w 971"/>
                <a:gd name="T47" fmla="*/ 58 h 487"/>
                <a:gd name="T48" fmla="*/ 584 w 971"/>
                <a:gd name="T49" fmla="*/ 66 h 487"/>
                <a:gd name="T50" fmla="*/ 646 w 971"/>
                <a:gd name="T51" fmla="*/ 198 h 487"/>
                <a:gd name="T52" fmla="*/ 728 w 971"/>
                <a:gd name="T53" fmla="*/ 167 h 487"/>
                <a:gd name="T54" fmla="*/ 851 w 971"/>
                <a:gd name="T55" fmla="*/ 266 h 487"/>
                <a:gd name="T56" fmla="*/ 864 w 971"/>
                <a:gd name="T57" fmla="*/ 273 h 487"/>
                <a:gd name="T58" fmla="*/ 951 w 971"/>
                <a:gd name="T59" fmla="*/ 366 h 487"/>
                <a:gd name="T60" fmla="*/ 925 w 971"/>
                <a:gd name="T61" fmla="*/ 440 h 487"/>
                <a:gd name="T62" fmla="*/ 718 w 971"/>
                <a:gd name="T63" fmla="*/ 467 h 4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71" h="487">
                  <a:moveTo>
                    <a:pt x="718" y="487"/>
                  </a:moveTo>
                  <a:cubicBezTo>
                    <a:pt x="864" y="487"/>
                    <a:pt x="864" y="487"/>
                    <a:pt x="864" y="487"/>
                  </a:cubicBezTo>
                  <a:cubicBezTo>
                    <a:pt x="894" y="487"/>
                    <a:pt x="920" y="474"/>
                    <a:pt x="940" y="454"/>
                  </a:cubicBezTo>
                  <a:cubicBezTo>
                    <a:pt x="959" y="433"/>
                    <a:pt x="971" y="405"/>
                    <a:pt x="971" y="374"/>
                  </a:cubicBezTo>
                  <a:cubicBezTo>
                    <a:pt x="971" y="366"/>
                    <a:pt x="971" y="366"/>
                    <a:pt x="971" y="366"/>
                  </a:cubicBezTo>
                  <a:cubicBezTo>
                    <a:pt x="971" y="335"/>
                    <a:pt x="959" y="307"/>
                    <a:pt x="940" y="286"/>
                  </a:cubicBezTo>
                  <a:cubicBezTo>
                    <a:pt x="920" y="266"/>
                    <a:pt x="894" y="253"/>
                    <a:pt x="864" y="253"/>
                  </a:cubicBezTo>
                  <a:cubicBezTo>
                    <a:pt x="860" y="253"/>
                    <a:pt x="860" y="253"/>
                    <a:pt x="860" y="253"/>
                  </a:cubicBezTo>
                  <a:cubicBezTo>
                    <a:pt x="860" y="263"/>
                    <a:pt x="860" y="263"/>
                    <a:pt x="860" y="263"/>
                  </a:cubicBezTo>
                  <a:cubicBezTo>
                    <a:pt x="870" y="260"/>
                    <a:pt x="870" y="260"/>
                    <a:pt x="870" y="260"/>
                  </a:cubicBezTo>
                  <a:cubicBezTo>
                    <a:pt x="861" y="228"/>
                    <a:pt x="843" y="199"/>
                    <a:pt x="818" y="179"/>
                  </a:cubicBezTo>
                  <a:cubicBezTo>
                    <a:pt x="793" y="159"/>
                    <a:pt x="762" y="147"/>
                    <a:pt x="728" y="147"/>
                  </a:cubicBezTo>
                  <a:cubicBezTo>
                    <a:pt x="699" y="147"/>
                    <a:pt x="671" y="156"/>
                    <a:pt x="648" y="172"/>
                  </a:cubicBezTo>
                  <a:cubicBezTo>
                    <a:pt x="654" y="180"/>
                    <a:pt x="654" y="180"/>
                    <a:pt x="654" y="180"/>
                  </a:cubicBezTo>
                  <a:cubicBezTo>
                    <a:pt x="664" y="179"/>
                    <a:pt x="664" y="179"/>
                    <a:pt x="664" y="179"/>
                  </a:cubicBezTo>
                  <a:cubicBezTo>
                    <a:pt x="657" y="128"/>
                    <a:pt x="633" y="84"/>
                    <a:pt x="598" y="51"/>
                  </a:cubicBezTo>
                  <a:cubicBezTo>
                    <a:pt x="564" y="19"/>
                    <a:pt x="518" y="0"/>
                    <a:pt x="468" y="0"/>
                  </a:cubicBezTo>
                  <a:cubicBezTo>
                    <a:pt x="424" y="0"/>
                    <a:pt x="382" y="15"/>
                    <a:pt x="349" y="42"/>
                  </a:cubicBezTo>
                  <a:cubicBezTo>
                    <a:pt x="316" y="68"/>
                    <a:pt x="291" y="106"/>
                    <a:pt x="279" y="148"/>
                  </a:cubicBezTo>
                  <a:cubicBezTo>
                    <a:pt x="288" y="151"/>
                    <a:pt x="288" y="151"/>
                    <a:pt x="288" y="151"/>
                  </a:cubicBezTo>
                  <a:cubicBezTo>
                    <a:pt x="291" y="142"/>
                    <a:pt x="291" y="142"/>
                    <a:pt x="291" y="142"/>
                  </a:cubicBezTo>
                  <a:cubicBezTo>
                    <a:pt x="280" y="138"/>
                    <a:pt x="268" y="136"/>
                    <a:pt x="255" y="136"/>
                  </a:cubicBezTo>
                  <a:cubicBezTo>
                    <a:pt x="220" y="136"/>
                    <a:pt x="188" y="150"/>
                    <a:pt x="164" y="173"/>
                  </a:cubicBezTo>
                  <a:cubicBezTo>
                    <a:pt x="139" y="195"/>
                    <a:pt x="123" y="226"/>
                    <a:pt x="117" y="262"/>
                  </a:cubicBezTo>
                  <a:cubicBezTo>
                    <a:pt x="127" y="263"/>
                    <a:pt x="127" y="263"/>
                    <a:pt x="127" y="263"/>
                  </a:cubicBezTo>
                  <a:cubicBezTo>
                    <a:pt x="127" y="253"/>
                    <a:pt x="127" y="253"/>
                    <a:pt x="127" y="253"/>
                  </a:cubicBezTo>
                  <a:cubicBezTo>
                    <a:pt x="106" y="253"/>
                    <a:pt x="106" y="253"/>
                    <a:pt x="106" y="253"/>
                  </a:cubicBezTo>
                  <a:cubicBezTo>
                    <a:pt x="77" y="253"/>
                    <a:pt x="50" y="266"/>
                    <a:pt x="31" y="286"/>
                  </a:cubicBezTo>
                  <a:cubicBezTo>
                    <a:pt x="11" y="307"/>
                    <a:pt x="0" y="335"/>
                    <a:pt x="0" y="366"/>
                  </a:cubicBezTo>
                  <a:cubicBezTo>
                    <a:pt x="0" y="374"/>
                    <a:pt x="0" y="374"/>
                    <a:pt x="0" y="374"/>
                  </a:cubicBezTo>
                  <a:cubicBezTo>
                    <a:pt x="0" y="405"/>
                    <a:pt x="11" y="433"/>
                    <a:pt x="31" y="454"/>
                  </a:cubicBezTo>
                  <a:cubicBezTo>
                    <a:pt x="50" y="474"/>
                    <a:pt x="77" y="487"/>
                    <a:pt x="106" y="487"/>
                  </a:cubicBezTo>
                  <a:cubicBezTo>
                    <a:pt x="242" y="487"/>
                    <a:pt x="242" y="487"/>
                    <a:pt x="242" y="487"/>
                  </a:cubicBezTo>
                  <a:cubicBezTo>
                    <a:pt x="242" y="467"/>
                    <a:pt x="242" y="467"/>
                    <a:pt x="242" y="467"/>
                  </a:cubicBezTo>
                  <a:cubicBezTo>
                    <a:pt x="106" y="467"/>
                    <a:pt x="106" y="467"/>
                    <a:pt x="106" y="467"/>
                  </a:cubicBezTo>
                  <a:cubicBezTo>
                    <a:pt x="83" y="467"/>
                    <a:pt x="61" y="457"/>
                    <a:pt x="45" y="440"/>
                  </a:cubicBezTo>
                  <a:cubicBezTo>
                    <a:pt x="30" y="423"/>
                    <a:pt x="20" y="400"/>
                    <a:pt x="20" y="374"/>
                  </a:cubicBezTo>
                  <a:cubicBezTo>
                    <a:pt x="20" y="366"/>
                    <a:pt x="20" y="366"/>
                    <a:pt x="20" y="366"/>
                  </a:cubicBezTo>
                  <a:cubicBezTo>
                    <a:pt x="20" y="340"/>
                    <a:pt x="30" y="317"/>
                    <a:pt x="45" y="300"/>
                  </a:cubicBezTo>
                  <a:cubicBezTo>
                    <a:pt x="61" y="283"/>
                    <a:pt x="83" y="273"/>
                    <a:pt x="106" y="273"/>
                  </a:cubicBezTo>
                  <a:cubicBezTo>
                    <a:pt x="136" y="273"/>
                    <a:pt x="136" y="273"/>
                    <a:pt x="136" y="273"/>
                  </a:cubicBezTo>
                  <a:cubicBezTo>
                    <a:pt x="137" y="264"/>
                    <a:pt x="137" y="264"/>
                    <a:pt x="137" y="264"/>
                  </a:cubicBezTo>
                  <a:cubicBezTo>
                    <a:pt x="142" y="234"/>
                    <a:pt x="157" y="207"/>
                    <a:pt x="177" y="187"/>
                  </a:cubicBezTo>
                  <a:cubicBezTo>
                    <a:pt x="198" y="168"/>
                    <a:pt x="225" y="157"/>
                    <a:pt x="255" y="157"/>
                  </a:cubicBezTo>
                  <a:cubicBezTo>
                    <a:pt x="265" y="157"/>
                    <a:pt x="276" y="158"/>
                    <a:pt x="286" y="161"/>
                  </a:cubicBezTo>
                  <a:cubicBezTo>
                    <a:pt x="295" y="164"/>
                    <a:pt x="295" y="164"/>
                    <a:pt x="295" y="164"/>
                  </a:cubicBezTo>
                  <a:cubicBezTo>
                    <a:pt x="298" y="154"/>
                    <a:pt x="298" y="154"/>
                    <a:pt x="298" y="154"/>
                  </a:cubicBezTo>
                  <a:cubicBezTo>
                    <a:pt x="310" y="115"/>
                    <a:pt x="332" y="82"/>
                    <a:pt x="362" y="58"/>
                  </a:cubicBezTo>
                  <a:cubicBezTo>
                    <a:pt x="392" y="34"/>
                    <a:pt x="428" y="20"/>
                    <a:pt x="468" y="20"/>
                  </a:cubicBezTo>
                  <a:cubicBezTo>
                    <a:pt x="513" y="20"/>
                    <a:pt x="553" y="37"/>
                    <a:pt x="584" y="66"/>
                  </a:cubicBezTo>
                  <a:cubicBezTo>
                    <a:pt x="616" y="95"/>
                    <a:pt x="637" y="136"/>
                    <a:pt x="644" y="182"/>
                  </a:cubicBezTo>
                  <a:cubicBezTo>
                    <a:pt x="646" y="198"/>
                    <a:pt x="646" y="198"/>
                    <a:pt x="646" y="198"/>
                  </a:cubicBezTo>
                  <a:cubicBezTo>
                    <a:pt x="660" y="189"/>
                    <a:pt x="660" y="189"/>
                    <a:pt x="660" y="189"/>
                  </a:cubicBezTo>
                  <a:cubicBezTo>
                    <a:pt x="680" y="175"/>
                    <a:pt x="703" y="167"/>
                    <a:pt x="728" y="167"/>
                  </a:cubicBezTo>
                  <a:cubicBezTo>
                    <a:pt x="757" y="167"/>
                    <a:pt x="784" y="177"/>
                    <a:pt x="805" y="195"/>
                  </a:cubicBezTo>
                  <a:cubicBezTo>
                    <a:pt x="827" y="212"/>
                    <a:pt x="843" y="237"/>
                    <a:pt x="851" y="266"/>
                  </a:cubicBezTo>
                  <a:cubicBezTo>
                    <a:pt x="853" y="273"/>
                    <a:pt x="853" y="273"/>
                    <a:pt x="853" y="273"/>
                  </a:cubicBezTo>
                  <a:cubicBezTo>
                    <a:pt x="864" y="273"/>
                    <a:pt x="864" y="273"/>
                    <a:pt x="864" y="273"/>
                  </a:cubicBezTo>
                  <a:cubicBezTo>
                    <a:pt x="888" y="273"/>
                    <a:pt x="909" y="283"/>
                    <a:pt x="925" y="300"/>
                  </a:cubicBezTo>
                  <a:cubicBezTo>
                    <a:pt x="941" y="317"/>
                    <a:pt x="951" y="340"/>
                    <a:pt x="951" y="366"/>
                  </a:cubicBezTo>
                  <a:cubicBezTo>
                    <a:pt x="951" y="374"/>
                    <a:pt x="951" y="374"/>
                    <a:pt x="951" y="374"/>
                  </a:cubicBezTo>
                  <a:cubicBezTo>
                    <a:pt x="951" y="400"/>
                    <a:pt x="941" y="423"/>
                    <a:pt x="925" y="440"/>
                  </a:cubicBezTo>
                  <a:cubicBezTo>
                    <a:pt x="909" y="457"/>
                    <a:pt x="888" y="467"/>
                    <a:pt x="864" y="467"/>
                  </a:cubicBezTo>
                  <a:cubicBezTo>
                    <a:pt x="718" y="467"/>
                    <a:pt x="718" y="467"/>
                    <a:pt x="718" y="467"/>
                  </a:cubicBezTo>
                  <a:cubicBezTo>
                    <a:pt x="718" y="487"/>
                    <a:pt x="718" y="487"/>
                    <a:pt x="718" y="487"/>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20" name="Freeform 1571">
              <a:extLst>
                <a:ext uri="{FF2B5EF4-FFF2-40B4-BE49-F238E27FC236}">
                  <a16:creationId xmlns:a16="http://schemas.microsoft.com/office/drawing/2014/main" id="{68582D96-CF74-457B-A6EB-B6E294298DBB}"/>
                </a:ext>
              </a:extLst>
            </p:cNvPr>
            <p:cNvSpPr>
              <a:spLocks noEditPoints="1"/>
            </p:cNvSpPr>
            <p:nvPr userDrawn="1"/>
          </p:nvSpPr>
          <p:spPr bwMode="auto">
            <a:xfrm>
              <a:off x="9434513" y="2832100"/>
              <a:ext cx="617538" cy="658813"/>
            </a:xfrm>
            <a:custGeom>
              <a:avLst/>
              <a:gdLst>
                <a:gd name="T0" fmla="*/ 296 w 312"/>
                <a:gd name="T1" fmla="*/ 139 h 333"/>
                <a:gd name="T2" fmla="*/ 270 w 312"/>
                <a:gd name="T3" fmla="*/ 139 h 333"/>
                <a:gd name="T4" fmla="*/ 255 w 312"/>
                <a:gd name="T5" fmla="*/ 100 h 333"/>
                <a:gd name="T6" fmla="*/ 273 w 312"/>
                <a:gd name="T7" fmla="*/ 81 h 333"/>
                <a:gd name="T8" fmla="*/ 273 w 312"/>
                <a:gd name="T9" fmla="*/ 56 h 333"/>
                <a:gd name="T10" fmla="*/ 260 w 312"/>
                <a:gd name="T11" fmla="*/ 42 h 333"/>
                <a:gd name="T12" fmla="*/ 237 w 312"/>
                <a:gd name="T13" fmla="*/ 42 h 333"/>
                <a:gd name="T14" fmla="*/ 219 w 312"/>
                <a:gd name="T15" fmla="*/ 61 h 333"/>
                <a:gd name="T16" fmla="*/ 182 w 312"/>
                <a:gd name="T17" fmla="*/ 45 h 333"/>
                <a:gd name="T18" fmla="*/ 182 w 312"/>
                <a:gd name="T19" fmla="*/ 18 h 333"/>
                <a:gd name="T20" fmla="*/ 166 w 312"/>
                <a:gd name="T21" fmla="*/ 0 h 333"/>
                <a:gd name="T22" fmla="*/ 147 w 312"/>
                <a:gd name="T23" fmla="*/ 0 h 333"/>
                <a:gd name="T24" fmla="*/ 130 w 312"/>
                <a:gd name="T25" fmla="*/ 18 h 333"/>
                <a:gd name="T26" fmla="*/ 130 w 312"/>
                <a:gd name="T27" fmla="*/ 45 h 333"/>
                <a:gd name="T28" fmla="*/ 94 w 312"/>
                <a:gd name="T29" fmla="*/ 61 h 333"/>
                <a:gd name="T30" fmla="*/ 76 w 312"/>
                <a:gd name="T31" fmla="*/ 41 h 333"/>
                <a:gd name="T32" fmla="*/ 53 w 312"/>
                <a:gd name="T33" fmla="*/ 41 h 333"/>
                <a:gd name="T34" fmla="*/ 40 w 312"/>
                <a:gd name="T35" fmla="*/ 55 h 333"/>
                <a:gd name="T36" fmla="*/ 40 w 312"/>
                <a:gd name="T37" fmla="*/ 80 h 333"/>
                <a:gd name="T38" fmla="*/ 58 w 312"/>
                <a:gd name="T39" fmla="*/ 99 h 333"/>
                <a:gd name="T40" fmla="*/ 42 w 312"/>
                <a:gd name="T41" fmla="*/ 138 h 333"/>
                <a:gd name="T42" fmla="*/ 17 w 312"/>
                <a:gd name="T43" fmla="*/ 138 h 333"/>
                <a:gd name="T44" fmla="*/ 0 w 312"/>
                <a:gd name="T45" fmla="*/ 156 h 333"/>
                <a:gd name="T46" fmla="*/ 0 w 312"/>
                <a:gd name="T47" fmla="*/ 176 h 333"/>
                <a:gd name="T48" fmla="*/ 17 w 312"/>
                <a:gd name="T49" fmla="*/ 194 h 333"/>
                <a:gd name="T50" fmla="*/ 42 w 312"/>
                <a:gd name="T51" fmla="*/ 194 h 333"/>
                <a:gd name="T52" fmla="*/ 57 w 312"/>
                <a:gd name="T53" fmla="*/ 233 h 333"/>
                <a:gd name="T54" fmla="*/ 39 w 312"/>
                <a:gd name="T55" fmla="*/ 252 h 333"/>
                <a:gd name="T56" fmla="*/ 39 w 312"/>
                <a:gd name="T57" fmla="*/ 277 h 333"/>
                <a:gd name="T58" fmla="*/ 52 w 312"/>
                <a:gd name="T59" fmla="*/ 291 h 333"/>
                <a:gd name="T60" fmla="*/ 75 w 312"/>
                <a:gd name="T61" fmla="*/ 291 h 333"/>
                <a:gd name="T62" fmla="*/ 93 w 312"/>
                <a:gd name="T63" fmla="*/ 272 h 333"/>
                <a:gd name="T64" fmla="*/ 130 w 312"/>
                <a:gd name="T65" fmla="*/ 289 h 333"/>
                <a:gd name="T66" fmla="*/ 130 w 312"/>
                <a:gd name="T67" fmla="*/ 316 h 333"/>
                <a:gd name="T68" fmla="*/ 146 w 312"/>
                <a:gd name="T69" fmla="*/ 333 h 333"/>
                <a:gd name="T70" fmla="*/ 165 w 312"/>
                <a:gd name="T71" fmla="*/ 333 h 333"/>
                <a:gd name="T72" fmla="*/ 182 w 312"/>
                <a:gd name="T73" fmla="*/ 316 h 333"/>
                <a:gd name="T74" fmla="*/ 182 w 312"/>
                <a:gd name="T75" fmla="*/ 289 h 333"/>
                <a:gd name="T76" fmla="*/ 218 w 312"/>
                <a:gd name="T77" fmla="*/ 273 h 333"/>
                <a:gd name="T78" fmla="*/ 236 w 312"/>
                <a:gd name="T79" fmla="*/ 292 h 333"/>
                <a:gd name="T80" fmla="*/ 259 w 312"/>
                <a:gd name="T81" fmla="*/ 292 h 333"/>
                <a:gd name="T82" fmla="*/ 273 w 312"/>
                <a:gd name="T83" fmla="*/ 278 h 333"/>
                <a:gd name="T84" fmla="*/ 273 w 312"/>
                <a:gd name="T85" fmla="*/ 253 h 333"/>
                <a:gd name="T86" fmla="*/ 255 w 312"/>
                <a:gd name="T87" fmla="*/ 234 h 333"/>
                <a:gd name="T88" fmla="*/ 270 w 312"/>
                <a:gd name="T89" fmla="*/ 195 h 333"/>
                <a:gd name="T90" fmla="*/ 296 w 312"/>
                <a:gd name="T91" fmla="*/ 195 h 333"/>
                <a:gd name="T92" fmla="*/ 312 w 312"/>
                <a:gd name="T93" fmla="*/ 177 h 333"/>
                <a:gd name="T94" fmla="*/ 312 w 312"/>
                <a:gd name="T95" fmla="*/ 157 h 333"/>
                <a:gd name="T96" fmla="*/ 296 w 312"/>
                <a:gd name="T97" fmla="*/ 139 h 333"/>
                <a:gd name="T98" fmla="*/ 156 w 312"/>
                <a:gd name="T99" fmla="*/ 222 h 333"/>
                <a:gd name="T100" fmla="*/ 104 w 312"/>
                <a:gd name="T101" fmla="*/ 167 h 333"/>
                <a:gd name="T102" fmla="*/ 156 w 312"/>
                <a:gd name="T103" fmla="*/ 111 h 333"/>
                <a:gd name="T104" fmla="*/ 208 w 312"/>
                <a:gd name="T105" fmla="*/ 167 h 333"/>
                <a:gd name="T106" fmla="*/ 156 w 312"/>
                <a:gd name="T107" fmla="*/ 222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2" h="333">
                  <a:moveTo>
                    <a:pt x="296" y="139"/>
                  </a:moveTo>
                  <a:cubicBezTo>
                    <a:pt x="270" y="139"/>
                    <a:pt x="270" y="139"/>
                    <a:pt x="270" y="139"/>
                  </a:cubicBezTo>
                  <a:cubicBezTo>
                    <a:pt x="267" y="125"/>
                    <a:pt x="262" y="112"/>
                    <a:pt x="255" y="100"/>
                  </a:cubicBezTo>
                  <a:cubicBezTo>
                    <a:pt x="273" y="81"/>
                    <a:pt x="273" y="81"/>
                    <a:pt x="273" y="81"/>
                  </a:cubicBezTo>
                  <a:cubicBezTo>
                    <a:pt x="280" y="74"/>
                    <a:pt x="280" y="63"/>
                    <a:pt x="273" y="56"/>
                  </a:cubicBezTo>
                  <a:cubicBezTo>
                    <a:pt x="260" y="42"/>
                    <a:pt x="260" y="42"/>
                    <a:pt x="260" y="42"/>
                  </a:cubicBezTo>
                  <a:cubicBezTo>
                    <a:pt x="253" y="35"/>
                    <a:pt x="243" y="35"/>
                    <a:pt x="237" y="42"/>
                  </a:cubicBezTo>
                  <a:cubicBezTo>
                    <a:pt x="219" y="61"/>
                    <a:pt x="219" y="61"/>
                    <a:pt x="219" y="61"/>
                  </a:cubicBezTo>
                  <a:cubicBezTo>
                    <a:pt x="208" y="53"/>
                    <a:pt x="195" y="48"/>
                    <a:pt x="182" y="45"/>
                  </a:cubicBezTo>
                  <a:cubicBezTo>
                    <a:pt x="182" y="18"/>
                    <a:pt x="182" y="18"/>
                    <a:pt x="182" y="18"/>
                  </a:cubicBezTo>
                  <a:cubicBezTo>
                    <a:pt x="182" y="8"/>
                    <a:pt x="175" y="0"/>
                    <a:pt x="166" y="0"/>
                  </a:cubicBezTo>
                  <a:cubicBezTo>
                    <a:pt x="147" y="0"/>
                    <a:pt x="147" y="0"/>
                    <a:pt x="147" y="0"/>
                  </a:cubicBezTo>
                  <a:cubicBezTo>
                    <a:pt x="138" y="0"/>
                    <a:pt x="130" y="8"/>
                    <a:pt x="130" y="18"/>
                  </a:cubicBezTo>
                  <a:cubicBezTo>
                    <a:pt x="130" y="45"/>
                    <a:pt x="130" y="45"/>
                    <a:pt x="130" y="45"/>
                  </a:cubicBezTo>
                  <a:cubicBezTo>
                    <a:pt x="117" y="48"/>
                    <a:pt x="105" y="53"/>
                    <a:pt x="94" y="61"/>
                  </a:cubicBezTo>
                  <a:cubicBezTo>
                    <a:pt x="76" y="41"/>
                    <a:pt x="76" y="41"/>
                    <a:pt x="76" y="41"/>
                  </a:cubicBezTo>
                  <a:cubicBezTo>
                    <a:pt x="70" y="34"/>
                    <a:pt x="60" y="34"/>
                    <a:pt x="53" y="41"/>
                  </a:cubicBezTo>
                  <a:cubicBezTo>
                    <a:pt x="40" y="55"/>
                    <a:pt x="40" y="55"/>
                    <a:pt x="40" y="55"/>
                  </a:cubicBezTo>
                  <a:cubicBezTo>
                    <a:pt x="33" y="62"/>
                    <a:pt x="33" y="73"/>
                    <a:pt x="40" y="80"/>
                  </a:cubicBezTo>
                  <a:cubicBezTo>
                    <a:pt x="58" y="99"/>
                    <a:pt x="58" y="99"/>
                    <a:pt x="58" y="99"/>
                  </a:cubicBezTo>
                  <a:cubicBezTo>
                    <a:pt x="50" y="111"/>
                    <a:pt x="45" y="124"/>
                    <a:pt x="42" y="138"/>
                  </a:cubicBezTo>
                  <a:cubicBezTo>
                    <a:pt x="17" y="138"/>
                    <a:pt x="17" y="138"/>
                    <a:pt x="17" y="138"/>
                  </a:cubicBezTo>
                  <a:cubicBezTo>
                    <a:pt x="8" y="138"/>
                    <a:pt x="0" y="146"/>
                    <a:pt x="0" y="156"/>
                  </a:cubicBezTo>
                  <a:cubicBezTo>
                    <a:pt x="0" y="176"/>
                    <a:pt x="0" y="176"/>
                    <a:pt x="0" y="176"/>
                  </a:cubicBezTo>
                  <a:cubicBezTo>
                    <a:pt x="0" y="186"/>
                    <a:pt x="8" y="194"/>
                    <a:pt x="17" y="194"/>
                  </a:cubicBezTo>
                  <a:cubicBezTo>
                    <a:pt x="42" y="194"/>
                    <a:pt x="42" y="194"/>
                    <a:pt x="42" y="194"/>
                  </a:cubicBezTo>
                  <a:cubicBezTo>
                    <a:pt x="45" y="208"/>
                    <a:pt x="50" y="221"/>
                    <a:pt x="57" y="233"/>
                  </a:cubicBezTo>
                  <a:cubicBezTo>
                    <a:pt x="39" y="252"/>
                    <a:pt x="39" y="252"/>
                    <a:pt x="39" y="252"/>
                  </a:cubicBezTo>
                  <a:cubicBezTo>
                    <a:pt x="33" y="259"/>
                    <a:pt x="33" y="270"/>
                    <a:pt x="39" y="277"/>
                  </a:cubicBezTo>
                  <a:cubicBezTo>
                    <a:pt x="52" y="291"/>
                    <a:pt x="52" y="291"/>
                    <a:pt x="52" y="291"/>
                  </a:cubicBezTo>
                  <a:cubicBezTo>
                    <a:pt x="59" y="298"/>
                    <a:pt x="69" y="298"/>
                    <a:pt x="75" y="291"/>
                  </a:cubicBezTo>
                  <a:cubicBezTo>
                    <a:pt x="93" y="272"/>
                    <a:pt x="93" y="272"/>
                    <a:pt x="93" y="272"/>
                  </a:cubicBezTo>
                  <a:cubicBezTo>
                    <a:pt x="105" y="280"/>
                    <a:pt x="117" y="285"/>
                    <a:pt x="130" y="289"/>
                  </a:cubicBezTo>
                  <a:cubicBezTo>
                    <a:pt x="130" y="316"/>
                    <a:pt x="130" y="316"/>
                    <a:pt x="130" y="316"/>
                  </a:cubicBezTo>
                  <a:cubicBezTo>
                    <a:pt x="130" y="325"/>
                    <a:pt x="137" y="333"/>
                    <a:pt x="146" y="333"/>
                  </a:cubicBezTo>
                  <a:cubicBezTo>
                    <a:pt x="165" y="333"/>
                    <a:pt x="165" y="333"/>
                    <a:pt x="165" y="333"/>
                  </a:cubicBezTo>
                  <a:cubicBezTo>
                    <a:pt x="174" y="333"/>
                    <a:pt x="182" y="326"/>
                    <a:pt x="182" y="316"/>
                  </a:cubicBezTo>
                  <a:cubicBezTo>
                    <a:pt x="182" y="289"/>
                    <a:pt x="182" y="289"/>
                    <a:pt x="182" y="289"/>
                  </a:cubicBezTo>
                  <a:cubicBezTo>
                    <a:pt x="195" y="286"/>
                    <a:pt x="207" y="280"/>
                    <a:pt x="218" y="273"/>
                  </a:cubicBezTo>
                  <a:cubicBezTo>
                    <a:pt x="236" y="292"/>
                    <a:pt x="236" y="292"/>
                    <a:pt x="236" y="292"/>
                  </a:cubicBezTo>
                  <a:cubicBezTo>
                    <a:pt x="243" y="299"/>
                    <a:pt x="253" y="299"/>
                    <a:pt x="259" y="292"/>
                  </a:cubicBezTo>
                  <a:cubicBezTo>
                    <a:pt x="273" y="278"/>
                    <a:pt x="273" y="278"/>
                    <a:pt x="273" y="278"/>
                  </a:cubicBezTo>
                  <a:cubicBezTo>
                    <a:pt x="279" y="271"/>
                    <a:pt x="279" y="260"/>
                    <a:pt x="273" y="253"/>
                  </a:cubicBezTo>
                  <a:cubicBezTo>
                    <a:pt x="255" y="234"/>
                    <a:pt x="255" y="234"/>
                    <a:pt x="255" y="234"/>
                  </a:cubicBezTo>
                  <a:cubicBezTo>
                    <a:pt x="262" y="222"/>
                    <a:pt x="267" y="209"/>
                    <a:pt x="270" y="195"/>
                  </a:cubicBezTo>
                  <a:cubicBezTo>
                    <a:pt x="296" y="195"/>
                    <a:pt x="296" y="195"/>
                    <a:pt x="296" y="195"/>
                  </a:cubicBezTo>
                  <a:cubicBezTo>
                    <a:pt x="305" y="195"/>
                    <a:pt x="312" y="187"/>
                    <a:pt x="312" y="177"/>
                  </a:cubicBezTo>
                  <a:cubicBezTo>
                    <a:pt x="312" y="157"/>
                    <a:pt x="312" y="157"/>
                    <a:pt x="312" y="157"/>
                  </a:cubicBezTo>
                  <a:cubicBezTo>
                    <a:pt x="312" y="147"/>
                    <a:pt x="305" y="139"/>
                    <a:pt x="296" y="139"/>
                  </a:cubicBezTo>
                  <a:close/>
                  <a:moveTo>
                    <a:pt x="156" y="222"/>
                  </a:moveTo>
                  <a:cubicBezTo>
                    <a:pt x="127" y="222"/>
                    <a:pt x="104" y="197"/>
                    <a:pt x="104" y="167"/>
                  </a:cubicBezTo>
                  <a:cubicBezTo>
                    <a:pt x="104" y="136"/>
                    <a:pt x="127" y="111"/>
                    <a:pt x="156" y="111"/>
                  </a:cubicBezTo>
                  <a:cubicBezTo>
                    <a:pt x="185" y="111"/>
                    <a:pt x="208" y="136"/>
                    <a:pt x="208" y="167"/>
                  </a:cubicBezTo>
                  <a:cubicBezTo>
                    <a:pt x="208" y="197"/>
                    <a:pt x="185" y="222"/>
                    <a:pt x="156" y="222"/>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21" name="Freeform 1573">
              <a:extLst>
                <a:ext uri="{FF2B5EF4-FFF2-40B4-BE49-F238E27FC236}">
                  <a16:creationId xmlns:a16="http://schemas.microsoft.com/office/drawing/2014/main" id="{99F1ED48-959B-410D-BB86-4D1847A2DB38}"/>
                </a:ext>
              </a:extLst>
            </p:cNvPr>
            <p:cNvSpPr>
              <a:spLocks/>
            </p:cNvSpPr>
            <p:nvPr userDrawn="1"/>
          </p:nvSpPr>
          <p:spPr bwMode="auto">
            <a:xfrm>
              <a:off x="7018338" y="4425950"/>
              <a:ext cx="995363" cy="1693863"/>
            </a:xfrm>
            <a:custGeom>
              <a:avLst/>
              <a:gdLst>
                <a:gd name="T0" fmla="*/ 495 w 503"/>
                <a:gd name="T1" fmla="*/ 856 h 856"/>
                <a:gd name="T2" fmla="*/ 8 w 503"/>
                <a:gd name="T3" fmla="*/ 856 h 856"/>
                <a:gd name="T4" fmla="*/ 0 w 503"/>
                <a:gd name="T5" fmla="*/ 848 h 856"/>
                <a:gd name="T6" fmla="*/ 0 w 503"/>
                <a:gd name="T7" fmla="*/ 8 h 856"/>
                <a:gd name="T8" fmla="*/ 8 w 503"/>
                <a:gd name="T9" fmla="*/ 0 h 856"/>
                <a:gd name="T10" fmla="*/ 495 w 503"/>
                <a:gd name="T11" fmla="*/ 0 h 856"/>
                <a:gd name="T12" fmla="*/ 503 w 503"/>
                <a:gd name="T13" fmla="*/ 8 h 856"/>
                <a:gd name="T14" fmla="*/ 503 w 503"/>
                <a:gd name="T15" fmla="*/ 848 h 856"/>
                <a:gd name="T16" fmla="*/ 495 w 503"/>
                <a:gd name="T17" fmla="*/ 856 h 8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3" h="856">
                  <a:moveTo>
                    <a:pt x="495" y="856"/>
                  </a:moveTo>
                  <a:cubicBezTo>
                    <a:pt x="8" y="856"/>
                    <a:pt x="8" y="856"/>
                    <a:pt x="8" y="856"/>
                  </a:cubicBezTo>
                  <a:cubicBezTo>
                    <a:pt x="4" y="856"/>
                    <a:pt x="0" y="852"/>
                    <a:pt x="0" y="848"/>
                  </a:cubicBezTo>
                  <a:cubicBezTo>
                    <a:pt x="0" y="8"/>
                    <a:pt x="0" y="8"/>
                    <a:pt x="0" y="8"/>
                  </a:cubicBezTo>
                  <a:cubicBezTo>
                    <a:pt x="0" y="4"/>
                    <a:pt x="4" y="0"/>
                    <a:pt x="8" y="0"/>
                  </a:cubicBezTo>
                  <a:cubicBezTo>
                    <a:pt x="495" y="0"/>
                    <a:pt x="495" y="0"/>
                    <a:pt x="495" y="0"/>
                  </a:cubicBezTo>
                  <a:cubicBezTo>
                    <a:pt x="499" y="0"/>
                    <a:pt x="503" y="4"/>
                    <a:pt x="503" y="8"/>
                  </a:cubicBezTo>
                  <a:cubicBezTo>
                    <a:pt x="503" y="848"/>
                    <a:pt x="503" y="848"/>
                    <a:pt x="503" y="848"/>
                  </a:cubicBezTo>
                  <a:cubicBezTo>
                    <a:pt x="503" y="852"/>
                    <a:pt x="499" y="856"/>
                    <a:pt x="495" y="85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22" name="Freeform 1574">
              <a:extLst>
                <a:ext uri="{FF2B5EF4-FFF2-40B4-BE49-F238E27FC236}">
                  <a16:creationId xmlns:a16="http://schemas.microsoft.com/office/drawing/2014/main" id="{F54150E9-770B-4318-9FAF-16E747581B5E}"/>
                </a:ext>
              </a:extLst>
            </p:cNvPr>
            <p:cNvSpPr>
              <a:spLocks/>
            </p:cNvSpPr>
            <p:nvPr userDrawn="1"/>
          </p:nvSpPr>
          <p:spPr bwMode="auto">
            <a:xfrm>
              <a:off x="6999288" y="4406900"/>
              <a:ext cx="723900" cy="781050"/>
            </a:xfrm>
            <a:custGeom>
              <a:avLst/>
              <a:gdLst>
                <a:gd name="T0" fmla="*/ 20 w 366"/>
                <a:gd name="T1" fmla="*/ 395 h 395"/>
                <a:gd name="T2" fmla="*/ 20 w 366"/>
                <a:gd name="T3" fmla="*/ 58 h 395"/>
                <a:gd name="T4" fmla="*/ 31 w 366"/>
                <a:gd name="T5" fmla="*/ 31 h 395"/>
                <a:gd name="T6" fmla="*/ 55 w 366"/>
                <a:gd name="T7" fmla="*/ 21 h 395"/>
                <a:gd name="T8" fmla="*/ 366 w 366"/>
                <a:gd name="T9" fmla="*/ 21 h 395"/>
                <a:gd name="T10" fmla="*/ 366 w 366"/>
                <a:gd name="T11" fmla="*/ 0 h 395"/>
                <a:gd name="T12" fmla="*/ 55 w 366"/>
                <a:gd name="T13" fmla="*/ 0 h 395"/>
                <a:gd name="T14" fmla="*/ 16 w 366"/>
                <a:gd name="T15" fmla="*/ 18 h 395"/>
                <a:gd name="T16" fmla="*/ 0 w 366"/>
                <a:gd name="T17" fmla="*/ 58 h 395"/>
                <a:gd name="T18" fmla="*/ 0 w 366"/>
                <a:gd name="T19" fmla="*/ 395 h 395"/>
                <a:gd name="T20" fmla="*/ 20 w 366"/>
                <a:gd name="T21" fmla="*/ 395 h 3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6" h="395">
                  <a:moveTo>
                    <a:pt x="20" y="395"/>
                  </a:moveTo>
                  <a:cubicBezTo>
                    <a:pt x="20" y="58"/>
                    <a:pt x="20" y="58"/>
                    <a:pt x="20" y="58"/>
                  </a:cubicBezTo>
                  <a:cubicBezTo>
                    <a:pt x="20" y="48"/>
                    <a:pt x="25" y="38"/>
                    <a:pt x="31" y="31"/>
                  </a:cubicBezTo>
                  <a:cubicBezTo>
                    <a:pt x="37" y="25"/>
                    <a:pt x="46" y="21"/>
                    <a:pt x="55" y="21"/>
                  </a:cubicBezTo>
                  <a:cubicBezTo>
                    <a:pt x="366" y="21"/>
                    <a:pt x="366" y="21"/>
                    <a:pt x="366" y="21"/>
                  </a:cubicBezTo>
                  <a:cubicBezTo>
                    <a:pt x="366" y="0"/>
                    <a:pt x="366" y="0"/>
                    <a:pt x="366" y="0"/>
                  </a:cubicBezTo>
                  <a:cubicBezTo>
                    <a:pt x="55" y="0"/>
                    <a:pt x="55" y="0"/>
                    <a:pt x="55" y="0"/>
                  </a:cubicBezTo>
                  <a:cubicBezTo>
                    <a:pt x="40" y="0"/>
                    <a:pt x="26" y="7"/>
                    <a:pt x="16" y="18"/>
                  </a:cubicBezTo>
                  <a:cubicBezTo>
                    <a:pt x="6" y="28"/>
                    <a:pt x="0" y="43"/>
                    <a:pt x="0" y="58"/>
                  </a:cubicBezTo>
                  <a:cubicBezTo>
                    <a:pt x="0" y="395"/>
                    <a:pt x="0" y="395"/>
                    <a:pt x="0" y="395"/>
                  </a:cubicBezTo>
                  <a:cubicBezTo>
                    <a:pt x="20" y="395"/>
                    <a:pt x="20" y="395"/>
                    <a:pt x="20" y="395"/>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23" name="Freeform 1575">
              <a:extLst>
                <a:ext uri="{FF2B5EF4-FFF2-40B4-BE49-F238E27FC236}">
                  <a16:creationId xmlns:a16="http://schemas.microsoft.com/office/drawing/2014/main" id="{9869207A-5982-4D73-B899-34E11BE8A762}"/>
                </a:ext>
              </a:extLst>
            </p:cNvPr>
            <p:cNvSpPr>
              <a:spLocks/>
            </p:cNvSpPr>
            <p:nvPr userDrawn="1"/>
          </p:nvSpPr>
          <p:spPr bwMode="auto">
            <a:xfrm>
              <a:off x="7924801" y="4406900"/>
              <a:ext cx="109538" cy="1731963"/>
            </a:xfrm>
            <a:custGeom>
              <a:avLst/>
              <a:gdLst>
                <a:gd name="T0" fmla="*/ 0 w 55"/>
                <a:gd name="T1" fmla="*/ 21 h 876"/>
                <a:gd name="T2" fmla="*/ 24 w 55"/>
                <a:gd name="T3" fmla="*/ 31 h 876"/>
                <a:gd name="T4" fmla="*/ 35 w 55"/>
                <a:gd name="T5" fmla="*/ 58 h 876"/>
                <a:gd name="T6" fmla="*/ 35 w 55"/>
                <a:gd name="T7" fmla="*/ 818 h 876"/>
                <a:gd name="T8" fmla="*/ 24 w 55"/>
                <a:gd name="T9" fmla="*/ 845 h 876"/>
                <a:gd name="T10" fmla="*/ 0 w 55"/>
                <a:gd name="T11" fmla="*/ 856 h 876"/>
                <a:gd name="T12" fmla="*/ 0 w 55"/>
                <a:gd name="T13" fmla="*/ 876 h 876"/>
                <a:gd name="T14" fmla="*/ 39 w 55"/>
                <a:gd name="T15" fmla="*/ 859 h 876"/>
                <a:gd name="T16" fmla="*/ 55 w 55"/>
                <a:gd name="T17" fmla="*/ 818 h 876"/>
                <a:gd name="T18" fmla="*/ 55 w 55"/>
                <a:gd name="T19" fmla="*/ 58 h 876"/>
                <a:gd name="T20" fmla="*/ 39 w 55"/>
                <a:gd name="T21" fmla="*/ 18 h 876"/>
                <a:gd name="T22" fmla="*/ 0 w 55"/>
                <a:gd name="T23" fmla="*/ 0 h 876"/>
                <a:gd name="T24" fmla="*/ 0 w 55"/>
                <a:gd name="T25" fmla="*/ 21 h 8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5" h="876">
                  <a:moveTo>
                    <a:pt x="0" y="21"/>
                  </a:moveTo>
                  <a:cubicBezTo>
                    <a:pt x="9" y="21"/>
                    <a:pt x="18" y="25"/>
                    <a:pt x="24" y="31"/>
                  </a:cubicBezTo>
                  <a:cubicBezTo>
                    <a:pt x="31" y="38"/>
                    <a:pt x="35" y="48"/>
                    <a:pt x="35" y="58"/>
                  </a:cubicBezTo>
                  <a:cubicBezTo>
                    <a:pt x="35" y="818"/>
                    <a:pt x="35" y="818"/>
                    <a:pt x="35" y="818"/>
                  </a:cubicBezTo>
                  <a:cubicBezTo>
                    <a:pt x="35" y="828"/>
                    <a:pt x="31" y="838"/>
                    <a:pt x="24" y="845"/>
                  </a:cubicBezTo>
                  <a:cubicBezTo>
                    <a:pt x="18" y="852"/>
                    <a:pt x="9" y="856"/>
                    <a:pt x="0" y="856"/>
                  </a:cubicBezTo>
                  <a:cubicBezTo>
                    <a:pt x="0" y="876"/>
                    <a:pt x="0" y="876"/>
                    <a:pt x="0" y="876"/>
                  </a:cubicBezTo>
                  <a:cubicBezTo>
                    <a:pt x="15" y="876"/>
                    <a:pt x="29" y="869"/>
                    <a:pt x="39" y="859"/>
                  </a:cubicBezTo>
                  <a:cubicBezTo>
                    <a:pt x="49" y="848"/>
                    <a:pt x="55" y="834"/>
                    <a:pt x="55" y="818"/>
                  </a:cubicBezTo>
                  <a:cubicBezTo>
                    <a:pt x="55" y="58"/>
                    <a:pt x="55" y="58"/>
                    <a:pt x="55" y="58"/>
                  </a:cubicBezTo>
                  <a:cubicBezTo>
                    <a:pt x="55" y="43"/>
                    <a:pt x="49" y="28"/>
                    <a:pt x="39" y="18"/>
                  </a:cubicBezTo>
                  <a:cubicBezTo>
                    <a:pt x="29" y="7"/>
                    <a:pt x="15" y="0"/>
                    <a:pt x="0" y="0"/>
                  </a:cubicBezTo>
                  <a:cubicBezTo>
                    <a:pt x="0" y="21"/>
                    <a:pt x="0" y="21"/>
                    <a:pt x="0" y="21"/>
                  </a:cubicBezTo>
                </a:path>
              </a:pathLst>
            </a:custGeom>
            <a:solidFill>
              <a:srgbClr val="0686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24" name="Rectangle 1576">
              <a:extLst>
                <a:ext uri="{FF2B5EF4-FFF2-40B4-BE49-F238E27FC236}">
                  <a16:creationId xmlns:a16="http://schemas.microsoft.com/office/drawing/2014/main" id="{43B0243D-048A-46C1-825D-34DDA3E74B6D}"/>
                </a:ext>
              </a:extLst>
            </p:cNvPr>
            <p:cNvSpPr>
              <a:spLocks noChangeArrowheads="1"/>
            </p:cNvSpPr>
            <p:nvPr userDrawn="1"/>
          </p:nvSpPr>
          <p:spPr bwMode="auto">
            <a:xfrm>
              <a:off x="7369176" y="4535488"/>
              <a:ext cx="295275" cy="38100"/>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25" name="Freeform 1577">
              <a:extLst>
                <a:ext uri="{FF2B5EF4-FFF2-40B4-BE49-F238E27FC236}">
                  <a16:creationId xmlns:a16="http://schemas.microsoft.com/office/drawing/2014/main" id="{13FAA6EC-9F12-4F8E-8CD0-B5C9BB020B7F}"/>
                </a:ext>
              </a:extLst>
            </p:cNvPr>
            <p:cNvSpPr>
              <a:spLocks/>
            </p:cNvSpPr>
            <p:nvPr userDrawn="1"/>
          </p:nvSpPr>
          <p:spPr bwMode="auto">
            <a:xfrm>
              <a:off x="7369176" y="4535488"/>
              <a:ext cx="295275" cy="38100"/>
            </a:xfrm>
            <a:custGeom>
              <a:avLst/>
              <a:gdLst>
                <a:gd name="T0" fmla="*/ 0 w 186"/>
                <a:gd name="T1" fmla="*/ 24 h 24"/>
                <a:gd name="T2" fmla="*/ 186 w 186"/>
                <a:gd name="T3" fmla="*/ 24 h 24"/>
                <a:gd name="T4" fmla="*/ 186 w 186"/>
                <a:gd name="T5" fmla="*/ 0 h 24"/>
                <a:gd name="T6" fmla="*/ 0 w 186"/>
                <a:gd name="T7" fmla="*/ 0 h 24"/>
              </a:gdLst>
              <a:ahLst/>
              <a:cxnLst>
                <a:cxn ang="0">
                  <a:pos x="T0" y="T1"/>
                </a:cxn>
                <a:cxn ang="0">
                  <a:pos x="T2" y="T3"/>
                </a:cxn>
                <a:cxn ang="0">
                  <a:pos x="T4" y="T5"/>
                </a:cxn>
                <a:cxn ang="0">
                  <a:pos x="T6" y="T7"/>
                </a:cxn>
              </a:cxnLst>
              <a:rect l="0" t="0" r="r" b="b"/>
              <a:pathLst>
                <a:path w="186" h="24">
                  <a:moveTo>
                    <a:pt x="0" y="24"/>
                  </a:moveTo>
                  <a:lnTo>
                    <a:pt x="186" y="24"/>
                  </a:lnTo>
                  <a:lnTo>
                    <a:pt x="186"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26" name="Freeform 1578">
              <a:extLst>
                <a:ext uri="{FF2B5EF4-FFF2-40B4-BE49-F238E27FC236}">
                  <a16:creationId xmlns:a16="http://schemas.microsoft.com/office/drawing/2014/main" id="{89AC0AAE-25A2-4104-AE1B-65B02B62D858}"/>
                </a:ext>
              </a:extLst>
            </p:cNvPr>
            <p:cNvSpPr>
              <a:spLocks/>
            </p:cNvSpPr>
            <p:nvPr userDrawn="1"/>
          </p:nvSpPr>
          <p:spPr bwMode="auto">
            <a:xfrm>
              <a:off x="7448551" y="5910263"/>
              <a:ext cx="136525" cy="141288"/>
            </a:xfrm>
            <a:custGeom>
              <a:avLst/>
              <a:gdLst>
                <a:gd name="T0" fmla="*/ 59 w 69"/>
                <a:gd name="T1" fmla="*/ 36 h 72"/>
                <a:gd name="T2" fmla="*/ 49 w 69"/>
                <a:gd name="T3" fmla="*/ 36 h 72"/>
                <a:gd name="T4" fmla="*/ 44 w 69"/>
                <a:gd name="T5" fmla="*/ 47 h 72"/>
                <a:gd name="T6" fmla="*/ 35 w 69"/>
                <a:gd name="T7" fmla="*/ 52 h 72"/>
                <a:gd name="T8" fmla="*/ 25 w 69"/>
                <a:gd name="T9" fmla="*/ 47 h 72"/>
                <a:gd name="T10" fmla="*/ 21 w 69"/>
                <a:gd name="T11" fmla="*/ 36 h 72"/>
                <a:gd name="T12" fmla="*/ 25 w 69"/>
                <a:gd name="T13" fmla="*/ 25 h 72"/>
                <a:gd name="T14" fmla="*/ 35 w 69"/>
                <a:gd name="T15" fmla="*/ 20 h 72"/>
                <a:gd name="T16" fmla="*/ 44 w 69"/>
                <a:gd name="T17" fmla="*/ 25 h 72"/>
                <a:gd name="T18" fmla="*/ 49 w 69"/>
                <a:gd name="T19" fmla="*/ 36 h 72"/>
                <a:gd name="T20" fmla="*/ 59 w 69"/>
                <a:gd name="T21" fmla="*/ 36 h 72"/>
                <a:gd name="T22" fmla="*/ 69 w 69"/>
                <a:gd name="T23" fmla="*/ 36 h 72"/>
                <a:gd name="T24" fmla="*/ 59 w 69"/>
                <a:gd name="T25" fmla="*/ 11 h 72"/>
                <a:gd name="T26" fmla="*/ 35 w 69"/>
                <a:gd name="T27" fmla="*/ 0 h 72"/>
                <a:gd name="T28" fmla="*/ 10 w 69"/>
                <a:gd name="T29" fmla="*/ 11 h 72"/>
                <a:gd name="T30" fmla="*/ 0 w 69"/>
                <a:gd name="T31" fmla="*/ 36 h 72"/>
                <a:gd name="T32" fmla="*/ 10 w 69"/>
                <a:gd name="T33" fmla="*/ 61 h 72"/>
                <a:gd name="T34" fmla="*/ 35 w 69"/>
                <a:gd name="T35" fmla="*/ 72 h 72"/>
                <a:gd name="T36" fmla="*/ 59 w 69"/>
                <a:gd name="T37" fmla="*/ 61 h 72"/>
                <a:gd name="T38" fmla="*/ 69 w 69"/>
                <a:gd name="T39" fmla="*/ 36 h 72"/>
                <a:gd name="T40" fmla="*/ 59 w 69"/>
                <a:gd name="T41" fmla="*/ 36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9" h="72">
                  <a:moveTo>
                    <a:pt x="59" y="36"/>
                  </a:moveTo>
                  <a:cubicBezTo>
                    <a:pt x="49" y="36"/>
                    <a:pt x="49" y="36"/>
                    <a:pt x="49" y="36"/>
                  </a:cubicBezTo>
                  <a:cubicBezTo>
                    <a:pt x="49" y="40"/>
                    <a:pt x="47" y="44"/>
                    <a:pt x="44" y="47"/>
                  </a:cubicBezTo>
                  <a:cubicBezTo>
                    <a:pt x="42" y="50"/>
                    <a:pt x="38" y="52"/>
                    <a:pt x="35" y="52"/>
                  </a:cubicBezTo>
                  <a:cubicBezTo>
                    <a:pt x="31" y="52"/>
                    <a:pt x="28" y="50"/>
                    <a:pt x="25" y="47"/>
                  </a:cubicBezTo>
                  <a:cubicBezTo>
                    <a:pt x="22" y="44"/>
                    <a:pt x="21" y="40"/>
                    <a:pt x="21" y="36"/>
                  </a:cubicBezTo>
                  <a:cubicBezTo>
                    <a:pt x="21" y="31"/>
                    <a:pt x="22" y="27"/>
                    <a:pt x="25" y="25"/>
                  </a:cubicBezTo>
                  <a:cubicBezTo>
                    <a:pt x="28" y="22"/>
                    <a:pt x="31" y="20"/>
                    <a:pt x="35" y="20"/>
                  </a:cubicBezTo>
                  <a:cubicBezTo>
                    <a:pt x="38" y="20"/>
                    <a:pt x="42" y="22"/>
                    <a:pt x="44" y="25"/>
                  </a:cubicBezTo>
                  <a:cubicBezTo>
                    <a:pt x="47" y="27"/>
                    <a:pt x="49" y="31"/>
                    <a:pt x="49" y="36"/>
                  </a:cubicBezTo>
                  <a:cubicBezTo>
                    <a:pt x="59" y="36"/>
                    <a:pt x="59" y="36"/>
                    <a:pt x="59" y="36"/>
                  </a:cubicBezTo>
                  <a:cubicBezTo>
                    <a:pt x="69" y="36"/>
                    <a:pt x="69" y="36"/>
                    <a:pt x="69" y="36"/>
                  </a:cubicBezTo>
                  <a:cubicBezTo>
                    <a:pt x="69" y="26"/>
                    <a:pt x="65" y="17"/>
                    <a:pt x="59" y="11"/>
                  </a:cubicBezTo>
                  <a:cubicBezTo>
                    <a:pt x="53" y="4"/>
                    <a:pt x="44" y="0"/>
                    <a:pt x="35" y="0"/>
                  </a:cubicBezTo>
                  <a:cubicBezTo>
                    <a:pt x="25" y="0"/>
                    <a:pt x="16" y="4"/>
                    <a:pt x="10" y="11"/>
                  </a:cubicBezTo>
                  <a:cubicBezTo>
                    <a:pt x="4" y="17"/>
                    <a:pt x="0" y="26"/>
                    <a:pt x="0" y="36"/>
                  </a:cubicBezTo>
                  <a:cubicBezTo>
                    <a:pt x="0" y="46"/>
                    <a:pt x="4" y="54"/>
                    <a:pt x="10" y="61"/>
                  </a:cubicBezTo>
                  <a:cubicBezTo>
                    <a:pt x="16" y="68"/>
                    <a:pt x="25" y="72"/>
                    <a:pt x="35" y="72"/>
                  </a:cubicBezTo>
                  <a:cubicBezTo>
                    <a:pt x="44" y="72"/>
                    <a:pt x="53" y="68"/>
                    <a:pt x="59" y="61"/>
                  </a:cubicBezTo>
                  <a:cubicBezTo>
                    <a:pt x="65" y="54"/>
                    <a:pt x="69" y="46"/>
                    <a:pt x="69" y="36"/>
                  </a:cubicBezTo>
                  <a:lnTo>
                    <a:pt x="59" y="36"/>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27" name="Rectangle 1579">
              <a:extLst>
                <a:ext uri="{FF2B5EF4-FFF2-40B4-BE49-F238E27FC236}">
                  <a16:creationId xmlns:a16="http://schemas.microsoft.com/office/drawing/2014/main" id="{B88D35B6-ED50-4D8C-A7DA-1EC75AFFDE2C}"/>
                </a:ext>
              </a:extLst>
            </p:cNvPr>
            <p:cNvSpPr>
              <a:spLocks noChangeArrowheads="1"/>
            </p:cNvSpPr>
            <p:nvPr userDrawn="1"/>
          </p:nvSpPr>
          <p:spPr bwMode="auto">
            <a:xfrm>
              <a:off x="7119938" y="4672013"/>
              <a:ext cx="795338" cy="1198563"/>
            </a:xfrm>
            <a:prstGeom prst="rect">
              <a:avLst/>
            </a:prstGeom>
            <a:solidFill>
              <a:schemeClr val="accent2">
                <a:lumMod val="60000"/>
                <a:lumOff val="4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28" name="Rectangle 1580">
              <a:extLst>
                <a:ext uri="{FF2B5EF4-FFF2-40B4-BE49-F238E27FC236}">
                  <a16:creationId xmlns:a16="http://schemas.microsoft.com/office/drawing/2014/main" id="{C4D15B5F-79F1-4A18-B565-114422A3E975}"/>
                </a:ext>
              </a:extLst>
            </p:cNvPr>
            <p:cNvSpPr>
              <a:spLocks noChangeArrowheads="1"/>
            </p:cNvSpPr>
            <p:nvPr userDrawn="1"/>
          </p:nvSpPr>
          <p:spPr bwMode="auto">
            <a:xfrm>
              <a:off x="7119938" y="4672013"/>
              <a:ext cx="795338" cy="1198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29" name="Freeform 1581">
              <a:extLst>
                <a:ext uri="{FF2B5EF4-FFF2-40B4-BE49-F238E27FC236}">
                  <a16:creationId xmlns:a16="http://schemas.microsoft.com/office/drawing/2014/main" id="{3B20DB6E-0054-4FEA-A667-2C02097A35EE}"/>
                </a:ext>
              </a:extLst>
            </p:cNvPr>
            <p:cNvSpPr>
              <a:spLocks noEditPoints="1"/>
            </p:cNvSpPr>
            <p:nvPr userDrawn="1"/>
          </p:nvSpPr>
          <p:spPr bwMode="auto">
            <a:xfrm>
              <a:off x="7610476" y="4425950"/>
              <a:ext cx="200025" cy="1673225"/>
            </a:xfrm>
            <a:custGeom>
              <a:avLst/>
              <a:gdLst>
                <a:gd name="T0" fmla="*/ 22 w 101"/>
                <a:gd name="T1" fmla="*/ 730 h 846"/>
                <a:gd name="T2" fmla="*/ 0 w 101"/>
                <a:gd name="T3" fmla="*/ 730 h 846"/>
                <a:gd name="T4" fmla="*/ 10 w 101"/>
                <a:gd name="T5" fmla="*/ 795 h 846"/>
                <a:gd name="T6" fmla="*/ 37 w 101"/>
                <a:gd name="T7" fmla="*/ 846 h 846"/>
                <a:gd name="T8" fmla="*/ 59 w 101"/>
                <a:gd name="T9" fmla="*/ 846 h 846"/>
                <a:gd name="T10" fmla="*/ 58 w 101"/>
                <a:gd name="T11" fmla="*/ 846 h 846"/>
                <a:gd name="T12" fmla="*/ 32 w 101"/>
                <a:gd name="T13" fmla="*/ 795 h 846"/>
                <a:gd name="T14" fmla="*/ 22 w 101"/>
                <a:gd name="T15" fmla="*/ 730 h 846"/>
                <a:gd name="T16" fmla="*/ 101 w 101"/>
                <a:gd name="T17" fmla="*/ 0 h 846"/>
                <a:gd name="T18" fmla="*/ 69 w 101"/>
                <a:gd name="T19" fmla="*/ 0 h 846"/>
                <a:gd name="T20" fmla="*/ 69 w 101"/>
                <a:gd name="T21" fmla="*/ 124 h 846"/>
                <a:gd name="T22" fmla="*/ 101 w 101"/>
                <a:gd name="T23" fmla="*/ 124 h 846"/>
                <a:gd name="T24" fmla="*/ 101 w 101"/>
                <a:gd name="T25" fmla="*/ 0 h 8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1" h="846">
                  <a:moveTo>
                    <a:pt x="22" y="730"/>
                  </a:moveTo>
                  <a:cubicBezTo>
                    <a:pt x="0" y="730"/>
                    <a:pt x="0" y="730"/>
                    <a:pt x="0" y="730"/>
                  </a:cubicBezTo>
                  <a:cubicBezTo>
                    <a:pt x="10" y="795"/>
                    <a:pt x="10" y="795"/>
                    <a:pt x="10" y="795"/>
                  </a:cubicBezTo>
                  <a:cubicBezTo>
                    <a:pt x="13" y="816"/>
                    <a:pt x="23" y="833"/>
                    <a:pt x="37" y="846"/>
                  </a:cubicBezTo>
                  <a:cubicBezTo>
                    <a:pt x="59" y="846"/>
                    <a:pt x="59" y="846"/>
                    <a:pt x="59" y="846"/>
                  </a:cubicBezTo>
                  <a:cubicBezTo>
                    <a:pt x="59" y="846"/>
                    <a:pt x="58" y="846"/>
                    <a:pt x="58" y="846"/>
                  </a:cubicBezTo>
                  <a:cubicBezTo>
                    <a:pt x="45" y="833"/>
                    <a:pt x="35" y="815"/>
                    <a:pt x="32" y="795"/>
                  </a:cubicBezTo>
                  <a:cubicBezTo>
                    <a:pt x="22" y="730"/>
                    <a:pt x="22" y="730"/>
                    <a:pt x="22" y="730"/>
                  </a:cubicBezTo>
                  <a:moveTo>
                    <a:pt x="101" y="0"/>
                  </a:moveTo>
                  <a:cubicBezTo>
                    <a:pt x="69" y="0"/>
                    <a:pt x="69" y="0"/>
                    <a:pt x="69" y="0"/>
                  </a:cubicBezTo>
                  <a:cubicBezTo>
                    <a:pt x="69" y="124"/>
                    <a:pt x="69" y="124"/>
                    <a:pt x="69" y="124"/>
                  </a:cubicBezTo>
                  <a:cubicBezTo>
                    <a:pt x="101" y="124"/>
                    <a:pt x="101" y="124"/>
                    <a:pt x="101" y="124"/>
                  </a:cubicBezTo>
                  <a:cubicBezTo>
                    <a:pt x="101" y="0"/>
                    <a:pt x="101" y="0"/>
                    <a:pt x="101" y="0"/>
                  </a:cubicBezTo>
                </a:path>
              </a:pathLst>
            </a:custGeom>
            <a:solidFill>
              <a:schemeClr val="accent2">
                <a:lumMod val="40000"/>
                <a:lumOff val="6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30" name="Freeform 1582">
              <a:extLst>
                <a:ext uri="{FF2B5EF4-FFF2-40B4-BE49-F238E27FC236}">
                  <a16:creationId xmlns:a16="http://schemas.microsoft.com/office/drawing/2014/main" id="{EF3276FE-7440-4EA2-A8C9-54E6BB26534D}"/>
                </a:ext>
              </a:extLst>
            </p:cNvPr>
            <p:cNvSpPr>
              <a:spLocks noEditPoints="1"/>
            </p:cNvSpPr>
            <p:nvPr userDrawn="1"/>
          </p:nvSpPr>
          <p:spPr bwMode="auto">
            <a:xfrm>
              <a:off x="7605713" y="4672013"/>
              <a:ext cx="204788" cy="1198563"/>
            </a:xfrm>
            <a:custGeom>
              <a:avLst/>
              <a:gdLst>
                <a:gd name="T0" fmla="*/ 28 w 129"/>
                <a:gd name="T1" fmla="*/ 740 h 755"/>
                <a:gd name="T2" fmla="*/ 0 w 129"/>
                <a:gd name="T3" fmla="*/ 740 h 755"/>
                <a:gd name="T4" fmla="*/ 3 w 129"/>
                <a:gd name="T5" fmla="*/ 755 h 755"/>
                <a:gd name="T6" fmla="*/ 30 w 129"/>
                <a:gd name="T7" fmla="*/ 755 h 755"/>
                <a:gd name="T8" fmla="*/ 28 w 129"/>
                <a:gd name="T9" fmla="*/ 740 h 755"/>
                <a:gd name="T10" fmla="*/ 129 w 129"/>
                <a:gd name="T11" fmla="*/ 0 h 755"/>
                <a:gd name="T12" fmla="*/ 89 w 129"/>
                <a:gd name="T13" fmla="*/ 0 h 755"/>
                <a:gd name="T14" fmla="*/ 89 w 129"/>
                <a:gd name="T15" fmla="*/ 739 h 755"/>
                <a:gd name="T16" fmla="*/ 129 w 129"/>
                <a:gd name="T17" fmla="*/ 739 h 755"/>
                <a:gd name="T18" fmla="*/ 129 w 129"/>
                <a:gd name="T19" fmla="*/ 0 h 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9" h="755">
                  <a:moveTo>
                    <a:pt x="28" y="740"/>
                  </a:moveTo>
                  <a:lnTo>
                    <a:pt x="0" y="740"/>
                  </a:lnTo>
                  <a:lnTo>
                    <a:pt x="3" y="755"/>
                  </a:lnTo>
                  <a:lnTo>
                    <a:pt x="30" y="755"/>
                  </a:lnTo>
                  <a:lnTo>
                    <a:pt x="28" y="740"/>
                  </a:lnTo>
                  <a:close/>
                  <a:moveTo>
                    <a:pt x="129" y="0"/>
                  </a:moveTo>
                  <a:lnTo>
                    <a:pt x="89" y="0"/>
                  </a:lnTo>
                  <a:lnTo>
                    <a:pt x="89" y="739"/>
                  </a:lnTo>
                  <a:lnTo>
                    <a:pt x="129" y="739"/>
                  </a:lnTo>
                  <a:lnTo>
                    <a:pt x="129" y="0"/>
                  </a:lnTo>
                  <a:close/>
                </a:path>
              </a:pathLst>
            </a:custGeom>
            <a:solidFill>
              <a:schemeClr val="accent2">
                <a:lumMod val="75000"/>
                <a:alpha val="3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31" name="Freeform 1583">
              <a:extLst>
                <a:ext uri="{FF2B5EF4-FFF2-40B4-BE49-F238E27FC236}">
                  <a16:creationId xmlns:a16="http://schemas.microsoft.com/office/drawing/2014/main" id="{DD48C713-4FB9-438C-9756-12B3EF3FC847}"/>
                </a:ext>
              </a:extLst>
            </p:cNvPr>
            <p:cNvSpPr>
              <a:spLocks noEditPoints="1"/>
            </p:cNvSpPr>
            <p:nvPr userDrawn="1"/>
          </p:nvSpPr>
          <p:spPr bwMode="auto">
            <a:xfrm>
              <a:off x="7605713" y="4672013"/>
              <a:ext cx="204788" cy="1198563"/>
            </a:xfrm>
            <a:custGeom>
              <a:avLst/>
              <a:gdLst>
                <a:gd name="T0" fmla="*/ 28 w 129"/>
                <a:gd name="T1" fmla="*/ 740 h 755"/>
                <a:gd name="T2" fmla="*/ 0 w 129"/>
                <a:gd name="T3" fmla="*/ 740 h 755"/>
                <a:gd name="T4" fmla="*/ 3 w 129"/>
                <a:gd name="T5" fmla="*/ 755 h 755"/>
                <a:gd name="T6" fmla="*/ 30 w 129"/>
                <a:gd name="T7" fmla="*/ 755 h 755"/>
                <a:gd name="T8" fmla="*/ 28 w 129"/>
                <a:gd name="T9" fmla="*/ 740 h 755"/>
                <a:gd name="T10" fmla="*/ 129 w 129"/>
                <a:gd name="T11" fmla="*/ 0 h 755"/>
                <a:gd name="T12" fmla="*/ 89 w 129"/>
                <a:gd name="T13" fmla="*/ 0 h 755"/>
                <a:gd name="T14" fmla="*/ 89 w 129"/>
                <a:gd name="T15" fmla="*/ 739 h 755"/>
                <a:gd name="T16" fmla="*/ 129 w 129"/>
                <a:gd name="T17" fmla="*/ 739 h 755"/>
                <a:gd name="T18" fmla="*/ 129 w 129"/>
                <a:gd name="T19" fmla="*/ 0 h 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9" h="755">
                  <a:moveTo>
                    <a:pt x="28" y="740"/>
                  </a:moveTo>
                  <a:lnTo>
                    <a:pt x="0" y="740"/>
                  </a:lnTo>
                  <a:lnTo>
                    <a:pt x="3" y="755"/>
                  </a:lnTo>
                  <a:lnTo>
                    <a:pt x="30" y="755"/>
                  </a:lnTo>
                  <a:lnTo>
                    <a:pt x="28" y="740"/>
                  </a:lnTo>
                  <a:moveTo>
                    <a:pt x="129" y="0"/>
                  </a:moveTo>
                  <a:lnTo>
                    <a:pt x="89" y="0"/>
                  </a:lnTo>
                  <a:lnTo>
                    <a:pt x="89" y="739"/>
                  </a:lnTo>
                  <a:lnTo>
                    <a:pt x="129" y="739"/>
                  </a:lnTo>
                  <a:lnTo>
                    <a:pt x="12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32" name="Freeform 1584">
              <a:extLst>
                <a:ext uri="{FF2B5EF4-FFF2-40B4-BE49-F238E27FC236}">
                  <a16:creationId xmlns:a16="http://schemas.microsoft.com/office/drawing/2014/main" id="{C5FA85B7-B34F-4086-899B-322FFA319B1D}"/>
                </a:ext>
              </a:extLst>
            </p:cNvPr>
            <p:cNvSpPr>
              <a:spLocks/>
            </p:cNvSpPr>
            <p:nvPr userDrawn="1"/>
          </p:nvSpPr>
          <p:spPr bwMode="auto">
            <a:xfrm>
              <a:off x="7810501" y="3786188"/>
              <a:ext cx="2876550" cy="2209800"/>
            </a:xfrm>
            <a:custGeom>
              <a:avLst/>
              <a:gdLst>
                <a:gd name="T0" fmla="*/ 1449 w 1453"/>
                <a:gd name="T1" fmla="*/ 1117 h 1117"/>
                <a:gd name="T2" fmla="*/ 4 w 1453"/>
                <a:gd name="T3" fmla="*/ 1117 h 1117"/>
                <a:gd name="T4" fmla="*/ 0 w 1453"/>
                <a:gd name="T5" fmla="*/ 1113 h 1117"/>
                <a:gd name="T6" fmla="*/ 0 w 1453"/>
                <a:gd name="T7" fmla="*/ 4 h 1117"/>
                <a:gd name="T8" fmla="*/ 4 w 1453"/>
                <a:gd name="T9" fmla="*/ 0 h 1117"/>
                <a:gd name="T10" fmla="*/ 1449 w 1453"/>
                <a:gd name="T11" fmla="*/ 0 h 1117"/>
                <a:gd name="T12" fmla="*/ 1453 w 1453"/>
                <a:gd name="T13" fmla="*/ 4 h 1117"/>
                <a:gd name="T14" fmla="*/ 1453 w 1453"/>
                <a:gd name="T15" fmla="*/ 1113 h 1117"/>
                <a:gd name="T16" fmla="*/ 1449 w 1453"/>
                <a:gd name="T17" fmla="*/ 1117 h 1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53" h="1117">
                  <a:moveTo>
                    <a:pt x="1449" y="1117"/>
                  </a:moveTo>
                  <a:cubicBezTo>
                    <a:pt x="4" y="1117"/>
                    <a:pt x="4" y="1117"/>
                    <a:pt x="4" y="1117"/>
                  </a:cubicBezTo>
                  <a:cubicBezTo>
                    <a:pt x="2" y="1117"/>
                    <a:pt x="0" y="1115"/>
                    <a:pt x="0" y="1113"/>
                  </a:cubicBezTo>
                  <a:cubicBezTo>
                    <a:pt x="0" y="4"/>
                    <a:pt x="0" y="4"/>
                    <a:pt x="0" y="4"/>
                  </a:cubicBezTo>
                  <a:cubicBezTo>
                    <a:pt x="0" y="2"/>
                    <a:pt x="2" y="0"/>
                    <a:pt x="4" y="0"/>
                  </a:cubicBezTo>
                  <a:cubicBezTo>
                    <a:pt x="1449" y="0"/>
                    <a:pt x="1449" y="0"/>
                    <a:pt x="1449" y="0"/>
                  </a:cubicBezTo>
                  <a:cubicBezTo>
                    <a:pt x="1451" y="0"/>
                    <a:pt x="1453" y="2"/>
                    <a:pt x="1453" y="4"/>
                  </a:cubicBezTo>
                  <a:cubicBezTo>
                    <a:pt x="1453" y="1113"/>
                    <a:pt x="1453" y="1113"/>
                    <a:pt x="1453" y="1113"/>
                  </a:cubicBezTo>
                  <a:cubicBezTo>
                    <a:pt x="1453" y="1115"/>
                    <a:pt x="1451" y="1117"/>
                    <a:pt x="1449" y="1117"/>
                  </a:cubicBezTo>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33" name="Freeform 1585">
              <a:extLst>
                <a:ext uri="{FF2B5EF4-FFF2-40B4-BE49-F238E27FC236}">
                  <a16:creationId xmlns:a16="http://schemas.microsoft.com/office/drawing/2014/main" id="{E6F8DFA4-CC1B-4EEE-9D57-06ED505F117C}"/>
                </a:ext>
              </a:extLst>
            </p:cNvPr>
            <p:cNvSpPr>
              <a:spLocks/>
            </p:cNvSpPr>
            <p:nvPr userDrawn="1"/>
          </p:nvSpPr>
          <p:spPr bwMode="auto">
            <a:xfrm>
              <a:off x="7789863" y="3767138"/>
              <a:ext cx="1192213" cy="2128838"/>
            </a:xfrm>
            <a:custGeom>
              <a:avLst/>
              <a:gdLst>
                <a:gd name="T0" fmla="*/ 20 w 602"/>
                <a:gd name="T1" fmla="*/ 1076 h 1076"/>
                <a:gd name="T2" fmla="*/ 20 w 602"/>
                <a:gd name="T3" fmla="*/ 48 h 1076"/>
                <a:gd name="T4" fmla="*/ 28 w 602"/>
                <a:gd name="T5" fmla="*/ 28 h 1076"/>
                <a:gd name="T6" fmla="*/ 46 w 602"/>
                <a:gd name="T7" fmla="*/ 20 h 1076"/>
                <a:gd name="T8" fmla="*/ 602 w 602"/>
                <a:gd name="T9" fmla="*/ 20 h 1076"/>
                <a:gd name="T10" fmla="*/ 602 w 602"/>
                <a:gd name="T11" fmla="*/ 0 h 1076"/>
                <a:gd name="T12" fmla="*/ 46 w 602"/>
                <a:gd name="T13" fmla="*/ 0 h 1076"/>
                <a:gd name="T14" fmla="*/ 13 w 602"/>
                <a:gd name="T15" fmla="*/ 14 h 1076"/>
                <a:gd name="T16" fmla="*/ 0 w 602"/>
                <a:gd name="T17" fmla="*/ 48 h 1076"/>
                <a:gd name="T18" fmla="*/ 0 w 602"/>
                <a:gd name="T19" fmla="*/ 1076 h 1076"/>
                <a:gd name="T20" fmla="*/ 20 w 602"/>
                <a:gd name="T21" fmla="*/ 1076 h 10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02" h="1076">
                  <a:moveTo>
                    <a:pt x="20" y="1076"/>
                  </a:moveTo>
                  <a:cubicBezTo>
                    <a:pt x="20" y="48"/>
                    <a:pt x="20" y="48"/>
                    <a:pt x="20" y="48"/>
                  </a:cubicBezTo>
                  <a:cubicBezTo>
                    <a:pt x="20" y="40"/>
                    <a:pt x="23" y="33"/>
                    <a:pt x="28" y="28"/>
                  </a:cubicBezTo>
                  <a:cubicBezTo>
                    <a:pt x="33" y="23"/>
                    <a:pt x="39" y="20"/>
                    <a:pt x="46" y="20"/>
                  </a:cubicBezTo>
                  <a:cubicBezTo>
                    <a:pt x="602" y="20"/>
                    <a:pt x="602" y="20"/>
                    <a:pt x="602" y="20"/>
                  </a:cubicBezTo>
                  <a:cubicBezTo>
                    <a:pt x="602" y="0"/>
                    <a:pt x="602" y="0"/>
                    <a:pt x="602" y="0"/>
                  </a:cubicBezTo>
                  <a:cubicBezTo>
                    <a:pt x="46" y="0"/>
                    <a:pt x="46" y="0"/>
                    <a:pt x="46" y="0"/>
                  </a:cubicBezTo>
                  <a:cubicBezTo>
                    <a:pt x="33" y="0"/>
                    <a:pt x="21" y="5"/>
                    <a:pt x="13" y="14"/>
                  </a:cubicBezTo>
                  <a:cubicBezTo>
                    <a:pt x="5" y="23"/>
                    <a:pt x="0" y="35"/>
                    <a:pt x="0" y="48"/>
                  </a:cubicBezTo>
                  <a:cubicBezTo>
                    <a:pt x="0" y="1076"/>
                    <a:pt x="0" y="1076"/>
                    <a:pt x="0" y="1076"/>
                  </a:cubicBezTo>
                  <a:cubicBezTo>
                    <a:pt x="20" y="1076"/>
                    <a:pt x="20" y="1076"/>
                    <a:pt x="20" y="1076"/>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34" name="Freeform 1586">
              <a:extLst>
                <a:ext uri="{FF2B5EF4-FFF2-40B4-BE49-F238E27FC236}">
                  <a16:creationId xmlns:a16="http://schemas.microsoft.com/office/drawing/2014/main" id="{737842D4-3B11-45C0-90A8-6A2D751D764B}"/>
                </a:ext>
              </a:extLst>
            </p:cNvPr>
            <p:cNvSpPr>
              <a:spLocks/>
            </p:cNvSpPr>
            <p:nvPr userDrawn="1"/>
          </p:nvSpPr>
          <p:spPr bwMode="auto">
            <a:xfrm>
              <a:off x="10153651" y="3767138"/>
              <a:ext cx="554038" cy="2249488"/>
            </a:xfrm>
            <a:custGeom>
              <a:avLst/>
              <a:gdLst>
                <a:gd name="T0" fmla="*/ 0 w 280"/>
                <a:gd name="T1" fmla="*/ 20 h 1137"/>
                <a:gd name="T2" fmla="*/ 234 w 280"/>
                <a:gd name="T3" fmla="*/ 20 h 1137"/>
                <a:gd name="T4" fmla="*/ 252 w 280"/>
                <a:gd name="T5" fmla="*/ 28 h 1137"/>
                <a:gd name="T6" fmla="*/ 260 w 280"/>
                <a:gd name="T7" fmla="*/ 48 h 1137"/>
                <a:gd name="T8" fmla="*/ 260 w 280"/>
                <a:gd name="T9" fmla="*/ 1088 h 1137"/>
                <a:gd name="T10" fmla="*/ 252 w 280"/>
                <a:gd name="T11" fmla="*/ 1109 h 1137"/>
                <a:gd name="T12" fmla="*/ 234 w 280"/>
                <a:gd name="T13" fmla="*/ 1117 h 1137"/>
                <a:gd name="T14" fmla="*/ 234 w 280"/>
                <a:gd name="T15" fmla="*/ 1137 h 1137"/>
                <a:gd name="T16" fmla="*/ 267 w 280"/>
                <a:gd name="T17" fmla="*/ 1122 h 1137"/>
                <a:gd name="T18" fmla="*/ 280 w 280"/>
                <a:gd name="T19" fmla="*/ 1088 h 1137"/>
                <a:gd name="T20" fmla="*/ 280 w 280"/>
                <a:gd name="T21" fmla="*/ 48 h 1137"/>
                <a:gd name="T22" fmla="*/ 267 w 280"/>
                <a:gd name="T23" fmla="*/ 14 h 1137"/>
                <a:gd name="T24" fmla="*/ 234 w 280"/>
                <a:gd name="T25" fmla="*/ 0 h 1137"/>
                <a:gd name="T26" fmla="*/ 0 w 280"/>
                <a:gd name="T27" fmla="*/ 0 h 1137"/>
                <a:gd name="T28" fmla="*/ 0 w 280"/>
                <a:gd name="T29" fmla="*/ 20 h 1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80" h="1137">
                  <a:moveTo>
                    <a:pt x="0" y="20"/>
                  </a:moveTo>
                  <a:cubicBezTo>
                    <a:pt x="234" y="20"/>
                    <a:pt x="234" y="20"/>
                    <a:pt x="234" y="20"/>
                  </a:cubicBezTo>
                  <a:cubicBezTo>
                    <a:pt x="241" y="20"/>
                    <a:pt x="247" y="23"/>
                    <a:pt x="252" y="28"/>
                  </a:cubicBezTo>
                  <a:cubicBezTo>
                    <a:pt x="257" y="33"/>
                    <a:pt x="260" y="40"/>
                    <a:pt x="260" y="48"/>
                  </a:cubicBezTo>
                  <a:cubicBezTo>
                    <a:pt x="260" y="1088"/>
                    <a:pt x="260" y="1088"/>
                    <a:pt x="260" y="1088"/>
                  </a:cubicBezTo>
                  <a:cubicBezTo>
                    <a:pt x="260" y="1096"/>
                    <a:pt x="257" y="1103"/>
                    <a:pt x="252" y="1109"/>
                  </a:cubicBezTo>
                  <a:cubicBezTo>
                    <a:pt x="247" y="1114"/>
                    <a:pt x="241" y="1117"/>
                    <a:pt x="234" y="1117"/>
                  </a:cubicBezTo>
                  <a:cubicBezTo>
                    <a:pt x="234" y="1137"/>
                    <a:pt x="234" y="1137"/>
                    <a:pt x="234" y="1137"/>
                  </a:cubicBezTo>
                  <a:cubicBezTo>
                    <a:pt x="247" y="1137"/>
                    <a:pt x="259" y="1131"/>
                    <a:pt x="267" y="1122"/>
                  </a:cubicBezTo>
                  <a:cubicBezTo>
                    <a:pt x="275" y="1114"/>
                    <a:pt x="280" y="1101"/>
                    <a:pt x="280" y="1088"/>
                  </a:cubicBezTo>
                  <a:cubicBezTo>
                    <a:pt x="280" y="48"/>
                    <a:pt x="280" y="48"/>
                    <a:pt x="280" y="48"/>
                  </a:cubicBezTo>
                  <a:cubicBezTo>
                    <a:pt x="280" y="35"/>
                    <a:pt x="275" y="23"/>
                    <a:pt x="267" y="14"/>
                  </a:cubicBezTo>
                  <a:cubicBezTo>
                    <a:pt x="259" y="5"/>
                    <a:pt x="247" y="0"/>
                    <a:pt x="234" y="0"/>
                  </a:cubicBezTo>
                  <a:cubicBezTo>
                    <a:pt x="0" y="0"/>
                    <a:pt x="0" y="0"/>
                    <a:pt x="0" y="0"/>
                  </a:cubicBezTo>
                  <a:cubicBezTo>
                    <a:pt x="0" y="20"/>
                    <a:pt x="0" y="20"/>
                    <a:pt x="0" y="20"/>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35" name="Rectangle 1587">
              <a:extLst>
                <a:ext uri="{FF2B5EF4-FFF2-40B4-BE49-F238E27FC236}">
                  <a16:creationId xmlns:a16="http://schemas.microsoft.com/office/drawing/2014/main" id="{98B4408A-F7C7-4AF5-B1A5-0CB5647E722C}"/>
                </a:ext>
              </a:extLst>
            </p:cNvPr>
            <p:cNvSpPr>
              <a:spLocks noChangeArrowheads="1"/>
            </p:cNvSpPr>
            <p:nvPr userDrawn="1"/>
          </p:nvSpPr>
          <p:spPr bwMode="auto">
            <a:xfrm>
              <a:off x="7948613" y="3960813"/>
              <a:ext cx="2584450" cy="1792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36" name="Rectangle 1588">
              <a:extLst>
                <a:ext uri="{FF2B5EF4-FFF2-40B4-BE49-F238E27FC236}">
                  <a16:creationId xmlns:a16="http://schemas.microsoft.com/office/drawing/2014/main" id="{569E044E-F32F-47B5-BEE3-456724C515F3}"/>
                </a:ext>
              </a:extLst>
            </p:cNvPr>
            <p:cNvSpPr>
              <a:spLocks noChangeArrowheads="1"/>
            </p:cNvSpPr>
            <p:nvPr userDrawn="1"/>
          </p:nvSpPr>
          <p:spPr bwMode="auto">
            <a:xfrm>
              <a:off x="7948613" y="3960813"/>
              <a:ext cx="2584450" cy="1792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37" name="Freeform 1589">
              <a:extLst>
                <a:ext uri="{FF2B5EF4-FFF2-40B4-BE49-F238E27FC236}">
                  <a16:creationId xmlns:a16="http://schemas.microsoft.com/office/drawing/2014/main" id="{B00E5E9B-7B50-41DD-8D69-582EE175DEC5}"/>
                </a:ext>
              </a:extLst>
            </p:cNvPr>
            <p:cNvSpPr>
              <a:spLocks/>
            </p:cNvSpPr>
            <p:nvPr userDrawn="1"/>
          </p:nvSpPr>
          <p:spPr bwMode="auto">
            <a:xfrm>
              <a:off x="7673976" y="5865813"/>
              <a:ext cx="3133725" cy="254000"/>
            </a:xfrm>
            <a:custGeom>
              <a:avLst/>
              <a:gdLst>
                <a:gd name="T0" fmla="*/ 1497 w 1583"/>
                <a:gd name="T1" fmla="*/ 128 h 128"/>
                <a:gd name="T2" fmla="*/ 78 w 1583"/>
                <a:gd name="T3" fmla="*/ 128 h 128"/>
                <a:gd name="T4" fmla="*/ 10 w 1583"/>
                <a:gd name="T5" fmla="*/ 65 h 128"/>
                <a:gd name="T6" fmla="*/ 0 w 1583"/>
                <a:gd name="T7" fmla="*/ 0 h 128"/>
                <a:gd name="T8" fmla="*/ 657 w 1583"/>
                <a:gd name="T9" fmla="*/ 0 h 128"/>
                <a:gd name="T10" fmla="*/ 682 w 1583"/>
                <a:gd name="T11" fmla="*/ 38 h 128"/>
                <a:gd name="T12" fmla="*/ 864 w 1583"/>
                <a:gd name="T13" fmla="*/ 38 h 128"/>
                <a:gd name="T14" fmla="*/ 891 w 1583"/>
                <a:gd name="T15" fmla="*/ 0 h 128"/>
                <a:gd name="T16" fmla="*/ 1583 w 1583"/>
                <a:gd name="T17" fmla="*/ 0 h 128"/>
                <a:gd name="T18" fmla="*/ 1575 w 1583"/>
                <a:gd name="T19" fmla="*/ 57 h 128"/>
                <a:gd name="T20" fmla="*/ 1497 w 1583"/>
                <a:gd name="T21" fmla="*/ 12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83" h="128">
                  <a:moveTo>
                    <a:pt x="1497" y="128"/>
                  </a:moveTo>
                  <a:cubicBezTo>
                    <a:pt x="78" y="128"/>
                    <a:pt x="78" y="128"/>
                    <a:pt x="78" y="128"/>
                  </a:cubicBezTo>
                  <a:cubicBezTo>
                    <a:pt x="44" y="128"/>
                    <a:pt x="15" y="101"/>
                    <a:pt x="10" y="65"/>
                  </a:cubicBezTo>
                  <a:cubicBezTo>
                    <a:pt x="0" y="0"/>
                    <a:pt x="0" y="0"/>
                    <a:pt x="0" y="0"/>
                  </a:cubicBezTo>
                  <a:cubicBezTo>
                    <a:pt x="657" y="0"/>
                    <a:pt x="657" y="0"/>
                    <a:pt x="657" y="0"/>
                  </a:cubicBezTo>
                  <a:cubicBezTo>
                    <a:pt x="682" y="38"/>
                    <a:pt x="682" y="38"/>
                    <a:pt x="682" y="38"/>
                  </a:cubicBezTo>
                  <a:cubicBezTo>
                    <a:pt x="864" y="38"/>
                    <a:pt x="864" y="38"/>
                    <a:pt x="864" y="38"/>
                  </a:cubicBezTo>
                  <a:cubicBezTo>
                    <a:pt x="891" y="0"/>
                    <a:pt x="891" y="0"/>
                    <a:pt x="891" y="0"/>
                  </a:cubicBezTo>
                  <a:cubicBezTo>
                    <a:pt x="1583" y="0"/>
                    <a:pt x="1583" y="0"/>
                    <a:pt x="1583" y="0"/>
                  </a:cubicBezTo>
                  <a:cubicBezTo>
                    <a:pt x="1575" y="57"/>
                    <a:pt x="1575" y="57"/>
                    <a:pt x="1575" y="57"/>
                  </a:cubicBezTo>
                  <a:cubicBezTo>
                    <a:pt x="1568" y="98"/>
                    <a:pt x="1535" y="128"/>
                    <a:pt x="1497" y="12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38" name="Freeform 1590">
              <a:extLst>
                <a:ext uri="{FF2B5EF4-FFF2-40B4-BE49-F238E27FC236}">
                  <a16:creationId xmlns:a16="http://schemas.microsoft.com/office/drawing/2014/main" id="{370DBB46-BC59-4F73-B4F7-3C5C07D3CE6A}"/>
                </a:ext>
              </a:extLst>
            </p:cNvPr>
            <p:cNvSpPr>
              <a:spLocks/>
            </p:cNvSpPr>
            <p:nvPr userDrawn="1"/>
          </p:nvSpPr>
          <p:spPr bwMode="auto">
            <a:xfrm>
              <a:off x="7650163" y="5845175"/>
              <a:ext cx="3181350" cy="293688"/>
            </a:xfrm>
            <a:custGeom>
              <a:avLst/>
              <a:gdLst>
                <a:gd name="T0" fmla="*/ 1509 w 1607"/>
                <a:gd name="T1" fmla="*/ 139 h 149"/>
                <a:gd name="T2" fmla="*/ 1509 w 1607"/>
                <a:gd name="T3" fmla="*/ 129 h 149"/>
                <a:gd name="T4" fmla="*/ 90 w 1607"/>
                <a:gd name="T5" fmla="*/ 129 h 149"/>
                <a:gd name="T6" fmla="*/ 52 w 1607"/>
                <a:gd name="T7" fmla="*/ 114 h 149"/>
                <a:gd name="T8" fmla="*/ 32 w 1607"/>
                <a:gd name="T9" fmla="*/ 75 h 149"/>
                <a:gd name="T10" fmla="*/ 23 w 1607"/>
                <a:gd name="T11" fmla="*/ 21 h 149"/>
                <a:gd name="T12" fmla="*/ 663 w 1607"/>
                <a:gd name="T13" fmla="*/ 21 h 149"/>
                <a:gd name="T14" fmla="*/ 689 w 1607"/>
                <a:gd name="T15" fmla="*/ 59 h 149"/>
                <a:gd name="T16" fmla="*/ 881 w 1607"/>
                <a:gd name="T17" fmla="*/ 59 h 149"/>
                <a:gd name="T18" fmla="*/ 908 w 1607"/>
                <a:gd name="T19" fmla="*/ 21 h 149"/>
                <a:gd name="T20" fmla="*/ 1584 w 1607"/>
                <a:gd name="T21" fmla="*/ 21 h 149"/>
                <a:gd name="T22" fmla="*/ 1577 w 1607"/>
                <a:gd name="T23" fmla="*/ 66 h 149"/>
                <a:gd name="T24" fmla="*/ 1553 w 1607"/>
                <a:gd name="T25" fmla="*/ 111 h 149"/>
                <a:gd name="T26" fmla="*/ 1509 w 1607"/>
                <a:gd name="T27" fmla="*/ 129 h 149"/>
                <a:gd name="T28" fmla="*/ 1509 w 1607"/>
                <a:gd name="T29" fmla="*/ 139 h 149"/>
                <a:gd name="T30" fmla="*/ 1509 w 1607"/>
                <a:gd name="T31" fmla="*/ 149 h 149"/>
                <a:gd name="T32" fmla="*/ 1567 w 1607"/>
                <a:gd name="T33" fmla="*/ 126 h 149"/>
                <a:gd name="T34" fmla="*/ 1597 w 1607"/>
                <a:gd name="T35" fmla="*/ 69 h 149"/>
                <a:gd name="T36" fmla="*/ 1607 w 1607"/>
                <a:gd name="T37" fmla="*/ 0 h 149"/>
                <a:gd name="T38" fmla="*/ 898 w 1607"/>
                <a:gd name="T39" fmla="*/ 0 h 149"/>
                <a:gd name="T40" fmla="*/ 871 w 1607"/>
                <a:gd name="T41" fmla="*/ 39 h 149"/>
                <a:gd name="T42" fmla="*/ 700 w 1607"/>
                <a:gd name="T43" fmla="*/ 39 h 149"/>
                <a:gd name="T44" fmla="*/ 674 w 1607"/>
                <a:gd name="T45" fmla="*/ 0 h 149"/>
                <a:gd name="T46" fmla="*/ 0 w 1607"/>
                <a:gd name="T47" fmla="*/ 0 h 149"/>
                <a:gd name="T48" fmla="*/ 12 w 1607"/>
                <a:gd name="T49" fmla="*/ 78 h 149"/>
                <a:gd name="T50" fmla="*/ 38 w 1607"/>
                <a:gd name="T51" fmla="*/ 129 h 149"/>
                <a:gd name="T52" fmla="*/ 90 w 1607"/>
                <a:gd name="T53" fmla="*/ 149 h 149"/>
                <a:gd name="T54" fmla="*/ 1509 w 1607"/>
                <a:gd name="T55" fmla="*/ 149 h 149"/>
                <a:gd name="T56" fmla="*/ 1509 w 1607"/>
                <a:gd name="T57" fmla="*/ 139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07" h="149">
                  <a:moveTo>
                    <a:pt x="1509" y="139"/>
                  </a:moveTo>
                  <a:cubicBezTo>
                    <a:pt x="1509" y="129"/>
                    <a:pt x="1509" y="129"/>
                    <a:pt x="1509" y="129"/>
                  </a:cubicBezTo>
                  <a:cubicBezTo>
                    <a:pt x="90" y="129"/>
                    <a:pt x="90" y="129"/>
                    <a:pt x="90" y="129"/>
                  </a:cubicBezTo>
                  <a:cubicBezTo>
                    <a:pt x="76" y="129"/>
                    <a:pt x="63" y="123"/>
                    <a:pt x="52" y="114"/>
                  </a:cubicBezTo>
                  <a:cubicBezTo>
                    <a:pt x="42" y="104"/>
                    <a:pt x="34" y="91"/>
                    <a:pt x="32" y="75"/>
                  </a:cubicBezTo>
                  <a:cubicBezTo>
                    <a:pt x="23" y="21"/>
                    <a:pt x="23" y="21"/>
                    <a:pt x="23" y="21"/>
                  </a:cubicBezTo>
                  <a:cubicBezTo>
                    <a:pt x="663" y="21"/>
                    <a:pt x="663" y="21"/>
                    <a:pt x="663" y="21"/>
                  </a:cubicBezTo>
                  <a:cubicBezTo>
                    <a:pt x="689" y="59"/>
                    <a:pt x="689" y="59"/>
                    <a:pt x="689" y="59"/>
                  </a:cubicBezTo>
                  <a:cubicBezTo>
                    <a:pt x="881" y="59"/>
                    <a:pt x="881" y="59"/>
                    <a:pt x="881" y="59"/>
                  </a:cubicBezTo>
                  <a:cubicBezTo>
                    <a:pt x="908" y="21"/>
                    <a:pt x="908" y="21"/>
                    <a:pt x="908" y="21"/>
                  </a:cubicBezTo>
                  <a:cubicBezTo>
                    <a:pt x="1584" y="21"/>
                    <a:pt x="1584" y="21"/>
                    <a:pt x="1584" y="21"/>
                  </a:cubicBezTo>
                  <a:cubicBezTo>
                    <a:pt x="1577" y="66"/>
                    <a:pt x="1577" y="66"/>
                    <a:pt x="1577" y="66"/>
                  </a:cubicBezTo>
                  <a:cubicBezTo>
                    <a:pt x="1574" y="85"/>
                    <a:pt x="1565" y="100"/>
                    <a:pt x="1553" y="111"/>
                  </a:cubicBezTo>
                  <a:cubicBezTo>
                    <a:pt x="1541" y="122"/>
                    <a:pt x="1525" y="129"/>
                    <a:pt x="1509" y="129"/>
                  </a:cubicBezTo>
                  <a:cubicBezTo>
                    <a:pt x="1509" y="139"/>
                    <a:pt x="1509" y="139"/>
                    <a:pt x="1509" y="139"/>
                  </a:cubicBezTo>
                  <a:cubicBezTo>
                    <a:pt x="1509" y="149"/>
                    <a:pt x="1509" y="149"/>
                    <a:pt x="1509" y="149"/>
                  </a:cubicBezTo>
                  <a:cubicBezTo>
                    <a:pt x="1531" y="149"/>
                    <a:pt x="1551" y="140"/>
                    <a:pt x="1567" y="126"/>
                  </a:cubicBezTo>
                  <a:cubicBezTo>
                    <a:pt x="1582" y="112"/>
                    <a:pt x="1593" y="92"/>
                    <a:pt x="1597" y="69"/>
                  </a:cubicBezTo>
                  <a:cubicBezTo>
                    <a:pt x="1607" y="0"/>
                    <a:pt x="1607" y="0"/>
                    <a:pt x="1607" y="0"/>
                  </a:cubicBezTo>
                  <a:cubicBezTo>
                    <a:pt x="898" y="0"/>
                    <a:pt x="898" y="0"/>
                    <a:pt x="898" y="0"/>
                  </a:cubicBezTo>
                  <a:cubicBezTo>
                    <a:pt x="871" y="39"/>
                    <a:pt x="871" y="39"/>
                    <a:pt x="871" y="39"/>
                  </a:cubicBezTo>
                  <a:cubicBezTo>
                    <a:pt x="700" y="39"/>
                    <a:pt x="700" y="39"/>
                    <a:pt x="700" y="39"/>
                  </a:cubicBezTo>
                  <a:cubicBezTo>
                    <a:pt x="674" y="0"/>
                    <a:pt x="674" y="0"/>
                    <a:pt x="674" y="0"/>
                  </a:cubicBezTo>
                  <a:cubicBezTo>
                    <a:pt x="0" y="0"/>
                    <a:pt x="0" y="0"/>
                    <a:pt x="0" y="0"/>
                  </a:cubicBezTo>
                  <a:cubicBezTo>
                    <a:pt x="12" y="78"/>
                    <a:pt x="12" y="78"/>
                    <a:pt x="12" y="78"/>
                  </a:cubicBezTo>
                  <a:cubicBezTo>
                    <a:pt x="15" y="98"/>
                    <a:pt x="25" y="116"/>
                    <a:pt x="38" y="129"/>
                  </a:cubicBezTo>
                  <a:cubicBezTo>
                    <a:pt x="52" y="141"/>
                    <a:pt x="71" y="149"/>
                    <a:pt x="90" y="149"/>
                  </a:cubicBezTo>
                  <a:cubicBezTo>
                    <a:pt x="1509" y="149"/>
                    <a:pt x="1509" y="149"/>
                    <a:pt x="1509" y="149"/>
                  </a:cubicBezTo>
                  <a:cubicBezTo>
                    <a:pt x="1509" y="139"/>
                    <a:pt x="1509" y="139"/>
                    <a:pt x="1509" y="139"/>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39" name="Freeform 1591">
              <a:extLst>
                <a:ext uri="{FF2B5EF4-FFF2-40B4-BE49-F238E27FC236}">
                  <a16:creationId xmlns:a16="http://schemas.microsoft.com/office/drawing/2014/main" id="{5439560A-2E8E-4722-9A52-47661F8E91D0}"/>
                </a:ext>
              </a:extLst>
            </p:cNvPr>
            <p:cNvSpPr>
              <a:spLocks noEditPoints="1"/>
            </p:cNvSpPr>
            <p:nvPr userDrawn="1"/>
          </p:nvSpPr>
          <p:spPr bwMode="auto">
            <a:xfrm>
              <a:off x="8797926" y="4411663"/>
              <a:ext cx="849313" cy="908050"/>
            </a:xfrm>
            <a:custGeom>
              <a:avLst/>
              <a:gdLst>
                <a:gd name="T0" fmla="*/ 407 w 429"/>
                <a:gd name="T1" fmla="*/ 192 h 459"/>
                <a:gd name="T2" fmla="*/ 372 w 429"/>
                <a:gd name="T3" fmla="*/ 192 h 459"/>
                <a:gd name="T4" fmla="*/ 351 w 429"/>
                <a:gd name="T5" fmla="*/ 138 h 459"/>
                <a:gd name="T6" fmla="*/ 375 w 429"/>
                <a:gd name="T7" fmla="*/ 112 h 459"/>
                <a:gd name="T8" fmla="*/ 376 w 429"/>
                <a:gd name="T9" fmla="*/ 78 h 459"/>
                <a:gd name="T10" fmla="*/ 357 w 429"/>
                <a:gd name="T11" fmla="*/ 58 h 459"/>
                <a:gd name="T12" fmla="*/ 325 w 429"/>
                <a:gd name="T13" fmla="*/ 58 h 459"/>
                <a:gd name="T14" fmla="*/ 300 w 429"/>
                <a:gd name="T15" fmla="*/ 84 h 459"/>
                <a:gd name="T16" fmla="*/ 250 w 429"/>
                <a:gd name="T17" fmla="*/ 62 h 459"/>
                <a:gd name="T18" fmla="*/ 250 w 429"/>
                <a:gd name="T19" fmla="*/ 24 h 459"/>
                <a:gd name="T20" fmla="*/ 228 w 429"/>
                <a:gd name="T21" fmla="*/ 0 h 459"/>
                <a:gd name="T22" fmla="*/ 201 w 429"/>
                <a:gd name="T23" fmla="*/ 0 h 459"/>
                <a:gd name="T24" fmla="*/ 179 w 429"/>
                <a:gd name="T25" fmla="*/ 24 h 459"/>
                <a:gd name="T26" fmla="*/ 179 w 429"/>
                <a:gd name="T27" fmla="*/ 62 h 459"/>
                <a:gd name="T28" fmla="*/ 129 w 429"/>
                <a:gd name="T29" fmla="*/ 84 h 459"/>
                <a:gd name="T30" fmla="*/ 105 w 429"/>
                <a:gd name="T31" fmla="*/ 57 h 459"/>
                <a:gd name="T32" fmla="*/ 73 w 429"/>
                <a:gd name="T33" fmla="*/ 57 h 459"/>
                <a:gd name="T34" fmla="*/ 54 w 429"/>
                <a:gd name="T35" fmla="*/ 77 h 459"/>
                <a:gd name="T36" fmla="*/ 54 w 429"/>
                <a:gd name="T37" fmla="*/ 111 h 459"/>
                <a:gd name="T38" fmla="*/ 79 w 429"/>
                <a:gd name="T39" fmla="*/ 137 h 459"/>
                <a:gd name="T40" fmla="*/ 57 w 429"/>
                <a:gd name="T41" fmla="*/ 191 h 459"/>
                <a:gd name="T42" fmla="*/ 23 w 429"/>
                <a:gd name="T43" fmla="*/ 191 h 459"/>
                <a:gd name="T44" fmla="*/ 0 w 429"/>
                <a:gd name="T45" fmla="*/ 215 h 459"/>
                <a:gd name="T46" fmla="*/ 0 w 429"/>
                <a:gd name="T47" fmla="*/ 243 h 459"/>
                <a:gd name="T48" fmla="*/ 22 w 429"/>
                <a:gd name="T49" fmla="*/ 267 h 459"/>
                <a:gd name="T50" fmla="*/ 57 w 429"/>
                <a:gd name="T51" fmla="*/ 267 h 459"/>
                <a:gd name="T52" fmla="*/ 78 w 429"/>
                <a:gd name="T53" fmla="*/ 321 h 459"/>
                <a:gd name="T54" fmla="*/ 53 w 429"/>
                <a:gd name="T55" fmla="*/ 348 h 459"/>
                <a:gd name="T56" fmla="*/ 53 w 429"/>
                <a:gd name="T57" fmla="*/ 382 h 459"/>
                <a:gd name="T58" fmla="*/ 71 w 429"/>
                <a:gd name="T59" fmla="*/ 401 h 459"/>
                <a:gd name="T60" fmla="*/ 103 w 429"/>
                <a:gd name="T61" fmla="*/ 402 h 459"/>
                <a:gd name="T62" fmla="*/ 128 w 429"/>
                <a:gd name="T63" fmla="*/ 375 h 459"/>
                <a:gd name="T64" fmla="*/ 178 w 429"/>
                <a:gd name="T65" fmla="*/ 398 h 459"/>
                <a:gd name="T66" fmla="*/ 178 w 429"/>
                <a:gd name="T67" fmla="*/ 435 h 459"/>
                <a:gd name="T68" fmla="*/ 201 w 429"/>
                <a:gd name="T69" fmla="*/ 459 h 459"/>
                <a:gd name="T70" fmla="*/ 227 w 429"/>
                <a:gd name="T71" fmla="*/ 459 h 459"/>
                <a:gd name="T72" fmla="*/ 250 w 429"/>
                <a:gd name="T73" fmla="*/ 435 h 459"/>
                <a:gd name="T74" fmla="*/ 250 w 429"/>
                <a:gd name="T75" fmla="*/ 398 h 459"/>
                <a:gd name="T76" fmla="*/ 300 w 429"/>
                <a:gd name="T77" fmla="*/ 376 h 459"/>
                <a:gd name="T78" fmla="*/ 325 w 429"/>
                <a:gd name="T79" fmla="*/ 402 h 459"/>
                <a:gd name="T80" fmla="*/ 357 w 429"/>
                <a:gd name="T81" fmla="*/ 402 h 459"/>
                <a:gd name="T82" fmla="*/ 375 w 429"/>
                <a:gd name="T83" fmla="*/ 383 h 459"/>
                <a:gd name="T84" fmla="*/ 375 w 429"/>
                <a:gd name="T85" fmla="*/ 349 h 459"/>
                <a:gd name="T86" fmla="*/ 351 w 429"/>
                <a:gd name="T87" fmla="*/ 322 h 459"/>
                <a:gd name="T88" fmla="*/ 372 w 429"/>
                <a:gd name="T89" fmla="*/ 268 h 459"/>
                <a:gd name="T90" fmla="*/ 406 w 429"/>
                <a:gd name="T91" fmla="*/ 268 h 459"/>
                <a:gd name="T92" fmla="*/ 429 w 429"/>
                <a:gd name="T93" fmla="*/ 244 h 459"/>
                <a:gd name="T94" fmla="*/ 429 w 429"/>
                <a:gd name="T95" fmla="*/ 216 h 459"/>
                <a:gd name="T96" fmla="*/ 407 w 429"/>
                <a:gd name="T97" fmla="*/ 192 h 459"/>
                <a:gd name="T98" fmla="*/ 214 w 429"/>
                <a:gd name="T99" fmla="*/ 307 h 459"/>
                <a:gd name="T100" fmla="*/ 143 w 429"/>
                <a:gd name="T101" fmla="*/ 230 h 459"/>
                <a:gd name="T102" fmla="*/ 214 w 429"/>
                <a:gd name="T103" fmla="*/ 153 h 459"/>
                <a:gd name="T104" fmla="*/ 286 w 429"/>
                <a:gd name="T105" fmla="*/ 230 h 459"/>
                <a:gd name="T106" fmla="*/ 214 w 429"/>
                <a:gd name="T107" fmla="*/ 307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29" h="459">
                  <a:moveTo>
                    <a:pt x="407" y="192"/>
                  </a:moveTo>
                  <a:cubicBezTo>
                    <a:pt x="372" y="192"/>
                    <a:pt x="372" y="192"/>
                    <a:pt x="372" y="192"/>
                  </a:cubicBezTo>
                  <a:cubicBezTo>
                    <a:pt x="368" y="173"/>
                    <a:pt x="360" y="154"/>
                    <a:pt x="351" y="138"/>
                  </a:cubicBezTo>
                  <a:cubicBezTo>
                    <a:pt x="375" y="112"/>
                    <a:pt x="375" y="112"/>
                    <a:pt x="375" y="112"/>
                  </a:cubicBezTo>
                  <a:cubicBezTo>
                    <a:pt x="384" y="102"/>
                    <a:pt x="384" y="87"/>
                    <a:pt x="376" y="78"/>
                  </a:cubicBezTo>
                  <a:cubicBezTo>
                    <a:pt x="357" y="58"/>
                    <a:pt x="357" y="58"/>
                    <a:pt x="357" y="58"/>
                  </a:cubicBezTo>
                  <a:cubicBezTo>
                    <a:pt x="348" y="48"/>
                    <a:pt x="334" y="48"/>
                    <a:pt x="325" y="58"/>
                  </a:cubicBezTo>
                  <a:cubicBezTo>
                    <a:pt x="300" y="84"/>
                    <a:pt x="300" y="84"/>
                    <a:pt x="300" y="84"/>
                  </a:cubicBezTo>
                  <a:cubicBezTo>
                    <a:pt x="285" y="74"/>
                    <a:pt x="268" y="66"/>
                    <a:pt x="250" y="62"/>
                  </a:cubicBezTo>
                  <a:cubicBezTo>
                    <a:pt x="250" y="24"/>
                    <a:pt x="250" y="24"/>
                    <a:pt x="250" y="24"/>
                  </a:cubicBezTo>
                  <a:cubicBezTo>
                    <a:pt x="250" y="11"/>
                    <a:pt x="240" y="0"/>
                    <a:pt x="228" y="0"/>
                  </a:cubicBezTo>
                  <a:cubicBezTo>
                    <a:pt x="201" y="0"/>
                    <a:pt x="201" y="0"/>
                    <a:pt x="201" y="0"/>
                  </a:cubicBezTo>
                  <a:cubicBezTo>
                    <a:pt x="189" y="0"/>
                    <a:pt x="179" y="11"/>
                    <a:pt x="179" y="24"/>
                  </a:cubicBezTo>
                  <a:cubicBezTo>
                    <a:pt x="179" y="62"/>
                    <a:pt x="179" y="62"/>
                    <a:pt x="179" y="62"/>
                  </a:cubicBezTo>
                  <a:cubicBezTo>
                    <a:pt x="161" y="66"/>
                    <a:pt x="144" y="74"/>
                    <a:pt x="129" y="84"/>
                  </a:cubicBezTo>
                  <a:cubicBezTo>
                    <a:pt x="105" y="57"/>
                    <a:pt x="105" y="57"/>
                    <a:pt x="105" y="57"/>
                  </a:cubicBezTo>
                  <a:cubicBezTo>
                    <a:pt x="96" y="48"/>
                    <a:pt x="82" y="47"/>
                    <a:pt x="73" y="57"/>
                  </a:cubicBezTo>
                  <a:cubicBezTo>
                    <a:pt x="54" y="77"/>
                    <a:pt x="54" y="77"/>
                    <a:pt x="54" y="77"/>
                  </a:cubicBezTo>
                  <a:cubicBezTo>
                    <a:pt x="45" y="86"/>
                    <a:pt x="45" y="101"/>
                    <a:pt x="54" y="111"/>
                  </a:cubicBezTo>
                  <a:cubicBezTo>
                    <a:pt x="79" y="137"/>
                    <a:pt x="79" y="137"/>
                    <a:pt x="79" y="137"/>
                  </a:cubicBezTo>
                  <a:cubicBezTo>
                    <a:pt x="69" y="154"/>
                    <a:pt x="62" y="172"/>
                    <a:pt x="57" y="191"/>
                  </a:cubicBezTo>
                  <a:cubicBezTo>
                    <a:pt x="23" y="191"/>
                    <a:pt x="23" y="191"/>
                    <a:pt x="23" y="191"/>
                  </a:cubicBezTo>
                  <a:cubicBezTo>
                    <a:pt x="10" y="191"/>
                    <a:pt x="0" y="202"/>
                    <a:pt x="0" y="215"/>
                  </a:cubicBezTo>
                  <a:cubicBezTo>
                    <a:pt x="0" y="243"/>
                    <a:pt x="0" y="243"/>
                    <a:pt x="0" y="243"/>
                  </a:cubicBezTo>
                  <a:cubicBezTo>
                    <a:pt x="0" y="256"/>
                    <a:pt x="10" y="267"/>
                    <a:pt x="22" y="267"/>
                  </a:cubicBezTo>
                  <a:cubicBezTo>
                    <a:pt x="57" y="267"/>
                    <a:pt x="57" y="267"/>
                    <a:pt x="57" y="267"/>
                  </a:cubicBezTo>
                  <a:cubicBezTo>
                    <a:pt x="61" y="287"/>
                    <a:pt x="68" y="305"/>
                    <a:pt x="78" y="321"/>
                  </a:cubicBezTo>
                  <a:cubicBezTo>
                    <a:pt x="53" y="348"/>
                    <a:pt x="53" y="348"/>
                    <a:pt x="53" y="348"/>
                  </a:cubicBezTo>
                  <a:cubicBezTo>
                    <a:pt x="44" y="357"/>
                    <a:pt x="44" y="372"/>
                    <a:pt x="53" y="382"/>
                  </a:cubicBezTo>
                  <a:cubicBezTo>
                    <a:pt x="71" y="401"/>
                    <a:pt x="71" y="401"/>
                    <a:pt x="71" y="401"/>
                  </a:cubicBezTo>
                  <a:cubicBezTo>
                    <a:pt x="80" y="411"/>
                    <a:pt x="94" y="411"/>
                    <a:pt x="103" y="402"/>
                  </a:cubicBezTo>
                  <a:cubicBezTo>
                    <a:pt x="128" y="375"/>
                    <a:pt x="128" y="375"/>
                    <a:pt x="128" y="375"/>
                  </a:cubicBezTo>
                  <a:cubicBezTo>
                    <a:pt x="143" y="386"/>
                    <a:pt x="160" y="393"/>
                    <a:pt x="178" y="398"/>
                  </a:cubicBezTo>
                  <a:cubicBezTo>
                    <a:pt x="178" y="435"/>
                    <a:pt x="178" y="435"/>
                    <a:pt x="178" y="435"/>
                  </a:cubicBezTo>
                  <a:cubicBezTo>
                    <a:pt x="178" y="448"/>
                    <a:pt x="188" y="459"/>
                    <a:pt x="201" y="459"/>
                  </a:cubicBezTo>
                  <a:cubicBezTo>
                    <a:pt x="227" y="459"/>
                    <a:pt x="227" y="459"/>
                    <a:pt x="227" y="459"/>
                  </a:cubicBezTo>
                  <a:cubicBezTo>
                    <a:pt x="239" y="459"/>
                    <a:pt x="250" y="449"/>
                    <a:pt x="250" y="435"/>
                  </a:cubicBezTo>
                  <a:cubicBezTo>
                    <a:pt x="250" y="398"/>
                    <a:pt x="250" y="398"/>
                    <a:pt x="250" y="398"/>
                  </a:cubicBezTo>
                  <a:cubicBezTo>
                    <a:pt x="268" y="394"/>
                    <a:pt x="285" y="386"/>
                    <a:pt x="300" y="376"/>
                  </a:cubicBezTo>
                  <a:cubicBezTo>
                    <a:pt x="325" y="402"/>
                    <a:pt x="325" y="402"/>
                    <a:pt x="325" y="402"/>
                  </a:cubicBezTo>
                  <a:cubicBezTo>
                    <a:pt x="333" y="412"/>
                    <a:pt x="348" y="412"/>
                    <a:pt x="357" y="402"/>
                  </a:cubicBezTo>
                  <a:cubicBezTo>
                    <a:pt x="375" y="383"/>
                    <a:pt x="375" y="383"/>
                    <a:pt x="375" y="383"/>
                  </a:cubicBezTo>
                  <a:cubicBezTo>
                    <a:pt x="384" y="373"/>
                    <a:pt x="384" y="358"/>
                    <a:pt x="375" y="349"/>
                  </a:cubicBezTo>
                  <a:cubicBezTo>
                    <a:pt x="351" y="322"/>
                    <a:pt x="351" y="322"/>
                    <a:pt x="351" y="322"/>
                  </a:cubicBezTo>
                  <a:cubicBezTo>
                    <a:pt x="360" y="306"/>
                    <a:pt x="367" y="288"/>
                    <a:pt x="372" y="268"/>
                  </a:cubicBezTo>
                  <a:cubicBezTo>
                    <a:pt x="406" y="268"/>
                    <a:pt x="406" y="268"/>
                    <a:pt x="406" y="268"/>
                  </a:cubicBezTo>
                  <a:cubicBezTo>
                    <a:pt x="419" y="268"/>
                    <a:pt x="429" y="258"/>
                    <a:pt x="429" y="244"/>
                  </a:cubicBezTo>
                  <a:cubicBezTo>
                    <a:pt x="429" y="216"/>
                    <a:pt x="429" y="216"/>
                    <a:pt x="429" y="216"/>
                  </a:cubicBezTo>
                  <a:cubicBezTo>
                    <a:pt x="429" y="203"/>
                    <a:pt x="419" y="192"/>
                    <a:pt x="407" y="192"/>
                  </a:cubicBezTo>
                  <a:close/>
                  <a:moveTo>
                    <a:pt x="214" y="307"/>
                  </a:moveTo>
                  <a:cubicBezTo>
                    <a:pt x="175" y="307"/>
                    <a:pt x="143" y="272"/>
                    <a:pt x="143" y="230"/>
                  </a:cubicBezTo>
                  <a:cubicBezTo>
                    <a:pt x="143" y="188"/>
                    <a:pt x="175" y="153"/>
                    <a:pt x="214" y="153"/>
                  </a:cubicBezTo>
                  <a:cubicBezTo>
                    <a:pt x="254" y="153"/>
                    <a:pt x="286" y="188"/>
                    <a:pt x="286" y="230"/>
                  </a:cubicBezTo>
                  <a:cubicBezTo>
                    <a:pt x="286" y="272"/>
                    <a:pt x="254" y="307"/>
                    <a:pt x="214" y="307"/>
                  </a:cubicBezTo>
                  <a:close/>
                </a:path>
              </a:pathLst>
            </a:custGeom>
            <a:solidFill>
              <a:schemeClr val="accent2">
                <a:lumMod val="60000"/>
                <a:lumOff val="4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40" name="Freeform 1592">
              <a:extLst>
                <a:ext uri="{FF2B5EF4-FFF2-40B4-BE49-F238E27FC236}">
                  <a16:creationId xmlns:a16="http://schemas.microsoft.com/office/drawing/2014/main" id="{B0B28958-61CD-4A8B-B806-06E314A2FED9}"/>
                </a:ext>
              </a:extLst>
            </p:cNvPr>
            <p:cNvSpPr>
              <a:spLocks/>
            </p:cNvSpPr>
            <p:nvPr userDrawn="1"/>
          </p:nvSpPr>
          <p:spPr bwMode="auto">
            <a:xfrm>
              <a:off x="9747251" y="4922838"/>
              <a:ext cx="46038" cy="52388"/>
            </a:xfrm>
            <a:custGeom>
              <a:avLst/>
              <a:gdLst>
                <a:gd name="T0" fmla="*/ 3 w 23"/>
                <a:gd name="T1" fmla="*/ 0 h 27"/>
                <a:gd name="T2" fmla="*/ 0 w 23"/>
                <a:gd name="T3" fmla="*/ 23 h 27"/>
                <a:gd name="T4" fmla="*/ 20 w 23"/>
                <a:gd name="T5" fmla="*/ 27 h 27"/>
                <a:gd name="T6" fmla="*/ 23 w 23"/>
                <a:gd name="T7" fmla="*/ 2 h 27"/>
                <a:gd name="T8" fmla="*/ 3 w 23"/>
                <a:gd name="T9" fmla="*/ 0 h 27"/>
              </a:gdLst>
              <a:ahLst/>
              <a:cxnLst>
                <a:cxn ang="0">
                  <a:pos x="T0" y="T1"/>
                </a:cxn>
                <a:cxn ang="0">
                  <a:pos x="T2" y="T3"/>
                </a:cxn>
                <a:cxn ang="0">
                  <a:pos x="T4" y="T5"/>
                </a:cxn>
                <a:cxn ang="0">
                  <a:pos x="T6" y="T7"/>
                </a:cxn>
                <a:cxn ang="0">
                  <a:pos x="T8" y="T9"/>
                </a:cxn>
              </a:cxnLst>
              <a:rect l="0" t="0" r="r" b="b"/>
              <a:pathLst>
                <a:path w="23" h="27">
                  <a:moveTo>
                    <a:pt x="3" y="0"/>
                  </a:moveTo>
                  <a:cubicBezTo>
                    <a:pt x="2" y="8"/>
                    <a:pt x="1" y="15"/>
                    <a:pt x="0" y="23"/>
                  </a:cubicBezTo>
                  <a:cubicBezTo>
                    <a:pt x="20" y="27"/>
                    <a:pt x="20" y="27"/>
                    <a:pt x="20" y="27"/>
                  </a:cubicBezTo>
                  <a:cubicBezTo>
                    <a:pt x="21" y="19"/>
                    <a:pt x="23" y="10"/>
                    <a:pt x="23" y="2"/>
                  </a:cubicBezTo>
                  <a:cubicBezTo>
                    <a:pt x="3" y="0"/>
                    <a:pt x="3" y="0"/>
                    <a:pt x="3"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41" name="Freeform 1593">
              <a:extLst>
                <a:ext uri="{FF2B5EF4-FFF2-40B4-BE49-F238E27FC236}">
                  <a16:creationId xmlns:a16="http://schemas.microsoft.com/office/drawing/2014/main" id="{6430440F-0008-462F-B923-E592E371CCD9}"/>
                </a:ext>
              </a:extLst>
            </p:cNvPr>
            <p:cNvSpPr>
              <a:spLocks noEditPoints="1"/>
            </p:cNvSpPr>
            <p:nvPr userDrawn="1"/>
          </p:nvSpPr>
          <p:spPr bwMode="auto">
            <a:xfrm>
              <a:off x="8685213" y="4733925"/>
              <a:ext cx="1073150" cy="714375"/>
            </a:xfrm>
            <a:custGeom>
              <a:avLst/>
              <a:gdLst>
                <a:gd name="T0" fmla="*/ 20 w 542"/>
                <a:gd name="T1" fmla="*/ 58 h 361"/>
                <a:gd name="T2" fmla="*/ 26 w 542"/>
                <a:gd name="T3" fmla="*/ 4 h 361"/>
                <a:gd name="T4" fmla="*/ 6 w 542"/>
                <a:gd name="T5" fmla="*/ 0 h 361"/>
                <a:gd name="T6" fmla="*/ 0 w 542"/>
                <a:gd name="T7" fmla="*/ 57 h 361"/>
                <a:gd name="T8" fmla="*/ 20 w 542"/>
                <a:gd name="T9" fmla="*/ 58 h 361"/>
                <a:gd name="T10" fmla="*/ 37 w 542"/>
                <a:gd name="T11" fmla="*/ 163 h 361"/>
                <a:gd name="T12" fmla="*/ 24 w 542"/>
                <a:gd name="T13" fmla="*/ 111 h 361"/>
                <a:gd name="T14" fmla="*/ 4 w 542"/>
                <a:gd name="T15" fmla="*/ 114 h 361"/>
                <a:gd name="T16" fmla="*/ 18 w 542"/>
                <a:gd name="T17" fmla="*/ 170 h 361"/>
                <a:gd name="T18" fmla="*/ 37 w 542"/>
                <a:gd name="T19" fmla="*/ 163 h 361"/>
                <a:gd name="T20" fmla="*/ 92 w 542"/>
                <a:gd name="T21" fmla="*/ 254 h 361"/>
                <a:gd name="T22" fmla="*/ 60 w 542"/>
                <a:gd name="T23" fmla="*/ 211 h 361"/>
                <a:gd name="T24" fmla="*/ 43 w 542"/>
                <a:gd name="T25" fmla="*/ 221 h 361"/>
                <a:gd name="T26" fmla="*/ 76 w 542"/>
                <a:gd name="T27" fmla="*/ 268 h 361"/>
                <a:gd name="T28" fmla="*/ 92 w 542"/>
                <a:gd name="T29" fmla="*/ 254 h 361"/>
                <a:gd name="T30" fmla="*/ 176 w 542"/>
                <a:gd name="T31" fmla="*/ 318 h 361"/>
                <a:gd name="T32" fmla="*/ 131 w 542"/>
                <a:gd name="T33" fmla="*/ 290 h 361"/>
                <a:gd name="T34" fmla="*/ 118 w 542"/>
                <a:gd name="T35" fmla="*/ 307 h 361"/>
                <a:gd name="T36" fmla="*/ 167 w 542"/>
                <a:gd name="T37" fmla="*/ 336 h 361"/>
                <a:gd name="T38" fmla="*/ 176 w 542"/>
                <a:gd name="T39" fmla="*/ 318 h 361"/>
                <a:gd name="T40" fmla="*/ 279 w 542"/>
                <a:gd name="T41" fmla="*/ 341 h 361"/>
                <a:gd name="T42" fmla="*/ 226 w 542"/>
                <a:gd name="T43" fmla="*/ 335 h 361"/>
                <a:gd name="T44" fmla="*/ 222 w 542"/>
                <a:gd name="T45" fmla="*/ 355 h 361"/>
                <a:gd name="T46" fmla="*/ 279 w 542"/>
                <a:gd name="T47" fmla="*/ 361 h 361"/>
                <a:gd name="T48" fmla="*/ 279 w 542"/>
                <a:gd name="T49" fmla="*/ 341 h 361"/>
                <a:gd name="T50" fmla="*/ 382 w 542"/>
                <a:gd name="T51" fmla="*/ 319 h 361"/>
                <a:gd name="T52" fmla="*/ 332 w 542"/>
                <a:gd name="T53" fmla="*/ 336 h 361"/>
                <a:gd name="T54" fmla="*/ 336 w 542"/>
                <a:gd name="T55" fmla="*/ 356 h 361"/>
                <a:gd name="T56" fmla="*/ 391 w 542"/>
                <a:gd name="T57" fmla="*/ 338 h 361"/>
                <a:gd name="T58" fmla="*/ 382 w 542"/>
                <a:gd name="T59" fmla="*/ 319 h 361"/>
                <a:gd name="T60" fmla="*/ 467 w 542"/>
                <a:gd name="T61" fmla="*/ 256 h 361"/>
                <a:gd name="T62" fmla="*/ 428 w 542"/>
                <a:gd name="T63" fmla="*/ 292 h 361"/>
                <a:gd name="T64" fmla="*/ 440 w 542"/>
                <a:gd name="T65" fmla="*/ 309 h 361"/>
                <a:gd name="T66" fmla="*/ 483 w 542"/>
                <a:gd name="T67" fmla="*/ 270 h 361"/>
                <a:gd name="T68" fmla="*/ 467 w 542"/>
                <a:gd name="T69" fmla="*/ 256 h 361"/>
                <a:gd name="T70" fmla="*/ 523 w 542"/>
                <a:gd name="T71" fmla="*/ 166 h 361"/>
                <a:gd name="T72" fmla="*/ 499 w 542"/>
                <a:gd name="T73" fmla="*/ 214 h 361"/>
                <a:gd name="T74" fmla="*/ 517 w 542"/>
                <a:gd name="T75" fmla="*/ 224 h 361"/>
                <a:gd name="T76" fmla="*/ 542 w 542"/>
                <a:gd name="T77" fmla="*/ 173 h 361"/>
                <a:gd name="T78" fmla="*/ 523 w 542"/>
                <a:gd name="T79" fmla="*/ 166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42" h="361">
                  <a:moveTo>
                    <a:pt x="20" y="58"/>
                  </a:moveTo>
                  <a:cubicBezTo>
                    <a:pt x="20" y="39"/>
                    <a:pt x="22" y="22"/>
                    <a:pt x="26" y="4"/>
                  </a:cubicBezTo>
                  <a:cubicBezTo>
                    <a:pt x="6" y="0"/>
                    <a:pt x="6" y="0"/>
                    <a:pt x="6" y="0"/>
                  </a:cubicBezTo>
                  <a:cubicBezTo>
                    <a:pt x="2" y="19"/>
                    <a:pt x="0" y="38"/>
                    <a:pt x="0" y="57"/>
                  </a:cubicBezTo>
                  <a:lnTo>
                    <a:pt x="20" y="58"/>
                  </a:lnTo>
                  <a:close/>
                  <a:moveTo>
                    <a:pt x="37" y="163"/>
                  </a:moveTo>
                  <a:cubicBezTo>
                    <a:pt x="31" y="146"/>
                    <a:pt x="27" y="129"/>
                    <a:pt x="24" y="111"/>
                  </a:cubicBezTo>
                  <a:cubicBezTo>
                    <a:pt x="4" y="114"/>
                    <a:pt x="4" y="114"/>
                    <a:pt x="4" y="114"/>
                  </a:cubicBezTo>
                  <a:cubicBezTo>
                    <a:pt x="7" y="133"/>
                    <a:pt x="12" y="152"/>
                    <a:pt x="18" y="170"/>
                  </a:cubicBezTo>
                  <a:lnTo>
                    <a:pt x="37" y="163"/>
                  </a:lnTo>
                  <a:close/>
                  <a:moveTo>
                    <a:pt x="92" y="254"/>
                  </a:moveTo>
                  <a:cubicBezTo>
                    <a:pt x="80" y="241"/>
                    <a:pt x="69" y="226"/>
                    <a:pt x="60" y="211"/>
                  </a:cubicBezTo>
                  <a:cubicBezTo>
                    <a:pt x="43" y="221"/>
                    <a:pt x="43" y="221"/>
                    <a:pt x="43" y="221"/>
                  </a:cubicBezTo>
                  <a:cubicBezTo>
                    <a:pt x="53" y="238"/>
                    <a:pt x="64" y="253"/>
                    <a:pt x="76" y="268"/>
                  </a:cubicBezTo>
                  <a:cubicBezTo>
                    <a:pt x="92" y="254"/>
                    <a:pt x="92" y="254"/>
                    <a:pt x="92" y="254"/>
                  </a:cubicBezTo>
                  <a:close/>
                  <a:moveTo>
                    <a:pt x="176" y="318"/>
                  </a:moveTo>
                  <a:cubicBezTo>
                    <a:pt x="160" y="310"/>
                    <a:pt x="145" y="301"/>
                    <a:pt x="131" y="290"/>
                  </a:cubicBezTo>
                  <a:cubicBezTo>
                    <a:pt x="118" y="307"/>
                    <a:pt x="118" y="307"/>
                    <a:pt x="118" y="307"/>
                  </a:cubicBezTo>
                  <a:cubicBezTo>
                    <a:pt x="134" y="318"/>
                    <a:pt x="150" y="328"/>
                    <a:pt x="167" y="336"/>
                  </a:cubicBezTo>
                  <a:cubicBezTo>
                    <a:pt x="176" y="318"/>
                    <a:pt x="176" y="318"/>
                    <a:pt x="176" y="318"/>
                  </a:cubicBezTo>
                  <a:close/>
                  <a:moveTo>
                    <a:pt x="279" y="341"/>
                  </a:moveTo>
                  <a:cubicBezTo>
                    <a:pt x="261" y="341"/>
                    <a:pt x="243" y="339"/>
                    <a:pt x="226" y="335"/>
                  </a:cubicBezTo>
                  <a:cubicBezTo>
                    <a:pt x="222" y="355"/>
                    <a:pt x="222" y="355"/>
                    <a:pt x="222" y="355"/>
                  </a:cubicBezTo>
                  <a:cubicBezTo>
                    <a:pt x="240" y="359"/>
                    <a:pt x="259" y="361"/>
                    <a:pt x="279" y="361"/>
                  </a:cubicBezTo>
                  <a:cubicBezTo>
                    <a:pt x="279" y="341"/>
                    <a:pt x="279" y="341"/>
                    <a:pt x="279" y="341"/>
                  </a:cubicBezTo>
                  <a:close/>
                  <a:moveTo>
                    <a:pt x="382" y="319"/>
                  </a:moveTo>
                  <a:cubicBezTo>
                    <a:pt x="366" y="326"/>
                    <a:pt x="349" y="332"/>
                    <a:pt x="332" y="336"/>
                  </a:cubicBezTo>
                  <a:cubicBezTo>
                    <a:pt x="336" y="356"/>
                    <a:pt x="336" y="356"/>
                    <a:pt x="336" y="356"/>
                  </a:cubicBezTo>
                  <a:cubicBezTo>
                    <a:pt x="355" y="352"/>
                    <a:pt x="373" y="346"/>
                    <a:pt x="391" y="338"/>
                  </a:cubicBezTo>
                  <a:lnTo>
                    <a:pt x="382" y="319"/>
                  </a:lnTo>
                  <a:close/>
                  <a:moveTo>
                    <a:pt x="467" y="256"/>
                  </a:moveTo>
                  <a:cubicBezTo>
                    <a:pt x="455" y="270"/>
                    <a:pt x="442" y="282"/>
                    <a:pt x="428" y="292"/>
                  </a:cubicBezTo>
                  <a:cubicBezTo>
                    <a:pt x="440" y="309"/>
                    <a:pt x="440" y="309"/>
                    <a:pt x="440" y="309"/>
                  </a:cubicBezTo>
                  <a:cubicBezTo>
                    <a:pt x="455" y="297"/>
                    <a:pt x="470" y="284"/>
                    <a:pt x="483" y="270"/>
                  </a:cubicBezTo>
                  <a:lnTo>
                    <a:pt x="467" y="256"/>
                  </a:lnTo>
                  <a:close/>
                  <a:moveTo>
                    <a:pt x="523" y="166"/>
                  </a:moveTo>
                  <a:cubicBezTo>
                    <a:pt x="516" y="182"/>
                    <a:pt x="508" y="199"/>
                    <a:pt x="499" y="214"/>
                  </a:cubicBezTo>
                  <a:cubicBezTo>
                    <a:pt x="517" y="224"/>
                    <a:pt x="517" y="224"/>
                    <a:pt x="517" y="224"/>
                  </a:cubicBezTo>
                  <a:cubicBezTo>
                    <a:pt x="526" y="208"/>
                    <a:pt x="535" y="191"/>
                    <a:pt x="542" y="173"/>
                  </a:cubicBezTo>
                  <a:cubicBezTo>
                    <a:pt x="523" y="166"/>
                    <a:pt x="523" y="166"/>
                    <a:pt x="523" y="166"/>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42" name="Freeform 1594">
              <a:extLst>
                <a:ext uri="{FF2B5EF4-FFF2-40B4-BE49-F238E27FC236}">
                  <a16:creationId xmlns:a16="http://schemas.microsoft.com/office/drawing/2014/main" id="{E0FC2A52-F894-49E8-A562-38853D620B6E}"/>
                </a:ext>
              </a:extLst>
            </p:cNvPr>
            <p:cNvSpPr>
              <a:spLocks/>
            </p:cNvSpPr>
            <p:nvPr userDrawn="1"/>
          </p:nvSpPr>
          <p:spPr bwMode="auto">
            <a:xfrm>
              <a:off x="8731251" y="4543425"/>
              <a:ext cx="69850" cy="92075"/>
            </a:xfrm>
            <a:custGeom>
              <a:avLst/>
              <a:gdLst>
                <a:gd name="T0" fmla="*/ 19 w 35"/>
                <a:gd name="T1" fmla="*/ 47 h 47"/>
                <a:gd name="T2" fmla="*/ 29 w 35"/>
                <a:gd name="T3" fmla="*/ 25 h 47"/>
                <a:gd name="T4" fmla="*/ 20 w 35"/>
                <a:gd name="T5" fmla="*/ 21 h 47"/>
                <a:gd name="T6" fmla="*/ 11 w 35"/>
                <a:gd name="T7" fmla="*/ 16 h 47"/>
                <a:gd name="T8" fmla="*/ 8 w 35"/>
                <a:gd name="T9" fmla="*/ 22 h 47"/>
                <a:gd name="T10" fmla="*/ 17 w 35"/>
                <a:gd name="T11" fmla="*/ 26 h 47"/>
                <a:gd name="T12" fmla="*/ 26 w 35"/>
                <a:gd name="T13" fmla="*/ 30 h 47"/>
                <a:gd name="T14" fmla="*/ 35 w 35"/>
                <a:gd name="T15" fmla="*/ 7 h 47"/>
                <a:gd name="T16" fmla="*/ 16 w 35"/>
                <a:gd name="T17" fmla="*/ 0 h 47"/>
                <a:gd name="T18" fmla="*/ 7 w 35"/>
                <a:gd name="T19" fmla="*/ 23 h 47"/>
                <a:gd name="T20" fmla="*/ 26 w 35"/>
                <a:gd name="T21" fmla="*/ 31 h 47"/>
                <a:gd name="T22" fmla="*/ 29 w 35"/>
                <a:gd name="T23" fmla="*/ 25 h 47"/>
                <a:gd name="T24" fmla="*/ 11 w 35"/>
                <a:gd name="T25" fmla="*/ 16 h 47"/>
                <a:gd name="T26" fmla="*/ 0 w 35"/>
                <a:gd name="T27" fmla="*/ 39 h 47"/>
                <a:gd name="T28" fmla="*/ 19 w 35"/>
                <a:gd name="T29" fmla="*/ 47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5" h="47">
                  <a:moveTo>
                    <a:pt x="19" y="47"/>
                  </a:moveTo>
                  <a:cubicBezTo>
                    <a:pt x="22" y="39"/>
                    <a:pt x="25" y="32"/>
                    <a:pt x="29" y="25"/>
                  </a:cubicBezTo>
                  <a:cubicBezTo>
                    <a:pt x="20" y="21"/>
                    <a:pt x="20" y="21"/>
                    <a:pt x="20" y="21"/>
                  </a:cubicBezTo>
                  <a:cubicBezTo>
                    <a:pt x="11" y="16"/>
                    <a:pt x="11" y="16"/>
                    <a:pt x="11" y="16"/>
                  </a:cubicBezTo>
                  <a:cubicBezTo>
                    <a:pt x="8" y="22"/>
                    <a:pt x="8" y="22"/>
                    <a:pt x="8" y="22"/>
                  </a:cubicBezTo>
                  <a:cubicBezTo>
                    <a:pt x="17" y="26"/>
                    <a:pt x="17" y="26"/>
                    <a:pt x="17" y="26"/>
                  </a:cubicBezTo>
                  <a:cubicBezTo>
                    <a:pt x="26" y="30"/>
                    <a:pt x="26" y="30"/>
                    <a:pt x="26" y="30"/>
                  </a:cubicBezTo>
                  <a:cubicBezTo>
                    <a:pt x="35" y="7"/>
                    <a:pt x="35" y="7"/>
                    <a:pt x="35" y="7"/>
                  </a:cubicBezTo>
                  <a:cubicBezTo>
                    <a:pt x="16" y="0"/>
                    <a:pt x="16" y="0"/>
                    <a:pt x="16" y="0"/>
                  </a:cubicBezTo>
                  <a:cubicBezTo>
                    <a:pt x="7" y="23"/>
                    <a:pt x="7" y="23"/>
                    <a:pt x="7" y="23"/>
                  </a:cubicBezTo>
                  <a:cubicBezTo>
                    <a:pt x="26" y="31"/>
                    <a:pt x="26" y="31"/>
                    <a:pt x="26" y="31"/>
                  </a:cubicBezTo>
                  <a:cubicBezTo>
                    <a:pt x="29" y="25"/>
                    <a:pt x="29" y="25"/>
                    <a:pt x="29" y="25"/>
                  </a:cubicBezTo>
                  <a:cubicBezTo>
                    <a:pt x="11" y="16"/>
                    <a:pt x="11" y="16"/>
                    <a:pt x="11" y="16"/>
                  </a:cubicBezTo>
                  <a:cubicBezTo>
                    <a:pt x="7" y="24"/>
                    <a:pt x="3" y="31"/>
                    <a:pt x="0" y="39"/>
                  </a:cubicBezTo>
                  <a:cubicBezTo>
                    <a:pt x="19" y="47"/>
                    <a:pt x="19" y="47"/>
                    <a:pt x="19" y="47"/>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43" name="Freeform 1595">
              <a:extLst>
                <a:ext uri="{FF2B5EF4-FFF2-40B4-BE49-F238E27FC236}">
                  <a16:creationId xmlns:a16="http://schemas.microsoft.com/office/drawing/2014/main" id="{BCE88FE6-3EF4-4FA8-8823-A7B86A3C1A38}"/>
                </a:ext>
              </a:extLst>
            </p:cNvPr>
            <p:cNvSpPr>
              <a:spLocks noEditPoints="1"/>
            </p:cNvSpPr>
            <p:nvPr userDrawn="1"/>
          </p:nvSpPr>
          <p:spPr bwMode="auto">
            <a:xfrm>
              <a:off x="8797926" y="3068638"/>
              <a:ext cx="571500" cy="1398588"/>
            </a:xfrm>
            <a:custGeom>
              <a:avLst/>
              <a:gdLst>
                <a:gd name="T0" fmla="*/ 356 w 360"/>
                <a:gd name="T1" fmla="*/ 19 h 881"/>
                <a:gd name="T2" fmla="*/ 360 w 360"/>
                <a:gd name="T3" fmla="*/ 10 h 881"/>
                <a:gd name="T4" fmla="*/ 336 w 360"/>
                <a:gd name="T5" fmla="*/ 0 h 881"/>
                <a:gd name="T6" fmla="*/ 332 w 360"/>
                <a:gd name="T7" fmla="*/ 10 h 881"/>
                <a:gd name="T8" fmla="*/ 356 w 360"/>
                <a:gd name="T9" fmla="*/ 19 h 881"/>
                <a:gd name="T10" fmla="*/ 308 w 360"/>
                <a:gd name="T11" fmla="*/ 142 h 881"/>
                <a:gd name="T12" fmla="*/ 332 w 360"/>
                <a:gd name="T13" fmla="*/ 81 h 881"/>
                <a:gd name="T14" fmla="*/ 308 w 360"/>
                <a:gd name="T15" fmla="*/ 71 h 881"/>
                <a:gd name="T16" fmla="*/ 285 w 360"/>
                <a:gd name="T17" fmla="*/ 133 h 881"/>
                <a:gd name="T18" fmla="*/ 308 w 360"/>
                <a:gd name="T19" fmla="*/ 142 h 881"/>
                <a:gd name="T20" fmla="*/ 261 w 360"/>
                <a:gd name="T21" fmla="*/ 266 h 881"/>
                <a:gd name="T22" fmla="*/ 285 w 360"/>
                <a:gd name="T23" fmla="*/ 203 h 881"/>
                <a:gd name="T24" fmla="*/ 261 w 360"/>
                <a:gd name="T25" fmla="*/ 195 h 881"/>
                <a:gd name="T26" fmla="*/ 237 w 360"/>
                <a:gd name="T27" fmla="*/ 256 h 881"/>
                <a:gd name="T28" fmla="*/ 261 w 360"/>
                <a:gd name="T29" fmla="*/ 266 h 881"/>
                <a:gd name="T30" fmla="*/ 214 w 360"/>
                <a:gd name="T31" fmla="*/ 389 h 881"/>
                <a:gd name="T32" fmla="*/ 237 w 360"/>
                <a:gd name="T33" fmla="*/ 327 h 881"/>
                <a:gd name="T34" fmla="*/ 214 w 360"/>
                <a:gd name="T35" fmla="*/ 318 h 881"/>
                <a:gd name="T36" fmla="*/ 190 w 360"/>
                <a:gd name="T37" fmla="*/ 379 h 881"/>
                <a:gd name="T38" fmla="*/ 214 w 360"/>
                <a:gd name="T39" fmla="*/ 389 h 881"/>
                <a:gd name="T40" fmla="*/ 166 w 360"/>
                <a:gd name="T41" fmla="*/ 511 h 881"/>
                <a:gd name="T42" fmla="*/ 190 w 360"/>
                <a:gd name="T43" fmla="*/ 450 h 881"/>
                <a:gd name="T44" fmla="*/ 166 w 360"/>
                <a:gd name="T45" fmla="*/ 441 h 881"/>
                <a:gd name="T46" fmla="*/ 143 w 360"/>
                <a:gd name="T47" fmla="*/ 502 h 881"/>
                <a:gd name="T48" fmla="*/ 166 w 360"/>
                <a:gd name="T49" fmla="*/ 511 h 881"/>
                <a:gd name="T50" fmla="*/ 119 w 360"/>
                <a:gd name="T51" fmla="*/ 634 h 881"/>
                <a:gd name="T52" fmla="*/ 143 w 360"/>
                <a:gd name="T53" fmla="*/ 573 h 881"/>
                <a:gd name="T54" fmla="*/ 119 w 360"/>
                <a:gd name="T55" fmla="*/ 565 h 881"/>
                <a:gd name="T56" fmla="*/ 95 w 360"/>
                <a:gd name="T57" fmla="*/ 626 h 881"/>
                <a:gd name="T58" fmla="*/ 119 w 360"/>
                <a:gd name="T59" fmla="*/ 634 h 881"/>
                <a:gd name="T60" fmla="*/ 71 w 360"/>
                <a:gd name="T61" fmla="*/ 758 h 881"/>
                <a:gd name="T62" fmla="*/ 95 w 360"/>
                <a:gd name="T63" fmla="*/ 697 h 881"/>
                <a:gd name="T64" fmla="*/ 71 w 360"/>
                <a:gd name="T65" fmla="*/ 687 h 881"/>
                <a:gd name="T66" fmla="*/ 48 w 360"/>
                <a:gd name="T67" fmla="*/ 749 h 881"/>
                <a:gd name="T68" fmla="*/ 71 w 360"/>
                <a:gd name="T69" fmla="*/ 758 h 881"/>
                <a:gd name="T70" fmla="*/ 24 w 360"/>
                <a:gd name="T71" fmla="*/ 881 h 881"/>
                <a:gd name="T72" fmla="*/ 48 w 360"/>
                <a:gd name="T73" fmla="*/ 819 h 881"/>
                <a:gd name="T74" fmla="*/ 24 w 360"/>
                <a:gd name="T75" fmla="*/ 810 h 881"/>
                <a:gd name="T76" fmla="*/ 0 w 360"/>
                <a:gd name="T77" fmla="*/ 872 h 881"/>
                <a:gd name="T78" fmla="*/ 24 w 360"/>
                <a:gd name="T79" fmla="*/ 881 h 8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60" h="881">
                  <a:moveTo>
                    <a:pt x="356" y="19"/>
                  </a:moveTo>
                  <a:lnTo>
                    <a:pt x="360" y="10"/>
                  </a:lnTo>
                  <a:lnTo>
                    <a:pt x="336" y="0"/>
                  </a:lnTo>
                  <a:lnTo>
                    <a:pt x="332" y="10"/>
                  </a:lnTo>
                  <a:lnTo>
                    <a:pt x="356" y="19"/>
                  </a:lnTo>
                  <a:close/>
                  <a:moveTo>
                    <a:pt x="308" y="142"/>
                  </a:moveTo>
                  <a:lnTo>
                    <a:pt x="332" y="81"/>
                  </a:lnTo>
                  <a:lnTo>
                    <a:pt x="308" y="71"/>
                  </a:lnTo>
                  <a:lnTo>
                    <a:pt x="285" y="133"/>
                  </a:lnTo>
                  <a:lnTo>
                    <a:pt x="308" y="142"/>
                  </a:lnTo>
                  <a:close/>
                  <a:moveTo>
                    <a:pt x="261" y="266"/>
                  </a:moveTo>
                  <a:lnTo>
                    <a:pt x="285" y="203"/>
                  </a:lnTo>
                  <a:lnTo>
                    <a:pt x="261" y="195"/>
                  </a:lnTo>
                  <a:lnTo>
                    <a:pt x="237" y="256"/>
                  </a:lnTo>
                  <a:lnTo>
                    <a:pt x="261" y="266"/>
                  </a:lnTo>
                  <a:close/>
                  <a:moveTo>
                    <a:pt x="214" y="389"/>
                  </a:moveTo>
                  <a:lnTo>
                    <a:pt x="237" y="327"/>
                  </a:lnTo>
                  <a:lnTo>
                    <a:pt x="214" y="318"/>
                  </a:lnTo>
                  <a:lnTo>
                    <a:pt x="190" y="379"/>
                  </a:lnTo>
                  <a:lnTo>
                    <a:pt x="214" y="389"/>
                  </a:lnTo>
                  <a:close/>
                  <a:moveTo>
                    <a:pt x="166" y="511"/>
                  </a:moveTo>
                  <a:lnTo>
                    <a:pt x="190" y="450"/>
                  </a:lnTo>
                  <a:lnTo>
                    <a:pt x="166" y="441"/>
                  </a:lnTo>
                  <a:lnTo>
                    <a:pt x="143" y="502"/>
                  </a:lnTo>
                  <a:lnTo>
                    <a:pt x="166" y="511"/>
                  </a:lnTo>
                  <a:close/>
                  <a:moveTo>
                    <a:pt x="119" y="634"/>
                  </a:moveTo>
                  <a:lnTo>
                    <a:pt x="143" y="573"/>
                  </a:lnTo>
                  <a:lnTo>
                    <a:pt x="119" y="565"/>
                  </a:lnTo>
                  <a:lnTo>
                    <a:pt x="95" y="626"/>
                  </a:lnTo>
                  <a:lnTo>
                    <a:pt x="119" y="634"/>
                  </a:lnTo>
                  <a:close/>
                  <a:moveTo>
                    <a:pt x="71" y="758"/>
                  </a:moveTo>
                  <a:lnTo>
                    <a:pt x="95" y="697"/>
                  </a:lnTo>
                  <a:lnTo>
                    <a:pt x="71" y="687"/>
                  </a:lnTo>
                  <a:lnTo>
                    <a:pt x="48" y="749"/>
                  </a:lnTo>
                  <a:lnTo>
                    <a:pt x="71" y="758"/>
                  </a:lnTo>
                  <a:close/>
                  <a:moveTo>
                    <a:pt x="24" y="881"/>
                  </a:moveTo>
                  <a:lnTo>
                    <a:pt x="48" y="819"/>
                  </a:lnTo>
                  <a:lnTo>
                    <a:pt x="24" y="810"/>
                  </a:lnTo>
                  <a:lnTo>
                    <a:pt x="0" y="872"/>
                  </a:lnTo>
                  <a:lnTo>
                    <a:pt x="24" y="881"/>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44" name="Freeform 1596">
              <a:extLst>
                <a:ext uri="{FF2B5EF4-FFF2-40B4-BE49-F238E27FC236}">
                  <a16:creationId xmlns:a16="http://schemas.microsoft.com/office/drawing/2014/main" id="{45C68EB3-4B35-4FC5-8D38-C0CF306FA7AA}"/>
                </a:ext>
              </a:extLst>
            </p:cNvPr>
            <p:cNvSpPr>
              <a:spLocks/>
            </p:cNvSpPr>
            <p:nvPr userDrawn="1"/>
          </p:nvSpPr>
          <p:spPr bwMode="auto">
            <a:xfrm>
              <a:off x="9348788" y="2933700"/>
              <a:ext cx="76200" cy="104775"/>
            </a:xfrm>
            <a:custGeom>
              <a:avLst/>
              <a:gdLst>
                <a:gd name="T0" fmla="*/ 19 w 38"/>
                <a:gd name="T1" fmla="*/ 53 h 53"/>
                <a:gd name="T2" fmla="*/ 31 w 38"/>
                <a:gd name="T3" fmla="*/ 21 h 53"/>
                <a:gd name="T4" fmla="*/ 22 w 38"/>
                <a:gd name="T5" fmla="*/ 17 h 53"/>
                <a:gd name="T6" fmla="*/ 18 w 38"/>
                <a:gd name="T7" fmla="*/ 27 h 53"/>
                <a:gd name="T8" fmla="*/ 27 w 38"/>
                <a:gd name="T9" fmla="*/ 31 h 53"/>
                <a:gd name="T10" fmla="*/ 38 w 38"/>
                <a:gd name="T11" fmla="*/ 10 h 53"/>
                <a:gd name="T12" fmla="*/ 20 w 38"/>
                <a:gd name="T13" fmla="*/ 0 h 53"/>
                <a:gd name="T14" fmla="*/ 9 w 38"/>
                <a:gd name="T15" fmla="*/ 23 h 53"/>
                <a:gd name="T16" fmla="*/ 5 w 38"/>
                <a:gd name="T17" fmla="*/ 32 h 53"/>
                <a:gd name="T18" fmla="*/ 5 w 38"/>
                <a:gd name="T19" fmla="*/ 32 h 53"/>
                <a:gd name="T20" fmla="*/ 0 w 38"/>
                <a:gd name="T21" fmla="*/ 46 h 53"/>
                <a:gd name="T22" fmla="*/ 19 w 38"/>
                <a:gd name="T2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8" h="53">
                  <a:moveTo>
                    <a:pt x="19" y="53"/>
                  </a:moveTo>
                  <a:cubicBezTo>
                    <a:pt x="31" y="21"/>
                    <a:pt x="31" y="21"/>
                    <a:pt x="31" y="21"/>
                  </a:cubicBezTo>
                  <a:cubicBezTo>
                    <a:pt x="22" y="17"/>
                    <a:pt x="22" y="17"/>
                    <a:pt x="22" y="17"/>
                  </a:cubicBezTo>
                  <a:cubicBezTo>
                    <a:pt x="18" y="27"/>
                    <a:pt x="18" y="27"/>
                    <a:pt x="18" y="27"/>
                  </a:cubicBezTo>
                  <a:cubicBezTo>
                    <a:pt x="27" y="31"/>
                    <a:pt x="27" y="31"/>
                    <a:pt x="27" y="31"/>
                  </a:cubicBezTo>
                  <a:cubicBezTo>
                    <a:pt x="30" y="23"/>
                    <a:pt x="34" y="16"/>
                    <a:pt x="38" y="10"/>
                  </a:cubicBezTo>
                  <a:cubicBezTo>
                    <a:pt x="20" y="0"/>
                    <a:pt x="20" y="0"/>
                    <a:pt x="20" y="0"/>
                  </a:cubicBezTo>
                  <a:cubicBezTo>
                    <a:pt x="16" y="7"/>
                    <a:pt x="12" y="15"/>
                    <a:pt x="9" y="23"/>
                  </a:cubicBezTo>
                  <a:cubicBezTo>
                    <a:pt x="5" y="32"/>
                    <a:pt x="5" y="32"/>
                    <a:pt x="5" y="32"/>
                  </a:cubicBezTo>
                  <a:cubicBezTo>
                    <a:pt x="5" y="32"/>
                    <a:pt x="5" y="32"/>
                    <a:pt x="5" y="32"/>
                  </a:cubicBezTo>
                  <a:cubicBezTo>
                    <a:pt x="0" y="46"/>
                    <a:pt x="0" y="46"/>
                    <a:pt x="0" y="46"/>
                  </a:cubicBezTo>
                  <a:cubicBezTo>
                    <a:pt x="19" y="53"/>
                    <a:pt x="19" y="53"/>
                    <a:pt x="19" y="5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45" name="Freeform 1597">
              <a:extLst>
                <a:ext uri="{FF2B5EF4-FFF2-40B4-BE49-F238E27FC236}">
                  <a16:creationId xmlns:a16="http://schemas.microsoft.com/office/drawing/2014/main" id="{6DEF33B2-2B45-4C19-8ECE-5F58DA528E9E}"/>
                </a:ext>
              </a:extLst>
            </p:cNvPr>
            <p:cNvSpPr>
              <a:spLocks noEditPoints="1"/>
            </p:cNvSpPr>
            <p:nvPr userDrawn="1"/>
          </p:nvSpPr>
          <p:spPr bwMode="auto">
            <a:xfrm>
              <a:off x="9447213" y="2720975"/>
              <a:ext cx="709613" cy="2124075"/>
            </a:xfrm>
            <a:custGeom>
              <a:avLst/>
              <a:gdLst>
                <a:gd name="T0" fmla="*/ 164 w 358"/>
                <a:gd name="T1" fmla="*/ 1070 h 1074"/>
                <a:gd name="T2" fmla="*/ 193 w 358"/>
                <a:gd name="T3" fmla="*/ 1025 h 1074"/>
                <a:gd name="T4" fmla="*/ 195 w 358"/>
                <a:gd name="T5" fmla="*/ 914 h 1074"/>
                <a:gd name="T6" fmla="*/ 204 w 358"/>
                <a:gd name="T7" fmla="*/ 971 h 1074"/>
                <a:gd name="T8" fmla="*/ 195 w 358"/>
                <a:gd name="T9" fmla="*/ 914 h 1074"/>
                <a:gd name="T10" fmla="*/ 206 w 358"/>
                <a:gd name="T11" fmla="*/ 861 h 1074"/>
                <a:gd name="T12" fmla="*/ 237 w 358"/>
                <a:gd name="T13" fmla="*/ 812 h 1074"/>
                <a:gd name="T14" fmla="*/ 239 w 358"/>
                <a:gd name="T15" fmla="*/ 701 h 1074"/>
                <a:gd name="T16" fmla="*/ 248 w 358"/>
                <a:gd name="T17" fmla="*/ 758 h 1074"/>
                <a:gd name="T18" fmla="*/ 239 w 358"/>
                <a:gd name="T19" fmla="*/ 701 h 1074"/>
                <a:gd name="T20" fmla="*/ 250 w 358"/>
                <a:gd name="T21" fmla="*/ 648 h 1074"/>
                <a:gd name="T22" fmla="*/ 280 w 358"/>
                <a:gd name="T23" fmla="*/ 599 h 1074"/>
                <a:gd name="T24" fmla="*/ 282 w 358"/>
                <a:gd name="T25" fmla="*/ 488 h 1074"/>
                <a:gd name="T26" fmla="*/ 291 w 358"/>
                <a:gd name="T27" fmla="*/ 545 h 1074"/>
                <a:gd name="T28" fmla="*/ 282 w 358"/>
                <a:gd name="T29" fmla="*/ 488 h 1074"/>
                <a:gd name="T30" fmla="*/ 293 w 358"/>
                <a:gd name="T31" fmla="*/ 435 h 1074"/>
                <a:gd name="T32" fmla="*/ 324 w 358"/>
                <a:gd name="T33" fmla="*/ 386 h 1074"/>
                <a:gd name="T34" fmla="*/ 326 w 358"/>
                <a:gd name="T35" fmla="*/ 275 h 1074"/>
                <a:gd name="T36" fmla="*/ 335 w 358"/>
                <a:gd name="T37" fmla="*/ 332 h 1074"/>
                <a:gd name="T38" fmla="*/ 326 w 358"/>
                <a:gd name="T39" fmla="*/ 275 h 1074"/>
                <a:gd name="T40" fmla="*/ 338 w 358"/>
                <a:gd name="T41" fmla="*/ 209 h 1074"/>
                <a:gd name="T42" fmla="*/ 338 w 358"/>
                <a:gd name="T43" fmla="*/ 215 h 1074"/>
                <a:gd name="T44" fmla="*/ 356 w 358"/>
                <a:gd name="T45" fmla="*/ 226 h 1074"/>
                <a:gd name="T46" fmla="*/ 358 w 358"/>
                <a:gd name="T47" fmla="*/ 209 h 1074"/>
                <a:gd name="T48" fmla="*/ 358 w 358"/>
                <a:gd name="T49" fmla="*/ 209 h 1074"/>
                <a:gd name="T50" fmla="*/ 335 w 358"/>
                <a:gd name="T51" fmla="*/ 172 h 1074"/>
                <a:gd name="T52" fmla="*/ 319 w 358"/>
                <a:gd name="T53" fmla="*/ 123 h 1074"/>
                <a:gd name="T54" fmla="*/ 305 w 358"/>
                <a:gd name="T55" fmla="*/ 67 h 1074"/>
                <a:gd name="T56" fmla="*/ 203 w 358"/>
                <a:gd name="T57" fmla="*/ 27 h 1074"/>
                <a:gd name="T58" fmla="*/ 261 w 358"/>
                <a:gd name="T59" fmla="*/ 31 h 1074"/>
                <a:gd name="T60" fmla="*/ 203 w 358"/>
                <a:gd name="T61" fmla="*/ 27 h 1074"/>
                <a:gd name="T62" fmla="*/ 149 w 358"/>
                <a:gd name="T63" fmla="*/ 20 h 1074"/>
                <a:gd name="T64" fmla="*/ 153 w 358"/>
                <a:gd name="T65" fmla="*/ 0 h 1074"/>
                <a:gd name="T66" fmla="*/ 96 w 358"/>
                <a:gd name="T67" fmla="*/ 7 h 1074"/>
                <a:gd name="T68" fmla="*/ 15 w 358"/>
                <a:gd name="T69" fmla="*/ 80 h 1074"/>
                <a:gd name="T70" fmla="*/ 44 w 358"/>
                <a:gd name="T71" fmla="*/ 30 h 1074"/>
                <a:gd name="T72" fmla="*/ 15 w 358"/>
                <a:gd name="T73" fmla="*/ 80 h 10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58" h="1074">
                  <a:moveTo>
                    <a:pt x="174" y="1021"/>
                  </a:moveTo>
                  <a:cubicBezTo>
                    <a:pt x="164" y="1070"/>
                    <a:pt x="164" y="1070"/>
                    <a:pt x="164" y="1070"/>
                  </a:cubicBezTo>
                  <a:cubicBezTo>
                    <a:pt x="183" y="1074"/>
                    <a:pt x="183" y="1074"/>
                    <a:pt x="183" y="1074"/>
                  </a:cubicBezTo>
                  <a:cubicBezTo>
                    <a:pt x="193" y="1025"/>
                    <a:pt x="193" y="1025"/>
                    <a:pt x="193" y="1025"/>
                  </a:cubicBezTo>
                  <a:lnTo>
                    <a:pt x="174" y="1021"/>
                  </a:lnTo>
                  <a:close/>
                  <a:moveTo>
                    <a:pt x="195" y="914"/>
                  </a:moveTo>
                  <a:cubicBezTo>
                    <a:pt x="184" y="967"/>
                    <a:pt x="184" y="967"/>
                    <a:pt x="184" y="967"/>
                  </a:cubicBezTo>
                  <a:cubicBezTo>
                    <a:pt x="204" y="971"/>
                    <a:pt x="204" y="971"/>
                    <a:pt x="204" y="971"/>
                  </a:cubicBezTo>
                  <a:cubicBezTo>
                    <a:pt x="215" y="918"/>
                    <a:pt x="215" y="918"/>
                    <a:pt x="215" y="918"/>
                  </a:cubicBezTo>
                  <a:lnTo>
                    <a:pt x="195" y="914"/>
                  </a:lnTo>
                  <a:close/>
                  <a:moveTo>
                    <a:pt x="217" y="808"/>
                  </a:moveTo>
                  <a:cubicBezTo>
                    <a:pt x="206" y="861"/>
                    <a:pt x="206" y="861"/>
                    <a:pt x="206" y="861"/>
                  </a:cubicBezTo>
                  <a:cubicBezTo>
                    <a:pt x="226" y="865"/>
                    <a:pt x="226" y="865"/>
                    <a:pt x="226" y="865"/>
                  </a:cubicBezTo>
                  <a:cubicBezTo>
                    <a:pt x="237" y="812"/>
                    <a:pt x="237" y="812"/>
                    <a:pt x="237" y="812"/>
                  </a:cubicBezTo>
                  <a:lnTo>
                    <a:pt x="217" y="808"/>
                  </a:lnTo>
                  <a:close/>
                  <a:moveTo>
                    <a:pt x="239" y="701"/>
                  </a:moveTo>
                  <a:cubicBezTo>
                    <a:pt x="228" y="754"/>
                    <a:pt x="228" y="754"/>
                    <a:pt x="228" y="754"/>
                  </a:cubicBezTo>
                  <a:cubicBezTo>
                    <a:pt x="248" y="758"/>
                    <a:pt x="248" y="758"/>
                    <a:pt x="248" y="758"/>
                  </a:cubicBezTo>
                  <a:cubicBezTo>
                    <a:pt x="259" y="705"/>
                    <a:pt x="259" y="705"/>
                    <a:pt x="259" y="705"/>
                  </a:cubicBezTo>
                  <a:lnTo>
                    <a:pt x="239" y="701"/>
                  </a:lnTo>
                  <a:close/>
                  <a:moveTo>
                    <a:pt x="260" y="595"/>
                  </a:moveTo>
                  <a:cubicBezTo>
                    <a:pt x="250" y="648"/>
                    <a:pt x="250" y="648"/>
                    <a:pt x="250" y="648"/>
                  </a:cubicBezTo>
                  <a:cubicBezTo>
                    <a:pt x="269" y="652"/>
                    <a:pt x="269" y="652"/>
                    <a:pt x="269" y="652"/>
                  </a:cubicBezTo>
                  <a:cubicBezTo>
                    <a:pt x="280" y="599"/>
                    <a:pt x="280" y="599"/>
                    <a:pt x="280" y="599"/>
                  </a:cubicBezTo>
                  <a:lnTo>
                    <a:pt x="260" y="595"/>
                  </a:lnTo>
                  <a:close/>
                  <a:moveTo>
                    <a:pt x="282" y="488"/>
                  </a:moveTo>
                  <a:cubicBezTo>
                    <a:pt x="271" y="541"/>
                    <a:pt x="271" y="541"/>
                    <a:pt x="271" y="541"/>
                  </a:cubicBezTo>
                  <a:cubicBezTo>
                    <a:pt x="291" y="545"/>
                    <a:pt x="291" y="545"/>
                    <a:pt x="291" y="545"/>
                  </a:cubicBezTo>
                  <a:cubicBezTo>
                    <a:pt x="302" y="492"/>
                    <a:pt x="302" y="492"/>
                    <a:pt x="302" y="492"/>
                  </a:cubicBezTo>
                  <a:lnTo>
                    <a:pt x="282" y="488"/>
                  </a:lnTo>
                  <a:close/>
                  <a:moveTo>
                    <a:pt x="304" y="382"/>
                  </a:moveTo>
                  <a:cubicBezTo>
                    <a:pt x="293" y="435"/>
                    <a:pt x="293" y="435"/>
                    <a:pt x="293" y="435"/>
                  </a:cubicBezTo>
                  <a:cubicBezTo>
                    <a:pt x="313" y="439"/>
                    <a:pt x="313" y="439"/>
                    <a:pt x="313" y="439"/>
                  </a:cubicBezTo>
                  <a:cubicBezTo>
                    <a:pt x="324" y="386"/>
                    <a:pt x="324" y="386"/>
                    <a:pt x="324" y="386"/>
                  </a:cubicBezTo>
                  <a:lnTo>
                    <a:pt x="304" y="382"/>
                  </a:lnTo>
                  <a:close/>
                  <a:moveTo>
                    <a:pt x="326" y="275"/>
                  </a:moveTo>
                  <a:cubicBezTo>
                    <a:pt x="315" y="328"/>
                    <a:pt x="315" y="328"/>
                    <a:pt x="315" y="328"/>
                  </a:cubicBezTo>
                  <a:cubicBezTo>
                    <a:pt x="335" y="332"/>
                    <a:pt x="335" y="332"/>
                    <a:pt x="335" y="332"/>
                  </a:cubicBezTo>
                  <a:cubicBezTo>
                    <a:pt x="345" y="279"/>
                    <a:pt x="345" y="279"/>
                    <a:pt x="345" y="279"/>
                  </a:cubicBezTo>
                  <a:lnTo>
                    <a:pt x="326" y="275"/>
                  </a:lnTo>
                  <a:close/>
                  <a:moveTo>
                    <a:pt x="335" y="172"/>
                  </a:moveTo>
                  <a:cubicBezTo>
                    <a:pt x="337" y="184"/>
                    <a:pt x="338" y="196"/>
                    <a:pt x="338" y="209"/>
                  </a:cubicBezTo>
                  <a:cubicBezTo>
                    <a:pt x="338" y="209"/>
                    <a:pt x="338" y="209"/>
                    <a:pt x="338" y="209"/>
                  </a:cubicBezTo>
                  <a:cubicBezTo>
                    <a:pt x="338" y="215"/>
                    <a:pt x="338" y="215"/>
                    <a:pt x="338" y="215"/>
                  </a:cubicBezTo>
                  <a:cubicBezTo>
                    <a:pt x="336" y="222"/>
                    <a:pt x="336" y="222"/>
                    <a:pt x="336" y="222"/>
                  </a:cubicBezTo>
                  <a:cubicBezTo>
                    <a:pt x="356" y="226"/>
                    <a:pt x="356" y="226"/>
                    <a:pt x="356" y="226"/>
                  </a:cubicBezTo>
                  <a:cubicBezTo>
                    <a:pt x="358" y="217"/>
                    <a:pt x="358" y="217"/>
                    <a:pt x="358" y="217"/>
                  </a:cubicBezTo>
                  <a:cubicBezTo>
                    <a:pt x="358" y="209"/>
                    <a:pt x="358" y="209"/>
                    <a:pt x="358" y="209"/>
                  </a:cubicBezTo>
                  <a:cubicBezTo>
                    <a:pt x="348" y="209"/>
                    <a:pt x="348" y="209"/>
                    <a:pt x="348" y="209"/>
                  </a:cubicBezTo>
                  <a:cubicBezTo>
                    <a:pt x="358" y="209"/>
                    <a:pt x="358" y="209"/>
                    <a:pt x="358" y="209"/>
                  </a:cubicBezTo>
                  <a:cubicBezTo>
                    <a:pt x="358" y="195"/>
                    <a:pt x="357" y="181"/>
                    <a:pt x="354" y="168"/>
                  </a:cubicBezTo>
                  <a:lnTo>
                    <a:pt x="335" y="172"/>
                  </a:lnTo>
                  <a:close/>
                  <a:moveTo>
                    <a:pt x="290" y="80"/>
                  </a:moveTo>
                  <a:cubicBezTo>
                    <a:pt x="301" y="93"/>
                    <a:pt x="311" y="107"/>
                    <a:pt x="319" y="123"/>
                  </a:cubicBezTo>
                  <a:cubicBezTo>
                    <a:pt x="337" y="114"/>
                    <a:pt x="337" y="114"/>
                    <a:pt x="337" y="114"/>
                  </a:cubicBezTo>
                  <a:cubicBezTo>
                    <a:pt x="329" y="97"/>
                    <a:pt x="318" y="81"/>
                    <a:pt x="305" y="67"/>
                  </a:cubicBezTo>
                  <a:cubicBezTo>
                    <a:pt x="290" y="80"/>
                    <a:pt x="290" y="80"/>
                    <a:pt x="290" y="80"/>
                  </a:cubicBezTo>
                  <a:close/>
                  <a:moveTo>
                    <a:pt x="203" y="27"/>
                  </a:moveTo>
                  <a:cubicBezTo>
                    <a:pt x="220" y="32"/>
                    <a:pt x="236" y="39"/>
                    <a:pt x="251" y="48"/>
                  </a:cubicBezTo>
                  <a:cubicBezTo>
                    <a:pt x="261" y="31"/>
                    <a:pt x="261" y="31"/>
                    <a:pt x="261" y="31"/>
                  </a:cubicBezTo>
                  <a:cubicBezTo>
                    <a:pt x="245" y="21"/>
                    <a:pt x="228" y="13"/>
                    <a:pt x="209" y="8"/>
                  </a:cubicBezTo>
                  <a:cubicBezTo>
                    <a:pt x="203" y="27"/>
                    <a:pt x="203" y="27"/>
                    <a:pt x="203" y="27"/>
                  </a:cubicBezTo>
                  <a:close/>
                  <a:moveTo>
                    <a:pt x="102" y="27"/>
                  </a:moveTo>
                  <a:cubicBezTo>
                    <a:pt x="117" y="22"/>
                    <a:pt x="133" y="20"/>
                    <a:pt x="149" y="20"/>
                  </a:cubicBezTo>
                  <a:cubicBezTo>
                    <a:pt x="150" y="20"/>
                    <a:pt x="151" y="20"/>
                    <a:pt x="152" y="20"/>
                  </a:cubicBezTo>
                  <a:cubicBezTo>
                    <a:pt x="153" y="0"/>
                    <a:pt x="153" y="0"/>
                    <a:pt x="153" y="0"/>
                  </a:cubicBezTo>
                  <a:cubicBezTo>
                    <a:pt x="152" y="0"/>
                    <a:pt x="150" y="0"/>
                    <a:pt x="149" y="0"/>
                  </a:cubicBezTo>
                  <a:cubicBezTo>
                    <a:pt x="131" y="0"/>
                    <a:pt x="113" y="2"/>
                    <a:pt x="96" y="7"/>
                  </a:cubicBezTo>
                  <a:cubicBezTo>
                    <a:pt x="102" y="27"/>
                    <a:pt x="102" y="27"/>
                    <a:pt x="102" y="27"/>
                  </a:cubicBezTo>
                  <a:close/>
                  <a:moveTo>
                    <a:pt x="15" y="80"/>
                  </a:moveTo>
                  <a:cubicBezTo>
                    <a:pt x="27" y="67"/>
                    <a:pt x="40" y="56"/>
                    <a:pt x="55" y="47"/>
                  </a:cubicBezTo>
                  <a:cubicBezTo>
                    <a:pt x="44" y="30"/>
                    <a:pt x="44" y="30"/>
                    <a:pt x="44" y="30"/>
                  </a:cubicBezTo>
                  <a:cubicBezTo>
                    <a:pt x="28" y="40"/>
                    <a:pt x="13" y="52"/>
                    <a:pt x="0" y="66"/>
                  </a:cubicBezTo>
                  <a:cubicBezTo>
                    <a:pt x="15" y="80"/>
                    <a:pt x="15" y="80"/>
                    <a:pt x="15" y="8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46" name="Freeform 1598">
              <a:extLst>
                <a:ext uri="{FF2B5EF4-FFF2-40B4-BE49-F238E27FC236}">
                  <a16:creationId xmlns:a16="http://schemas.microsoft.com/office/drawing/2014/main" id="{2FA35147-5ACA-480E-8CBF-A6E32C814788}"/>
                </a:ext>
              </a:extLst>
            </p:cNvPr>
            <p:cNvSpPr>
              <a:spLocks/>
            </p:cNvSpPr>
            <p:nvPr userDrawn="1"/>
          </p:nvSpPr>
          <p:spPr bwMode="auto">
            <a:xfrm>
              <a:off x="9753601" y="4886325"/>
              <a:ext cx="47625" cy="55563"/>
            </a:xfrm>
            <a:custGeom>
              <a:avLst/>
              <a:gdLst>
                <a:gd name="T0" fmla="*/ 6 w 30"/>
                <a:gd name="T1" fmla="*/ 0 h 35"/>
                <a:gd name="T2" fmla="*/ 0 w 30"/>
                <a:gd name="T3" fmla="*/ 30 h 35"/>
                <a:gd name="T4" fmla="*/ 23 w 30"/>
                <a:gd name="T5" fmla="*/ 35 h 35"/>
                <a:gd name="T6" fmla="*/ 30 w 30"/>
                <a:gd name="T7" fmla="*/ 5 h 35"/>
                <a:gd name="T8" fmla="*/ 6 w 30"/>
                <a:gd name="T9" fmla="*/ 0 h 35"/>
              </a:gdLst>
              <a:ahLst/>
              <a:cxnLst>
                <a:cxn ang="0">
                  <a:pos x="T0" y="T1"/>
                </a:cxn>
                <a:cxn ang="0">
                  <a:pos x="T2" y="T3"/>
                </a:cxn>
                <a:cxn ang="0">
                  <a:pos x="T4" y="T5"/>
                </a:cxn>
                <a:cxn ang="0">
                  <a:pos x="T6" y="T7"/>
                </a:cxn>
                <a:cxn ang="0">
                  <a:pos x="T8" y="T9"/>
                </a:cxn>
              </a:cxnLst>
              <a:rect l="0" t="0" r="r" b="b"/>
              <a:pathLst>
                <a:path w="30" h="35">
                  <a:moveTo>
                    <a:pt x="6" y="0"/>
                  </a:moveTo>
                  <a:lnTo>
                    <a:pt x="0" y="30"/>
                  </a:lnTo>
                  <a:lnTo>
                    <a:pt x="23" y="35"/>
                  </a:lnTo>
                  <a:lnTo>
                    <a:pt x="30" y="5"/>
                  </a:lnTo>
                  <a:lnTo>
                    <a:pt x="6"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47" name="Freeform 1600">
              <a:extLst>
                <a:ext uri="{FF2B5EF4-FFF2-40B4-BE49-F238E27FC236}">
                  <a16:creationId xmlns:a16="http://schemas.microsoft.com/office/drawing/2014/main" id="{6267A1A0-0363-420B-8043-D6C224EE4C7C}"/>
                </a:ext>
              </a:extLst>
            </p:cNvPr>
            <p:cNvSpPr>
              <a:spLocks noEditPoints="1"/>
            </p:cNvSpPr>
            <p:nvPr userDrawn="1"/>
          </p:nvSpPr>
          <p:spPr bwMode="auto">
            <a:xfrm>
              <a:off x="10171113" y="4878388"/>
              <a:ext cx="327025" cy="19050"/>
            </a:xfrm>
            <a:custGeom>
              <a:avLst/>
              <a:gdLst>
                <a:gd name="T0" fmla="*/ 58 w 206"/>
                <a:gd name="T1" fmla="*/ 0 h 12"/>
                <a:gd name="T2" fmla="*/ 0 w 206"/>
                <a:gd name="T3" fmla="*/ 0 h 12"/>
                <a:gd name="T4" fmla="*/ 0 w 206"/>
                <a:gd name="T5" fmla="*/ 12 h 12"/>
                <a:gd name="T6" fmla="*/ 58 w 206"/>
                <a:gd name="T7" fmla="*/ 12 h 12"/>
                <a:gd name="T8" fmla="*/ 58 w 206"/>
                <a:gd name="T9" fmla="*/ 0 h 12"/>
                <a:gd name="T10" fmla="*/ 206 w 206"/>
                <a:gd name="T11" fmla="*/ 0 h 12"/>
                <a:gd name="T12" fmla="*/ 147 w 206"/>
                <a:gd name="T13" fmla="*/ 0 h 12"/>
                <a:gd name="T14" fmla="*/ 147 w 206"/>
                <a:gd name="T15" fmla="*/ 12 h 12"/>
                <a:gd name="T16" fmla="*/ 206 w 206"/>
                <a:gd name="T17" fmla="*/ 12 h 12"/>
                <a:gd name="T18" fmla="*/ 206 w 206"/>
                <a:gd name="T1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6" h="12">
                  <a:moveTo>
                    <a:pt x="58" y="0"/>
                  </a:moveTo>
                  <a:lnTo>
                    <a:pt x="0" y="0"/>
                  </a:lnTo>
                  <a:lnTo>
                    <a:pt x="0" y="12"/>
                  </a:lnTo>
                  <a:lnTo>
                    <a:pt x="58" y="12"/>
                  </a:lnTo>
                  <a:lnTo>
                    <a:pt x="58" y="0"/>
                  </a:lnTo>
                  <a:close/>
                  <a:moveTo>
                    <a:pt x="206" y="0"/>
                  </a:moveTo>
                  <a:lnTo>
                    <a:pt x="147" y="0"/>
                  </a:lnTo>
                  <a:lnTo>
                    <a:pt x="147" y="12"/>
                  </a:lnTo>
                  <a:lnTo>
                    <a:pt x="206" y="12"/>
                  </a:lnTo>
                  <a:lnTo>
                    <a:pt x="206" y="0"/>
                  </a:lnTo>
                  <a:close/>
                </a:path>
              </a:pathLst>
            </a:custGeom>
            <a:solidFill>
              <a:srgbClr val="BBDDF4"/>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48" name="Freeform 1601">
              <a:extLst>
                <a:ext uri="{FF2B5EF4-FFF2-40B4-BE49-F238E27FC236}">
                  <a16:creationId xmlns:a16="http://schemas.microsoft.com/office/drawing/2014/main" id="{CAC3D550-70CC-4A1E-BC39-A052999EC05D}"/>
                </a:ext>
              </a:extLst>
            </p:cNvPr>
            <p:cNvSpPr>
              <a:spLocks noEditPoints="1"/>
            </p:cNvSpPr>
            <p:nvPr userDrawn="1"/>
          </p:nvSpPr>
          <p:spPr bwMode="auto">
            <a:xfrm>
              <a:off x="10171113" y="4878388"/>
              <a:ext cx="327025" cy="19050"/>
            </a:xfrm>
            <a:custGeom>
              <a:avLst/>
              <a:gdLst>
                <a:gd name="T0" fmla="*/ 58 w 206"/>
                <a:gd name="T1" fmla="*/ 0 h 12"/>
                <a:gd name="T2" fmla="*/ 0 w 206"/>
                <a:gd name="T3" fmla="*/ 0 h 12"/>
                <a:gd name="T4" fmla="*/ 0 w 206"/>
                <a:gd name="T5" fmla="*/ 12 h 12"/>
                <a:gd name="T6" fmla="*/ 58 w 206"/>
                <a:gd name="T7" fmla="*/ 12 h 12"/>
                <a:gd name="T8" fmla="*/ 58 w 206"/>
                <a:gd name="T9" fmla="*/ 0 h 12"/>
                <a:gd name="T10" fmla="*/ 206 w 206"/>
                <a:gd name="T11" fmla="*/ 0 h 12"/>
                <a:gd name="T12" fmla="*/ 147 w 206"/>
                <a:gd name="T13" fmla="*/ 0 h 12"/>
                <a:gd name="T14" fmla="*/ 147 w 206"/>
                <a:gd name="T15" fmla="*/ 12 h 12"/>
                <a:gd name="T16" fmla="*/ 206 w 206"/>
                <a:gd name="T17" fmla="*/ 12 h 12"/>
                <a:gd name="T18" fmla="*/ 206 w 206"/>
                <a:gd name="T1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6" h="12">
                  <a:moveTo>
                    <a:pt x="58" y="0"/>
                  </a:moveTo>
                  <a:lnTo>
                    <a:pt x="0" y="0"/>
                  </a:lnTo>
                  <a:lnTo>
                    <a:pt x="0" y="12"/>
                  </a:lnTo>
                  <a:lnTo>
                    <a:pt x="58" y="12"/>
                  </a:lnTo>
                  <a:lnTo>
                    <a:pt x="58" y="0"/>
                  </a:lnTo>
                  <a:moveTo>
                    <a:pt x="206" y="0"/>
                  </a:moveTo>
                  <a:lnTo>
                    <a:pt x="147" y="0"/>
                  </a:lnTo>
                  <a:lnTo>
                    <a:pt x="147" y="12"/>
                  </a:lnTo>
                  <a:lnTo>
                    <a:pt x="206" y="12"/>
                  </a:lnTo>
                  <a:lnTo>
                    <a:pt x="206" y="0"/>
                  </a:lnTo>
                </a:path>
              </a:pathLst>
            </a:custGeom>
            <a:solidFill>
              <a:schemeClr val="accent2">
                <a:lumMod val="40000"/>
                <a:lumOff val="6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49" name="Rectangle 1602">
              <a:extLst>
                <a:ext uri="{FF2B5EF4-FFF2-40B4-BE49-F238E27FC236}">
                  <a16:creationId xmlns:a16="http://schemas.microsoft.com/office/drawing/2014/main" id="{06D7A718-421F-4228-BE23-440E83EFB9C2}"/>
                </a:ext>
              </a:extLst>
            </p:cNvPr>
            <p:cNvSpPr>
              <a:spLocks noChangeArrowheads="1"/>
            </p:cNvSpPr>
            <p:nvPr userDrawn="1"/>
          </p:nvSpPr>
          <p:spPr bwMode="auto">
            <a:xfrm>
              <a:off x="9839326" y="5753100"/>
              <a:ext cx="92075" cy="92075"/>
            </a:xfrm>
            <a:prstGeom prst="rect">
              <a:avLst/>
            </a:prstGeom>
            <a:solidFill>
              <a:schemeClr val="accent2">
                <a:lumMod val="60000"/>
                <a:lumOff val="40000"/>
                <a:alpha val="5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50" name="Rectangle 1603">
              <a:extLst>
                <a:ext uri="{FF2B5EF4-FFF2-40B4-BE49-F238E27FC236}">
                  <a16:creationId xmlns:a16="http://schemas.microsoft.com/office/drawing/2014/main" id="{49A7098A-0323-4606-A8CE-156A5D98FCAB}"/>
                </a:ext>
              </a:extLst>
            </p:cNvPr>
            <p:cNvSpPr>
              <a:spLocks noChangeArrowheads="1"/>
            </p:cNvSpPr>
            <p:nvPr userDrawn="1"/>
          </p:nvSpPr>
          <p:spPr bwMode="auto">
            <a:xfrm>
              <a:off x="9839326" y="5753100"/>
              <a:ext cx="92075" cy="92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51" name="Freeform 1604">
              <a:extLst>
                <a:ext uri="{FF2B5EF4-FFF2-40B4-BE49-F238E27FC236}">
                  <a16:creationId xmlns:a16="http://schemas.microsoft.com/office/drawing/2014/main" id="{B1ADA577-16D0-45E9-A25A-EDE0CDF4A88D}"/>
                </a:ext>
              </a:extLst>
            </p:cNvPr>
            <p:cNvSpPr>
              <a:spLocks/>
            </p:cNvSpPr>
            <p:nvPr userDrawn="1"/>
          </p:nvSpPr>
          <p:spPr bwMode="auto">
            <a:xfrm>
              <a:off x="9839326" y="4878388"/>
              <a:ext cx="174625" cy="874713"/>
            </a:xfrm>
            <a:custGeom>
              <a:avLst/>
              <a:gdLst>
                <a:gd name="T0" fmla="*/ 88 w 88"/>
                <a:gd name="T1" fmla="*/ 0 h 442"/>
                <a:gd name="T2" fmla="*/ 46 w 88"/>
                <a:gd name="T3" fmla="*/ 0 h 442"/>
                <a:gd name="T4" fmla="*/ 0 w 88"/>
                <a:gd name="T5" fmla="*/ 49 h 442"/>
                <a:gd name="T6" fmla="*/ 0 w 88"/>
                <a:gd name="T7" fmla="*/ 442 h 442"/>
                <a:gd name="T8" fmla="*/ 46 w 88"/>
                <a:gd name="T9" fmla="*/ 442 h 442"/>
                <a:gd name="T10" fmla="*/ 46 w 88"/>
                <a:gd name="T11" fmla="*/ 49 h 442"/>
                <a:gd name="T12" fmla="*/ 88 w 88"/>
                <a:gd name="T13" fmla="*/ 0 h 442"/>
                <a:gd name="T14" fmla="*/ 88 w 88"/>
                <a:gd name="T15" fmla="*/ 0 h 4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 h="442">
                  <a:moveTo>
                    <a:pt x="88" y="0"/>
                  </a:moveTo>
                  <a:cubicBezTo>
                    <a:pt x="46" y="0"/>
                    <a:pt x="46" y="0"/>
                    <a:pt x="46" y="0"/>
                  </a:cubicBezTo>
                  <a:cubicBezTo>
                    <a:pt x="20" y="0"/>
                    <a:pt x="0" y="22"/>
                    <a:pt x="0" y="49"/>
                  </a:cubicBezTo>
                  <a:cubicBezTo>
                    <a:pt x="0" y="442"/>
                    <a:pt x="0" y="442"/>
                    <a:pt x="0" y="442"/>
                  </a:cubicBezTo>
                  <a:cubicBezTo>
                    <a:pt x="46" y="442"/>
                    <a:pt x="46" y="442"/>
                    <a:pt x="46" y="442"/>
                  </a:cubicBezTo>
                  <a:cubicBezTo>
                    <a:pt x="46" y="49"/>
                    <a:pt x="46" y="49"/>
                    <a:pt x="46" y="49"/>
                  </a:cubicBezTo>
                  <a:cubicBezTo>
                    <a:pt x="46" y="23"/>
                    <a:pt x="65" y="2"/>
                    <a:pt x="88" y="0"/>
                  </a:cubicBezTo>
                  <a:cubicBezTo>
                    <a:pt x="88" y="0"/>
                    <a:pt x="88" y="0"/>
                    <a:pt x="88" y="0"/>
                  </a:cubicBezTo>
                </a:path>
              </a:pathLst>
            </a:custGeom>
            <a:solidFill>
              <a:schemeClr val="accent2">
                <a:lumMod val="40000"/>
                <a:lumOff val="6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52" name="Freeform 1605">
              <a:extLst>
                <a:ext uri="{FF2B5EF4-FFF2-40B4-BE49-F238E27FC236}">
                  <a16:creationId xmlns:a16="http://schemas.microsoft.com/office/drawing/2014/main" id="{D4FA1343-9B9A-45F8-B6C2-9BF32B5137A7}"/>
                </a:ext>
              </a:extLst>
            </p:cNvPr>
            <p:cNvSpPr>
              <a:spLocks/>
            </p:cNvSpPr>
            <p:nvPr userDrawn="1"/>
          </p:nvSpPr>
          <p:spPr bwMode="auto">
            <a:xfrm>
              <a:off x="9839326" y="5886450"/>
              <a:ext cx="111125" cy="212725"/>
            </a:xfrm>
            <a:custGeom>
              <a:avLst/>
              <a:gdLst>
                <a:gd name="T0" fmla="*/ 46 w 56"/>
                <a:gd name="T1" fmla="*/ 0 h 108"/>
                <a:gd name="T2" fmla="*/ 0 w 56"/>
                <a:gd name="T3" fmla="*/ 0 h 108"/>
                <a:gd name="T4" fmla="*/ 0 w 56"/>
                <a:gd name="T5" fmla="*/ 78 h 108"/>
                <a:gd name="T6" fmla="*/ 9 w 56"/>
                <a:gd name="T7" fmla="*/ 108 h 108"/>
                <a:gd name="T8" fmla="*/ 56 w 56"/>
                <a:gd name="T9" fmla="*/ 108 h 108"/>
                <a:gd name="T10" fmla="*/ 46 w 56"/>
                <a:gd name="T11" fmla="*/ 78 h 108"/>
                <a:gd name="T12" fmla="*/ 46 w 56"/>
                <a:gd name="T13" fmla="*/ 0 h 108"/>
              </a:gdLst>
              <a:ahLst/>
              <a:cxnLst>
                <a:cxn ang="0">
                  <a:pos x="T0" y="T1"/>
                </a:cxn>
                <a:cxn ang="0">
                  <a:pos x="T2" y="T3"/>
                </a:cxn>
                <a:cxn ang="0">
                  <a:pos x="T4" y="T5"/>
                </a:cxn>
                <a:cxn ang="0">
                  <a:pos x="T6" y="T7"/>
                </a:cxn>
                <a:cxn ang="0">
                  <a:pos x="T8" y="T9"/>
                </a:cxn>
                <a:cxn ang="0">
                  <a:pos x="T10" y="T11"/>
                </a:cxn>
                <a:cxn ang="0">
                  <a:pos x="T12" y="T13"/>
                </a:cxn>
              </a:cxnLst>
              <a:rect l="0" t="0" r="r" b="b"/>
              <a:pathLst>
                <a:path w="56" h="108">
                  <a:moveTo>
                    <a:pt x="46" y="0"/>
                  </a:moveTo>
                  <a:cubicBezTo>
                    <a:pt x="0" y="0"/>
                    <a:pt x="0" y="0"/>
                    <a:pt x="0" y="0"/>
                  </a:cubicBezTo>
                  <a:cubicBezTo>
                    <a:pt x="0" y="78"/>
                    <a:pt x="0" y="78"/>
                    <a:pt x="0" y="78"/>
                  </a:cubicBezTo>
                  <a:cubicBezTo>
                    <a:pt x="0" y="89"/>
                    <a:pt x="3" y="99"/>
                    <a:pt x="9" y="108"/>
                  </a:cubicBezTo>
                  <a:cubicBezTo>
                    <a:pt x="56" y="108"/>
                    <a:pt x="56" y="108"/>
                    <a:pt x="56" y="108"/>
                  </a:cubicBezTo>
                  <a:cubicBezTo>
                    <a:pt x="50" y="99"/>
                    <a:pt x="46" y="89"/>
                    <a:pt x="46" y="78"/>
                  </a:cubicBezTo>
                  <a:cubicBezTo>
                    <a:pt x="46" y="0"/>
                    <a:pt x="46" y="0"/>
                    <a:pt x="46" y="0"/>
                  </a:cubicBezTo>
                </a:path>
              </a:pathLst>
            </a:custGeom>
            <a:solidFill>
              <a:schemeClr val="accent2">
                <a:lumMod val="40000"/>
                <a:lumOff val="6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53" name="Rectangle 1606">
              <a:extLst>
                <a:ext uri="{FF2B5EF4-FFF2-40B4-BE49-F238E27FC236}">
                  <a16:creationId xmlns:a16="http://schemas.microsoft.com/office/drawing/2014/main" id="{F32AEB58-4C2A-4216-87A6-058D1C29C085}"/>
                </a:ext>
              </a:extLst>
            </p:cNvPr>
            <p:cNvSpPr>
              <a:spLocks noChangeArrowheads="1"/>
            </p:cNvSpPr>
            <p:nvPr userDrawn="1"/>
          </p:nvSpPr>
          <p:spPr bwMode="auto">
            <a:xfrm>
              <a:off x="9839326" y="5845175"/>
              <a:ext cx="92075" cy="41275"/>
            </a:xfrm>
            <a:prstGeom prst="rect">
              <a:avLst/>
            </a:prstGeom>
            <a:solidFill>
              <a:schemeClr val="accent2">
                <a:lumMod val="75000"/>
                <a:alpha val="3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54" name="Rectangle 1607">
              <a:extLst>
                <a:ext uri="{FF2B5EF4-FFF2-40B4-BE49-F238E27FC236}">
                  <a16:creationId xmlns:a16="http://schemas.microsoft.com/office/drawing/2014/main" id="{6FD6068C-82EC-4876-B181-DC87A3334B77}"/>
                </a:ext>
              </a:extLst>
            </p:cNvPr>
            <p:cNvSpPr>
              <a:spLocks noChangeArrowheads="1"/>
            </p:cNvSpPr>
            <p:nvPr userDrawn="1"/>
          </p:nvSpPr>
          <p:spPr bwMode="auto">
            <a:xfrm>
              <a:off x="9839326" y="5845175"/>
              <a:ext cx="92075" cy="4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55" name="Freeform 1608">
              <a:extLst>
                <a:ext uri="{FF2B5EF4-FFF2-40B4-BE49-F238E27FC236}">
                  <a16:creationId xmlns:a16="http://schemas.microsoft.com/office/drawing/2014/main" id="{B28D4D13-2E32-46D5-A4A0-101D7D8400B0}"/>
                </a:ext>
              </a:extLst>
            </p:cNvPr>
            <p:cNvSpPr>
              <a:spLocks/>
            </p:cNvSpPr>
            <p:nvPr userDrawn="1"/>
          </p:nvSpPr>
          <p:spPr bwMode="auto">
            <a:xfrm>
              <a:off x="10707688" y="4878388"/>
              <a:ext cx="849313" cy="1220788"/>
            </a:xfrm>
            <a:custGeom>
              <a:avLst/>
              <a:gdLst>
                <a:gd name="T0" fmla="*/ 383 w 429"/>
                <a:gd name="T1" fmla="*/ 0 h 617"/>
                <a:gd name="T2" fmla="*/ 0 w 429"/>
                <a:gd name="T3" fmla="*/ 0 h 617"/>
                <a:gd name="T4" fmla="*/ 0 w 429"/>
                <a:gd name="T5" fmla="*/ 488 h 617"/>
                <a:gd name="T6" fmla="*/ 63 w 429"/>
                <a:gd name="T7" fmla="*/ 488 h 617"/>
                <a:gd name="T8" fmla="*/ 53 w 429"/>
                <a:gd name="T9" fmla="*/ 557 h 617"/>
                <a:gd name="T10" fmla="*/ 23 w 429"/>
                <a:gd name="T11" fmla="*/ 614 h 617"/>
                <a:gd name="T12" fmla="*/ 20 w 429"/>
                <a:gd name="T13" fmla="*/ 617 h 617"/>
                <a:gd name="T14" fmla="*/ 419 w 429"/>
                <a:gd name="T15" fmla="*/ 617 h 617"/>
                <a:gd name="T16" fmla="*/ 429 w 429"/>
                <a:gd name="T17" fmla="*/ 587 h 617"/>
                <a:gd name="T18" fmla="*/ 429 w 429"/>
                <a:gd name="T19" fmla="*/ 49 h 617"/>
                <a:gd name="T20" fmla="*/ 383 w 429"/>
                <a:gd name="T21" fmla="*/ 0 h 6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29" h="617">
                  <a:moveTo>
                    <a:pt x="383" y="0"/>
                  </a:moveTo>
                  <a:cubicBezTo>
                    <a:pt x="0" y="0"/>
                    <a:pt x="0" y="0"/>
                    <a:pt x="0" y="0"/>
                  </a:cubicBezTo>
                  <a:cubicBezTo>
                    <a:pt x="0" y="488"/>
                    <a:pt x="0" y="488"/>
                    <a:pt x="0" y="488"/>
                  </a:cubicBezTo>
                  <a:cubicBezTo>
                    <a:pt x="63" y="488"/>
                    <a:pt x="63" y="488"/>
                    <a:pt x="63" y="488"/>
                  </a:cubicBezTo>
                  <a:cubicBezTo>
                    <a:pt x="53" y="557"/>
                    <a:pt x="53" y="557"/>
                    <a:pt x="53" y="557"/>
                  </a:cubicBezTo>
                  <a:cubicBezTo>
                    <a:pt x="49" y="580"/>
                    <a:pt x="38" y="600"/>
                    <a:pt x="23" y="614"/>
                  </a:cubicBezTo>
                  <a:cubicBezTo>
                    <a:pt x="22" y="615"/>
                    <a:pt x="21" y="616"/>
                    <a:pt x="20" y="617"/>
                  </a:cubicBezTo>
                  <a:cubicBezTo>
                    <a:pt x="419" y="617"/>
                    <a:pt x="419" y="617"/>
                    <a:pt x="419" y="617"/>
                  </a:cubicBezTo>
                  <a:cubicBezTo>
                    <a:pt x="425" y="608"/>
                    <a:pt x="429" y="598"/>
                    <a:pt x="429" y="587"/>
                  </a:cubicBezTo>
                  <a:cubicBezTo>
                    <a:pt x="429" y="49"/>
                    <a:pt x="429" y="49"/>
                    <a:pt x="429" y="49"/>
                  </a:cubicBezTo>
                  <a:cubicBezTo>
                    <a:pt x="429" y="22"/>
                    <a:pt x="408" y="0"/>
                    <a:pt x="383" y="0"/>
                  </a:cubicBezTo>
                </a:path>
              </a:pathLst>
            </a:custGeom>
            <a:solidFill>
              <a:schemeClr val="accent2">
                <a:lumMod val="40000"/>
                <a:lumOff val="6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56" name="Freeform 1609">
              <a:extLst>
                <a:ext uri="{FF2B5EF4-FFF2-40B4-BE49-F238E27FC236}">
                  <a16:creationId xmlns:a16="http://schemas.microsoft.com/office/drawing/2014/main" id="{8A86249E-FDAC-4A40-812F-57C085EF2B52}"/>
                </a:ext>
              </a:extLst>
            </p:cNvPr>
            <p:cNvSpPr>
              <a:spLocks/>
            </p:cNvSpPr>
            <p:nvPr userDrawn="1"/>
          </p:nvSpPr>
          <p:spPr bwMode="auto">
            <a:xfrm>
              <a:off x="10668001" y="4878388"/>
              <a:ext cx="39688" cy="966788"/>
            </a:xfrm>
            <a:custGeom>
              <a:avLst/>
              <a:gdLst>
                <a:gd name="T0" fmla="*/ 25 w 25"/>
                <a:gd name="T1" fmla="*/ 0 h 609"/>
                <a:gd name="T2" fmla="*/ 0 w 25"/>
                <a:gd name="T3" fmla="*/ 0 h 609"/>
                <a:gd name="T4" fmla="*/ 24 w 25"/>
                <a:gd name="T5" fmla="*/ 0 h 609"/>
                <a:gd name="T6" fmla="*/ 24 w 25"/>
                <a:gd name="T7" fmla="*/ 609 h 609"/>
                <a:gd name="T8" fmla="*/ 25 w 25"/>
                <a:gd name="T9" fmla="*/ 609 h 609"/>
                <a:gd name="T10" fmla="*/ 25 w 25"/>
                <a:gd name="T11" fmla="*/ 0 h 609"/>
              </a:gdLst>
              <a:ahLst/>
              <a:cxnLst>
                <a:cxn ang="0">
                  <a:pos x="T0" y="T1"/>
                </a:cxn>
                <a:cxn ang="0">
                  <a:pos x="T2" y="T3"/>
                </a:cxn>
                <a:cxn ang="0">
                  <a:pos x="T4" y="T5"/>
                </a:cxn>
                <a:cxn ang="0">
                  <a:pos x="T6" y="T7"/>
                </a:cxn>
                <a:cxn ang="0">
                  <a:pos x="T8" y="T9"/>
                </a:cxn>
                <a:cxn ang="0">
                  <a:pos x="T10" y="T11"/>
                </a:cxn>
              </a:cxnLst>
              <a:rect l="0" t="0" r="r" b="b"/>
              <a:pathLst>
                <a:path w="25" h="609">
                  <a:moveTo>
                    <a:pt x="25" y="0"/>
                  </a:moveTo>
                  <a:lnTo>
                    <a:pt x="0" y="0"/>
                  </a:lnTo>
                  <a:lnTo>
                    <a:pt x="24" y="0"/>
                  </a:lnTo>
                  <a:lnTo>
                    <a:pt x="24" y="609"/>
                  </a:lnTo>
                  <a:lnTo>
                    <a:pt x="25" y="609"/>
                  </a:lnTo>
                  <a:lnTo>
                    <a:pt x="25" y="0"/>
                  </a:lnTo>
                  <a:close/>
                </a:path>
              </a:pathLst>
            </a:custGeom>
            <a:solidFill>
              <a:srgbClr val="067C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57" name="Freeform 1610">
              <a:extLst>
                <a:ext uri="{FF2B5EF4-FFF2-40B4-BE49-F238E27FC236}">
                  <a16:creationId xmlns:a16="http://schemas.microsoft.com/office/drawing/2014/main" id="{A0A50B12-0626-4261-8FB7-175D08771460}"/>
                </a:ext>
              </a:extLst>
            </p:cNvPr>
            <p:cNvSpPr>
              <a:spLocks/>
            </p:cNvSpPr>
            <p:nvPr userDrawn="1"/>
          </p:nvSpPr>
          <p:spPr bwMode="auto">
            <a:xfrm>
              <a:off x="10668001" y="4878388"/>
              <a:ext cx="39688" cy="966788"/>
            </a:xfrm>
            <a:custGeom>
              <a:avLst/>
              <a:gdLst>
                <a:gd name="T0" fmla="*/ 25 w 25"/>
                <a:gd name="T1" fmla="*/ 0 h 609"/>
                <a:gd name="T2" fmla="*/ 0 w 25"/>
                <a:gd name="T3" fmla="*/ 0 h 609"/>
                <a:gd name="T4" fmla="*/ 24 w 25"/>
                <a:gd name="T5" fmla="*/ 0 h 609"/>
                <a:gd name="T6" fmla="*/ 24 w 25"/>
                <a:gd name="T7" fmla="*/ 609 h 609"/>
                <a:gd name="T8" fmla="*/ 25 w 25"/>
                <a:gd name="T9" fmla="*/ 609 h 609"/>
                <a:gd name="T10" fmla="*/ 25 w 25"/>
                <a:gd name="T11" fmla="*/ 0 h 609"/>
              </a:gdLst>
              <a:ahLst/>
              <a:cxnLst>
                <a:cxn ang="0">
                  <a:pos x="T0" y="T1"/>
                </a:cxn>
                <a:cxn ang="0">
                  <a:pos x="T2" y="T3"/>
                </a:cxn>
                <a:cxn ang="0">
                  <a:pos x="T4" y="T5"/>
                </a:cxn>
                <a:cxn ang="0">
                  <a:pos x="T6" y="T7"/>
                </a:cxn>
                <a:cxn ang="0">
                  <a:pos x="T8" y="T9"/>
                </a:cxn>
                <a:cxn ang="0">
                  <a:pos x="T10" y="T11"/>
                </a:cxn>
              </a:cxnLst>
              <a:rect l="0" t="0" r="r" b="b"/>
              <a:pathLst>
                <a:path w="25" h="609">
                  <a:moveTo>
                    <a:pt x="25" y="0"/>
                  </a:moveTo>
                  <a:lnTo>
                    <a:pt x="0" y="0"/>
                  </a:lnTo>
                  <a:lnTo>
                    <a:pt x="24" y="0"/>
                  </a:lnTo>
                  <a:lnTo>
                    <a:pt x="24" y="609"/>
                  </a:lnTo>
                  <a:lnTo>
                    <a:pt x="25" y="609"/>
                  </a:lnTo>
                  <a:lnTo>
                    <a:pt x="2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58" name="Freeform 1611">
              <a:extLst>
                <a:ext uri="{FF2B5EF4-FFF2-40B4-BE49-F238E27FC236}">
                  <a16:creationId xmlns:a16="http://schemas.microsoft.com/office/drawing/2014/main" id="{B6145715-CD26-4E21-9BF6-18001647CBB0}"/>
                </a:ext>
              </a:extLst>
            </p:cNvPr>
            <p:cNvSpPr>
              <a:spLocks/>
            </p:cNvSpPr>
            <p:nvPr userDrawn="1"/>
          </p:nvSpPr>
          <p:spPr bwMode="auto">
            <a:xfrm>
              <a:off x="10706101" y="5845175"/>
              <a:ext cx="125413" cy="254000"/>
            </a:xfrm>
            <a:custGeom>
              <a:avLst/>
              <a:gdLst>
                <a:gd name="T0" fmla="*/ 64 w 64"/>
                <a:gd name="T1" fmla="*/ 0 h 129"/>
                <a:gd name="T2" fmla="*/ 1 w 64"/>
                <a:gd name="T3" fmla="*/ 0 h 129"/>
                <a:gd name="T4" fmla="*/ 0 w 64"/>
                <a:gd name="T5" fmla="*/ 0 h 129"/>
                <a:gd name="T6" fmla="*/ 0 w 64"/>
                <a:gd name="T7" fmla="*/ 1 h 129"/>
                <a:gd name="T8" fmla="*/ 63 w 64"/>
                <a:gd name="T9" fmla="*/ 1 h 129"/>
                <a:gd name="T10" fmla="*/ 52 w 64"/>
                <a:gd name="T11" fmla="*/ 69 h 129"/>
                <a:gd name="T12" fmla="*/ 19 w 64"/>
                <a:gd name="T13" fmla="*/ 129 h 129"/>
                <a:gd name="T14" fmla="*/ 21 w 64"/>
                <a:gd name="T15" fmla="*/ 129 h 129"/>
                <a:gd name="T16" fmla="*/ 24 w 64"/>
                <a:gd name="T17" fmla="*/ 126 h 129"/>
                <a:gd name="T18" fmla="*/ 54 w 64"/>
                <a:gd name="T19" fmla="*/ 69 h 129"/>
                <a:gd name="T20" fmla="*/ 64 w 64"/>
                <a:gd name="T21" fmla="*/ 0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 h="129">
                  <a:moveTo>
                    <a:pt x="64" y="0"/>
                  </a:moveTo>
                  <a:cubicBezTo>
                    <a:pt x="1" y="0"/>
                    <a:pt x="1" y="0"/>
                    <a:pt x="1" y="0"/>
                  </a:cubicBezTo>
                  <a:cubicBezTo>
                    <a:pt x="0" y="0"/>
                    <a:pt x="0" y="0"/>
                    <a:pt x="0" y="0"/>
                  </a:cubicBezTo>
                  <a:cubicBezTo>
                    <a:pt x="0" y="1"/>
                    <a:pt x="0" y="1"/>
                    <a:pt x="0" y="1"/>
                  </a:cubicBezTo>
                  <a:cubicBezTo>
                    <a:pt x="63" y="1"/>
                    <a:pt x="63" y="1"/>
                    <a:pt x="63" y="1"/>
                  </a:cubicBezTo>
                  <a:cubicBezTo>
                    <a:pt x="52" y="69"/>
                    <a:pt x="52" y="69"/>
                    <a:pt x="52" y="69"/>
                  </a:cubicBezTo>
                  <a:cubicBezTo>
                    <a:pt x="49" y="94"/>
                    <a:pt x="36" y="115"/>
                    <a:pt x="19" y="129"/>
                  </a:cubicBezTo>
                  <a:cubicBezTo>
                    <a:pt x="21" y="129"/>
                    <a:pt x="21" y="129"/>
                    <a:pt x="21" y="129"/>
                  </a:cubicBezTo>
                  <a:cubicBezTo>
                    <a:pt x="22" y="128"/>
                    <a:pt x="23" y="127"/>
                    <a:pt x="24" y="126"/>
                  </a:cubicBezTo>
                  <a:cubicBezTo>
                    <a:pt x="39" y="112"/>
                    <a:pt x="50" y="92"/>
                    <a:pt x="54" y="69"/>
                  </a:cubicBezTo>
                  <a:cubicBezTo>
                    <a:pt x="64" y="0"/>
                    <a:pt x="64" y="0"/>
                    <a:pt x="64" y="0"/>
                  </a:cubicBezTo>
                </a:path>
              </a:pathLst>
            </a:custGeom>
            <a:solidFill>
              <a:srgbClr val="067C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59" name="Freeform 1612">
              <a:extLst>
                <a:ext uri="{FF2B5EF4-FFF2-40B4-BE49-F238E27FC236}">
                  <a16:creationId xmlns:a16="http://schemas.microsoft.com/office/drawing/2014/main" id="{FEF264AB-658E-48DF-8AD4-F99410D2AD7C}"/>
                </a:ext>
              </a:extLst>
            </p:cNvPr>
            <p:cNvSpPr>
              <a:spLocks noEditPoints="1"/>
            </p:cNvSpPr>
            <p:nvPr userDrawn="1"/>
          </p:nvSpPr>
          <p:spPr bwMode="auto">
            <a:xfrm>
              <a:off x="10013951" y="4878388"/>
              <a:ext cx="390525" cy="19050"/>
            </a:xfrm>
            <a:custGeom>
              <a:avLst/>
              <a:gdLst>
                <a:gd name="T0" fmla="*/ 47 w 197"/>
                <a:gd name="T1" fmla="*/ 0 h 9"/>
                <a:gd name="T2" fmla="*/ 4 w 197"/>
                <a:gd name="T3" fmla="*/ 0 h 9"/>
                <a:gd name="T4" fmla="*/ 0 w 197"/>
                <a:gd name="T5" fmla="*/ 0 h 9"/>
                <a:gd name="T6" fmla="*/ 0 w 197"/>
                <a:gd name="T7" fmla="*/ 9 h 9"/>
                <a:gd name="T8" fmla="*/ 79 w 197"/>
                <a:gd name="T9" fmla="*/ 9 h 9"/>
                <a:gd name="T10" fmla="*/ 47 w 197"/>
                <a:gd name="T11" fmla="*/ 9 h 9"/>
                <a:gd name="T12" fmla="*/ 47 w 197"/>
                <a:gd name="T13" fmla="*/ 0 h 9"/>
                <a:gd name="T14" fmla="*/ 191 w 197"/>
                <a:gd name="T15" fmla="*/ 0 h 9"/>
                <a:gd name="T16" fmla="*/ 126 w 197"/>
                <a:gd name="T17" fmla="*/ 0 h 9"/>
                <a:gd name="T18" fmla="*/ 144 w 197"/>
                <a:gd name="T19" fmla="*/ 0 h 9"/>
                <a:gd name="T20" fmla="*/ 144 w 197"/>
                <a:gd name="T21" fmla="*/ 9 h 9"/>
                <a:gd name="T22" fmla="*/ 197 w 197"/>
                <a:gd name="T23" fmla="*/ 9 h 9"/>
                <a:gd name="T24" fmla="*/ 191 w 197"/>
                <a:gd name="T25" fmla="*/ 9 h 9"/>
                <a:gd name="T26" fmla="*/ 191 w 197"/>
                <a:gd name="T27"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7" h="9">
                  <a:moveTo>
                    <a:pt x="47" y="0"/>
                  </a:moveTo>
                  <a:cubicBezTo>
                    <a:pt x="4" y="0"/>
                    <a:pt x="4" y="0"/>
                    <a:pt x="4" y="0"/>
                  </a:cubicBezTo>
                  <a:cubicBezTo>
                    <a:pt x="3" y="0"/>
                    <a:pt x="1" y="0"/>
                    <a:pt x="0" y="0"/>
                  </a:cubicBezTo>
                  <a:cubicBezTo>
                    <a:pt x="0" y="9"/>
                    <a:pt x="0" y="9"/>
                    <a:pt x="0" y="9"/>
                  </a:cubicBezTo>
                  <a:cubicBezTo>
                    <a:pt x="79" y="9"/>
                    <a:pt x="79" y="9"/>
                    <a:pt x="79" y="9"/>
                  </a:cubicBezTo>
                  <a:cubicBezTo>
                    <a:pt x="47" y="9"/>
                    <a:pt x="47" y="9"/>
                    <a:pt x="47" y="9"/>
                  </a:cubicBezTo>
                  <a:cubicBezTo>
                    <a:pt x="47" y="0"/>
                    <a:pt x="47" y="0"/>
                    <a:pt x="47" y="0"/>
                  </a:cubicBezTo>
                  <a:moveTo>
                    <a:pt x="191" y="0"/>
                  </a:moveTo>
                  <a:cubicBezTo>
                    <a:pt x="126" y="0"/>
                    <a:pt x="126" y="0"/>
                    <a:pt x="126" y="0"/>
                  </a:cubicBezTo>
                  <a:cubicBezTo>
                    <a:pt x="144" y="0"/>
                    <a:pt x="144" y="0"/>
                    <a:pt x="144" y="0"/>
                  </a:cubicBezTo>
                  <a:cubicBezTo>
                    <a:pt x="144" y="9"/>
                    <a:pt x="144" y="9"/>
                    <a:pt x="144" y="9"/>
                  </a:cubicBezTo>
                  <a:cubicBezTo>
                    <a:pt x="197" y="9"/>
                    <a:pt x="197" y="9"/>
                    <a:pt x="197" y="9"/>
                  </a:cubicBezTo>
                  <a:cubicBezTo>
                    <a:pt x="191" y="9"/>
                    <a:pt x="191" y="9"/>
                    <a:pt x="191" y="9"/>
                  </a:cubicBezTo>
                  <a:cubicBezTo>
                    <a:pt x="191" y="0"/>
                    <a:pt x="191" y="0"/>
                    <a:pt x="191" y="0"/>
                  </a:cubicBezTo>
                </a:path>
              </a:pathLst>
            </a:custGeom>
            <a:solidFill>
              <a:schemeClr val="accent2">
                <a:lumMod val="40000"/>
                <a:lumOff val="6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60" name="Freeform 1613">
              <a:extLst>
                <a:ext uri="{FF2B5EF4-FFF2-40B4-BE49-F238E27FC236}">
                  <a16:creationId xmlns:a16="http://schemas.microsoft.com/office/drawing/2014/main" id="{99325397-BA3E-4609-96BB-446A0372476B}"/>
                </a:ext>
              </a:extLst>
            </p:cNvPr>
            <p:cNvSpPr>
              <a:spLocks/>
            </p:cNvSpPr>
            <p:nvPr userDrawn="1"/>
          </p:nvSpPr>
          <p:spPr bwMode="auto">
            <a:xfrm>
              <a:off x="9931401" y="4878388"/>
              <a:ext cx="736600" cy="966788"/>
            </a:xfrm>
            <a:custGeom>
              <a:avLst/>
              <a:gdLst>
                <a:gd name="T0" fmla="*/ 464 w 464"/>
                <a:gd name="T1" fmla="*/ 0 h 609"/>
                <a:gd name="T2" fmla="*/ 379 w 464"/>
                <a:gd name="T3" fmla="*/ 0 h 609"/>
                <a:gd name="T4" fmla="*/ 379 w 464"/>
                <a:gd name="T5" fmla="*/ 551 h 609"/>
                <a:gd name="T6" fmla="*/ 0 w 464"/>
                <a:gd name="T7" fmla="*/ 551 h 609"/>
                <a:gd name="T8" fmla="*/ 0 w 464"/>
                <a:gd name="T9" fmla="*/ 609 h 609"/>
                <a:gd name="T10" fmla="*/ 464 w 464"/>
                <a:gd name="T11" fmla="*/ 609 h 609"/>
                <a:gd name="T12" fmla="*/ 464 w 464"/>
                <a:gd name="T13" fmla="*/ 0 h 609"/>
              </a:gdLst>
              <a:ahLst/>
              <a:cxnLst>
                <a:cxn ang="0">
                  <a:pos x="T0" y="T1"/>
                </a:cxn>
                <a:cxn ang="0">
                  <a:pos x="T2" y="T3"/>
                </a:cxn>
                <a:cxn ang="0">
                  <a:pos x="T4" y="T5"/>
                </a:cxn>
                <a:cxn ang="0">
                  <a:pos x="T6" y="T7"/>
                </a:cxn>
                <a:cxn ang="0">
                  <a:pos x="T8" y="T9"/>
                </a:cxn>
                <a:cxn ang="0">
                  <a:pos x="T10" y="T11"/>
                </a:cxn>
                <a:cxn ang="0">
                  <a:pos x="T12" y="T13"/>
                </a:cxn>
              </a:cxnLst>
              <a:rect l="0" t="0" r="r" b="b"/>
              <a:pathLst>
                <a:path w="464" h="609">
                  <a:moveTo>
                    <a:pt x="464" y="0"/>
                  </a:moveTo>
                  <a:lnTo>
                    <a:pt x="379" y="0"/>
                  </a:lnTo>
                  <a:lnTo>
                    <a:pt x="379" y="551"/>
                  </a:lnTo>
                  <a:lnTo>
                    <a:pt x="0" y="551"/>
                  </a:lnTo>
                  <a:lnTo>
                    <a:pt x="0" y="609"/>
                  </a:lnTo>
                  <a:lnTo>
                    <a:pt x="464" y="609"/>
                  </a:lnTo>
                  <a:lnTo>
                    <a:pt x="464" y="0"/>
                  </a:lnTo>
                  <a:close/>
                </a:path>
              </a:pathLst>
            </a:custGeom>
            <a:solidFill>
              <a:srgbClr val="3189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61" name="Freeform 1614">
              <a:extLst>
                <a:ext uri="{FF2B5EF4-FFF2-40B4-BE49-F238E27FC236}">
                  <a16:creationId xmlns:a16="http://schemas.microsoft.com/office/drawing/2014/main" id="{A88052FB-DFFD-41C7-90A2-2DD2D9F5A2D4}"/>
                </a:ext>
              </a:extLst>
            </p:cNvPr>
            <p:cNvSpPr>
              <a:spLocks/>
            </p:cNvSpPr>
            <p:nvPr userDrawn="1"/>
          </p:nvSpPr>
          <p:spPr bwMode="auto">
            <a:xfrm>
              <a:off x="9931401" y="4878388"/>
              <a:ext cx="736600" cy="966788"/>
            </a:xfrm>
            <a:custGeom>
              <a:avLst/>
              <a:gdLst>
                <a:gd name="T0" fmla="*/ 464 w 464"/>
                <a:gd name="T1" fmla="*/ 0 h 609"/>
                <a:gd name="T2" fmla="*/ 379 w 464"/>
                <a:gd name="T3" fmla="*/ 0 h 609"/>
                <a:gd name="T4" fmla="*/ 379 w 464"/>
                <a:gd name="T5" fmla="*/ 551 h 609"/>
                <a:gd name="T6" fmla="*/ 0 w 464"/>
                <a:gd name="T7" fmla="*/ 551 h 609"/>
                <a:gd name="T8" fmla="*/ 0 w 464"/>
                <a:gd name="T9" fmla="*/ 609 h 609"/>
                <a:gd name="T10" fmla="*/ 464 w 464"/>
                <a:gd name="T11" fmla="*/ 609 h 609"/>
                <a:gd name="T12" fmla="*/ 464 w 464"/>
                <a:gd name="T13" fmla="*/ 0 h 609"/>
              </a:gdLst>
              <a:ahLst/>
              <a:cxnLst>
                <a:cxn ang="0">
                  <a:pos x="T0" y="T1"/>
                </a:cxn>
                <a:cxn ang="0">
                  <a:pos x="T2" y="T3"/>
                </a:cxn>
                <a:cxn ang="0">
                  <a:pos x="T4" y="T5"/>
                </a:cxn>
                <a:cxn ang="0">
                  <a:pos x="T6" y="T7"/>
                </a:cxn>
                <a:cxn ang="0">
                  <a:pos x="T8" y="T9"/>
                </a:cxn>
                <a:cxn ang="0">
                  <a:pos x="T10" y="T11"/>
                </a:cxn>
                <a:cxn ang="0">
                  <a:pos x="T12" y="T13"/>
                </a:cxn>
              </a:cxnLst>
              <a:rect l="0" t="0" r="r" b="b"/>
              <a:pathLst>
                <a:path w="464" h="609">
                  <a:moveTo>
                    <a:pt x="464" y="0"/>
                  </a:moveTo>
                  <a:lnTo>
                    <a:pt x="379" y="0"/>
                  </a:lnTo>
                  <a:lnTo>
                    <a:pt x="379" y="551"/>
                  </a:lnTo>
                  <a:lnTo>
                    <a:pt x="0" y="551"/>
                  </a:lnTo>
                  <a:lnTo>
                    <a:pt x="0" y="609"/>
                  </a:lnTo>
                  <a:lnTo>
                    <a:pt x="464" y="609"/>
                  </a:lnTo>
                  <a:lnTo>
                    <a:pt x="46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62" name="Rectangle 1615">
              <a:extLst>
                <a:ext uri="{FF2B5EF4-FFF2-40B4-BE49-F238E27FC236}">
                  <a16:creationId xmlns:a16="http://schemas.microsoft.com/office/drawing/2014/main" id="{2AD26B10-3094-4191-BC75-BB24FE114759}"/>
                </a:ext>
              </a:extLst>
            </p:cNvPr>
            <p:cNvSpPr>
              <a:spLocks noChangeArrowheads="1"/>
            </p:cNvSpPr>
            <p:nvPr userDrawn="1"/>
          </p:nvSpPr>
          <p:spPr bwMode="auto">
            <a:xfrm>
              <a:off x="10668001" y="4878388"/>
              <a:ext cx="38100" cy="966788"/>
            </a:xfrm>
            <a:prstGeom prst="rect">
              <a:avLst/>
            </a:prstGeom>
            <a:solidFill>
              <a:srgbClr val="0675B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63" name="Rectangle 1616">
              <a:extLst>
                <a:ext uri="{FF2B5EF4-FFF2-40B4-BE49-F238E27FC236}">
                  <a16:creationId xmlns:a16="http://schemas.microsoft.com/office/drawing/2014/main" id="{A9CA45B0-79B8-4303-97E8-6D6ACBB86F70}"/>
                </a:ext>
              </a:extLst>
            </p:cNvPr>
            <p:cNvSpPr>
              <a:spLocks noChangeArrowheads="1"/>
            </p:cNvSpPr>
            <p:nvPr userDrawn="1"/>
          </p:nvSpPr>
          <p:spPr bwMode="auto">
            <a:xfrm>
              <a:off x="10668001" y="4878388"/>
              <a:ext cx="38100" cy="966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64" name="Freeform 1617">
              <a:extLst>
                <a:ext uri="{FF2B5EF4-FFF2-40B4-BE49-F238E27FC236}">
                  <a16:creationId xmlns:a16="http://schemas.microsoft.com/office/drawing/2014/main" id="{670CF802-12EF-434B-872E-210BEAC83462}"/>
                </a:ext>
              </a:extLst>
            </p:cNvPr>
            <p:cNvSpPr>
              <a:spLocks/>
            </p:cNvSpPr>
            <p:nvPr userDrawn="1"/>
          </p:nvSpPr>
          <p:spPr bwMode="auto">
            <a:xfrm>
              <a:off x="9931401" y="4878388"/>
              <a:ext cx="601663" cy="874713"/>
            </a:xfrm>
            <a:custGeom>
              <a:avLst/>
              <a:gdLst>
                <a:gd name="T0" fmla="*/ 304 w 304"/>
                <a:gd name="T1" fmla="*/ 0 h 442"/>
                <a:gd name="T2" fmla="*/ 286 w 304"/>
                <a:gd name="T3" fmla="*/ 0 h 442"/>
                <a:gd name="T4" fmla="*/ 286 w 304"/>
                <a:gd name="T5" fmla="*/ 9 h 442"/>
                <a:gd name="T6" fmla="*/ 239 w 304"/>
                <a:gd name="T7" fmla="*/ 9 h 442"/>
                <a:gd name="T8" fmla="*/ 186 w 304"/>
                <a:gd name="T9" fmla="*/ 9 h 442"/>
                <a:gd name="T10" fmla="*/ 186 w 304"/>
                <a:gd name="T11" fmla="*/ 0 h 442"/>
                <a:gd name="T12" fmla="*/ 168 w 304"/>
                <a:gd name="T13" fmla="*/ 0 h 442"/>
                <a:gd name="T14" fmla="*/ 168 w 304"/>
                <a:gd name="T15" fmla="*/ 9 h 442"/>
                <a:gd name="T16" fmla="*/ 121 w 304"/>
                <a:gd name="T17" fmla="*/ 9 h 442"/>
                <a:gd name="T18" fmla="*/ 42 w 304"/>
                <a:gd name="T19" fmla="*/ 9 h 442"/>
                <a:gd name="T20" fmla="*/ 42 w 304"/>
                <a:gd name="T21" fmla="*/ 0 h 442"/>
                <a:gd name="T22" fmla="*/ 0 w 304"/>
                <a:gd name="T23" fmla="*/ 49 h 442"/>
                <a:gd name="T24" fmla="*/ 0 w 304"/>
                <a:gd name="T25" fmla="*/ 442 h 442"/>
                <a:gd name="T26" fmla="*/ 304 w 304"/>
                <a:gd name="T27" fmla="*/ 442 h 442"/>
                <a:gd name="T28" fmla="*/ 304 w 304"/>
                <a:gd name="T29" fmla="*/ 0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4" h="442">
                  <a:moveTo>
                    <a:pt x="304" y="0"/>
                  </a:moveTo>
                  <a:cubicBezTo>
                    <a:pt x="286" y="0"/>
                    <a:pt x="286" y="0"/>
                    <a:pt x="286" y="0"/>
                  </a:cubicBezTo>
                  <a:cubicBezTo>
                    <a:pt x="286" y="9"/>
                    <a:pt x="286" y="9"/>
                    <a:pt x="286" y="9"/>
                  </a:cubicBezTo>
                  <a:cubicBezTo>
                    <a:pt x="239" y="9"/>
                    <a:pt x="239" y="9"/>
                    <a:pt x="239" y="9"/>
                  </a:cubicBezTo>
                  <a:cubicBezTo>
                    <a:pt x="186" y="9"/>
                    <a:pt x="186" y="9"/>
                    <a:pt x="186" y="9"/>
                  </a:cubicBezTo>
                  <a:cubicBezTo>
                    <a:pt x="186" y="0"/>
                    <a:pt x="186" y="0"/>
                    <a:pt x="186" y="0"/>
                  </a:cubicBezTo>
                  <a:cubicBezTo>
                    <a:pt x="168" y="0"/>
                    <a:pt x="168" y="0"/>
                    <a:pt x="168" y="0"/>
                  </a:cubicBezTo>
                  <a:cubicBezTo>
                    <a:pt x="168" y="9"/>
                    <a:pt x="168" y="9"/>
                    <a:pt x="168" y="9"/>
                  </a:cubicBezTo>
                  <a:cubicBezTo>
                    <a:pt x="121" y="9"/>
                    <a:pt x="121" y="9"/>
                    <a:pt x="121" y="9"/>
                  </a:cubicBezTo>
                  <a:cubicBezTo>
                    <a:pt x="42" y="9"/>
                    <a:pt x="42" y="9"/>
                    <a:pt x="42" y="9"/>
                  </a:cubicBezTo>
                  <a:cubicBezTo>
                    <a:pt x="42" y="0"/>
                    <a:pt x="42" y="0"/>
                    <a:pt x="42" y="0"/>
                  </a:cubicBezTo>
                  <a:cubicBezTo>
                    <a:pt x="19" y="2"/>
                    <a:pt x="0" y="23"/>
                    <a:pt x="0" y="49"/>
                  </a:cubicBezTo>
                  <a:cubicBezTo>
                    <a:pt x="0" y="442"/>
                    <a:pt x="0" y="442"/>
                    <a:pt x="0" y="442"/>
                  </a:cubicBezTo>
                  <a:cubicBezTo>
                    <a:pt x="304" y="442"/>
                    <a:pt x="304" y="442"/>
                    <a:pt x="304" y="442"/>
                  </a:cubicBezTo>
                  <a:cubicBezTo>
                    <a:pt x="304" y="0"/>
                    <a:pt x="304" y="0"/>
                    <a:pt x="304" y="0"/>
                  </a:cubicBezTo>
                </a:path>
              </a:pathLst>
            </a:custGeom>
            <a:solidFill>
              <a:srgbClr val="7FB0C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65" name="Freeform 1618">
              <a:extLst>
                <a:ext uri="{FF2B5EF4-FFF2-40B4-BE49-F238E27FC236}">
                  <a16:creationId xmlns:a16="http://schemas.microsoft.com/office/drawing/2014/main" id="{EFF89789-FAAB-4355-83FA-283DE1676686}"/>
                </a:ext>
              </a:extLst>
            </p:cNvPr>
            <p:cNvSpPr>
              <a:spLocks/>
            </p:cNvSpPr>
            <p:nvPr userDrawn="1"/>
          </p:nvSpPr>
          <p:spPr bwMode="auto">
            <a:xfrm>
              <a:off x="9931401" y="5886450"/>
              <a:ext cx="855663" cy="212725"/>
            </a:xfrm>
            <a:custGeom>
              <a:avLst/>
              <a:gdLst>
                <a:gd name="T0" fmla="*/ 432 w 432"/>
                <a:gd name="T1" fmla="*/ 0 h 108"/>
                <a:gd name="T2" fmla="*/ 0 w 432"/>
                <a:gd name="T3" fmla="*/ 0 h 108"/>
                <a:gd name="T4" fmla="*/ 0 w 432"/>
                <a:gd name="T5" fmla="*/ 78 h 108"/>
                <a:gd name="T6" fmla="*/ 10 w 432"/>
                <a:gd name="T7" fmla="*/ 108 h 108"/>
                <a:gd name="T8" fmla="*/ 357 w 432"/>
                <a:gd name="T9" fmla="*/ 108 h 108"/>
                <a:gd name="T10" fmla="*/ 401 w 432"/>
                <a:gd name="T11" fmla="*/ 90 h 108"/>
                <a:gd name="T12" fmla="*/ 425 w 432"/>
                <a:gd name="T13" fmla="*/ 45 h 108"/>
                <a:gd name="T14" fmla="*/ 432 w 432"/>
                <a:gd name="T15" fmla="*/ 0 h 1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32" h="108">
                  <a:moveTo>
                    <a:pt x="432" y="0"/>
                  </a:moveTo>
                  <a:cubicBezTo>
                    <a:pt x="0" y="0"/>
                    <a:pt x="0" y="0"/>
                    <a:pt x="0" y="0"/>
                  </a:cubicBezTo>
                  <a:cubicBezTo>
                    <a:pt x="0" y="78"/>
                    <a:pt x="0" y="78"/>
                    <a:pt x="0" y="78"/>
                  </a:cubicBezTo>
                  <a:cubicBezTo>
                    <a:pt x="0" y="89"/>
                    <a:pt x="4" y="99"/>
                    <a:pt x="10" y="108"/>
                  </a:cubicBezTo>
                  <a:cubicBezTo>
                    <a:pt x="357" y="108"/>
                    <a:pt x="357" y="108"/>
                    <a:pt x="357" y="108"/>
                  </a:cubicBezTo>
                  <a:cubicBezTo>
                    <a:pt x="373" y="108"/>
                    <a:pt x="389" y="101"/>
                    <a:pt x="401" y="90"/>
                  </a:cubicBezTo>
                  <a:cubicBezTo>
                    <a:pt x="413" y="79"/>
                    <a:pt x="422" y="64"/>
                    <a:pt x="425" y="45"/>
                  </a:cubicBezTo>
                  <a:cubicBezTo>
                    <a:pt x="432" y="0"/>
                    <a:pt x="432" y="0"/>
                    <a:pt x="432" y="0"/>
                  </a:cubicBezTo>
                </a:path>
              </a:pathLst>
            </a:custGeom>
            <a:solidFill>
              <a:srgbClr val="7FB0C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66" name="Freeform 1619">
              <a:extLst>
                <a:ext uri="{FF2B5EF4-FFF2-40B4-BE49-F238E27FC236}">
                  <a16:creationId xmlns:a16="http://schemas.microsoft.com/office/drawing/2014/main" id="{C02C7B25-32AC-4A96-B98C-CF7A6CFD8139}"/>
                </a:ext>
              </a:extLst>
            </p:cNvPr>
            <p:cNvSpPr>
              <a:spLocks/>
            </p:cNvSpPr>
            <p:nvPr userDrawn="1"/>
          </p:nvSpPr>
          <p:spPr bwMode="auto">
            <a:xfrm>
              <a:off x="9931401" y="5845175"/>
              <a:ext cx="898525" cy="254000"/>
            </a:xfrm>
            <a:custGeom>
              <a:avLst/>
              <a:gdLst>
                <a:gd name="T0" fmla="*/ 391 w 454"/>
                <a:gd name="T1" fmla="*/ 0 h 129"/>
                <a:gd name="T2" fmla="*/ 372 w 454"/>
                <a:gd name="T3" fmla="*/ 0 h 129"/>
                <a:gd name="T4" fmla="*/ 0 w 454"/>
                <a:gd name="T5" fmla="*/ 0 h 129"/>
                <a:gd name="T6" fmla="*/ 0 w 454"/>
                <a:gd name="T7" fmla="*/ 21 h 129"/>
                <a:gd name="T8" fmla="*/ 432 w 454"/>
                <a:gd name="T9" fmla="*/ 21 h 129"/>
                <a:gd name="T10" fmla="*/ 425 w 454"/>
                <a:gd name="T11" fmla="*/ 66 h 129"/>
                <a:gd name="T12" fmla="*/ 401 w 454"/>
                <a:gd name="T13" fmla="*/ 111 h 129"/>
                <a:gd name="T14" fmla="*/ 357 w 454"/>
                <a:gd name="T15" fmla="*/ 129 h 129"/>
                <a:gd name="T16" fmla="*/ 410 w 454"/>
                <a:gd name="T17" fmla="*/ 129 h 129"/>
                <a:gd name="T18" fmla="*/ 443 w 454"/>
                <a:gd name="T19" fmla="*/ 69 h 129"/>
                <a:gd name="T20" fmla="*/ 454 w 454"/>
                <a:gd name="T21" fmla="*/ 1 h 129"/>
                <a:gd name="T22" fmla="*/ 391 w 454"/>
                <a:gd name="T23" fmla="*/ 1 h 129"/>
                <a:gd name="T24" fmla="*/ 391 w 454"/>
                <a:gd name="T25" fmla="*/ 0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54" h="129">
                  <a:moveTo>
                    <a:pt x="391" y="0"/>
                  </a:moveTo>
                  <a:cubicBezTo>
                    <a:pt x="372" y="0"/>
                    <a:pt x="372" y="0"/>
                    <a:pt x="372" y="0"/>
                  </a:cubicBezTo>
                  <a:cubicBezTo>
                    <a:pt x="0" y="0"/>
                    <a:pt x="0" y="0"/>
                    <a:pt x="0" y="0"/>
                  </a:cubicBezTo>
                  <a:cubicBezTo>
                    <a:pt x="0" y="21"/>
                    <a:pt x="0" y="21"/>
                    <a:pt x="0" y="21"/>
                  </a:cubicBezTo>
                  <a:cubicBezTo>
                    <a:pt x="432" y="21"/>
                    <a:pt x="432" y="21"/>
                    <a:pt x="432" y="21"/>
                  </a:cubicBezTo>
                  <a:cubicBezTo>
                    <a:pt x="425" y="66"/>
                    <a:pt x="425" y="66"/>
                    <a:pt x="425" y="66"/>
                  </a:cubicBezTo>
                  <a:cubicBezTo>
                    <a:pt x="422" y="85"/>
                    <a:pt x="413" y="100"/>
                    <a:pt x="401" y="111"/>
                  </a:cubicBezTo>
                  <a:cubicBezTo>
                    <a:pt x="389" y="122"/>
                    <a:pt x="373" y="129"/>
                    <a:pt x="357" y="129"/>
                  </a:cubicBezTo>
                  <a:cubicBezTo>
                    <a:pt x="410" y="129"/>
                    <a:pt x="410" y="129"/>
                    <a:pt x="410" y="129"/>
                  </a:cubicBezTo>
                  <a:cubicBezTo>
                    <a:pt x="427" y="115"/>
                    <a:pt x="440" y="94"/>
                    <a:pt x="443" y="69"/>
                  </a:cubicBezTo>
                  <a:cubicBezTo>
                    <a:pt x="454" y="1"/>
                    <a:pt x="454" y="1"/>
                    <a:pt x="454" y="1"/>
                  </a:cubicBezTo>
                  <a:cubicBezTo>
                    <a:pt x="391" y="1"/>
                    <a:pt x="391" y="1"/>
                    <a:pt x="391" y="1"/>
                  </a:cubicBezTo>
                  <a:cubicBezTo>
                    <a:pt x="391" y="0"/>
                    <a:pt x="391" y="0"/>
                    <a:pt x="391" y="0"/>
                  </a:cubicBezTo>
                </a:path>
              </a:pathLst>
            </a:custGeom>
            <a:solidFill>
              <a:srgbClr val="0675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67" name="Freeform 1620">
              <a:extLst>
                <a:ext uri="{FF2B5EF4-FFF2-40B4-BE49-F238E27FC236}">
                  <a16:creationId xmlns:a16="http://schemas.microsoft.com/office/drawing/2014/main" id="{B390C003-D3A3-4DBF-8F8E-83BBC565C55A}"/>
                </a:ext>
              </a:extLst>
            </p:cNvPr>
            <p:cNvSpPr>
              <a:spLocks/>
            </p:cNvSpPr>
            <p:nvPr userDrawn="1"/>
          </p:nvSpPr>
          <p:spPr bwMode="auto">
            <a:xfrm>
              <a:off x="9902826" y="4897438"/>
              <a:ext cx="1590675" cy="1222375"/>
            </a:xfrm>
            <a:custGeom>
              <a:avLst/>
              <a:gdLst>
                <a:gd name="T0" fmla="*/ 795 w 803"/>
                <a:gd name="T1" fmla="*/ 618 h 618"/>
                <a:gd name="T2" fmla="*/ 7 w 803"/>
                <a:gd name="T3" fmla="*/ 618 h 618"/>
                <a:gd name="T4" fmla="*/ 0 w 803"/>
                <a:gd name="T5" fmla="*/ 610 h 618"/>
                <a:gd name="T6" fmla="*/ 0 w 803"/>
                <a:gd name="T7" fmla="*/ 8 h 618"/>
                <a:gd name="T8" fmla="*/ 7 w 803"/>
                <a:gd name="T9" fmla="*/ 0 h 618"/>
                <a:gd name="T10" fmla="*/ 795 w 803"/>
                <a:gd name="T11" fmla="*/ 0 h 618"/>
                <a:gd name="T12" fmla="*/ 803 w 803"/>
                <a:gd name="T13" fmla="*/ 8 h 618"/>
                <a:gd name="T14" fmla="*/ 803 w 803"/>
                <a:gd name="T15" fmla="*/ 610 h 618"/>
                <a:gd name="T16" fmla="*/ 795 w 803"/>
                <a:gd name="T17" fmla="*/ 618 h 6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03" h="618">
                  <a:moveTo>
                    <a:pt x="795" y="618"/>
                  </a:moveTo>
                  <a:cubicBezTo>
                    <a:pt x="7" y="618"/>
                    <a:pt x="7" y="618"/>
                    <a:pt x="7" y="618"/>
                  </a:cubicBezTo>
                  <a:cubicBezTo>
                    <a:pt x="3" y="618"/>
                    <a:pt x="0" y="614"/>
                    <a:pt x="0" y="610"/>
                  </a:cubicBezTo>
                  <a:cubicBezTo>
                    <a:pt x="0" y="8"/>
                    <a:pt x="0" y="8"/>
                    <a:pt x="0" y="8"/>
                  </a:cubicBezTo>
                  <a:cubicBezTo>
                    <a:pt x="0" y="3"/>
                    <a:pt x="3" y="0"/>
                    <a:pt x="7" y="0"/>
                  </a:cubicBezTo>
                  <a:cubicBezTo>
                    <a:pt x="795" y="0"/>
                    <a:pt x="795" y="0"/>
                    <a:pt x="795" y="0"/>
                  </a:cubicBezTo>
                  <a:cubicBezTo>
                    <a:pt x="799" y="0"/>
                    <a:pt x="803" y="3"/>
                    <a:pt x="803" y="8"/>
                  </a:cubicBezTo>
                  <a:cubicBezTo>
                    <a:pt x="803" y="610"/>
                    <a:pt x="803" y="610"/>
                    <a:pt x="803" y="610"/>
                  </a:cubicBezTo>
                  <a:cubicBezTo>
                    <a:pt x="803" y="614"/>
                    <a:pt x="799" y="618"/>
                    <a:pt x="795" y="61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68" name="Freeform 1621">
              <a:extLst>
                <a:ext uri="{FF2B5EF4-FFF2-40B4-BE49-F238E27FC236}">
                  <a16:creationId xmlns:a16="http://schemas.microsoft.com/office/drawing/2014/main" id="{C264192F-DA07-4526-A06B-6159A45B1C5F}"/>
                </a:ext>
              </a:extLst>
            </p:cNvPr>
            <p:cNvSpPr>
              <a:spLocks/>
            </p:cNvSpPr>
            <p:nvPr userDrawn="1"/>
          </p:nvSpPr>
          <p:spPr bwMode="auto">
            <a:xfrm>
              <a:off x="9883776" y="4876800"/>
              <a:ext cx="1628775" cy="1262063"/>
            </a:xfrm>
            <a:custGeom>
              <a:avLst/>
              <a:gdLst>
                <a:gd name="T0" fmla="*/ 286 w 823"/>
                <a:gd name="T1" fmla="*/ 20 h 638"/>
                <a:gd name="T2" fmla="*/ 775 w 823"/>
                <a:gd name="T3" fmla="*/ 20 h 638"/>
                <a:gd name="T4" fmla="*/ 794 w 823"/>
                <a:gd name="T5" fmla="*/ 28 h 638"/>
                <a:gd name="T6" fmla="*/ 803 w 823"/>
                <a:gd name="T7" fmla="*/ 50 h 638"/>
                <a:gd name="T8" fmla="*/ 803 w 823"/>
                <a:gd name="T9" fmla="*/ 588 h 638"/>
                <a:gd name="T10" fmla="*/ 794 w 823"/>
                <a:gd name="T11" fmla="*/ 609 h 638"/>
                <a:gd name="T12" fmla="*/ 775 w 823"/>
                <a:gd name="T13" fmla="*/ 618 h 638"/>
                <a:gd name="T14" fmla="*/ 47 w 823"/>
                <a:gd name="T15" fmla="*/ 618 h 638"/>
                <a:gd name="T16" fmla="*/ 28 w 823"/>
                <a:gd name="T17" fmla="*/ 609 h 638"/>
                <a:gd name="T18" fmla="*/ 20 w 823"/>
                <a:gd name="T19" fmla="*/ 588 h 638"/>
                <a:gd name="T20" fmla="*/ 20 w 823"/>
                <a:gd name="T21" fmla="*/ 50 h 638"/>
                <a:gd name="T22" fmla="*/ 28 w 823"/>
                <a:gd name="T23" fmla="*/ 28 h 638"/>
                <a:gd name="T24" fmla="*/ 47 w 823"/>
                <a:gd name="T25" fmla="*/ 20 h 638"/>
                <a:gd name="T26" fmla="*/ 89 w 823"/>
                <a:gd name="T27" fmla="*/ 20 h 638"/>
                <a:gd name="T28" fmla="*/ 89 w 823"/>
                <a:gd name="T29" fmla="*/ 0 h 638"/>
                <a:gd name="T30" fmla="*/ 47 w 823"/>
                <a:gd name="T31" fmla="*/ 0 h 638"/>
                <a:gd name="T32" fmla="*/ 13 w 823"/>
                <a:gd name="T33" fmla="*/ 15 h 638"/>
                <a:gd name="T34" fmla="*/ 0 w 823"/>
                <a:gd name="T35" fmla="*/ 50 h 638"/>
                <a:gd name="T36" fmla="*/ 0 w 823"/>
                <a:gd name="T37" fmla="*/ 588 h 638"/>
                <a:gd name="T38" fmla="*/ 13 w 823"/>
                <a:gd name="T39" fmla="*/ 623 h 638"/>
                <a:gd name="T40" fmla="*/ 47 w 823"/>
                <a:gd name="T41" fmla="*/ 638 h 638"/>
                <a:gd name="T42" fmla="*/ 775 w 823"/>
                <a:gd name="T43" fmla="*/ 638 h 638"/>
                <a:gd name="T44" fmla="*/ 809 w 823"/>
                <a:gd name="T45" fmla="*/ 623 h 638"/>
                <a:gd name="T46" fmla="*/ 823 w 823"/>
                <a:gd name="T47" fmla="*/ 588 h 638"/>
                <a:gd name="T48" fmla="*/ 823 w 823"/>
                <a:gd name="T49" fmla="*/ 50 h 638"/>
                <a:gd name="T50" fmla="*/ 809 w 823"/>
                <a:gd name="T51" fmla="*/ 15 h 638"/>
                <a:gd name="T52" fmla="*/ 775 w 823"/>
                <a:gd name="T53" fmla="*/ 0 h 638"/>
                <a:gd name="T54" fmla="*/ 286 w 823"/>
                <a:gd name="T55" fmla="*/ 0 h 638"/>
                <a:gd name="T56" fmla="*/ 286 w 823"/>
                <a:gd name="T57" fmla="*/ 20 h 6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23" h="638">
                  <a:moveTo>
                    <a:pt x="286" y="20"/>
                  </a:moveTo>
                  <a:cubicBezTo>
                    <a:pt x="775" y="20"/>
                    <a:pt x="775" y="20"/>
                    <a:pt x="775" y="20"/>
                  </a:cubicBezTo>
                  <a:cubicBezTo>
                    <a:pt x="783" y="20"/>
                    <a:pt x="789" y="23"/>
                    <a:pt x="794" y="28"/>
                  </a:cubicBezTo>
                  <a:cubicBezTo>
                    <a:pt x="799" y="34"/>
                    <a:pt x="803" y="41"/>
                    <a:pt x="803" y="50"/>
                  </a:cubicBezTo>
                  <a:cubicBezTo>
                    <a:pt x="803" y="588"/>
                    <a:pt x="803" y="588"/>
                    <a:pt x="803" y="588"/>
                  </a:cubicBezTo>
                  <a:cubicBezTo>
                    <a:pt x="803" y="596"/>
                    <a:pt x="799" y="604"/>
                    <a:pt x="794" y="609"/>
                  </a:cubicBezTo>
                  <a:cubicBezTo>
                    <a:pt x="789" y="615"/>
                    <a:pt x="783" y="618"/>
                    <a:pt x="775" y="618"/>
                  </a:cubicBezTo>
                  <a:cubicBezTo>
                    <a:pt x="47" y="618"/>
                    <a:pt x="47" y="618"/>
                    <a:pt x="47" y="618"/>
                  </a:cubicBezTo>
                  <a:cubicBezTo>
                    <a:pt x="40" y="618"/>
                    <a:pt x="33" y="615"/>
                    <a:pt x="28" y="609"/>
                  </a:cubicBezTo>
                  <a:cubicBezTo>
                    <a:pt x="23" y="604"/>
                    <a:pt x="20" y="596"/>
                    <a:pt x="20" y="588"/>
                  </a:cubicBezTo>
                  <a:cubicBezTo>
                    <a:pt x="20" y="50"/>
                    <a:pt x="20" y="50"/>
                    <a:pt x="20" y="50"/>
                  </a:cubicBezTo>
                  <a:cubicBezTo>
                    <a:pt x="20" y="41"/>
                    <a:pt x="23" y="34"/>
                    <a:pt x="28" y="28"/>
                  </a:cubicBezTo>
                  <a:cubicBezTo>
                    <a:pt x="33" y="23"/>
                    <a:pt x="40" y="20"/>
                    <a:pt x="47" y="20"/>
                  </a:cubicBezTo>
                  <a:cubicBezTo>
                    <a:pt x="89" y="20"/>
                    <a:pt x="89" y="20"/>
                    <a:pt x="89" y="20"/>
                  </a:cubicBezTo>
                  <a:cubicBezTo>
                    <a:pt x="89" y="0"/>
                    <a:pt x="89" y="0"/>
                    <a:pt x="89" y="0"/>
                  </a:cubicBezTo>
                  <a:cubicBezTo>
                    <a:pt x="47" y="0"/>
                    <a:pt x="47" y="0"/>
                    <a:pt x="47" y="0"/>
                  </a:cubicBezTo>
                  <a:cubicBezTo>
                    <a:pt x="34" y="0"/>
                    <a:pt x="22" y="6"/>
                    <a:pt x="13" y="15"/>
                  </a:cubicBezTo>
                  <a:cubicBezTo>
                    <a:pt x="5" y="24"/>
                    <a:pt x="0" y="36"/>
                    <a:pt x="0" y="50"/>
                  </a:cubicBezTo>
                  <a:cubicBezTo>
                    <a:pt x="0" y="588"/>
                    <a:pt x="0" y="588"/>
                    <a:pt x="0" y="588"/>
                  </a:cubicBezTo>
                  <a:cubicBezTo>
                    <a:pt x="0" y="601"/>
                    <a:pt x="5" y="614"/>
                    <a:pt x="13" y="623"/>
                  </a:cubicBezTo>
                  <a:cubicBezTo>
                    <a:pt x="22" y="632"/>
                    <a:pt x="34" y="638"/>
                    <a:pt x="47" y="638"/>
                  </a:cubicBezTo>
                  <a:cubicBezTo>
                    <a:pt x="775" y="638"/>
                    <a:pt x="775" y="638"/>
                    <a:pt x="775" y="638"/>
                  </a:cubicBezTo>
                  <a:cubicBezTo>
                    <a:pt x="789" y="638"/>
                    <a:pt x="801" y="632"/>
                    <a:pt x="809" y="623"/>
                  </a:cubicBezTo>
                  <a:cubicBezTo>
                    <a:pt x="818" y="614"/>
                    <a:pt x="823" y="601"/>
                    <a:pt x="823" y="588"/>
                  </a:cubicBezTo>
                  <a:cubicBezTo>
                    <a:pt x="823" y="50"/>
                    <a:pt x="823" y="50"/>
                    <a:pt x="823" y="50"/>
                  </a:cubicBezTo>
                  <a:cubicBezTo>
                    <a:pt x="823" y="36"/>
                    <a:pt x="818" y="24"/>
                    <a:pt x="809" y="15"/>
                  </a:cubicBezTo>
                  <a:cubicBezTo>
                    <a:pt x="801" y="6"/>
                    <a:pt x="789" y="0"/>
                    <a:pt x="775" y="0"/>
                  </a:cubicBezTo>
                  <a:cubicBezTo>
                    <a:pt x="286" y="0"/>
                    <a:pt x="286" y="0"/>
                    <a:pt x="286" y="0"/>
                  </a:cubicBezTo>
                  <a:cubicBezTo>
                    <a:pt x="286" y="20"/>
                    <a:pt x="286" y="20"/>
                    <a:pt x="286" y="2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69" name="Rectangle 1622">
              <a:extLst>
                <a:ext uri="{FF2B5EF4-FFF2-40B4-BE49-F238E27FC236}">
                  <a16:creationId xmlns:a16="http://schemas.microsoft.com/office/drawing/2014/main" id="{50437A0D-D706-454F-B3AE-0CDB47A07906}"/>
                </a:ext>
              </a:extLst>
            </p:cNvPr>
            <p:cNvSpPr>
              <a:spLocks noChangeArrowheads="1"/>
            </p:cNvSpPr>
            <p:nvPr userDrawn="1"/>
          </p:nvSpPr>
          <p:spPr bwMode="auto">
            <a:xfrm>
              <a:off x="10218738" y="4876800"/>
              <a:ext cx="128588" cy="39688"/>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70" name="Freeform 1623">
              <a:extLst>
                <a:ext uri="{FF2B5EF4-FFF2-40B4-BE49-F238E27FC236}">
                  <a16:creationId xmlns:a16="http://schemas.microsoft.com/office/drawing/2014/main" id="{5C622D54-056E-45A1-B7E2-3AC47960032C}"/>
                </a:ext>
              </a:extLst>
            </p:cNvPr>
            <p:cNvSpPr>
              <a:spLocks/>
            </p:cNvSpPr>
            <p:nvPr userDrawn="1"/>
          </p:nvSpPr>
          <p:spPr bwMode="auto">
            <a:xfrm>
              <a:off x="10218738" y="4876800"/>
              <a:ext cx="128588" cy="39688"/>
            </a:xfrm>
            <a:custGeom>
              <a:avLst/>
              <a:gdLst>
                <a:gd name="T0" fmla="*/ 0 w 81"/>
                <a:gd name="T1" fmla="*/ 25 h 25"/>
                <a:gd name="T2" fmla="*/ 81 w 81"/>
                <a:gd name="T3" fmla="*/ 25 h 25"/>
                <a:gd name="T4" fmla="*/ 81 w 81"/>
                <a:gd name="T5" fmla="*/ 0 h 25"/>
                <a:gd name="T6" fmla="*/ 0 w 81"/>
                <a:gd name="T7" fmla="*/ 0 h 25"/>
              </a:gdLst>
              <a:ahLst/>
              <a:cxnLst>
                <a:cxn ang="0">
                  <a:pos x="T0" y="T1"/>
                </a:cxn>
                <a:cxn ang="0">
                  <a:pos x="T2" y="T3"/>
                </a:cxn>
                <a:cxn ang="0">
                  <a:pos x="T4" y="T5"/>
                </a:cxn>
                <a:cxn ang="0">
                  <a:pos x="T6" y="T7"/>
                </a:cxn>
              </a:cxnLst>
              <a:rect l="0" t="0" r="r" b="b"/>
              <a:pathLst>
                <a:path w="81" h="25">
                  <a:moveTo>
                    <a:pt x="0" y="25"/>
                  </a:moveTo>
                  <a:lnTo>
                    <a:pt x="81" y="25"/>
                  </a:lnTo>
                  <a:lnTo>
                    <a:pt x="81"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71" name="Rectangle 1624">
              <a:extLst>
                <a:ext uri="{FF2B5EF4-FFF2-40B4-BE49-F238E27FC236}">
                  <a16:creationId xmlns:a16="http://schemas.microsoft.com/office/drawing/2014/main" id="{28F6AACC-60FE-44F8-842D-61DE508906DC}"/>
                </a:ext>
              </a:extLst>
            </p:cNvPr>
            <p:cNvSpPr>
              <a:spLocks noChangeArrowheads="1"/>
            </p:cNvSpPr>
            <p:nvPr userDrawn="1"/>
          </p:nvSpPr>
          <p:spPr bwMode="auto">
            <a:xfrm>
              <a:off x="10006013" y="5349875"/>
              <a:ext cx="39688" cy="314325"/>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72" name="Freeform 1625">
              <a:extLst>
                <a:ext uri="{FF2B5EF4-FFF2-40B4-BE49-F238E27FC236}">
                  <a16:creationId xmlns:a16="http://schemas.microsoft.com/office/drawing/2014/main" id="{FD2637CE-ADB6-4042-80BA-F985D3DC0FD2}"/>
                </a:ext>
              </a:extLst>
            </p:cNvPr>
            <p:cNvSpPr>
              <a:spLocks/>
            </p:cNvSpPr>
            <p:nvPr userDrawn="1"/>
          </p:nvSpPr>
          <p:spPr bwMode="auto">
            <a:xfrm>
              <a:off x="10006013" y="5349875"/>
              <a:ext cx="39688" cy="314325"/>
            </a:xfrm>
            <a:custGeom>
              <a:avLst/>
              <a:gdLst>
                <a:gd name="T0" fmla="*/ 0 w 25"/>
                <a:gd name="T1" fmla="*/ 0 h 198"/>
                <a:gd name="T2" fmla="*/ 0 w 25"/>
                <a:gd name="T3" fmla="*/ 198 h 198"/>
                <a:gd name="T4" fmla="*/ 25 w 25"/>
                <a:gd name="T5" fmla="*/ 198 h 198"/>
                <a:gd name="T6" fmla="*/ 25 w 25"/>
                <a:gd name="T7" fmla="*/ 0 h 198"/>
              </a:gdLst>
              <a:ahLst/>
              <a:cxnLst>
                <a:cxn ang="0">
                  <a:pos x="T0" y="T1"/>
                </a:cxn>
                <a:cxn ang="0">
                  <a:pos x="T2" y="T3"/>
                </a:cxn>
                <a:cxn ang="0">
                  <a:pos x="T4" y="T5"/>
                </a:cxn>
                <a:cxn ang="0">
                  <a:pos x="T6" y="T7"/>
                </a:cxn>
              </a:cxnLst>
              <a:rect l="0" t="0" r="r" b="b"/>
              <a:pathLst>
                <a:path w="25" h="198">
                  <a:moveTo>
                    <a:pt x="0" y="0"/>
                  </a:moveTo>
                  <a:lnTo>
                    <a:pt x="0" y="198"/>
                  </a:lnTo>
                  <a:lnTo>
                    <a:pt x="25" y="198"/>
                  </a:lnTo>
                  <a:lnTo>
                    <a:pt x="2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73" name="Rectangle 1626">
              <a:extLst>
                <a:ext uri="{FF2B5EF4-FFF2-40B4-BE49-F238E27FC236}">
                  <a16:creationId xmlns:a16="http://schemas.microsoft.com/office/drawing/2014/main" id="{7AAB1BC5-14C7-43A3-896F-DFB8D481D5C0}"/>
                </a:ext>
              </a:extLst>
            </p:cNvPr>
            <p:cNvSpPr>
              <a:spLocks noChangeArrowheads="1"/>
            </p:cNvSpPr>
            <p:nvPr userDrawn="1"/>
          </p:nvSpPr>
          <p:spPr bwMode="auto">
            <a:xfrm>
              <a:off x="10109201" y="5002213"/>
              <a:ext cx="1162050" cy="1012825"/>
            </a:xfrm>
            <a:prstGeom prst="rect">
              <a:avLst/>
            </a:pr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74" name="Freeform 1627">
              <a:extLst>
                <a:ext uri="{FF2B5EF4-FFF2-40B4-BE49-F238E27FC236}">
                  <a16:creationId xmlns:a16="http://schemas.microsoft.com/office/drawing/2014/main" id="{8B140509-816A-4A20-AE42-BF2153E55C79}"/>
                </a:ext>
              </a:extLst>
            </p:cNvPr>
            <p:cNvSpPr>
              <a:spLocks/>
            </p:cNvSpPr>
            <p:nvPr userDrawn="1"/>
          </p:nvSpPr>
          <p:spPr bwMode="auto">
            <a:xfrm>
              <a:off x="11285538" y="5443538"/>
              <a:ext cx="122238" cy="128588"/>
            </a:xfrm>
            <a:custGeom>
              <a:avLst/>
              <a:gdLst>
                <a:gd name="T0" fmla="*/ 51 w 62"/>
                <a:gd name="T1" fmla="*/ 33 h 65"/>
                <a:gd name="T2" fmla="*/ 41 w 62"/>
                <a:gd name="T3" fmla="*/ 33 h 65"/>
                <a:gd name="T4" fmla="*/ 38 w 62"/>
                <a:gd name="T5" fmla="*/ 42 h 65"/>
                <a:gd name="T6" fmla="*/ 31 w 62"/>
                <a:gd name="T7" fmla="*/ 45 h 65"/>
                <a:gd name="T8" fmla="*/ 23 w 62"/>
                <a:gd name="T9" fmla="*/ 42 h 65"/>
                <a:gd name="T10" fmla="*/ 20 w 62"/>
                <a:gd name="T11" fmla="*/ 33 h 65"/>
                <a:gd name="T12" fmla="*/ 23 w 62"/>
                <a:gd name="T13" fmla="*/ 24 h 65"/>
                <a:gd name="T14" fmla="*/ 31 w 62"/>
                <a:gd name="T15" fmla="*/ 21 h 65"/>
                <a:gd name="T16" fmla="*/ 38 w 62"/>
                <a:gd name="T17" fmla="*/ 24 h 65"/>
                <a:gd name="T18" fmla="*/ 41 w 62"/>
                <a:gd name="T19" fmla="*/ 33 h 65"/>
                <a:gd name="T20" fmla="*/ 51 w 62"/>
                <a:gd name="T21" fmla="*/ 33 h 65"/>
                <a:gd name="T22" fmla="*/ 62 w 62"/>
                <a:gd name="T23" fmla="*/ 33 h 65"/>
                <a:gd name="T24" fmla="*/ 53 w 62"/>
                <a:gd name="T25" fmla="*/ 10 h 65"/>
                <a:gd name="T26" fmla="*/ 31 w 62"/>
                <a:gd name="T27" fmla="*/ 0 h 65"/>
                <a:gd name="T28" fmla="*/ 8 w 62"/>
                <a:gd name="T29" fmla="*/ 10 h 65"/>
                <a:gd name="T30" fmla="*/ 0 w 62"/>
                <a:gd name="T31" fmla="*/ 33 h 65"/>
                <a:gd name="T32" fmla="*/ 8 w 62"/>
                <a:gd name="T33" fmla="*/ 56 h 65"/>
                <a:gd name="T34" fmla="*/ 31 w 62"/>
                <a:gd name="T35" fmla="*/ 65 h 65"/>
                <a:gd name="T36" fmla="*/ 53 w 62"/>
                <a:gd name="T37" fmla="*/ 56 h 65"/>
                <a:gd name="T38" fmla="*/ 62 w 62"/>
                <a:gd name="T39" fmla="*/ 33 h 65"/>
                <a:gd name="T40" fmla="*/ 51 w 62"/>
                <a:gd name="T41" fmla="*/ 3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2" h="65">
                  <a:moveTo>
                    <a:pt x="51" y="33"/>
                  </a:moveTo>
                  <a:cubicBezTo>
                    <a:pt x="41" y="33"/>
                    <a:pt x="41" y="33"/>
                    <a:pt x="41" y="33"/>
                  </a:cubicBezTo>
                  <a:cubicBezTo>
                    <a:pt x="41" y="36"/>
                    <a:pt x="40" y="40"/>
                    <a:pt x="38" y="42"/>
                  </a:cubicBezTo>
                  <a:cubicBezTo>
                    <a:pt x="36" y="44"/>
                    <a:pt x="33" y="45"/>
                    <a:pt x="31" y="45"/>
                  </a:cubicBezTo>
                  <a:cubicBezTo>
                    <a:pt x="28" y="45"/>
                    <a:pt x="25" y="44"/>
                    <a:pt x="23" y="42"/>
                  </a:cubicBezTo>
                  <a:cubicBezTo>
                    <a:pt x="21" y="40"/>
                    <a:pt x="20" y="36"/>
                    <a:pt x="20" y="33"/>
                  </a:cubicBezTo>
                  <a:cubicBezTo>
                    <a:pt x="20" y="29"/>
                    <a:pt x="21" y="26"/>
                    <a:pt x="23" y="24"/>
                  </a:cubicBezTo>
                  <a:cubicBezTo>
                    <a:pt x="25" y="22"/>
                    <a:pt x="28" y="21"/>
                    <a:pt x="31" y="21"/>
                  </a:cubicBezTo>
                  <a:cubicBezTo>
                    <a:pt x="33" y="21"/>
                    <a:pt x="36" y="22"/>
                    <a:pt x="38" y="24"/>
                  </a:cubicBezTo>
                  <a:cubicBezTo>
                    <a:pt x="40" y="26"/>
                    <a:pt x="41" y="29"/>
                    <a:pt x="41" y="33"/>
                  </a:cubicBezTo>
                  <a:cubicBezTo>
                    <a:pt x="51" y="33"/>
                    <a:pt x="51" y="33"/>
                    <a:pt x="51" y="33"/>
                  </a:cubicBezTo>
                  <a:cubicBezTo>
                    <a:pt x="62" y="33"/>
                    <a:pt x="62" y="33"/>
                    <a:pt x="62" y="33"/>
                  </a:cubicBezTo>
                  <a:cubicBezTo>
                    <a:pt x="62" y="24"/>
                    <a:pt x="58" y="16"/>
                    <a:pt x="53" y="10"/>
                  </a:cubicBezTo>
                  <a:cubicBezTo>
                    <a:pt x="47" y="4"/>
                    <a:pt x="39" y="0"/>
                    <a:pt x="31" y="0"/>
                  </a:cubicBezTo>
                  <a:cubicBezTo>
                    <a:pt x="22" y="0"/>
                    <a:pt x="14" y="4"/>
                    <a:pt x="8" y="10"/>
                  </a:cubicBezTo>
                  <a:cubicBezTo>
                    <a:pt x="3" y="16"/>
                    <a:pt x="0" y="24"/>
                    <a:pt x="0" y="33"/>
                  </a:cubicBezTo>
                  <a:cubicBezTo>
                    <a:pt x="0" y="42"/>
                    <a:pt x="3" y="50"/>
                    <a:pt x="8" y="56"/>
                  </a:cubicBezTo>
                  <a:cubicBezTo>
                    <a:pt x="14" y="61"/>
                    <a:pt x="22" y="65"/>
                    <a:pt x="31" y="65"/>
                  </a:cubicBezTo>
                  <a:cubicBezTo>
                    <a:pt x="39" y="65"/>
                    <a:pt x="47" y="61"/>
                    <a:pt x="53" y="56"/>
                  </a:cubicBezTo>
                  <a:cubicBezTo>
                    <a:pt x="58" y="50"/>
                    <a:pt x="62" y="42"/>
                    <a:pt x="62" y="33"/>
                  </a:cubicBezTo>
                  <a:lnTo>
                    <a:pt x="51" y="33"/>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75" name="Freeform 1628">
              <a:extLst>
                <a:ext uri="{FF2B5EF4-FFF2-40B4-BE49-F238E27FC236}">
                  <a16:creationId xmlns:a16="http://schemas.microsoft.com/office/drawing/2014/main" id="{9F3823B2-3F7F-42C8-967D-A036D28B9662}"/>
                </a:ext>
              </a:extLst>
            </p:cNvPr>
            <p:cNvSpPr>
              <a:spLocks/>
            </p:cNvSpPr>
            <p:nvPr userDrawn="1"/>
          </p:nvSpPr>
          <p:spPr bwMode="auto">
            <a:xfrm>
              <a:off x="10529888" y="5194300"/>
              <a:ext cx="339725" cy="420688"/>
            </a:xfrm>
            <a:custGeom>
              <a:avLst/>
              <a:gdLst>
                <a:gd name="T0" fmla="*/ 163 w 172"/>
                <a:gd name="T1" fmla="*/ 119 h 213"/>
                <a:gd name="T2" fmla="*/ 21 w 172"/>
                <a:gd name="T3" fmla="*/ 207 h 213"/>
                <a:gd name="T4" fmla="*/ 0 w 172"/>
                <a:gd name="T5" fmla="*/ 194 h 213"/>
                <a:gd name="T6" fmla="*/ 0 w 172"/>
                <a:gd name="T7" fmla="*/ 18 h 213"/>
                <a:gd name="T8" fmla="*/ 21 w 172"/>
                <a:gd name="T9" fmla="*/ 5 h 213"/>
                <a:gd name="T10" fmla="*/ 163 w 172"/>
                <a:gd name="T11" fmla="*/ 94 h 213"/>
                <a:gd name="T12" fmla="*/ 163 w 172"/>
                <a:gd name="T13" fmla="*/ 119 h 213"/>
              </a:gdLst>
              <a:ahLst/>
              <a:cxnLst>
                <a:cxn ang="0">
                  <a:pos x="T0" y="T1"/>
                </a:cxn>
                <a:cxn ang="0">
                  <a:pos x="T2" y="T3"/>
                </a:cxn>
                <a:cxn ang="0">
                  <a:pos x="T4" y="T5"/>
                </a:cxn>
                <a:cxn ang="0">
                  <a:pos x="T6" y="T7"/>
                </a:cxn>
                <a:cxn ang="0">
                  <a:pos x="T8" y="T9"/>
                </a:cxn>
                <a:cxn ang="0">
                  <a:pos x="T10" y="T11"/>
                </a:cxn>
                <a:cxn ang="0">
                  <a:pos x="T12" y="T13"/>
                </a:cxn>
              </a:cxnLst>
              <a:rect l="0" t="0" r="r" b="b"/>
              <a:pathLst>
                <a:path w="172" h="213">
                  <a:moveTo>
                    <a:pt x="163" y="119"/>
                  </a:moveTo>
                  <a:cubicBezTo>
                    <a:pt x="21" y="207"/>
                    <a:pt x="21" y="207"/>
                    <a:pt x="21" y="207"/>
                  </a:cubicBezTo>
                  <a:cubicBezTo>
                    <a:pt x="12" y="213"/>
                    <a:pt x="0" y="206"/>
                    <a:pt x="0" y="194"/>
                  </a:cubicBezTo>
                  <a:cubicBezTo>
                    <a:pt x="0" y="18"/>
                    <a:pt x="0" y="18"/>
                    <a:pt x="0" y="18"/>
                  </a:cubicBezTo>
                  <a:cubicBezTo>
                    <a:pt x="0" y="7"/>
                    <a:pt x="12" y="0"/>
                    <a:pt x="21" y="5"/>
                  </a:cubicBezTo>
                  <a:cubicBezTo>
                    <a:pt x="163" y="94"/>
                    <a:pt x="163" y="94"/>
                    <a:pt x="163" y="94"/>
                  </a:cubicBezTo>
                  <a:cubicBezTo>
                    <a:pt x="172" y="99"/>
                    <a:pt x="172" y="113"/>
                    <a:pt x="163" y="119"/>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76" name="Freeform 1629">
              <a:extLst>
                <a:ext uri="{FF2B5EF4-FFF2-40B4-BE49-F238E27FC236}">
                  <a16:creationId xmlns:a16="http://schemas.microsoft.com/office/drawing/2014/main" id="{E8B0B11E-F5C2-43AA-8618-9344881FD52A}"/>
                </a:ext>
              </a:extLst>
            </p:cNvPr>
            <p:cNvSpPr>
              <a:spLocks/>
            </p:cNvSpPr>
            <p:nvPr userDrawn="1"/>
          </p:nvSpPr>
          <p:spPr bwMode="auto">
            <a:xfrm>
              <a:off x="10509251" y="5180013"/>
              <a:ext cx="376238" cy="446088"/>
            </a:xfrm>
            <a:custGeom>
              <a:avLst/>
              <a:gdLst>
                <a:gd name="T0" fmla="*/ 173 w 190"/>
                <a:gd name="T1" fmla="*/ 126 h 226"/>
                <a:gd name="T2" fmla="*/ 168 w 190"/>
                <a:gd name="T3" fmla="*/ 117 h 226"/>
                <a:gd name="T4" fmla="*/ 25 w 190"/>
                <a:gd name="T5" fmla="*/ 205 h 226"/>
                <a:gd name="T6" fmla="*/ 24 w 190"/>
                <a:gd name="T7" fmla="*/ 206 h 226"/>
                <a:gd name="T8" fmla="*/ 22 w 190"/>
                <a:gd name="T9" fmla="*/ 205 h 226"/>
                <a:gd name="T10" fmla="*/ 20 w 190"/>
                <a:gd name="T11" fmla="*/ 201 h 226"/>
                <a:gd name="T12" fmla="*/ 20 w 190"/>
                <a:gd name="T13" fmla="*/ 25 h 226"/>
                <a:gd name="T14" fmla="*/ 22 w 190"/>
                <a:gd name="T15" fmla="*/ 22 h 226"/>
                <a:gd name="T16" fmla="*/ 24 w 190"/>
                <a:gd name="T17" fmla="*/ 21 h 226"/>
                <a:gd name="T18" fmla="*/ 25 w 190"/>
                <a:gd name="T19" fmla="*/ 21 h 226"/>
                <a:gd name="T20" fmla="*/ 25 w 190"/>
                <a:gd name="T21" fmla="*/ 21 h 226"/>
                <a:gd name="T22" fmla="*/ 168 w 190"/>
                <a:gd name="T23" fmla="*/ 109 h 226"/>
                <a:gd name="T24" fmla="*/ 169 w 190"/>
                <a:gd name="T25" fmla="*/ 111 h 226"/>
                <a:gd name="T26" fmla="*/ 170 w 190"/>
                <a:gd name="T27" fmla="*/ 113 h 226"/>
                <a:gd name="T28" fmla="*/ 169 w 190"/>
                <a:gd name="T29" fmla="*/ 116 h 226"/>
                <a:gd name="T30" fmla="*/ 168 w 190"/>
                <a:gd name="T31" fmla="*/ 117 h 226"/>
                <a:gd name="T32" fmla="*/ 168 w 190"/>
                <a:gd name="T33" fmla="*/ 117 h 226"/>
                <a:gd name="T34" fmla="*/ 173 w 190"/>
                <a:gd name="T35" fmla="*/ 126 h 226"/>
                <a:gd name="T36" fmla="*/ 179 w 190"/>
                <a:gd name="T37" fmla="*/ 134 h 226"/>
                <a:gd name="T38" fmla="*/ 187 w 190"/>
                <a:gd name="T39" fmla="*/ 125 h 226"/>
                <a:gd name="T40" fmla="*/ 190 w 190"/>
                <a:gd name="T41" fmla="*/ 113 h 226"/>
                <a:gd name="T42" fmla="*/ 187 w 190"/>
                <a:gd name="T43" fmla="*/ 102 h 226"/>
                <a:gd name="T44" fmla="*/ 179 w 190"/>
                <a:gd name="T45" fmla="*/ 92 h 226"/>
                <a:gd name="T46" fmla="*/ 36 w 190"/>
                <a:gd name="T47" fmla="*/ 4 h 226"/>
                <a:gd name="T48" fmla="*/ 36 w 190"/>
                <a:gd name="T49" fmla="*/ 4 h 226"/>
                <a:gd name="T50" fmla="*/ 24 w 190"/>
                <a:gd name="T51" fmla="*/ 0 h 226"/>
                <a:gd name="T52" fmla="*/ 7 w 190"/>
                <a:gd name="T53" fmla="*/ 8 h 226"/>
                <a:gd name="T54" fmla="*/ 0 w 190"/>
                <a:gd name="T55" fmla="*/ 25 h 226"/>
                <a:gd name="T56" fmla="*/ 0 w 190"/>
                <a:gd name="T57" fmla="*/ 201 h 226"/>
                <a:gd name="T58" fmla="*/ 7 w 190"/>
                <a:gd name="T59" fmla="*/ 219 h 226"/>
                <a:gd name="T60" fmla="*/ 24 w 190"/>
                <a:gd name="T61" fmla="*/ 226 h 226"/>
                <a:gd name="T62" fmla="*/ 36 w 190"/>
                <a:gd name="T63" fmla="*/ 223 h 226"/>
                <a:gd name="T64" fmla="*/ 179 w 190"/>
                <a:gd name="T65" fmla="*/ 134 h 226"/>
                <a:gd name="T66" fmla="*/ 179 w 190"/>
                <a:gd name="T67" fmla="*/ 134 h 226"/>
                <a:gd name="T68" fmla="*/ 173 w 190"/>
                <a:gd name="T69" fmla="*/ 126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0" h="226">
                  <a:moveTo>
                    <a:pt x="173" y="126"/>
                  </a:moveTo>
                  <a:cubicBezTo>
                    <a:pt x="168" y="117"/>
                    <a:pt x="168" y="117"/>
                    <a:pt x="168" y="117"/>
                  </a:cubicBezTo>
                  <a:cubicBezTo>
                    <a:pt x="25" y="205"/>
                    <a:pt x="25" y="205"/>
                    <a:pt x="25" y="205"/>
                  </a:cubicBezTo>
                  <a:cubicBezTo>
                    <a:pt x="25" y="206"/>
                    <a:pt x="24" y="206"/>
                    <a:pt x="24" y="206"/>
                  </a:cubicBezTo>
                  <a:cubicBezTo>
                    <a:pt x="23" y="206"/>
                    <a:pt x="22" y="205"/>
                    <a:pt x="22" y="205"/>
                  </a:cubicBezTo>
                  <a:cubicBezTo>
                    <a:pt x="21" y="204"/>
                    <a:pt x="20" y="203"/>
                    <a:pt x="20" y="201"/>
                  </a:cubicBezTo>
                  <a:cubicBezTo>
                    <a:pt x="20" y="25"/>
                    <a:pt x="20" y="25"/>
                    <a:pt x="20" y="25"/>
                  </a:cubicBezTo>
                  <a:cubicBezTo>
                    <a:pt x="20" y="23"/>
                    <a:pt x="21" y="22"/>
                    <a:pt x="22" y="22"/>
                  </a:cubicBezTo>
                  <a:cubicBezTo>
                    <a:pt x="22" y="21"/>
                    <a:pt x="23" y="21"/>
                    <a:pt x="24" y="21"/>
                  </a:cubicBezTo>
                  <a:cubicBezTo>
                    <a:pt x="24" y="21"/>
                    <a:pt x="25" y="21"/>
                    <a:pt x="25" y="21"/>
                  </a:cubicBezTo>
                  <a:cubicBezTo>
                    <a:pt x="25" y="21"/>
                    <a:pt x="25" y="21"/>
                    <a:pt x="25" y="21"/>
                  </a:cubicBezTo>
                  <a:cubicBezTo>
                    <a:pt x="168" y="109"/>
                    <a:pt x="168" y="109"/>
                    <a:pt x="168" y="109"/>
                  </a:cubicBezTo>
                  <a:cubicBezTo>
                    <a:pt x="169" y="110"/>
                    <a:pt x="169" y="110"/>
                    <a:pt x="169" y="111"/>
                  </a:cubicBezTo>
                  <a:cubicBezTo>
                    <a:pt x="170" y="111"/>
                    <a:pt x="170" y="112"/>
                    <a:pt x="170" y="113"/>
                  </a:cubicBezTo>
                  <a:cubicBezTo>
                    <a:pt x="170" y="114"/>
                    <a:pt x="170" y="115"/>
                    <a:pt x="169" y="116"/>
                  </a:cubicBezTo>
                  <a:cubicBezTo>
                    <a:pt x="169" y="116"/>
                    <a:pt x="169" y="117"/>
                    <a:pt x="168" y="117"/>
                  </a:cubicBezTo>
                  <a:cubicBezTo>
                    <a:pt x="168" y="117"/>
                    <a:pt x="168" y="117"/>
                    <a:pt x="168" y="117"/>
                  </a:cubicBezTo>
                  <a:cubicBezTo>
                    <a:pt x="173" y="126"/>
                    <a:pt x="173" y="126"/>
                    <a:pt x="173" y="126"/>
                  </a:cubicBezTo>
                  <a:cubicBezTo>
                    <a:pt x="179" y="134"/>
                    <a:pt x="179" y="134"/>
                    <a:pt x="179" y="134"/>
                  </a:cubicBezTo>
                  <a:cubicBezTo>
                    <a:pt x="183" y="132"/>
                    <a:pt x="186" y="129"/>
                    <a:pt x="187" y="125"/>
                  </a:cubicBezTo>
                  <a:cubicBezTo>
                    <a:pt x="189" y="121"/>
                    <a:pt x="190" y="117"/>
                    <a:pt x="190" y="113"/>
                  </a:cubicBezTo>
                  <a:cubicBezTo>
                    <a:pt x="190" y="109"/>
                    <a:pt x="189" y="105"/>
                    <a:pt x="187" y="102"/>
                  </a:cubicBezTo>
                  <a:cubicBezTo>
                    <a:pt x="186" y="98"/>
                    <a:pt x="183" y="94"/>
                    <a:pt x="179" y="92"/>
                  </a:cubicBezTo>
                  <a:cubicBezTo>
                    <a:pt x="36" y="4"/>
                    <a:pt x="36" y="4"/>
                    <a:pt x="36" y="4"/>
                  </a:cubicBezTo>
                  <a:cubicBezTo>
                    <a:pt x="36" y="4"/>
                    <a:pt x="36" y="4"/>
                    <a:pt x="36" y="4"/>
                  </a:cubicBezTo>
                  <a:cubicBezTo>
                    <a:pt x="32" y="2"/>
                    <a:pt x="28" y="0"/>
                    <a:pt x="24" y="0"/>
                  </a:cubicBezTo>
                  <a:cubicBezTo>
                    <a:pt x="17" y="0"/>
                    <a:pt x="11" y="3"/>
                    <a:pt x="7" y="8"/>
                  </a:cubicBezTo>
                  <a:cubicBezTo>
                    <a:pt x="3" y="12"/>
                    <a:pt x="0" y="18"/>
                    <a:pt x="0" y="25"/>
                  </a:cubicBezTo>
                  <a:cubicBezTo>
                    <a:pt x="0" y="201"/>
                    <a:pt x="0" y="201"/>
                    <a:pt x="0" y="201"/>
                  </a:cubicBezTo>
                  <a:cubicBezTo>
                    <a:pt x="0" y="208"/>
                    <a:pt x="3" y="215"/>
                    <a:pt x="7" y="219"/>
                  </a:cubicBezTo>
                  <a:cubicBezTo>
                    <a:pt x="11" y="223"/>
                    <a:pt x="17" y="226"/>
                    <a:pt x="24" y="226"/>
                  </a:cubicBezTo>
                  <a:cubicBezTo>
                    <a:pt x="28" y="226"/>
                    <a:pt x="32" y="225"/>
                    <a:pt x="36" y="223"/>
                  </a:cubicBezTo>
                  <a:cubicBezTo>
                    <a:pt x="179" y="134"/>
                    <a:pt x="179" y="134"/>
                    <a:pt x="179" y="134"/>
                  </a:cubicBezTo>
                  <a:cubicBezTo>
                    <a:pt x="179" y="134"/>
                    <a:pt x="179" y="134"/>
                    <a:pt x="179" y="134"/>
                  </a:cubicBezTo>
                  <a:lnTo>
                    <a:pt x="173" y="126"/>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77" name="Rectangle 1630">
              <a:extLst>
                <a:ext uri="{FF2B5EF4-FFF2-40B4-BE49-F238E27FC236}">
                  <a16:creationId xmlns:a16="http://schemas.microsoft.com/office/drawing/2014/main" id="{FE6B6526-E2BF-4525-B6B5-1797C8CB456C}"/>
                </a:ext>
              </a:extLst>
            </p:cNvPr>
            <p:cNvSpPr>
              <a:spLocks noChangeArrowheads="1"/>
            </p:cNvSpPr>
            <p:nvPr userDrawn="1"/>
          </p:nvSpPr>
          <p:spPr bwMode="auto">
            <a:xfrm>
              <a:off x="10252076" y="5799138"/>
              <a:ext cx="889000" cy="39688"/>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78" name="Freeform 1631">
              <a:extLst>
                <a:ext uri="{FF2B5EF4-FFF2-40B4-BE49-F238E27FC236}">
                  <a16:creationId xmlns:a16="http://schemas.microsoft.com/office/drawing/2014/main" id="{50757ED6-865C-4275-884F-155F05A1C95A}"/>
                </a:ext>
              </a:extLst>
            </p:cNvPr>
            <p:cNvSpPr>
              <a:spLocks/>
            </p:cNvSpPr>
            <p:nvPr userDrawn="1"/>
          </p:nvSpPr>
          <p:spPr bwMode="auto">
            <a:xfrm>
              <a:off x="10252076" y="5799138"/>
              <a:ext cx="889000" cy="39688"/>
            </a:xfrm>
            <a:custGeom>
              <a:avLst/>
              <a:gdLst>
                <a:gd name="T0" fmla="*/ 0 w 560"/>
                <a:gd name="T1" fmla="*/ 25 h 25"/>
                <a:gd name="T2" fmla="*/ 560 w 560"/>
                <a:gd name="T3" fmla="*/ 25 h 25"/>
                <a:gd name="T4" fmla="*/ 560 w 560"/>
                <a:gd name="T5" fmla="*/ 0 h 25"/>
                <a:gd name="T6" fmla="*/ 0 w 560"/>
                <a:gd name="T7" fmla="*/ 0 h 25"/>
              </a:gdLst>
              <a:ahLst/>
              <a:cxnLst>
                <a:cxn ang="0">
                  <a:pos x="T0" y="T1"/>
                </a:cxn>
                <a:cxn ang="0">
                  <a:pos x="T2" y="T3"/>
                </a:cxn>
                <a:cxn ang="0">
                  <a:pos x="T4" y="T5"/>
                </a:cxn>
                <a:cxn ang="0">
                  <a:pos x="T6" y="T7"/>
                </a:cxn>
              </a:cxnLst>
              <a:rect l="0" t="0" r="r" b="b"/>
              <a:pathLst>
                <a:path w="560" h="25">
                  <a:moveTo>
                    <a:pt x="0" y="25"/>
                  </a:moveTo>
                  <a:lnTo>
                    <a:pt x="560" y="25"/>
                  </a:lnTo>
                  <a:lnTo>
                    <a:pt x="56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79" name="Rectangle 1632">
              <a:extLst>
                <a:ext uri="{FF2B5EF4-FFF2-40B4-BE49-F238E27FC236}">
                  <a16:creationId xmlns:a16="http://schemas.microsoft.com/office/drawing/2014/main" id="{7CC6EF4E-DEDC-4B57-B6C8-5F4FB8D73F06}"/>
                </a:ext>
              </a:extLst>
            </p:cNvPr>
            <p:cNvSpPr>
              <a:spLocks noChangeArrowheads="1"/>
            </p:cNvSpPr>
            <p:nvPr userDrawn="1"/>
          </p:nvSpPr>
          <p:spPr bwMode="auto">
            <a:xfrm>
              <a:off x="10429876" y="5743575"/>
              <a:ext cx="39688" cy="150813"/>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80" name="Freeform 1633">
              <a:extLst>
                <a:ext uri="{FF2B5EF4-FFF2-40B4-BE49-F238E27FC236}">
                  <a16:creationId xmlns:a16="http://schemas.microsoft.com/office/drawing/2014/main" id="{7A05B627-133D-49ED-824A-EF237C688D93}"/>
                </a:ext>
              </a:extLst>
            </p:cNvPr>
            <p:cNvSpPr>
              <a:spLocks/>
            </p:cNvSpPr>
            <p:nvPr userDrawn="1"/>
          </p:nvSpPr>
          <p:spPr bwMode="auto">
            <a:xfrm>
              <a:off x="10429876" y="5743575"/>
              <a:ext cx="39688" cy="150813"/>
            </a:xfrm>
            <a:custGeom>
              <a:avLst/>
              <a:gdLst>
                <a:gd name="T0" fmla="*/ 25 w 25"/>
                <a:gd name="T1" fmla="*/ 95 h 95"/>
                <a:gd name="T2" fmla="*/ 25 w 25"/>
                <a:gd name="T3" fmla="*/ 0 h 95"/>
                <a:gd name="T4" fmla="*/ 0 w 25"/>
                <a:gd name="T5" fmla="*/ 0 h 95"/>
                <a:gd name="T6" fmla="*/ 0 w 25"/>
                <a:gd name="T7" fmla="*/ 95 h 95"/>
              </a:gdLst>
              <a:ahLst/>
              <a:cxnLst>
                <a:cxn ang="0">
                  <a:pos x="T0" y="T1"/>
                </a:cxn>
                <a:cxn ang="0">
                  <a:pos x="T2" y="T3"/>
                </a:cxn>
                <a:cxn ang="0">
                  <a:pos x="T4" y="T5"/>
                </a:cxn>
                <a:cxn ang="0">
                  <a:pos x="T6" y="T7"/>
                </a:cxn>
              </a:cxnLst>
              <a:rect l="0" t="0" r="r" b="b"/>
              <a:pathLst>
                <a:path w="25" h="95">
                  <a:moveTo>
                    <a:pt x="25" y="95"/>
                  </a:moveTo>
                  <a:lnTo>
                    <a:pt x="25" y="0"/>
                  </a:lnTo>
                  <a:lnTo>
                    <a:pt x="0" y="0"/>
                  </a:lnTo>
                  <a:lnTo>
                    <a:pt x="0" y="9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81" name="Rectangle 1634">
              <a:extLst>
                <a:ext uri="{FF2B5EF4-FFF2-40B4-BE49-F238E27FC236}">
                  <a16:creationId xmlns:a16="http://schemas.microsoft.com/office/drawing/2014/main" id="{2BACAD9A-40F7-4D34-805E-90DA25B6ABCA}"/>
                </a:ext>
              </a:extLst>
            </p:cNvPr>
            <p:cNvSpPr>
              <a:spLocks noChangeArrowheads="1"/>
            </p:cNvSpPr>
            <p:nvPr userDrawn="1"/>
          </p:nvSpPr>
          <p:spPr bwMode="auto">
            <a:xfrm>
              <a:off x="4230688" y="6099175"/>
              <a:ext cx="7743825" cy="39688"/>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82" name="Rectangle 1635">
              <a:extLst>
                <a:ext uri="{FF2B5EF4-FFF2-40B4-BE49-F238E27FC236}">
                  <a16:creationId xmlns:a16="http://schemas.microsoft.com/office/drawing/2014/main" id="{1FFCEDF2-2BF5-4EF7-B5EA-36DBDADCE948}"/>
                </a:ext>
              </a:extLst>
            </p:cNvPr>
            <p:cNvSpPr>
              <a:spLocks noChangeArrowheads="1"/>
            </p:cNvSpPr>
            <p:nvPr userDrawn="1"/>
          </p:nvSpPr>
          <p:spPr bwMode="auto">
            <a:xfrm>
              <a:off x="4230688" y="6099175"/>
              <a:ext cx="7743825" cy="39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83" name="Freeform 1636">
              <a:extLst>
                <a:ext uri="{FF2B5EF4-FFF2-40B4-BE49-F238E27FC236}">
                  <a16:creationId xmlns:a16="http://schemas.microsoft.com/office/drawing/2014/main" id="{E931C857-ED59-4D0F-B672-942B6B4352DD}"/>
                </a:ext>
              </a:extLst>
            </p:cNvPr>
            <p:cNvSpPr>
              <a:spLocks/>
            </p:cNvSpPr>
            <p:nvPr userDrawn="1"/>
          </p:nvSpPr>
          <p:spPr bwMode="auto">
            <a:xfrm>
              <a:off x="5257801" y="5211763"/>
              <a:ext cx="849313" cy="908050"/>
            </a:xfrm>
            <a:custGeom>
              <a:avLst/>
              <a:gdLst>
                <a:gd name="T0" fmla="*/ 419 w 429"/>
                <a:gd name="T1" fmla="*/ 459 h 459"/>
                <a:gd name="T2" fmla="*/ 10 w 429"/>
                <a:gd name="T3" fmla="*/ 459 h 459"/>
                <a:gd name="T4" fmla="*/ 0 w 429"/>
                <a:gd name="T5" fmla="*/ 448 h 459"/>
                <a:gd name="T6" fmla="*/ 0 w 429"/>
                <a:gd name="T7" fmla="*/ 10 h 459"/>
                <a:gd name="T8" fmla="*/ 10 w 429"/>
                <a:gd name="T9" fmla="*/ 0 h 459"/>
                <a:gd name="T10" fmla="*/ 419 w 429"/>
                <a:gd name="T11" fmla="*/ 0 h 459"/>
                <a:gd name="T12" fmla="*/ 429 w 429"/>
                <a:gd name="T13" fmla="*/ 10 h 459"/>
                <a:gd name="T14" fmla="*/ 429 w 429"/>
                <a:gd name="T15" fmla="*/ 448 h 459"/>
                <a:gd name="T16" fmla="*/ 419 w 429"/>
                <a:gd name="T17" fmla="*/ 459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9" h="459">
                  <a:moveTo>
                    <a:pt x="419" y="459"/>
                  </a:moveTo>
                  <a:cubicBezTo>
                    <a:pt x="10" y="459"/>
                    <a:pt x="10" y="459"/>
                    <a:pt x="10" y="459"/>
                  </a:cubicBezTo>
                  <a:cubicBezTo>
                    <a:pt x="5" y="459"/>
                    <a:pt x="0" y="454"/>
                    <a:pt x="0" y="448"/>
                  </a:cubicBezTo>
                  <a:cubicBezTo>
                    <a:pt x="0" y="10"/>
                    <a:pt x="0" y="10"/>
                    <a:pt x="0" y="10"/>
                  </a:cubicBezTo>
                  <a:cubicBezTo>
                    <a:pt x="0" y="4"/>
                    <a:pt x="5" y="0"/>
                    <a:pt x="10" y="0"/>
                  </a:cubicBezTo>
                  <a:cubicBezTo>
                    <a:pt x="419" y="0"/>
                    <a:pt x="419" y="0"/>
                    <a:pt x="419" y="0"/>
                  </a:cubicBezTo>
                  <a:cubicBezTo>
                    <a:pt x="425" y="0"/>
                    <a:pt x="429" y="4"/>
                    <a:pt x="429" y="10"/>
                  </a:cubicBezTo>
                  <a:cubicBezTo>
                    <a:pt x="429" y="448"/>
                    <a:pt x="429" y="448"/>
                    <a:pt x="429" y="448"/>
                  </a:cubicBezTo>
                  <a:cubicBezTo>
                    <a:pt x="429" y="454"/>
                    <a:pt x="425" y="459"/>
                    <a:pt x="419" y="45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84" name="Freeform 1637">
              <a:extLst>
                <a:ext uri="{FF2B5EF4-FFF2-40B4-BE49-F238E27FC236}">
                  <a16:creationId xmlns:a16="http://schemas.microsoft.com/office/drawing/2014/main" id="{783C88A2-DEEA-40CD-8FD5-5F2937EE9DD8}"/>
                </a:ext>
              </a:extLst>
            </p:cNvPr>
            <p:cNvSpPr>
              <a:spLocks/>
            </p:cNvSpPr>
            <p:nvPr userDrawn="1"/>
          </p:nvSpPr>
          <p:spPr bwMode="auto">
            <a:xfrm>
              <a:off x="5257801" y="5511800"/>
              <a:ext cx="849313" cy="392113"/>
            </a:xfrm>
            <a:custGeom>
              <a:avLst/>
              <a:gdLst>
                <a:gd name="T0" fmla="*/ 535 w 535"/>
                <a:gd name="T1" fmla="*/ 197 h 247"/>
                <a:gd name="T2" fmla="*/ 386 w 535"/>
                <a:gd name="T3" fmla="*/ 51 h 247"/>
                <a:gd name="T4" fmla="*/ 268 w 535"/>
                <a:gd name="T5" fmla="*/ 148 h 247"/>
                <a:gd name="T6" fmla="*/ 135 w 535"/>
                <a:gd name="T7" fmla="*/ 0 h 247"/>
                <a:gd name="T8" fmla="*/ 0 w 535"/>
                <a:gd name="T9" fmla="*/ 162 h 247"/>
                <a:gd name="T10" fmla="*/ 0 w 535"/>
                <a:gd name="T11" fmla="*/ 247 h 247"/>
                <a:gd name="T12" fmla="*/ 535 w 535"/>
                <a:gd name="T13" fmla="*/ 247 h 247"/>
                <a:gd name="T14" fmla="*/ 535 w 535"/>
                <a:gd name="T15" fmla="*/ 197 h 2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35" h="247">
                  <a:moveTo>
                    <a:pt x="535" y="197"/>
                  </a:moveTo>
                  <a:lnTo>
                    <a:pt x="386" y="51"/>
                  </a:lnTo>
                  <a:lnTo>
                    <a:pt x="268" y="148"/>
                  </a:lnTo>
                  <a:lnTo>
                    <a:pt x="135" y="0"/>
                  </a:lnTo>
                  <a:lnTo>
                    <a:pt x="0" y="162"/>
                  </a:lnTo>
                  <a:lnTo>
                    <a:pt x="0" y="247"/>
                  </a:lnTo>
                  <a:lnTo>
                    <a:pt x="535" y="247"/>
                  </a:lnTo>
                  <a:lnTo>
                    <a:pt x="535" y="197"/>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85" name="Freeform 1638">
              <a:extLst>
                <a:ext uri="{FF2B5EF4-FFF2-40B4-BE49-F238E27FC236}">
                  <a16:creationId xmlns:a16="http://schemas.microsoft.com/office/drawing/2014/main" id="{79000DB3-05DB-49EA-8C85-1FA026A758B0}"/>
                </a:ext>
              </a:extLst>
            </p:cNvPr>
            <p:cNvSpPr>
              <a:spLocks/>
            </p:cNvSpPr>
            <p:nvPr userDrawn="1"/>
          </p:nvSpPr>
          <p:spPr bwMode="auto">
            <a:xfrm>
              <a:off x="5257801" y="5511800"/>
              <a:ext cx="849313" cy="392113"/>
            </a:xfrm>
            <a:custGeom>
              <a:avLst/>
              <a:gdLst>
                <a:gd name="T0" fmla="*/ 535 w 535"/>
                <a:gd name="T1" fmla="*/ 197 h 247"/>
                <a:gd name="T2" fmla="*/ 386 w 535"/>
                <a:gd name="T3" fmla="*/ 51 h 247"/>
                <a:gd name="T4" fmla="*/ 268 w 535"/>
                <a:gd name="T5" fmla="*/ 148 h 247"/>
                <a:gd name="T6" fmla="*/ 135 w 535"/>
                <a:gd name="T7" fmla="*/ 0 h 247"/>
                <a:gd name="T8" fmla="*/ 0 w 535"/>
                <a:gd name="T9" fmla="*/ 162 h 247"/>
                <a:gd name="T10" fmla="*/ 0 w 535"/>
                <a:gd name="T11" fmla="*/ 247 h 247"/>
                <a:gd name="T12" fmla="*/ 535 w 535"/>
                <a:gd name="T13" fmla="*/ 247 h 247"/>
                <a:gd name="T14" fmla="*/ 535 w 535"/>
                <a:gd name="T15" fmla="*/ 197 h 2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35" h="247">
                  <a:moveTo>
                    <a:pt x="535" y="197"/>
                  </a:moveTo>
                  <a:lnTo>
                    <a:pt x="386" y="51"/>
                  </a:lnTo>
                  <a:lnTo>
                    <a:pt x="268" y="148"/>
                  </a:lnTo>
                  <a:lnTo>
                    <a:pt x="135" y="0"/>
                  </a:lnTo>
                  <a:lnTo>
                    <a:pt x="0" y="162"/>
                  </a:lnTo>
                  <a:lnTo>
                    <a:pt x="0" y="247"/>
                  </a:lnTo>
                  <a:lnTo>
                    <a:pt x="535" y="247"/>
                  </a:lnTo>
                  <a:lnTo>
                    <a:pt x="535" y="19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86" name="Freeform 1639">
              <a:extLst>
                <a:ext uri="{FF2B5EF4-FFF2-40B4-BE49-F238E27FC236}">
                  <a16:creationId xmlns:a16="http://schemas.microsoft.com/office/drawing/2014/main" id="{573D806A-E139-4782-A718-69DF9FD2D9FC}"/>
                </a:ext>
              </a:extLst>
            </p:cNvPr>
            <p:cNvSpPr>
              <a:spLocks/>
            </p:cNvSpPr>
            <p:nvPr userDrawn="1"/>
          </p:nvSpPr>
          <p:spPr bwMode="auto">
            <a:xfrm>
              <a:off x="5238751" y="5191125"/>
              <a:ext cx="889000" cy="947738"/>
            </a:xfrm>
            <a:custGeom>
              <a:avLst/>
              <a:gdLst>
                <a:gd name="T0" fmla="*/ 429 w 449"/>
                <a:gd name="T1" fmla="*/ 433 h 479"/>
                <a:gd name="T2" fmla="*/ 422 w 449"/>
                <a:gd name="T3" fmla="*/ 451 h 479"/>
                <a:gd name="T4" fmla="*/ 406 w 449"/>
                <a:gd name="T5" fmla="*/ 458 h 479"/>
                <a:gd name="T6" fmla="*/ 44 w 449"/>
                <a:gd name="T7" fmla="*/ 458 h 479"/>
                <a:gd name="T8" fmla="*/ 27 w 449"/>
                <a:gd name="T9" fmla="*/ 451 h 479"/>
                <a:gd name="T10" fmla="*/ 20 w 449"/>
                <a:gd name="T11" fmla="*/ 433 h 479"/>
                <a:gd name="T12" fmla="*/ 20 w 449"/>
                <a:gd name="T13" fmla="*/ 46 h 479"/>
                <a:gd name="T14" fmla="*/ 27 w 449"/>
                <a:gd name="T15" fmla="*/ 27 h 479"/>
                <a:gd name="T16" fmla="*/ 44 w 449"/>
                <a:gd name="T17" fmla="*/ 20 h 479"/>
                <a:gd name="T18" fmla="*/ 365 w 449"/>
                <a:gd name="T19" fmla="*/ 20 h 479"/>
                <a:gd name="T20" fmla="*/ 365 w 449"/>
                <a:gd name="T21" fmla="*/ 0 h 479"/>
                <a:gd name="T22" fmla="*/ 44 w 449"/>
                <a:gd name="T23" fmla="*/ 0 h 479"/>
                <a:gd name="T24" fmla="*/ 12 w 449"/>
                <a:gd name="T25" fmla="*/ 13 h 479"/>
                <a:gd name="T26" fmla="*/ 0 w 449"/>
                <a:gd name="T27" fmla="*/ 46 h 479"/>
                <a:gd name="T28" fmla="*/ 0 w 449"/>
                <a:gd name="T29" fmla="*/ 433 h 479"/>
                <a:gd name="T30" fmla="*/ 12 w 449"/>
                <a:gd name="T31" fmla="*/ 465 h 479"/>
                <a:gd name="T32" fmla="*/ 44 w 449"/>
                <a:gd name="T33" fmla="*/ 479 h 479"/>
                <a:gd name="T34" fmla="*/ 406 w 449"/>
                <a:gd name="T35" fmla="*/ 479 h 479"/>
                <a:gd name="T36" fmla="*/ 437 w 449"/>
                <a:gd name="T37" fmla="*/ 465 h 479"/>
                <a:gd name="T38" fmla="*/ 449 w 449"/>
                <a:gd name="T39" fmla="*/ 433 h 479"/>
                <a:gd name="T40" fmla="*/ 429 w 449"/>
                <a:gd name="T41" fmla="*/ 433 h 4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49" h="479">
                  <a:moveTo>
                    <a:pt x="429" y="433"/>
                  </a:moveTo>
                  <a:cubicBezTo>
                    <a:pt x="429" y="440"/>
                    <a:pt x="426" y="447"/>
                    <a:pt x="422" y="451"/>
                  </a:cubicBezTo>
                  <a:cubicBezTo>
                    <a:pt x="418" y="456"/>
                    <a:pt x="412" y="458"/>
                    <a:pt x="406" y="458"/>
                  </a:cubicBezTo>
                  <a:cubicBezTo>
                    <a:pt x="44" y="458"/>
                    <a:pt x="44" y="458"/>
                    <a:pt x="44" y="458"/>
                  </a:cubicBezTo>
                  <a:cubicBezTo>
                    <a:pt x="37" y="458"/>
                    <a:pt x="32" y="456"/>
                    <a:pt x="27" y="451"/>
                  </a:cubicBezTo>
                  <a:cubicBezTo>
                    <a:pt x="23" y="447"/>
                    <a:pt x="20" y="440"/>
                    <a:pt x="20" y="433"/>
                  </a:cubicBezTo>
                  <a:cubicBezTo>
                    <a:pt x="20" y="46"/>
                    <a:pt x="20" y="46"/>
                    <a:pt x="20" y="46"/>
                  </a:cubicBezTo>
                  <a:cubicBezTo>
                    <a:pt x="20" y="38"/>
                    <a:pt x="23" y="32"/>
                    <a:pt x="27" y="27"/>
                  </a:cubicBezTo>
                  <a:cubicBezTo>
                    <a:pt x="32" y="23"/>
                    <a:pt x="37" y="20"/>
                    <a:pt x="44" y="20"/>
                  </a:cubicBezTo>
                  <a:cubicBezTo>
                    <a:pt x="365" y="20"/>
                    <a:pt x="365" y="20"/>
                    <a:pt x="365" y="20"/>
                  </a:cubicBezTo>
                  <a:cubicBezTo>
                    <a:pt x="365" y="0"/>
                    <a:pt x="365" y="0"/>
                    <a:pt x="365" y="0"/>
                  </a:cubicBezTo>
                  <a:cubicBezTo>
                    <a:pt x="44" y="0"/>
                    <a:pt x="44" y="0"/>
                    <a:pt x="44" y="0"/>
                  </a:cubicBezTo>
                  <a:cubicBezTo>
                    <a:pt x="31" y="0"/>
                    <a:pt x="20" y="5"/>
                    <a:pt x="12" y="13"/>
                  </a:cubicBezTo>
                  <a:cubicBezTo>
                    <a:pt x="5" y="22"/>
                    <a:pt x="0" y="33"/>
                    <a:pt x="0" y="46"/>
                  </a:cubicBezTo>
                  <a:cubicBezTo>
                    <a:pt x="0" y="433"/>
                    <a:pt x="0" y="433"/>
                    <a:pt x="0" y="433"/>
                  </a:cubicBezTo>
                  <a:cubicBezTo>
                    <a:pt x="0" y="445"/>
                    <a:pt x="5" y="457"/>
                    <a:pt x="12" y="465"/>
                  </a:cubicBezTo>
                  <a:cubicBezTo>
                    <a:pt x="20" y="473"/>
                    <a:pt x="31" y="479"/>
                    <a:pt x="44" y="479"/>
                  </a:cubicBezTo>
                  <a:cubicBezTo>
                    <a:pt x="406" y="479"/>
                    <a:pt x="406" y="479"/>
                    <a:pt x="406" y="479"/>
                  </a:cubicBezTo>
                  <a:cubicBezTo>
                    <a:pt x="418" y="479"/>
                    <a:pt x="429" y="473"/>
                    <a:pt x="437" y="465"/>
                  </a:cubicBezTo>
                  <a:cubicBezTo>
                    <a:pt x="445" y="457"/>
                    <a:pt x="449" y="445"/>
                    <a:pt x="449" y="433"/>
                  </a:cubicBezTo>
                  <a:cubicBezTo>
                    <a:pt x="429" y="433"/>
                    <a:pt x="429" y="433"/>
                    <a:pt x="429" y="43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87" name="Rectangle 1640">
              <a:extLst>
                <a:ext uri="{FF2B5EF4-FFF2-40B4-BE49-F238E27FC236}">
                  <a16:creationId xmlns:a16="http://schemas.microsoft.com/office/drawing/2014/main" id="{5DABA821-9FF0-42A1-BE92-663D47BE003D}"/>
                </a:ext>
              </a:extLst>
            </p:cNvPr>
            <p:cNvSpPr>
              <a:spLocks noChangeArrowheads="1"/>
            </p:cNvSpPr>
            <p:nvPr userDrawn="1"/>
          </p:nvSpPr>
          <p:spPr bwMode="auto">
            <a:xfrm>
              <a:off x="5257801" y="5883275"/>
              <a:ext cx="849313" cy="39688"/>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88" name="Rectangle 1641">
              <a:extLst>
                <a:ext uri="{FF2B5EF4-FFF2-40B4-BE49-F238E27FC236}">
                  <a16:creationId xmlns:a16="http://schemas.microsoft.com/office/drawing/2014/main" id="{72B6E544-C398-4D83-ADC7-2D67ED4A96A2}"/>
                </a:ext>
              </a:extLst>
            </p:cNvPr>
            <p:cNvSpPr>
              <a:spLocks noChangeArrowheads="1"/>
            </p:cNvSpPr>
            <p:nvPr userDrawn="1"/>
          </p:nvSpPr>
          <p:spPr bwMode="auto">
            <a:xfrm>
              <a:off x="5257801" y="5883275"/>
              <a:ext cx="849313" cy="39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89" name="Freeform 1642">
              <a:extLst>
                <a:ext uri="{FF2B5EF4-FFF2-40B4-BE49-F238E27FC236}">
                  <a16:creationId xmlns:a16="http://schemas.microsoft.com/office/drawing/2014/main" id="{FEE5BA71-C1BB-4E3E-A220-56BEB2D1A144}"/>
                </a:ext>
              </a:extLst>
            </p:cNvPr>
            <p:cNvSpPr>
              <a:spLocks/>
            </p:cNvSpPr>
            <p:nvPr userDrawn="1"/>
          </p:nvSpPr>
          <p:spPr bwMode="auto">
            <a:xfrm>
              <a:off x="5241926" y="5480050"/>
              <a:ext cx="641350" cy="303213"/>
            </a:xfrm>
            <a:custGeom>
              <a:avLst/>
              <a:gdLst>
                <a:gd name="T0" fmla="*/ 20 w 404"/>
                <a:gd name="T1" fmla="*/ 191 h 191"/>
                <a:gd name="T2" fmla="*/ 146 w 404"/>
                <a:gd name="T3" fmla="*/ 39 h 191"/>
                <a:gd name="T4" fmla="*/ 276 w 404"/>
                <a:gd name="T5" fmla="*/ 186 h 191"/>
                <a:gd name="T6" fmla="*/ 404 w 404"/>
                <a:gd name="T7" fmla="*/ 81 h 191"/>
                <a:gd name="T8" fmla="*/ 388 w 404"/>
                <a:gd name="T9" fmla="*/ 61 h 191"/>
                <a:gd name="T10" fmla="*/ 280 w 404"/>
                <a:gd name="T11" fmla="*/ 151 h 191"/>
                <a:gd name="T12" fmla="*/ 145 w 404"/>
                <a:gd name="T13" fmla="*/ 0 h 191"/>
                <a:gd name="T14" fmla="*/ 0 w 404"/>
                <a:gd name="T15" fmla="*/ 175 h 191"/>
                <a:gd name="T16" fmla="*/ 20 w 404"/>
                <a:gd name="T17" fmla="*/ 191 h 191"/>
                <a:gd name="T18" fmla="*/ 20 w 404"/>
                <a:gd name="T19" fmla="*/ 191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4" h="191">
                  <a:moveTo>
                    <a:pt x="20" y="191"/>
                  </a:moveTo>
                  <a:lnTo>
                    <a:pt x="146" y="39"/>
                  </a:lnTo>
                  <a:lnTo>
                    <a:pt x="276" y="186"/>
                  </a:lnTo>
                  <a:lnTo>
                    <a:pt x="404" y="81"/>
                  </a:lnTo>
                  <a:lnTo>
                    <a:pt x="388" y="61"/>
                  </a:lnTo>
                  <a:lnTo>
                    <a:pt x="280" y="151"/>
                  </a:lnTo>
                  <a:lnTo>
                    <a:pt x="145" y="0"/>
                  </a:lnTo>
                  <a:lnTo>
                    <a:pt x="0" y="175"/>
                  </a:lnTo>
                  <a:lnTo>
                    <a:pt x="20" y="191"/>
                  </a:lnTo>
                  <a:lnTo>
                    <a:pt x="20" y="191"/>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90" name="Freeform 1643">
              <a:extLst>
                <a:ext uri="{FF2B5EF4-FFF2-40B4-BE49-F238E27FC236}">
                  <a16:creationId xmlns:a16="http://schemas.microsoft.com/office/drawing/2014/main" id="{875EF724-B8F8-46DE-B258-5473AE221BD4}"/>
                </a:ext>
              </a:extLst>
            </p:cNvPr>
            <p:cNvSpPr>
              <a:spLocks/>
            </p:cNvSpPr>
            <p:nvPr userDrawn="1"/>
          </p:nvSpPr>
          <p:spPr bwMode="auto">
            <a:xfrm>
              <a:off x="5241926" y="5480050"/>
              <a:ext cx="641350" cy="303213"/>
            </a:xfrm>
            <a:custGeom>
              <a:avLst/>
              <a:gdLst>
                <a:gd name="T0" fmla="*/ 20 w 404"/>
                <a:gd name="T1" fmla="*/ 191 h 191"/>
                <a:gd name="T2" fmla="*/ 146 w 404"/>
                <a:gd name="T3" fmla="*/ 39 h 191"/>
                <a:gd name="T4" fmla="*/ 276 w 404"/>
                <a:gd name="T5" fmla="*/ 186 h 191"/>
                <a:gd name="T6" fmla="*/ 404 w 404"/>
                <a:gd name="T7" fmla="*/ 81 h 191"/>
                <a:gd name="T8" fmla="*/ 388 w 404"/>
                <a:gd name="T9" fmla="*/ 61 h 191"/>
                <a:gd name="T10" fmla="*/ 280 w 404"/>
                <a:gd name="T11" fmla="*/ 151 h 191"/>
                <a:gd name="T12" fmla="*/ 145 w 404"/>
                <a:gd name="T13" fmla="*/ 0 h 191"/>
                <a:gd name="T14" fmla="*/ 0 w 404"/>
                <a:gd name="T15" fmla="*/ 175 h 191"/>
                <a:gd name="T16" fmla="*/ 20 w 404"/>
                <a:gd name="T17" fmla="*/ 191 h 191"/>
                <a:gd name="T18" fmla="*/ 20 w 404"/>
                <a:gd name="T19" fmla="*/ 191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4" h="191">
                  <a:moveTo>
                    <a:pt x="20" y="191"/>
                  </a:moveTo>
                  <a:lnTo>
                    <a:pt x="146" y="39"/>
                  </a:lnTo>
                  <a:lnTo>
                    <a:pt x="276" y="186"/>
                  </a:lnTo>
                  <a:lnTo>
                    <a:pt x="404" y="81"/>
                  </a:lnTo>
                  <a:lnTo>
                    <a:pt x="388" y="61"/>
                  </a:lnTo>
                  <a:lnTo>
                    <a:pt x="280" y="151"/>
                  </a:lnTo>
                  <a:lnTo>
                    <a:pt x="145" y="0"/>
                  </a:lnTo>
                  <a:lnTo>
                    <a:pt x="0" y="175"/>
                  </a:lnTo>
                  <a:lnTo>
                    <a:pt x="20" y="191"/>
                  </a:lnTo>
                  <a:lnTo>
                    <a:pt x="20" y="19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91" name="Oval 1644">
              <a:extLst>
                <a:ext uri="{FF2B5EF4-FFF2-40B4-BE49-F238E27FC236}">
                  <a16:creationId xmlns:a16="http://schemas.microsoft.com/office/drawing/2014/main" id="{7370F711-FB76-454D-8E2D-4F77EFBC741F}"/>
                </a:ext>
              </a:extLst>
            </p:cNvPr>
            <p:cNvSpPr>
              <a:spLocks noChangeArrowheads="1"/>
            </p:cNvSpPr>
            <p:nvPr userDrawn="1"/>
          </p:nvSpPr>
          <p:spPr bwMode="auto">
            <a:xfrm>
              <a:off x="5756276" y="5345113"/>
              <a:ext cx="85725" cy="90488"/>
            </a:xfrm>
            <a:prstGeom prst="ellipse">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92" name="Freeform 1645">
              <a:extLst>
                <a:ext uri="{FF2B5EF4-FFF2-40B4-BE49-F238E27FC236}">
                  <a16:creationId xmlns:a16="http://schemas.microsoft.com/office/drawing/2014/main" id="{04A3E197-840D-4DE8-AA68-936EC323BBC0}"/>
                </a:ext>
              </a:extLst>
            </p:cNvPr>
            <p:cNvSpPr>
              <a:spLocks/>
            </p:cNvSpPr>
            <p:nvPr userDrawn="1"/>
          </p:nvSpPr>
          <p:spPr bwMode="auto">
            <a:xfrm>
              <a:off x="5737226" y="5326063"/>
              <a:ext cx="125413" cy="130175"/>
            </a:xfrm>
            <a:custGeom>
              <a:avLst/>
              <a:gdLst>
                <a:gd name="T0" fmla="*/ 53 w 63"/>
                <a:gd name="T1" fmla="*/ 33 h 66"/>
                <a:gd name="T2" fmla="*/ 43 w 63"/>
                <a:gd name="T3" fmla="*/ 33 h 66"/>
                <a:gd name="T4" fmla="*/ 39 w 63"/>
                <a:gd name="T5" fmla="*/ 42 h 66"/>
                <a:gd name="T6" fmla="*/ 31 w 63"/>
                <a:gd name="T7" fmla="*/ 45 h 66"/>
                <a:gd name="T8" fmla="*/ 24 w 63"/>
                <a:gd name="T9" fmla="*/ 42 h 66"/>
                <a:gd name="T10" fmla="*/ 20 w 63"/>
                <a:gd name="T11" fmla="*/ 33 h 66"/>
                <a:gd name="T12" fmla="*/ 24 w 63"/>
                <a:gd name="T13" fmla="*/ 23 h 66"/>
                <a:gd name="T14" fmla="*/ 31 w 63"/>
                <a:gd name="T15" fmla="*/ 20 h 66"/>
                <a:gd name="T16" fmla="*/ 39 w 63"/>
                <a:gd name="T17" fmla="*/ 23 h 66"/>
                <a:gd name="T18" fmla="*/ 43 w 63"/>
                <a:gd name="T19" fmla="*/ 33 h 66"/>
                <a:gd name="T20" fmla="*/ 53 w 63"/>
                <a:gd name="T21" fmla="*/ 33 h 66"/>
                <a:gd name="T22" fmla="*/ 63 w 63"/>
                <a:gd name="T23" fmla="*/ 33 h 66"/>
                <a:gd name="T24" fmla="*/ 54 w 63"/>
                <a:gd name="T25" fmla="*/ 9 h 66"/>
                <a:gd name="T26" fmla="*/ 31 w 63"/>
                <a:gd name="T27" fmla="*/ 0 h 66"/>
                <a:gd name="T28" fmla="*/ 9 w 63"/>
                <a:gd name="T29" fmla="*/ 9 h 66"/>
                <a:gd name="T30" fmla="*/ 0 w 63"/>
                <a:gd name="T31" fmla="*/ 33 h 66"/>
                <a:gd name="T32" fmla="*/ 9 w 63"/>
                <a:gd name="T33" fmla="*/ 56 h 66"/>
                <a:gd name="T34" fmla="*/ 31 w 63"/>
                <a:gd name="T35" fmla="*/ 65 h 66"/>
                <a:gd name="T36" fmla="*/ 54 w 63"/>
                <a:gd name="T37" fmla="*/ 56 h 66"/>
                <a:gd name="T38" fmla="*/ 63 w 63"/>
                <a:gd name="T39" fmla="*/ 33 h 66"/>
                <a:gd name="T40" fmla="*/ 53 w 63"/>
                <a:gd name="T41" fmla="*/ 33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3" h="66">
                  <a:moveTo>
                    <a:pt x="53" y="33"/>
                  </a:moveTo>
                  <a:cubicBezTo>
                    <a:pt x="43" y="33"/>
                    <a:pt x="43" y="33"/>
                    <a:pt x="43" y="33"/>
                  </a:cubicBezTo>
                  <a:cubicBezTo>
                    <a:pt x="43" y="36"/>
                    <a:pt x="41" y="40"/>
                    <a:pt x="39" y="42"/>
                  </a:cubicBezTo>
                  <a:cubicBezTo>
                    <a:pt x="37" y="44"/>
                    <a:pt x="34" y="45"/>
                    <a:pt x="31" y="45"/>
                  </a:cubicBezTo>
                  <a:cubicBezTo>
                    <a:pt x="29" y="45"/>
                    <a:pt x="26" y="44"/>
                    <a:pt x="24" y="42"/>
                  </a:cubicBezTo>
                  <a:cubicBezTo>
                    <a:pt x="22" y="40"/>
                    <a:pt x="20" y="36"/>
                    <a:pt x="20" y="33"/>
                  </a:cubicBezTo>
                  <a:cubicBezTo>
                    <a:pt x="20" y="29"/>
                    <a:pt x="22" y="26"/>
                    <a:pt x="24" y="23"/>
                  </a:cubicBezTo>
                  <a:cubicBezTo>
                    <a:pt x="26" y="21"/>
                    <a:pt x="29" y="20"/>
                    <a:pt x="31" y="20"/>
                  </a:cubicBezTo>
                  <a:cubicBezTo>
                    <a:pt x="34" y="20"/>
                    <a:pt x="37" y="21"/>
                    <a:pt x="39" y="23"/>
                  </a:cubicBezTo>
                  <a:cubicBezTo>
                    <a:pt x="41" y="26"/>
                    <a:pt x="43" y="29"/>
                    <a:pt x="43" y="33"/>
                  </a:cubicBezTo>
                  <a:cubicBezTo>
                    <a:pt x="53" y="33"/>
                    <a:pt x="53" y="33"/>
                    <a:pt x="53" y="33"/>
                  </a:cubicBezTo>
                  <a:cubicBezTo>
                    <a:pt x="63" y="33"/>
                    <a:pt x="63" y="33"/>
                    <a:pt x="63" y="33"/>
                  </a:cubicBezTo>
                  <a:cubicBezTo>
                    <a:pt x="63" y="24"/>
                    <a:pt x="60" y="15"/>
                    <a:pt x="54" y="9"/>
                  </a:cubicBezTo>
                  <a:cubicBezTo>
                    <a:pt x="48" y="3"/>
                    <a:pt x="40" y="0"/>
                    <a:pt x="31" y="0"/>
                  </a:cubicBezTo>
                  <a:cubicBezTo>
                    <a:pt x="23" y="0"/>
                    <a:pt x="15" y="3"/>
                    <a:pt x="9" y="9"/>
                  </a:cubicBezTo>
                  <a:cubicBezTo>
                    <a:pt x="3" y="15"/>
                    <a:pt x="0" y="24"/>
                    <a:pt x="0" y="33"/>
                  </a:cubicBezTo>
                  <a:cubicBezTo>
                    <a:pt x="0" y="41"/>
                    <a:pt x="3" y="50"/>
                    <a:pt x="9" y="56"/>
                  </a:cubicBezTo>
                  <a:cubicBezTo>
                    <a:pt x="15" y="62"/>
                    <a:pt x="23" y="66"/>
                    <a:pt x="31" y="65"/>
                  </a:cubicBezTo>
                  <a:cubicBezTo>
                    <a:pt x="40" y="66"/>
                    <a:pt x="48" y="62"/>
                    <a:pt x="54" y="56"/>
                  </a:cubicBezTo>
                  <a:cubicBezTo>
                    <a:pt x="60" y="50"/>
                    <a:pt x="63" y="41"/>
                    <a:pt x="63" y="33"/>
                  </a:cubicBezTo>
                  <a:cubicBezTo>
                    <a:pt x="53" y="33"/>
                    <a:pt x="53" y="33"/>
                    <a:pt x="53" y="3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93" name="Rectangle 1646">
              <a:extLst>
                <a:ext uri="{FF2B5EF4-FFF2-40B4-BE49-F238E27FC236}">
                  <a16:creationId xmlns:a16="http://schemas.microsoft.com/office/drawing/2014/main" id="{6B6BF6F6-4D28-4E7E-B281-C5A99CEFC98E}"/>
                </a:ext>
              </a:extLst>
            </p:cNvPr>
            <p:cNvSpPr>
              <a:spLocks noChangeArrowheads="1"/>
            </p:cNvSpPr>
            <p:nvPr userDrawn="1"/>
          </p:nvSpPr>
          <p:spPr bwMode="auto">
            <a:xfrm>
              <a:off x="5407026" y="5326063"/>
              <a:ext cx="234950" cy="39688"/>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94" name="Freeform 1647">
              <a:extLst>
                <a:ext uri="{FF2B5EF4-FFF2-40B4-BE49-F238E27FC236}">
                  <a16:creationId xmlns:a16="http://schemas.microsoft.com/office/drawing/2014/main" id="{A04B487E-E66D-4DF8-804D-0B5215927371}"/>
                </a:ext>
              </a:extLst>
            </p:cNvPr>
            <p:cNvSpPr>
              <a:spLocks/>
            </p:cNvSpPr>
            <p:nvPr userDrawn="1"/>
          </p:nvSpPr>
          <p:spPr bwMode="auto">
            <a:xfrm>
              <a:off x="5407026" y="5326063"/>
              <a:ext cx="234950" cy="39688"/>
            </a:xfrm>
            <a:custGeom>
              <a:avLst/>
              <a:gdLst>
                <a:gd name="T0" fmla="*/ 0 w 148"/>
                <a:gd name="T1" fmla="*/ 25 h 25"/>
                <a:gd name="T2" fmla="*/ 148 w 148"/>
                <a:gd name="T3" fmla="*/ 25 h 25"/>
                <a:gd name="T4" fmla="*/ 148 w 148"/>
                <a:gd name="T5" fmla="*/ 0 h 25"/>
                <a:gd name="T6" fmla="*/ 0 w 148"/>
                <a:gd name="T7" fmla="*/ 0 h 25"/>
              </a:gdLst>
              <a:ahLst/>
              <a:cxnLst>
                <a:cxn ang="0">
                  <a:pos x="T0" y="T1"/>
                </a:cxn>
                <a:cxn ang="0">
                  <a:pos x="T2" y="T3"/>
                </a:cxn>
                <a:cxn ang="0">
                  <a:pos x="T4" y="T5"/>
                </a:cxn>
                <a:cxn ang="0">
                  <a:pos x="T6" y="T7"/>
                </a:cxn>
              </a:cxnLst>
              <a:rect l="0" t="0" r="r" b="b"/>
              <a:pathLst>
                <a:path w="148" h="25">
                  <a:moveTo>
                    <a:pt x="0" y="25"/>
                  </a:moveTo>
                  <a:lnTo>
                    <a:pt x="148" y="25"/>
                  </a:lnTo>
                  <a:lnTo>
                    <a:pt x="148"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95" name="Rectangle 1648">
              <a:extLst>
                <a:ext uri="{FF2B5EF4-FFF2-40B4-BE49-F238E27FC236}">
                  <a16:creationId xmlns:a16="http://schemas.microsoft.com/office/drawing/2014/main" id="{251EDE2E-B628-4349-82C1-FEDE57419E00}"/>
                </a:ext>
              </a:extLst>
            </p:cNvPr>
            <p:cNvSpPr>
              <a:spLocks noChangeArrowheads="1"/>
            </p:cNvSpPr>
            <p:nvPr userDrawn="1"/>
          </p:nvSpPr>
          <p:spPr bwMode="auto">
            <a:xfrm>
              <a:off x="5314951" y="5397500"/>
              <a:ext cx="234950" cy="39688"/>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96" name="Freeform 1649">
              <a:extLst>
                <a:ext uri="{FF2B5EF4-FFF2-40B4-BE49-F238E27FC236}">
                  <a16:creationId xmlns:a16="http://schemas.microsoft.com/office/drawing/2014/main" id="{FDB285E1-5FEA-42FE-8DA2-F79839165F67}"/>
                </a:ext>
              </a:extLst>
            </p:cNvPr>
            <p:cNvSpPr>
              <a:spLocks/>
            </p:cNvSpPr>
            <p:nvPr userDrawn="1"/>
          </p:nvSpPr>
          <p:spPr bwMode="auto">
            <a:xfrm>
              <a:off x="5314951" y="5397500"/>
              <a:ext cx="234950" cy="39688"/>
            </a:xfrm>
            <a:custGeom>
              <a:avLst/>
              <a:gdLst>
                <a:gd name="T0" fmla="*/ 0 w 148"/>
                <a:gd name="T1" fmla="*/ 25 h 25"/>
                <a:gd name="T2" fmla="*/ 148 w 148"/>
                <a:gd name="T3" fmla="*/ 25 h 25"/>
                <a:gd name="T4" fmla="*/ 148 w 148"/>
                <a:gd name="T5" fmla="*/ 0 h 25"/>
                <a:gd name="T6" fmla="*/ 0 w 148"/>
                <a:gd name="T7" fmla="*/ 0 h 25"/>
              </a:gdLst>
              <a:ahLst/>
              <a:cxnLst>
                <a:cxn ang="0">
                  <a:pos x="T0" y="T1"/>
                </a:cxn>
                <a:cxn ang="0">
                  <a:pos x="T2" y="T3"/>
                </a:cxn>
                <a:cxn ang="0">
                  <a:pos x="T4" y="T5"/>
                </a:cxn>
                <a:cxn ang="0">
                  <a:pos x="T6" y="T7"/>
                </a:cxn>
              </a:cxnLst>
              <a:rect l="0" t="0" r="r" b="b"/>
              <a:pathLst>
                <a:path w="148" h="25">
                  <a:moveTo>
                    <a:pt x="0" y="25"/>
                  </a:moveTo>
                  <a:lnTo>
                    <a:pt x="148" y="25"/>
                  </a:lnTo>
                  <a:lnTo>
                    <a:pt x="148"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97" name="任意多边形: 形状 1296">
              <a:extLst>
                <a:ext uri="{FF2B5EF4-FFF2-40B4-BE49-F238E27FC236}">
                  <a16:creationId xmlns:a16="http://schemas.microsoft.com/office/drawing/2014/main" id="{D400875D-D7B2-484E-8E8B-36E7E6CE50A6}"/>
                </a:ext>
              </a:extLst>
            </p:cNvPr>
            <p:cNvSpPr>
              <a:spLocks noChangeArrowheads="1"/>
            </p:cNvSpPr>
            <p:nvPr userDrawn="1"/>
          </p:nvSpPr>
          <p:spPr bwMode="auto">
            <a:xfrm>
              <a:off x="6980239" y="5192230"/>
              <a:ext cx="204788" cy="906945"/>
            </a:xfrm>
            <a:custGeom>
              <a:avLst/>
              <a:gdLst>
                <a:gd name="connsiteX0" fmla="*/ 0 w 204788"/>
                <a:gd name="connsiteY0" fmla="*/ 0 h 906945"/>
                <a:gd name="connsiteX1" fmla="*/ 204788 w 204788"/>
                <a:gd name="connsiteY1" fmla="*/ 138410 h 906945"/>
                <a:gd name="connsiteX2" fmla="*/ 204788 w 204788"/>
                <a:gd name="connsiteY2" fmla="*/ 906945 h 906945"/>
                <a:gd name="connsiteX3" fmla="*/ 0 w 204788"/>
                <a:gd name="connsiteY3" fmla="*/ 906945 h 906945"/>
              </a:gdLst>
              <a:ahLst/>
              <a:cxnLst>
                <a:cxn ang="0">
                  <a:pos x="connsiteX0" y="connsiteY0"/>
                </a:cxn>
                <a:cxn ang="0">
                  <a:pos x="connsiteX1" y="connsiteY1"/>
                </a:cxn>
                <a:cxn ang="0">
                  <a:pos x="connsiteX2" y="connsiteY2"/>
                </a:cxn>
                <a:cxn ang="0">
                  <a:pos x="connsiteX3" y="connsiteY3"/>
                </a:cxn>
              </a:cxnLst>
              <a:rect l="l" t="t" r="r" b="b"/>
              <a:pathLst>
                <a:path w="204788" h="906945">
                  <a:moveTo>
                    <a:pt x="0" y="0"/>
                  </a:moveTo>
                  <a:lnTo>
                    <a:pt x="204788" y="138410"/>
                  </a:lnTo>
                  <a:lnTo>
                    <a:pt x="204788" y="906945"/>
                  </a:lnTo>
                  <a:lnTo>
                    <a:pt x="0" y="906945"/>
                  </a:lnTo>
                  <a:close/>
                </a:path>
              </a:pathLst>
            </a:custGeom>
            <a:solidFill>
              <a:schemeClr val="accent2">
                <a:lumMod val="60000"/>
                <a:lumOff val="40000"/>
                <a:alpha val="70000"/>
              </a:schemeClr>
            </a:solidFill>
            <a:ln>
              <a:noFill/>
            </a:ln>
          </p:spPr>
          <p:txBody>
            <a:bodyPr vert="horz" wrap="square" lIns="91440" tIns="45720" rIns="91440" bIns="45720" numCol="1" anchor="t" anchorCtr="0" compatLnSpc="1">
              <a:prstTxWarp prst="textNoShape">
                <a:avLst/>
              </a:prstTxWarp>
              <a:noAutofit/>
            </a:bodyPr>
            <a:lstStyle/>
            <a:p>
              <a:endParaRPr lang="zh-CN" altLang="en-US"/>
            </a:p>
          </p:txBody>
        </p:sp>
        <p:sp>
          <p:nvSpPr>
            <p:cNvPr id="1298" name="Freeform 1652">
              <a:extLst>
                <a:ext uri="{FF2B5EF4-FFF2-40B4-BE49-F238E27FC236}">
                  <a16:creationId xmlns:a16="http://schemas.microsoft.com/office/drawing/2014/main" id="{3E532BC8-261D-40D8-8946-CBA01ED09FE9}"/>
                </a:ext>
              </a:extLst>
            </p:cNvPr>
            <p:cNvSpPr>
              <a:spLocks/>
            </p:cNvSpPr>
            <p:nvPr userDrawn="1"/>
          </p:nvSpPr>
          <p:spPr bwMode="auto">
            <a:xfrm>
              <a:off x="7119938" y="5303838"/>
              <a:ext cx="66675" cy="566738"/>
            </a:xfrm>
            <a:custGeom>
              <a:avLst/>
              <a:gdLst>
                <a:gd name="T0" fmla="*/ 0 w 34"/>
                <a:gd name="T1" fmla="*/ 0 h 286"/>
                <a:gd name="T2" fmla="*/ 0 w 34"/>
                <a:gd name="T3" fmla="*/ 286 h 286"/>
                <a:gd name="T4" fmla="*/ 33 w 34"/>
                <a:gd name="T5" fmla="*/ 286 h 286"/>
                <a:gd name="T6" fmla="*/ 34 w 34"/>
                <a:gd name="T7" fmla="*/ 47 h 286"/>
                <a:gd name="T8" fmla="*/ 17 w 34"/>
                <a:gd name="T9" fmla="*/ 14 h 286"/>
                <a:gd name="T10" fmla="*/ 0 w 34"/>
                <a:gd name="T11" fmla="*/ 0 h 286"/>
              </a:gdLst>
              <a:ahLst/>
              <a:cxnLst>
                <a:cxn ang="0">
                  <a:pos x="T0" y="T1"/>
                </a:cxn>
                <a:cxn ang="0">
                  <a:pos x="T2" y="T3"/>
                </a:cxn>
                <a:cxn ang="0">
                  <a:pos x="T4" y="T5"/>
                </a:cxn>
                <a:cxn ang="0">
                  <a:pos x="T6" y="T7"/>
                </a:cxn>
                <a:cxn ang="0">
                  <a:pos x="T8" y="T9"/>
                </a:cxn>
                <a:cxn ang="0">
                  <a:pos x="T10" y="T11"/>
                </a:cxn>
              </a:cxnLst>
              <a:rect l="0" t="0" r="r" b="b"/>
              <a:pathLst>
                <a:path w="34" h="286">
                  <a:moveTo>
                    <a:pt x="0" y="0"/>
                  </a:moveTo>
                  <a:cubicBezTo>
                    <a:pt x="0" y="286"/>
                    <a:pt x="0" y="286"/>
                    <a:pt x="0" y="286"/>
                  </a:cubicBezTo>
                  <a:cubicBezTo>
                    <a:pt x="33" y="286"/>
                    <a:pt x="33" y="286"/>
                    <a:pt x="33" y="286"/>
                  </a:cubicBezTo>
                  <a:cubicBezTo>
                    <a:pt x="34" y="47"/>
                    <a:pt x="34" y="47"/>
                    <a:pt x="34" y="47"/>
                  </a:cubicBezTo>
                  <a:cubicBezTo>
                    <a:pt x="34" y="33"/>
                    <a:pt x="27" y="20"/>
                    <a:pt x="17" y="14"/>
                  </a:cubicBezTo>
                  <a:cubicBezTo>
                    <a:pt x="0" y="0"/>
                    <a:pt x="0" y="0"/>
                    <a:pt x="0" y="0"/>
                  </a:cubicBezTo>
                </a:path>
              </a:pathLst>
            </a:custGeom>
            <a:solidFill>
              <a:schemeClr val="accent2">
                <a:lumMod val="75000"/>
                <a:alpha val="3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99" name="Freeform 1654">
              <a:extLst>
                <a:ext uri="{FF2B5EF4-FFF2-40B4-BE49-F238E27FC236}">
                  <a16:creationId xmlns:a16="http://schemas.microsoft.com/office/drawing/2014/main" id="{E4F15493-7E47-46AE-96A8-87E6134C1B80}"/>
                </a:ext>
              </a:extLst>
            </p:cNvPr>
            <p:cNvSpPr>
              <a:spLocks noEditPoints="1"/>
            </p:cNvSpPr>
            <p:nvPr userDrawn="1"/>
          </p:nvSpPr>
          <p:spPr bwMode="auto">
            <a:xfrm>
              <a:off x="5848351" y="5211763"/>
              <a:ext cx="258763" cy="885825"/>
            </a:xfrm>
            <a:custGeom>
              <a:avLst/>
              <a:gdLst>
                <a:gd name="T0" fmla="*/ 131 w 131"/>
                <a:gd name="T1" fmla="*/ 360 h 448"/>
                <a:gd name="T2" fmla="*/ 0 w 131"/>
                <a:gd name="T3" fmla="*/ 360 h 448"/>
                <a:gd name="T4" fmla="*/ 0 w 131"/>
                <a:gd name="T5" fmla="*/ 427 h 448"/>
                <a:gd name="T6" fmla="*/ 6 w 131"/>
                <a:gd name="T7" fmla="*/ 448 h 448"/>
                <a:gd name="T8" fmla="*/ 98 w 131"/>
                <a:gd name="T9" fmla="*/ 448 h 448"/>
                <a:gd name="T10" fmla="*/ 114 w 131"/>
                <a:gd name="T11" fmla="*/ 441 h 448"/>
                <a:gd name="T12" fmla="*/ 121 w 131"/>
                <a:gd name="T13" fmla="*/ 423 h 448"/>
                <a:gd name="T14" fmla="*/ 131 w 131"/>
                <a:gd name="T15" fmla="*/ 423 h 448"/>
                <a:gd name="T16" fmla="*/ 131 w 131"/>
                <a:gd name="T17" fmla="*/ 360 h 448"/>
                <a:gd name="T18" fmla="*/ 101 w 131"/>
                <a:gd name="T19" fmla="*/ 0 h 448"/>
                <a:gd name="T20" fmla="*/ 89 w 131"/>
                <a:gd name="T21" fmla="*/ 0 h 448"/>
                <a:gd name="T22" fmla="*/ 89 w 131"/>
                <a:gd name="T23" fmla="*/ 27 h 448"/>
                <a:gd name="T24" fmla="*/ 78 w 131"/>
                <a:gd name="T25" fmla="*/ 34 h 448"/>
                <a:gd name="T26" fmla="*/ 72 w 131"/>
                <a:gd name="T27" fmla="*/ 23 h 448"/>
                <a:gd name="T28" fmla="*/ 18 w 131"/>
                <a:gd name="T29" fmla="*/ 61 h 448"/>
                <a:gd name="T30" fmla="*/ 4 w 131"/>
                <a:gd name="T31" fmla="*/ 77 h 448"/>
                <a:gd name="T32" fmla="*/ 7 w 131"/>
                <a:gd name="T33" fmla="*/ 91 h 448"/>
                <a:gd name="T34" fmla="*/ 7 w 131"/>
                <a:gd name="T35" fmla="*/ 91 h 448"/>
                <a:gd name="T36" fmla="*/ 7 w 131"/>
                <a:gd name="T37" fmla="*/ 91 h 448"/>
                <a:gd name="T38" fmla="*/ 1 w 131"/>
                <a:gd name="T39" fmla="*/ 110 h 448"/>
                <a:gd name="T40" fmla="*/ 0 w 131"/>
                <a:gd name="T41" fmla="*/ 189 h 448"/>
                <a:gd name="T42" fmla="*/ 5 w 131"/>
                <a:gd name="T43" fmla="*/ 185 h 448"/>
                <a:gd name="T44" fmla="*/ 11 w 131"/>
                <a:gd name="T45" fmla="*/ 193 h 448"/>
                <a:gd name="T46" fmla="*/ 131 w 131"/>
                <a:gd name="T47" fmla="*/ 310 h 448"/>
                <a:gd name="T48" fmla="*/ 131 w 131"/>
                <a:gd name="T49" fmla="*/ 32 h 448"/>
                <a:gd name="T50" fmla="*/ 101 w 131"/>
                <a:gd name="T51" fmla="*/ 0 h 4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31" h="448">
                  <a:moveTo>
                    <a:pt x="131" y="360"/>
                  </a:moveTo>
                  <a:cubicBezTo>
                    <a:pt x="0" y="360"/>
                    <a:pt x="0" y="360"/>
                    <a:pt x="0" y="360"/>
                  </a:cubicBezTo>
                  <a:cubicBezTo>
                    <a:pt x="0" y="427"/>
                    <a:pt x="0" y="427"/>
                    <a:pt x="0" y="427"/>
                  </a:cubicBezTo>
                  <a:cubicBezTo>
                    <a:pt x="0" y="435"/>
                    <a:pt x="2" y="442"/>
                    <a:pt x="6" y="448"/>
                  </a:cubicBezTo>
                  <a:cubicBezTo>
                    <a:pt x="98" y="448"/>
                    <a:pt x="98" y="448"/>
                    <a:pt x="98" y="448"/>
                  </a:cubicBezTo>
                  <a:cubicBezTo>
                    <a:pt x="104" y="448"/>
                    <a:pt x="110" y="446"/>
                    <a:pt x="114" y="441"/>
                  </a:cubicBezTo>
                  <a:cubicBezTo>
                    <a:pt x="118" y="437"/>
                    <a:pt x="121" y="430"/>
                    <a:pt x="121" y="423"/>
                  </a:cubicBezTo>
                  <a:cubicBezTo>
                    <a:pt x="131" y="423"/>
                    <a:pt x="131" y="423"/>
                    <a:pt x="131" y="423"/>
                  </a:cubicBezTo>
                  <a:cubicBezTo>
                    <a:pt x="131" y="360"/>
                    <a:pt x="131" y="360"/>
                    <a:pt x="131" y="360"/>
                  </a:cubicBezTo>
                  <a:moveTo>
                    <a:pt x="101" y="0"/>
                  </a:moveTo>
                  <a:cubicBezTo>
                    <a:pt x="89" y="0"/>
                    <a:pt x="89" y="0"/>
                    <a:pt x="89" y="0"/>
                  </a:cubicBezTo>
                  <a:cubicBezTo>
                    <a:pt x="89" y="27"/>
                    <a:pt x="89" y="27"/>
                    <a:pt x="89" y="27"/>
                  </a:cubicBezTo>
                  <a:cubicBezTo>
                    <a:pt x="78" y="34"/>
                    <a:pt x="78" y="34"/>
                    <a:pt x="78" y="34"/>
                  </a:cubicBezTo>
                  <a:cubicBezTo>
                    <a:pt x="72" y="23"/>
                    <a:pt x="72" y="23"/>
                    <a:pt x="72" y="23"/>
                  </a:cubicBezTo>
                  <a:cubicBezTo>
                    <a:pt x="18" y="61"/>
                    <a:pt x="18" y="61"/>
                    <a:pt x="18" y="61"/>
                  </a:cubicBezTo>
                  <a:cubicBezTo>
                    <a:pt x="12" y="64"/>
                    <a:pt x="7" y="70"/>
                    <a:pt x="4" y="77"/>
                  </a:cubicBezTo>
                  <a:cubicBezTo>
                    <a:pt x="6" y="81"/>
                    <a:pt x="7" y="86"/>
                    <a:pt x="7" y="91"/>
                  </a:cubicBezTo>
                  <a:cubicBezTo>
                    <a:pt x="7" y="91"/>
                    <a:pt x="7" y="91"/>
                    <a:pt x="7" y="91"/>
                  </a:cubicBezTo>
                  <a:cubicBezTo>
                    <a:pt x="7" y="91"/>
                    <a:pt x="7" y="91"/>
                    <a:pt x="7" y="91"/>
                  </a:cubicBezTo>
                  <a:cubicBezTo>
                    <a:pt x="7" y="98"/>
                    <a:pt x="5" y="105"/>
                    <a:pt x="1" y="110"/>
                  </a:cubicBezTo>
                  <a:cubicBezTo>
                    <a:pt x="0" y="189"/>
                    <a:pt x="0" y="189"/>
                    <a:pt x="0" y="189"/>
                  </a:cubicBezTo>
                  <a:cubicBezTo>
                    <a:pt x="5" y="185"/>
                    <a:pt x="5" y="185"/>
                    <a:pt x="5" y="185"/>
                  </a:cubicBezTo>
                  <a:cubicBezTo>
                    <a:pt x="11" y="193"/>
                    <a:pt x="11" y="193"/>
                    <a:pt x="11" y="193"/>
                  </a:cubicBezTo>
                  <a:cubicBezTo>
                    <a:pt x="131" y="310"/>
                    <a:pt x="131" y="310"/>
                    <a:pt x="131" y="310"/>
                  </a:cubicBezTo>
                  <a:cubicBezTo>
                    <a:pt x="131" y="32"/>
                    <a:pt x="131" y="32"/>
                    <a:pt x="131" y="32"/>
                  </a:cubicBezTo>
                  <a:cubicBezTo>
                    <a:pt x="131" y="14"/>
                    <a:pt x="118" y="0"/>
                    <a:pt x="101" y="0"/>
                  </a:cubicBezTo>
                </a:path>
              </a:pathLst>
            </a:custGeom>
            <a:solidFill>
              <a:schemeClr val="accent2">
                <a:lumMod val="60000"/>
                <a:lumOff val="40000"/>
                <a:alpha val="70000"/>
              </a:schemeClr>
            </a:solidFill>
            <a:ln>
              <a:noFill/>
            </a:ln>
          </p:spPr>
          <p:txBody>
            <a:bodyPr vert="horz" wrap="square" lIns="91440" tIns="45720" rIns="91440" bIns="45720" numCol="1" anchor="t" anchorCtr="0" compatLnSpc="1">
              <a:prstTxWarp prst="textNoShape">
                <a:avLst/>
              </a:prstTxWarp>
            </a:bodyPr>
            <a:lstStyle/>
            <a:p>
              <a:endParaRPr lang="zh-CN" altLang="en-US" dirty="0"/>
            </a:p>
          </p:txBody>
        </p:sp>
        <p:sp>
          <p:nvSpPr>
            <p:cNvPr id="1300" name="Freeform 1655">
              <a:extLst>
                <a:ext uri="{FF2B5EF4-FFF2-40B4-BE49-F238E27FC236}">
                  <a16:creationId xmlns:a16="http://schemas.microsoft.com/office/drawing/2014/main" id="{F1AB5FEE-E7AD-4B3E-A0BF-4AF254A91404}"/>
                </a:ext>
              </a:extLst>
            </p:cNvPr>
            <p:cNvSpPr>
              <a:spLocks/>
            </p:cNvSpPr>
            <p:nvPr userDrawn="1"/>
          </p:nvSpPr>
          <p:spPr bwMode="auto">
            <a:xfrm>
              <a:off x="5848351" y="5592763"/>
              <a:ext cx="258763" cy="290513"/>
            </a:xfrm>
            <a:custGeom>
              <a:avLst/>
              <a:gdLst>
                <a:gd name="T0" fmla="*/ 14 w 163"/>
                <a:gd name="T1" fmla="*/ 0 h 183"/>
                <a:gd name="T2" fmla="*/ 22 w 163"/>
                <a:gd name="T3" fmla="*/ 10 h 183"/>
                <a:gd name="T4" fmla="*/ 0 w 163"/>
                <a:gd name="T5" fmla="*/ 28 h 183"/>
                <a:gd name="T6" fmla="*/ 0 w 163"/>
                <a:gd name="T7" fmla="*/ 183 h 183"/>
                <a:gd name="T8" fmla="*/ 163 w 163"/>
                <a:gd name="T9" fmla="*/ 183 h 183"/>
                <a:gd name="T10" fmla="*/ 163 w 163"/>
                <a:gd name="T11" fmla="*/ 146 h 183"/>
                <a:gd name="T12" fmla="*/ 14 w 163"/>
                <a:gd name="T13" fmla="*/ 0 h 183"/>
              </a:gdLst>
              <a:ahLst/>
              <a:cxnLst>
                <a:cxn ang="0">
                  <a:pos x="T0" y="T1"/>
                </a:cxn>
                <a:cxn ang="0">
                  <a:pos x="T2" y="T3"/>
                </a:cxn>
                <a:cxn ang="0">
                  <a:pos x="T4" y="T5"/>
                </a:cxn>
                <a:cxn ang="0">
                  <a:pos x="T6" y="T7"/>
                </a:cxn>
                <a:cxn ang="0">
                  <a:pos x="T8" y="T9"/>
                </a:cxn>
                <a:cxn ang="0">
                  <a:pos x="T10" y="T11"/>
                </a:cxn>
                <a:cxn ang="0">
                  <a:pos x="T12" y="T13"/>
                </a:cxn>
              </a:cxnLst>
              <a:rect l="0" t="0" r="r" b="b"/>
              <a:pathLst>
                <a:path w="163" h="183">
                  <a:moveTo>
                    <a:pt x="14" y="0"/>
                  </a:moveTo>
                  <a:lnTo>
                    <a:pt x="22" y="10"/>
                  </a:lnTo>
                  <a:lnTo>
                    <a:pt x="0" y="28"/>
                  </a:lnTo>
                  <a:lnTo>
                    <a:pt x="0" y="183"/>
                  </a:lnTo>
                  <a:lnTo>
                    <a:pt x="163" y="183"/>
                  </a:lnTo>
                  <a:lnTo>
                    <a:pt x="163" y="146"/>
                  </a:lnTo>
                  <a:lnTo>
                    <a:pt x="14" y="0"/>
                  </a:lnTo>
                  <a:close/>
                </a:path>
              </a:pathLst>
            </a:custGeom>
            <a:solidFill>
              <a:schemeClr val="accent2">
                <a:lumMod val="75000"/>
                <a:alpha val="3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301" name="Freeform 1656">
              <a:extLst>
                <a:ext uri="{FF2B5EF4-FFF2-40B4-BE49-F238E27FC236}">
                  <a16:creationId xmlns:a16="http://schemas.microsoft.com/office/drawing/2014/main" id="{2660F287-F620-4A9C-BF8E-A58DC52C969A}"/>
                </a:ext>
              </a:extLst>
            </p:cNvPr>
            <p:cNvSpPr>
              <a:spLocks/>
            </p:cNvSpPr>
            <p:nvPr userDrawn="1"/>
          </p:nvSpPr>
          <p:spPr bwMode="auto">
            <a:xfrm>
              <a:off x="5848351" y="5592763"/>
              <a:ext cx="258763" cy="290513"/>
            </a:xfrm>
            <a:custGeom>
              <a:avLst/>
              <a:gdLst>
                <a:gd name="T0" fmla="*/ 14 w 163"/>
                <a:gd name="T1" fmla="*/ 0 h 183"/>
                <a:gd name="T2" fmla="*/ 22 w 163"/>
                <a:gd name="T3" fmla="*/ 10 h 183"/>
                <a:gd name="T4" fmla="*/ 0 w 163"/>
                <a:gd name="T5" fmla="*/ 28 h 183"/>
                <a:gd name="T6" fmla="*/ 0 w 163"/>
                <a:gd name="T7" fmla="*/ 183 h 183"/>
                <a:gd name="T8" fmla="*/ 163 w 163"/>
                <a:gd name="T9" fmla="*/ 183 h 183"/>
                <a:gd name="T10" fmla="*/ 163 w 163"/>
                <a:gd name="T11" fmla="*/ 146 h 183"/>
                <a:gd name="T12" fmla="*/ 14 w 163"/>
                <a:gd name="T13" fmla="*/ 0 h 183"/>
              </a:gdLst>
              <a:ahLst/>
              <a:cxnLst>
                <a:cxn ang="0">
                  <a:pos x="T0" y="T1"/>
                </a:cxn>
                <a:cxn ang="0">
                  <a:pos x="T2" y="T3"/>
                </a:cxn>
                <a:cxn ang="0">
                  <a:pos x="T4" y="T5"/>
                </a:cxn>
                <a:cxn ang="0">
                  <a:pos x="T6" y="T7"/>
                </a:cxn>
                <a:cxn ang="0">
                  <a:pos x="T8" y="T9"/>
                </a:cxn>
                <a:cxn ang="0">
                  <a:pos x="T10" y="T11"/>
                </a:cxn>
                <a:cxn ang="0">
                  <a:pos x="T12" y="T13"/>
                </a:cxn>
              </a:cxnLst>
              <a:rect l="0" t="0" r="r" b="b"/>
              <a:pathLst>
                <a:path w="163" h="183">
                  <a:moveTo>
                    <a:pt x="14" y="0"/>
                  </a:moveTo>
                  <a:lnTo>
                    <a:pt x="22" y="10"/>
                  </a:lnTo>
                  <a:lnTo>
                    <a:pt x="0" y="28"/>
                  </a:lnTo>
                  <a:lnTo>
                    <a:pt x="0" y="183"/>
                  </a:lnTo>
                  <a:lnTo>
                    <a:pt x="163" y="183"/>
                  </a:lnTo>
                  <a:lnTo>
                    <a:pt x="163" y="14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302" name="Freeform 1658">
              <a:extLst>
                <a:ext uri="{FF2B5EF4-FFF2-40B4-BE49-F238E27FC236}">
                  <a16:creationId xmlns:a16="http://schemas.microsoft.com/office/drawing/2014/main" id="{652443B3-87AE-4FB4-AA37-1F4C51B03EC2}"/>
                </a:ext>
              </a:extLst>
            </p:cNvPr>
            <p:cNvSpPr>
              <a:spLocks/>
            </p:cNvSpPr>
            <p:nvPr userDrawn="1"/>
          </p:nvSpPr>
          <p:spPr bwMode="auto">
            <a:xfrm>
              <a:off x="5848351" y="5883275"/>
              <a:ext cx="258763" cy="39688"/>
            </a:xfrm>
            <a:custGeom>
              <a:avLst/>
              <a:gdLst>
                <a:gd name="T0" fmla="*/ 163 w 163"/>
                <a:gd name="T1" fmla="*/ 0 h 25"/>
                <a:gd name="T2" fmla="*/ 163 w 163"/>
                <a:gd name="T3" fmla="*/ 0 h 25"/>
                <a:gd name="T4" fmla="*/ 0 w 163"/>
                <a:gd name="T5" fmla="*/ 0 h 25"/>
                <a:gd name="T6" fmla="*/ 0 w 163"/>
                <a:gd name="T7" fmla="*/ 25 h 25"/>
                <a:gd name="T8" fmla="*/ 163 w 163"/>
                <a:gd name="T9" fmla="*/ 25 h 25"/>
                <a:gd name="T10" fmla="*/ 163 w 163"/>
                <a:gd name="T11" fmla="*/ 0 h 25"/>
              </a:gdLst>
              <a:ahLst/>
              <a:cxnLst>
                <a:cxn ang="0">
                  <a:pos x="T0" y="T1"/>
                </a:cxn>
                <a:cxn ang="0">
                  <a:pos x="T2" y="T3"/>
                </a:cxn>
                <a:cxn ang="0">
                  <a:pos x="T4" y="T5"/>
                </a:cxn>
                <a:cxn ang="0">
                  <a:pos x="T6" y="T7"/>
                </a:cxn>
                <a:cxn ang="0">
                  <a:pos x="T8" y="T9"/>
                </a:cxn>
                <a:cxn ang="0">
                  <a:pos x="T10" y="T11"/>
                </a:cxn>
              </a:cxnLst>
              <a:rect l="0" t="0" r="r" b="b"/>
              <a:pathLst>
                <a:path w="163" h="25">
                  <a:moveTo>
                    <a:pt x="163" y="0"/>
                  </a:moveTo>
                  <a:lnTo>
                    <a:pt x="163" y="0"/>
                  </a:lnTo>
                  <a:lnTo>
                    <a:pt x="0" y="0"/>
                  </a:lnTo>
                  <a:lnTo>
                    <a:pt x="0" y="25"/>
                  </a:lnTo>
                  <a:lnTo>
                    <a:pt x="163" y="25"/>
                  </a:lnTo>
                  <a:lnTo>
                    <a:pt x="163" y="0"/>
                  </a:lnTo>
                  <a:close/>
                </a:path>
              </a:pathLst>
            </a:custGeom>
            <a:solidFill>
              <a:schemeClr val="accent2">
                <a:lumMod val="75000"/>
                <a:alpha val="3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303" name="Freeform 1659">
              <a:extLst>
                <a:ext uri="{FF2B5EF4-FFF2-40B4-BE49-F238E27FC236}">
                  <a16:creationId xmlns:a16="http://schemas.microsoft.com/office/drawing/2014/main" id="{1C5C236F-E9F3-4A24-BFFE-B32BC70C63B6}"/>
                </a:ext>
              </a:extLst>
            </p:cNvPr>
            <p:cNvSpPr>
              <a:spLocks/>
            </p:cNvSpPr>
            <p:nvPr userDrawn="1"/>
          </p:nvSpPr>
          <p:spPr bwMode="auto">
            <a:xfrm>
              <a:off x="5848351" y="5883275"/>
              <a:ext cx="258763" cy="39688"/>
            </a:xfrm>
            <a:custGeom>
              <a:avLst/>
              <a:gdLst>
                <a:gd name="T0" fmla="*/ 163 w 163"/>
                <a:gd name="T1" fmla="*/ 0 h 25"/>
                <a:gd name="T2" fmla="*/ 163 w 163"/>
                <a:gd name="T3" fmla="*/ 0 h 25"/>
                <a:gd name="T4" fmla="*/ 0 w 163"/>
                <a:gd name="T5" fmla="*/ 0 h 25"/>
                <a:gd name="T6" fmla="*/ 0 w 163"/>
                <a:gd name="T7" fmla="*/ 25 h 25"/>
                <a:gd name="T8" fmla="*/ 163 w 163"/>
                <a:gd name="T9" fmla="*/ 25 h 25"/>
                <a:gd name="T10" fmla="*/ 163 w 163"/>
                <a:gd name="T11" fmla="*/ 0 h 25"/>
              </a:gdLst>
              <a:ahLst/>
              <a:cxnLst>
                <a:cxn ang="0">
                  <a:pos x="T0" y="T1"/>
                </a:cxn>
                <a:cxn ang="0">
                  <a:pos x="T2" y="T3"/>
                </a:cxn>
                <a:cxn ang="0">
                  <a:pos x="T4" y="T5"/>
                </a:cxn>
                <a:cxn ang="0">
                  <a:pos x="T6" y="T7"/>
                </a:cxn>
                <a:cxn ang="0">
                  <a:pos x="T8" y="T9"/>
                </a:cxn>
                <a:cxn ang="0">
                  <a:pos x="T10" y="T11"/>
                </a:cxn>
              </a:cxnLst>
              <a:rect l="0" t="0" r="r" b="b"/>
              <a:pathLst>
                <a:path w="163" h="25">
                  <a:moveTo>
                    <a:pt x="163" y="0"/>
                  </a:moveTo>
                  <a:lnTo>
                    <a:pt x="163" y="0"/>
                  </a:lnTo>
                  <a:lnTo>
                    <a:pt x="0" y="0"/>
                  </a:lnTo>
                  <a:lnTo>
                    <a:pt x="0" y="25"/>
                  </a:lnTo>
                  <a:lnTo>
                    <a:pt x="163" y="25"/>
                  </a:lnTo>
                  <a:lnTo>
                    <a:pt x="16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304" name="Freeform 1660">
              <a:extLst>
                <a:ext uri="{FF2B5EF4-FFF2-40B4-BE49-F238E27FC236}">
                  <a16:creationId xmlns:a16="http://schemas.microsoft.com/office/drawing/2014/main" id="{887A0866-AC75-4736-9E51-1C6B399DFC62}"/>
                </a:ext>
              </a:extLst>
            </p:cNvPr>
            <p:cNvSpPr>
              <a:spLocks/>
            </p:cNvSpPr>
            <p:nvPr userDrawn="1"/>
          </p:nvSpPr>
          <p:spPr bwMode="auto">
            <a:xfrm>
              <a:off x="5848351" y="5576888"/>
              <a:ext cx="34925" cy="60325"/>
            </a:xfrm>
            <a:custGeom>
              <a:avLst/>
              <a:gdLst>
                <a:gd name="T0" fmla="*/ 6 w 22"/>
                <a:gd name="T1" fmla="*/ 0 h 38"/>
                <a:gd name="T2" fmla="*/ 0 w 22"/>
                <a:gd name="T3" fmla="*/ 5 h 38"/>
                <a:gd name="T4" fmla="*/ 0 w 22"/>
                <a:gd name="T5" fmla="*/ 38 h 38"/>
                <a:gd name="T6" fmla="*/ 22 w 22"/>
                <a:gd name="T7" fmla="*/ 20 h 38"/>
                <a:gd name="T8" fmla="*/ 14 w 22"/>
                <a:gd name="T9" fmla="*/ 10 h 38"/>
                <a:gd name="T10" fmla="*/ 6 w 22"/>
                <a:gd name="T11" fmla="*/ 0 h 38"/>
              </a:gdLst>
              <a:ahLst/>
              <a:cxnLst>
                <a:cxn ang="0">
                  <a:pos x="T0" y="T1"/>
                </a:cxn>
                <a:cxn ang="0">
                  <a:pos x="T2" y="T3"/>
                </a:cxn>
                <a:cxn ang="0">
                  <a:pos x="T4" y="T5"/>
                </a:cxn>
                <a:cxn ang="0">
                  <a:pos x="T6" y="T7"/>
                </a:cxn>
                <a:cxn ang="0">
                  <a:pos x="T8" y="T9"/>
                </a:cxn>
                <a:cxn ang="0">
                  <a:pos x="T10" y="T11"/>
                </a:cxn>
              </a:cxnLst>
              <a:rect l="0" t="0" r="r" b="b"/>
              <a:pathLst>
                <a:path w="22" h="38">
                  <a:moveTo>
                    <a:pt x="6" y="0"/>
                  </a:moveTo>
                  <a:lnTo>
                    <a:pt x="0" y="5"/>
                  </a:lnTo>
                  <a:lnTo>
                    <a:pt x="0" y="38"/>
                  </a:lnTo>
                  <a:lnTo>
                    <a:pt x="22" y="20"/>
                  </a:lnTo>
                  <a:lnTo>
                    <a:pt x="14" y="10"/>
                  </a:lnTo>
                  <a:lnTo>
                    <a:pt x="6" y="0"/>
                  </a:lnTo>
                  <a:close/>
                </a:path>
              </a:pathLst>
            </a:custGeom>
            <a:solidFill>
              <a:schemeClr val="accent2">
                <a:lumMod val="75000"/>
                <a:alpha val="5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305" name="Freeform 1661">
              <a:extLst>
                <a:ext uri="{FF2B5EF4-FFF2-40B4-BE49-F238E27FC236}">
                  <a16:creationId xmlns:a16="http://schemas.microsoft.com/office/drawing/2014/main" id="{720C72C2-F3F2-45C7-ABDB-DE7E7BE474A7}"/>
                </a:ext>
              </a:extLst>
            </p:cNvPr>
            <p:cNvSpPr>
              <a:spLocks/>
            </p:cNvSpPr>
            <p:nvPr userDrawn="1"/>
          </p:nvSpPr>
          <p:spPr bwMode="auto">
            <a:xfrm>
              <a:off x="5848351" y="5576888"/>
              <a:ext cx="34925" cy="60325"/>
            </a:xfrm>
            <a:custGeom>
              <a:avLst/>
              <a:gdLst>
                <a:gd name="T0" fmla="*/ 6 w 22"/>
                <a:gd name="T1" fmla="*/ 0 h 38"/>
                <a:gd name="T2" fmla="*/ 0 w 22"/>
                <a:gd name="T3" fmla="*/ 5 h 38"/>
                <a:gd name="T4" fmla="*/ 0 w 22"/>
                <a:gd name="T5" fmla="*/ 38 h 38"/>
                <a:gd name="T6" fmla="*/ 22 w 22"/>
                <a:gd name="T7" fmla="*/ 20 h 38"/>
                <a:gd name="T8" fmla="*/ 14 w 22"/>
                <a:gd name="T9" fmla="*/ 10 h 38"/>
                <a:gd name="T10" fmla="*/ 6 w 22"/>
                <a:gd name="T11" fmla="*/ 0 h 38"/>
              </a:gdLst>
              <a:ahLst/>
              <a:cxnLst>
                <a:cxn ang="0">
                  <a:pos x="T0" y="T1"/>
                </a:cxn>
                <a:cxn ang="0">
                  <a:pos x="T2" y="T3"/>
                </a:cxn>
                <a:cxn ang="0">
                  <a:pos x="T4" y="T5"/>
                </a:cxn>
                <a:cxn ang="0">
                  <a:pos x="T6" y="T7"/>
                </a:cxn>
                <a:cxn ang="0">
                  <a:pos x="T8" y="T9"/>
                </a:cxn>
                <a:cxn ang="0">
                  <a:pos x="T10" y="T11"/>
                </a:cxn>
              </a:cxnLst>
              <a:rect l="0" t="0" r="r" b="b"/>
              <a:pathLst>
                <a:path w="22" h="38">
                  <a:moveTo>
                    <a:pt x="6" y="0"/>
                  </a:moveTo>
                  <a:lnTo>
                    <a:pt x="0" y="5"/>
                  </a:lnTo>
                  <a:lnTo>
                    <a:pt x="0" y="38"/>
                  </a:lnTo>
                  <a:lnTo>
                    <a:pt x="22" y="20"/>
                  </a:lnTo>
                  <a:lnTo>
                    <a:pt x="14" y="1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306" name="Freeform 1662">
              <a:extLst>
                <a:ext uri="{FF2B5EF4-FFF2-40B4-BE49-F238E27FC236}">
                  <a16:creationId xmlns:a16="http://schemas.microsoft.com/office/drawing/2014/main" id="{22CBC590-2C1F-42BA-8FD3-CB72E25077AD}"/>
                </a:ext>
              </a:extLst>
            </p:cNvPr>
            <p:cNvSpPr>
              <a:spLocks noEditPoints="1"/>
            </p:cNvSpPr>
            <p:nvPr userDrawn="1"/>
          </p:nvSpPr>
          <p:spPr bwMode="auto">
            <a:xfrm>
              <a:off x="5849938" y="5364163"/>
              <a:ext cx="12700" cy="65088"/>
            </a:xfrm>
            <a:custGeom>
              <a:avLst/>
              <a:gdLst>
                <a:gd name="T0" fmla="*/ 6 w 6"/>
                <a:gd name="T1" fmla="*/ 14 h 33"/>
                <a:gd name="T2" fmla="*/ 0 w 6"/>
                <a:gd name="T3" fmla="*/ 14 h 33"/>
                <a:gd name="T4" fmla="*/ 0 w 6"/>
                <a:gd name="T5" fmla="*/ 16 h 33"/>
                <a:gd name="T6" fmla="*/ 0 w 6"/>
                <a:gd name="T7" fmla="*/ 33 h 33"/>
                <a:gd name="T8" fmla="*/ 6 w 6"/>
                <a:gd name="T9" fmla="*/ 14 h 33"/>
                <a:gd name="T10" fmla="*/ 6 w 6"/>
                <a:gd name="T11" fmla="*/ 14 h 33"/>
                <a:gd name="T12" fmla="*/ 6 w 6"/>
                <a:gd name="T13" fmla="*/ 14 h 33"/>
                <a:gd name="T14" fmla="*/ 6 w 6"/>
                <a:gd name="T15" fmla="*/ 14 h 33"/>
                <a:gd name="T16" fmla="*/ 3 w 6"/>
                <a:gd name="T17" fmla="*/ 0 h 33"/>
                <a:gd name="T18" fmla="*/ 0 w 6"/>
                <a:gd name="T19" fmla="*/ 14 h 33"/>
                <a:gd name="T20" fmla="*/ 6 w 6"/>
                <a:gd name="T21" fmla="*/ 14 h 33"/>
                <a:gd name="T22" fmla="*/ 6 w 6"/>
                <a:gd name="T23" fmla="*/ 14 h 33"/>
                <a:gd name="T24" fmla="*/ 3 w 6"/>
                <a:gd name="T25"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33">
                  <a:moveTo>
                    <a:pt x="6" y="14"/>
                  </a:moveTo>
                  <a:cubicBezTo>
                    <a:pt x="0" y="14"/>
                    <a:pt x="0" y="14"/>
                    <a:pt x="0" y="14"/>
                  </a:cubicBezTo>
                  <a:cubicBezTo>
                    <a:pt x="0" y="14"/>
                    <a:pt x="0" y="15"/>
                    <a:pt x="0" y="16"/>
                  </a:cubicBezTo>
                  <a:cubicBezTo>
                    <a:pt x="0" y="33"/>
                    <a:pt x="0" y="33"/>
                    <a:pt x="0" y="33"/>
                  </a:cubicBezTo>
                  <a:cubicBezTo>
                    <a:pt x="4" y="28"/>
                    <a:pt x="6" y="21"/>
                    <a:pt x="6" y="14"/>
                  </a:cubicBezTo>
                  <a:moveTo>
                    <a:pt x="6" y="14"/>
                  </a:moveTo>
                  <a:cubicBezTo>
                    <a:pt x="6" y="14"/>
                    <a:pt x="6" y="14"/>
                    <a:pt x="6" y="14"/>
                  </a:cubicBezTo>
                  <a:cubicBezTo>
                    <a:pt x="6" y="14"/>
                    <a:pt x="6" y="14"/>
                    <a:pt x="6" y="14"/>
                  </a:cubicBezTo>
                  <a:moveTo>
                    <a:pt x="3" y="0"/>
                  </a:moveTo>
                  <a:cubicBezTo>
                    <a:pt x="1" y="4"/>
                    <a:pt x="0" y="9"/>
                    <a:pt x="0" y="14"/>
                  </a:cubicBezTo>
                  <a:cubicBezTo>
                    <a:pt x="6" y="14"/>
                    <a:pt x="6" y="14"/>
                    <a:pt x="6" y="14"/>
                  </a:cubicBezTo>
                  <a:cubicBezTo>
                    <a:pt x="6" y="14"/>
                    <a:pt x="6" y="14"/>
                    <a:pt x="6" y="14"/>
                  </a:cubicBezTo>
                  <a:cubicBezTo>
                    <a:pt x="6" y="9"/>
                    <a:pt x="5" y="4"/>
                    <a:pt x="3" y="0"/>
                  </a:cubicBezTo>
                </a:path>
              </a:pathLst>
            </a:custGeom>
            <a:solidFill>
              <a:schemeClr val="accent2">
                <a:lumMod val="75000"/>
                <a:alpha val="3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307" name="Freeform 1663">
              <a:extLst>
                <a:ext uri="{FF2B5EF4-FFF2-40B4-BE49-F238E27FC236}">
                  <a16:creationId xmlns:a16="http://schemas.microsoft.com/office/drawing/2014/main" id="{C72A3278-B8FC-4E9D-BD47-02ABA6FDFFE3}"/>
                </a:ext>
              </a:extLst>
            </p:cNvPr>
            <p:cNvSpPr>
              <a:spLocks/>
            </p:cNvSpPr>
            <p:nvPr userDrawn="1"/>
          </p:nvSpPr>
          <p:spPr bwMode="auto">
            <a:xfrm>
              <a:off x="5915026" y="5364163"/>
              <a:ext cx="1209675" cy="377825"/>
            </a:xfrm>
            <a:custGeom>
              <a:avLst/>
              <a:gdLst>
                <a:gd name="T0" fmla="*/ 762 w 762"/>
                <a:gd name="T1" fmla="*/ 3 h 238"/>
                <a:gd name="T2" fmla="*/ 762 w 762"/>
                <a:gd name="T3" fmla="*/ 0 h 238"/>
                <a:gd name="T4" fmla="*/ 0 w 762"/>
                <a:gd name="T5" fmla="*/ 0 h 238"/>
                <a:gd name="T6" fmla="*/ 379 w 762"/>
                <a:gd name="T7" fmla="*/ 238 h 238"/>
                <a:gd name="T8" fmla="*/ 762 w 762"/>
                <a:gd name="T9" fmla="*/ 3 h 238"/>
              </a:gdLst>
              <a:ahLst/>
              <a:cxnLst>
                <a:cxn ang="0">
                  <a:pos x="T0" y="T1"/>
                </a:cxn>
                <a:cxn ang="0">
                  <a:pos x="T2" y="T3"/>
                </a:cxn>
                <a:cxn ang="0">
                  <a:pos x="T4" y="T5"/>
                </a:cxn>
                <a:cxn ang="0">
                  <a:pos x="T6" y="T7"/>
                </a:cxn>
                <a:cxn ang="0">
                  <a:pos x="T8" y="T9"/>
                </a:cxn>
              </a:cxnLst>
              <a:rect l="0" t="0" r="r" b="b"/>
              <a:pathLst>
                <a:path w="762" h="238">
                  <a:moveTo>
                    <a:pt x="762" y="3"/>
                  </a:moveTo>
                  <a:lnTo>
                    <a:pt x="762" y="0"/>
                  </a:lnTo>
                  <a:lnTo>
                    <a:pt x="0" y="0"/>
                  </a:lnTo>
                  <a:lnTo>
                    <a:pt x="379" y="238"/>
                  </a:lnTo>
                  <a:lnTo>
                    <a:pt x="762"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308" name="Freeform 1664">
              <a:extLst>
                <a:ext uri="{FF2B5EF4-FFF2-40B4-BE49-F238E27FC236}">
                  <a16:creationId xmlns:a16="http://schemas.microsoft.com/office/drawing/2014/main" id="{BD0C281D-DC56-4D8E-BAFB-209067AE2B48}"/>
                </a:ext>
              </a:extLst>
            </p:cNvPr>
            <p:cNvSpPr>
              <a:spLocks/>
            </p:cNvSpPr>
            <p:nvPr userDrawn="1"/>
          </p:nvSpPr>
          <p:spPr bwMode="auto">
            <a:xfrm>
              <a:off x="5913438" y="4986338"/>
              <a:ext cx="1209675" cy="377825"/>
            </a:xfrm>
            <a:custGeom>
              <a:avLst/>
              <a:gdLst>
                <a:gd name="T0" fmla="*/ 762 w 762"/>
                <a:gd name="T1" fmla="*/ 234 h 238"/>
                <a:gd name="T2" fmla="*/ 762 w 762"/>
                <a:gd name="T3" fmla="*/ 238 h 238"/>
                <a:gd name="T4" fmla="*/ 0 w 762"/>
                <a:gd name="T5" fmla="*/ 238 h 238"/>
                <a:gd name="T6" fmla="*/ 379 w 762"/>
                <a:gd name="T7" fmla="*/ 0 h 238"/>
                <a:gd name="T8" fmla="*/ 762 w 762"/>
                <a:gd name="T9" fmla="*/ 234 h 238"/>
              </a:gdLst>
              <a:ahLst/>
              <a:cxnLst>
                <a:cxn ang="0">
                  <a:pos x="T0" y="T1"/>
                </a:cxn>
                <a:cxn ang="0">
                  <a:pos x="T2" y="T3"/>
                </a:cxn>
                <a:cxn ang="0">
                  <a:pos x="T4" y="T5"/>
                </a:cxn>
                <a:cxn ang="0">
                  <a:pos x="T6" y="T7"/>
                </a:cxn>
                <a:cxn ang="0">
                  <a:pos x="T8" y="T9"/>
                </a:cxn>
              </a:cxnLst>
              <a:rect l="0" t="0" r="r" b="b"/>
              <a:pathLst>
                <a:path w="762" h="238">
                  <a:moveTo>
                    <a:pt x="762" y="234"/>
                  </a:moveTo>
                  <a:lnTo>
                    <a:pt x="762" y="238"/>
                  </a:lnTo>
                  <a:lnTo>
                    <a:pt x="0" y="238"/>
                  </a:lnTo>
                  <a:lnTo>
                    <a:pt x="379" y="0"/>
                  </a:lnTo>
                  <a:lnTo>
                    <a:pt x="762" y="234"/>
                  </a:lnTo>
                  <a:close/>
                </a:path>
              </a:pathLst>
            </a:custGeom>
            <a:solidFill>
              <a:schemeClr val="accent2">
                <a:lumMod val="40000"/>
                <a:lumOff val="6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309" name="Freeform 1665">
              <a:extLst>
                <a:ext uri="{FF2B5EF4-FFF2-40B4-BE49-F238E27FC236}">
                  <a16:creationId xmlns:a16="http://schemas.microsoft.com/office/drawing/2014/main" id="{0F4E3757-CE25-4E48-B425-739DFBD6E0D2}"/>
                </a:ext>
              </a:extLst>
            </p:cNvPr>
            <p:cNvSpPr>
              <a:spLocks/>
            </p:cNvSpPr>
            <p:nvPr userDrawn="1"/>
          </p:nvSpPr>
          <p:spPr bwMode="auto">
            <a:xfrm>
              <a:off x="6088063" y="4908550"/>
              <a:ext cx="874713" cy="908050"/>
            </a:xfrm>
            <a:custGeom>
              <a:avLst/>
              <a:gdLst>
                <a:gd name="T0" fmla="*/ 442 w 442"/>
                <a:gd name="T1" fmla="*/ 459 h 459"/>
                <a:gd name="T2" fmla="*/ 0 w 442"/>
                <a:gd name="T3" fmla="*/ 459 h 459"/>
                <a:gd name="T4" fmla="*/ 0 w 442"/>
                <a:gd name="T5" fmla="*/ 8 h 459"/>
                <a:gd name="T6" fmla="*/ 7 w 442"/>
                <a:gd name="T7" fmla="*/ 0 h 459"/>
                <a:gd name="T8" fmla="*/ 435 w 442"/>
                <a:gd name="T9" fmla="*/ 0 h 459"/>
                <a:gd name="T10" fmla="*/ 442 w 442"/>
                <a:gd name="T11" fmla="*/ 8 h 459"/>
                <a:gd name="T12" fmla="*/ 442 w 442"/>
                <a:gd name="T13" fmla="*/ 459 h 459"/>
              </a:gdLst>
              <a:ahLst/>
              <a:cxnLst>
                <a:cxn ang="0">
                  <a:pos x="T0" y="T1"/>
                </a:cxn>
                <a:cxn ang="0">
                  <a:pos x="T2" y="T3"/>
                </a:cxn>
                <a:cxn ang="0">
                  <a:pos x="T4" y="T5"/>
                </a:cxn>
                <a:cxn ang="0">
                  <a:pos x="T6" y="T7"/>
                </a:cxn>
                <a:cxn ang="0">
                  <a:pos x="T8" y="T9"/>
                </a:cxn>
                <a:cxn ang="0">
                  <a:pos x="T10" y="T11"/>
                </a:cxn>
                <a:cxn ang="0">
                  <a:pos x="T12" y="T13"/>
                </a:cxn>
              </a:cxnLst>
              <a:rect l="0" t="0" r="r" b="b"/>
              <a:pathLst>
                <a:path w="442" h="459">
                  <a:moveTo>
                    <a:pt x="442" y="459"/>
                  </a:moveTo>
                  <a:cubicBezTo>
                    <a:pt x="0" y="459"/>
                    <a:pt x="0" y="459"/>
                    <a:pt x="0" y="459"/>
                  </a:cubicBezTo>
                  <a:cubicBezTo>
                    <a:pt x="0" y="8"/>
                    <a:pt x="0" y="8"/>
                    <a:pt x="0" y="8"/>
                  </a:cubicBezTo>
                  <a:cubicBezTo>
                    <a:pt x="0" y="4"/>
                    <a:pt x="3" y="0"/>
                    <a:pt x="7" y="0"/>
                  </a:cubicBezTo>
                  <a:cubicBezTo>
                    <a:pt x="435" y="0"/>
                    <a:pt x="435" y="0"/>
                    <a:pt x="435" y="0"/>
                  </a:cubicBezTo>
                  <a:cubicBezTo>
                    <a:pt x="439" y="0"/>
                    <a:pt x="442" y="4"/>
                    <a:pt x="442" y="8"/>
                  </a:cubicBezTo>
                  <a:lnTo>
                    <a:pt x="442" y="45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310" name="Freeform 1666">
              <a:extLst>
                <a:ext uri="{FF2B5EF4-FFF2-40B4-BE49-F238E27FC236}">
                  <a16:creationId xmlns:a16="http://schemas.microsoft.com/office/drawing/2014/main" id="{A18DDDFA-6D48-4F66-A24C-7474E8EF6508}"/>
                </a:ext>
              </a:extLst>
            </p:cNvPr>
            <p:cNvSpPr>
              <a:spLocks/>
            </p:cNvSpPr>
            <p:nvPr userDrawn="1"/>
          </p:nvSpPr>
          <p:spPr bwMode="auto">
            <a:xfrm>
              <a:off x="6067426" y="4889500"/>
              <a:ext cx="915988" cy="949325"/>
            </a:xfrm>
            <a:custGeom>
              <a:avLst/>
              <a:gdLst>
                <a:gd name="T0" fmla="*/ 452 w 462"/>
                <a:gd name="T1" fmla="*/ 469 h 480"/>
                <a:gd name="T2" fmla="*/ 452 w 462"/>
                <a:gd name="T3" fmla="*/ 459 h 480"/>
                <a:gd name="T4" fmla="*/ 20 w 462"/>
                <a:gd name="T5" fmla="*/ 459 h 480"/>
                <a:gd name="T6" fmla="*/ 20 w 462"/>
                <a:gd name="T7" fmla="*/ 18 h 480"/>
                <a:gd name="T8" fmla="*/ 17 w 462"/>
                <a:gd name="T9" fmla="*/ 18 h 480"/>
                <a:gd name="T10" fmla="*/ 19 w 462"/>
                <a:gd name="T11" fmla="*/ 20 h 480"/>
                <a:gd name="T12" fmla="*/ 20 w 462"/>
                <a:gd name="T13" fmla="*/ 18 h 480"/>
                <a:gd name="T14" fmla="*/ 17 w 462"/>
                <a:gd name="T15" fmla="*/ 18 h 480"/>
                <a:gd name="T16" fmla="*/ 19 w 462"/>
                <a:gd name="T17" fmla="*/ 20 h 480"/>
                <a:gd name="T18" fmla="*/ 17 w 462"/>
                <a:gd name="T19" fmla="*/ 18 h 480"/>
                <a:gd name="T20" fmla="*/ 17 w 462"/>
                <a:gd name="T21" fmla="*/ 20 h 480"/>
                <a:gd name="T22" fmla="*/ 19 w 462"/>
                <a:gd name="T23" fmla="*/ 20 h 480"/>
                <a:gd name="T24" fmla="*/ 17 w 462"/>
                <a:gd name="T25" fmla="*/ 18 h 480"/>
                <a:gd name="T26" fmla="*/ 17 w 462"/>
                <a:gd name="T27" fmla="*/ 20 h 480"/>
                <a:gd name="T28" fmla="*/ 445 w 462"/>
                <a:gd name="T29" fmla="*/ 20 h 480"/>
                <a:gd name="T30" fmla="*/ 445 w 462"/>
                <a:gd name="T31" fmla="*/ 18 h 480"/>
                <a:gd name="T32" fmla="*/ 443 w 462"/>
                <a:gd name="T33" fmla="*/ 20 h 480"/>
                <a:gd name="T34" fmla="*/ 445 w 462"/>
                <a:gd name="T35" fmla="*/ 20 h 480"/>
                <a:gd name="T36" fmla="*/ 445 w 462"/>
                <a:gd name="T37" fmla="*/ 18 h 480"/>
                <a:gd name="T38" fmla="*/ 443 w 462"/>
                <a:gd name="T39" fmla="*/ 20 h 480"/>
                <a:gd name="T40" fmla="*/ 445 w 462"/>
                <a:gd name="T41" fmla="*/ 18 h 480"/>
                <a:gd name="T42" fmla="*/ 442 w 462"/>
                <a:gd name="T43" fmla="*/ 18 h 480"/>
                <a:gd name="T44" fmla="*/ 443 w 462"/>
                <a:gd name="T45" fmla="*/ 20 h 480"/>
                <a:gd name="T46" fmla="*/ 445 w 462"/>
                <a:gd name="T47" fmla="*/ 18 h 480"/>
                <a:gd name="T48" fmla="*/ 442 w 462"/>
                <a:gd name="T49" fmla="*/ 18 h 480"/>
                <a:gd name="T50" fmla="*/ 442 w 462"/>
                <a:gd name="T51" fmla="*/ 469 h 480"/>
                <a:gd name="T52" fmla="*/ 452 w 462"/>
                <a:gd name="T53" fmla="*/ 469 h 480"/>
                <a:gd name="T54" fmla="*/ 452 w 462"/>
                <a:gd name="T55" fmla="*/ 459 h 480"/>
                <a:gd name="T56" fmla="*/ 452 w 462"/>
                <a:gd name="T57" fmla="*/ 469 h 480"/>
                <a:gd name="T58" fmla="*/ 462 w 462"/>
                <a:gd name="T59" fmla="*/ 469 h 480"/>
                <a:gd name="T60" fmla="*/ 462 w 462"/>
                <a:gd name="T61" fmla="*/ 18 h 480"/>
                <a:gd name="T62" fmla="*/ 457 w 462"/>
                <a:gd name="T63" fmla="*/ 5 h 480"/>
                <a:gd name="T64" fmla="*/ 445 w 462"/>
                <a:gd name="T65" fmla="*/ 0 h 480"/>
                <a:gd name="T66" fmla="*/ 17 w 462"/>
                <a:gd name="T67" fmla="*/ 0 h 480"/>
                <a:gd name="T68" fmla="*/ 5 w 462"/>
                <a:gd name="T69" fmla="*/ 5 h 480"/>
                <a:gd name="T70" fmla="*/ 0 w 462"/>
                <a:gd name="T71" fmla="*/ 18 h 480"/>
                <a:gd name="T72" fmla="*/ 0 w 462"/>
                <a:gd name="T73" fmla="*/ 480 h 480"/>
                <a:gd name="T74" fmla="*/ 462 w 462"/>
                <a:gd name="T75" fmla="*/ 480 h 480"/>
                <a:gd name="T76" fmla="*/ 462 w 462"/>
                <a:gd name="T77" fmla="*/ 469 h 480"/>
                <a:gd name="T78" fmla="*/ 452 w 462"/>
                <a:gd name="T79" fmla="*/ 469 h 4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62" h="480">
                  <a:moveTo>
                    <a:pt x="452" y="469"/>
                  </a:moveTo>
                  <a:cubicBezTo>
                    <a:pt x="452" y="459"/>
                    <a:pt x="452" y="459"/>
                    <a:pt x="452" y="459"/>
                  </a:cubicBezTo>
                  <a:cubicBezTo>
                    <a:pt x="20" y="459"/>
                    <a:pt x="20" y="459"/>
                    <a:pt x="20" y="459"/>
                  </a:cubicBezTo>
                  <a:cubicBezTo>
                    <a:pt x="20" y="18"/>
                    <a:pt x="20" y="18"/>
                    <a:pt x="20" y="18"/>
                  </a:cubicBezTo>
                  <a:cubicBezTo>
                    <a:pt x="17" y="18"/>
                    <a:pt x="17" y="18"/>
                    <a:pt x="17" y="18"/>
                  </a:cubicBezTo>
                  <a:cubicBezTo>
                    <a:pt x="19" y="20"/>
                    <a:pt x="19" y="20"/>
                    <a:pt x="19" y="20"/>
                  </a:cubicBezTo>
                  <a:cubicBezTo>
                    <a:pt x="20" y="19"/>
                    <a:pt x="20" y="18"/>
                    <a:pt x="20" y="18"/>
                  </a:cubicBezTo>
                  <a:cubicBezTo>
                    <a:pt x="17" y="18"/>
                    <a:pt x="17" y="18"/>
                    <a:pt x="17" y="18"/>
                  </a:cubicBezTo>
                  <a:cubicBezTo>
                    <a:pt x="19" y="20"/>
                    <a:pt x="19" y="20"/>
                    <a:pt x="19" y="20"/>
                  </a:cubicBezTo>
                  <a:cubicBezTo>
                    <a:pt x="17" y="18"/>
                    <a:pt x="17" y="18"/>
                    <a:pt x="17" y="18"/>
                  </a:cubicBezTo>
                  <a:cubicBezTo>
                    <a:pt x="17" y="20"/>
                    <a:pt x="17" y="20"/>
                    <a:pt x="17" y="20"/>
                  </a:cubicBezTo>
                  <a:cubicBezTo>
                    <a:pt x="18" y="20"/>
                    <a:pt x="19" y="20"/>
                    <a:pt x="19" y="20"/>
                  </a:cubicBezTo>
                  <a:cubicBezTo>
                    <a:pt x="17" y="18"/>
                    <a:pt x="17" y="18"/>
                    <a:pt x="17" y="18"/>
                  </a:cubicBezTo>
                  <a:cubicBezTo>
                    <a:pt x="17" y="20"/>
                    <a:pt x="17" y="20"/>
                    <a:pt x="17" y="20"/>
                  </a:cubicBezTo>
                  <a:cubicBezTo>
                    <a:pt x="445" y="20"/>
                    <a:pt x="445" y="20"/>
                    <a:pt x="445" y="20"/>
                  </a:cubicBezTo>
                  <a:cubicBezTo>
                    <a:pt x="445" y="18"/>
                    <a:pt x="445" y="18"/>
                    <a:pt x="445" y="18"/>
                  </a:cubicBezTo>
                  <a:cubicBezTo>
                    <a:pt x="443" y="20"/>
                    <a:pt x="443" y="20"/>
                    <a:pt x="443" y="20"/>
                  </a:cubicBezTo>
                  <a:cubicBezTo>
                    <a:pt x="443" y="20"/>
                    <a:pt x="444" y="20"/>
                    <a:pt x="445" y="20"/>
                  </a:cubicBezTo>
                  <a:cubicBezTo>
                    <a:pt x="445" y="18"/>
                    <a:pt x="445" y="18"/>
                    <a:pt x="445" y="18"/>
                  </a:cubicBezTo>
                  <a:cubicBezTo>
                    <a:pt x="443" y="20"/>
                    <a:pt x="443" y="20"/>
                    <a:pt x="443" y="20"/>
                  </a:cubicBezTo>
                  <a:cubicBezTo>
                    <a:pt x="445" y="18"/>
                    <a:pt x="445" y="18"/>
                    <a:pt x="445" y="18"/>
                  </a:cubicBezTo>
                  <a:cubicBezTo>
                    <a:pt x="442" y="18"/>
                    <a:pt x="442" y="18"/>
                    <a:pt x="442" y="18"/>
                  </a:cubicBezTo>
                  <a:cubicBezTo>
                    <a:pt x="442" y="18"/>
                    <a:pt x="443" y="19"/>
                    <a:pt x="443" y="20"/>
                  </a:cubicBezTo>
                  <a:cubicBezTo>
                    <a:pt x="445" y="18"/>
                    <a:pt x="445" y="18"/>
                    <a:pt x="445" y="18"/>
                  </a:cubicBezTo>
                  <a:cubicBezTo>
                    <a:pt x="442" y="18"/>
                    <a:pt x="442" y="18"/>
                    <a:pt x="442" y="18"/>
                  </a:cubicBezTo>
                  <a:cubicBezTo>
                    <a:pt x="442" y="469"/>
                    <a:pt x="442" y="469"/>
                    <a:pt x="442" y="469"/>
                  </a:cubicBezTo>
                  <a:cubicBezTo>
                    <a:pt x="452" y="469"/>
                    <a:pt x="452" y="469"/>
                    <a:pt x="452" y="469"/>
                  </a:cubicBezTo>
                  <a:cubicBezTo>
                    <a:pt x="452" y="459"/>
                    <a:pt x="452" y="459"/>
                    <a:pt x="452" y="459"/>
                  </a:cubicBezTo>
                  <a:cubicBezTo>
                    <a:pt x="452" y="469"/>
                    <a:pt x="452" y="469"/>
                    <a:pt x="452" y="469"/>
                  </a:cubicBezTo>
                  <a:cubicBezTo>
                    <a:pt x="462" y="469"/>
                    <a:pt x="462" y="469"/>
                    <a:pt x="462" y="469"/>
                  </a:cubicBezTo>
                  <a:cubicBezTo>
                    <a:pt x="462" y="18"/>
                    <a:pt x="462" y="18"/>
                    <a:pt x="462" y="18"/>
                  </a:cubicBezTo>
                  <a:cubicBezTo>
                    <a:pt x="462" y="13"/>
                    <a:pt x="461" y="8"/>
                    <a:pt x="457" y="5"/>
                  </a:cubicBezTo>
                  <a:cubicBezTo>
                    <a:pt x="454" y="2"/>
                    <a:pt x="450" y="0"/>
                    <a:pt x="445" y="0"/>
                  </a:cubicBezTo>
                  <a:cubicBezTo>
                    <a:pt x="17" y="0"/>
                    <a:pt x="17" y="0"/>
                    <a:pt x="17" y="0"/>
                  </a:cubicBezTo>
                  <a:cubicBezTo>
                    <a:pt x="12" y="0"/>
                    <a:pt x="8" y="2"/>
                    <a:pt x="5" y="5"/>
                  </a:cubicBezTo>
                  <a:cubicBezTo>
                    <a:pt x="2" y="8"/>
                    <a:pt x="0" y="13"/>
                    <a:pt x="0" y="18"/>
                  </a:cubicBezTo>
                  <a:cubicBezTo>
                    <a:pt x="0" y="480"/>
                    <a:pt x="0" y="480"/>
                    <a:pt x="0" y="480"/>
                  </a:cubicBezTo>
                  <a:cubicBezTo>
                    <a:pt x="462" y="480"/>
                    <a:pt x="462" y="480"/>
                    <a:pt x="462" y="480"/>
                  </a:cubicBezTo>
                  <a:cubicBezTo>
                    <a:pt x="462" y="469"/>
                    <a:pt x="462" y="469"/>
                    <a:pt x="462" y="469"/>
                  </a:cubicBezTo>
                  <a:lnTo>
                    <a:pt x="452" y="469"/>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311" name="Freeform 1667">
              <a:extLst>
                <a:ext uri="{FF2B5EF4-FFF2-40B4-BE49-F238E27FC236}">
                  <a16:creationId xmlns:a16="http://schemas.microsoft.com/office/drawing/2014/main" id="{D646B83F-78B9-47E6-9114-7CFCEFB66410}"/>
                </a:ext>
              </a:extLst>
            </p:cNvPr>
            <p:cNvSpPr>
              <a:spLocks/>
            </p:cNvSpPr>
            <p:nvPr userDrawn="1"/>
          </p:nvSpPr>
          <p:spPr bwMode="auto">
            <a:xfrm>
              <a:off x="5911851" y="5364163"/>
              <a:ext cx="604838" cy="747713"/>
            </a:xfrm>
            <a:custGeom>
              <a:avLst/>
              <a:gdLst>
                <a:gd name="T0" fmla="*/ 2 w 381"/>
                <a:gd name="T1" fmla="*/ 0 h 471"/>
                <a:gd name="T2" fmla="*/ 0 w 381"/>
                <a:gd name="T3" fmla="*/ 0 h 471"/>
                <a:gd name="T4" fmla="*/ 0 w 381"/>
                <a:gd name="T5" fmla="*/ 471 h 471"/>
                <a:gd name="T6" fmla="*/ 381 w 381"/>
                <a:gd name="T7" fmla="*/ 238 h 471"/>
                <a:gd name="T8" fmla="*/ 2 w 381"/>
                <a:gd name="T9" fmla="*/ 0 h 471"/>
              </a:gdLst>
              <a:ahLst/>
              <a:cxnLst>
                <a:cxn ang="0">
                  <a:pos x="T0" y="T1"/>
                </a:cxn>
                <a:cxn ang="0">
                  <a:pos x="T2" y="T3"/>
                </a:cxn>
                <a:cxn ang="0">
                  <a:pos x="T4" y="T5"/>
                </a:cxn>
                <a:cxn ang="0">
                  <a:pos x="T6" y="T7"/>
                </a:cxn>
                <a:cxn ang="0">
                  <a:pos x="T8" y="T9"/>
                </a:cxn>
              </a:cxnLst>
              <a:rect l="0" t="0" r="r" b="b"/>
              <a:pathLst>
                <a:path w="381" h="471">
                  <a:moveTo>
                    <a:pt x="2" y="0"/>
                  </a:moveTo>
                  <a:lnTo>
                    <a:pt x="0" y="0"/>
                  </a:lnTo>
                  <a:lnTo>
                    <a:pt x="0" y="471"/>
                  </a:lnTo>
                  <a:lnTo>
                    <a:pt x="381" y="238"/>
                  </a:lnTo>
                  <a:lnTo>
                    <a:pt x="2" y="0"/>
                  </a:ln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312" name="Freeform 1668">
              <a:extLst>
                <a:ext uri="{FF2B5EF4-FFF2-40B4-BE49-F238E27FC236}">
                  <a16:creationId xmlns:a16="http://schemas.microsoft.com/office/drawing/2014/main" id="{D36E72AF-FE85-44FC-B976-3B9FB462B2F6}"/>
                </a:ext>
              </a:extLst>
            </p:cNvPr>
            <p:cNvSpPr>
              <a:spLocks/>
            </p:cNvSpPr>
            <p:nvPr userDrawn="1"/>
          </p:nvSpPr>
          <p:spPr bwMode="auto">
            <a:xfrm>
              <a:off x="6516688" y="5368925"/>
              <a:ext cx="608013" cy="750888"/>
            </a:xfrm>
            <a:custGeom>
              <a:avLst/>
              <a:gdLst>
                <a:gd name="T0" fmla="*/ 383 w 383"/>
                <a:gd name="T1" fmla="*/ 0 h 473"/>
                <a:gd name="T2" fmla="*/ 0 w 383"/>
                <a:gd name="T3" fmla="*/ 235 h 473"/>
                <a:gd name="T4" fmla="*/ 381 w 383"/>
                <a:gd name="T5" fmla="*/ 473 h 473"/>
                <a:gd name="T6" fmla="*/ 383 w 383"/>
                <a:gd name="T7" fmla="*/ 473 h 473"/>
                <a:gd name="T8" fmla="*/ 383 w 383"/>
                <a:gd name="T9" fmla="*/ 0 h 473"/>
              </a:gdLst>
              <a:ahLst/>
              <a:cxnLst>
                <a:cxn ang="0">
                  <a:pos x="T0" y="T1"/>
                </a:cxn>
                <a:cxn ang="0">
                  <a:pos x="T2" y="T3"/>
                </a:cxn>
                <a:cxn ang="0">
                  <a:pos x="T4" y="T5"/>
                </a:cxn>
                <a:cxn ang="0">
                  <a:pos x="T6" y="T7"/>
                </a:cxn>
                <a:cxn ang="0">
                  <a:pos x="T8" y="T9"/>
                </a:cxn>
              </a:cxnLst>
              <a:rect l="0" t="0" r="r" b="b"/>
              <a:pathLst>
                <a:path w="383" h="473">
                  <a:moveTo>
                    <a:pt x="383" y="0"/>
                  </a:moveTo>
                  <a:lnTo>
                    <a:pt x="0" y="235"/>
                  </a:lnTo>
                  <a:lnTo>
                    <a:pt x="381" y="473"/>
                  </a:lnTo>
                  <a:lnTo>
                    <a:pt x="383" y="473"/>
                  </a:lnTo>
                  <a:lnTo>
                    <a:pt x="383" y="0"/>
                  </a:ln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313" name="Freeform 1669">
              <a:extLst>
                <a:ext uri="{FF2B5EF4-FFF2-40B4-BE49-F238E27FC236}">
                  <a16:creationId xmlns:a16="http://schemas.microsoft.com/office/drawing/2014/main" id="{DCD6FB52-70A6-442F-8CC7-BA5B80EC151F}"/>
                </a:ext>
              </a:extLst>
            </p:cNvPr>
            <p:cNvSpPr>
              <a:spLocks/>
            </p:cNvSpPr>
            <p:nvPr userDrawn="1"/>
          </p:nvSpPr>
          <p:spPr bwMode="auto">
            <a:xfrm>
              <a:off x="5935664" y="5741988"/>
              <a:ext cx="1185862" cy="370387"/>
            </a:xfrm>
            <a:custGeom>
              <a:avLst/>
              <a:gdLst>
                <a:gd name="T0" fmla="*/ 0 w 762"/>
                <a:gd name="T1" fmla="*/ 233 h 238"/>
                <a:gd name="T2" fmla="*/ 0 w 762"/>
                <a:gd name="T3" fmla="*/ 238 h 238"/>
                <a:gd name="T4" fmla="*/ 762 w 762"/>
                <a:gd name="T5" fmla="*/ 238 h 238"/>
                <a:gd name="T6" fmla="*/ 381 w 762"/>
                <a:gd name="T7" fmla="*/ 0 h 238"/>
                <a:gd name="T8" fmla="*/ 166 w 762"/>
                <a:gd name="T9" fmla="*/ 132 h 238"/>
                <a:gd name="T10" fmla="*/ 0 w 762"/>
                <a:gd name="T11" fmla="*/ 233 h 238"/>
              </a:gdLst>
              <a:ahLst/>
              <a:cxnLst>
                <a:cxn ang="0">
                  <a:pos x="T0" y="T1"/>
                </a:cxn>
                <a:cxn ang="0">
                  <a:pos x="T2" y="T3"/>
                </a:cxn>
                <a:cxn ang="0">
                  <a:pos x="T4" y="T5"/>
                </a:cxn>
                <a:cxn ang="0">
                  <a:pos x="T6" y="T7"/>
                </a:cxn>
                <a:cxn ang="0">
                  <a:pos x="T8" y="T9"/>
                </a:cxn>
                <a:cxn ang="0">
                  <a:pos x="T10" y="T11"/>
                </a:cxn>
              </a:cxnLst>
              <a:rect l="0" t="0" r="r" b="b"/>
              <a:pathLst>
                <a:path w="762" h="238">
                  <a:moveTo>
                    <a:pt x="0" y="233"/>
                  </a:moveTo>
                  <a:lnTo>
                    <a:pt x="0" y="238"/>
                  </a:lnTo>
                  <a:lnTo>
                    <a:pt x="762" y="238"/>
                  </a:lnTo>
                  <a:lnTo>
                    <a:pt x="381" y="0"/>
                  </a:lnTo>
                  <a:lnTo>
                    <a:pt x="166" y="132"/>
                  </a:lnTo>
                  <a:lnTo>
                    <a:pt x="0" y="233"/>
                  </a:lnTo>
                  <a:close/>
                </a:path>
              </a:pathLst>
            </a:custGeom>
            <a:solidFill>
              <a:schemeClr val="accent2">
                <a:lumMod val="60000"/>
                <a:lumOff val="4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314" name="Freeform 1670">
              <a:extLst>
                <a:ext uri="{FF2B5EF4-FFF2-40B4-BE49-F238E27FC236}">
                  <a16:creationId xmlns:a16="http://schemas.microsoft.com/office/drawing/2014/main" id="{F8A7443A-9734-485A-B933-356BE2FC6DEC}"/>
                </a:ext>
              </a:extLst>
            </p:cNvPr>
            <p:cNvSpPr>
              <a:spLocks/>
            </p:cNvSpPr>
            <p:nvPr userDrawn="1"/>
          </p:nvSpPr>
          <p:spPr bwMode="auto">
            <a:xfrm>
              <a:off x="5905501" y="5345113"/>
              <a:ext cx="1208088" cy="777875"/>
            </a:xfrm>
            <a:custGeom>
              <a:avLst/>
              <a:gdLst>
                <a:gd name="T0" fmla="*/ 0 w 761"/>
                <a:gd name="T1" fmla="*/ 22 h 490"/>
                <a:gd name="T2" fmla="*/ 747 w 761"/>
                <a:gd name="T3" fmla="*/ 490 h 490"/>
                <a:gd name="T4" fmla="*/ 761 w 761"/>
                <a:gd name="T5" fmla="*/ 469 h 490"/>
                <a:gd name="T6" fmla="*/ 12 w 761"/>
                <a:gd name="T7" fmla="*/ 0 h 490"/>
                <a:gd name="T8" fmla="*/ 0 w 761"/>
                <a:gd name="T9" fmla="*/ 22 h 490"/>
              </a:gdLst>
              <a:ahLst/>
              <a:cxnLst>
                <a:cxn ang="0">
                  <a:pos x="T0" y="T1"/>
                </a:cxn>
                <a:cxn ang="0">
                  <a:pos x="T2" y="T3"/>
                </a:cxn>
                <a:cxn ang="0">
                  <a:pos x="T4" y="T5"/>
                </a:cxn>
                <a:cxn ang="0">
                  <a:pos x="T6" y="T7"/>
                </a:cxn>
                <a:cxn ang="0">
                  <a:pos x="T8" y="T9"/>
                </a:cxn>
              </a:cxnLst>
              <a:rect l="0" t="0" r="r" b="b"/>
              <a:pathLst>
                <a:path w="761" h="490">
                  <a:moveTo>
                    <a:pt x="0" y="22"/>
                  </a:moveTo>
                  <a:lnTo>
                    <a:pt x="747" y="490"/>
                  </a:lnTo>
                  <a:lnTo>
                    <a:pt x="761" y="469"/>
                  </a:lnTo>
                  <a:lnTo>
                    <a:pt x="12" y="0"/>
                  </a:lnTo>
                  <a:lnTo>
                    <a:pt x="0" y="22"/>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315" name="Freeform 1671">
              <a:extLst>
                <a:ext uri="{FF2B5EF4-FFF2-40B4-BE49-F238E27FC236}">
                  <a16:creationId xmlns:a16="http://schemas.microsoft.com/office/drawing/2014/main" id="{6E75DA08-0286-4849-827F-818DAA6871CD}"/>
                </a:ext>
              </a:extLst>
            </p:cNvPr>
            <p:cNvSpPr>
              <a:spLocks/>
            </p:cNvSpPr>
            <p:nvPr userDrawn="1"/>
          </p:nvSpPr>
          <p:spPr bwMode="auto">
            <a:xfrm>
              <a:off x="5905501" y="5345113"/>
              <a:ext cx="1208088" cy="777875"/>
            </a:xfrm>
            <a:custGeom>
              <a:avLst/>
              <a:gdLst>
                <a:gd name="T0" fmla="*/ 0 w 761"/>
                <a:gd name="T1" fmla="*/ 22 h 490"/>
                <a:gd name="T2" fmla="*/ 747 w 761"/>
                <a:gd name="T3" fmla="*/ 490 h 490"/>
                <a:gd name="T4" fmla="*/ 761 w 761"/>
                <a:gd name="T5" fmla="*/ 469 h 490"/>
                <a:gd name="T6" fmla="*/ 12 w 761"/>
                <a:gd name="T7" fmla="*/ 0 h 490"/>
              </a:gdLst>
              <a:ahLst/>
              <a:cxnLst>
                <a:cxn ang="0">
                  <a:pos x="T0" y="T1"/>
                </a:cxn>
                <a:cxn ang="0">
                  <a:pos x="T2" y="T3"/>
                </a:cxn>
                <a:cxn ang="0">
                  <a:pos x="T4" y="T5"/>
                </a:cxn>
                <a:cxn ang="0">
                  <a:pos x="T6" y="T7"/>
                </a:cxn>
              </a:cxnLst>
              <a:rect l="0" t="0" r="r" b="b"/>
              <a:pathLst>
                <a:path w="761" h="490">
                  <a:moveTo>
                    <a:pt x="0" y="22"/>
                  </a:moveTo>
                  <a:lnTo>
                    <a:pt x="747" y="490"/>
                  </a:lnTo>
                  <a:lnTo>
                    <a:pt x="761" y="469"/>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316" name="Freeform 1672">
              <a:extLst>
                <a:ext uri="{FF2B5EF4-FFF2-40B4-BE49-F238E27FC236}">
                  <a16:creationId xmlns:a16="http://schemas.microsoft.com/office/drawing/2014/main" id="{A2AEAE85-DF20-4BD8-B399-E876BEDC934F}"/>
                </a:ext>
              </a:extLst>
            </p:cNvPr>
            <p:cNvSpPr>
              <a:spLocks/>
            </p:cNvSpPr>
            <p:nvPr userDrawn="1"/>
          </p:nvSpPr>
          <p:spPr bwMode="auto">
            <a:xfrm>
              <a:off x="5921376" y="5353050"/>
              <a:ext cx="1211263" cy="768350"/>
            </a:xfrm>
            <a:custGeom>
              <a:avLst/>
              <a:gdLst>
                <a:gd name="T0" fmla="*/ 14 w 763"/>
                <a:gd name="T1" fmla="*/ 484 h 484"/>
                <a:gd name="T2" fmla="*/ 763 w 763"/>
                <a:gd name="T3" fmla="*/ 22 h 484"/>
                <a:gd name="T4" fmla="*/ 750 w 763"/>
                <a:gd name="T5" fmla="*/ 0 h 484"/>
                <a:gd name="T6" fmla="*/ 0 w 763"/>
                <a:gd name="T7" fmla="*/ 463 h 484"/>
                <a:gd name="T8" fmla="*/ 14 w 763"/>
                <a:gd name="T9" fmla="*/ 484 h 484"/>
              </a:gdLst>
              <a:ahLst/>
              <a:cxnLst>
                <a:cxn ang="0">
                  <a:pos x="T0" y="T1"/>
                </a:cxn>
                <a:cxn ang="0">
                  <a:pos x="T2" y="T3"/>
                </a:cxn>
                <a:cxn ang="0">
                  <a:pos x="T4" y="T5"/>
                </a:cxn>
                <a:cxn ang="0">
                  <a:pos x="T6" y="T7"/>
                </a:cxn>
                <a:cxn ang="0">
                  <a:pos x="T8" y="T9"/>
                </a:cxn>
              </a:cxnLst>
              <a:rect l="0" t="0" r="r" b="b"/>
              <a:pathLst>
                <a:path w="763" h="484">
                  <a:moveTo>
                    <a:pt x="14" y="484"/>
                  </a:moveTo>
                  <a:lnTo>
                    <a:pt x="763" y="22"/>
                  </a:lnTo>
                  <a:lnTo>
                    <a:pt x="750" y="0"/>
                  </a:lnTo>
                  <a:lnTo>
                    <a:pt x="0" y="463"/>
                  </a:lnTo>
                  <a:lnTo>
                    <a:pt x="14" y="484"/>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317" name="Freeform 1673">
              <a:extLst>
                <a:ext uri="{FF2B5EF4-FFF2-40B4-BE49-F238E27FC236}">
                  <a16:creationId xmlns:a16="http://schemas.microsoft.com/office/drawing/2014/main" id="{32519429-61D0-49F6-BDFD-8FB38ADBE244}"/>
                </a:ext>
              </a:extLst>
            </p:cNvPr>
            <p:cNvSpPr>
              <a:spLocks/>
            </p:cNvSpPr>
            <p:nvPr userDrawn="1"/>
          </p:nvSpPr>
          <p:spPr bwMode="auto">
            <a:xfrm>
              <a:off x="5921376" y="5353050"/>
              <a:ext cx="1211263" cy="768350"/>
            </a:xfrm>
            <a:custGeom>
              <a:avLst/>
              <a:gdLst>
                <a:gd name="T0" fmla="*/ 14 w 763"/>
                <a:gd name="T1" fmla="*/ 484 h 484"/>
                <a:gd name="T2" fmla="*/ 763 w 763"/>
                <a:gd name="T3" fmla="*/ 22 h 484"/>
                <a:gd name="T4" fmla="*/ 750 w 763"/>
                <a:gd name="T5" fmla="*/ 0 h 484"/>
                <a:gd name="T6" fmla="*/ 0 w 763"/>
                <a:gd name="T7" fmla="*/ 463 h 484"/>
              </a:gdLst>
              <a:ahLst/>
              <a:cxnLst>
                <a:cxn ang="0">
                  <a:pos x="T0" y="T1"/>
                </a:cxn>
                <a:cxn ang="0">
                  <a:pos x="T2" y="T3"/>
                </a:cxn>
                <a:cxn ang="0">
                  <a:pos x="T4" y="T5"/>
                </a:cxn>
                <a:cxn ang="0">
                  <a:pos x="T6" y="T7"/>
                </a:cxn>
              </a:cxnLst>
              <a:rect l="0" t="0" r="r" b="b"/>
              <a:pathLst>
                <a:path w="763" h="484">
                  <a:moveTo>
                    <a:pt x="14" y="484"/>
                  </a:moveTo>
                  <a:lnTo>
                    <a:pt x="763" y="22"/>
                  </a:lnTo>
                  <a:lnTo>
                    <a:pt x="750" y="0"/>
                  </a:lnTo>
                  <a:lnTo>
                    <a:pt x="0" y="46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318" name="Freeform 1674">
              <a:extLst>
                <a:ext uri="{FF2B5EF4-FFF2-40B4-BE49-F238E27FC236}">
                  <a16:creationId xmlns:a16="http://schemas.microsoft.com/office/drawing/2014/main" id="{9A8B6CBC-11EA-45B3-BE1F-FF070D46E1A3}"/>
                </a:ext>
              </a:extLst>
            </p:cNvPr>
            <p:cNvSpPr>
              <a:spLocks/>
            </p:cNvSpPr>
            <p:nvPr userDrawn="1"/>
          </p:nvSpPr>
          <p:spPr bwMode="auto">
            <a:xfrm>
              <a:off x="6988176" y="5256213"/>
              <a:ext cx="155575" cy="882650"/>
            </a:xfrm>
            <a:custGeom>
              <a:avLst/>
              <a:gdLst>
                <a:gd name="T0" fmla="*/ 3 w 78"/>
                <a:gd name="T1" fmla="*/ 446 h 446"/>
                <a:gd name="T2" fmla="*/ 40 w 78"/>
                <a:gd name="T3" fmla="*/ 446 h 446"/>
                <a:gd name="T4" fmla="*/ 40 w 78"/>
                <a:gd name="T5" fmla="*/ 446 h 446"/>
                <a:gd name="T6" fmla="*/ 40 w 78"/>
                <a:gd name="T7" fmla="*/ 446 h 446"/>
                <a:gd name="T8" fmla="*/ 40 w 78"/>
                <a:gd name="T9" fmla="*/ 439 h 446"/>
                <a:gd name="T10" fmla="*/ 40 w 78"/>
                <a:gd name="T11" fmla="*/ 446 h 446"/>
                <a:gd name="T12" fmla="*/ 40 w 78"/>
                <a:gd name="T13" fmla="*/ 446 h 446"/>
                <a:gd name="T14" fmla="*/ 40 w 78"/>
                <a:gd name="T15" fmla="*/ 439 h 446"/>
                <a:gd name="T16" fmla="*/ 40 w 78"/>
                <a:gd name="T17" fmla="*/ 446 h 446"/>
                <a:gd name="T18" fmla="*/ 66 w 78"/>
                <a:gd name="T19" fmla="*/ 434 h 446"/>
                <a:gd name="T20" fmla="*/ 77 w 78"/>
                <a:gd name="T21" fmla="*/ 407 h 446"/>
                <a:gd name="T22" fmla="*/ 78 w 78"/>
                <a:gd name="T23" fmla="*/ 71 h 446"/>
                <a:gd name="T24" fmla="*/ 78 w 78"/>
                <a:gd name="T25" fmla="*/ 71 h 446"/>
                <a:gd name="T26" fmla="*/ 78 w 78"/>
                <a:gd name="T27" fmla="*/ 70 h 446"/>
                <a:gd name="T28" fmla="*/ 71 w 78"/>
                <a:gd name="T29" fmla="*/ 71 h 446"/>
                <a:gd name="T30" fmla="*/ 78 w 78"/>
                <a:gd name="T31" fmla="*/ 71 h 446"/>
                <a:gd name="T32" fmla="*/ 78 w 78"/>
                <a:gd name="T33" fmla="*/ 70 h 446"/>
                <a:gd name="T34" fmla="*/ 71 w 78"/>
                <a:gd name="T35" fmla="*/ 71 h 446"/>
                <a:gd name="T36" fmla="*/ 78 w 78"/>
                <a:gd name="T37" fmla="*/ 71 h 446"/>
                <a:gd name="T38" fmla="*/ 60 w 78"/>
                <a:gd name="T39" fmla="*/ 37 h 446"/>
                <a:gd name="T40" fmla="*/ 55 w 78"/>
                <a:gd name="T41" fmla="*/ 45 h 446"/>
                <a:gd name="T42" fmla="*/ 61 w 78"/>
                <a:gd name="T43" fmla="*/ 37 h 446"/>
                <a:gd name="T44" fmla="*/ 13 w 78"/>
                <a:gd name="T45" fmla="*/ 0 h 446"/>
                <a:gd name="T46" fmla="*/ 0 w 78"/>
                <a:gd name="T47" fmla="*/ 16 h 446"/>
                <a:gd name="T48" fmla="*/ 49 w 78"/>
                <a:gd name="T49" fmla="*/ 54 h 446"/>
                <a:gd name="T50" fmla="*/ 49 w 78"/>
                <a:gd name="T51" fmla="*/ 54 h 446"/>
                <a:gd name="T52" fmla="*/ 58 w 78"/>
                <a:gd name="T53" fmla="*/ 71 h 446"/>
                <a:gd name="T54" fmla="*/ 58 w 78"/>
                <a:gd name="T55" fmla="*/ 71 h 446"/>
                <a:gd name="T56" fmla="*/ 65 w 78"/>
                <a:gd name="T57" fmla="*/ 71 h 446"/>
                <a:gd name="T58" fmla="*/ 58 w 78"/>
                <a:gd name="T59" fmla="*/ 71 h 446"/>
                <a:gd name="T60" fmla="*/ 58 w 78"/>
                <a:gd name="T61" fmla="*/ 71 h 446"/>
                <a:gd name="T62" fmla="*/ 65 w 78"/>
                <a:gd name="T63" fmla="*/ 71 h 446"/>
                <a:gd name="T64" fmla="*/ 58 w 78"/>
                <a:gd name="T65" fmla="*/ 71 h 446"/>
                <a:gd name="T66" fmla="*/ 58 w 78"/>
                <a:gd name="T67" fmla="*/ 71 h 446"/>
                <a:gd name="T68" fmla="*/ 57 w 78"/>
                <a:gd name="T69" fmla="*/ 407 h 446"/>
                <a:gd name="T70" fmla="*/ 52 w 78"/>
                <a:gd name="T71" fmla="*/ 420 h 446"/>
                <a:gd name="T72" fmla="*/ 40 w 78"/>
                <a:gd name="T73" fmla="*/ 426 h 446"/>
                <a:gd name="T74" fmla="*/ 40 w 78"/>
                <a:gd name="T75" fmla="*/ 426 h 446"/>
                <a:gd name="T76" fmla="*/ 40 w 78"/>
                <a:gd name="T77" fmla="*/ 432 h 446"/>
                <a:gd name="T78" fmla="*/ 40 w 78"/>
                <a:gd name="T79" fmla="*/ 426 h 446"/>
                <a:gd name="T80" fmla="*/ 40 w 78"/>
                <a:gd name="T81" fmla="*/ 426 h 446"/>
                <a:gd name="T82" fmla="*/ 40 w 78"/>
                <a:gd name="T83" fmla="*/ 432 h 446"/>
                <a:gd name="T84" fmla="*/ 40 w 78"/>
                <a:gd name="T85" fmla="*/ 426 h 446"/>
                <a:gd name="T86" fmla="*/ 3 w 78"/>
                <a:gd name="T87" fmla="*/ 425 h 446"/>
                <a:gd name="T88" fmla="*/ 3 w 78"/>
                <a:gd name="T89" fmla="*/ 446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78" h="446">
                  <a:moveTo>
                    <a:pt x="3" y="446"/>
                  </a:moveTo>
                  <a:cubicBezTo>
                    <a:pt x="40" y="446"/>
                    <a:pt x="40" y="446"/>
                    <a:pt x="40" y="446"/>
                  </a:cubicBezTo>
                  <a:cubicBezTo>
                    <a:pt x="40" y="446"/>
                    <a:pt x="40" y="446"/>
                    <a:pt x="40" y="446"/>
                  </a:cubicBezTo>
                  <a:cubicBezTo>
                    <a:pt x="40" y="446"/>
                    <a:pt x="40" y="446"/>
                    <a:pt x="40" y="446"/>
                  </a:cubicBezTo>
                  <a:cubicBezTo>
                    <a:pt x="40" y="439"/>
                    <a:pt x="40" y="439"/>
                    <a:pt x="40" y="439"/>
                  </a:cubicBezTo>
                  <a:cubicBezTo>
                    <a:pt x="40" y="446"/>
                    <a:pt x="40" y="446"/>
                    <a:pt x="40" y="446"/>
                  </a:cubicBezTo>
                  <a:cubicBezTo>
                    <a:pt x="40" y="446"/>
                    <a:pt x="40" y="446"/>
                    <a:pt x="40" y="446"/>
                  </a:cubicBezTo>
                  <a:cubicBezTo>
                    <a:pt x="40" y="439"/>
                    <a:pt x="40" y="439"/>
                    <a:pt x="40" y="439"/>
                  </a:cubicBezTo>
                  <a:cubicBezTo>
                    <a:pt x="40" y="446"/>
                    <a:pt x="40" y="446"/>
                    <a:pt x="40" y="446"/>
                  </a:cubicBezTo>
                  <a:cubicBezTo>
                    <a:pt x="50" y="446"/>
                    <a:pt x="60" y="441"/>
                    <a:pt x="66" y="434"/>
                  </a:cubicBezTo>
                  <a:cubicBezTo>
                    <a:pt x="73" y="427"/>
                    <a:pt x="77" y="417"/>
                    <a:pt x="77" y="407"/>
                  </a:cubicBezTo>
                  <a:cubicBezTo>
                    <a:pt x="78" y="71"/>
                    <a:pt x="78" y="71"/>
                    <a:pt x="78" y="71"/>
                  </a:cubicBezTo>
                  <a:cubicBezTo>
                    <a:pt x="78" y="71"/>
                    <a:pt x="78" y="71"/>
                    <a:pt x="78" y="71"/>
                  </a:cubicBezTo>
                  <a:cubicBezTo>
                    <a:pt x="78" y="70"/>
                    <a:pt x="78" y="70"/>
                    <a:pt x="78" y="70"/>
                  </a:cubicBezTo>
                  <a:cubicBezTo>
                    <a:pt x="71" y="71"/>
                    <a:pt x="71" y="71"/>
                    <a:pt x="71" y="71"/>
                  </a:cubicBezTo>
                  <a:cubicBezTo>
                    <a:pt x="78" y="71"/>
                    <a:pt x="78" y="71"/>
                    <a:pt x="78" y="71"/>
                  </a:cubicBezTo>
                  <a:cubicBezTo>
                    <a:pt x="78" y="70"/>
                    <a:pt x="78" y="70"/>
                    <a:pt x="78" y="70"/>
                  </a:cubicBezTo>
                  <a:cubicBezTo>
                    <a:pt x="71" y="71"/>
                    <a:pt x="71" y="71"/>
                    <a:pt x="71" y="71"/>
                  </a:cubicBezTo>
                  <a:cubicBezTo>
                    <a:pt x="78" y="71"/>
                    <a:pt x="78" y="71"/>
                    <a:pt x="78" y="71"/>
                  </a:cubicBezTo>
                  <a:cubicBezTo>
                    <a:pt x="78" y="57"/>
                    <a:pt x="71" y="44"/>
                    <a:pt x="60" y="37"/>
                  </a:cubicBezTo>
                  <a:cubicBezTo>
                    <a:pt x="55" y="45"/>
                    <a:pt x="55" y="45"/>
                    <a:pt x="55" y="45"/>
                  </a:cubicBezTo>
                  <a:cubicBezTo>
                    <a:pt x="61" y="37"/>
                    <a:pt x="61" y="37"/>
                    <a:pt x="61" y="37"/>
                  </a:cubicBezTo>
                  <a:cubicBezTo>
                    <a:pt x="13" y="0"/>
                    <a:pt x="13" y="0"/>
                    <a:pt x="13" y="0"/>
                  </a:cubicBezTo>
                  <a:cubicBezTo>
                    <a:pt x="0" y="16"/>
                    <a:pt x="0" y="16"/>
                    <a:pt x="0" y="16"/>
                  </a:cubicBezTo>
                  <a:cubicBezTo>
                    <a:pt x="49" y="54"/>
                    <a:pt x="49" y="54"/>
                    <a:pt x="49" y="54"/>
                  </a:cubicBezTo>
                  <a:cubicBezTo>
                    <a:pt x="49" y="54"/>
                    <a:pt x="49" y="54"/>
                    <a:pt x="49" y="54"/>
                  </a:cubicBezTo>
                  <a:cubicBezTo>
                    <a:pt x="54" y="57"/>
                    <a:pt x="58" y="64"/>
                    <a:pt x="58" y="71"/>
                  </a:cubicBezTo>
                  <a:cubicBezTo>
                    <a:pt x="58" y="71"/>
                    <a:pt x="58" y="71"/>
                    <a:pt x="58" y="71"/>
                  </a:cubicBezTo>
                  <a:cubicBezTo>
                    <a:pt x="65" y="71"/>
                    <a:pt x="65" y="71"/>
                    <a:pt x="65" y="71"/>
                  </a:cubicBezTo>
                  <a:cubicBezTo>
                    <a:pt x="58" y="71"/>
                    <a:pt x="58" y="71"/>
                    <a:pt x="58" y="71"/>
                  </a:cubicBezTo>
                  <a:cubicBezTo>
                    <a:pt x="58" y="71"/>
                    <a:pt x="58" y="71"/>
                    <a:pt x="58" y="71"/>
                  </a:cubicBezTo>
                  <a:cubicBezTo>
                    <a:pt x="65" y="71"/>
                    <a:pt x="65" y="71"/>
                    <a:pt x="65" y="71"/>
                  </a:cubicBezTo>
                  <a:cubicBezTo>
                    <a:pt x="58" y="71"/>
                    <a:pt x="58" y="71"/>
                    <a:pt x="58" y="71"/>
                  </a:cubicBezTo>
                  <a:cubicBezTo>
                    <a:pt x="58" y="71"/>
                    <a:pt x="58" y="71"/>
                    <a:pt x="58" y="71"/>
                  </a:cubicBezTo>
                  <a:cubicBezTo>
                    <a:pt x="57" y="407"/>
                    <a:pt x="57" y="407"/>
                    <a:pt x="57" y="407"/>
                  </a:cubicBezTo>
                  <a:cubicBezTo>
                    <a:pt x="57" y="412"/>
                    <a:pt x="55" y="417"/>
                    <a:pt x="52" y="420"/>
                  </a:cubicBezTo>
                  <a:cubicBezTo>
                    <a:pt x="49" y="424"/>
                    <a:pt x="44" y="426"/>
                    <a:pt x="40" y="426"/>
                  </a:cubicBezTo>
                  <a:cubicBezTo>
                    <a:pt x="40" y="426"/>
                    <a:pt x="40" y="426"/>
                    <a:pt x="40" y="426"/>
                  </a:cubicBezTo>
                  <a:cubicBezTo>
                    <a:pt x="40" y="432"/>
                    <a:pt x="40" y="432"/>
                    <a:pt x="40" y="432"/>
                  </a:cubicBezTo>
                  <a:cubicBezTo>
                    <a:pt x="40" y="426"/>
                    <a:pt x="40" y="426"/>
                    <a:pt x="40" y="426"/>
                  </a:cubicBezTo>
                  <a:cubicBezTo>
                    <a:pt x="40" y="426"/>
                    <a:pt x="40" y="426"/>
                    <a:pt x="40" y="426"/>
                  </a:cubicBezTo>
                  <a:cubicBezTo>
                    <a:pt x="40" y="432"/>
                    <a:pt x="40" y="432"/>
                    <a:pt x="40" y="432"/>
                  </a:cubicBezTo>
                  <a:cubicBezTo>
                    <a:pt x="40" y="426"/>
                    <a:pt x="40" y="426"/>
                    <a:pt x="40" y="426"/>
                  </a:cubicBezTo>
                  <a:cubicBezTo>
                    <a:pt x="3" y="425"/>
                    <a:pt x="3" y="425"/>
                    <a:pt x="3" y="425"/>
                  </a:cubicBezTo>
                  <a:cubicBezTo>
                    <a:pt x="3" y="446"/>
                    <a:pt x="3" y="446"/>
                    <a:pt x="3" y="446"/>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dirty="0"/>
            </a:p>
          </p:txBody>
        </p:sp>
        <p:sp>
          <p:nvSpPr>
            <p:cNvPr id="1319" name="Freeform 1675">
              <a:extLst>
                <a:ext uri="{FF2B5EF4-FFF2-40B4-BE49-F238E27FC236}">
                  <a16:creationId xmlns:a16="http://schemas.microsoft.com/office/drawing/2014/main" id="{D6B70025-ABCF-4EFA-846B-320715DD72F4}"/>
                </a:ext>
              </a:extLst>
            </p:cNvPr>
            <p:cNvSpPr>
              <a:spLocks/>
            </p:cNvSpPr>
            <p:nvPr userDrawn="1"/>
          </p:nvSpPr>
          <p:spPr bwMode="auto">
            <a:xfrm>
              <a:off x="5891213" y="5254625"/>
              <a:ext cx="825500" cy="877888"/>
            </a:xfrm>
            <a:custGeom>
              <a:avLst/>
              <a:gdLst>
                <a:gd name="T0" fmla="*/ 72 w 417"/>
                <a:gd name="T1" fmla="*/ 0 h 444"/>
                <a:gd name="T2" fmla="*/ 18 w 417"/>
                <a:gd name="T3" fmla="*/ 38 h 444"/>
                <a:gd name="T4" fmla="*/ 24 w 417"/>
                <a:gd name="T5" fmla="*/ 47 h 444"/>
                <a:gd name="T6" fmla="*/ 19 w 417"/>
                <a:gd name="T7" fmla="*/ 38 h 444"/>
                <a:gd name="T8" fmla="*/ 1 w 417"/>
                <a:gd name="T9" fmla="*/ 71 h 444"/>
                <a:gd name="T10" fmla="*/ 0 w 417"/>
                <a:gd name="T11" fmla="*/ 405 h 444"/>
                <a:gd name="T12" fmla="*/ 10 w 417"/>
                <a:gd name="T13" fmla="*/ 405 h 444"/>
                <a:gd name="T14" fmla="*/ 0 w 417"/>
                <a:gd name="T15" fmla="*/ 404 h 444"/>
                <a:gd name="T16" fmla="*/ 0 w 417"/>
                <a:gd name="T17" fmla="*/ 405 h 444"/>
                <a:gd name="T18" fmla="*/ 10 w 417"/>
                <a:gd name="T19" fmla="*/ 432 h 444"/>
                <a:gd name="T20" fmla="*/ 37 w 417"/>
                <a:gd name="T21" fmla="*/ 444 h 444"/>
                <a:gd name="T22" fmla="*/ 417 w 417"/>
                <a:gd name="T23" fmla="*/ 444 h 444"/>
                <a:gd name="T24" fmla="*/ 417 w 417"/>
                <a:gd name="T25" fmla="*/ 424 h 444"/>
                <a:gd name="T26" fmla="*/ 37 w 417"/>
                <a:gd name="T27" fmla="*/ 423 h 444"/>
                <a:gd name="T28" fmla="*/ 37 w 417"/>
                <a:gd name="T29" fmla="*/ 423 h 444"/>
                <a:gd name="T30" fmla="*/ 25 w 417"/>
                <a:gd name="T31" fmla="*/ 418 h 444"/>
                <a:gd name="T32" fmla="*/ 20 w 417"/>
                <a:gd name="T33" fmla="*/ 405 h 444"/>
                <a:gd name="T34" fmla="*/ 12 w 417"/>
                <a:gd name="T35" fmla="*/ 405 h 444"/>
                <a:gd name="T36" fmla="*/ 20 w 417"/>
                <a:gd name="T37" fmla="*/ 405 h 444"/>
                <a:gd name="T38" fmla="*/ 20 w 417"/>
                <a:gd name="T39" fmla="*/ 405 h 444"/>
                <a:gd name="T40" fmla="*/ 12 w 417"/>
                <a:gd name="T41" fmla="*/ 405 h 444"/>
                <a:gd name="T42" fmla="*/ 20 w 417"/>
                <a:gd name="T43" fmla="*/ 405 h 444"/>
                <a:gd name="T44" fmla="*/ 15 w 417"/>
                <a:gd name="T45" fmla="*/ 405 h 444"/>
                <a:gd name="T46" fmla="*/ 20 w 417"/>
                <a:gd name="T47" fmla="*/ 405 h 444"/>
                <a:gd name="T48" fmla="*/ 20 w 417"/>
                <a:gd name="T49" fmla="*/ 405 h 444"/>
                <a:gd name="T50" fmla="*/ 15 w 417"/>
                <a:gd name="T51" fmla="*/ 405 h 444"/>
                <a:gd name="T52" fmla="*/ 20 w 417"/>
                <a:gd name="T53" fmla="*/ 405 h 444"/>
                <a:gd name="T54" fmla="*/ 20 w 417"/>
                <a:gd name="T55" fmla="*/ 405 h 444"/>
                <a:gd name="T56" fmla="*/ 21 w 417"/>
                <a:gd name="T57" fmla="*/ 71 h 444"/>
                <a:gd name="T58" fmla="*/ 29 w 417"/>
                <a:gd name="T59" fmla="*/ 55 h 444"/>
                <a:gd name="T60" fmla="*/ 30 w 417"/>
                <a:gd name="T61" fmla="*/ 55 h 444"/>
                <a:gd name="T62" fmla="*/ 84 w 417"/>
                <a:gd name="T63" fmla="*/ 17 h 444"/>
                <a:gd name="T64" fmla="*/ 72 w 417"/>
                <a:gd name="T65" fmla="*/ 0 h 4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17" h="444">
                  <a:moveTo>
                    <a:pt x="72" y="0"/>
                  </a:moveTo>
                  <a:cubicBezTo>
                    <a:pt x="18" y="38"/>
                    <a:pt x="18" y="38"/>
                    <a:pt x="18" y="38"/>
                  </a:cubicBezTo>
                  <a:cubicBezTo>
                    <a:pt x="24" y="47"/>
                    <a:pt x="24" y="47"/>
                    <a:pt x="24" y="47"/>
                  </a:cubicBezTo>
                  <a:cubicBezTo>
                    <a:pt x="19" y="38"/>
                    <a:pt x="19" y="38"/>
                    <a:pt x="19" y="38"/>
                  </a:cubicBezTo>
                  <a:cubicBezTo>
                    <a:pt x="7" y="45"/>
                    <a:pt x="1" y="58"/>
                    <a:pt x="1" y="71"/>
                  </a:cubicBezTo>
                  <a:cubicBezTo>
                    <a:pt x="0" y="405"/>
                    <a:pt x="0" y="405"/>
                    <a:pt x="0" y="405"/>
                  </a:cubicBezTo>
                  <a:cubicBezTo>
                    <a:pt x="10" y="405"/>
                    <a:pt x="10" y="405"/>
                    <a:pt x="10" y="405"/>
                  </a:cubicBezTo>
                  <a:cubicBezTo>
                    <a:pt x="0" y="404"/>
                    <a:pt x="0" y="404"/>
                    <a:pt x="0" y="404"/>
                  </a:cubicBezTo>
                  <a:cubicBezTo>
                    <a:pt x="0" y="405"/>
                    <a:pt x="0" y="405"/>
                    <a:pt x="0" y="405"/>
                  </a:cubicBezTo>
                  <a:cubicBezTo>
                    <a:pt x="0" y="415"/>
                    <a:pt x="4" y="425"/>
                    <a:pt x="10" y="432"/>
                  </a:cubicBezTo>
                  <a:cubicBezTo>
                    <a:pt x="17" y="439"/>
                    <a:pt x="26" y="444"/>
                    <a:pt x="37" y="444"/>
                  </a:cubicBezTo>
                  <a:cubicBezTo>
                    <a:pt x="417" y="444"/>
                    <a:pt x="417" y="444"/>
                    <a:pt x="417" y="444"/>
                  </a:cubicBezTo>
                  <a:cubicBezTo>
                    <a:pt x="417" y="424"/>
                    <a:pt x="417" y="424"/>
                    <a:pt x="417" y="424"/>
                  </a:cubicBezTo>
                  <a:cubicBezTo>
                    <a:pt x="37" y="423"/>
                    <a:pt x="37" y="423"/>
                    <a:pt x="37" y="423"/>
                  </a:cubicBezTo>
                  <a:cubicBezTo>
                    <a:pt x="37" y="423"/>
                    <a:pt x="37" y="423"/>
                    <a:pt x="37" y="423"/>
                  </a:cubicBezTo>
                  <a:cubicBezTo>
                    <a:pt x="32" y="423"/>
                    <a:pt x="28" y="422"/>
                    <a:pt x="25" y="418"/>
                  </a:cubicBezTo>
                  <a:cubicBezTo>
                    <a:pt x="22" y="415"/>
                    <a:pt x="20" y="410"/>
                    <a:pt x="20" y="405"/>
                  </a:cubicBezTo>
                  <a:cubicBezTo>
                    <a:pt x="12" y="405"/>
                    <a:pt x="12" y="405"/>
                    <a:pt x="12" y="405"/>
                  </a:cubicBezTo>
                  <a:cubicBezTo>
                    <a:pt x="20" y="405"/>
                    <a:pt x="20" y="405"/>
                    <a:pt x="20" y="405"/>
                  </a:cubicBezTo>
                  <a:cubicBezTo>
                    <a:pt x="20" y="405"/>
                    <a:pt x="20" y="405"/>
                    <a:pt x="20" y="405"/>
                  </a:cubicBezTo>
                  <a:cubicBezTo>
                    <a:pt x="12" y="405"/>
                    <a:pt x="12" y="405"/>
                    <a:pt x="12" y="405"/>
                  </a:cubicBezTo>
                  <a:cubicBezTo>
                    <a:pt x="20" y="405"/>
                    <a:pt x="20" y="405"/>
                    <a:pt x="20" y="405"/>
                  </a:cubicBezTo>
                  <a:cubicBezTo>
                    <a:pt x="15" y="405"/>
                    <a:pt x="15" y="405"/>
                    <a:pt x="15" y="405"/>
                  </a:cubicBezTo>
                  <a:cubicBezTo>
                    <a:pt x="20" y="405"/>
                    <a:pt x="20" y="405"/>
                    <a:pt x="20" y="405"/>
                  </a:cubicBezTo>
                  <a:cubicBezTo>
                    <a:pt x="20" y="405"/>
                    <a:pt x="20" y="405"/>
                    <a:pt x="20" y="405"/>
                  </a:cubicBezTo>
                  <a:cubicBezTo>
                    <a:pt x="15" y="405"/>
                    <a:pt x="15" y="405"/>
                    <a:pt x="15" y="405"/>
                  </a:cubicBezTo>
                  <a:cubicBezTo>
                    <a:pt x="20" y="405"/>
                    <a:pt x="20" y="405"/>
                    <a:pt x="20" y="405"/>
                  </a:cubicBezTo>
                  <a:cubicBezTo>
                    <a:pt x="20" y="405"/>
                    <a:pt x="20" y="405"/>
                    <a:pt x="20" y="405"/>
                  </a:cubicBezTo>
                  <a:cubicBezTo>
                    <a:pt x="21" y="71"/>
                    <a:pt x="21" y="71"/>
                    <a:pt x="21" y="71"/>
                  </a:cubicBezTo>
                  <a:cubicBezTo>
                    <a:pt x="21" y="65"/>
                    <a:pt x="24" y="58"/>
                    <a:pt x="29" y="55"/>
                  </a:cubicBezTo>
                  <a:cubicBezTo>
                    <a:pt x="30" y="55"/>
                    <a:pt x="30" y="55"/>
                    <a:pt x="30" y="55"/>
                  </a:cubicBezTo>
                  <a:cubicBezTo>
                    <a:pt x="84" y="17"/>
                    <a:pt x="84" y="17"/>
                    <a:pt x="84" y="17"/>
                  </a:cubicBezTo>
                  <a:cubicBezTo>
                    <a:pt x="72" y="0"/>
                    <a:pt x="72" y="0"/>
                    <a:pt x="72" y="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320" name="Rectangle 1676">
              <a:extLst>
                <a:ext uri="{FF2B5EF4-FFF2-40B4-BE49-F238E27FC236}">
                  <a16:creationId xmlns:a16="http://schemas.microsoft.com/office/drawing/2014/main" id="{EECAC4BE-9493-41FF-8BE6-36180890D0C8}"/>
                </a:ext>
              </a:extLst>
            </p:cNvPr>
            <p:cNvSpPr>
              <a:spLocks noChangeArrowheads="1"/>
            </p:cNvSpPr>
            <p:nvPr userDrawn="1"/>
          </p:nvSpPr>
          <p:spPr bwMode="auto">
            <a:xfrm>
              <a:off x="6215063" y="5122863"/>
              <a:ext cx="631825" cy="39688"/>
            </a:xfrm>
            <a:prstGeom prst="rect">
              <a:avLst/>
            </a:prstGeom>
            <a:solidFill>
              <a:srgbClr val="0686D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321" name="Freeform 1677">
              <a:extLst>
                <a:ext uri="{FF2B5EF4-FFF2-40B4-BE49-F238E27FC236}">
                  <a16:creationId xmlns:a16="http://schemas.microsoft.com/office/drawing/2014/main" id="{2AAF48B1-F090-498E-AF29-1793CD77C12B}"/>
                </a:ext>
              </a:extLst>
            </p:cNvPr>
            <p:cNvSpPr>
              <a:spLocks/>
            </p:cNvSpPr>
            <p:nvPr userDrawn="1"/>
          </p:nvSpPr>
          <p:spPr bwMode="auto">
            <a:xfrm>
              <a:off x="6215063" y="5122863"/>
              <a:ext cx="631825" cy="39688"/>
            </a:xfrm>
            <a:custGeom>
              <a:avLst/>
              <a:gdLst>
                <a:gd name="T0" fmla="*/ 0 w 398"/>
                <a:gd name="T1" fmla="*/ 25 h 25"/>
                <a:gd name="T2" fmla="*/ 398 w 398"/>
                <a:gd name="T3" fmla="*/ 25 h 25"/>
                <a:gd name="T4" fmla="*/ 398 w 398"/>
                <a:gd name="T5" fmla="*/ 0 h 25"/>
                <a:gd name="T6" fmla="*/ 0 w 398"/>
                <a:gd name="T7" fmla="*/ 0 h 25"/>
              </a:gdLst>
              <a:ahLst/>
              <a:cxnLst>
                <a:cxn ang="0">
                  <a:pos x="T0" y="T1"/>
                </a:cxn>
                <a:cxn ang="0">
                  <a:pos x="T2" y="T3"/>
                </a:cxn>
                <a:cxn ang="0">
                  <a:pos x="T4" y="T5"/>
                </a:cxn>
                <a:cxn ang="0">
                  <a:pos x="T6" y="T7"/>
                </a:cxn>
              </a:cxnLst>
              <a:rect l="0" t="0" r="r" b="b"/>
              <a:pathLst>
                <a:path w="398" h="25">
                  <a:moveTo>
                    <a:pt x="0" y="25"/>
                  </a:moveTo>
                  <a:lnTo>
                    <a:pt x="398" y="25"/>
                  </a:lnTo>
                  <a:lnTo>
                    <a:pt x="398" y="0"/>
                  </a:lnTo>
                  <a:lnTo>
                    <a:pt x="0" y="0"/>
                  </a:lnTo>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322" name="Rectangle 1678">
              <a:extLst>
                <a:ext uri="{FF2B5EF4-FFF2-40B4-BE49-F238E27FC236}">
                  <a16:creationId xmlns:a16="http://schemas.microsoft.com/office/drawing/2014/main" id="{6B8B58D2-6EFD-42C2-8FB6-F6C13F7AE6EF}"/>
                </a:ext>
              </a:extLst>
            </p:cNvPr>
            <p:cNvSpPr>
              <a:spLocks noChangeArrowheads="1"/>
            </p:cNvSpPr>
            <p:nvPr userDrawn="1"/>
          </p:nvSpPr>
          <p:spPr bwMode="auto">
            <a:xfrm>
              <a:off x="6215063" y="5284788"/>
              <a:ext cx="631825" cy="39688"/>
            </a:xfrm>
            <a:prstGeom prst="rect">
              <a:avLst/>
            </a:prstGeom>
            <a:solidFill>
              <a:srgbClr val="0686D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323" name="Freeform 1679">
              <a:extLst>
                <a:ext uri="{FF2B5EF4-FFF2-40B4-BE49-F238E27FC236}">
                  <a16:creationId xmlns:a16="http://schemas.microsoft.com/office/drawing/2014/main" id="{47A8E298-E98D-4699-9CCA-62BD81CBFC84}"/>
                </a:ext>
              </a:extLst>
            </p:cNvPr>
            <p:cNvSpPr>
              <a:spLocks/>
            </p:cNvSpPr>
            <p:nvPr userDrawn="1"/>
          </p:nvSpPr>
          <p:spPr bwMode="auto">
            <a:xfrm>
              <a:off x="6215063" y="5284788"/>
              <a:ext cx="631825" cy="39688"/>
            </a:xfrm>
            <a:custGeom>
              <a:avLst/>
              <a:gdLst>
                <a:gd name="T0" fmla="*/ 0 w 398"/>
                <a:gd name="T1" fmla="*/ 25 h 25"/>
                <a:gd name="T2" fmla="*/ 398 w 398"/>
                <a:gd name="T3" fmla="*/ 25 h 25"/>
                <a:gd name="T4" fmla="*/ 398 w 398"/>
                <a:gd name="T5" fmla="*/ 0 h 25"/>
                <a:gd name="T6" fmla="*/ 0 w 398"/>
                <a:gd name="T7" fmla="*/ 0 h 25"/>
              </a:gdLst>
              <a:ahLst/>
              <a:cxnLst>
                <a:cxn ang="0">
                  <a:pos x="T0" y="T1"/>
                </a:cxn>
                <a:cxn ang="0">
                  <a:pos x="T2" y="T3"/>
                </a:cxn>
                <a:cxn ang="0">
                  <a:pos x="T4" y="T5"/>
                </a:cxn>
                <a:cxn ang="0">
                  <a:pos x="T6" y="T7"/>
                </a:cxn>
              </a:cxnLst>
              <a:rect l="0" t="0" r="r" b="b"/>
              <a:pathLst>
                <a:path w="398" h="25">
                  <a:moveTo>
                    <a:pt x="0" y="25"/>
                  </a:moveTo>
                  <a:lnTo>
                    <a:pt x="398" y="25"/>
                  </a:lnTo>
                  <a:lnTo>
                    <a:pt x="398" y="0"/>
                  </a:lnTo>
                  <a:lnTo>
                    <a:pt x="0" y="0"/>
                  </a:lnTo>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324" name="Rectangle 1680">
              <a:extLst>
                <a:ext uri="{FF2B5EF4-FFF2-40B4-BE49-F238E27FC236}">
                  <a16:creationId xmlns:a16="http://schemas.microsoft.com/office/drawing/2014/main" id="{716B3617-D641-452E-AE8A-14BB0E27A246}"/>
                </a:ext>
              </a:extLst>
            </p:cNvPr>
            <p:cNvSpPr>
              <a:spLocks noChangeArrowheads="1"/>
            </p:cNvSpPr>
            <p:nvPr userDrawn="1"/>
          </p:nvSpPr>
          <p:spPr bwMode="auto">
            <a:xfrm>
              <a:off x="6215063" y="5446713"/>
              <a:ext cx="631825" cy="41275"/>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325" name="Freeform 1681">
              <a:extLst>
                <a:ext uri="{FF2B5EF4-FFF2-40B4-BE49-F238E27FC236}">
                  <a16:creationId xmlns:a16="http://schemas.microsoft.com/office/drawing/2014/main" id="{83A529A5-BEA6-410F-BB0A-0FD6C5BDA51B}"/>
                </a:ext>
              </a:extLst>
            </p:cNvPr>
            <p:cNvSpPr>
              <a:spLocks/>
            </p:cNvSpPr>
            <p:nvPr userDrawn="1"/>
          </p:nvSpPr>
          <p:spPr bwMode="auto">
            <a:xfrm>
              <a:off x="6215063" y="5446713"/>
              <a:ext cx="631825" cy="41275"/>
            </a:xfrm>
            <a:custGeom>
              <a:avLst/>
              <a:gdLst>
                <a:gd name="T0" fmla="*/ 0 w 398"/>
                <a:gd name="T1" fmla="*/ 26 h 26"/>
                <a:gd name="T2" fmla="*/ 398 w 398"/>
                <a:gd name="T3" fmla="*/ 26 h 26"/>
                <a:gd name="T4" fmla="*/ 398 w 398"/>
                <a:gd name="T5" fmla="*/ 0 h 26"/>
                <a:gd name="T6" fmla="*/ 0 w 398"/>
                <a:gd name="T7" fmla="*/ 0 h 26"/>
              </a:gdLst>
              <a:ahLst/>
              <a:cxnLst>
                <a:cxn ang="0">
                  <a:pos x="T0" y="T1"/>
                </a:cxn>
                <a:cxn ang="0">
                  <a:pos x="T2" y="T3"/>
                </a:cxn>
                <a:cxn ang="0">
                  <a:pos x="T4" y="T5"/>
                </a:cxn>
                <a:cxn ang="0">
                  <a:pos x="T6" y="T7"/>
                </a:cxn>
              </a:cxnLst>
              <a:rect l="0" t="0" r="r" b="b"/>
              <a:pathLst>
                <a:path w="398" h="26">
                  <a:moveTo>
                    <a:pt x="0" y="26"/>
                  </a:moveTo>
                  <a:lnTo>
                    <a:pt x="398" y="26"/>
                  </a:lnTo>
                  <a:lnTo>
                    <a:pt x="398"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326" name="Freeform 1682">
              <a:extLst>
                <a:ext uri="{FF2B5EF4-FFF2-40B4-BE49-F238E27FC236}">
                  <a16:creationId xmlns:a16="http://schemas.microsoft.com/office/drawing/2014/main" id="{AF0BF3D5-1658-43C9-8389-3A8C615EE223}"/>
                </a:ext>
              </a:extLst>
            </p:cNvPr>
            <p:cNvSpPr>
              <a:spLocks/>
            </p:cNvSpPr>
            <p:nvPr userDrawn="1"/>
          </p:nvSpPr>
          <p:spPr bwMode="auto">
            <a:xfrm>
              <a:off x="4818063" y="5983288"/>
              <a:ext cx="171450" cy="133350"/>
            </a:xfrm>
            <a:custGeom>
              <a:avLst/>
              <a:gdLst>
                <a:gd name="T0" fmla="*/ 84 w 86"/>
                <a:gd name="T1" fmla="*/ 26 h 68"/>
                <a:gd name="T2" fmla="*/ 48 w 86"/>
                <a:gd name="T3" fmla="*/ 64 h 68"/>
                <a:gd name="T4" fmla="*/ 3 w 86"/>
                <a:gd name="T5" fmla="*/ 41 h 68"/>
                <a:gd name="T6" fmla="*/ 39 w 86"/>
                <a:gd name="T7" fmla="*/ 4 h 68"/>
                <a:gd name="T8" fmla="*/ 84 w 86"/>
                <a:gd name="T9" fmla="*/ 26 h 68"/>
              </a:gdLst>
              <a:ahLst/>
              <a:cxnLst>
                <a:cxn ang="0">
                  <a:pos x="T0" y="T1"/>
                </a:cxn>
                <a:cxn ang="0">
                  <a:pos x="T2" y="T3"/>
                </a:cxn>
                <a:cxn ang="0">
                  <a:pos x="T4" y="T5"/>
                </a:cxn>
                <a:cxn ang="0">
                  <a:pos x="T6" y="T7"/>
                </a:cxn>
                <a:cxn ang="0">
                  <a:pos x="T8" y="T9"/>
                </a:cxn>
              </a:cxnLst>
              <a:rect l="0" t="0" r="r" b="b"/>
              <a:pathLst>
                <a:path w="86" h="68">
                  <a:moveTo>
                    <a:pt x="84" y="26"/>
                  </a:moveTo>
                  <a:cubicBezTo>
                    <a:pt x="86" y="43"/>
                    <a:pt x="71" y="60"/>
                    <a:pt x="48" y="64"/>
                  </a:cubicBezTo>
                  <a:cubicBezTo>
                    <a:pt x="26" y="68"/>
                    <a:pt x="6" y="58"/>
                    <a:pt x="3" y="41"/>
                  </a:cubicBezTo>
                  <a:cubicBezTo>
                    <a:pt x="0" y="25"/>
                    <a:pt x="16" y="8"/>
                    <a:pt x="39" y="4"/>
                  </a:cubicBezTo>
                  <a:cubicBezTo>
                    <a:pt x="61" y="0"/>
                    <a:pt x="81" y="10"/>
                    <a:pt x="84" y="2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327" name="Freeform 1683">
              <a:extLst>
                <a:ext uri="{FF2B5EF4-FFF2-40B4-BE49-F238E27FC236}">
                  <a16:creationId xmlns:a16="http://schemas.microsoft.com/office/drawing/2014/main" id="{C8BC9A71-4C76-4504-A1AC-DB51D76CE095}"/>
                </a:ext>
              </a:extLst>
            </p:cNvPr>
            <p:cNvSpPr>
              <a:spLocks/>
            </p:cNvSpPr>
            <p:nvPr userDrawn="1"/>
          </p:nvSpPr>
          <p:spPr bwMode="auto">
            <a:xfrm>
              <a:off x="4805363" y="5969000"/>
              <a:ext cx="198438" cy="161925"/>
            </a:xfrm>
            <a:custGeom>
              <a:avLst/>
              <a:gdLst>
                <a:gd name="T0" fmla="*/ 91 w 101"/>
                <a:gd name="T1" fmla="*/ 33 h 82"/>
                <a:gd name="T2" fmla="*/ 81 w 101"/>
                <a:gd name="T3" fmla="*/ 35 h 82"/>
                <a:gd name="T4" fmla="*/ 81 w 101"/>
                <a:gd name="T5" fmla="*/ 37 h 82"/>
                <a:gd name="T6" fmla="*/ 79 w 101"/>
                <a:gd name="T7" fmla="*/ 44 h 82"/>
                <a:gd name="T8" fmla="*/ 70 w 101"/>
                <a:gd name="T9" fmla="*/ 54 h 82"/>
                <a:gd name="T10" fmla="*/ 53 w 101"/>
                <a:gd name="T11" fmla="*/ 61 h 82"/>
                <a:gd name="T12" fmla="*/ 45 w 101"/>
                <a:gd name="T13" fmla="*/ 61 h 82"/>
                <a:gd name="T14" fmla="*/ 27 w 101"/>
                <a:gd name="T15" fmla="*/ 57 h 82"/>
                <a:gd name="T16" fmla="*/ 22 w 101"/>
                <a:gd name="T17" fmla="*/ 52 h 82"/>
                <a:gd name="T18" fmla="*/ 20 w 101"/>
                <a:gd name="T19" fmla="*/ 47 h 82"/>
                <a:gd name="T20" fmla="*/ 20 w 101"/>
                <a:gd name="T21" fmla="*/ 45 h 82"/>
                <a:gd name="T22" fmla="*/ 22 w 101"/>
                <a:gd name="T23" fmla="*/ 38 h 82"/>
                <a:gd name="T24" fmla="*/ 31 w 101"/>
                <a:gd name="T25" fmla="*/ 28 h 82"/>
                <a:gd name="T26" fmla="*/ 47 w 101"/>
                <a:gd name="T27" fmla="*/ 21 h 82"/>
                <a:gd name="T28" fmla="*/ 47 w 101"/>
                <a:gd name="T29" fmla="*/ 21 h 82"/>
                <a:gd name="T30" fmla="*/ 56 w 101"/>
                <a:gd name="T31" fmla="*/ 20 h 82"/>
                <a:gd name="T32" fmla="*/ 74 w 101"/>
                <a:gd name="T33" fmla="*/ 25 h 82"/>
                <a:gd name="T34" fmla="*/ 79 w 101"/>
                <a:gd name="T35" fmla="*/ 30 h 82"/>
                <a:gd name="T36" fmla="*/ 81 w 101"/>
                <a:gd name="T37" fmla="*/ 35 h 82"/>
                <a:gd name="T38" fmla="*/ 91 w 101"/>
                <a:gd name="T39" fmla="*/ 33 h 82"/>
                <a:gd name="T40" fmla="*/ 101 w 101"/>
                <a:gd name="T41" fmla="*/ 32 h 82"/>
                <a:gd name="T42" fmla="*/ 95 w 101"/>
                <a:gd name="T43" fmla="*/ 18 h 82"/>
                <a:gd name="T44" fmla="*/ 78 w 101"/>
                <a:gd name="T45" fmla="*/ 5 h 82"/>
                <a:gd name="T46" fmla="*/ 56 w 101"/>
                <a:gd name="T47" fmla="*/ 0 h 82"/>
                <a:gd name="T48" fmla="*/ 44 w 101"/>
                <a:gd name="T49" fmla="*/ 1 h 82"/>
                <a:gd name="T50" fmla="*/ 44 w 101"/>
                <a:gd name="T51" fmla="*/ 1 h 82"/>
                <a:gd name="T52" fmla="*/ 13 w 101"/>
                <a:gd name="T53" fmla="*/ 16 h 82"/>
                <a:gd name="T54" fmla="*/ 3 w 101"/>
                <a:gd name="T55" fmla="*/ 29 h 82"/>
                <a:gd name="T56" fmla="*/ 0 w 101"/>
                <a:gd name="T57" fmla="*/ 45 h 82"/>
                <a:gd name="T58" fmla="*/ 0 w 101"/>
                <a:gd name="T59" fmla="*/ 50 h 82"/>
                <a:gd name="T60" fmla="*/ 6 w 101"/>
                <a:gd name="T61" fmla="*/ 64 h 82"/>
                <a:gd name="T62" fmla="*/ 23 w 101"/>
                <a:gd name="T63" fmla="*/ 77 h 82"/>
                <a:gd name="T64" fmla="*/ 45 w 101"/>
                <a:gd name="T65" fmla="*/ 82 h 82"/>
                <a:gd name="T66" fmla="*/ 57 w 101"/>
                <a:gd name="T67" fmla="*/ 81 h 82"/>
                <a:gd name="T68" fmla="*/ 88 w 101"/>
                <a:gd name="T69" fmla="*/ 65 h 82"/>
                <a:gd name="T70" fmla="*/ 97 w 101"/>
                <a:gd name="T71" fmla="*/ 53 h 82"/>
                <a:gd name="T72" fmla="*/ 101 w 101"/>
                <a:gd name="T73" fmla="*/ 37 h 82"/>
                <a:gd name="T74" fmla="*/ 101 w 101"/>
                <a:gd name="T75" fmla="*/ 32 h 82"/>
                <a:gd name="T76" fmla="*/ 91 w 101"/>
                <a:gd name="T77" fmla="*/ 33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01" h="82">
                  <a:moveTo>
                    <a:pt x="91" y="33"/>
                  </a:moveTo>
                  <a:cubicBezTo>
                    <a:pt x="81" y="35"/>
                    <a:pt x="81" y="35"/>
                    <a:pt x="81" y="35"/>
                  </a:cubicBezTo>
                  <a:cubicBezTo>
                    <a:pt x="81" y="36"/>
                    <a:pt x="81" y="36"/>
                    <a:pt x="81" y="37"/>
                  </a:cubicBezTo>
                  <a:cubicBezTo>
                    <a:pt x="81" y="39"/>
                    <a:pt x="80" y="41"/>
                    <a:pt x="79" y="44"/>
                  </a:cubicBezTo>
                  <a:cubicBezTo>
                    <a:pt x="78" y="47"/>
                    <a:pt x="74" y="51"/>
                    <a:pt x="70" y="54"/>
                  </a:cubicBezTo>
                  <a:cubicBezTo>
                    <a:pt x="65" y="57"/>
                    <a:pt x="60" y="60"/>
                    <a:pt x="53" y="61"/>
                  </a:cubicBezTo>
                  <a:cubicBezTo>
                    <a:pt x="51" y="61"/>
                    <a:pt x="48" y="61"/>
                    <a:pt x="45" y="61"/>
                  </a:cubicBezTo>
                  <a:cubicBezTo>
                    <a:pt x="38" y="61"/>
                    <a:pt x="32" y="60"/>
                    <a:pt x="27" y="57"/>
                  </a:cubicBezTo>
                  <a:cubicBezTo>
                    <a:pt x="25" y="55"/>
                    <a:pt x="23" y="54"/>
                    <a:pt x="22" y="52"/>
                  </a:cubicBezTo>
                  <a:cubicBezTo>
                    <a:pt x="21" y="50"/>
                    <a:pt x="20" y="49"/>
                    <a:pt x="20" y="47"/>
                  </a:cubicBezTo>
                  <a:cubicBezTo>
                    <a:pt x="20" y="46"/>
                    <a:pt x="20" y="45"/>
                    <a:pt x="20" y="45"/>
                  </a:cubicBezTo>
                  <a:cubicBezTo>
                    <a:pt x="20" y="43"/>
                    <a:pt x="20" y="40"/>
                    <a:pt x="22" y="38"/>
                  </a:cubicBezTo>
                  <a:cubicBezTo>
                    <a:pt x="23" y="35"/>
                    <a:pt x="26" y="31"/>
                    <a:pt x="31" y="28"/>
                  </a:cubicBezTo>
                  <a:cubicBezTo>
                    <a:pt x="35" y="25"/>
                    <a:pt x="41" y="22"/>
                    <a:pt x="47" y="21"/>
                  </a:cubicBezTo>
                  <a:cubicBezTo>
                    <a:pt x="47" y="21"/>
                    <a:pt x="47" y="21"/>
                    <a:pt x="47" y="21"/>
                  </a:cubicBezTo>
                  <a:cubicBezTo>
                    <a:pt x="50" y="21"/>
                    <a:pt x="53" y="20"/>
                    <a:pt x="56" y="20"/>
                  </a:cubicBezTo>
                  <a:cubicBezTo>
                    <a:pt x="63" y="20"/>
                    <a:pt x="69" y="22"/>
                    <a:pt x="74" y="25"/>
                  </a:cubicBezTo>
                  <a:cubicBezTo>
                    <a:pt x="76" y="26"/>
                    <a:pt x="77" y="28"/>
                    <a:pt x="79" y="30"/>
                  </a:cubicBezTo>
                  <a:cubicBezTo>
                    <a:pt x="80" y="31"/>
                    <a:pt x="80" y="33"/>
                    <a:pt x="81" y="35"/>
                  </a:cubicBezTo>
                  <a:cubicBezTo>
                    <a:pt x="91" y="33"/>
                    <a:pt x="91" y="33"/>
                    <a:pt x="91" y="33"/>
                  </a:cubicBezTo>
                  <a:cubicBezTo>
                    <a:pt x="101" y="32"/>
                    <a:pt x="101" y="32"/>
                    <a:pt x="101" y="32"/>
                  </a:cubicBezTo>
                  <a:cubicBezTo>
                    <a:pt x="100" y="27"/>
                    <a:pt x="98" y="22"/>
                    <a:pt x="95" y="18"/>
                  </a:cubicBezTo>
                  <a:cubicBezTo>
                    <a:pt x="91" y="12"/>
                    <a:pt x="85" y="8"/>
                    <a:pt x="78" y="5"/>
                  </a:cubicBezTo>
                  <a:cubicBezTo>
                    <a:pt x="71" y="2"/>
                    <a:pt x="64" y="0"/>
                    <a:pt x="56" y="0"/>
                  </a:cubicBezTo>
                  <a:cubicBezTo>
                    <a:pt x="52" y="0"/>
                    <a:pt x="48" y="0"/>
                    <a:pt x="44" y="1"/>
                  </a:cubicBezTo>
                  <a:cubicBezTo>
                    <a:pt x="44" y="1"/>
                    <a:pt x="44" y="1"/>
                    <a:pt x="44" y="1"/>
                  </a:cubicBezTo>
                  <a:cubicBezTo>
                    <a:pt x="32" y="3"/>
                    <a:pt x="21" y="9"/>
                    <a:pt x="13" y="16"/>
                  </a:cubicBezTo>
                  <a:cubicBezTo>
                    <a:pt x="9" y="20"/>
                    <a:pt x="6" y="24"/>
                    <a:pt x="3" y="29"/>
                  </a:cubicBezTo>
                  <a:cubicBezTo>
                    <a:pt x="1" y="34"/>
                    <a:pt x="0" y="39"/>
                    <a:pt x="0" y="45"/>
                  </a:cubicBezTo>
                  <a:cubicBezTo>
                    <a:pt x="0" y="46"/>
                    <a:pt x="0" y="48"/>
                    <a:pt x="0" y="50"/>
                  </a:cubicBezTo>
                  <a:cubicBezTo>
                    <a:pt x="1" y="55"/>
                    <a:pt x="3" y="60"/>
                    <a:pt x="6" y="64"/>
                  </a:cubicBezTo>
                  <a:cubicBezTo>
                    <a:pt x="10" y="70"/>
                    <a:pt x="16" y="74"/>
                    <a:pt x="23" y="77"/>
                  </a:cubicBezTo>
                  <a:cubicBezTo>
                    <a:pt x="30" y="80"/>
                    <a:pt x="37" y="82"/>
                    <a:pt x="45" y="82"/>
                  </a:cubicBezTo>
                  <a:cubicBezTo>
                    <a:pt x="49" y="82"/>
                    <a:pt x="53" y="81"/>
                    <a:pt x="57" y="81"/>
                  </a:cubicBezTo>
                  <a:cubicBezTo>
                    <a:pt x="69" y="78"/>
                    <a:pt x="80" y="73"/>
                    <a:pt x="88" y="65"/>
                  </a:cubicBezTo>
                  <a:cubicBezTo>
                    <a:pt x="92" y="62"/>
                    <a:pt x="95" y="57"/>
                    <a:pt x="97" y="53"/>
                  </a:cubicBezTo>
                  <a:cubicBezTo>
                    <a:pt x="100" y="48"/>
                    <a:pt x="101" y="43"/>
                    <a:pt x="101" y="37"/>
                  </a:cubicBezTo>
                  <a:cubicBezTo>
                    <a:pt x="101" y="35"/>
                    <a:pt x="101" y="34"/>
                    <a:pt x="101" y="32"/>
                  </a:cubicBezTo>
                  <a:lnTo>
                    <a:pt x="91" y="33"/>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328" name="Freeform 1684">
              <a:extLst>
                <a:ext uri="{FF2B5EF4-FFF2-40B4-BE49-F238E27FC236}">
                  <a16:creationId xmlns:a16="http://schemas.microsoft.com/office/drawing/2014/main" id="{E89F2AA9-82D3-4679-B4BF-CE62114AB668}"/>
                </a:ext>
              </a:extLst>
            </p:cNvPr>
            <p:cNvSpPr>
              <a:spLocks/>
            </p:cNvSpPr>
            <p:nvPr userDrawn="1"/>
          </p:nvSpPr>
          <p:spPr bwMode="auto">
            <a:xfrm>
              <a:off x="5046663" y="5983288"/>
              <a:ext cx="169863" cy="133350"/>
            </a:xfrm>
            <a:custGeom>
              <a:avLst/>
              <a:gdLst>
                <a:gd name="T0" fmla="*/ 83 w 86"/>
                <a:gd name="T1" fmla="*/ 26 h 68"/>
                <a:gd name="T2" fmla="*/ 48 w 86"/>
                <a:gd name="T3" fmla="*/ 64 h 68"/>
                <a:gd name="T4" fmla="*/ 2 w 86"/>
                <a:gd name="T5" fmla="*/ 41 h 68"/>
                <a:gd name="T6" fmla="*/ 38 w 86"/>
                <a:gd name="T7" fmla="*/ 4 h 68"/>
                <a:gd name="T8" fmla="*/ 83 w 86"/>
                <a:gd name="T9" fmla="*/ 26 h 68"/>
              </a:gdLst>
              <a:ahLst/>
              <a:cxnLst>
                <a:cxn ang="0">
                  <a:pos x="T0" y="T1"/>
                </a:cxn>
                <a:cxn ang="0">
                  <a:pos x="T2" y="T3"/>
                </a:cxn>
                <a:cxn ang="0">
                  <a:pos x="T4" y="T5"/>
                </a:cxn>
                <a:cxn ang="0">
                  <a:pos x="T6" y="T7"/>
                </a:cxn>
                <a:cxn ang="0">
                  <a:pos x="T8" y="T9"/>
                </a:cxn>
              </a:cxnLst>
              <a:rect l="0" t="0" r="r" b="b"/>
              <a:pathLst>
                <a:path w="86" h="68">
                  <a:moveTo>
                    <a:pt x="83" y="26"/>
                  </a:moveTo>
                  <a:cubicBezTo>
                    <a:pt x="86" y="43"/>
                    <a:pt x="70" y="60"/>
                    <a:pt x="48" y="64"/>
                  </a:cubicBezTo>
                  <a:cubicBezTo>
                    <a:pt x="25" y="68"/>
                    <a:pt x="5" y="58"/>
                    <a:pt x="2" y="41"/>
                  </a:cubicBezTo>
                  <a:cubicBezTo>
                    <a:pt x="0" y="25"/>
                    <a:pt x="16" y="8"/>
                    <a:pt x="38" y="4"/>
                  </a:cubicBezTo>
                  <a:cubicBezTo>
                    <a:pt x="60" y="0"/>
                    <a:pt x="80" y="10"/>
                    <a:pt x="83" y="2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329" name="Freeform 1685">
              <a:extLst>
                <a:ext uri="{FF2B5EF4-FFF2-40B4-BE49-F238E27FC236}">
                  <a16:creationId xmlns:a16="http://schemas.microsoft.com/office/drawing/2014/main" id="{2436A0E5-C85F-435E-8DB1-3123234998C4}"/>
                </a:ext>
              </a:extLst>
            </p:cNvPr>
            <p:cNvSpPr>
              <a:spLocks/>
            </p:cNvSpPr>
            <p:nvPr userDrawn="1"/>
          </p:nvSpPr>
          <p:spPr bwMode="auto">
            <a:xfrm>
              <a:off x="5030788" y="5969000"/>
              <a:ext cx="201613" cy="161925"/>
            </a:xfrm>
            <a:custGeom>
              <a:avLst/>
              <a:gdLst>
                <a:gd name="T0" fmla="*/ 91 w 102"/>
                <a:gd name="T1" fmla="*/ 33 h 82"/>
                <a:gd name="T2" fmla="*/ 81 w 102"/>
                <a:gd name="T3" fmla="*/ 35 h 82"/>
                <a:gd name="T4" fmla="*/ 81 w 102"/>
                <a:gd name="T5" fmla="*/ 37 h 82"/>
                <a:gd name="T6" fmla="*/ 80 w 102"/>
                <a:gd name="T7" fmla="*/ 44 h 82"/>
                <a:gd name="T8" fmla="*/ 70 w 102"/>
                <a:gd name="T9" fmla="*/ 54 h 82"/>
                <a:gd name="T10" fmla="*/ 54 w 102"/>
                <a:gd name="T11" fmla="*/ 61 h 82"/>
                <a:gd name="T12" fmla="*/ 46 w 102"/>
                <a:gd name="T13" fmla="*/ 61 h 82"/>
                <a:gd name="T14" fmla="*/ 28 w 102"/>
                <a:gd name="T15" fmla="*/ 57 h 82"/>
                <a:gd name="T16" fmla="*/ 23 w 102"/>
                <a:gd name="T17" fmla="*/ 52 h 82"/>
                <a:gd name="T18" fmla="*/ 20 w 102"/>
                <a:gd name="T19" fmla="*/ 47 h 82"/>
                <a:gd name="T20" fmla="*/ 20 w 102"/>
                <a:gd name="T21" fmla="*/ 45 h 82"/>
                <a:gd name="T22" fmla="*/ 22 w 102"/>
                <a:gd name="T23" fmla="*/ 38 h 82"/>
                <a:gd name="T24" fmla="*/ 31 w 102"/>
                <a:gd name="T25" fmla="*/ 28 h 82"/>
                <a:gd name="T26" fmla="*/ 48 w 102"/>
                <a:gd name="T27" fmla="*/ 21 h 82"/>
                <a:gd name="T28" fmla="*/ 48 w 102"/>
                <a:gd name="T29" fmla="*/ 21 h 82"/>
                <a:gd name="T30" fmla="*/ 56 w 102"/>
                <a:gd name="T31" fmla="*/ 20 h 82"/>
                <a:gd name="T32" fmla="*/ 74 w 102"/>
                <a:gd name="T33" fmla="*/ 25 h 82"/>
                <a:gd name="T34" fmla="*/ 79 w 102"/>
                <a:gd name="T35" fmla="*/ 30 h 82"/>
                <a:gd name="T36" fmla="*/ 81 w 102"/>
                <a:gd name="T37" fmla="*/ 35 h 82"/>
                <a:gd name="T38" fmla="*/ 91 w 102"/>
                <a:gd name="T39" fmla="*/ 33 h 82"/>
                <a:gd name="T40" fmla="*/ 101 w 102"/>
                <a:gd name="T41" fmla="*/ 32 h 82"/>
                <a:gd name="T42" fmla="*/ 95 w 102"/>
                <a:gd name="T43" fmla="*/ 18 h 82"/>
                <a:gd name="T44" fmla="*/ 78 w 102"/>
                <a:gd name="T45" fmla="*/ 5 h 82"/>
                <a:gd name="T46" fmla="*/ 56 w 102"/>
                <a:gd name="T47" fmla="*/ 0 h 82"/>
                <a:gd name="T48" fmla="*/ 44 w 102"/>
                <a:gd name="T49" fmla="*/ 1 h 82"/>
                <a:gd name="T50" fmla="*/ 44 w 102"/>
                <a:gd name="T51" fmla="*/ 1 h 82"/>
                <a:gd name="T52" fmla="*/ 13 w 102"/>
                <a:gd name="T53" fmla="*/ 16 h 82"/>
                <a:gd name="T54" fmla="*/ 4 w 102"/>
                <a:gd name="T55" fmla="*/ 29 h 82"/>
                <a:gd name="T56" fmla="*/ 0 w 102"/>
                <a:gd name="T57" fmla="*/ 45 h 82"/>
                <a:gd name="T58" fmla="*/ 0 w 102"/>
                <a:gd name="T59" fmla="*/ 50 h 82"/>
                <a:gd name="T60" fmla="*/ 6 w 102"/>
                <a:gd name="T61" fmla="*/ 64 h 82"/>
                <a:gd name="T62" fmla="*/ 23 w 102"/>
                <a:gd name="T63" fmla="*/ 77 h 82"/>
                <a:gd name="T64" fmla="*/ 46 w 102"/>
                <a:gd name="T65" fmla="*/ 82 h 82"/>
                <a:gd name="T66" fmla="*/ 57 w 102"/>
                <a:gd name="T67" fmla="*/ 81 h 82"/>
                <a:gd name="T68" fmla="*/ 88 w 102"/>
                <a:gd name="T69" fmla="*/ 65 h 82"/>
                <a:gd name="T70" fmla="*/ 98 w 102"/>
                <a:gd name="T71" fmla="*/ 53 h 82"/>
                <a:gd name="T72" fmla="*/ 102 w 102"/>
                <a:gd name="T73" fmla="*/ 37 h 82"/>
                <a:gd name="T74" fmla="*/ 101 w 102"/>
                <a:gd name="T75" fmla="*/ 32 h 82"/>
                <a:gd name="T76" fmla="*/ 91 w 102"/>
                <a:gd name="T77" fmla="*/ 33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02" h="82">
                  <a:moveTo>
                    <a:pt x="91" y="33"/>
                  </a:moveTo>
                  <a:cubicBezTo>
                    <a:pt x="81" y="35"/>
                    <a:pt x="81" y="35"/>
                    <a:pt x="81" y="35"/>
                  </a:cubicBezTo>
                  <a:cubicBezTo>
                    <a:pt x="81" y="36"/>
                    <a:pt x="81" y="36"/>
                    <a:pt x="81" y="37"/>
                  </a:cubicBezTo>
                  <a:cubicBezTo>
                    <a:pt x="81" y="39"/>
                    <a:pt x="81" y="41"/>
                    <a:pt x="80" y="44"/>
                  </a:cubicBezTo>
                  <a:cubicBezTo>
                    <a:pt x="78" y="47"/>
                    <a:pt x="75" y="51"/>
                    <a:pt x="70" y="54"/>
                  </a:cubicBezTo>
                  <a:cubicBezTo>
                    <a:pt x="66" y="57"/>
                    <a:pt x="60" y="60"/>
                    <a:pt x="54" y="61"/>
                  </a:cubicBezTo>
                  <a:cubicBezTo>
                    <a:pt x="51" y="61"/>
                    <a:pt x="48" y="61"/>
                    <a:pt x="46" y="61"/>
                  </a:cubicBezTo>
                  <a:cubicBezTo>
                    <a:pt x="38" y="61"/>
                    <a:pt x="32" y="60"/>
                    <a:pt x="28" y="57"/>
                  </a:cubicBezTo>
                  <a:cubicBezTo>
                    <a:pt x="25" y="55"/>
                    <a:pt x="24" y="54"/>
                    <a:pt x="23" y="52"/>
                  </a:cubicBezTo>
                  <a:cubicBezTo>
                    <a:pt x="21" y="50"/>
                    <a:pt x="21" y="49"/>
                    <a:pt x="20" y="47"/>
                  </a:cubicBezTo>
                  <a:cubicBezTo>
                    <a:pt x="20" y="46"/>
                    <a:pt x="20" y="45"/>
                    <a:pt x="20" y="45"/>
                  </a:cubicBezTo>
                  <a:cubicBezTo>
                    <a:pt x="20" y="43"/>
                    <a:pt x="21" y="40"/>
                    <a:pt x="22" y="38"/>
                  </a:cubicBezTo>
                  <a:cubicBezTo>
                    <a:pt x="24" y="35"/>
                    <a:pt x="27" y="31"/>
                    <a:pt x="31" y="28"/>
                  </a:cubicBezTo>
                  <a:cubicBezTo>
                    <a:pt x="36" y="25"/>
                    <a:pt x="41" y="22"/>
                    <a:pt x="48" y="21"/>
                  </a:cubicBezTo>
                  <a:cubicBezTo>
                    <a:pt x="48" y="21"/>
                    <a:pt x="48" y="21"/>
                    <a:pt x="48" y="21"/>
                  </a:cubicBezTo>
                  <a:cubicBezTo>
                    <a:pt x="51" y="21"/>
                    <a:pt x="53" y="20"/>
                    <a:pt x="56" y="20"/>
                  </a:cubicBezTo>
                  <a:cubicBezTo>
                    <a:pt x="63" y="20"/>
                    <a:pt x="70" y="22"/>
                    <a:pt x="74" y="25"/>
                  </a:cubicBezTo>
                  <a:cubicBezTo>
                    <a:pt x="76" y="26"/>
                    <a:pt x="78" y="28"/>
                    <a:pt x="79" y="30"/>
                  </a:cubicBezTo>
                  <a:cubicBezTo>
                    <a:pt x="80" y="31"/>
                    <a:pt x="81" y="33"/>
                    <a:pt x="81" y="35"/>
                  </a:cubicBezTo>
                  <a:cubicBezTo>
                    <a:pt x="91" y="33"/>
                    <a:pt x="91" y="33"/>
                    <a:pt x="91" y="33"/>
                  </a:cubicBezTo>
                  <a:cubicBezTo>
                    <a:pt x="101" y="32"/>
                    <a:pt x="101" y="32"/>
                    <a:pt x="101" y="32"/>
                  </a:cubicBezTo>
                  <a:cubicBezTo>
                    <a:pt x="100" y="27"/>
                    <a:pt x="98" y="22"/>
                    <a:pt x="95" y="18"/>
                  </a:cubicBezTo>
                  <a:cubicBezTo>
                    <a:pt x="91" y="12"/>
                    <a:pt x="85" y="8"/>
                    <a:pt x="78" y="5"/>
                  </a:cubicBezTo>
                  <a:cubicBezTo>
                    <a:pt x="72" y="2"/>
                    <a:pt x="64" y="0"/>
                    <a:pt x="56" y="0"/>
                  </a:cubicBezTo>
                  <a:cubicBezTo>
                    <a:pt x="52" y="0"/>
                    <a:pt x="48" y="0"/>
                    <a:pt x="44" y="1"/>
                  </a:cubicBezTo>
                  <a:cubicBezTo>
                    <a:pt x="44" y="1"/>
                    <a:pt x="44" y="1"/>
                    <a:pt x="44" y="1"/>
                  </a:cubicBezTo>
                  <a:cubicBezTo>
                    <a:pt x="32" y="3"/>
                    <a:pt x="21" y="9"/>
                    <a:pt x="13" y="16"/>
                  </a:cubicBezTo>
                  <a:cubicBezTo>
                    <a:pt x="9" y="20"/>
                    <a:pt x="6" y="24"/>
                    <a:pt x="4" y="29"/>
                  </a:cubicBezTo>
                  <a:cubicBezTo>
                    <a:pt x="1" y="34"/>
                    <a:pt x="0" y="39"/>
                    <a:pt x="0" y="45"/>
                  </a:cubicBezTo>
                  <a:cubicBezTo>
                    <a:pt x="0" y="46"/>
                    <a:pt x="0" y="48"/>
                    <a:pt x="0" y="50"/>
                  </a:cubicBezTo>
                  <a:cubicBezTo>
                    <a:pt x="1" y="55"/>
                    <a:pt x="3" y="60"/>
                    <a:pt x="6" y="64"/>
                  </a:cubicBezTo>
                  <a:cubicBezTo>
                    <a:pt x="10" y="70"/>
                    <a:pt x="16" y="74"/>
                    <a:pt x="23" y="77"/>
                  </a:cubicBezTo>
                  <a:cubicBezTo>
                    <a:pt x="30" y="80"/>
                    <a:pt x="38" y="82"/>
                    <a:pt x="46" y="82"/>
                  </a:cubicBezTo>
                  <a:cubicBezTo>
                    <a:pt x="49" y="82"/>
                    <a:pt x="53" y="81"/>
                    <a:pt x="57" y="81"/>
                  </a:cubicBezTo>
                  <a:cubicBezTo>
                    <a:pt x="70" y="78"/>
                    <a:pt x="80" y="73"/>
                    <a:pt x="88" y="65"/>
                  </a:cubicBezTo>
                  <a:cubicBezTo>
                    <a:pt x="92" y="62"/>
                    <a:pt x="95" y="57"/>
                    <a:pt x="98" y="53"/>
                  </a:cubicBezTo>
                  <a:cubicBezTo>
                    <a:pt x="100" y="48"/>
                    <a:pt x="102" y="43"/>
                    <a:pt x="102" y="37"/>
                  </a:cubicBezTo>
                  <a:cubicBezTo>
                    <a:pt x="102" y="35"/>
                    <a:pt x="101" y="34"/>
                    <a:pt x="101" y="32"/>
                  </a:cubicBezTo>
                  <a:lnTo>
                    <a:pt x="91" y="33"/>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330" name="Freeform 1686">
              <a:extLst>
                <a:ext uri="{FF2B5EF4-FFF2-40B4-BE49-F238E27FC236}">
                  <a16:creationId xmlns:a16="http://schemas.microsoft.com/office/drawing/2014/main" id="{E6C884DD-D80B-4325-B006-47065079B248}"/>
                </a:ext>
              </a:extLst>
            </p:cNvPr>
            <p:cNvSpPr>
              <a:spLocks/>
            </p:cNvSpPr>
            <p:nvPr userDrawn="1"/>
          </p:nvSpPr>
          <p:spPr bwMode="auto">
            <a:xfrm>
              <a:off x="4965701" y="5718175"/>
              <a:ext cx="266700" cy="323850"/>
            </a:xfrm>
            <a:custGeom>
              <a:avLst/>
              <a:gdLst>
                <a:gd name="T0" fmla="*/ 24 w 168"/>
                <a:gd name="T1" fmla="*/ 204 h 204"/>
                <a:gd name="T2" fmla="*/ 24 w 168"/>
                <a:gd name="T3" fmla="*/ 25 h 204"/>
                <a:gd name="T4" fmla="*/ 142 w 168"/>
                <a:gd name="T5" fmla="*/ 25 h 204"/>
                <a:gd name="T6" fmla="*/ 142 w 168"/>
                <a:gd name="T7" fmla="*/ 204 h 204"/>
                <a:gd name="T8" fmla="*/ 168 w 168"/>
                <a:gd name="T9" fmla="*/ 204 h 204"/>
                <a:gd name="T10" fmla="*/ 168 w 168"/>
                <a:gd name="T11" fmla="*/ 0 h 204"/>
                <a:gd name="T12" fmla="*/ 0 w 168"/>
                <a:gd name="T13" fmla="*/ 0 h 204"/>
                <a:gd name="T14" fmla="*/ 0 w 168"/>
                <a:gd name="T15" fmla="*/ 204 h 204"/>
                <a:gd name="T16" fmla="*/ 24 w 168"/>
                <a:gd name="T17" fmla="*/ 204 h 204"/>
                <a:gd name="T18" fmla="*/ 24 w 168"/>
                <a:gd name="T19" fmla="*/ 204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8" h="204">
                  <a:moveTo>
                    <a:pt x="24" y="204"/>
                  </a:moveTo>
                  <a:lnTo>
                    <a:pt x="24" y="25"/>
                  </a:lnTo>
                  <a:lnTo>
                    <a:pt x="142" y="25"/>
                  </a:lnTo>
                  <a:lnTo>
                    <a:pt x="142" y="204"/>
                  </a:lnTo>
                  <a:lnTo>
                    <a:pt x="168" y="204"/>
                  </a:lnTo>
                  <a:lnTo>
                    <a:pt x="168" y="0"/>
                  </a:lnTo>
                  <a:lnTo>
                    <a:pt x="0" y="0"/>
                  </a:lnTo>
                  <a:lnTo>
                    <a:pt x="0" y="204"/>
                  </a:lnTo>
                  <a:lnTo>
                    <a:pt x="24" y="204"/>
                  </a:lnTo>
                  <a:lnTo>
                    <a:pt x="24" y="204"/>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331" name="Freeform 1687">
              <a:extLst>
                <a:ext uri="{FF2B5EF4-FFF2-40B4-BE49-F238E27FC236}">
                  <a16:creationId xmlns:a16="http://schemas.microsoft.com/office/drawing/2014/main" id="{FD6E91FA-FD68-4285-83F7-1F9E9B7AAAC8}"/>
                </a:ext>
              </a:extLst>
            </p:cNvPr>
            <p:cNvSpPr>
              <a:spLocks/>
            </p:cNvSpPr>
            <p:nvPr userDrawn="1"/>
          </p:nvSpPr>
          <p:spPr bwMode="auto">
            <a:xfrm>
              <a:off x="5905501" y="3783013"/>
              <a:ext cx="319088" cy="268288"/>
            </a:xfrm>
            <a:custGeom>
              <a:avLst/>
              <a:gdLst>
                <a:gd name="T0" fmla="*/ 140 w 161"/>
                <a:gd name="T1" fmla="*/ 0 h 136"/>
                <a:gd name="T2" fmla="*/ 132 w 161"/>
                <a:gd name="T3" fmla="*/ 45 h 136"/>
                <a:gd name="T4" fmla="*/ 109 w 161"/>
                <a:gd name="T5" fmla="*/ 82 h 136"/>
                <a:gd name="T6" fmla="*/ 75 w 161"/>
                <a:gd name="T7" fmla="*/ 107 h 136"/>
                <a:gd name="T8" fmla="*/ 33 w 161"/>
                <a:gd name="T9" fmla="*/ 116 h 136"/>
                <a:gd name="T10" fmla="*/ 6 w 161"/>
                <a:gd name="T11" fmla="*/ 112 h 136"/>
                <a:gd name="T12" fmla="*/ 0 w 161"/>
                <a:gd name="T13" fmla="*/ 131 h 136"/>
                <a:gd name="T14" fmla="*/ 33 w 161"/>
                <a:gd name="T15" fmla="*/ 136 h 136"/>
                <a:gd name="T16" fmla="*/ 83 w 161"/>
                <a:gd name="T17" fmla="*/ 125 h 136"/>
                <a:gd name="T18" fmla="*/ 124 w 161"/>
                <a:gd name="T19" fmla="*/ 96 h 136"/>
                <a:gd name="T20" fmla="*/ 151 w 161"/>
                <a:gd name="T21" fmla="*/ 53 h 136"/>
                <a:gd name="T22" fmla="*/ 161 w 161"/>
                <a:gd name="T23" fmla="*/ 0 h 136"/>
                <a:gd name="T24" fmla="*/ 140 w 161"/>
                <a:gd name="T25" fmla="*/ 0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1" h="136">
                  <a:moveTo>
                    <a:pt x="140" y="0"/>
                  </a:moveTo>
                  <a:cubicBezTo>
                    <a:pt x="140" y="16"/>
                    <a:pt x="137" y="32"/>
                    <a:pt x="132" y="45"/>
                  </a:cubicBezTo>
                  <a:cubicBezTo>
                    <a:pt x="126" y="59"/>
                    <a:pt x="119" y="72"/>
                    <a:pt x="109" y="82"/>
                  </a:cubicBezTo>
                  <a:cubicBezTo>
                    <a:pt x="99" y="92"/>
                    <a:pt x="88" y="101"/>
                    <a:pt x="75" y="107"/>
                  </a:cubicBezTo>
                  <a:cubicBezTo>
                    <a:pt x="62" y="112"/>
                    <a:pt x="48" y="116"/>
                    <a:pt x="33" y="116"/>
                  </a:cubicBezTo>
                  <a:cubicBezTo>
                    <a:pt x="24" y="116"/>
                    <a:pt x="14" y="114"/>
                    <a:pt x="6" y="112"/>
                  </a:cubicBezTo>
                  <a:cubicBezTo>
                    <a:pt x="0" y="131"/>
                    <a:pt x="0" y="131"/>
                    <a:pt x="0" y="131"/>
                  </a:cubicBezTo>
                  <a:cubicBezTo>
                    <a:pt x="11" y="134"/>
                    <a:pt x="22" y="136"/>
                    <a:pt x="33" y="136"/>
                  </a:cubicBezTo>
                  <a:cubicBezTo>
                    <a:pt x="51" y="136"/>
                    <a:pt x="68" y="132"/>
                    <a:pt x="83" y="125"/>
                  </a:cubicBezTo>
                  <a:cubicBezTo>
                    <a:pt x="98" y="118"/>
                    <a:pt x="112" y="108"/>
                    <a:pt x="124" y="96"/>
                  </a:cubicBezTo>
                  <a:cubicBezTo>
                    <a:pt x="135" y="84"/>
                    <a:pt x="144" y="69"/>
                    <a:pt x="151" y="53"/>
                  </a:cubicBezTo>
                  <a:cubicBezTo>
                    <a:pt x="157" y="37"/>
                    <a:pt x="161" y="19"/>
                    <a:pt x="161" y="0"/>
                  </a:cubicBezTo>
                  <a:cubicBezTo>
                    <a:pt x="140" y="0"/>
                    <a:pt x="140" y="0"/>
                    <a:pt x="140"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332" name="Freeform 1688">
              <a:extLst>
                <a:ext uri="{FF2B5EF4-FFF2-40B4-BE49-F238E27FC236}">
                  <a16:creationId xmlns:a16="http://schemas.microsoft.com/office/drawing/2014/main" id="{551FB39C-7E6C-44E5-A922-A4B356DB8BDE}"/>
                </a:ext>
              </a:extLst>
            </p:cNvPr>
            <p:cNvSpPr>
              <a:spLocks/>
            </p:cNvSpPr>
            <p:nvPr userDrawn="1"/>
          </p:nvSpPr>
          <p:spPr bwMode="auto">
            <a:xfrm>
              <a:off x="5881688" y="3981450"/>
              <a:ext cx="96838" cy="107950"/>
            </a:xfrm>
            <a:custGeom>
              <a:avLst/>
              <a:gdLst>
                <a:gd name="T0" fmla="*/ 61 w 61"/>
                <a:gd name="T1" fmla="*/ 7 h 68"/>
                <a:gd name="T2" fmla="*/ 24 w 61"/>
                <a:gd name="T3" fmla="*/ 28 h 68"/>
                <a:gd name="T4" fmla="*/ 42 w 61"/>
                <a:gd name="T5" fmla="*/ 68 h 68"/>
                <a:gd name="T6" fmla="*/ 19 w 61"/>
                <a:gd name="T7" fmla="*/ 59 h 68"/>
                <a:gd name="T8" fmla="*/ 0 w 61"/>
                <a:gd name="T9" fmla="*/ 20 h 68"/>
                <a:gd name="T10" fmla="*/ 37 w 61"/>
                <a:gd name="T11" fmla="*/ 0 h 68"/>
                <a:gd name="T12" fmla="*/ 61 w 61"/>
                <a:gd name="T13" fmla="*/ 7 h 68"/>
              </a:gdLst>
              <a:ahLst/>
              <a:cxnLst>
                <a:cxn ang="0">
                  <a:pos x="T0" y="T1"/>
                </a:cxn>
                <a:cxn ang="0">
                  <a:pos x="T2" y="T3"/>
                </a:cxn>
                <a:cxn ang="0">
                  <a:pos x="T4" y="T5"/>
                </a:cxn>
                <a:cxn ang="0">
                  <a:pos x="T6" y="T7"/>
                </a:cxn>
                <a:cxn ang="0">
                  <a:pos x="T8" y="T9"/>
                </a:cxn>
                <a:cxn ang="0">
                  <a:pos x="T10" y="T11"/>
                </a:cxn>
                <a:cxn ang="0">
                  <a:pos x="T12" y="T13"/>
                </a:cxn>
              </a:cxnLst>
              <a:rect l="0" t="0" r="r" b="b"/>
              <a:pathLst>
                <a:path w="61" h="68">
                  <a:moveTo>
                    <a:pt x="61" y="7"/>
                  </a:moveTo>
                  <a:lnTo>
                    <a:pt x="24" y="28"/>
                  </a:lnTo>
                  <a:lnTo>
                    <a:pt x="42" y="68"/>
                  </a:lnTo>
                  <a:lnTo>
                    <a:pt x="19" y="59"/>
                  </a:lnTo>
                  <a:lnTo>
                    <a:pt x="0" y="20"/>
                  </a:lnTo>
                  <a:lnTo>
                    <a:pt x="37" y="0"/>
                  </a:lnTo>
                  <a:lnTo>
                    <a:pt x="61" y="7"/>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333" name="Freeform 1689">
              <a:extLst>
                <a:ext uri="{FF2B5EF4-FFF2-40B4-BE49-F238E27FC236}">
                  <a16:creationId xmlns:a16="http://schemas.microsoft.com/office/drawing/2014/main" id="{239DD73C-44CB-4E66-8488-9B57D4B6E117}"/>
                </a:ext>
              </a:extLst>
            </p:cNvPr>
            <p:cNvSpPr>
              <a:spLocks/>
            </p:cNvSpPr>
            <p:nvPr userDrawn="1"/>
          </p:nvSpPr>
          <p:spPr bwMode="auto">
            <a:xfrm>
              <a:off x="5719763" y="3516313"/>
              <a:ext cx="396875" cy="371475"/>
            </a:xfrm>
            <a:custGeom>
              <a:avLst/>
              <a:gdLst>
                <a:gd name="T0" fmla="*/ 29 w 201"/>
                <a:gd name="T1" fmla="*/ 180 h 188"/>
                <a:gd name="T2" fmla="*/ 20 w 201"/>
                <a:gd name="T3" fmla="*/ 135 h 188"/>
                <a:gd name="T4" fmla="*/ 29 w 201"/>
                <a:gd name="T5" fmla="*/ 90 h 188"/>
                <a:gd name="T6" fmla="*/ 52 w 201"/>
                <a:gd name="T7" fmla="*/ 54 h 188"/>
                <a:gd name="T8" fmla="*/ 86 w 201"/>
                <a:gd name="T9" fmla="*/ 29 h 188"/>
                <a:gd name="T10" fmla="*/ 127 w 201"/>
                <a:gd name="T11" fmla="*/ 20 h 188"/>
                <a:gd name="T12" fmla="*/ 169 w 201"/>
                <a:gd name="T13" fmla="*/ 29 h 188"/>
                <a:gd name="T14" fmla="*/ 189 w 201"/>
                <a:gd name="T15" fmla="*/ 41 h 188"/>
                <a:gd name="T16" fmla="*/ 201 w 201"/>
                <a:gd name="T17" fmla="*/ 25 h 188"/>
                <a:gd name="T18" fmla="*/ 177 w 201"/>
                <a:gd name="T19" fmla="*/ 11 h 188"/>
                <a:gd name="T20" fmla="*/ 127 w 201"/>
                <a:gd name="T21" fmla="*/ 0 h 188"/>
                <a:gd name="T22" fmla="*/ 78 w 201"/>
                <a:gd name="T23" fmla="*/ 11 h 188"/>
                <a:gd name="T24" fmla="*/ 37 w 201"/>
                <a:gd name="T25" fmla="*/ 40 h 188"/>
                <a:gd name="T26" fmla="*/ 10 w 201"/>
                <a:gd name="T27" fmla="*/ 83 h 188"/>
                <a:gd name="T28" fmla="*/ 0 w 201"/>
                <a:gd name="T29" fmla="*/ 135 h 188"/>
                <a:gd name="T30" fmla="*/ 10 w 201"/>
                <a:gd name="T31" fmla="*/ 188 h 188"/>
                <a:gd name="T32" fmla="*/ 29 w 201"/>
                <a:gd name="T33" fmla="*/ 180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1" h="188">
                  <a:moveTo>
                    <a:pt x="29" y="180"/>
                  </a:moveTo>
                  <a:cubicBezTo>
                    <a:pt x="23" y="167"/>
                    <a:pt x="20" y="151"/>
                    <a:pt x="20" y="135"/>
                  </a:cubicBezTo>
                  <a:cubicBezTo>
                    <a:pt x="20" y="119"/>
                    <a:pt x="23" y="104"/>
                    <a:pt x="29" y="90"/>
                  </a:cubicBezTo>
                  <a:cubicBezTo>
                    <a:pt x="34" y="77"/>
                    <a:pt x="42" y="64"/>
                    <a:pt x="52" y="54"/>
                  </a:cubicBezTo>
                  <a:cubicBezTo>
                    <a:pt x="62" y="43"/>
                    <a:pt x="73" y="35"/>
                    <a:pt x="86" y="29"/>
                  </a:cubicBezTo>
                  <a:cubicBezTo>
                    <a:pt x="99" y="23"/>
                    <a:pt x="113" y="20"/>
                    <a:pt x="127" y="20"/>
                  </a:cubicBezTo>
                  <a:cubicBezTo>
                    <a:pt x="142" y="20"/>
                    <a:pt x="156" y="23"/>
                    <a:pt x="169" y="29"/>
                  </a:cubicBezTo>
                  <a:cubicBezTo>
                    <a:pt x="176" y="32"/>
                    <a:pt x="183" y="36"/>
                    <a:pt x="189" y="41"/>
                  </a:cubicBezTo>
                  <a:cubicBezTo>
                    <a:pt x="201" y="25"/>
                    <a:pt x="201" y="25"/>
                    <a:pt x="201" y="25"/>
                  </a:cubicBezTo>
                  <a:cubicBezTo>
                    <a:pt x="194" y="19"/>
                    <a:pt x="186" y="15"/>
                    <a:pt x="177" y="11"/>
                  </a:cubicBezTo>
                  <a:cubicBezTo>
                    <a:pt x="162" y="4"/>
                    <a:pt x="145" y="0"/>
                    <a:pt x="127" y="0"/>
                  </a:cubicBezTo>
                  <a:cubicBezTo>
                    <a:pt x="110" y="0"/>
                    <a:pt x="93" y="4"/>
                    <a:pt x="78" y="11"/>
                  </a:cubicBezTo>
                  <a:cubicBezTo>
                    <a:pt x="62" y="18"/>
                    <a:pt x="49" y="28"/>
                    <a:pt x="37" y="40"/>
                  </a:cubicBezTo>
                  <a:cubicBezTo>
                    <a:pt x="26" y="52"/>
                    <a:pt x="16" y="67"/>
                    <a:pt x="10" y="83"/>
                  </a:cubicBezTo>
                  <a:cubicBezTo>
                    <a:pt x="4" y="99"/>
                    <a:pt x="0" y="117"/>
                    <a:pt x="0" y="135"/>
                  </a:cubicBezTo>
                  <a:cubicBezTo>
                    <a:pt x="0" y="154"/>
                    <a:pt x="4" y="172"/>
                    <a:pt x="10" y="188"/>
                  </a:cubicBezTo>
                  <a:cubicBezTo>
                    <a:pt x="29" y="180"/>
                    <a:pt x="29" y="180"/>
                    <a:pt x="29" y="18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334" name="Freeform 1690">
              <a:extLst>
                <a:ext uri="{FF2B5EF4-FFF2-40B4-BE49-F238E27FC236}">
                  <a16:creationId xmlns:a16="http://schemas.microsoft.com/office/drawing/2014/main" id="{3AB95F40-9DB4-4269-A812-7385E5DD5DC1}"/>
                </a:ext>
              </a:extLst>
            </p:cNvPr>
            <p:cNvSpPr>
              <a:spLocks/>
            </p:cNvSpPr>
            <p:nvPr userDrawn="1"/>
          </p:nvSpPr>
          <p:spPr bwMode="auto">
            <a:xfrm>
              <a:off x="6015038" y="3486150"/>
              <a:ext cx="120650" cy="130175"/>
            </a:xfrm>
            <a:custGeom>
              <a:avLst/>
              <a:gdLst>
                <a:gd name="T0" fmla="*/ 0 w 76"/>
                <a:gd name="T1" fmla="*/ 61 h 82"/>
                <a:gd name="T2" fmla="*/ 52 w 76"/>
                <a:gd name="T3" fmla="*/ 56 h 82"/>
                <a:gd name="T4" fmla="*/ 47 w 76"/>
                <a:gd name="T5" fmla="*/ 0 h 82"/>
                <a:gd name="T6" fmla="*/ 71 w 76"/>
                <a:gd name="T7" fmla="*/ 21 h 82"/>
                <a:gd name="T8" fmla="*/ 76 w 76"/>
                <a:gd name="T9" fmla="*/ 77 h 82"/>
                <a:gd name="T10" fmla="*/ 25 w 76"/>
                <a:gd name="T11" fmla="*/ 82 h 82"/>
                <a:gd name="T12" fmla="*/ 0 w 76"/>
                <a:gd name="T13" fmla="*/ 61 h 82"/>
              </a:gdLst>
              <a:ahLst/>
              <a:cxnLst>
                <a:cxn ang="0">
                  <a:pos x="T0" y="T1"/>
                </a:cxn>
                <a:cxn ang="0">
                  <a:pos x="T2" y="T3"/>
                </a:cxn>
                <a:cxn ang="0">
                  <a:pos x="T4" y="T5"/>
                </a:cxn>
                <a:cxn ang="0">
                  <a:pos x="T6" y="T7"/>
                </a:cxn>
                <a:cxn ang="0">
                  <a:pos x="T8" y="T9"/>
                </a:cxn>
                <a:cxn ang="0">
                  <a:pos x="T10" y="T11"/>
                </a:cxn>
                <a:cxn ang="0">
                  <a:pos x="T12" y="T13"/>
                </a:cxn>
              </a:cxnLst>
              <a:rect l="0" t="0" r="r" b="b"/>
              <a:pathLst>
                <a:path w="76" h="82">
                  <a:moveTo>
                    <a:pt x="0" y="61"/>
                  </a:moveTo>
                  <a:lnTo>
                    <a:pt x="52" y="56"/>
                  </a:lnTo>
                  <a:lnTo>
                    <a:pt x="47" y="0"/>
                  </a:lnTo>
                  <a:lnTo>
                    <a:pt x="71" y="21"/>
                  </a:lnTo>
                  <a:lnTo>
                    <a:pt x="76" y="77"/>
                  </a:lnTo>
                  <a:lnTo>
                    <a:pt x="25" y="82"/>
                  </a:lnTo>
                  <a:lnTo>
                    <a:pt x="0" y="61"/>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335" name="Oval 1691">
              <a:extLst>
                <a:ext uri="{FF2B5EF4-FFF2-40B4-BE49-F238E27FC236}">
                  <a16:creationId xmlns:a16="http://schemas.microsoft.com/office/drawing/2014/main" id="{BB1D433D-E83D-4EAF-A28D-736D8EBB1717}"/>
                </a:ext>
              </a:extLst>
            </p:cNvPr>
            <p:cNvSpPr>
              <a:spLocks noChangeArrowheads="1"/>
            </p:cNvSpPr>
            <p:nvPr userDrawn="1"/>
          </p:nvSpPr>
          <p:spPr bwMode="auto">
            <a:xfrm>
              <a:off x="5838826" y="3651250"/>
              <a:ext cx="250825" cy="266700"/>
            </a:xfrm>
            <a:prstGeom prst="ellipse">
              <a:avLst/>
            </a:prstGeom>
            <a:solidFill>
              <a:schemeClr val="accent2">
                <a:lumMod val="60000"/>
                <a:lumOff val="4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336" name="Freeform 1692">
              <a:extLst>
                <a:ext uri="{FF2B5EF4-FFF2-40B4-BE49-F238E27FC236}">
                  <a16:creationId xmlns:a16="http://schemas.microsoft.com/office/drawing/2014/main" id="{85B30E07-44B5-4843-9970-1CDC4576B45F}"/>
                </a:ext>
              </a:extLst>
            </p:cNvPr>
            <p:cNvSpPr>
              <a:spLocks/>
            </p:cNvSpPr>
            <p:nvPr userDrawn="1"/>
          </p:nvSpPr>
          <p:spPr bwMode="auto">
            <a:xfrm>
              <a:off x="5816601" y="3629025"/>
              <a:ext cx="292100" cy="307975"/>
            </a:xfrm>
            <a:custGeom>
              <a:avLst/>
              <a:gdLst>
                <a:gd name="T0" fmla="*/ 138 w 148"/>
                <a:gd name="T1" fmla="*/ 78 h 156"/>
                <a:gd name="T2" fmla="*/ 127 w 148"/>
                <a:gd name="T3" fmla="*/ 78 h 156"/>
                <a:gd name="T4" fmla="*/ 112 w 148"/>
                <a:gd name="T5" fmla="*/ 119 h 156"/>
                <a:gd name="T6" fmla="*/ 74 w 148"/>
                <a:gd name="T7" fmla="*/ 136 h 156"/>
                <a:gd name="T8" fmla="*/ 37 w 148"/>
                <a:gd name="T9" fmla="*/ 119 h 156"/>
                <a:gd name="T10" fmla="*/ 21 w 148"/>
                <a:gd name="T11" fmla="*/ 78 h 156"/>
                <a:gd name="T12" fmla="*/ 37 w 148"/>
                <a:gd name="T13" fmla="*/ 37 h 156"/>
                <a:gd name="T14" fmla="*/ 74 w 148"/>
                <a:gd name="T15" fmla="*/ 21 h 156"/>
                <a:gd name="T16" fmla="*/ 112 w 148"/>
                <a:gd name="T17" fmla="*/ 37 h 156"/>
                <a:gd name="T18" fmla="*/ 127 w 148"/>
                <a:gd name="T19" fmla="*/ 78 h 156"/>
                <a:gd name="T20" fmla="*/ 138 w 148"/>
                <a:gd name="T21" fmla="*/ 78 h 156"/>
                <a:gd name="T22" fmla="*/ 148 w 148"/>
                <a:gd name="T23" fmla="*/ 78 h 156"/>
                <a:gd name="T24" fmla="*/ 126 w 148"/>
                <a:gd name="T25" fmla="*/ 23 h 156"/>
                <a:gd name="T26" fmla="*/ 74 w 148"/>
                <a:gd name="T27" fmla="*/ 0 h 156"/>
                <a:gd name="T28" fmla="*/ 22 w 148"/>
                <a:gd name="T29" fmla="*/ 23 h 156"/>
                <a:gd name="T30" fmla="*/ 0 w 148"/>
                <a:gd name="T31" fmla="*/ 78 h 156"/>
                <a:gd name="T32" fmla="*/ 22 w 148"/>
                <a:gd name="T33" fmla="*/ 133 h 156"/>
                <a:gd name="T34" fmla="*/ 74 w 148"/>
                <a:gd name="T35" fmla="*/ 156 h 156"/>
                <a:gd name="T36" fmla="*/ 126 w 148"/>
                <a:gd name="T37" fmla="*/ 133 h 156"/>
                <a:gd name="T38" fmla="*/ 148 w 148"/>
                <a:gd name="T39" fmla="*/ 78 h 156"/>
                <a:gd name="T40" fmla="*/ 138 w 148"/>
                <a:gd name="T41" fmla="*/ 78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8" h="156">
                  <a:moveTo>
                    <a:pt x="138" y="78"/>
                  </a:moveTo>
                  <a:cubicBezTo>
                    <a:pt x="127" y="78"/>
                    <a:pt x="127" y="78"/>
                    <a:pt x="127" y="78"/>
                  </a:cubicBezTo>
                  <a:cubicBezTo>
                    <a:pt x="127" y="95"/>
                    <a:pt x="121" y="109"/>
                    <a:pt x="112" y="119"/>
                  </a:cubicBezTo>
                  <a:cubicBezTo>
                    <a:pt x="102" y="130"/>
                    <a:pt x="89" y="136"/>
                    <a:pt x="74" y="136"/>
                  </a:cubicBezTo>
                  <a:cubicBezTo>
                    <a:pt x="60" y="136"/>
                    <a:pt x="46" y="130"/>
                    <a:pt x="37" y="119"/>
                  </a:cubicBezTo>
                  <a:cubicBezTo>
                    <a:pt x="27" y="109"/>
                    <a:pt x="21" y="95"/>
                    <a:pt x="21" y="78"/>
                  </a:cubicBezTo>
                  <a:cubicBezTo>
                    <a:pt x="21" y="62"/>
                    <a:pt x="27" y="48"/>
                    <a:pt x="37" y="37"/>
                  </a:cubicBezTo>
                  <a:cubicBezTo>
                    <a:pt x="46" y="27"/>
                    <a:pt x="60" y="21"/>
                    <a:pt x="74" y="21"/>
                  </a:cubicBezTo>
                  <a:cubicBezTo>
                    <a:pt x="89" y="21"/>
                    <a:pt x="102" y="27"/>
                    <a:pt x="112" y="37"/>
                  </a:cubicBezTo>
                  <a:cubicBezTo>
                    <a:pt x="121" y="48"/>
                    <a:pt x="127" y="62"/>
                    <a:pt x="127" y="78"/>
                  </a:cubicBezTo>
                  <a:cubicBezTo>
                    <a:pt x="138" y="78"/>
                    <a:pt x="138" y="78"/>
                    <a:pt x="138" y="78"/>
                  </a:cubicBezTo>
                  <a:cubicBezTo>
                    <a:pt x="148" y="78"/>
                    <a:pt x="148" y="78"/>
                    <a:pt x="148" y="78"/>
                  </a:cubicBezTo>
                  <a:cubicBezTo>
                    <a:pt x="148" y="57"/>
                    <a:pt x="140" y="38"/>
                    <a:pt x="126" y="23"/>
                  </a:cubicBezTo>
                  <a:cubicBezTo>
                    <a:pt x="113" y="9"/>
                    <a:pt x="95" y="0"/>
                    <a:pt x="74" y="0"/>
                  </a:cubicBezTo>
                  <a:cubicBezTo>
                    <a:pt x="54" y="0"/>
                    <a:pt x="35" y="9"/>
                    <a:pt x="22" y="23"/>
                  </a:cubicBezTo>
                  <a:cubicBezTo>
                    <a:pt x="9" y="38"/>
                    <a:pt x="1" y="57"/>
                    <a:pt x="0" y="78"/>
                  </a:cubicBezTo>
                  <a:cubicBezTo>
                    <a:pt x="1" y="100"/>
                    <a:pt x="9" y="119"/>
                    <a:pt x="22" y="133"/>
                  </a:cubicBezTo>
                  <a:cubicBezTo>
                    <a:pt x="35" y="147"/>
                    <a:pt x="54" y="156"/>
                    <a:pt x="74" y="156"/>
                  </a:cubicBezTo>
                  <a:cubicBezTo>
                    <a:pt x="95" y="156"/>
                    <a:pt x="113" y="147"/>
                    <a:pt x="126" y="133"/>
                  </a:cubicBezTo>
                  <a:cubicBezTo>
                    <a:pt x="140" y="119"/>
                    <a:pt x="148" y="100"/>
                    <a:pt x="148" y="78"/>
                  </a:cubicBezTo>
                  <a:lnTo>
                    <a:pt x="138" y="78"/>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337" name="Freeform 1693">
              <a:extLst>
                <a:ext uri="{FF2B5EF4-FFF2-40B4-BE49-F238E27FC236}">
                  <a16:creationId xmlns:a16="http://schemas.microsoft.com/office/drawing/2014/main" id="{189EF430-AFB5-4A0C-8E0D-118E0B9F4F13}"/>
                </a:ext>
              </a:extLst>
            </p:cNvPr>
            <p:cNvSpPr>
              <a:spLocks/>
            </p:cNvSpPr>
            <p:nvPr userDrawn="1"/>
          </p:nvSpPr>
          <p:spPr bwMode="auto">
            <a:xfrm>
              <a:off x="9523413" y="2384425"/>
              <a:ext cx="447675" cy="182563"/>
            </a:xfrm>
            <a:custGeom>
              <a:avLst/>
              <a:gdLst>
                <a:gd name="T0" fmla="*/ 226 w 226"/>
                <a:gd name="T1" fmla="*/ 82 h 92"/>
                <a:gd name="T2" fmla="*/ 167 w 226"/>
                <a:gd name="T3" fmla="*/ 23 h 92"/>
                <a:gd name="T4" fmla="*/ 85 w 226"/>
                <a:gd name="T5" fmla="*/ 0 h 92"/>
                <a:gd name="T6" fmla="*/ 0 w 226"/>
                <a:gd name="T7" fmla="*/ 25 h 92"/>
                <a:gd name="T8" fmla="*/ 11 w 226"/>
                <a:gd name="T9" fmla="*/ 42 h 92"/>
                <a:gd name="T10" fmla="*/ 85 w 226"/>
                <a:gd name="T11" fmla="*/ 21 h 92"/>
                <a:gd name="T12" fmla="*/ 156 w 226"/>
                <a:gd name="T13" fmla="*/ 40 h 92"/>
                <a:gd name="T14" fmla="*/ 208 w 226"/>
                <a:gd name="T15" fmla="*/ 92 h 92"/>
                <a:gd name="T16" fmla="*/ 226 w 226"/>
                <a:gd name="T17" fmla="*/ 8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 h="92">
                  <a:moveTo>
                    <a:pt x="226" y="82"/>
                  </a:moveTo>
                  <a:cubicBezTo>
                    <a:pt x="211" y="57"/>
                    <a:pt x="190" y="37"/>
                    <a:pt x="167" y="23"/>
                  </a:cubicBezTo>
                  <a:cubicBezTo>
                    <a:pt x="143" y="9"/>
                    <a:pt x="115" y="0"/>
                    <a:pt x="85" y="0"/>
                  </a:cubicBezTo>
                  <a:cubicBezTo>
                    <a:pt x="54" y="0"/>
                    <a:pt x="25" y="9"/>
                    <a:pt x="0" y="25"/>
                  </a:cubicBezTo>
                  <a:cubicBezTo>
                    <a:pt x="11" y="42"/>
                    <a:pt x="11" y="42"/>
                    <a:pt x="11" y="42"/>
                  </a:cubicBezTo>
                  <a:cubicBezTo>
                    <a:pt x="33" y="29"/>
                    <a:pt x="58" y="21"/>
                    <a:pt x="85" y="21"/>
                  </a:cubicBezTo>
                  <a:cubicBezTo>
                    <a:pt x="111" y="21"/>
                    <a:pt x="135" y="28"/>
                    <a:pt x="156" y="40"/>
                  </a:cubicBezTo>
                  <a:cubicBezTo>
                    <a:pt x="177" y="53"/>
                    <a:pt x="195" y="71"/>
                    <a:pt x="208" y="92"/>
                  </a:cubicBezTo>
                  <a:cubicBezTo>
                    <a:pt x="226" y="82"/>
                    <a:pt x="226" y="82"/>
                    <a:pt x="226" y="82"/>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338" name="Freeform 1694">
              <a:extLst>
                <a:ext uri="{FF2B5EF4-FFF2-40B4-BE49-F238E27FC236}">
                  <a16:creationId xmlns:a16="http://schemas.microsoft.com/office/drawing/2014/main" id="{F783B852-C61D-4A4B-92FA-89A0270F1A6B}"/>
                </a:ext>
              </a:extLst>
            </p:cNvPr>
            <p:cNvSpPr>
              <a:spLocks/>
            </p:cNvSpPr>
            <p:nvPr userDrawn="1"/>
          </p:nvSpPr>
          <p:spPr bwMode="auto">
            <a:xfrm>
              <a:off x="9291638" y="2500313"/>
              <a:ext cx="152400" cy="160338"/>
            </a:xfrm>
            <a:custGeom>
              <a:avLst/>
              <a:gdLst>
                <a:gd name="T0" fmla="*/ 0 w 77"/>
                <a:gd name="T1" fmla="*/ 20 h 81"/>
                <a:gd name="T2" fmla="*/ 40 w 77"/>
                <a:gd name="T3" fmla="*/ 38 h 81"/>
                <a:gd name="T4" fmla="*/ 57 w 77"/>
                <a:gd name="T5" fmla="*/ 81 h 81"/>
                <a:gd name="T6" fmla="*/ 77 w 77"/>
                <a:gd name="T7" fmla="*/ 81 h 81"/>
                <a:gd name="T8" fmla="*/ 55 w 77"/>
                <a:gd name="T9" fmla="*/ 24 h 81"/>
                <a:gd name="T10" fmla="*/ 0 w 77"/>
                <a:gd name="T11" fmla="*/ 0 h 81"/>
                <a:gd name="T12" fmla="*/ 0 w 77"/>
                <a:gd name="T13" fmla="*/ 20 h 81"/>
              </a:gdLst>
              <a:ahLst/>
              <a:cxnLst>
                <a:cxn ang="0">
                  <a:pos x="T0" y="T1"/>
                </a:cxn>
                <a:cxn ang="0">
                  <a:pos x="T2" y="T3"/>
                </a:cxn>
                <a:cxn ang="0">
                  <a:pos x="T4" y="T5"/>
                </a:cxn>
                <a:cxn ang="0">
                  <a:pos x="T6" y="T7"/>
                </a:cxn>
                <a:cxn ang="0">
                  <a:pos x="T8" y="T9"/>
                </a:cxn>
                <a:cxn ang="0">
                  <a:pos x="T10" y="T11"/>
                </a:cxn>
                <a:cxn ang="0">
                  <a:pos x="T12" y="T13"/>
                </a:cxn>
              </a:cxnLst>
              <a:rect l="0" t="0" r="r" b="b"/>
              <a:pathLst>
                <a:path w="77" h="81">
                  <a:moveTo>
                    <a:pt x="0" y="20"/>
                  </a:moveTo>
                  <a:cubicBezTo>
                    <a:pt x="16" y="20"/>
                    <a:pt x="30" y="27"/>
                    <a:pt x="40" y="38"/>
                  </a:cubicBezTo>
                  <a:cubicBezTo>
                    <a:pt x="51" y="49"/>
                    <a:pt x="57" y="64"/>
                    <a:pt x="57" y="81"/>
                  </a:cubicBezTo>
                  <a:cubicBezTo>
                    <a:pt x="77" y="81"/>
                    <a:pt x="77" y="81"/>
                    <a:pt x="77" y="81"/>
                  </a:cubicBezTo>
                  <a:cubicBezTo>
                    <a:pt x="77" y="59"/>
                    <a:pt x="69" y="39"/>
                    <a:pt x="55" y="24"/>
                  </a:cubicBezTo>
                  <a:cubicBezTo>
                    <a:pt x="41" y="9"/>
                    <a:pt x="22" y="0"/>
                    <a:pt x="0" y="0"/>
                  </a:cubicBezTo>
                  <a:cubicBezTo>
                    <a:pt x="0" y="20"/>
                    <a:pt x="0" y="20"/>
                    <a:pt x="0" y="2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339" name="Freeform 1571">
              <a:extLst>
                <a:ext uri="{FF2B5EF4-FFF2-40B4-BE49-F238E27FC236}">
                  <a16:creationId xmlns:a16="http://schemas.microsoft.com/office/drawing/2014/main" id="{113073E9-68A0-406B-BF1A-72CF6D72F0F5}"/>
                </a:ext>
              </a:extLst>
            </p:cNvPr>
            <p:cNvSpPr>
              <a:spLocks noEditPoints="1"/>
            </p:cNvSpPr>
            <p:nvPr userDrawn="1"/>
          </p:nvSpPr>
          <p:spPr bwMode="auto">
            <a:xfrm>
              <a:off x="9440863" y="2832100"/>
              <a:ext cx="604838" cy="655639"/>
            </a:xfrm>
            <a:custGeom>
              <a:avLst/>
              <a:gdLst>
                <a:gd name="T0" fmla="*/ 296 w 312"/>
                <a:gd name="T1" fmla="*/ 139 h 333"/>
                <a:gd name="T2" fmla="*/ 270 w 312"/>
                <a:gd name="T3" fmla="*/ 139 h 333"/>
                <a:gd name="T4" fmla="*/ 255 w 312"/>
                <a:gd name="T5" fmla="*/ 100 h 333"/>
                <a:gd name="T6" fmla="*/ 273 w 312"/>
                <a:gd name="T7" fmla="*/ 81 h 333"/>
                <a:gd name="T8" fmla="*/ 273 w 312"/>
                <a:gd name="T9" fmla="*/ 56 h 333"/>
                <a:gd name="T10" fmla="*/ 260 w 312"/>
                <a:gd name="T11" fmla="*/ 42 h 333"/>
                <a:gd name="T12" fmla="*/ 237 w 312"/>
                <a:gd name="T13" fmla="*/ 42 h 333"/>
                <a:gd name="T14" fmla="*/ 219 w 312"/>
                <a:gd name="T15" fmla="*/ 61 h 333"/>
                <a:gd name="T16" fmla="*/ 182 w 312"/>
                <a:gd name="T17" fmla="*/ 45 h 333"/>
                <a:gd name="T18" fmla="*/ 182 w 312"/>
                <a:gd name="T19" fmla="*/ 18 h 333"/>
                <a:gd name="T20" fmla="*/ 166 w 312"/>
                <a:gd name="T21" fmla="*/ 0 h 333"/>
                <a:gd name="T22" fmla="*/ 147 w 312"/>
                <a:gd name="T23" fmla="*/ 0 h 333"/>
                <a:gd name="T24" fmla="*/ 130 w 312"/>
                <a:gd name="T25" fmla="*/ 18 h 333"/>
                <a:gd name="T26" fmla="*/ 130 w 312"/>
                <a:gd name="T27" fmla="*/ 45 h 333"/>
                <a:gd name="T28" fmla="*/ 94 w 312"/>
                <a:gd name="T29" fmla="*/ 61 h 333"/>
                <a:gd name="T30" fmla="*/ 76 w 312"/>
                <a:gd name="T31" fmla="*/ 41 h 333"/>
                <a:gd name="T32" fmla="*/ 53 w 312"/>
                <a:gd name="T33" fmla="*/ 41 h 333"/>
                <a:gd name="T34" fmla="*/ 40 w 312"/>
                <a:gd name="T35" fmla="*/ 55 h 333"/>
                <a:gd name="T36" fmla="*/ 40 w 312"/>
                <a:gd name="T37" fmla="*/ 80 h 333"/>
                <a:gd name="T38" fmla="*/ 58 w 312"/>
                <a:gd name="T39" fmla="*/ 99 h 333"/>
                <a:gd name="T40" fmla="*/ 42 w 312"/>
                <a:gd name="T41" fmla="*/ 138 h 333"/>
                <a:gd name="T42" fmla="*/ 17 w 312"/>
                <a:gd name="T43" fmla="*/ 138 h 333"/>
                <a:gd name="T44" fmla="*/ 0 w 312"/>
                <a:gd name="T45" fmla="*/ 156 h 333"/>
                <a:gd name="T46" fmla="*/ 0 w 312"/>
                <a:gd name="T47" fmla="*/ 176 h 333"/>
                <a:gd name="T48" fmla="*/ 17 w 312"/>
                <a:gd name="T49" fmla="*/ 194 h 333"/>
                <a:gd name="T50" fmla="*/ 42 w 312"/>
                <a:gd name="T51" fmla="*/ 194 h 333"/>
                <a:gd name="T52" fmla="*/ 57 w 312"/>
                <a:gd name="T53" fmla="*/ 233 h 333"/>
                <a:gd name="T54" fmla="*/ 39 w 312"/>
                <a:gd name="T55" fmla="*/ 252 h 333"/>
                <a:gd name="T56" fmla="*/ 39 w 312"/>
                <a:gd name="T57" fmla="*/ 277 h 333"/>
                <a:gd name="T58" fmla="*/ 52 w 312"/>
                <a:gd name="T59" fmla="*/ 291 h 333"/>
                <a:gd name="T60" fmla="*/ 75 w 312"/>
                <a:gd name="T61" fmla="*/ 291 h 333"/>
                <a:gd name="T62" fmla="*/ 93 w 312"/>
                <a:gd name="T63" fmla="*/ 272 h 333"/>
                <a:gd name="T64" fmla="*/ 130 w 312"/>
                <a:gd name="T65" fmla="*/ 289 h 333"/>
                <a:gd name="T66" fmla="*/ 130 w 312"/>
                <a:gd name="T67" fmla="*/ 316 h 333"/>
                <a:gd name="T68" fmla="*/ 146 w 312"/>
                <a:gd name="T69" fmla="*/ 333 h 333"/>
                <a:gd name="T70" fmla="*/ 165 w 312"/>
                <a:gd name="T71" fmla="*/ 333 h 333"/>
                <a:gd name="T72" fmla="*/ 182 w 312"/>
                <a:gd name="T73" fmla="*/ 316 h 333"/>
                <a:gd name="T74" fmla="*/ 182 w 312"/>
                <a:gd name="T75" fmla="*/ 289 h 333"/>
                <a:gd name="T76" fmla="*/ 218 w 312"/>
                <a:gd name="T77" fmla="*/ 273 h 333"/>
                <a:gd name="T78" fmla="*/ 236 w 312"/>
                <a:gd name="T79" fmla="*/ 292 h 333"/>
                <a:gd name="T80" fmla="*/ 259 w 312"/>
                <a:gd name="T81" fmla="*/ 292 h 333"/>
                <a:gd name="T82" fmla="*/ 273 w 312"/>
                <a:gd name="T83" fmla="*/ 278 h 333"/>
                <a:gd name="T84" fmla="*/ 273 w 312"/>
                <a:gd name="T85" fmla="*/ 253 h 333"/>
                <a:gd name="T86" fmla="*/ 255 w 312"/>
                <a:gd name="T87" fmla="*/ 234 h 333"/>
                <a:gd name="T88" fmla="*/ 270 w 312"/>
                <a:gd name="T89" fmla="*/ 195 h 333"/>
                <a:gd name="T90" fmla="*/ 296 w 312"/>
                <a:gd name="T91" fmla="*/ 195 h 333"/>
                <a:gd name="T92" fmla="*/ 312 w 312"/>
                <a:gd name="T93" fmla="*/ 177 h 333"/>
                <a:gd name="T94" fmla="*/ 312 w 312"/>
                <a:gd name="T95" fmla="*/ 157 h 333"/>
                <a:gd name="T96" fmla="*/ 296 w 312"/>
                <a:gd name="T97" fmla="*/ 139 h 333"/>
                <a:gd name="T98" fmla="*/ 156 w 312"/>
                <a:gd name="T99" fmla="*/ 222 h 333"/>
                <a:gd name="T100" fmla="*/ 104 w 312"/>
                <a:gd name="T101" fmla="*/ 167 h 333"/>
                <a:gd name="T102" fmla="*/ 156 w 312"/>
                <a:gd name="T103" fmla="*/ 111 h 333"/>
                <a:gd name="T104" fmla="*/ 208 w 312"/>
                <a:gd name="T105" fmla="*/ 167 h 333"/>
                <a:gd name="T106" fmla="*/ 156 w 312"/>
                <a:gd name="T107" fmla="*/ 222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2" h="333">
                  <a:moveTo>
                    <a:pt x="296" y="139"/>
                  </a:moveTo>
                  <a:cubicBezTo>
                    <a:pt x="270" y="139"/>
                    <a:pt x="270" y="139"/>
                    <a:pt x="270" y="139"/>
                  </a:cubicBezTo>
                  <a:cubicBezTo>
                    <a:pt x="267" y="125"/>
                    <a:pt x="262" y="112"/>
                    <a:pt x="255" y="100"/>
                  </a:cubicBezTo>
                  <a:cubicBezTo>
                    <a:pt x="273" y="81"/>
                    <a:pt x="273" y="81"/>
                    <a:pt x="273" y="81"/>
                  </a:cubicBezTo>
                  <a:cubicBezTo>
                    <a:pt x="280" y="74"/>
                    <a:pt x="280" y="63"/>
                    <a:pt x="273" y="56"/>
                  </a:cubicBezTo>
                  <a:cubicBezTo>
                    <a:pt x="260" y="42"/>
                    <a:pt x="260" y="42"/>
                    <a:pt x="260" y="42"/>
                  </a:cubicBezTo>
                  <a:cubicBezTo>
                    <a:pt x="253" y="35"/>
                    <a:pt x="243" y="35"/>
                    <a:pt x="237" y="42"/>
                  </a:cubicBezTo>
                  <a:cubicBezTo>
                    <a:pt x="219" y="61"/>
                    <a:pt x="219" y="61"/>
                    <a:pt x="219" y="61"/>
                  </a:cubicBezTo>
                  <a:cubicBezTo>
                    <a:pt x="208" y="53"/>
                    <a:pt x="195" y="48"/>
                    <a:pt x="182" y="45"/>
                  </a:cubicBezTo>
                  <a:cubicBezTo>
                    <a:pt x="182" y="18"/>
                    <a:pt x="182" y="18"/>
                    <a:pt x="182" y="18"/>
                  </a:cubicBezTo>
                  <a:cubicBezTo>
                    <a:pt x="182" y="8"/>
                    <a:pt x="175" y="0"/>
                    <a:pt x="166" y="0"/>
                  </a:cubicBezTo>
                  <a:cubicBezTo>
                    <a:pt x="147" y="0"/>
                    <a:pt x="147" y="0"/>
                    <a:pt x="147" y="0"/>
                  </a:cubicBezTo>
                  <a:cubicBezTo>
                    <a:pt x="138" y="0"/>
                    <a:pt x="130" y="8"/>
                    <a:pt x="130" y="18"/>
                  </a:cubicBezTo>
                  <a:cubicBezTo>
                    <a:pt x="130" y="45"/>
                    <a:pt x="130" y="45"/>
                    <a:pt x="130" y="45"/>
                  </a:cubicBezTo>
                  <a:cubicBezTo>
                    <a:pt x="117" y="48"/>
                    <a:pt x="105" y="53"/>
                    <a:pt x="94" y="61"/>
                  </a:cubicBezTo>
                  <a:cubicBezTo>
                    <a:pt x="76" y="41"/>
                    <a:pt x="76" y="41"/>
                    <a:pt x="76" y="41"/>
                  </a:cubicBezTo>
                  <a:cubicBezTo>
                    <a:pt x="70" y="34"/>
                    <a:pt x="60" y="34"/>
                    <a:pt x="53" y="41"/>
                  </a:cubicBezTo>
                  <a:cubicBezTo>
                    <a:pt x="40" y="55"/>
                    <a:pt x="40" y="55"/>
                    <a:pt x="40" y="55"/>
                  </a:cubicBezTo>
                  <a:cubicBezTo>
                    <a:pt x="33" y="62"/>
                    <a:pt x="33" y="73"/>
                    <a:pt x="40" y="80"/>
                  </a:cubicBezTo>
                  <a:cubicBezTo>
                    <a:pt x="58" y="99"/>
                    <a:pt x="58" y="99"/>
                    <a:pt x="58" y="99"/>
                  </a:cubicBezTo>
                  <a:cubicBezTo>
                    <a:pt x="50" y="111"/>
                    <a:pt x="45" y="124"/>
                    <a:pt x="42" y="138"/>
                  </a:cubicBezTo>
                  <a:cubicBezTo>
                    <a:pt x="17" y="138"/>
                    <a:pt x="17" y="138"/>
                    <a:pt x="17" y="138"/>
                  </a:cubicBezTo>
                  <a:cubicBezTo>
                    <a:pt x="8" y="138"/>
                    <a:pt x="0" y="146"/>
                    <a:pt x="0" y="156"/>
                  </a:cubicBezTo>
                  <a:cubicBezTo>
                    <a:pt x="0" y="176"/>
                    <a:pt x="0" y="176"/>
                    <a:pt x="0" y="176"/>
                  </a:cubicBezTo>
                  <a:cubicBezTo>
                    <a:pt x="0" y="186"/>
                    <a:pt x="8" y="194"/>
                    <a:pt x="17" y="194"/>
                  </a:cubicBezTo>
                  <a:cubicBezTo>
                    <a:pt x="42" y="194"/>
                    <a:pt x="42" y="194"/>
                    <a:pt x="42" y="194"/>
                  </a:cubicBezTo>
                  <a:cubicBezTo>
                    <a:pt x="45" y="208"/>
                    <a:pt x="50" y="221"/>
                    <a:pt x="57" y="233"/>
                  </a:cubicBezTo>
                  <a:cubicBezTo>
                    <a:pt x="39" y="252"/>
                    <a:pt x="39" y="252"/>
                    <a:pt x="39" y="252"/>
                  </a:cubicBezTo>
                  <a:cubicBezTo>
                    <a:pt x="33" y="259"/>
                    <a:pt x="33" y="270"/>
                    <a:pt x="39" y="277"/>
                  </a:cubicBezTo>
                  <a:cubicBezTo>
                    <a:pt x="52" y="291"/>
                    <a:pt x="52" y="291"/>
                    <a:pt x="52" y="291"/>
                  </a:cubicBezTo>
                  <a:cubicBezTo>
                    <a:pt x="59" y="298"/>
                    <a:pt x="69" y="298"/>
                    <a:pt x="75" y="291"/>
                  </a:cubicBezTo>
                  <a:cubicBezTo>
                    <a:pt x="93" y="272"/>
                    <a:pt x="93" y="272"/>
                    <a:pt x="93" y="272"/>
                  </a:cubicBezTo>
                  <a:cubicBezTo>
                    <a:pt x="105" y="280"/>
                    <a:pt x="117" y="285"/>
                    <a:pt x="130" y="289"/>
                  </a:cubicBezTo>
                  <a:cubicBezTo>
                    <a:pt x="130" y="316"/>
                    <a:pt x="130" y="316"/>
                    <a:pt x="130" y="316"/>
                  </a:cubicBezTo>
                  <a:cubicBezTo>
                    <a:pt x="130" y="325"/>
                    <a:pt x="137" y="333"/>
                    <a:pt x="146" y="333"/>
                  </a:cubicBezTo>
                  <a:cubicBezTo>
                    <a:pt x="165" y="333"/>
                    <a:pt x="165" y="333"/>
                    <a:pt x="165" y="333"/>
                  </a:cubicBezTo>
                  <a:cubicBezTo>
                    <a:pt x="174" y="333"/>
                    <a:pt x="182" y="326"/>
                    <a:pt x="182" y="316"/>
                  </a:cubicBezTo>
                  <a:cubicBezTo>
                    <a:pt x="182" y="289"/>
                    <a:pt x="182" y="289"/>
                    <a:pt x="182" y="289"/>
                  </a:cubicBezTo>
                  <a:cubicBezTo>
                    <a:pt x="195" y="286"/>
                    <a:pt x="207" y="280"/>
                    <a:pt x="218" y="273"/>
                  </a:cubicBezTo>
                  <a:cubicBezTo>
                    <a:pt x="236" y="292"/>
                    <a:pt x="236" y="292"/>
                    <a:pt x="236" y="292"/>
                  </a:cubicBezTo>
                  <a:cubicBezTo>
                    <a:pt x="243" y="299"/>
                    <a:pt x="253" y="299"/>
                    <a:pt x="259" y="292"/>
                  </a:cubicBezTo>
                  <a:cubicBezTo>
                    <a:pt x="273" y="278"/>
                    <a:pt x="273" y="278"/>
                    <a:pt x="273" y="278"/>
                  </a:cubicBezTo>
                  <a:cubicBezTo>
                    <a:pt x="279" y="271"/>
                    <a:pt x="279" y="260"/>
                    <a:pt x="273" y="253"/>
                  </a:cubicBezTo>
                  <a:cubicBezTo>
                    <a:pt x="255" y="234"/>
                    <a:pt x="255" y="234"/>
                    <a:pt x="255" y="234"/>
                  </a:cubicBezTo>
                  <a:cubicBezTo>
                    <a:pt x="262" y="222"/>
                    <a:pt x="267" y="209"/>
                    <a:pt x="270" y="195"/>
                  </a:cubicBezTo>
                  <a:cubicBezTo>
                    <a:pt x="296" y="195"/>
                    <a:pt x="296" y="195"/>
                    <a:pt x="296" y="195"/>
                  </a:cubicBezTo>
                  <a:cubicBezTo>
                    <a:pt x="305" y="195"/>
                    <a:pt x="312" y="187"/>
                    <a:pt x="312" y="177"/>
                  </a:cubicBezTo>
                  <a:cubicBezTo>
                    <a:pt x="312" y="157"/>
                    <a:pt x="312" y="157"/>
                    <a:pt x="312" y="157"/>
                  </a:cubicBezTo>
                  <a:cubicBezTo>
                    <a:pt x="312" y="147"/>
                    <a:pt x="305" y="139"/>
                    <a:pt x="296" y="139"/>
                  </a:cubicBezTo>
                  <a:close/>
                  <a:moveTo>
                    <a:pt x="156" y="222"/>
                  </a:moveTo>
                  <a:cubicBezTo>
                    <a:pt x="127" y="222"/>
                    <a:pt x="104" y="197"/>
                    <a:pt x="104" y="167"/>
                  </a:cubicBezTo>
                  <a:cubicBezTo>
                    <a:pt x="104" y="136"/>
                    <a:pt x="127" y="111"/>
                    <a:pt x="156" y="111"/>
                  </a:cubicBezTo>
                  <a:cubicBezTo>
                    <a:pt x="185" y="111"/>
                    <a:pt x="208" y="136"/>
                    <a:pt x="208" y="167"/>
                  </a:cubicBezTo>
                  <a:cubicBezTo>
                    <a:pt x="208" y="197"/>
                    <a:pt x="185" y="222"/>
                    <a:pt x="156" y="222"/>
                  </a:cubicBezTo>
                  <a:close/>
                </a:path>
              </a:pathLst>
            </a:custGeom>
            <a:noFill/>
            <a:ln w="3810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zh-CN" altLang="en-US"/>
            </a:p>
          </p:txBody>
        </p:sp>
      </p:grpSp>
      <p:sp>
        <p:nvSpPr>
          <p:cNvPr id="20" name="标题 1"/>
          <p:cNvSpPr>
            <a:spLocks noGrp="1"/>
          </p:cNvSpPr>
          <p:nvPr userDrawn="1">
            <p:ph type="title"/>
          </p:nvPr>
        </p:nvSpPr>
        <p:spPr>
          <a:xfrm>
            <a:off x="6518034" y="2790066"/>
            <a:ext cx="5002454" cy="895350"/>
          </a:xfrm>
        </p:spPr>
        <p:txBody>
          <a:bodyPr anchor="b">
            <a:normAutofit/>
          </a:bodyPr>
          <a:lstStyle>
            <a:lvl1pPr algn="l">
              <a:defRPr sz="2400" b="1">
                <a:solidFill>
                  <a:schemeClr val="tx1"/>
                </a:solidFill>
              </a:defRPr>
            </a:lvl1pPr>
          </a:lstStyle>
          <a:p>
            <a:r>
              <a:rPr lang="en-US" dirty="0"/>
              <a:t>Click to edit Master title style</a:t>
            </a:r>
            <a:endParaRPr lang="zh-CN" altLang="en-US" dirty="0"/>
          </a:p>
        </p:txBody>
      </p:sp>
      <p:sp>
        <p:nvSpPr>
          <p:cNvPr id="21" name="文本占位符 2"/>
          <p:cNvSpPr>
            <a:spLocks noGrp="1"/>
          </p:cNvSpPr>
          <p:nvPr userDrawn="1">
            <p:ph type="body" idx="1"/>
          </p:nvPr>
        </p:nvSpPr>
        <p:spPr>
          <a:xfrm>
            <a:off x="6519150" y="3685416"/>
            <a:ext cx="5002454" cy="1015623"/>
          </a:xfrm>
        </p:spPr>
        <p:txBody>
          <a:bodyPr anchor="t">
            <a:normAutofit/>
          </a:bodyPr>
          <a:lstStyle>
            <a:lvl1pPr marL="0" indent="0" algn="l">
              <a:lnSpc>
                <a:spcPct val="100000"/>
              </a:lnSpc>
              <a:buNone/>
              <a:defRPr sz="1100">
                <a:solidFill>
                  <a:schemeClr val="tx1"/>
                </a:solidFill>
              </a:defRPr>
            </a:lvl1pPr>
            <a:lvl2pPr marL="457178" indent="0">
              <a:buNone/>
              <a:defRPr sz="2000">
                <a:solidFill>
                  <a:schemeClr val="tx1">
                    <a:tint val="75000"/>
                  </a:schemeClr>
                </a:solidFill>
              </a:defRPr>
            </a:lvl2pPr>
            <a:lvl3pPr marL="914354"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2"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en-US" dirty="0"/>
              <a:t>Edit Master text styles</a:t>
            </a:r>
          </a:p>
        </p:txBody>
      </p:sp>
    </p:spTree>
    <p:extLst>
      <p:ext uri="{BB962C8B-B14F-4D97-AF65-F5344CB8AC3E}">
        <p14:creationId xmlns:p14="http://schemas.microsoft.com/office/powerpoint/2010/main" val="2853334272"/>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3" name="日期占位符 2">
            <a:extLst>
              <a:ext uri="{FF2B5EF4-FFF2-40B4-BE49-F238E27FC236}">
                <a16:creationId xmlns:a16="http://schemas.microsoft.com/office/drawing/2014/main" id="{9888B6D7-9D3F-49D7-BACE-73A9D1149A74}"/>
              </a:ext>
            </a:extLst>
          </p:cNvPr>
          <p:cNvSpPr>
            <a:spLocks noGrp="1"/>
          </p:cNvSpPr>
          <p:nvPr>
            <p:ph type="dt" sz="half" idx="10"/>
          </p:nvPr>
        </p:nvSpPr>
        <p:spPr/>
        <p:txBody>
          <a:bodyPr/>
          <a:lstStyle/>
          <a:p>
            <a:fld id="{6489D9C7-5DC6-4263-87FF-7C99F6FB63C3}" type="datetime1">
              <a:rPr lang="zh-CN" altLang="en-US" smtClean="0"/>
              <a:pPr/>
              <a:t>2023/4/2</a:t>
            </a:fld>
            <a:endParaRPr lang="zh-CN" altLang="en-US"/>
          </a:p>
        </p:txBody>
      </p:sp>
      <p:sp>
        <p:nvSpPr>
          <p:cNvPr id="4" name="页脚占位符 3">
            <a:extLst>
              <a:ext uri="{FF2B5EF4-FFF2-40B4-BE49-F238E27FC236}">
                <a16:creationId xmlns:a16="http://schemas.microsoft.com/office/drawing/2014/main" id="{7AC997A4-1DD8-4731-B9FD-42398A20FF85}"/>
              </a:ext>
            </a:extLst>
          </p:cNvPr>
          <p:cNvSpPr>
            <a:spLocks noGrp="1"/>
          </p:cNvSpPr>
          <p:nvPr>
            <p:ph type="ftr" sz="quarter" idx="11"/>
          </p:nvPr>
        </p:nvSpPr>
        <p:spPr/>
        <p:txBody>
          <a:bodyPr/>
          <a:lstStyle/>
          <a:p>
            <a:r>
              <a:rPr lang="en-US" altLang="zh-CN" dirty="0"/>
              <a:t>www.islide.cc</a:t>
            </a:r>
            <a:endParaRPr lang="zh-CN" altLang="en-US" dirty="0"/>
          </a:p>
        </p:txBody>
      </p:sp>
      <p:sp>
        <p:nvSpPr>
          <p:cNvPr id="5" name="灯片编号占位符 4">
            <a:extLst>
              <a:ext uri="{FF2B5EF4-FFF2-40B4-BE49-F238E27FC236}">
                <a16:creationId xmlns:a16="http://schemas.microsoft.com/office/drawing/2014/main" id="{DBA9825E-1876-42AD-ABCF-E0E100F351CA}"/>
              </a:ext>
            </a:extLst>
          </p:cNvPr>
          <p:cNvSpPr>
            <a:spLocks noGrp="1"/>
          </p:cNvSpPr>
          <p:nvPr>
            <p:ph type="sldNum" sz="quarter" idx="12"/>
          </p:nvPr>
        </p:nvSpPr>
        <p:spPr/>
        <p:txBody>
          <a:bodyPr/>
          <a:lstStyle/>
          <a:p>
            <a:fld id="{5DD3DB80-B894-403A-B48E-6FDC1A72010E}" type="slidenum">
              <a:rPr lang="zh-CN" altLang="en-US" smtClean="0"/>
              <a:pPr/>
              <a:t>‹#›</a:t>
            </a:fld>
            <a:endParaRPr lang="zh-CN" altLang="en-US"/>
          </a:p>
        </p:txBody>
      </p:sp>
      <p:sp>
        <p:nvSpPr>
          <p:cNvPr id="6" name="标题 5">
            <a:extLst>
              <a:ext uri="{FF2B5EF4-FFF2-40B4-BE49-F238E27FC236}">
                <a16:creationId xmlns:a16="http://schemas.microsoft.com/office/drawing/2014/main" id="{D124F9DB-C87A-423F-9657-38C7A2901430}"/>
              </a:ext>
            </a:extLst>
          </p:cNvPr>
          <p:cNvSpPr>
            <a:spLocks noGrp="1"/>
          </p:cNvSpPr>
          <p:nvPr>
            <p:ph type="title" hasCustomPrompt="1"/>
          </p:nvPr>
        </p:nvSpPr>
        <p:spPr/>
        <p:txBody>
          <a:bodyPr/>
          <a:lstStyle>
            <a:lvl1pPr>
              <a:defRPr/>
            </a:lvl1pPr>
          </a:lstStyle>
          <a:p>
            <a:r>
              <a:rPr lang="en-US" altLang="zh-CN" dirty="0"/>
              <a:t>Click to edit Master title style</a:t>
            </a:r>
            <a:endParaRPr lang="zh-CN" altLang="en-US" dirty="0"/>
          </a:p>
        </p:txBody>
      </p:sp>
      <p:sp>
        <p:nvSpPr>
          <p:cNvPr id="8" name="内容占位符 7">
            <a:extLst>
              <a:ext uri="{FF2B5EF4-FFF2-40B4-BE49-F238E27FC236}">
                <a16:creationId xmlns:a16="http://schemas.microsoft.com/office/drawing/2014/main" id="{2070191C-4093-409C-8FD5-7369A79637AD}"/>
              </a:ext>
            </a:extLst>
          </p:cNvPr>
          <p:cNvSpPr>
            <a:spLocks noGrp="1"/>
          </p:cNvSpPr>
          <p:nvPr>
            <p:ph sz="quarter" idx="13" hasCustomPrompt="1"/>
          </p:nvPr>
        </p:nvSpPr>
        <p:spPr>
          <a:xfrm>
            <a:off x="669925" y="1130299"/>
            <a:ext cx="10850563" cy="5006975"/>
          </a:xfrm>
        </p:spPr>
        <p:txBody>
          <a:bodyPr/>
          <a:lstStyle>
            <a:lvl1pPr>
              <a:defRPr/>
            </a:lvl1pPr>
            <a:lvl2pPr>
              <a:defRPr/>
            </a:lvl2pPr>
            <a:lvl3pPr>
              <a:defRPr/>
            </a:lvl3pPr>
            <a:lvl4pPr>
              <a:defRPr/>
            </a:lvl4pPr>
            <a:lvl5pPr>
              <a:defRPr/>
            </a:lvl5pPr>
          </a:lstStyle>
          <a:p>
            <a:pPr lvl="0"/>
            <a:r>
              <a:rPr lang="en-US" altLang="zh-CN" dirty="0"/>
              <a:t>Edit Master text styles</a:t>
            </a:r>
          </a:p>
          <a:p>
            <a:pPr lvl="1"/>
            <a:r>
              <a:rPr lang="en-US" altLang="zh-CN" dirty="0"/>
              <a:t>Second level</a:t>
            </a:r>
          </a:p>
          <a:p>
            <a:pPr lvl="2"/>
            <a:r>
              <a:rPr lang="en-US" altLang="zh-CN" dirty="0"/>
              <a:t>Third level</a:t>
            </a:r>
          </a:p>
          <a:p>
            <a:pPr lvl="3"/>
            <a:r>
              <a:rPr lang="en-US" altLang="zh-CN" dirty="0"/>
              <a:t>Fourth level</a:t>
            </a:r>
          </a:p>
          <a:p>
            <a:pPr lvl="4"/>
            <a:r>
              <a:rPr lang="en-US" altLang="zh-CN" dirty="0"/>
              <a:t>Fifth level</a:t>
            </a:r>
            <a:endParaRPr lang="zh-CN" altLang="en-US" dirty="0"/>
          </a:p>
        </p:txBody>
      </p:sp>
    </p:spTree>
    <p:extLst>
      <p:ext uri="{BB962C8B-B14F-4D97-AF65-F5344CB8AC3E}">
        <p14:creationId xmlns:p14="http://schemas.microsoft.com/office/powerpoint/2010/main" val="36775934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userDrawn="1">
  <p:cSld name="仅标题页">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1C7A1C-3684-4AAF-A408-C63B6CB64104}"/>
              </a:ext>
            </a:extLst>
          </p:cNvPr>
          <p:cNvSpPr>
            <a:spLocks noGrp="1"/>
          </p:cNvSpPr>
          <p:nvPr>
            <p:ph type="title" hasCustomPrompt="1"/>
          </p:nvPr>
        </p:nvSpPr>
        <p:spPr/>
        <p:txBody>
          <a:bodyPr/>
          <a:lstStyle>
            <a:lvl1pPr>
              <a:defRPr/>
            </a:lvl1pPr>
          </a:lstStyle>
          <a:p>
            <a:r>
              <a:rPr lang="en-US" altLang="zh-CN" dirty="0"/>
              <a:t>Click to edit Master title style</a:t>
            </a:r>
            <a:endParaRPr lang="en-US" dirty="0"/>
          </a:p>
        </p:txBody>
      </p:sp>
      <p:sp>
        <p:nvSpPr>
          <p:cNvPr id="3" name="Date Placeholder 2">
            <a:extLst>
              <a:ext uri="{FF2B5EF4-FFF2-40B4-BE49-F238E27FC236}">
                <a16:creationId xmlns:a16="http://schemas.microsoft.com/office/drawing/2014/main" id="{8986EA5F-D77D-4318-90E9-C04AA8ADC0D1}"/>
              </a:ext>
            </a:extLst>
          </p:cNvPr>
          <p:cNvSpPr>
            <a:spLocks noGrp="1"/>
          </p:cNvSpPr>
          <p:nvPr>
            <p:ph type="dt" sz="half" idx="10"/>
          </p:nvPr>
        </p:nvSpPr>
        <p:spPr/>
        <p:txBody>
          <a:bodyPr/>
          <a:lstStyle/>
          <a:p>
            <a:fld id="{6489D9C7-5DC6-4263-87FF-7C99F6FB63C3}" type="datetime1">
              <a:rPr lang="zh-CN" altLang="en-US" smtClean="0"/>
              <a:pPr/>
              <a:t>2023/4/2</a:t>
            </a:fld>
            <a:endParaRPr lang="zh-CN" altLang="en-US"/>
          </a:p>
        </p:txBody>
      </p:sp>
      <p:sp>
        <p:nvSpPr>
          <p:cNvPr id="4" name="Footer Placeholder 3">
            <a:extLst>
              <a:ext uri="{FF2B5EF4-FFF2-40B4-BE49-F238E27FC236}">
                <a16:creationId xmlns:a16="http://schemas.microsoft.com/office/drawing/2014/main" id="{00832621-D9D9-445E-BFF9-F8348FA1E262}"/>
              </a:ext>
            </a:extLst>
          </p:cNvPr>
          <p:cNvSpPr>
            <a:spLocks noGrp="1"/>
          </p:cNvSpPr>
          <p:nvPr>
            <p:ph type="ftr" sz="quarter" idx="11"/>
          </p:nvPr>
        </p:nvSpPr>
        <p:spPr/>
        <p:txBody>
          <a:bodyPr/>
          <a:lstStyle/>
          <a:p>
            <a:r>
              <a:rPr lang="en-US" altLang="zh-CN" dirty="0"/>
              <a:t>www.islide.cc</a:t>
            </a:r>
            <a:endParaRPr lang="zh-CN" altLang="en-US" dirty="0"/>
          </a:p>
        </p:txBody>
      </p:sp>
      <p:sp>
        <p:nvSpPr>
          <p:cNvPr id="5" name="Slide Number Placeholder 4">
            <a:extLst>
              <a:ext uri="{FF2B5EF4-FFF2-40B4-BE49-F238E27FC236}">
                <a16:creationId xmlns:a16="http://schemas.microsoft.com/office/drawing/2014/main" id="{8371151B-F790-4A9F-962F-B8718A9560A9}"/>
              </a:ext>
            </a:extLst>
          </p:cNvPr>
          <p:cNvSpPr>
            <a:spLocks noGrp="1"/>
          </p:cNvSpPr>
          <p:nvPr>
            <p:ph type="sldNum" sz="quarter" idx="12"/>
          </p:nvPr>
        </p:nvSpPr>
        <p:spPr/>
        <p:txBody>
          <a:bodyPr/>
          <a:lstStyle/>
          <a:p>
            <a:fld id="{5DD3DB80-B894-403A-B48E-6FDC1A72010E}" type="slidenum">
              <a:rPr lang="zh-CN" altLang="en-US" smtClean="0"/>
              <a:pPr/>
              <a:t>‹#›</a:t>
            </a:fld>
            <a:endParaRPr lang="zh-CN" altLang="en-US"/>
          </a:p>
        </p:txBody>
      </p:sp>
    </p:spTree>
    <p:extLst>
      <p:ext uri="{BB962C8B-B14F-4D97-AF65-F5344CB8AC3E}">
        <p14:creationId xmlns:p14="http://schemas.microsoft.com/office/powerpoint/2010/main" val="128417621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blank" preserve="1">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341772862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末尾幻灯片">
    <p:spTree>
      <p:nvGrpSpPr>
        <p:cNvPr id="1" name=""/>
        <p:cNvGrpSpPr/>
        <p:nvPr/>
      </p:nvGrpSpPr>
      <p:grpSpPr>
        <a:xfrm>
          <a:off x="0" y="0"/>
          <a:ext cx="0" cy="0"/>
          <a:chOff x="0" y="0"/>
          <a:chExt cx="0" cy="0"/>
        </a:xfrm>
      </p:grpSpPr>
      <p:grpSp>
        <p:nvGrpSpPr>
          <p:cNvPr id="1223" name="组合 1222">
            <a:extLst>
              <a:ext uri="{FF2B5EF4-FFF2-40B4-BE49-F238E27FC236}">
                <a16:creationId xmlns:a16="http://schemas.microsoft.com/office/drawing/2014/main" id="{E9D9BA9E-B5A8-40E0-9C30-C00FA09B07E7}"/>
              </a:ext>
            </a:extLst>
          </p:cNvPr>
          <p:cNvGrpSpPr/>
          <p:nvPr userDrawn="1"/>
        </p:nvGrpSpPr>
        <p:grpSpPr>
          <a:xfrm flipH="1">
            <a:off x="506415" y="2089150"/>
            <a:ext cx="8335962" cy="3906838"/>
            <a:chOff x="3638551" y="2232025"/>
            <a:chExt cx="8335962" cy="3906838"/>
          </a:xfrm>
        </p:grpSpPr>
        <p:sp>
          <p:nvSpPr>
            <p:cNvPr id="1224" name="Freeform 1544">
              <a:extLst>
                <a:ext uri="{FF2B5EF4-FFF2-40B4-BE49-F238E27FC236}">
                  <a16:creationId xmlns:a16="http://schemas.microsoft.com/office/drawing/2014/main" id="{E2BBC5AC-7833-4C94-9509-E3A3D9FBA5D8}"/>
                </a:ext>
              </a:extLst>
            </p:cNvPr>
            <p:cNvSpPr>
              <a:spLocks/>
            </p:cNvSpPr>
            <p:nvPr userDrawn="1"/>
          </p:nvSpPr>
          <p:spPr bwMode="auto">
            <a:xfrm>
              <a:off x="4878388" y="2660650"/>
              <a:ext cx="6911975" cy="2052638"/>
            </a:xfrm>
            <a:custGeom>
              <a:avLst/>
              <a:gdLst>
                <a:gd name="T0" fmla="*/ 1434 w 3491"/>
                <a:gd name="T1" fmla="*/ 0 h 1037"/>
                <a:gd name="T2" fmla="*/ 499 w 3491"/>
                <a:gd name="T3" fmla="*/ 0 h 1037"/>
                <a:gd name="T4" fmla="*/ 410 w 3491"/>
                <a:gd name="T5" fmla="*/ 131 h 1037"/>
                <a:gd name="T6" fmla="*/ 499 w 3491"/>
                <a:gd name="T7" fmla="*/ 261 h 1037"/>
                <a:gd name="T8" fmla="*/ 710 w 3491"/>
                <a:gd name="T9" fmla="*/ 261 h 1037"/>
                <a:gd name="T10" fmla="*/ 764 w 3491"/>
                <a:gd name="T11" fmla="*/ 340 h 1037"/>
                <a:gd name="T12" fmla="*/ 710 w 3491"/>
                <a:gd name="T13" fmla="*/ 418 h 1037"/>
                <a:gd name="T14" fmla="*/ 79 w 3491"/>
                <a:gd name="T15" fmla="*/ 418 h 1037"/>
                <a:gd name="T16" fmla="*/ 0 w 3491"/>
                <a:gd name="T17" fmla="*/ 535 h 1037"/>
                <a:gd name="T18" fmla="*/ 0 w 3491"/>
                <a:gd name="T19" fmla="*/ 535 h 1037"/>
                <a:gd name="T20" fmla="*/ 79 w 3491"/>
                <a:gd name="T21" fmla="*/ 651 h 1037"/>
                <a:gd name="T22" fmla="*/ 888 w 3491"/>
                <a:gd name="T23" fmla="*/ 651 h 1037"/>
                <a:gd name="T24" fmla="*/ 950 w 3491"/>
                <a:gd name="T25" fmla="*/ 744 h 1037"/>
                <a:gd name="T26" fmla="*/ 888 w 3491"/>
                <a:gd name="T27" fmla="*/ 836 h 1037"/>
                <a:gd name="T28" fmla="*/ 335 w 3491"/>
                <a:gd name="T29" fmla="*/ 836 h 1037"/>
                <a:gd name="T30" fmla="*/ 271 w 3491"/>
                <a:gd name="T31" fmla="*/ 930 h 1037"/>
                <a:gd name="T32" fmla="*/ 271 w 3491"/>
                <a:gd name="T33" fmla="*/ 943 h 1037"/>
                <a:gd name="T34" fmla="*/ 335 w 3491"/>
                <a:gd name="T35" fmla="*/ 1037 h 1037"/>
                <a:gd name="T36" fmla="*/ 3400 w 3491"/>
                <a:gd name="T37" fmla="*/ 1037 h 1037"/>
                <a:gd name="T38" fmla="*/ 3491 w 3491"/>
                <a:gd name="T39" fmla="*/ 905 h 1037"/>
                <a:gd name="T40" fmla="*/ 3400 w 3491"/>
                <a:gd name="T41" fmla="*/ 773 h 1037"/>
                <a:gd name="T42" fmla="*/ 2993 w 3491"/>
                <a:gd name="T43" fmla="*/ 773 h 1037"/>
                <a:gd name="T44" fmla="*/ 2928 w 3491"/>
                <a:gd name="T45" fmla="*/ 678 h 1037"/>
                <a:gd name="T46" fmla="*/ 2993 w 3491"/>
                <a:gd name="T47" fmla="*/ 583 h 1037"/>
                <a:gd name="T48" fmla="*/ 3219 w 3491"/>
                <a:gd name="T49" fmla="*/ 583 h 1037"/>
                <a:gd name="T50" fmla="*/ 3301 w 3491"/>
                <a:gd name="T51" fmla="*/ 463 h 1037"/>
                <a:gd name="T52" fmla="*/ 3219 w 3491"/>
                <a:gd name="T53" fmla="*/ 343 h 1037"/>
                <a:gd name="T54" fmla="*/ 2481 w 3491"/>
                <a:gd name="T55" fmla="*/ 343 h 1037"/>
                <a:gd name="T56" fmla="*/ 2428 w 3491"/>
                <a:gd name="T57" fmla="*/ 266 h 1037"/>
                <a:gd name="T58" fmla="*/ 2481 w 3491"/>
                <a:gd name="T59" fmla="*/ 189 h 1037"/>
                <a:gd name="T60" fmla="*/ 3120 w 3491"/>
                <a:gd name="T61" fmla="*/ 189 h 1037"/>
                <a:gd name="T62" fmla="*/ 3185 w 3491"/>
                <a:gd name="T63" fmla="*/ 94 h 1037"/>
                <a:gd name="T64" fmla="*/ 3120 w 3491"/>
                <a:gd name="T65" fmla="*/ 0 h 1037"/>
                <a:gd name="T66" fmla="*/ 1434 w 3491"/>
                <a:gd name="T67" fmla="*/ 0 h 10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91" h="1037">
                  <a:moveTo>
                    <a:pt x="1434" y="0"/>
                  </a:moveTo>
                  <a:cubicBezTo>
                    <a:pt x="499" y="0"/>
                    <a:pt x="499" y="0"/>
                    <a:pt x="499" y="0"/>
                  </a:cubicBezTo>
                  <a:cubicBezTo>
                    <a:pt x="450" y="0"/>
                    <a:pt x="410" y="58"/>
                    <a:pt x="410" y="131"/>
                  </a:cubicBezTo>
                  <a:cubicBezTo>
                    <a:pt x="410" y="203"/>
                    <a:pt x="450" y="261"/>
                    <a:pt x="499" y="261"/>
                  </a:cubicBezTo>
                  <a:cubicBezTo>
                    <a:pt x="710" y="261"/>
                    <a:pt x="710" y="261"/>
                    <a:pt x="710" y="261"/>
                  </a:cubicBezTo>
                  <a:cubicBezTo>
                    <a:pt x="740" y="261"/>
                    <a:pt x="764" y="296"/>
                    <a:pt x="764" y="340"/>
                  </a:cubicBezTo>
                  <a:cubicBezTo>
                    <a:pt x="764" y="383"/>
                    <a:pt x="740" y="418"/>
                    <a:pt x="710" y="418"/>
                  </a:cubicBezTo>
                  <a:cubicBezTo>
                    <a:pt x="79" y="418"/>
                    <a:pt x="79" y="418"/>
                    <a:pt x="79" y="418"/>
                  </a:cubicBezTo>
                  <a:cubicBezTo>
                    <a:pt x="35" y="418"/>
                    <a:pt x="0" y="470"/>
                    <a:pt x="0" y="535"/>
                  </a:cubicBezTo>
                  <a:cubicBezTo>
                    <a:pt x="0" y="535"/>
                    <a:pt x="0" y="535"/>
                    <a:pt x="0" y="535"/>
                  </a:cubicBezTo>
                  <a:cubicBezTo>
                    <a:pt x="0" y="599"/>
                    <a:pt x="35" y="651"/>
                    <a:pt x="79" y="651"/>
                  </a:cubicBezTo>
                  <a:cubicBezTo>
                    <a:pt x="888" y="651"/>
                    <a:pt x="888" y="651"/>
                    <a:pt x="888" y="651"/>
                  </a:cubicBezTo>
                  <a:cubicBezTo>
                    <a:pt x="922" y="651"/>
                    <a:pt x="951" y="693"/>
                    <a:pt x="950" y="744"/>
                  </a:cubicBezTo>
                  <a:cubicBezTo>
                    <a:pt x="950" y="795"/>
                    <a:pt x="922" y="836"/>
                    <a:pt x="888" y="836"/>
                  </a:cubicBezTo>
                  <a:cubicBezTo>
                    <a:pt x="335" y="836"/>
                    <a:pt x="335" y="836"/>
                    <a:pt x="335" y="836"/>
                  </a:cubicBezTo>
                  <a:cubicBezTo>
                    <a:pt x="300" y="836"/>
                    <a:pt x="271" y="878"/>
                    <a:pt x="271" y="930"/>
                  </a:cubicBezTo>
                  <a:cubicBezTo>
                    <a:pt x="271" y="943"/>
                    <a:pt x="271" y="943"/>
                    <a:pt x="271" y="943"/>
                  </a:cubicBezTo>
                  <a:cubicBezTo>
                    <a:pt x="271" y="995"/>
                    <a:pt x="300" y="1037"/>
                    <a:pt x="335" y="1037"/>
                  </a:cubicBezTo>
                  <a:cubicBezTo>
                    <a:pt x="3400" y="1037"/>
                    <a:pt x="3400" y="1037"/>
                    <a:pt x="3400" y="1037"/>
                  </a:cubicBezTo>
                  <a:cubicBezTo>
                    <a:pt x="3450" y="1037"/>
                    <a:pt x="3491" y="978"/>
                    <a:pt x="3491" y="905"/>
                  </a:cubicBezTo>
                  <a:cubicBezTo>
                    <a:pt x="3491" y="832"/>
                    <a:pt x="3450" y="773"/>
                    <a:pt x="3400" y="773"/>
                  </a:cubicBezTo>
                  <a:cubicBezTo>
                    <a:pt x="2993" y="773"/>
                    <a:pt x="2993" y="773"/>
                    <a:pt x="2993" y="773"/>
                  </a:cubicBezTo>
                  <a:cubicBezTo>
                    <a:pt x="2957" y="773"/>
                    <a:pt x="2928" y="730"/>
                    <a:pt x="2928" y="678"/>
                  </a:cubicBezTo>
                  <a:cubicBezTo>
                    <a:pt x="2928" y="625"/>
                    <a:pt x="2957" y="583"/>
                    <a:pt x="2993" y="583"/>
                  </a:cubicBezTo>
                  <a:cubicBezTo>
                    <a:pt x="3219" y="583"/>
                    <a:pt x="3219" y="583"/>
                    <a:pt x="3219" y="583"/>
                  </a:cubicBezTo>
                  <a:cubicBezTo>
                    <a:pt x="3264" y="583"/>
                    <a:pt x="3301" y="529"/>
                    <a:pt x="3301" y="463"/>
                  </a:cubicBezTo>
                  <a:cubicBezTo>
                    <a:pt x="3301" y="397"/>
                    <a:pt x="3264" y="343"/>
                    <a:pt x="3219" y="343"/>
                  </a:cubicBezTo>
                  <a:cubicBezTo>
                    <a:pt x="2481" y="343"/>
                    <a:pt x="2481" y="343"/>
                    <a:pt x="2481" y="343"/>
                  </a:cubicBezTo>
                  <a:cubicBezTo>
                    <a:pt x="2452" y="343"/>
                    <a:pt x="2428" y="308"/>
                    <a:pt x="2428" y="266"/>
                  </a:cubicBezTo>
                  <a:cubicBezTo>
                    <a:pt x="2428" y="223"/>
                    <a:pt x="2452" y="189"/>
                    <a:pt x="2481" y="189"/>
                  </a:cubicBezTo>
                  <a:cubicBezTo>
                    <a:pt x="3120" y="189"/>
                    <a:pt x="3120" y="189"/>
                    <a:pt x="3120" y="189"/>
                  </a:cubicBezTo>
                  <a:cubicBezTo>
                    <a:pt x="3156" y="189"/>
                    <a:pt x="3185" y="146"/>
                    <a:pt x="3185" y="94"/>
                  </a:cubicBezTo>
                  <a:cubicBezTo>
                    <a:pt x="3185" y="42"/>
                    <a:pt x="3156" y="0"/>
                    <a:pt x="3120" y="0"/>
                  </a:cubicBezTo>
                  <a:cubicBezTo>
                    <a:pt x="1434" y="0"/>
                    <a:pt x="1434" y="0"/>
                    <a:pt x="1434" y="0"/>
                  </a:cubicBezTo>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25" name="Freeform 1545">
              <a:extLst>
                <a:ext uri="{FF2B5EF4-FFF2-40B4-BE49-F238E27FC236}">
                  <a16:creationId xmlns:a16="http://schemas.microsoft.com/office/drawing/2014/main" id="{5A7AE50D-65EF-4470-BD39-AD599720E5CF}"/>
                </a:ext>
              </a:extLst>
            </p:cNvPr>
            <p:cNvSpPr>
              <a:spLocks/>
            </p:cNvSpPr>
            <p:nvPr userDrawn="1"/>
          </p:nvSpPr>
          <p:spPr bwMode="auto">
            <a:xfrm>
              <a:off x="3638551" y="4946650"/>
              <a:ext cx="1562100" cy="460375"/>
            </a:xfrm>
            <a:custGeom>
              <a:avLst/>
              <a:gdLst>
                <a:gd name="T0" fmla="*/ 680 w 789"/>
                <a:gd name="T1" fmla="*/ 233 h 233"/>
                <a:gd name="T2" fmla="*/ 108 w 789"/>
                <a:gd name="T3" fmla="*/ 233 h 233"/>
                <a:gd name="T4" fmla="*/ 0 w 789"/>
                <a:gd name="T5" fmla="*/ 116 h 233"/>
                <a:gd name="T6" fmla="*/ 108 w 789"/>
                <a:gd name="T7" fmla="*/ 0 h 233"/>
                <a:gd name="T8" fmla="*/ 680 w 789"/>
                <a:gd name="T9" fmla="*/ 0 h 233"/>
                <a:gd name="T10" fmla="*/ 789 w 789"/>
                <a:gd name="T11" fmla="*/ 116 h 233"/>
                <a:gd name="T12" fmla="*/ 680 w 789"/>
                <a:gd name="T13" fmla="*/ 233 h 233"/>
              </a:gdLst>
              <a:ahLst/>
              <a:cxnLst>
                <a:cxn ang="0">
                  <a:pos x="T0" y="T1"/>
                </a:cxn>
                <a:cxn ang="0">
                  <a:pos x="T2" y="T3"/>
                </a:cxn>
                <a:cxn ang="0">
                  <a:pos x="T4" y="T5"/>
                </a:cxn>
                <a:cxn ang="0">
                  <a:pos x="T6" y="T7"/>
                </a:cxn>
                <a:cxn ang="0">
                  <a:pos x="T8" y="T9"/>
                </a:cxn>
                <a:cxn ang="0">
                  <a:pos x="T10" y="T11"/>
                </a:cxn>
                <a:cxn ang="0">
                  <a:pos x="T12" y="T13"/>
                </a:cxn>
              </a:cxnLst>
              <a:rect l="0" t="0" r="r" b="b"/>
              <a:pathLst>
                <a:path w="789" h="233">
                  <a:moveTo>
                    <a:pt x="680" y="233"/>
                  </a:moveTo>
                  <a:cubicBezTo>
                    <a:pt x="108" y="233"/>
                    <a:pt x="108" y="233"/>
                    <a:pt x="108" y="233"/>
                  </a:cubicBezTo>
                  <a:cubicBezTo>
                    <a:pt x="48" y="233"/>
                    <a:pt x="0" y="181"/>
                    <a:pt x="0" y="116"/>
                  </a:cubicBezTo>
                  <a:cubicBezTo>
                    <a:pt x="0" y="52"/>
                    <a:pt x="48" y="0"/>
                    <a:pt x="108" y="0"/>
                  </a:cubicBezTo>
                  <a:cubicBezTo>
                    <a:pt x="680" y="0"/>
                    <a:pt x="680" y="0"/>
                    <a:pt x="680" y="0"/>
                  </a:cubicBezTo>
                  <a:cubicBezTo>
                    <a:pt x="740" y="0"/>
                    <a:pt x="789" y="52"/>
                    <a:pt x="789" y="116"/>
                  </a:cubicBezTo>
                  <a:cubicBezTo>
                    <a:pt x="789" y="181"/>
                    <a:pt x="740" y="233"/>
                    <a:pt x="680" y="233"/>
                  </a:cubicBez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26" name="Oval 1546">
              <a:extLst>
                <a:ext uri="{FF2B5EF4-FFF2-40B4-BE49-F238E27FC236}">
                  <a16:creationId xmlns:a16="http://schemas.microsoft.com/office/drawing/2014/main" id="{45987383-9D37-498F-B466-654E99F9D2ED}"/>
                </a:ext>
              </a:extLst>
            </p:cNvPr>
            <p:cNvSpPr>
              <a:spLocks noChangeArrowheads="1"/>
            </p:cNvSpPr>
            <p:nvPr userDrawn="1"/>
          </p:nvSpPr>
          <p:spPr bwMode="auto">
            <a:xfrm>
              <a:off x="4606926" y="4511675"/>
              <a:ext cx="44450" cy="49213"/>
            </a:xfrm>
            <a:prstGeom prst="ellipse">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27" name="Oval 1547">
              <a:extLst>
                <a:ext uri="{FF2B5EF4-FFF2-40B4-BE49-F238E27FC236}">
                  <a16:creationId xmlns:a16="http://schemas.microsoft.com/office/drawing/2014/main" id="{2BB51466-A3ED-4F86-8DD7-F97E9C8BD0DB}"/>
                </a:ext>
              </a:extLst>
            </p:cNvPr>
            <p:cNvSpPr>
              <a:spLocks noChangeArrowheads="1"/>
            </p:cNvSpPr>
            <p:nvPr userDrawn="1"/>
          </p:nvSpPr>
          <p:spPr bwMode="auto">
            <a:xfrm>
              <a:off x="11576051" y="2941638"/>
              <a:ext cx="80963" cy="87313"/>
            </a:xfrm>
            <a:prstGeom prst="ellipse">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28" name="Oval 1548">
              <a:extLst>
                <a:ext uri="{FF2B5EF4-FFF2-40B4-BE49-F238E27FC236}">
                  <a16:creationId xmlns:a16="http://schemas.microsoft.com/office/drawing/2014/main" id="{64011B7D-DD5A-478D-97A1-DF9CE8DB4A1F}"/>
                </a:ext>
              </a:extLst>
            </p:cNvPr>
            <p:cNvSpPr>
              <a:spLocks noChangeArrowheads="1"/>
            </p:cNvSpPr>
            <p:nvPr userDrawn="1"/>
          </p:nvSpPr>
          <p:spPr bwMode="auto">
            <a:xfrm>
              <a:off x="7227888" y="2667000"/>
              <a:ext cx="46038" cy="49213"/>
            </a:xfrm>
            <a:prstGeom prst="ellipse">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29" name="Oval 1549">
              <a:extLst>
                <a:ext uri="{FF2B5EF4-FFF2-40B4-BE49-F238E27FC236}">
                  <a16:creationId xmlns:a16="http://schemas.microsoft.com/office/drawing/2014/main" id="{7F3CFC8D-8345-47F2-AD51-E20D6A7216B8}"/>
                </a:ext>
              </a:extLst>
            </p:cNvPr>
            <p:cNvSpPr>
              <a:spLocks noChangeArrowheads="1"/>
            </p:cNvSpPr>
            <p:nvPr userDrawn="1"/>
          </p:nvSpPr>
          <p:spPr bwMode="auto">
            <a:xfrm>
              <a:off x="5738813" y="2860675"/>
              <a:ext cx="61913" cy="65088"/>
            </a:xfrm>
            <a:prstGeom prst="ellipse">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30" name="Freeform 1550">
              <a:extLst>
                <a:ext uri="{FF2B5EF4-FFF2-40B4-BE49-F238E27FC236}">
                  <a16:creationId xmlns:a16="http://schemas.microsoft.com/office/drawing/2014/main" id="{E23BFEF1-5D0B-43CD-95BA-DA02F10D3224}"/>
                </a:ext>
              </a:extLst>
            </p:cNvPr>
            <p:cNvSpPr>
              <a:spLocks/>
            </p:cNvSpPr>
            <p:nvPr userDrawn="1"/>
          </p:nvSpPr>
          <p:spPr bwMode="auto">
            <a:xfrm>
              <a:off x="7127876" y="2247900"/>
              <a:ext cx="117475" cy="127000"/>
            </a:xfrm>
            <a:custGeom>
              <a:avLst/>
              <a:gdLst>
                <a:gd name="T0" fmla="*/ 60 w 60"/>
                <a:gd name="T1" fmla="*/ 32 h 64"/>
                <a:gd name="T2" fmla="*/ 30 w 60"/>
                <a:gd name="T3" fmla="*/ 64 h 64"/>
                <a:gd name="T4" fmla="*/ 0 w 60"/>
                <a:gd name="T5" fmla="*/ 32 h 64"/>
                <a:gd name="T6" fmla="*/ 30 w 60"/>
                <a:gd name="T7" fmla="*/ 0 h 64"/>
                <a:gd name="T8" fmla="*/ 60 w 60"/>
                <a:gd name="T9" fmla="*/ 32 h 64"/>
              </a:gdLst>
              <a:ahLst/>
              <a:cxnLst>
                <a:cxn ang="0">
                  <a:pos x="T0" y="T1"/>
                </a:cxn>
                <a:cxn ang="0">
                  <a:pos x="T2" y="T3"/>
                </a:cxn>
                <a:cxn ang="0">
                  <a:pos x="T4" y="T5"/>
                </a:cxn>
                <a:cxn ang="0">
                  <a:pos x="T6" y="T7"/>
                </a:cxn>
                <a:cxn ang="0">
                  <a:pos x="T8" y="T9"/>
                </a:cxn>
              </a:cxnLst>
              <a:rect l="0" t="0" r="r" b="b"/>
              <a:pathLst>
                <a:path w="60" h="64">
                  <a:moveTo>
                    <a:pt x="60" y="32"/>
                  </a:moveTo>
                  <a:cubicBezTo>
                    <a:pt x="39" y="37"/>
                    <a:pt x="35" y="42"/>
                    <a:pt x="30" y="64"/>
                  </a:cubicBezTo>
                  <a:cubicBezTo>
                    <a:pt x="24" y="42"/>
                    <a:pt x="20" y="37"/>
                    <a:pt x="0" y="32"/>
                  </a:cubicBezTo>
                  <a:cubicBezTo>
                    <a:pt x="20" y="26"/>
                    <a:pt x="24" y="21"/>
                    <a:pt x="30" y="0"/>
                  </a:cubicBezTo>
                  <a:cubicBezTo>
                    <a:pt x="35" y="21"/>
                    <a:pt x="39" y="26"/>
                    <a:pt x="60" y="32"/>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31" name="Freeform 1551">
              <a:extLst>
                <a:ext uri="{FF2B5EF4-FFF2-40B4-BE49-F238E27FC236}">
                  <a16:creationId xmlns:a16="http://schemas.microsoft.com/office/drawing/2014/main" id="{B0E07B0D-819B-4D63-9076-F942BAE1AFA2}"/>
                </a:ext>
              </a:extLst>
            </p:cNvPr>
            <p:cNvSpPr>
              <a:spLocks/>
            </p:cNvSpPr>
            <p:nvPr userDrawn="1"/>
          </p:nvSpPr>
          <p:spPr bwMode="auto">
            <a:xfrm>
              <a:off x="5192713" y="3324225"/>
              <a:ext cx="111125" cy="119063"/>
            </a:xfrm>
            <a:custGeom>
              <a:avLst/>
              <a:gdLst>
                <a:gd name="T0" fmla="*/ 56 w 56"/>
                <a:gd name="T1" fmla="*/ 30 h 60"/>
                <a:gd name="T2" fmla="*/ 28 w 56"/>
                <a:gd name="T3" fmla="*/ 60 h 60"/>
                <a:gd name="T4" fmla="*/ 0 w 56"/>
                <a:gd name="T5" fmla="*/ 30 h 60"/>
                <a:gd name="T6" fmla="*/ 28 w 56"/>
                <a:gd name="T7" fmla="*/ 0 h 60"/>
                <a:gd name="T8" fmla="*/ 56 w 56"/>
                <a:gd name="T9" fmla="*/ 30 h 60"/>
              </a:gdLst>
              <a:ahLst/>
              <a:cxnLst>
                <a:cxn ang="0">
                  <a:pos x="T0" y="T1"/>
                </a:cxn>
                <a:cxn ang="0">
                  <a:pos x="T2" y="T3"/>
                </a:cxn>
                <a:cxn ang="0">
                  <a:pos x="T4" y="T5"/>
                </a:cxn>
                <a:cxn ang="0">
                  <a:pos x="T6" y="T7"/>
                </a:cxn>
                <a:cxn ang="0">
                  <a:pos x="T8" y="T9"/>
                </a:cxn>
              </a:cxnLst>
              <a:rect l="0" t="0" r="r" b="b"/>
              <a:pathLst>
                <a:path w="56" h="60">
                  <a:moveTo>
                    <a:pt x="56" y="30"/>
                  </a:moveTo>
                  <a:cubicBezTo>
                    <a:pt x="37" y="36"/>
                    <a:pt x="33" y="40"/>
                    <a:pt x="28" y="60"/>
                  </a:cubicBezTo>
                  <a:cubicBezTo>
                    <a:pt x="23" y="40"/>
                    <a:pt x="19" y="36"/>
                    <a:pt x="0" y="30"/>
                  </a:cubicBezTo>
                  <a:cubicBezTo>
                    <a:pt x="19" y="25"/>
                    <a:pt x="23" y="21"/>
                    <a:pt x="28" y="0"/>
                  </a:cubicBezTo>
                  <a:cubicBezTo>
                    <a:pt x="33" y="21"/>
                    <a:pt x="37" y="25"/>
                    <a:pt x="56" y="3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32" name="Freeform 1552">
              <a:extLst>
                <a:ext uri="{FF2B5EF4-FFF2-40B4-BE49-F238E27FC236}">
                  <a16:creationId xmlns:a16="http://schemas.microsoft.com/office/drawing/2014/main" id="{49DBA403-C9F5-4506-A969-260692CF7E8C}"/>
                </a:ext>
              </a:extLst>
            </p:cNvPr>
            <p:cNvSpPr>
              <a:spLocks/>
            </p:cNvSpPr>
            <p:nvPr userDrawn="1"/>
          </p:nvSpPr>
          <p:spPr bwMode="auto">
            <a:xfrm>
              <a:off x="10860088" y="2263775"/>
              <a:ext cx="111125" cy="119063"/>
            </a:xfrm>
            <a:custGeom>
              <a:avLst/>
              <a:gdLst>
                <a:gd name="T0" fmla="*/ 56 w 56"/>
                <a:gd name="T1" fmla="*/ 30 h 60"/>
                <a:gd name="T2" fmla="*/ 28 w 56"/>
                <a:gd name="T3" fmla="*/ 60 h 60"/>
                <a:gd name="T4" fmla="*/ 0 w 56"/>
                <a:gd name="T5" fmla="*/ 30 h 60"/>
                <a:gd name="T6" fmla="*/ 28 w 56"/>
                <a:gd name="T7" fmla="*/ 0 h 60"/>
                <a:gd name="T8" fmla="*/ 56 w 56"/>
                <a:gd name="T9" fmla="*/ 30 h 60"/>
              </a:gdLst>
              <a:ahLst/>
              <a:cxnLst>
                <a:cxn ang="0">
                  <a:pos x="T0" y="T1"/>
                </a:cxn>
                <a:cxn ang="0">
                  <a:pos x="T2" y="T3"/>
                </a:cxn>
                <a:cxn ang="0">
                  <a:pos x="T4" y="T5"/>
                </a:cxn>
                <a:cxn ang="0">
                  <a:pos x="T6" y="T7"/>
                </a:cxn>
                <a:cxn ang="0">
                  <a:pos x="T8" y="T9"/>
                </a:cxn>
              </a:cxnLst>
              <a:rect l="0" t="0" r="r" b="b"/>
              <a:pathLst>
                <a:path w="56" h="60">
                  <a:moveTo>
                    <a:pt x="56" y="30"/>
                  </a:moveTo>
                  <a:cubicBezTo>
                    <a:pt x="37" y="35"/>
                    <a:pt x="33" y="39"/>
                    <a:pt x="28" y="60"/>
                  </a:cubicBezTo>
                  <a:cubicBezTo>
                    <a:pt x="23" y="39"/>
                    <a:pt x="19" y="35"/>
                    <a:pt x="0" y="30"/>
                  </a:cubicBezTo>
                  <a:cubicBezTo>
                    <a:pt x="19" y="24"/>
                    <a:pt x="23" y="20"/>
                    <a:pt x="28" y="0"/>
                  </a:cubicBezTo>
                  <a:cubicBezTo>
                    <a:pt x="33" y="20"/>
                    <a:pt x="37" y="24"/>
                    <a:pt x="56" y="3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33" name="Freeform 1553">
              <a:extLst>
                <a:ext uri="{FF2B5EF4-FFF2-40B4-BE49-F238E27FC236}">
                  <a16:creationId xmlns:a16="http://schemas.microsoft.com/office/drawing/2014/main" id="{CE1711BF-A018-4F3B-AA7A-8FC43B5735D7}"/>
                </a:ext>
              </a:extLst>
            </p:cNvPr>
            <p:cNvSpPr>
              <a:spLocks/>
            </p:cNvSpPr>
            <p:nvPr userDrawn="1"/>
          </p:nvSpPr>
          <p:spPr bwMode="auto">
            <a:xfrm>
              <a:off x="8458201" y="3019425"/>
              <a:ext cx="184150" cy="195263"/>
            </a:xfrm>
            <a:custGeom>
              <a:avLst/>
              <a:gdLst>
                <a:gd name="T0" fmla="*/ 93 w 93"/>
                <a:gd name="T1" fmla="*/ 49 h 99"/>
                <a:gd name="T2" fmla="*/ 47 w 93"/>
                <a:gd name="T3" fmla="*/ 99 h 99"/>
                <a:gd name="T4" fmla="*/ 0 w 93"/>
                <a:gd name="T5" fmla="*/ 49 h 99"/>
                <a:gd name="T6" fmla="*/ 47 w 93"/>
                <a:gd name="T7" fmla="*/ 0 h 99"/>
                <a:gd name="T8" fmla="*/ 93 w 93"/>
                <a:gd name="T9" fmla="*/ 49 h 99"/>
              </a:gdLst>
              <a:ahLst/>
              <a:cxnLst>
                <a:cxn ang="0">
                  <a:pos x="T0" y="T1"/>
                </a:cxn>
                <a:cxn ang="0">
                  <a:pos x="T2" y="T3"/>
                </a:cxn>
                <a:cxn ang="0">
                  <a:pos x="T4" y="T5"/>
                </a:cxn>
                <a:cxn ang="0">
                  <a:pos x="T6" y="T7"/>
                </a:cxn>
                <a:cxn ang="0">
                  <a:pos x="T8" y="T9"/>
                </a:cxn>
              </a:cxnLst>
              <a:rect l="0" t="0" r="r" b="b"/>
              <a:pathLst>
                <a:path w="93" h="99">
                  <a:moveTo>
                    <a:pt x="93" y="49"/>
                  </a:moveTo>
                  <a:cubicBezTo>
                    <a:pt x="61" y="58"/>
                    <a:pt x="55" y="65"/>
                    <a:pt x="47" y="99"/>
                  </a:cubicBezTo>
                  <a:cubicBezTo>
                    <a:pt x="38" y="65"/>
                    <a:pt x="32" y="58"/>
                    <a:pt x="0" y="49"/>
                  </a:cubicBezTo>
                  <a:cubicBezTo>
                    <a:pt x="32" y="41"/>
                    <a:pt x="38" y="33"/>
                    <a:pt x="47" y="0"/>
                  </a:cubicBezTo>
                  <a:cubicBezTo>
                    <a:pt x="55" y="33"/>
                    <a:pt x="61" y="41"/>
                    <a:pt x="93" y="49"/>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34" name="Oval 1554">
              <a:extLst>
                <a:ext uri="{FF2B5EF4-FFF2-40B4-BE49-F238E27FC236}">
                  <a16:creationId xmlns:a16="http://schemas.microsoft.com/office/drawing/2014/main" id="{24520BB0-7E0B-4591-BDF7-B01F16904816}"/>
                </a:ext>
              </a:extLst>
            </p:cNvPr>
            <p:cNvSpPr>
              <a:spLocks noChangeArrowheads="1"/>
            </p:cNvSpPr>
            <p:nvPr userDrawn="1"/>
          </p:nvSpPr>
          <p:spPr bwMode="auto">
            <a:xfrm>
              <a:off x="4470401" y="5626100"/>
              <a:ext cx="80963" cy="87313"/>
            </a:xfrm>
            <a:prstGeom prst="ellipse">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35" name="Oval 1555">
              <a:extLst>
                <a:ext uri="{FF2B5EF4-FFF2-40B4-BE49-F238E27FC236}">
                  <a16:creationId xmlns:a16="http://schemas.microsoft.com/office/drawing/2014/main" id="{D9FA68CC-6F90-4EED-B8BB-BDFF201052CB}"/>
                </a:ext>
              </a:extLst>
            </p:cNvPr>
            <p:cNvSpPr>
              <a:spLocks noChangeArrowheads="1"/>
            </p:cNvSpPr>
            <p:nvPr userDrawn="1"/>
          </p:nvSpPr>
          <p:spPr bwMode="auto">
            <a:xfrm>
              <a:off x="8458201" y="2508250"/>
              <a:ext cx="88900" cy="95250"/>
            </a:xfrm>
            <a:prstGeom prst="ellipse">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36" name="Oval 1556">
              <a:extLst>
                <a:ext uri="{FF2B5EF4-FFF2-40B4-BE49-F238E27FC236}">
                  <a16:creationId xmlns:a16="http://schemas.microsoft.com/office/drawing/2014/main" id="{7037F7AD-ADFA-4B6C-B25C-2280A9F8C32A}"/>
                </a:ext>
              </a:extLst>
            </p:cNvPr>
            <p:cNvSpPr>
              <a:spLocks noChangeArrowheads="1"/>
            </p:cNvSpPr>
            <p:nvPr userDrawn="1"/>
          </p:nvSpPr>
          <p:spPr bwMode="auto">
            <a:xfrm>
              <a:off x="4216401" y="3829050"/>
              <a:ext cx="77788" cy="80963"/>
            </a:xfrm>
            <a:prstGeom prst="ellipse">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37" name="Freeform 1557">
              <a:extLst>
                <a:ext uri="{FF2B5EF4-FFF2-40B4-BE49-F238E27FC236}">
                  <a16:creationId xmlns:a16="http://schemas.microsoft.com/office/drawing/2014/main" id="{F9A77E21-2DCA-4C04-8BD3-762C10E7A081}"/>
                </a:ext>
              </a:extLst>
            </p:cNvPr>
            <p:cNvSpPr>
              <a:spLocks/>
            </p:cNvSpPr>
            <p:nvPr userDrawn="1"/>
          </p:nvSpPr>
          <p:spPr bwMode="auto">
            <a:xfrm>
              <a:off x="6130926" y="2817813"/>
              <a:ext cx="119063" cy="127000"/>
            </a:xfrm>
            <a:custGeom>
              <a:avLst/>
              <a:gdLst>
                <a:gd name="T0" fmla="*/ 60 w 60"/>
                <a:gd name="T1" fmla="*/ 32 h 64"/>
                <a:gd name="T2" fmla="*/ 30 w 60"/>
                <a:gd name="T3" fmla="*/ 64 h 64"/>
                <a:gd name="T4" fmla="*/ 0 w 60"/>
                <a:gd name="T5" fmla="*/ 32 h 64"/>
                <a:gd name="T6" fmla="*/ 30 w 60"/>
                <a:gd name="T7" fmla="*/ 0 h 64"/>
                <a:gd name="T8" fmla="*/ 60 w 60"/>
                <a:gd name="T9" fmla="*/ 32 h 64"/>
              </a:gdLst>
              <a:ahLst/>
              <a:cxnLst>
                <a:cxn ang="0">
                  <a:pos x="T0" y="T1"/>
                </a:cxn>
                <a:cxn ang="0">
                  <a:pos x="T2" y="T3"/>
                </a:cxn>
                <a:cxn ang="0">
                  <a:pos x="T4" y="T5"/>
                </a:cxn>
                <a:cxn ang="0">
                  <a:pos x="T6" y="T7"/>
                </a:cxn>
                <a:cxn ang="0">
                  <a:pos x="T8" y="T9"/>
                </a:cxn>
              </a:cxnLst>
              <a:rect l="0" t="0" r="r" b="b"/>
              <a:pathLst>
                <a:path w="60" h="64">
                  <a:moveTo>
                    <a:pt x="60" y="32"/>
                  </a:moveTo>
                  <a:cubicBezTo>
                    <a:pt x="40" y="38"/>
                    <a:pt x="35" y="42"/>
                    <a:pt x="30" y="64"/>
                  </a:cubicBezTo>
                  <a:cubicBezTo>
                    <a:pt x="25" y="42"/>
                    <a:pt x="20" y="38"/>
                    <a:pt x="0" y="32"/>
                  </a:cubicBezTo>
                  <a:cubicBezTo>
                    <a:pt x="20" y="26"/>
                    <a:pt x="25" y="22"/>
                    <a:pt x="30" y="0"/>
                  </a:cubicBezTo>
                  <a:cubicBezTo>
                    <a:pt x="35" y="22"/>
                    <a:pt x="40" y="26"/>
                    <a:pt x="60" y="32"/>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38" name="Freeform 1558">
              <a:extLst>
                <a:ext uri="{FF2B5EF4-FFF2-40B4-BE49-F238E27FC236}">
                  <a16:creationId xmlns:a16="http://schemas.microsoft.com/office/drawing/2014/main" id="{5AD6B579-7F99-4BC2-BCEF-042DD12E523F}"/>
                </a:ext>
              </a:extLst>
            </p:cNvPr>
            <p:cNvSpPr>
              <a:spLocks/>
            </p:cNvSpPr>
            <p:nvPr userDrawn="1"/>
          </p:nvSpPr>
          <p:spPr bwMode="auto">
            <a:xfrm>
              <a:off x="11168063" y="2892425"/>
              <a:ext cx="120650" cy="128588"/>
            </a:xfrm>
            <a:custGeom>
              <a:avLst/>
              <a:gdLst>
                <a:gd name="T0" fmla="*/ 61 w 61"/>
                <a:gd name="T1" fmla="*/ 33 h 65"/>
                <a:gd name="T2" fmla="*/ 31 w 61"/>
                <a:gd name="T3" fmla="*/ 65 h 65"/>
                <a:gd name="T4" fmla="*/ 0 w 61"/>
                <a:gd name="T5" fmla="*/ 33 h 65"/>
                <a:gd name="T6" fmla="*/ 31 w 61"/>
                <a:gd name="T7" fmla="*/ 0 h 65"/>
                <a:gd name="T8" fmla="*/ 61 w 61"/>
                <a:gd name="T9" fmla="*/ 33 h 65"/>
              </a:gdLst>
              <a:ahLst/>
              <a:cxnLst>
                <a:cxn ang="0">
                  <a:pos x="T0" y="T1"/>
                </a:cxn>
                <a:cxn ang="0">
                  <a:pos x="T2" y="T3"/>
                </a:cxn>
                <a:cxn ang="0">
                  <a:pos x="T4" y="T5"/>
                </a:cxn>
                <a:cxn ang="0">
                  <a:pos x="T6" y="T7"/>
                </a:cxn>
                <a:cxn ang="0">
                  <a:pos x="T8" y="T9"/>
                </a:cxn>
              </a:cxnLst>
              <a:rect l="0" t="0" r="r" b="b"/>
              <a:pathLst>
                <a:path w="61" h="65">
                  <a:moveTo>
                    <a:pt x="61" y="33"/>
                  </a:moveTo>
                  <a:cubicBezTo>
                    <a:pt x="40" y="39"/>
                    <a:pt x="36" y="43"/>
                    <a:pt x="31" y="65"/>
                  </a:cubicBezTo>
                  <a:cubicBezTo>
                    <a:pt x="25" y="43"/>
                    <a:pt x="21" y="39"/>
                    <a:pt x="0" y="33"/>
                  </a:cubicBezTo>
                  <a:cubicBezTo>
                    <a:pt x="21" y="27"/>
                    <a:pt x="25" y="22"/>
                    <a:pt x="31" y="0"/>
                  </a:cubicBezTo>
                  <a:cubicBezTo>
                    <a:pt x="36" y="22"/>
                    <a:pt x="40" y="27"/>
                    <a:pt x="61" y="33"/>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39" name="Freeform 1559">
              <a:extLst>
                <a:ext uri="{FF2B5EF4-FFF2-40B4-BE49-F238E27FC236}">
                  <a16:creationId xmlns:a16="http://schemas.microsoft.com/office/drawing/2014/main" id="{B12E17B7-07C1-4D10-B92D-09DB0B48EE97}"/>
                </a:ext>
              </a:extLst>
            </p:cNvPr>
            <p:cNvSpPr>
              <a:spLocks/>
            </p:cNvSpPr>
            <p:nvPr userDrawn="1"/>
          </p:nvSpPr>
          <p:spPr bwMode="auto">
            <a:xfrm>
              <a:off x="6559551" y="3073400"/>
              <a:ext cx="2171700" cy="1068388"/>
            </a:xfrm>
            <a:custGeom>
              <a:avLst/>
              <a:gdLst>
                <a:gd name="T0" fmla="*/ 986 w 1097"/>
                <a:gd name="T1" fmla="*/ 293 h 540"/>
                <a:gd name="T2" fmla="*/ 982 w 1097"/>
                <a:gd name="T3" fmla="*/ 293 h 540"/>
                <a:gd name="T4" fmla="*/ 829 w 1097"/>
                <a:gd name="T5" fmla="*/ 170 h 540"/>
                <a:gd name="T6" fmla="*/ 744 w 1097"/>
                <a:gd name="T7" fmla="*/ 197 h 540"/>
                <a:gd name="T8" fmla="*/ 529 w 1097"/>
                <a:gd name="T9" fmla="*/ 0 h 540"/>
                <a:gd name="T10" fmla="*/ 322 w 1097"/>
                <a:gd name="T11" fmla="*/ 164 h 540"/>
                <a:gd name="T12" fmla="*/ 283 w 1097"/>
                <a:gd name="T13" fmla="*/ 158 h 540"/>
                <a:gd name="T14" fmla="*/ 136 w 1097"/>
                <a:gd name="T15" fmla="*/ 293 h 540"/>
                <a:gd name="T16" fmla="*/ 111 w 1097"/>
                <a:gd name="T17" fmla="*/ 293 h 540"/>
                <a:gd name="T18" fmla="*/ 0 w 1097"/>
                <a:gd name="T19" fmla="*/ 412 h 540"/>
                <a:gd name="T20" fmla="*/ 0 w 1097"/>
                <a:gd name="T21" fmla="*/ 420 h 540"/>
                <a:gd name="T22" fmla="*/ 111 w 1097"/>
                <a:gd name="T23" fmla="*/ 540 h 540"/>
                <a:gd name="T24" fmla="*/ 986 w 1097"/>
                <a:gd name="T25" fmla="*/ 540 h 540"/>
                <a:gd name="T26" fmla="*/ 1097 w 1097"/>
                <a:gd name="T27" fmla="*/ 420 h 540"/>
                <a:gd name="T28" fmla="*/ 1097 w 1097"/>
                <a:gd name="T29" fmla="*/ 412 h 540"/>
                <a:gd name="T30" fmla="*/ 986 w 1097"/>
                <a:gd name="T31" fmla="*/ 293 h 5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97" h="540">
                  <a:moveTo>
                    <a:pt x="986" y="293"/>
                  </a:moveTo>
                  <a:cubicBezTo>
                    <a:pt x="982" y="293"/>
                    <a:pt x="982" y="293"/>
                    <a:pt x="982" y="293"/>
                  </a:cubicBezTo>
                  <a:cubicBezTo>
                    <a:pt x="962" y="222"/>
                    <a:pt x="902" y="170"/>
                    <a:pt x="829" y="170"/>
                  </a:cubicBezTo>
                  <a:cubicBezTo>
                    <a:pt x="798" y="170"/>
                    <a:pt x="768" y="180"/>
                    <a:pt x="744" y="197"/>
                  </a:cubicBezTo>
                  <a:cubicBezTo>
                    <a:pt x="728" y="86"/>
                    <a:pt x="638" y="0"/>
                    <a:pt x="529" y="0"/>
                  </a:cubicBezTo>
                  <a:cubicBezTo>
                    <a:pt x="432" y="0"/>
                    <a:pt x="349" y="69"/>
                    <a:pt x="322" y="164"/>
                  </a:cubicBezTo>
                  <a:cubicBezTo>
                    <a:pt x="309" y="160"/>
                    <a:pt x="296" y="158"/>
                    <a:pt x="283" y="158"/>
                  </a:cubicBezTo>
                  <a:cubicBezTo>
                    <a:pt x="209" y="158"/>
                    <a:pt x="147" y="216"/>
                    <a:pt x="136" y="293"/>
                  </a:cubicBezTo>
                  <a:cubicBezTo>
                    <a:pt x="111" y="293"/>
                    <a:pt x="111" y="293"/>
                    <a:pt x="111" y="293"/>
                  </a:cubicBezTo>
                  <a:cubicBezTo>
                    <a:pt x="50" y="293"/>
                    <a:pt x="0" y="346"/>
                    <a:pt x="0" y="412"/>
                  </a:cubicBezTo>
                  <a:cubicBezTo>
                    <a:pt x="0" y="420"/>
                    <a:pt x="0" y="420"/>
                    <a:pt x="0" y="420"/>
                  </a:cubicBezTo>
                  <a:cubicBezTo>
                    <a:pt x="0" y="486"/>
                    <a:pt x="50" y="540"/>
                    <a:pt x="111" y="540"/>
                  </a:cubicBezTo>
                  <a:cubicBezTo>
                    <a:pt x="986" y="540"/>
                    <a:pt x="986" y="540"/>
                    <a:pt x="986" y="540"/>
                  </a:cubicBezTo>
                  <a:cubicBezTo>
                    <a:pt x="1047" y="540"/>
                    <a:pt x="1097" y="486"/>
                    <a:pt x="1097" y="420"/>
                  </a:cubicBezTo>
                  <a:cubicBezTo>
                    <a:pt x="1097" y="412"/>
                    <a:pt x="1097" y="412"/>
                    <a:pt x="1097" y="412"/>
                  </a:cubicBezTo>
                  <a:cubicBezTo>
                    <a:pt x="1097" y="346"/>
                    <a:pt x="1047" y="293"/>
                    <a:pt x="986" y="293"/>
                  </a:cubicBez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40" name="Freeform 1560">
              <a:extLst>
                <a:ext uri="{FF2B5EF4-FFF2-40B4-BE49-F238E27FC236}">
                  <a16:creationId xmlns:a16="http://schemas.microsoft.com/office/drawing/2014/main" id="{91AA2229-8CED-4123-8E64-0E1E24089A17}"/>
                </a:ext>
              </a:extLst>
            </p:cNvPr>
            <p:cNvSpPr>
              <a:spLocks/>
            </p:cNvSpPr>
            <p:nvPr userDrawn="1"/>
          </p:nvSpPr>
          <p:spPr bwMode="auto">
            <a:xfrm>
              <a:off x="6586538" y="3198813"/>
              <a:ext cx="1917700" cy="942975"/>
            </a:xfrm>
            <a:custGeom>
              <a:avLst/>
              <a:gdLst>
                <a:gd name="T0" fmla="*/ 870 w 968"/>
                <a:gd name="T1" fmla="*/ 258 h 476"/>
                <a:gd name="T2" fmla="*/ 866 w 968"/>
                <a:gd name="T3" fmla="*/ 258 h 476"/>
                <a:gd name="T4" fmla="*/ 731 w 968"/>
                <a:gd name="T5" fmla="*/ 150 h 476"/>
                <a:gd name="T6" fmla="*/ 656 w 968"/>
                <a:gd name="T7" fmla="*/ 174 h 476"/>
                <a:gd name="T8" fmla="*/ 467 w 968"/>
                <a:gd name="T9" fmla="*/ 0 h 476"/>
                <a:gd name="T10" fmla="*/ 284 w 968"/>
                <a:gd name="T11" fmla="*/ 144 h 476"/>
                <a:gd name="T12" fmla="*/ 250 w 968"/>
                <a:gd name="T13" fmla="*/ 139 h 476"/>
                <a:gd name="T14" fmla="*/ 120 w 968"/>
                <a:gd name="T15" fmla="*/ 258 h 476"/>
                <a:gd name="T16" fmla="*/ 99 w 968"/>
                <a:gd name="T17" fmla="*/ 258 h 476"/>
                <a:gd name="T18" fmla="*/ 0 w 968"/>
                <a:gd name="T19" fmla="*/ 363 h 476"/>
                <a:gd name="T20" fmla="*/ 0 w 968"/>
                <a:gd name="T21" fmla="*/ 371 h 476"/>
                <a:gd name="T22" fmla="*/ 99 w 968"/>
                <a:gd name="T23" fmla="*/ 476 h 476"/>
                <a:gd name="T24" fmla="*/ 870 w 968"/>
                <a:gd name="T25" fmla="*/ 476 h 476"/>
                <a:gd name="T26" fmla="*/ 968 w 968"/>
                <a:gd name="T27" fmla="*/ 371 h 476"/>
                <a:gd name="T28" fmla="*/ 968 w 968"/>
                <a:gd name="T29" fmla="*/ 363 h 476"/>
                <a:gd name="T30" fmla="*/ 870 w 968"/>
                <a:gd name="T31" fmla="*/ 258 h 4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68" h="476">
                  <a:moveTo>
                    <a:pt x="870" y="258"/>
                  </a:moveTo>
                  <a:cubicBezTo>
                    <a:pt x="866" y="258"/>
                    <a:pt x="866" y="258"/>
                    <a:pt x="866" y="258"/>
                  </a:cubicBezTo>
                  <a:cubicBezTo>
                    <a:pt x="849" y="196"/>
                    <a:pt x="795" y="150"/>
                    <a:pt x="731" y="150"/>
                  </a:cubicBezTo>
                  <a:cubicBezTo>
                    <a:pt x="704" y="150"/>
                    <a:pt x="678" y="159"/>
                    <a:pt x="656" y="174"/>
                  </a:cubicBezTo>
                  <a:cubicBezTo>
                    <a:pt x="642" y="75"/>
                    <a:pt x="563" y="0"/>
                    <a:pt x="467" y="0"/>
                  </a:cubicBezTo>
                  <a:cubicBezTo>
                    <a:pt x="381" y="0"/>
                    <a:pt x="308" y="61"/>
                    <a:pt x="284" y="144"/>
                  </a:cubicBezTo>
                  <a:cubicBezTo>
                    <a:pt x="273" y="141"/>
                    <a:pt x="262" y="139"/>
                    <a:pt x="250" y="139"/>
                  </a:cubicBezTo>
                  <a:cubicBezTo>
                    <a:pt x="184" y="139"/>
                    <a:pt x="130" y="191"/>
                    <a:pt x="120" y="258"/>
                  </a:cubicBezTo>
                  <a:cubicBezTo>
                    <a:pt x="99" y="258"/>
                    <a:pt x="99" y="258"/>
                    <a:pt x="99" y="258"/>
                  </a:cubicBezTo>
                  <a:cubicBezTo>
                    <a:pt x="45" y="258"/>
                    <a:pt x="0" y="305"/>
                    <a:pt x="0" y="363"/>
                  </a:cubicBezTo>
                  <a:cubicBezTo>
                    <a:pt x="0" y="371"/>
                    <a:pt x="0" y="371"/>
                    <a:pt x="0" y="371"/>
                  </a:cubicBezTo>
                  <a:cubicBezTo>
                    <a:pt x="0" y="428"/>
                    <a:pt x="45" y="476"/>
                    <a:pt x="99" y="476"/>
                  </a:cubicBezTo>
                  <a:cubicBezTo>
                    <a:pt x="870" y="476"/>
                    <a:pt x="870" y="476"/>
                    <a:pt x="870" y="476"/>
                  </a:cubicBezTo>
                  <a:cubicBezTo>
                    <a:pt x="924" y="476"/>
                    <a:pt x="968" y="428"/>
                    <a:pt x="968" y="371"/>
                  </a:cubicBezTo>
                  <a:cubicBezTo>
                    <a:pt x="968" y="363"/>
                    <a:pt x="968" y="363"/>
                    <a:pt x="968" y="363"/>
                  </a:cubicBezTo>
                  <a:cubicBezTo>
                    <a:pt x="968" y="305"/>
                    <a:pt x="924" y="258"/>
                    <a:pt x="870" y="2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41" name="Freeform 1561">
              <a:extLst>
                <a:ext uri="{FF2B5EF4-FFF2-40B4-BE49-F238E27FC236}">
                  <a16:creationId xmlns:a16="http://schemas.microsoft.com/office/drawing/2014/main" id="{12A3BE6A-7375-4EB4-85B7-FF1960ED43A1}"/>
                </a:ext>
              </a:extLst>
            </p:cNvPr>
            <p:cNvSpPr>
              <a:spLocks/>
            </p:cNvSpPr>
            <p:nvPr userDrawn="1"/>
          </p:nvSpPr>
          <p:spPr bwMode="auto">
            <a:xfrm>
              <a:off x="7392988" y="3230563"/>
              <a:ext cx="511175" cy="206375"/>
            </a:xfrm>
            <a:custGeom>
              <a:avLst/>
              <a:gdLst>
                <a:gd name="T0" fmla="*/ 258 w 258"/>
                <a:gd name="T1" fmla="*/ 93 h 104"/>
                <a:gd name="T2" fmla="*/ 191 w 258"/>
                <a:gd name="T3" fmla="*/ 26 h 104"/>
                <a:gd name="T4" fmla="*/ 98 w 258"/>
                <a:gd name="T5" fmla="*/ 0 h 104"/>
                <a:gd name="T6" fmla="*/ 0 w 258"/>
                <a:gd name="T7" fmla="*/ 28 h 104"/>
                <a:gd name="T8" fmla="*/ 11 w 258"/>
                <a:gd name="T9" fmla="*/ 46 h 104"/>
                <a:gd name="T10" fmla="*/ 98 w 258"/>
                <a:gd name="T11" fmla="*/ 20 h 104"/>
                <a:gd name="T12" fmla="*/ 180 w 258"/>
                <a:gd name="T13" fmla="*/ 43 h 104"/>
                <a:gd name="T14" fmla="*/ 241 w 258"/>
                <a:gd name="T15" fmla="*/ 104 h 104"/>
                <a:gd name="T16" fmla="*/ 258 w 258"/>
                <a:gd name="T17" fmla="*/ 9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8" h="104">
                  <a:moveTo>
                    <a:pt x="258" y="93"/>
                  </a:moveTo>
                  <a:cubicBezTo>
                    <a:pt x="241" y="65"/>
                    <a:pt x="218" y="42"/>
                    <a:pt x="191" y="26"/>
                  </a:cubicBezTo>
                  <a:cubicBezTo>
                    <a:pt x="163" y="9"/>
                    <a:pt x="132" y="0"/>
                    <a:pt x="98" y="0"/>
                  </a:cubicBezTo>
                  <a:cubicBezTo>
                    <a:pt x="62" y="0"/>
                    <a:pt x="29" y="10"/>
                    <a:pt x="0" y="28"/>
                  </a:cubicBezTo>
                  <a:cubicBezTo>
                    <a:pt x="11" y="46"/>
                    <a:pt x="11" y="46"/>
                    <a:pt x="11" y="46"/>
                  </a:cubicBezTo>
                  <a:cubicBezTo>
                    <a:pt x="37" y="29"/>
                    <a:pt x="66" y="20"/>
                    <a:pt x="98" y="20"/>
                  </a:cubicBezTo>
                  <a:cubicBezTo>
                    <a:pt x="128" y="20"/>
                    <a:pt x="156" y="28"/>
                    <a:pt x="180" y="43"/>
                  </a:cubicBezTo>
                  <a:cubicBezTo>
                    <a:pt x="205" y="57"/>
                    <a:pt x="226" y="78"/>
                    <a:pt x="241" y="104"/>
                  </a:cubicBezTo>
                  <a:cubicBezTo>
                    <a:pt x="258" y="93"/>
                    <a:pt x="258" y="93"/>
                    <a:pt x="258" y="9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42" name="Freeform 1562">
              <a:extLst>
                <a:ext uri="{FF2B5EF4-FFF2-40B4-BE49-F238E27FC236}">
                  <a16:creationId xmlns:a16="http://schemas.microsoft.com/office/drawing/2014/main" id="{27E54FC6-EF14-40B3-A213-4980E55CE958}"/>
                </a:ext>
              </a:extLst>
            </p:cNvPr>
            <p:cNvSpPr>
              <a:spLocks/>
            </p:cNvSpPr>
            <p:nvPr userDrawn="1"/>
          </p:nvSpPr>
          <p:spPr bwMode="auto">
            <a:xfrm>
              <a:off x="6538913" y="3052763"/>
              <a:ext cx="2214563" cy="1108075"/>
            </a:xfrm>
            <a:custGeom>
              <a:avLst/>
              <a:gdLst>
                <a:gd name="T0" fmla="*/ 996 w 1118"/>
                <a:gd name="T1" fmla="*/ 560 h 560"/>
                <a:gd name="T2" fmla="*/ 1118 w 1118"/>
                <a:gd name="T3" fmla="*/ 430 h 560"/>
                <a:gd name="T4" fmla="*/ 1082 w 1118"/>
                <a:gd name="T5" fmla="*/ 331 h 560"/>
                <a:gd name="T6" fmla="*/ 992 w 1118"/>
                <a:gd name="T7" fmla="*/ 292 h 560"/>
                <a:gd name="T8" fmla="*/ 1001 w 1118"/>
                <a:gd name="T9" fmla="*/ 300 h 560"/>
                <a:gd name="T10" fmla="*/ 839 w 1118"/>
                <a:gd name="T11" fmla="*/ 170 h 560"/>
                <a:gd name="T12" fmla="*/ 754 w 1118"/>
                <a:gd name="T13" fmla="*/ 207 h 560"/>
                <a:gd name="T14" fmla="*/ 688 w 1118"/>
                <a:gd name="T15" fmla="*/ 60 h 560"/>
                <a:gd name="T16" fmla="*/ 365 w 1118"/>
                <a:gd name="T17" fmla="*/ 87 h 560"/>
                <a:gd name="T18" fmla="*/ 322 w 1118"/>
                <a:gd name="T19" fmla="*/ 171 h 560"/>
                <a:gd name="T20" fmla="*/ 335 w 1118"/>
                <a:gd name="T21" fmla="*/ 164 h 560"/>
                <a:gd name="T22" fmla="*/ 189 w 1118"/>
                <a:gd name="T23" fmla="*/ 199 h 560"/>
                <a:gd name="T24" fmla="*/ 146 w 1118"/>
                <a:gd name="T25" fmla="*/ 303 h 560"/>
                <a:gd name="T26" fmla="*/ 121 w 1118"/>
                <a:gd name="T27" fmla="*/ 292 h 560"/>
                <a:gd name="T28" fmla="*/ 0 w 1118"/>
                <a:gd name="T29" fmla="*/ 422 h 560"/>
                <a:gd name="T30" fmla="*/ 35 w 1118"/>
                <a:gd name="T31" fmla="*/ 522 h 560"/>
                <a:gd name="T32" fmla="*/ 610 w 1118"/>
                <a:gd name="T33" fmla="*/ 560 h 560"/>
                <a:gd name="T34" fmla="*/ 121 w 1118"/>
                <a:gd name="T35" fmla="*/ 539 h 560"/>
                <a:gd name="T36" fmla="*/ 20 w 1118"/>
                <a:gd name="T37" fmla="*/ 430 h 560"/>
                <a:gd name="T38" fmla="*/ 50 w 1118"/>
                <a:gd name="T39" fmla="*/ 344 h 560"/>
                <a:gd name="T40" fmla="*/ 155 w 1118"/>
                <a:gd name="T41" fmla="*/ 313 h 560"/>
                <a:gd name="T42" fmla="*/ 203 w 1118"/>
                <a:gd name="T43" fmla="*/ 214 h 560"/>
                <a:gd name="T44" fmla="*/ 329 w 1118"/>
                <a:gd name="T45" fmla="*/ 183 h 560"/>
                <a:gd name="T46" fmla="*/ 341 w 1118"/>
                <a:gd name="T47" fmla="*/ 177 h 560"/>
                <a:gd name="T48" fmla="*/ 381 w 1118"/>
                <a:gd name="T49" fmla="*/ 99 h 560"/>
                <a:gd name="T50" fmla="*/ 674 w 1118"/>
                <a:gd name="T51" fmla="*/ 74 h 560"/>
                <a:gd name="T52" fmla="*/ 746 w 1118"/>
                <a:gd name="T53" fmla="*/ 225 h 560"/>
                <a:gd name="T54" fmla="*/ 839 w 1118"/>
                <a:gd name="T55" fmla="*/ 190 h 560"/>
                <a:gd name="T56" fmla="*/ 982 w 1118"/>
                <a:gd name="T57" fmla="*/ 305 h 560"/>
                <a:gd name="T58" fmla="*/ 996 w 1118"/>
                <a:gd name="T59" fmla="*/ 313 h 560"/>
                <a:gd name="T60" fmla="*/ 1097 w 1118"/>
                <a:gd name="T61" fmla="*/ 422 h 560"/>
                <a:gd name="T62" fmla="*/ 1067 w 1118"/>
                <a:gd name="T63" fmla="*/ 508 h 560"/>
                <a:gd name="T64" fmla="*/ 863 w 1118"/>
                <a:gd name="T65" fmla="*/ 539 h 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18" h="560">
                  <a:moveTo>
                    <a:pt x="863" y="560"/>
                  </a:moveTo>
                  <a:cubicBezTo>
                    <a:pt x="996" y="560"/>
                    <a:pt x="996" y="560"/>
                    <a:pt x="996" y="560"/>
                  </a:cubicBezTo>
                  <a:cubicBezTo>
                    <a:pt x="1030" y="560"/>
                    <a:pt x="1060" y="545"/>
                    <a:pt x="1082" y="522"/>
                  </a:cubicBezTo>
                  <a:cubicBezTo>
                    <a:pt x="1104" y="498"/>
                    <a:pt x="1118" y="466"/>
                    <a:pt x="1118" y="430"/>
                  </a:cubicBezTo>
                  <a:cubicBezTo>
                    <a:pt x="1118" y="422"/>
                    <a:pt x="1118" y="422"/>
                    <a:pt x="1118" y="422"/>
                  </a:cubicBezTo>
                  <a:cubicBezTo>
                    <a:pt x="1118" y="386"/>
                    <a:pt x="1104" y="354"/>
                    <a:pt x="1082" y="331"/>
                  </a:cubicBezTo>
                  <a:cubicBezTo>
                    <a:pt x="1060" y="307"/>
                    <a:pt x="1030" y="292"/>
                    <a:pt x="996" y="292"/>
                  </a:cubicBezTo>
                  <a:cubicBezTo>
                    <a:pt x="992" y="292"/>
                    <a:pt x="992" y="292"/>
                    <a:pt x="992" y="292"/>
                  </a:cubicBezTo>
                  <a:cubicBezTo>
                    <a:pt x="992" y="303"/>
                    <a:pt x="992" y="303"/>
                    <a:pt x="992" y="303"/>
                  </a:cubicBezTo>
                  <a:cubicBezTo>
                    <a:pt x="1001" y="300"/>
                    <a:pt x="1001" y="300"/>
                    <a:pt x="1001" y="300"/>
                  </a:cubicBezTo>
                  <a:cubicBezTo>
                    <a:pt x="991" y="263"/>
                    <a:pt x="970" y="230"/>
                    <a:pt x="942" y="207"/>
                  </a:cubicBezTo>
                  <a:cubicBezTo>
                    <a:pt x="913" y="184"/>
                    <a:pt x="878" y="170"/>
                    <a:pt x="839" y="170"/>
                  </a:cubicBezTo>
                  <a:cubicBezTo>
                    <a:pt x="806" y="170"/>
                    <a:pt x="774" y="181"/>
                    <a:pt x="748" y="199"/>
                  </a:cubicBezTo>
                  <a:cubicBezTo>
                    <a:pt x="754" y="207"/>
                    <a:pt x="754" y="207"/>
                    <a:pt x="754" y="207"/>
                  </a:cubicBezTo>
                  <a:cubicBezTo>
                    <a:pt x="764" y="206"/>
                    <a:pt x="764" y="206"/>
                    <a:pt x="764" y="206"/>
                  </a:cubicBezTo>
                  <a:cubicBezTo>
                    <a:pt x="755" y="148"/>
                    <a:pt x="728" y="96"/>
                    <a:pt x="688" y="60"/>
                  </a:cubicBezTo>
                  <a:cubicBezTo>
                    <a:pt x="648" y="23"/>
                    <a:pt x="596" y="0"/>
                    <a:pt x="539" y="0"/>
                  </a:cubicBezTo>
                  <a:cubicBezTo>
                    <a:pt x="469" y="0"/>
                    <a:pt x="407" y="34"/>
                    <a:pt x="365" y="87"/>
                  </a:cubicBezTo>
                  <a:cubicBezTo>
                    <a:pt x="356" y="98"/>
                    <a:pt x="348" y="111"/>
                    <a:pt x="341" y="125"/>
                  </a:cubicBezTo>
                  <a:cubicBezTo>
                    <a:pt x="333" y="139"/>
                    <a:pt x="327" y="155"/>
                    <a:pt x="322" y="171"/>
                  </a:cubicBezTo>
                  <a:cubicBezTo>
                    <a:pt x="332" y="174"/>
                    <a:pt x="332" y="174"/>
                    <a:pt x="332" y="174"/>
                  </a:cubicBezTo>
                  <a:cubicBezTo>
                    <a:pt x="335" y="164"/>
                    <a:pt x="335" y="164"/>
                    <a:pt x="335" y="164"/>
                  </a:cubicBezTo>
                  <a:cubicBezTo>
                    <a:pt x="321" y="160"/>
                    <a:pt x="307" y="158"/>
                    <a:pt x="293" y="158"/>
                  </a:cubicBezTo>
                  <a:cubicBezTo>
                    <a:pt x="253" y="158"/>
                    <a:pt x="217" y="174"/>
                    <a:pt x="189" y="199"/>
                  </a:cubicBezTo>
                  <a:cubicBezTo>
                    <a:pt x="161" y="225"/>
                    <a:pt x="142" y="261"/>
                    <a:pt x="136" y="301"/>
                  </a:cubicBezTo>
                  <a:cubicBezTo>
                    <a:pt x="146" y="303"/>
                    <a:pt x="146" y="303"/>
                    <a:pt x="146" y="303"/>
                  </a:cubicBezTo>
                  <a:cubicBezTo>
                    <a:pt x="146" y="292"/>
                    <a:pt x="146" y="292"/>
                    <a:pt x="146" y="292"/>
                  </a:cubicBezTo>
                  <a:cubicBezTo>
                    <a:pt x="121" y="292"/>
                    <a:pt x="121" y="292"/>
                    <a:pt x="121" y="292"/>
                  </a:cubicBezTo>
                  <a:cubicBezTo>
                    <a:pt x="88" y="292"/>
                    <a:pt x="57" y="307"/>
                    <a:pt x="35" y="331"/>
                  </a:cubicBezTo>
                  <a:cubicBezTo>
                    <a:pt x="13" y="354"/>
                    <a:pt x="0" y="386"/>
                    <a:pt x="0" y="422"/>
                  </a:cubicBezTo>
                  <a:cubicBezTo>
                    <a:pt x="0" y="430"/>
                    <a:pt x="0" y="430"/>
                    <a:pt x="0" y="430"/>
                  </a:cubicBezTo>
                  <a:cubicBezTo>
                    <a:pt x="0" y="466"/>
                    <a:pt x="13" y="498"/>
                    <a:pt x="35" y="522"/>
                  </a:cubicBezTo>
                  <a:cubicBezTo>
                    <a:pt x="57" y="545"/>
                    <a:pt x="88" y="560"/>
                    <a:pt x="121" y="560"/>
                  </a:cubicBezTo>
                  <a:cubicBezTo>
                    <a:pt x="610" y="560"/>
                    <a:pt x="610" y="560"/>
                    <a:pt x="610" y="560"/>
                  </a:cubicBezTo>
                  <a:cubicBezTo>
                    <a:pt x="610" y="539"/>
                    <a:pt x="610" y="539"/>
                    <a:pt x="610" y="539"/>
                  </a:cubicBezTo>
                  <a:cubicBezTo>
                    <a:pt x="121" y="539"/>
                    <a:pt x="121" y="539"/>
                    <a:pt x="121" y="539"/>
                  </a:cubicBezTo>
                  <a:cubicBezTo>
                    <a:pt x="94" y="539"/>
                    <a:pt x="69" y="527"/>
                    <a:pt x="50" y="508"/>
                  </a:cubicBezTo>
                  <a:cubicBezTo>
                    <a:pt x="32" y="488"/>
                    <a:pt x="20" y="461"/>
                    <a:pt x="20" y="430"/>
                  </a:cubicBezTo>
                  <a:cubicBezTo>
                    <a:pt x="20" y="422"/>
                    <a:pt x="20" y="422"/>
                    <a:pt x="20" y="422"/>
                  </a:cubicBezTo>
                  <a:cubicBezTo>
                    <a:pt x="20" y="392"/>
                    <a:pt x="32" y="364"/>
                    <a:pt x="50" y="344"/>
                  </a:cubicBezTo>
                  <a:cubicBezTo>
                    <a:pt x="69" y="325"/>
                    <a:pt x="94" y="313"/>
                    <a:pt x="121" y="313"/>
                  </a:cubicBezTo>
                  <a:cubicBezTo>
                    <a:pt x="155" y="313"/>
                    <a:pt x="155" y="313"/>
                    <a:pt x="155" y="313"/>
                  </a:cubicBezTo>
                  <a:cubicBezTo>
                    <a:pt x="156" y="304"/>
                    <a:pt x="156" y="304"/>
                    <a:pt x="156" y="304"/>
                  </a:cubicBezTo>
                  <a:cubicBezTo>
                    <a:pt x="161" y="268"/>
                    <a:pt x="178" y="237"/>
                    <a:pt x="203" y="214"/>
                  </a:cubicBezTo>
                  <a:cubicBezTo>
                    <a:pt x="227" y="192"/>
                    <a:pt x="258" y="178"/>
                    <a:pt x="293" y="178"/>
                  </a:cubicBezTo>
                  <a:cubicBezTo>
                    <a:pt x="305" y="178"/>
                    <a:pt x="317" y="180"/>
                    <a:pt x="329" y="183"/>
                  </a:cubicBezTo>
                  <a:cubicBezTo>
                    <a:pt x="339" y="186"/>
                    <a:pt x="339" y="186"/>
                    <a:pt x="339" y="186"/>
                  </a:cubicBezTo>
                  <a:cubicBezTo>
                    <a:pt x="341" y="177"/>
                    <a:pt x="341" y="177"/>
                    <a:pt x="341" y="177"/>
                  </a:cubicBezTo>
                  <a:cubicBezTo>
                    <a:pt x="346" y="162"/>
                    <a:pt x="352" y="147"/>
                    <a:pt x="359" y="134"/>
                  </a:cubicBezTo>
                  <a:cubicBezTo>
                    <a:pt x="365" y="122"/>
                    <a:pt x="373" y="110"/>
                    <a:pt x="381" y="99"/>
                  </a:cubicBezTo>
                  <a:cubicBezTo>
                    <a:pt x="419" y="51"/>
                    <a:pt x="476" y="20"/>
                    <a:pt x="539" y="20"/>
                  </a:cubicBezTo>
                  <a:cubicBezTo>
                    <a:pt x="591" y="20"/>
                    <a:pt x="638" y="41"/>
                    <a:pt x="674" y="74"/>
                  </a:cubicBezTo>
                  <a:cubicBezTo>
                    <a:pt x="711" y="108"/>
                    <a:pt x="736" y="155"/>
                    <a:pt x="744" y="209"/>
                  </a:cubicBezTo>
                  <a:cubicBezTo>
                    <a:pt x="746" y="225"/>
                    <a:pt x="746" y="225"/>
                    <a:pt x="746" y="225"/>
                  </a:cubicBezTo>
                  <a:cubicBezTo>
                    <a:pt x="759" y="215"/>
                    <a:pt x="759" y="215"/>
                    <a:pt x="759" y="215"/>
                  </a:cubicBezTo>
                  <a:cubicBezTo>
                    <a:pt x="783" y="200"/>
                    <a:pt x="810" y="190"/>
                    <a:pt x="839" y="190"/>
                  </a:cubicBezTo>
                  <a:cubicBezTo>
                    <a:pt x="873" y="190"/>
                    <a:pt x="904" y="202"/>
                    <a:pt x="929" y="223"/>
                  </a:cubicBezTo>
                  <a:cubicBezTo>
                    <a:pt x="954" y="243"/>
                    <a:pt x="973" y="272"/>
                    <a:pt x="982" y="305"/>
                  </a:cubicBezTo>
                  <a:cubicBezTo>
                    <a:pt x="984" y="313"/>
                    <a:pt x="984" y="313"/>
                    <a:pt x="984" y="313"/>
                  </a:cubicBezTo>
                  <a:cubicBezTo>
                    <a:pt x="996" y="313"/>
                    <a:pt x="996" y="313"/>
                    <a:pt x="996" y="313"/>
                  </a:cubicBezTo>
                  <a:cubicBezTo>
                    <a:pt x="1024" y="313"/>
                    <a:pt x="1049" y="325"/>
                    <a:pt x="1067" y="344"/>
                  </a:cubicBezTo>
                  <a:cubicBezTo>
                    <a:pt x="1086" y="364"/>
                    <a:pt x="1097" y="392"/>
                    <a:pt x="1097" y="422"/>
                  </a:cubicBezTo>
                  <a:cubicBezTo>
                    <a:pt x="1097" y="430"/>
                    <a:pt x="1097" y="430"/>
                    <a:pt x="1097" y="430"/>
                  </a:cubicBezTo>
                  <a:cubicBezTo>
                    <a:pt x="1097" y="461"/>
                    <a:pt x="1086" y="488"/>
                    <a:pt x="1067" y="508"/>
                  </a:cubicBezTo>
                  <a:cubicBezTo>
                    <a:pt x="1049" y="527"/>
                    <a:pt x="1024" y="539"/>
                    <a:pt x="996" y="539"/>
                  </a:cubicBezTo>
                  <a:cubicBezTo>
                    <a:pt x="863" y="539"/>
                    <a:pt x="863" y="539"/>
                    <a:pt x="863" y="539"/>
                  </a:cubicBezTo>
                  <a:cubicBezTo>
                    <a:pt x="863" y="560"/>
                    <a:pt x="863" y="560"/>
                    <a:pt x="863" y="56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43" name="Freeform 1563">
              <a:extLst>
                <a:ext uri="{FF2B5EF4-FFF2-40B4-BE49-F238E27FC236}">
                  <a16:creationId xmlns:a16="http://schemas.microsoft.com/office/drawing/2014/main" id="{BEA91B30-369E-4317-BB52-19FB9741C89D}"/>
                </a:ext>
              </a:extLst>
            </p:cNvPr>
            <p:cNvSpPr>
              <a:spLocks/>
            </p:cNvSpPr>
            <p:nvPr userDrawn="1"/>
          </p:nvSpPr>
          <p:spPr bwMode="auto">
            <a:xfrm>
              <a:off x="7124701" y="3363913"/>
              <a:ext cx="173038" cy="184150"/>
            </a:xfrm>
            <a:custGeom>
              <a:avLst/>
              <a:gdLst>
                <a:gd name="T0" fmla="*/ 0 w 87"/>
                <a:gd name="T1" fmla="*/ 20 h 93"/>
                <a:gd name="T2" fmla="*/ 47 w 87"/>
                <a:gd name="T3" fmla="*/ 42 h 93"/>
                <a:gd name="T4" fmla="*/ 67 w 87"/>
                <a:gd name="T5" fmla="*/ 93 h 93"/>
                <a:gd name="T6" fmla="*/ 87 w 87"/>
                <a:gd name="T7" fmla="*/ 93 h 93"/>
                <a:gd name="T8" fmla="*/ 62 w 87"/>
                <a:gd name="T9" fmla="*/ 28 h 93"/>
                <a:gd name="T10" fmla="*/ 0 w 87"/>
                <a:gd name="T11" fmla="*/ 0 h 93"/>
                <a:gd name="T12" fmla="*/ 0 w 87"/>
                <a:gd name="T13" fmla="*/ 20 h 93"/>
              </a:gdLst>
              <a:ahLst/>
              <a:cxnLst>
                <a:cxn ang="0">
                  <a:pos x="T0" y="T1"/>
                </a:cxn>
                <a:cxn ang="0">
                  <a:pos x="T2" y="T3"/>
                </a:cxn>
                <a:cxn ang="0">
                  <a:pos x="T4" y="T5"/>
                </a:cxn>
                <a:cxn ang="0">
                  <a:pos x="T6" y="T7"/>
                </a:cxn>
                <a:cxn ang="0">
                  <a:pos x="T8" y="T9"/>
                </a:cxn>
                <a:cxn ang="0">
                  <a:pos x="T10" y="T11"/>
                </a:cxn>
                <a:cxn ang="0">
                  <a:pos x="T12" y="T13"/>
                </a:cxn>
              </a:cxnLst>
              <a:rect l="0" t="0" r="r" b="b"/>
              <a:pathLst>
                <a:path w="87" h="93">
                  <a:moveTo>
                    <a:pt x="0" y="20"/>
                  </a:moveTo>
                  <a:cubicBezTo>
                    <a:pt x="18" y="21"/>
                    <a:pt x="35" y="28"/>
                    <a:pt x="47" y="42"/>
                  </a:cubicBezTo>
                  <a:cubicBezTo>
                    <a:pt x="59" y="55"/>
                    <a:pt x="67" y="73"/>
                    <a:pt x="67" y="93"/>
                  </a:cubicBezTo>
                  <a:cubicBezTo>
                    <a:pt x="87" y="93"/>
                    <a:pt x="87" y="93"/>
                    <a:pt x="87" y="93"/>
                  </a:cubicBezTo>
                  <a:cubicBezTo>
                    <a:pt x="87" y="68"/>
                    <a:pt x="78" y="44"/>
                    <a:pt x="62" y="28"/>
                  </a:cubicBezTo>
                  <a:cubicBezTo>
                    <a:pt x="46" y="11"/>
                    <a:pt x="24" y="0"/>
                    <a:pt x="0" y="0"/>
                  </a:cubicBezTo>
                  <a:cubicBezTo>
                    <a:pt x="0" y="20"/>
                    <a:pt x="0" y="20"/>
                    <a:pt x="0" y="2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44" name="Freeform 1564">
              <a:extLst>
                <a:ext uri="{FF2B5EF4-FFF2-40B4-BE49-F238E27FC236}">
                  <a16:creationId xmlns:a16="http://schemas.microsoft.com/office/drawing/2014/main" id="{77FB1EA9-1401-461B-8227-21E330BAE413}"/>
                </a:ext>
              </a:extLst>
            </p:cNvPr>
            <p:cNvSpPr>
              <a:spLocks/>
            </p:cNvSpPr>
            <p:nvPr userDrawn="1"/>
          </p:nvSpPr>
          <p:spPr bwMode="auto">
            <a:xfrm>
              <a:off x="5380038" y="4356100"/>
              <a:ext cx="1547813" cy="760413"/>
            </a:xfrm>
            <a:custGeom>
              <a:avLst/>
              <a:gdLst>
                <a:gd name="T0" fmla="*/ 702 w 781"/>
                <a:gd name="T1" fmla="*/ 208 h 384"/>
                <a:gd name="T2" fmla="*/ 699 w 781"/>
                <a:gd name="T3" fmla="*/ 208 h 384"/>
                <a:gd name="T4" fmla="*/ 590 w 781"/>
                <a:gd name="T5" fmla="*/ 121 h 384"/>
                <a:gd name="T6" fmla="*/ 529 w 781"/>
                <a:gd name="T7" fmla="*/ 141 h 384"/>
                <a:gd name="T8" fmla="*/ 377 w 781"/>
                <a:gd name="T9" fmla="*/ 0 h 384"/>
                <a:gd name="T10" fmla="*/ 229 w 781"/>
                <a:gd name="T11" fmla="*/ 117 h 384"/>
                <a:gd name="T12" fmla="*/ 201 w 781"/>
                <a:gd name="T13" fmla="*/ 113 h 384"/>
                <a:gd name="T14" fmla="*/ 97 w 781"/>
                <a:gd name="T15" fmla="*/ 208 h 384"/>
                <a:gd name="T16" fmla="*/ 79 w 781"/>
                <a:gd name="T17" fmla="*/ 208 h 384"/>
                <a:gd name="T18" fmla="*/ 0 w 781"/>
                <a:gd name="T19" fmla="*/ 293 h 384"/>
                <a:gd name="T20" fmla="*/ 0 w 781"/>
                <a:gd name="T21" fmla="*/ 300 h 384"/>
                <a:gd name="T22" fmla="*/ 79 w 781"/>
                <a:gd name="T23" fmla="*/ 384 h 384"/>
                <a:gd name="T24" fmla="*/ 702 w 781"/>
                <a:gd name="T25" fmla="*/ 384 h 384"/>
                <a:gd name="T26" fmla="*/ 781 w 781"/>
                <a:gd name="T27" fmla="*/ 300 h 384"/>
                <a:gd name="T28" fmla="*/ 781 w 781"/>
                <a:gd name="T29" fmla="*/ 293 h 384"/>
                <a:gd name="T30" fmla="*/ 702 w 781"/>
                <a:gd name="T31" fmla="*/ 208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81" h="384">
                  <a:moveTo>
                    <a:pt x="702" y="208"/>
                  </a:moveTo>
                  <a:cubicBezTo>
                    <a:pt x="699" y="208"/>
                    <a:pt x="699" y="208"/>
                    <a:pt x="699" y="208"/>
                  </a:cubicBezTo>
                  <a:cubicBezTo>
                    <a:pt x="685" y="158"/>
                    <a:pt x="642" y="121"/>
                    <a:pt x="590" y="121"/>
                  </a:cubicBezTo>
                  <a:cubicBezTo>
                    <a:pt x="568" y="121"/>
                    <a:pt x="547" y="128"/>
                    <a:pt x="529" y="141"/>
                  </a:cubicBezTo>
                  <a:cubicBezTo>
                    <a:pt x="518" y="61"/>
                    <a:pt x="454" y="0"/>
                    <a:pt x="377" y="0"/>
                  </a:cubicBezTo>
                  <a:cubicBezTo>
                    <a:pt x="307" y="0"/>
                    <a:pt x="248" y="49"/>
                    <a:pt x="229" y="117"/>
                  </a:cubicBezTo>
                  <a:cubicBezTo>
                    <a:pt x="220" y="114"/>
                    <a:pt x="211" y="113"/>
                    <a:pt x="201" y="113"/>
                  </a:cubicBezTo>
                  <a:cubicBezTo>
                    <a:pt x="148" y="113"/>
                    <a:pt x="105" y="154"/>
                    <a:pt x="97" y="208"/>
                  </a:cubicBezTo>
                  <a:cubicBezTo>
                    <a:pt x="79" y="208"/>
                    <a:pt x="79" y="208"/>
                    <a:pt x="79" y="208"/>
                  </a:cubicBezTo>
                  <a:cubicBezTo>
                    <a:pt x="36" y="208"/>
                    <a:pt x="0" y="247"/>
                    <a:pt x="0" y="293"/>
                  </a:cubicBezTo>
                  <a:cubicBezTo>
                    <a:pt x="0" y="300"/>
                    <a:pt x="0" y="300"/>
                    <a:pt x="0" y="300"/>
                  </a:cubicBezTo>
                  <a:cubicBezTo>
                    <a:pt x="0" y="346"/>
                    <a:pt x="36" y="384"/>
                    <a:pt x="79" y="384"/>
                  </a:cubicBezTo>
                  <a:cubicBezTo>
                    <a:pt x="702" y="384"/>
                    <a:pt x="702" y="384"/>
                    <a:pt x="702" y="384"/>
                  </a:cubicBezTo>
                  <a:cubicBezTo>
                    <a:pt x="745" y="384"/>
                    <a:pt x="781" y="346"/>
                    <a:pt x="781" y="300"/>
                  </a:cubicBezTo>
                  <a:cubicBezTo>
                    <a:pt x="781" y="293"/>
                    <a:pt x="781" y="293"/>
                    <a:pt x="781" y="293"/>
                  </a:cubicBezTo>
                  <a:cubicBezTo>
                    <a:pt x="781" y="247"/>
                    <a:pt x="745" y="208"/>
                    <a:pt x="702" y="208"/>
                  </a:cubicBez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45" name="Freeform 1565">
              <a:extLst>
                <a:ext uri="{FF2B5EF4-FFF2-40B4-BE49-F238E27FC236}">
                  <a16:creationId xmlns:a16="http://schemas.microsoft.com/office/drawing/2014/main" id="{FB4DA231-0A98-42F0-ACA0-4E38100357A4}"/>
                </a:ext>
              </a:extLst>
            </p:cNvPr>
            <p:cNvSpPr>
              <a:spLocks/>
            </p:cNvSpPr>
            <p:nvPr userDrawn="1"/>
          </p:nvSpPr>
          <p:spPr bwMode="auto">
            <a:xfrm>
              <a:off x="5400676" y="4448175"/>
              <a:ext cx="1363663" cy="668338"/>
            </a:xfrm>
            <a:custGeom>
              <a:avLst/>
              <a:gdLst>
                <a:gd name="T0" fmla="*/ 619 w 689"/>
                <a:gd name="T1" fmla="*/ 183 h 338"/>
                <a:gd name="T2" fmla="*/ 616 w 689"/>
                <a:gd name="T3" fmla="*/ 183 h 338"/>
                <a:gd name="T4" fmla="*/ 520 w 689"/>
                <a:gd name="T5" fmla="*/ 107 h 338"/>
                <a:gd name="T6" fmla="*/ 467 w 689"/>
                <a:gd name="T7" fmla="*/ 123 h 338"/>
                <a:gd name="T8" fmla="*/ 332 w 689"/>
                <a:gd name="T9" fmla="*/ 0 h 338"/>
                <a:gd name="T10" fmla="*/ 202 w 689"/>
                <a:gd name="T11" fmla="*/ 102 h 338"/>
                <a:gd name="T12" fmla="*/ 178 w 689"/>
                <a:gd name="T13" fmla="*/ 99 h 338"/>
                <a:gd name="T14" fmla="*/ 85 w 689"/>
                <a:gd name="T15" fmla="*/ 183 h 338"/>
                <a:gd name="T16" fmla="*/ 70 w 689"/>
                <a:gd name="T17" fmla="*/ 183 h 338"/>
                <a:gd name="T18" fmla="*/ 0 w 689"/>
                <a:gd name="T19" fmla="*/ 258 h 338"/>
                <a:gd name="T20" fmla="*/ 0 w 689"/>
                <a:gd name="T21" fmla="*/ 264 h 338"/>
                <a:gd name="T22" fmla="*/ 70 w 689"/>
                <a:gd name="T23" fmla="*/ 338 h 338"/>
                <a:gd name="T24" fmla="*/ 619 w 689"/>
                <a:gd name="T25" fmla="*/ 338 h 338"/>
                <a:gd name="T26" fmla="*/ 689 w 689"/>
                <a:gd name="T27" fmla="*/ 264 h 338"/>
                <a:gd name="T28" fmla="*/ 689 w 689"/>
                <a:gd name="T29" fmla="*/ 258 h 338"/>
                <a:gd name="T30" fmla="*/ 619 w 689"/>
                <a:gd name="T31" fmla="*/ 183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89" h="338">
                  <a:moveTo>
                    <a:pt x="619" y="183"/>
                  </a:moveTo>
                  <a:cubicBezTo>
                    <a:pt x="616" y="183"/>
                    <a:pt x="616" y="183"/>
                    <a:pt x="616" y="183"/>
                  </a:cubicBezTo>
                  <a:cubicBezTo>
                    <a:pt x="604" y="139"/>
                    <a:pt x="566" y="107"/>
                    <a:pt x="520" y="107"/>
                  </a:cubicBezTo>
                  <a:cubicBezTo>
                    <a:pt x="501" y="107"/>
                    <a:pt x="482" y="113"/>
                    <a:pt x="467" y="123"/>
                  </a:cubicBezTo>
                  <a:cubicBezTo>
                    <a:pt x="457" y="54"/>
                    <a:pt x="400" y="0"/>
                    <a:pt x="332" y="0"/>
                  </a:cubicBezTo>
                  <a:cubicBezTo>
                    <a:pt x="271" y="0"/>
                    <a:pt x="219" y="43"/>
                    <a:pt x="202" y="102"/>
                  </a:cubicBezTo>
                  <a:cubicBezTo>
                    <a:pt x="194" y="100"/>
                    <a:pt x="186" y="99"/>
                    <a:pt x="178" y="99"/>
                  </a:cubicBezTo>
                  <a:cubicBezTo>
                    <a:pt x="131" y="99"/>
                    <a:pt x="92" y="136"/>
                    <a:pt x="85" y="183"/>
                  </a:cubicBezTo>
                  <a:cubicBezTo>
                    <a:pt x="70" y="183"/>
                    <a:pt x="70" y="183"/>
                    <a:pt x="70" y="183"/>
                  </a:cubicBezTo>
                  <a:cubicBezTo>
                    <a:pt x="32" y="183"/>
                    <a:pt x="0" y="217"/>
                    <a:pt x="0" y="258"/>
                  </a:cubicBezTo>
                  <a:cubicBezTo>
                    <a:pt x="0" y="264"/>
                    <a:pt x="0" y="264"/>
                    <a:pt x="0" y="264"/>
                  </a:cubicBezTo>
                  <a:cubicBezTo>
                    <a:pt x="0" y="305"/>
                    <a:pt x="32" y="338"/>
                    <a:pt x="70" y="338"/>
                  </a:cubicBezTo>
                  <a:cubicBezTo>
                    <a:pt x="619" y="338"/>
                    <a:pt x="619" y="338"/>
                    <a:pt x="619" y="338"/>
                  </a:cubicBezTo>
                  <a:cubicBezTo>
                    <a:pt x="657" y="338"/>
                    <a:pt x="689" y="305"/>
                    <a:pt x="689" y="264"/>
                  </a:cubicBezTo>
                  <a:cubicBezTo>
                    <a:pt x="689" y="258"/>
                    <a:pt x="689" y="258"/>
                    <a:pt x="689" y="258"/>
                  </a:cubicBezTo>
                  <a:cubicBezTo>
                    <a:pt x="689" y="217"/>
                    <a:pt x="657" y="183"/>
                    <a:pt x="619" y="18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46" name="Freeform 1566">
              <a:extLst>
                <a:ext uri="{FF2B5EF4-FFF2-40B4-BE49-F238E27FC236}">
                  <a16:creationId xmlns:a16="http://schemas.microsoft.com/office/drawing/2014/main" id="{C2AE50ED-EC64-42E2-8F38-E4A88C8C3653}"/>
                </a:ext>
              </a:extLst>
            </p:cNvPr>
            <p:cNvSpPr>
              <a:spLocks/>
            </p:cNvSpPr>
            <p:nvPr userDrawn="1"/>
          </p:nvSpPr>
          <p:spPr bwMode="auto">
            <a:xfrm>
              <a:off x="5970588" y="4464050"/>
              <a:ext cx="373063" cy="153988"/>
            </a:xfrm>
            <a:custGeom>
              <a:avLst/>
              <a:gdLst>
                <a:gd name="T0" fmla="*/ 188 w 188"/>
                <a:gd name="T1" fmla="*/ 68 h 78"/>
                <a:gd name="T2" fmla="*/ 139 w 188"/>
                <a:gd name="T3" fmla="*/ 19 h 78"/>
                <a:gd name="T4" fmla="*/ 71 w 188"/>
                <a:gd name="T5" fmla="*/ 0 h 78"/>
                <a:gd name="T6" fmla="*/ 0 w 188"/>
                <a:gd name="T7" fmla="*/ 21 h 78"/>
                <a:gd name="T8" fmla="*/ 11 w 188"/>
                <a:gd name="T9" fmla="*/ 38 h 78"/>
                <a:gd name="T10" fmla="*/ 71 w 188"/>
                <a:gd name="T11" fmla="*/ 20 h 78"/>
                <a:gd name="T12" fmla="*/ 129 w 188"/>
                <a:gd name="T13" fmla="*/ 36 h 78"/>
                <a:gd name="T14" fmla="*/ 171 w 188"/>
                <a:gd name="T15" fmla="*/ 78 h 78"/>
                <a:gd name="T16" fmla="*/ 188 w 188"/>
                <a:gd name="T17" fmla="*/ 6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8" h="78">
                  <a:moveTo>
                    <a:pt x="188" y="68"/>
                  </a:moveTo>
                  <a:cubicBezTo>
                    <a:pt x="176" y="48"/>
                    <a:pt x="159" y="31"/>
                    <a:pt x="139" y="19"/>
                  </a:cubicBezTo>
                  <a:cubicBezTo>
                    <a:pt x="119" y="7"/>
                    <a:pt x="96" y="0"/>
                    <a:pt x="71" y="0"/>
                  </a:cubicBezTo>
                  <a:cubicBezTo>
                    <a:pt x="45" y="0"/>
                    <a:pt x="21" y="8"/>
                    <a:pt x="0" y="21"/>
                  </a:cubicBezTo>
                  <a:cubicBezTo>
                    <a:pt x="11" y="38"/>
                    <a:pt x="11" y="38"/>
                    <a:pt x="11" y="38"/>
                  </a:cubicBezTo>
                  <a:cubicBezTo>
                    <a:pt x="29" y="27"/>
                    <a:pt x="49" y="20"/>
                    <a:pt x="71" y="20"/>
                  </a:cubicBezTo>
                  <a:cubicBezTo>
                    <a:pt x="92" y="20"/>
                    <a:pt x="112" y="26"/>
                    <a:pt x="129" y="36"/>
                  </a:cubicBezTo>
                  <a:cubicBezTo>
                    <a:pt x="146" y="46"/>
                    <a:pt x="160" y="61"/>
                    <a:pt x="171" y="78"/>
                  </a:cubicBezTo>
                  <a:cubicBezTo>
                    <a:pt x="188" y="68"/>
                    <a:pt x="188" y="68"/>
                    <a:pt x="188" y="68"/>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47" name="Freeform 1567">
              <a:extLst>
                <a:ext uri="{FF2B5EF4-FFF2-40B4-BE49-F238E27FC236}">
                  <a16:creationId xmlns:a16="http://schemas.microsoft.com/office/drawing/2014/main" id="{37482BF1-019B-41AC-A7D4-7705BDB320EC}"/>
                </a:ext>
              </a:extLst>
            </p:cNvPr>
            <p:cNvSpPr>
              <a:spLocks/>
            </p:cNvSpPr>
            <p:nvPr userDrawn="1"/>
          </p:nvSpPr>
          <p:spPr bwMode="auto">
            <a:xfrm>
              <a:off x="5360988" y="4337050"/>
              <a:ext cx="1585913" cy="798513"/>
            </a:xfrm>
            <a:custGeom>
              <a:avLst/>
              <a:gdLst>
                <a:gd name="T0" fmla="*/ 712 w 801"/>
                <a:gd name="T1" fmla="*/ 404 h 404"/>
                <a:gd name="T2" fmla="*/ 801 w 801"/>
                <a:gd name="T3" fmla="*/ 310 h 404"/>
                <a:gd name="T4" fmla="*/ 775 w 801"/>
                <a:gd name="T5" fmla="*/ 236 h 404"/>
                <a:gd name="T6" fmla="*/ 709 w 801"/>
                <a:gd name="T7" fmla="*/ 208 h 404"/>
                <a:gd name="T8" fmla="*/ 718 w 801"/>
                <a:gd name="T9" fmla="*/ 216 h 404"/>
                <a:gd name="T10" fmla="*/ 600 w 801"/>
                <a:gd name="T11" fmla="*/ 121 h 404"/>
                <a:gd name="T12" fmla="*/ 539 w 801"/>
                <a:gd name="T13" fmla="*/ 151 h 404"/>
                <a:gd name="T14" fmla="*/ 495 w 801"/>
                <a:gd name="T15" fmla="*/ 43 h 404"/>
                <a:gd name="T16" fmla="*/ 260 w 801"/>
                <a:gd name="T17" fmla="*/ 63 h 404"/>
                <a:gd name="T18" fmla="*/ 229 w 801"/>
                <a:gd name="T19" fmla="*/ 124 h 404"/>
                <a:gd name="T20" fmla="*/ 242 w 801"/>
                <a:gd name="T21" fmla="*/ 117 h 404"/>
                <a:gd name="T22" fmla="*/ 135 w 801"/>
                <a:gd name="T23" fmla="*/ 143 h 404"/>
                <a:gd name="T24" fmla="*/ 107 w 801"/>
                <a:gd name="T25" fmla="*/ 218 h 404"/>
                <a:gd name="T26" fmla="*/ 89 w 801"/>
                <a:gd name="T27" fmla="*/ 208 h 404"/>
                <a:gd name="T28" fmla="*/ 0 w 801"/>
                <a:gd name="T29" fmla="*/ 303 h 404"/>
                <a:gd name="T30" fmla="*/ 26 w 801"/>
                <a:gd name="T31" fmla="*/ 376 h 404"/>
                <a:gd name="T32" fmla="*/ 343 w 801"/>
                <a:gd name="T33" fmla="*/ 404 h 404"/>
                <a:gd name="T34" fmla="*/ 89 w 801"/>
                <a:gd name="T35" fmla="*/ 384 h 404"/>
                <a:gd name="T36" fmla="*/ 20 w 801"/>
                <a:gd name="T37" fmla="*/ 310 h 404"/>
                <a:gd name="T38" fmla="*/ 41 w 801"/>
                <a:gd name="T39" fmla="*/ 250 h 404"/>
                <a:gd name="T40" fmla="*/ 115 w 801"/>
                <a:gd name="T41" fmla="*/ 229 h 404"/>
                <a:gd name="T42" fmla="*/ 149 w 801"/>
                <a:gd name="T43" fmla="*/ 158 h 404"/>
                <a:gd name="T44" fmla="*/ 236 w 801"/>
                <a:gd name="T45" fmla="*/ 136 h 404"/>
                <a:gd name="T46" fmla="*/ 249 w 801"/>
                <a:gd name="T47" fmla="*/ 130 h 404"/>
                <a:gd name="T48" fmla="*/ 276 w 801"/>
                <a:gd name="T49" fmla="*/ 76 h 404"/>
                <a:gd name="T50" fmla="*/ 481 w 801"/>
                <a:gd name="T51" fmla="*/ 58 h 404"/>
                <a:gd name="T52" fmla="*/ 532 w 801"/>
                <a:gd name="T53" fmla="*/ 168 h 404"/>
                <a:gd name="T54" fmla="*/ 600 w 801"/>
                <a:gd name="T55" fmla="*/ 141 h 404"/>
                <a:gd name="T56" fmla="*/ 699 w 801"/>
                <a:gd name="T57" fmla="*/ 221 h 404"/>
                <a:gd name="T58" fmla="*/ 712 w 801"/>
                <a:gd name="T59" fmla="*/ 229 h 404"/>
                <a:gd name="T60" fmla="*/ 781 w 801"/>
                <a:gd name="T61" fmla="*/ 303 h 404"/>
                <a:gd name="T62" fmla="*/ 760 w 801"/>
                <a:gd name="T63" fmla="*/ 363 h 404"/>
                <a:gd name="T64" fmla="*/ 617 w 801"/>
                <a:gd name="T65" fmla="*/ 384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01" h="404">
                  <a:moveTo>
                    <a:pt x="617" y="404"/>
                  </a:moveTo>
                  <a:cubicBezTo>
                    <a:pt x="712" y="404"/>
                    <a:pt x="712" y="404"/>
                    <a:pt x="712" y="404"/>
                  </a:cubicBezTo>
                  <a:cubicBezTo>
                    <a:pt x="737" y="404"/>
                    <a:pt x="759" y="394"/>
                    <a:pt x="775" y="376"/>
                  </a:cubicBezTo>
                  <a:cubicBezTo>
                    <a:pt x="791" y="359"/>
                    <a:pt x="801" y="335"/>
                    <a:pt x="801" y="310"/>
                  </a:cubicBezTo>
                  <a:cubicBezTo>
                    <a:pt x="801" y="303"/>
                    <a:pt x="801" y="303"/>
                    <a:pt x="801" y="303"/>
                  </a:cubicBezTo>
                  <a:cubicBezTo>
                    <a:pt x="801" y="277"/>
                    <a:pt x="791" y="254"/>
                    <a:pt x="775" y="236"/>
                  </a:cubicBezTo>
                  <a:cubicBezTo>
                    <a:pt x="759" y="219"/>
                    <a:pt x="737" y="208"/>
                    <a:pt x="712" y="208"/>
                  </a:cubicBezTo>
                  <a:cubicBezTo>
                    <a:pt x="709" y="208"/>
                    <a:pt x="709" y="208"/>
                    <a:pt x="709" y="208"/>
                  </a:cubicBezTo>
                  <a:cubicBezTo>
                    <a:pt x="709" y="218"/>
                    <a:pt x="709" y="218"/>
                    <a:pt x="709" y="218"/>
                  </a:cubicBezTo>
                  <a:cubicBezTo>
                    <a:pt x="718" y="216"/>
                    <a:pt x="718" y="216"/>
                    <a:pt x="718" y="216"/>
                  </a:cubicBezTo>
                  <a:cubicBezTo>
                    <a:pt x="711" y="189"/>
                    <a:pt x="696" y="165"/>
                    <a:pt x="675" y="148"/>
                  </a:cubicBezTo>
                  <a:cubicBezTo>
                    <a:pt x="654" y="131"/>
                    <a:pt x="628" y="121"/>
                    <a:pt x="600" y="121"/>
                  </a:cubicBezTo>
                  <a:cubicBezTo>
                    <a:pt x="576" y="121"/>
                    <a:pt x="553" y="129"/>
                    <a:pt x="534" y="142"/>
                  </a:cubicBezTo>
                  <a:cubicBezTo>
                    <a:pt x="539" y="151"/>
                    <a:pt x="539" y="151"/>
                    <a:pt x="539" y="151"/>
                  </a:cubicBezTo>
                  <a:cubicBezTo>
                    <a:pt x="549" y="149"/>
                    <a:pt x="549" y="149"/>
                    <a:pt x="549" y="149"/>
                  </a:cubicBezTo>
                  <a:cubicBezTo>
                    <a:pt x="543" y="107"/>
                    <a:pt x="523" y="70"/>
                    <a:pt x="495" y="43"/>
                  </a:cubicBezTo>
                  <a:cubicBezTo>
                    <a:pt x="466" y="17"/>
                    <a:pt x="428" y="0"/>
                    <a:pt x="387" y="0"/>
                  </a:cubicBezTo>
                  <a:cubicBezTo>
                    <a:pt x="336" y="0"/>
                    <a:pt x="290" y="25"/>
                    <a:pt x="260" y="63"/>
                  </a:cubicBezTo>
                  <a:cubicBezTo>
                    <a:pt x="254" y="72"/>
                    <a:pt x="248" y="81"/>
                    <a:pt x="243" y="90"/>
                  </a:cubicBezTo>
                  <a:cubicBezTo>
                    <a:pt x="237" y="101"/>
                    <a:pt x="233" y="112"/>
                    <a:pt x="229" y="124"/>
                  </a:cubicBezTo>
                  <a:cubicBezTo>
                    <a:pt x="239" y="127"/>
                    <a:pt x="239" y="127"/>
                    <a:pt x="239" y="127"/>
                  </a:cubicBezTo>
                  <a:cubicBezTo>
                    <a:pt x="242" y="117"/>
                    <a:pt x="242" y="117"/>
                    <a:pt x="242" y="117"/>
                  </a:cubicBezTo>
                  <a:cubicBezTo>
                    <a:pt x="232" y="114"/>
                    <a:pt x="222" y="113"/>
                    <a:pt x="211" y="113"/>
                  </a:cubicBezTo>
                  <a:cubicBezTo>
                    <a:pt x="182" y="113"/>
                    <a:pt x="155" y="124"/>
                    <a:pt x="135" y="143"/>
                  </a:cubicBezTo>
                  <a:cubicBezTo>
                    <a:pt x="115" y="162"/>
                    <a:pt x="101" y="188"/>
                    <a:pt x="97" y="217"/>
                  </a:cubicBezTo>
                  <a:cubicBezTo>
                    <a:pt x="107" y="218"/>
                    <a:pt x="107" y="218"/>
                    <a:pt x="107" y="218"/>
                  </a:cubicBezTo>
                  <a:cubicBezTo>
                    <a:pt x="107" y="208"/>
                    <a:pt x="107" y="208"/>
                    <a:pt x="107" y="208"/>
                  </a:cubicBezTo>
                  <a:cubicBezTo>
                    <a:pt x="89" y="208"/>
                    <a:pt x="89" y="208"/>
                    <a:pt x="89" y="208"/>
                  </a:cubicBezTo>
                  <a:cubicBezTo>
                    <a:pt x="64" y="208"/>
                    <a:pt x="42" y="219"/>
                    <a:pt x="26" y="236"/>
                  </a:cubicBezTo>
                  <a:cubicBezTo>
                    <a:pt x="10" y="254"/>
                    <a:pt x="0" y="277"/>
                    <a:pt x="0" y="303"/>
                  </a:cubicBezTo>
                  <a:cubicBezTo>
                    <a:pt x="0" y="310"/>
                    <a:pt x="0" y="310"/>
                    <a:pt x="0" y="310"/>
                  </a:cubicBezTo>
                  <a:cubicBezTo>
                    <a:pt x="0" y="335"/>
                    <a:pt x="10" y="359"/>
                    <a:pt x="26" y="376"/>
                  </a:cubicBezTo>
                  <a:cubicBezTo>
                    <a:pt x="42" y="394"/>
                    <a:pt x="64" y="404"/>
                    <a:pt x="89" y="404"/>
                  </a:cubicBezTo>
                  <a:cubicBezTo>
                    <a:pt x="343" y="404"/>
                    <a:pt x="343" y="404"/>
                    <a:pt x="343" y="404"/>
                  </a:cubicBezTo>
                  <a:cubicBezTo>
                    <a:pt x="343" y="384"/>
                    <a:pt x="343" y="384"/>
                    <a:pt x="343" y="384"/>
                  </a:cubicBezTo>
                  <a:cubicBezTo>
                    <a:pt x="89" y="384"/>
                    <a:pt x="89" y="384"/>
                    <a:pt x="89" y="384"/>
                  </a:cubicBezTo>
                  <a:cubicBezTo>
                    <a:pt x="70" y="384"/>
                    <a:pt x="53" y="376"/>
                    <a:pt x="41" y="363"/>
                  </a:cubicBezTo>
                  <a:cubicBezTo>
                    <a:pt x="28" y="349"/>
                    <a:pt x="20" y="330"/>
                    <a:pt x="20" y="310"/>
                  </a:cubicBezTo>
                  <a:cubicBezTo>
                    <a:pt x="20" y="303"/>
                    <a:pt x="20" y="303"/>
                    <a:pt x="20" y="303"/>
                  </a:cubicBezTo>
                  <a:cubicBezTo>
                    <a:pt x="20" y="283"/>
                    <a:pt x="28" y="264"/>
                    <a:pt x="41" y="250"/>
                  </a:cubicBezTo>
                  <a:cubicBezTo>
                    <a:pt x="53" y="237"/>
                    <a:pt x="70" y="229"/>
                    <a:pt x="89" y="229"/>
                  </a:cubicBezTo>
                  <a:cubicBezTo>
                    <a:pt x="115" y="229"/>
                    <a:pt x="115" y="229"/>
                    <a:pt x="115" y="229"/>
                  </a:cubicBezTo>
                  <a:cubicBezTo>
                    <a:pt x="117" y="220"/>
                    <a:pt x="117" y="220"/>
                    <a:pt x="117" y="220"/>
                  </a:cubicBezTo>
                  <a:cubicBezTo>
                    <a:pt x="120" y="195"/>
                    <a:pt x="132" y="173"/>
                    <a:pt x="149" y="158"/>
                  </a:cubicBezTo>
                  <a:cubicBezTo>
                    <a:pt x="166" y="142"/>
                    <a:pt x="188" y="133"/>
                    <a:pt x="211" y="133"/>
                  </a:cubicBezTo>
                  <a:cubicBezTo>
                    <a:pt x="220" y="133"/>
                    <a:pt x="228" y="134"/>
                    <a:pt x="236" y="136"/>
                  </a:cubicBezTo>
                  <a:cubicBezTo>
                    <a:pt x="246" y="139"/>
                    <a:pt x="246" y="139"/>
                    <a:pt x="246" y="139"/>
                  </a:cubicBezTo>
                  <a:cubicBezTo>
                    <a:pt x="249" y="130"/>
                    <a:pt x="249" y="130"/>
                    <a:pt x="249" y="130"/>
                  </a:cubicBezTo>
                  <a:cubicBezTo>
                    <a:pt x="252" y="119"/>
                    <a:pt x="256" y="109"/>
                    <a:pt x="261" y="100"/>
                  </a:cubicBezTo>
                  <a:cubicBezTo>
                    <a:pt x="265" y="91"/>
                    <a:pt x="270" y="83"/>
                    <a:pt x="276" y="76"/>
                  </a:cubicBezTo>
                  <a:cubicBezTo>
                    <a:pt x="303" y="42"/>
                    <a:pt x="342" y="21"/>
                    <a:pt x="387" y="21"/>
                  </a:cubicBezTo>
                  <a:cubicBezTo>
                    <a:pt x="423" y="21"/>
                    <a:pt x="455" y="35"/>
                    <a:pt x="481" y="58"/>
                  </a:cubicBezTo>
                  <a:cubicBezTo>
                    <a:pt x="506" y="82"/>
                    <a:pt x="524" y="115"/>
                    <a:pt x="529" y="152"/>
                  </a:cubicBezTo>
                  <a:cubicBezTo>
                    <a:pt x="532" y="168"/>
                    <a:pt x="532" y="168"/>
                    <a:pt x="532" y="168"/>
                  </a:cubicBezTo>
                  <a:cubicBezTo>
                    <a:pt x="545" y="159"/>
                    <a:pt x="545" y="159"/>
                    <a:pt x="545" y="159"/>
                  </a:cubicBezTo>
                  <a:cubicBezTo>
                    <a:pt x="561" y="148"/>
                    <a:pt x="580" y="142"/>
                    <a:pt x="600" y="141"/>
                  </a:cubicBezTo>
                  <a:cubicBezTo>
                    <a:pt x="623" y="142"/>
                    <a:pt x="645" y="150"/>
                    <a:pt x="662" y="164"/>
                  </a:cubicBezTo>
                  <a:cubicBezTo>
                    <a:pt x="679" y="178"/>
                    <a:pt x="693" y="198"/>
                    <a:pt x="699" y="221"/>
                  </a:cubicBezTo>
                  <a:cubicBezTo>
                    <a:pt x="701" y="229"/>
                    <a:pt x="701" y="229"/>
                    <a:pt x="701" y="229"/>
                  </a:cubicBezTo>
                  <a:cubicBezTo>
                    <a:pt x="712" y="229"/>
                    <a:pt x="712" y="229"/>
                    <a:pt x="712" y="229"/>
                  </a:cubicBezTo>
                  <a:cubicBezTo>
                    <a:pt x="731" y="229"/>
                    <a:pt x="748" y="237"/>
                    <a:pt x="760" y="250"/>
                  </a:cubicBezTo>
                  <a:cubicBezTo>
                    <a:pt x="773" y="264"/>
                    <a:pt x="781" y="283"/>
                    <a:pt x="781" y="303"/>
                  </a:cubicBezTo>
                  <a:cubicBezTo>
                    <a:pt x="781" y="310"/>
                    <a:pt x="781" y="310"/>
                    <a:pt x="781" y="310"/>
                  </a:cubicBezTo>
                  <a:cubicBezTo>
                    <a:pt x="781" y="330"/>
                    <a:pt x="773" y="349"/>
                    <a:pt x="760" y="363"/>
                  </a:cubicBezTo>
                  <a:cubicBezTo>
                    <a:pt x="748" y="376"/>
                    <a:pt x="731" y="384"/>
                    <a:pt x="712" y="384"/>
                  </a:cubicBezTo>
                  <a:cubicBezTo>
                    <a:pt x="617" y="384"/>
                    <a:pt x="617" y="384"/>
                    <a:pt x="617" y="384"/>
                  </a:cubicBezTo>
                  <a:cubicBezTo>
                    <a:pt x="617" y="404"/>
                    <a:pt x="617" y="404"/>
                    <a:pt x="617" y="404"/>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48" name="Freeform 1568">
              <a:extLst>
                <a:ext uri="{FF2B5EF4-FFF2-40B4-BE49-F238E27FC236}">
                  <a16:creationId xmlns:a16="http://schemas.microsoft.com/office/drawing/2014/main" id="{3B742800-1873-461D-9806-E58AE0CAD4FF}"/>
                </a:ext>
              </a:extLst>
            </p:cNvPr>
            <p:cNvSpPr>
              <a:spLocks/>
            </p:cNvSpPr>
            <p:nvPr userDrawn="1"/>
          </p:nvSpPr>
          <p:spPr bwMode="auto">
            <a:xfrm>
              <a:off x="5783263" y="4559300"/>
              <a:ext cx="128588" cy="134938"/>
            </a:xfrm>
            <a:custGeom>
              <a:avLst/>
              <a:gdLst>
                <a:gd name="T0" fmla="*/ 0 w 65"/>
                <a:gd name="T1" fmla="*/ 20 h 69"/>
                <a:gd name="T2" fmla="*/ 32 w 65"/>
                <a:gd name="T3" fmla="*/ 34 h 69"/>
                <a:gd name="T4" fmla="*/ 45 w 65"/>
                <a:gd name="T5" fmla="*/ 69 h 69"/>
                <a:gd name="T6" fmla="*/ 65 w 65"/>
                <a:gd name="T7" fmla="*/ 69 h 69"/>
                <a:gd name="T8" fmla="*/ 47 w 65"/>
                <a:gd name="T9" fmla="*/ 21 h 69"/>
                <a:gd name="T10" fmla="*/ 0 w 65"/>
                <a:gd name="T11" fmla="*/ 0 h 69"/>
                <a:gd name="T12" fmla="*/ 0 w 65"/>
                <a:gd name="T13" fmla="*/ 20 h 69"/>
              </a:gdLst>
              <a:ahLst/>
              <a:cxnLst>
                <a:cxn ang="0">
                  <a:pos x="T0" y="T1"/>
                </a:cxn>
                <a:cxn ang="0">
                  <a:pos x="T2" y="T3"/>
                </a:cxn>
                <a:cxn ang="0">
                  <a:pos x="T4" y="T5"/>
                </a:cxn>
                <a:cxn ang="0">
                  <a:pos x="T6" y="T7"/>
                </a:cxn>
                <a:cxn ang="0">
                  <a:pos x="T8" y="T9"/>
                </a:cxn>
                <a:cxn ang="0">
                  <a:pos x="T10" y="T11"/>
                </a:cxn>
                <a:cxn ang="0">
                  <a:pos x="T12" y="T13"/>
                </a:cxn>
              </a:cxnLst>
              <a:rect l="0" t="0" r="r" b="b"/>
              <a:pathLst>
                <a:path w="65" h="69">
                  <a:moveTo>
                    <a:pt x="0" y="20"/>
                  </a:moveTo>
                  <a:cubicBezTo>
                    <a:pt x="13" y="20"/>
                    <a:pt x="24" y="26"/>
                    <a:pt x="32" y="34"/>
                  </a:cubicBezTo>
                  <a:cubicBezTo>
                    <a:pt x="40" y="43"/>
                    <a:pt x="45" y="55"/>
                    <a:pt x="45" y="69"/>
                  </a:cubicBezTo>
                  <a:cubicBezTo>
                    <a:pt x="65" y="69"/>
                    <a:pt x="65" y="69"/>
                    <a:pt x="65" y="69"/>
                  </a:cubicBezTo>
                  <a:cubicBezTo>
                    <a:pt x="65" y="50"/>
                    <a:pt x="58" y="33"/>
                    <a:pt x="47" y="21"/>
                  </a:cubicBezTo>
                  <a:cubicBezTo>
                    <a:pt x="35" y="8"/>
                    <a:pt x="18" y="0"/>
                    <a:pt x="0" y="0"/>
                  </a:cubicBezTo>
                  <a:cubicBezTo>
                    <a:pt x="0" y="20"/>
                    <a:pt x="0" y="20"/>
                    <a:pt x="0" y="2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49" name="Freeform 1569">
              <a:extLst>
                <a:ext uri="{FF2B5EF4-FFF2-40B4-BE49-F238E27FC236}">
                  <a16:creationId xmlns:a16="http://schemas.microsoft.com/office/drawing/2014/main" id="{E416E983-101E-45C6-A617-0041A05ED396}"/>
                </a:ext>
              </a:extLst>
            </p:cNvPr>
            <p:cNvSpPr>
              <a:spLocks/>
            </p:cNvSpPr>
            <p:nvPr userDrawn="1"/>
          </p:nvSpPr>
          <p:spPr bwMode="auto">
            <a:xfrm>
              <a:off x="8802688" y="2251075"/>
              <a:ext cx="1882775" cy="923925"/>
            </a:xfrm>
            <a:custGeom>
              <a:avLst/>
              <a:gdLst>
                <a:gd name="T0" fmla="*/ 854 w 951"/>
                <a:gd name="T1" fmla="*/ 253 h 467"/>
                <a:gd name="T2" fmla="*/ 850 w 951"/>
                <a:gd name="T3" fmla="*/ 253 h 467"/>
                <a:gd name="T4" fmla="*/ 718 w 951"/>
                <a:gd name="T5" fmla="*/ 147 h 467"/>
                <a:gd name="T6" fmla="*/ 644 w 951"/>
                <a:gd name="T7" fmla="*/ 170 h 467"/>
                <a:gd name="T8" fmla="*/ 458 w 951"/>
                <a:gd name="T9" fmla="*/ 0 h 467"/>
                <a:gd name="T10" fmla="*/ 278 w 951"/>
                <a:gd name="T11" fmla="*/ 141 h 467"/>
                <a:gd name="T12" fmla="*/ 245 w 951"/>
                <a:gd name="T13" fmla="*/ 136 h 467"/>
                <a:gd name="T14" fmla="*/ 117 w 951"/>
                <a:gd name="T15" fmla="*/ 253 h 467"/>
                <a:gd name="T16" fmla="*/ 96 w 951"/>
                <a:gd name="T17" fmla="*/ 253 h 467"/>
                <a:gd name="T18" fmla="*/ 0 w 951"/>
                <a:gd name="T19" fmla="*/ 356 h 467"/>
                <a:gd name="T20" fmla="*/ 0 w 951"/>
                <a:gd name="T21" fmla="*/ 364 h 467"/>
                <a:gd name="T22" fmla="*/ 96 w 951"/>
                <a:gd name="T23" fmla="*/ 467 h 467"/>
                <a:gd name="T24" fmla="*/ 854 w 951"/>
                <a:gd name="T25" fmla="*/ 467 h 467"/>
                <a:gd name="T26" fmla="*/ 951 w 951"/>
                <a:gd name="T27" fmla="*/ 364 h 467"/>
                <a:gd name="T28" fmla="*/ 951 w 951"/>
                <a:gd name="T29" fmla="*/ 356 h 467"/>
                <a:gd name="T30" fmla="*/ 854 w 951"/>
                <a:gd name="T31" fmla="*/ 253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51" h="467">
                  <a:moveTo>
                    <a:pt x="854" y="253"/>
                  </a:moveTo>
                  <a:cubicBezTo>
                    <a:pt x="850" y="253"/>
                    <a:pt x="850" y="253"/>
                    <a:pt x="850" y="253"/>
                  </a:cubicBezTo>
                  <a:cubicBezTo>
                    <a:pt x="834" y="192"/>
                    <a:pt x="781" y="147"/>
                    <a:pt x="718" y="147"/>
                  </a:cubicBezTo>
                  <a:cubicBezTo>
                    <a:pt x="691" y="147"/>
                    <a:pt x="666" y="156"/>
                    <a:pt x="644" y="170"/>
                  </a:cubicBezTo>
                  <a:cubicBezTo>
                    <a:pt x="630" y="74"/>
                    <a:pt x="552" y="0"/>
                    <a:pt x="458" y="0"/>
                  </a:cubicBezTo>
                  <a:cubicBezTo>
                    <a:pt x="374" y="0"/>
                    <a:pt x="302" y="59"/>
                    <a:pt x="278" y="141"/>
                  </a:cubicBezTo>
                  <a:cubicBezTo>
                    <a:pt x="268" y="138"/>
                    <a:pt x="257" y="136"/>
                    <a:pt x="245" y="136"/>
                  </a:cubicBezTo>
                  <a:cubicBezTo>
                    <a:pt x="180" y="136"/>
                    <a:pt x="127" y="187"/>
                    <a:pt x="117" y="253"/>
                  </a:cubicBezTo>
                  <a:cubicBezTo>
                    <a:pt x="96" y="253"/>
                    <a:pt x="96" y="253"/>
                    <a:pt x="96" y="253"/>
                  </a:cubicBezTo>
                  <a:cubicBezTo>
                    <a:pt x="43" y="253"/>
                    <a:pt x="0" y="299"/>
                    <a:pt x="0" y="356"/>
                  </a:cubicBezTo>
                  <a:cubicBezTo>
                    <a:pt x="0" y="364"/>
                    <a:pt x="0" y="364"/>
                    <a:pt x="0" y="364"/>
                  </a:cubicBezTo>
                  <a:cubicBezTo>
                    <a:pt x="0" y="421"/>
                    <a:pt x="43" y="467"/>
                    <a:pt x="96" y="467"/>
                  </a:cubicBezTo>
                  <a:cubicBezTo>
                    <a:pt x="854" y="467"/>
                    <a:pt x="854" y="467"/>
                    <a:pt x="854" y="467"/>
                  </a:cubicBezTo>
                  <a:cubicBezTo>
                    <a:pt x="907" y="467"/>
                    <a:pt x="951" y="421"/>
                    <a:pt x="951" y="364"/>
                  </a:cubicBezTo>
                  <a:cubicBezTo>
                    <a:pt x="951" y="356"/>
                    <a:pt x="951" y="356"/>
                    <a:pt x="951" y="356"/>
                  </a:cubicBezTo>
                  <a:cubicBezTo>
                    <a:pt x="951" y="299"/>
                    <a:pt x="907" y="253"/>
                    <a:pt x="854" y="25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dirty="0"/>
            </a:p>
          </p:txBody>
        </p:sp>
        <p:sp>
          <p:nvSpPr>
            <p:cNvPr id="1250" name="Freeform 1570">
              <a:extLst>
                <a:ext uri="{FF2B5EF4-FFF2-40B4-BE49-F238E27FC236}">
                  <a16:creationId xmlns:a16="http://schemas.microsoft.com/office/drawing/2014/main" id="{E130921D-8272-4597-A3B1-EC821A7C1A05}"/>
                </a:ext>
              </a:extLst>
            </p:cNvPr>
            <p:cNvSpPr>
              <a:spLocks/>
            </p:cNvSpPr>
            <p:nvPr userDrawn="1"/>
          </p:nvSpPr>
          <p:spPr bwMode="auto">
            <a:xfrm>
              <a:off x="8782051" y="2232025"/>
              <a:ext cx="1924050" cy="963613"/>
            </a:xfrm>
            <a:custGeom>
              <a:avLst/>
              <a:gdLst>
                <a:gd name="T0" fmla="*/ 864 w 971"/>
                <a:gd name="T1" fmla="*/ 487 h 487"/>
                <a:gd name="T2" fmla="*/ 971 w 971"/>
                <a:gd name="T3" fmla="*/ 374 h 487"/>
                <a:gd name="T4" fmla="*/ 940 w 971"/>
                <a:gd name="T5" fmla="*/ 286 h 487"/>
                <a:gd name="T6" fmla="*/ 860 w 971"/>
                <a:gd name="T7" fmla="*/ 253 h 487"/>
                <a:gd name="T8" fmla="*/ 870 w 971"/>
                <a:gd name="T9" fmla="*/ 260 h 487"/>
                <a:gd name="T10" fmla="*/ 728 w 971"/>
                <a:gd name="T11" fmla="*/ 147 h 487"/>
                <a:gd name="T12" fmla="*/ 654 w 971"/>
                <a:gd name="T13" fmla="*/ 180 h 487"/>
                <a:gd name="T14" fmla="*/ 598 w 971"/>
                <a:gd name="T15" fmla="*/ 51 h 487"/>
                <a:gd name="T16" fmla="*/ 349 w 971"/>
                <a:gd name="T17" fmla="*/ 42 h 487"/>
                <a:gd name="T18" fmla="*/ 288 w 971"/>
                <a:gd name="T19" fmla="*/ 151 h 487"/>
                <a:gd name="T20" fmla="*/ 255 w 971"/>
                <a:gd name="T21" fmla="*/ 136 h 487"/>
                <a:gd name="T22" fmla="*/ 117 w 971"/>
                <a:gd name="T23" fmla="*/ 262 h 487"/>
                <a:gd name="T24" fmla="*/ 127 w 971"/>
                <a:gd name="T25" fmla="*/ 253 h 487"/>
                <a:gd name="T26" fmla="*/ 31 w 971"/>
                <a:gd name="T27" fmla="*/ 286 h 487"/>
                <a:gd name="T28" fmla="*/ 0 w 971"/>
                <a:gd name="T29" fmla="*/ 374 h 487"/>
                <a:gd name="T30" fmla="*/ 106 w 971"/>
                <a:gd name="T31" fmla="*/ 487 h 487"/>
                <a:gd name="T32" fmla="*/ 242 w 971"/>
                <a:gd name="T33" fmla="*/ 467 h 487"/>
                <a:gd name="T34" fmla="*/ 45 w 971"/>
                <a:gd name="T35" fmla="*/ 440 h 487"/>
                <a:gd name="T36" fmla="*/ 20 w 971"/>
                <a:gd name="T37" fmla="*/ 366 h 487"/>
                <a:gd name="T38" fmla="*/ 106 w 971"/>
                <a:gd name="T39" fmla="*/ 273 h 487"/>
                <a:gd name="T40" fmla="*/ 137 w 971"/>
                <a:gd name="T41" fmla="*/ 264 h 487"/>
                <a:gd name="T42" fmla="*/ 255 w 971"/>
                <a:gd name="T43" fmla="*/ 157 h 487"/>
                <a:gd name="T44" fmla="*/ 295 w 971"/>
                <a:gd name="T45" fmla="*/ 164 h 487"/>
                <a:gd name="T46" fmla="*/ 362 w 971"/>
                <a:gd name="T47" fmla="*/ 58 h 487"/>
                <a:gd name="T48" fmla="*/ 584 w 971"/>
                <a:gd name="T49" fmla="*/ 66 h 487"/>
                <a:gd name="T50" fmla="*/ 646 w 971"/>
                <a:gd name="T51" fmla="*/ 198 h 487"/>
                <a:gd name="T52" fmla="*/ 728 w 971"/>
                <a:gd name="T53" fmla="*/ 167 h 487"/>
                <a:gd name="T54" fmla="*/ 851 w 971"/>
                <a:gd name="T55" fmla="*/ 266 h 487"/>
                <a:gd name="T56" fmla="*/ 864 w 971"/>
                <a:gd name="T57" fmla="*/ 273 h 487"/>
                <a:gd name="T58" fmla="*/ 951 w 971"/>
                <a:gd name="T59" fmla="*/ 366 h 487"/>
                <a:gd name="T60" fmla="*/ 925 w 971"/>
                <a:gd name="T61" fmla="*/ 440 h 487"/>
                <a:gd name="T62" fmla="*/ 718 w 971"/>
                <a:gd name="T63" fmla="*/ 467 h 4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71" h="487">
                  <a:moveTo>
                    <a:pt x="718" y="487"/>
                  </a:moveTo>
                  <a:cubicBezTo>
                    <a:pt x="864" y="487"/>
                    <a:pt x="864" y="487"/>
                    <a:pt x="864" y="487"/>
                  </a:cubicBezTo>
                  <a:cubicBezTo>
                    <a:pt x="894" y="487"/>
                    <a:pt x="920" y="474"/>
                    <a:pt x="940" y="454"/>
                  </a:cubicBezTo>
                  <a:cubicBezTo>
                    <a:pt x="959" y="433"/>
                    <a:pt x="971" y="405"/>
                    <a:pt x="971" y="374"/>
                  </a:cubicBezTo>
                  <a:cubicBezTo>
                    <a:pt x="971" y="366"/>
                    <a:pt x="971" y="366"/>
                    <a:pt x="971" y="366"/>
                  </a:cubicBezTo>
                  <a:cubicBezTo>
                    <a:pt x="971" y="335"/>
                    <a:pt x="959" y="307"/>
                    <a:pt x="940" y="286"/>
                  </a:cubicBezTo>
                  <a:cubicBezTo>
                    <a:pt x="920" y="266"/>
                    <a:pt x="894" y="253"/>
                    <a:pt x="864" y="253"/>
                  </a:cubicBezTo>
                  <a:cubicBezTo>
                    <a:pt x="860" y="253"/>
                    <a:pt x="860" y="253"/>
                    <a:pt x="860" y="253"/>
                  </a:cubicBezTo>
                  <a:cubicBezTo>
                    <a:pt x="860" y="263"/>
                    <a:pt x="860" y="263"/>
                    <a:pt x="860" y="263"/>
                  </a:cubicBezTo>
                  <a:cubicBezTo>
                    <a:pt x="870" y="260"/>
                    <a:pt x="870" y="260"/>
                    <a:pt x="870" y="260"/>
                  </a:cubicBezTo>
                  <a:cubicBezTo>
                    <a:pt x="861" y="228"/>
                    <a:pt x="843" y="199"/>
                    <a:pt x="818" y="179"/>
                  </a:cubicBezTo>
                  <a:cubicBezTo>
                    <a:pt x="793" y="159"/>
                    <a:pt x="762" y="147"/>
                    <a:pt x="728" y="147"/>
                  </a:cubicBezTo>
                  <a:cubicBezTo>
                    <a:pt x="699" y="147"/>
                    <a:pt x="671" y="156"/>
                    <a:pt x="648" y="172"/>
                  </a:cubicBezTo>
                  <a:cubicBezTo>
                    <a:pt x="654" y="180"/>
                    <a:pt x="654" y="180"/>
                    <a:pt x="654" y="180"/>
                  </a:cubicBezTo>
                  <a:cubicBezTo>
                    <a:pt x="664" y="179"/>
                    <a:pt x="664" y="179"/>
                    <a:pt x="664" y="179"/>
                  </a:cubicBezTo>
                  <a:cubicBezTo>
                    <a:pt x="657" y="128"/>
                    <a:pt x="633" y="84"/>
                    <a:pt x="598" y="51"/>
                  </a:cubicBezTo>
                  <a:cubicBezTo>
                    <a:pt x="564" y="19"/>
                    <a:pt x="518" y="0"/>
                    <a:pt x="468" y="0"/>
                  </a:cubicBezTo>
                  <a:cubicBezTo>
                    <a:pt x="424" y="0"/>
                    <a:pt x="382" y="15"/>
                    <a:pt x="349" y="42"/>
                  </a:cubicBezTo>
                  <a:cubicBezTo>
                    <a:pt x="316" y="68"/>
                    <a:pt x="291" y="106"/>
                    <a:pt x="279" y="148"/>
                  </a:cubicBezTo>
                  <a:cubicBezTo>
                    <a:pt x="288" y="151"/>
                    <a:pt x="288" y="151"/>
                    <a:pt x="288" y="151"/>
                  </a:cubicBezTo>
                  <a:cubicBezTo>
                    <a:pt x="291" y="142"/>
                    <a:pt x="291" y="142"/>
                    <a:pt x="291" y="142"/>
                  </a:cubicBezTo>
                  <a:cubicBezTo>
                    <a:pt x="280" y="138"/>
                    <a:pt x="268" y="136"/>
                    <a:pt x="255" y="136"/>
                  </a:cubicBezTo>
                  <a:cubicBezTo>
                    <a:pt x="220" y="136"/>
                    <a:pt x="188" y="150"/>
                    <a:pt x="164" y="173"/>
                  </a:cubicBezTo>
                  <a:cubicBezTo>
                    <a:pt x="139" y="195"/>
                    <a:pt x="123" y="226"/>
                    <a:pt x="117" y="262"/>
                  </a:cubicBezTo>
                  <a:cubicBezTo>
                    <a:pt x="127" y="263"/>
                    <a:pt x="127" y="263"/>
                    <a:pt x="127" y="263"/>
                  </a:cubicBezTo>
                  <a:cubicBezTo>
                    <a:pt x="127" y="253"/>
                    <a:pt x="127" y="253"/>
                    <a:pt x="127" y="253"/>
                  </a:cubicBezTo>
                  <a:cubicBezTo>
                    <a:pt x="106" y="253"/>
                    <a:pt x="106" y="253"/>
                    <a:pt x="106" y="253"/>
                  </a:cubicBezTo>
                  <a:cubicBezTo>
                    <a:pt x="77" y="253"/>
                    <a:pt x="50" y="266"/>
                    <a:pt x="31" y="286"/>
                  </a:cubicBezTo>
                  <a:cubicBezTo>
                    <a:pt x="11" y="307"/>
                    <a:pt x="0" y="335"/>
                    <a:pt x="0" y="366"/>
                  </a:cubicBezTo>
                  <a:cubicBezTo>
                    <a:pt x="0" y="374"/>
                    <a:pt x="0" y="374"/>
                    <a:pt x="0" y="374"/>
                  </a:cubicBezTo>
                  <a:cubicBezTo>
                    <a:pt x="0" y="405"/>
                    <a:pt x="11" y="433"/>
                    <a:pt x="31" y="454"/>
                  </a:cubicBezTo>
                  <a:cubicBezTo>
                    <a:pt x="50" y="474"/>
                    <a:pt x="77" y="487"/>
                    <a:pt x="106" y="487"/>
                  </a:cubicBezTo>
                  <a:cubicBezTo>
                    <a:pt x="242" y="487"/>
                    <a:pt x="242" y="487"/>
                    <a:pt x="242" y="487"/>
                  </a:cubicBezTo>
                  <a:cubicBezTo>
                    <a:pt x="242" y="467"/>
                    <a:pt x="242" y="467"/>
                    <a:pt x="242" y="467"/>
                  </a:cubicBezTo>
                  <a:cubicBezTo>
                    <a:pt x="106" y="467"/>
                    <a:pt x="106" y="467"/>
                    <a:pt x="106" y="467"/>
                  </a:cubicBezTo>
                  <a:cubicBezTo>
                    <a:pt x="83" y="467"/>
                    <a:pt x="61" y="457"/>
                    <a:pt x="45" y="440"/>
                  </a:cubicBezTo>
                  <a:cubicBezTo>
                    <a:pt x="30" y="423"/>
                    <a:pt x="20" y="400"/>
                    <a:pt x="20" y="374"/>
                  </a:cubicBezTo>
                  <a:cubicBezTo>
                    <a:pt x="20" y="366"/>
                    <a:pt x="20" y="366"/>
                    <a:pt x="20" y="366"/>
                  </a:cubicBezTo>
                  <a:cubicBezTo>
                    <a:pt x="20" y="340"/>
                    <a:pt x="30" y="317"/>
                    <a:pt x="45" y="300"/>
                  </a:cubicBezTo>
                  <a:cubicBezTo>
                    <a:pt x="61" y="283"/>
                    <a:pt x="83" y="273"/>
                    <a:pt x="106" y="273"/>
                  </a:cubicBezTo>
                  <a:cubicBezTo>
                    <a:pt x="136" y="273"/>
                    <a:pt x="136" y="273"/>
                    <a:pt x="136" y="273"/>
                  </a:cubicBezTo>
                  <a:cubicBezTo>
                    <a:pt x="137" y="264"/>
                    <a:pt x="137" y="264"/>
                    <a:pt x="137" y="264"/>
                  </a:cubicBezTo>
                  <a:cubicBezTo>
                    <a:pt x="142" y="234"/>
                    <a:pt x="157" y="207"/>
                    <a:pt x="177" y="187"/>
                  </a:cubicBezTo>
                  <a:cubicBezTo>
                    <a:pt x="198" y="168"/>
                    <a:pt x="225" y="157"/>
                    <a:pt x="255" y="157"/>
                  </a:cubicBezTo>
                  <a:cubicBezTo>
                    <a:pt x="265" y="157"/>
                    <a:pt x="276" y="158"/>
                    <a:pt x="286" y="161"/>
                  </a:cubicBezTo>
                  <a:cubicBezTo>
                    <a:pt x="295" y="164"/>
                    <a:pt x="295" y="164"/>
                    <a:pt x="295" y="164"/>
                  </a:cubicBezTo>
                  <a:cubicBezTo>
                    <a:pt x="298" y="154"/>
                    <a:pt x="298" y="154"/>
                    <a:pt x="298" y="154"/>
                  </a:cubicBezTo>
                  <a:cubicBezTo>
                    <a:pt x="310" y="115"/>
                    <a:pt x="332" y="82"/>
                    <a:pt x="362" y="58"/>
                  </a:cubicBezTo>
                  <a:cubicBezTo>
                    <a:pt x="392" y="34"/>
                    <a:pt x="428" y="20"/>
                    <a:pt x="468" y="20"/>
                  </a:cubicBezTo>
                  <a:cubicBezTo>
                    <a:pt x="513" y="20"/>
                    <a:pt x="553" y="37"/>
                    <a:pt x="584" y="66"/>
                  </a:cubicBezTo>
                  <a:cubicBezTo>
                    <a:pt x="616" y="95"/>
                    <a:pt x="637" y="136"/>
                    <a:pt x="644" y="182"/>
                  </a:cubicBezTo>
                  <a:cubicBezTo>
                    <a:pt x="646" y="198"/>
                    <a:pt x="646" y="198"/>
                    <a:pt x="646" y="198"/>
                  </a:cubicBezTo>
                  <a:cubicBezTo>
                    <a:pt x="660" y="189"/>
                    <a:pt x="660" y="189"/>
                    <a:pt x="660" y="189"/>
                  </a:cubicBezTo>
                  <a:cubicBezTo>
                    <a:pt x="680" y="175"/>
                    <a:pt x="703" y="167"/>
                    <a:pt x="728" y="167"/>
                  </a:cubicBezTo>
                  <a:cubicBezTo>
                    <a:pt x="757" y="167"/>
                    <a:pt x="784" y="177"/>
                    <a:pt x="805" y="195"/>
                  </a:cubicBezTo>
                  <a:cubicBezTo>
                    <a:pt x="827" y="212"/>
                    <a:pt x="843" y="237"/>
                    <a:pt x="851" y="266"/>
                  </a:cubicBezTo>
                  <a:cubicBezTo>
                    <a:pt x="853" y="273"/>
                    <a:pt x="853" y="273"/>
                    <a:pt x="853" y="273"/>
                  </a:cubicBezTo>
                  <a:cubicBezTo>
                    <a:pt x="864" y="273"/>
                    <a:pt x="864" y="273"/>
                    <a:pt x="864" y="273"/>
                  </a:cubicBezTo>
                  <a:cubicBezTo>
                    <a:pt x="888" y="273"/>
                    <a:pt x="909" y="283"/>
                    <a:pt x="925" y="300"/>
                  </a:cubicBezTo>
                  <a:cubicBezTo>
                    <a:pt x="941" y="317"/>
                    <a:pt x="951" y="340"/>
                    <a:pt x="951" y="366"/>
                  </a:cubicBezTo>
                  <a:cubicBezTo>
                    <a:pt x="951" y="374"/>
                    <a:pt x="951" y="374"/>
                    <a:pt x="951" y="374"/>
                  </a:cubicBezTo>
                  <a:cubicBezTo>
                    <a:pt x="951" y="400"/>
                    <a:pt x="941" y="423"/>
                    <a:pt x="925" y="440"/>
                  </a:cubicBezTo>
                  <a:cubicBezTo>
                    <a:pt x="909" y="457"/>
                    <a:pt x="888" y="467"/>
                    <a:pt x="864" y="467"/>
                  </a:cubicBezTo>
                  <a:cubicBezTo>
                    <a:pt x="718" y="467"/>
                    <a:pt x="718" y="467"/>
                    <a:pt x="718" y="467"/>
                  </a:cubicBezTo>
                  <a:cubicBezTo>
                    <a:pt x="718" y="487"/>
                    <a:pt x="718" y="487"/>
                    <a:pt x="718" y="487"/>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51" name="Freeform 1571">
              <a:extLst>
                <a:ext uri="{FF2B5EF4-FFF2-40B4-BE49-F238E27FC236}">
                  <a16:creationId xmlns:a16="http://schemas.microsoft.com/office/drawing/2014/main" id="{E4655631-A3CD-433B-AB82-24A35FCEA441}"/>
                </a:ext>
              </a:extLst>
            </p:cNvPr>
            <p:cNvSpPr>
              <a:spLocks noEditPoints="1"/>
            </p:cNvSpPr>
            <p:nvPr userDrawn="1"/>
          </p:nvSpPr>
          <p:spPr bwMode="auto">
            <a:xfrm>
              <a:off x="9434513" y="2832100"/>
              <a:ext cx="617538" cy="658813"/>
            </a:xfrm>
            <a:custGeom>
              <a:avLst/>
              <a:gdLst>
                <a:gd name="T0" fmla="*/ 296 w 312"/>
                <a:gd name="T1" fmla="*/ 139 h 333"/>
                <a:gd name="T2" fmla="*/ 270 w 312"/>
                <a:gd name="T3" fmla="*/ 139 h 333"/>
                <a:gd name="T4" fmla="*/ 255 w 312"/>
                <a:gd name="T5" fmla="*/ 100 h 333"/>
                <a:gd name="T6" fmla="*/ 273 w 312"/>
                <a:gd name="T7" fmla="*/ 81 h 333"/>
                <a:gd name="T8" fmla="*/ 273 w 312"/>
                <a:gd name="T9" fmla="*/ 56 h 333"/>
                <a:gd name="T10" fmla="*/ 260 w 312"/>
                <a:gd name="T11" fmla="*/ 42 h 333"/>
                <a:gd name="T12" fmla="*/ 237 w 312"/>
                <a:gd name="T13" fmla="*/ 42 h 333"/>
                <a:gd name="T14" fmla="*/ 219 w 312"/>
                <a:gd name="T15" fmla="*/ 61 h 333"/>
                <a:gd name="T16" fmla="*/ 182 w 312"/>
                <a:gd name="T17" fmla="*/ 45 h 333"/>
                <a:gd name="T18" fmla="*/ 182 w 312"/>
                <a:gd name="T19" fmla="*/ 18 h 333"/>
                <a:gd name="T20" fmla="*/ 166 w 312"/>
                <a:gd name="T21" fmla="*/ 0 h 333"/>
                <a:gd name="T22" fmla="*/ 147 w 312"/>
                <a:gd name="T23" fmla="*/ 0 h 333"/>
                <a:gd name="T24" fmla="*/ 130 w 312"/>
                <a:gd name="T25" fmla="*/ 18 h 333"/>
                <a:gd name="T26" fmla="*/ 130 w 312"/>
                <a:gd name="T27" fmla="*/ 45 h 333"/>
                <a:gd name="T28" fmla="*/ 94 w 312"/>
                <a:gd name="T29" fmla="*/ 61 h 333"/>
                <a:gd name="T30" fmla="*/ 76 w 312"/>
                <a:gd name="T31" fmla="*/ 41 h 333"/>
                <a:gd name="T32" fmla="*/ 53 w 312"/>
                <a:gd name="T33" fmla="*/ 41 h 333"/>
                <a:gd name="T34" fmla="*/ 40 w 312"/>
                <a:gd name="T35" fmla="*/ 55 h 333"/>
                <a:gd name="T36" fmla="*/ 40 w 312"/>
                <a:gd name="T37" fmla="*/ 80 h 333"/>
                <a:gd name="T38" fmla="*/ 58 w 312"/>
                <a:gd name="T39" fmla="*/ 99 h 333"/>
                <a:gd name="T40" fmla="*/ 42 w 312"/>
                <a:gd name="T41" fmla="*/ 138 h 333"/>
                <a:gd name="T42" fmla="*/ 17 w 312"/>
                <a:gd name="T43" fmla="*/ 138 h 333"/>
                <a:gd name="T44" fmla="*/ 0 w 312"/>
                <a:gd name="T45" fmla="*/ 156 h 333"/>
                <a:gd name="T46" fmla="*/ 0 w 312"/>
                <a:gd name="T47" fmla="*/ 176 h 333"/>
                <a:gd name="T48" fmla="*/ 17 w 312"/>
                <a:gd name="T49" fmla="*/ 194 h 333"/>
                <a:gd name="T50" fmla="*/ 42 w 312"/>
                <a:gd name="T51" fmla="*/ 194 h 333"/>
                <a:gd name="T52" fmla="*/ 57 w 312"/>
                <a:gd name="T53" fmla="*/ 233 h 333"/>
                <a:gd name="T54" fmla="*/ 39 w 312"/>
                <a:gd name="T55" fmla="*/ 252 h 333"/>
                <a:gd name="T56" fmla="*/ 39 w 312"/>
                <a:gd name="T57" fmla="*/ 277 h 333"/>
                <a:gd name="T58" fmla="*/ 52 w 312"/>
                <a:gd name="T59" fmla="*/ 291 h 333"/>
                <a:gd name="T60" fmla="*/ 75 w 312"/>
                <a:gd name="T61" fmla="*/ 291 h 333"/>
                <a:gd name="T62" fmla="*/ 93 w 312"/>
                <a:gd name="T63" fmla="*/ 272 h 333"/>
                <a:gd name="T64" fmla="*/ 130 w 312"/>
                <a:gd name="T65" fmla="*/ 289 h 333"/>
                <a:gd name="T66" fmla="*/ 130 w 312"/>
                <a:gd name="T67" fmla="*/ 316 h 333"/>
                <a:gd name="T68" fmla="*/ 146 w 312"/>
                <a:gd name="T69" fmla="*/ 333 h 333"/>
                <a:gd name="T70" fmla="*/ 165 w 312"/>
                <a:gd name="T71" fmla="*/ 333 h 333"/>
                <a:gd name="T72" fmla="*/ 182 w 312"/>
                <a:gd name="T73" fmla="*/ 316 h 333"/>
                <a:gd name="T74" fmla="*/ 182 w 312"/>
                <a:gd name="T75" fmla="*/ 289 h 333"/>
                <a:gd name="T76" fmla="*/ 218 w 312"/>
                <a:gd name="T77" fmla="*/ 273 h 333"/>
                <a:gd name="T78" fmla="*/ 236 w 312"/>
                <a:gd name="T79" fmla="*/ 292 h 333"/>
                <a:gd name="T80" fmla="*/ 259 w 312"/>
                <a:gd name="T81" fmla="*/ 292 h 333"/>
                <a:gd name="T82" fmla="*/ 273 w 312"/>
                <a:gd name="T83" fmla="*/ 278 h 333"/>
                <a:gd name="T84" fmla="*/ 273 w 312"/>
                <a:gd name="T85" fmla="*/ 253 h 333"/>
                <a:gd name="T86" fmla="*/ 255 w 312"/>
                <a:gd name="T87" fmla="*/ 234 h 333"/>
                <a:gd name="T88" fmla="*/ 270 w 312"/>
                <a:gd name="T89" fmla="*/ 195 h 333"/>
                <a:gd name="T90" fmla="*/ 296 w 312"/>
                <a:gd name="T91" fmla="*/ 195 h 333"/>
                <a:gd name="T92" fmla="*/ 312 w 312"/>
                <a:gd name="T93" fmla="*/ 177 h 333"/>
                <a:gd name="T94" fmla="*/ 312 w 312"/>
                <a:gd name="T95" fmla="*/ 157 h 333"/>
                <a:gd name="T96" fmla="*/ 296 w 312"/>
                <a:gd name="T97" fmla="*/ 139 h 333"/>
                <a:gd name="T98" fmla="*/ 156 w 312"/>
                <a:gd name="T99" fmla="*/ 222 h 333"/>
                <a:gd name="T100" fmla="*/ 104 w 312"/>
                <a:gd name="T101" fmla="*/ 167 h 333"/>
                <a:gd name="T102" fmla="*/ 156 w 312"/>
                <a:gd name="T103" fmla="*/ 111 h 333"/>
                <a:gd name="T104" fmla="*/ 208 w 312"/>
                <a:gd name="T105" fmla="*/ 167 h 333"/>
                <a:gd name="T106" fmla="*/ 156 w 312"/>
                <a:gd name="T107" fmla="*/ 222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2" h="333">
                  <a:moveTo>
                    <a:pt x="296" y="139"/>
                  </a:moveTo>
                  <a:cubicBezTo>
                    <a:pt x="270" y="139"/>
                    <a:pt x="270" y="139"/>
                    <a:pt x="270" y="139"/>
                  </a:cubicBezTo>
                  <a:cubicBezTo>
                    <a:pt x="267" y="125"/>
                    <a:pt x="262" y="112"/>
                    <a:pt x="255" y="100"/>
                  </a:cubicBezTo>
                  <a:cubicBezTo>
                    <a:pt x="273" y="81"/>
                    <a:pt x="273" y="81"/>
                    <a:pt x="273" y="81"/>
                  </a:cubicBezTo>
                  <a:cubicBezTo>
                    <a:pt x="280" y="74"/>
                    <a:pt x="280" y="63"/>
                    <a:pt x="273" y="56"/>
                  </a:cubicBezTo>
                  <a:cubicBezTo>
                    <a:pt x="260" y="42"/>
                    <a:pt x="260" y="42"/>
                    <a:pt x="260" y="42"/>
                  </a:cubicBezTo>
                  <a:cubicBezTo>
                    <a:pt x="253" y="35"/>
                    <a:pt x="243" y="35"/>
                    <a:pt x="237" y="42"/>
                  </a:cubicBezTo>
                  <a:cubicBezTo>
                    <a:pt x="219" y="61"/>
                    <a:pt x="219" y="61"/>
                    <a:pt x="219" y="61"/>
                  </a:cubicBezTo>
                  <a:cubicBezTo>
                    <a:pt x="208" y="53"/>
                    <a:pt x="195" y="48"/>
                    <a:pt x="182" y="45"/>
                  </a:cubicBezTo>
                  <a:cubicBezTo>
                    <a:pt x="182" y="18"/>
                    <a:pt x="182" y="18"/>
                    <a:pt x="182" y="18"/>
                  </a:cubicBezTo>
                  <a:cubicBezTo>
                    <a:pt x="182" y="8"/>
                    <a:pt x="175" y="0"/>
                    <a:pt x="166" y="0"/>
                  </a:cubicBezTo>
                  <a:cubicBezTo>
                    <a:pt x="147" y="0"/>
                    <a:pt x="147" y="0"/>
                    <a:pt x="147" y="0"/>
                  </a:cubicBezTo>
                  <a:cubicBezTo>
                    <a:pt x="138" y="0"/>
                    <a:pt x="130" y="8"/>
                    <a:pt x="130" y="18"/>
                  </a:cubicBezTo>
                  <a:cubicBezTo>
                    <a:pt x="130" y="45"/>
                    <a:pt x="130" y="45"/>
                    <a:pt x="130" y="45"/>
                  </a:cubicBezTo>
                  <a:cubicBezTo>
                    <a:pt x="117" y="48"/>
                    <a:pt x="105" y="53"/>
                    <a:pt x="94" y="61"/>
                  </a:cubicBezTo>
                  <a:cubicBezTo>
                    <a:pt x="76" y="41"/>
                    <a:pt x="76" y="41"/>
                    <a:pt x="76" y="41"/>
                  </a:cubicBezTo>
                  <a:cubicBezTo>
                    <a:pt x="70" y="34"/>
                    <a:pt x="60" y="34"/>
                    <a:pt x="53" y="41"/>
                  </a:cubicBezTo>
                  <a:cubicBezTo>
                    <a:pt x="40" y="55"/>
                    <a:pt x="40" y="55"/>
                    <a:pt x="40" y="55"/>
                  </a:cubicBezTo>
                  <a:cubicBezTo>
                    <a:pt x="33" y="62"/>
                    <a:pt x="33" y="73"/>
                    <a:pt x="40" y="80"/>
                  </a:cubicBezTo>
                  <a:cubicBezTo>
                    <a:pt x="58" y="99"/>
                    <a:pt x="58" y="99"/>
                    <a:pt x="58" y="99"/>
                  </a:cubicBezTo>
                  <a:cubicBezTo>
                    <a:pt x="50" y="111"/>
                    <a:pt x="45" y="124"/>
                    <a:pt x="42" y="138"/>
                  </a:cubicBezTo>
                  <a:cubicBezTo>
                    <a:pt x="17" y="138"/>
                    <a:pt x="17" y="138"/>
                    <a:pt x="17" y="138"/>
                  </a:cubicBezTo>
                  <a:cubicBezTo>
                    <a:pt x="8" y="138"/>
                    <a:pt x="0" y="146"/>
                    <a:pt x="0" y="156"/>
                  </a:cubicBezTo>
                  <a:cubicBezTo>
                    <a:pt x="0" y="176"/>
                    <a:pt x="0" y="176"/>
                    <a:pt x="0" y="176"/>
                  </a:cubicBezTo>
                  <a:cubicBezTo>
                    <a:pt x="0" y="186"/>
                    <a:pt x="8" y="194"/>
                    <a:pt x="17" y="194"/>
                  </a:cubicBezTo>
                  <a:cubicBezTo>
                    <a:pt x="42" y="194"/>
                    <a:pt x="42" y="194"/>
                    <a:pt x="42" y="194"/>
                  </a:cubicBezTo>
                  <a:cubicBezTo>
                    <a:pt x="45" y="208"/>
                    <a:pt x="50" y="221"/>
                    <a:pt x="57" y="233"/>
                  </a:cubicBezTo>
                  <a:cubicBezTo>
                    <a:pt x="39" y="252"/>
                    <a:pt x="39" y="252"/>
                    <a:pt x="39" y="252"/>
                  </a:cubicBezTo>
                  <a:cubicBezTo>
                    <a:pt x="33" y="259"/>
                    <a:pt x="33" y="270"/>
                    <a:pt x="39" y="277"/>
                  </a:cubicBezTo>
                  <a:cubicBezTo>
                    <a:pt x="52" y="291"/>
                    <a:pt x="52" y="291"/>
                    <a:pt x="52" y="291"/>
                  </a:cubicBezTo>
                  <a:cubicBezTo>
                    <a:pt x="59" y="298"/>
                    <a:pt x="69" y="298"/>
                    <a:pt x="75" y="291"/>
                  </a:cubicBezTo>
                  <a:cubicBezTo>
                    <a:pt x="93" y="272"/>
                    <a:pt x="93" y="272"/>
                    <a:pt x="93" y="272"/>
                  </a:cubicBezTo>
                  <a:cubicBezTo>
                    <a:pt x="105" y="280"/>
                    <a:pt x="117" y="285"/>
                    <a:pt x="130" y="289"/>
                  </a:cubicBezTo>
                  <a:cubicBezTo>
                    <a:pt x="130" y="316"/>
                    <a:pt x="130" y="316"/>
                    <a:pt x="130" y="316"/>
                  </a:cubicBezTo>
                  <a:cubicBezTo>
                    <a:pt x="130" y="325"/>
                    <a:pt x="137" y="333"/>
                    <a:pt x="146" y="333"/>
                  </a:cubicBezTo>
                  <a:cubicBezTo>
                    <a:pt x="165" y="333"/>
                    <a:pt x="165" y="333"/>
                    <a:pt x="165" y="333"/>
                  </a:cubicBezTo>
                  <a:cubicBezTo>
                    <a:pt x="174" y="333"/>
                    <a:pt x="182" y="326"/>
                    <a:pt x="182" y="316"/>
                  </a:cubicBezTo>
                  <a:cubicBezTo>
                    <a:pt x="182" y="289"/>
                    <a:pt x="182" y="289"/>
                    <a:pt x="182" y="289"/>
                  </a:cubicBezTo>
                  <a:cubicBezTo>
                    <a:pt x="195" y="286"/>
                    <a:pt x="207" y="280"/>
                    <a:pt x="218" y="273"/>
                  </a:cubicBezTo>
                  <a:cubicBezTo>
                    <a:pt x="236" y="292"/>
                    <a:pt x="236" y="292"/>
                    <a:pt x="236" y="292"/>
                  </a:cubicBezTo>
                  <a:cubicBezTo>
                    <a:pt x="243" y="299"/>
                    <a:pt x="253" y="299"/>
                    <a:pt x="259" y="292"/>
                  </a:cubicBezTo>
                  <a:cubicBezTo>
                    <a:pt x="273" y="278"/>
                    <a:pt x="273" y="278"/>
                    <a:pt x="273" y="278"/>
                  </a:cubicBezTo>
                  <a:cubicBezTo>
                    <a:pt x="279" y="271"/>
                    <a:pt x="279" y="260"/>
                    <a:pt x="273" y="253"/>
                  </a:cubicBezTo>
                  <a:cubicBezTo>
                    <a:pt x="255" y="234"/>
                    <a:pt x="255" y="234"/>
                    <a:pt x="255" y="234"/>
                  </a:cubicBezTo>
                  <a:cubicBezTo>
                    <a:pt x="262" y="222"/>
                    <a:pt x="267" y="209"/>
                    <a:pt x="270" y="195"/>
                  </a:cubicBezTo>
                  <a:cubicBezTo>
                    <a:pt x="296" y="195"/>
                    <a:pt x="296" y="195"/>
                    <a:pt x="296" y="195"/>
                  </a:cubicBezTo>
                  <a:cubicBezTo>
                    <a:pt x="305" y="195"/>
                    <a:pt x="312" y="187"/>
                    <a:pt x="312" y="177"/>
                  </a:cubicBezTo>
                  <a:cubicBezTo>
                    <a:pt x="312" y="157"/>
                    <a:pt x="312" y="157"/>
                    <a:pt x="312" y="157"/>
                  </a:cubicBezTo>
                  <a:cubicBezTo>
                    <a:pt x="312" y="147"/>
                    <a:pt x="305" y="139"/>
                    <a:pt x="296" y="139"/>
                  </a:cubicBezTo>
                  <a:close/>
                  <a:moveTo>
                    <a:pt x="156" y="222"/>
                  </a:moveTo>
                  <a:cubicBezTo>
                    <a:pt x="127" y="222"/>
                    <a:pt x="104" y="197"/>
                    <a:pt x="104" y="167"/>
                  </a:cubicBezTo>
                  <a:cubicBezTo>
                    <a:pt x="104" y="136"/>
                    <a:pt x="127" y="111"/>
                    <a:pt x="156" y="111"/>
                  </a:cubicBezTo>
                  <a:cubicBezTo>
                    <a:pt x="185" y="111"/>
                    <a:pt x="208" y="136"/>
                    <a:pt x="208" y="167"/>
                  </a:cubicBezTo>
                  <a:cubicBezTo>
                    <a:pt x="208" y="197"/>
                    <a:pt x="185" y="222"/>
                    <a:pt x="156" y="222"/>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52" name="Freeform 1573">
              <a:extLst>
                <a:ext uri="{FF2B5EF4-FFF2-40B4-BE49-F238E27FC236}">
                  <a16:creationId xmlns:a16="http://schemas.microsoft.com/office/drawing/2014/main" id="{91E4AD72-D6EA-4205-8DC9-3A4E2D2D1DBD}"/>
                </a:ext>
              </a:extLst>
            </p:cNvPr>
            <p:cNvSpPr>
              <a:spLocks/>
            </p:cNvSpPr>
            <p:nvPr userDrawn="1"/>
          </p:nvSpPr>
          <p:spPr bwMode="auto">
            <a:xfrm>
              <a:off x="7018338" y="4425950"/>
              <a:ext cx="995363" cy="1693863"/>
            </a:xfrm>
            <a:custGeom>
              <a:avLst/>
              <a:gdLst>
                <a:gd name="T0" fmla="*/ 495 w 503"/>
                <a:gd name="T1" fmla="*/ 856 h 856"/>
                <a:gd name="T2" fmla="*/ 8 w 503"/>
                <a:gd name="T3" fmla="*/ 856 h 856"/>
                <a:gd name="T4" fmla="*/ 0 w 503"/>
                <a:gd name="T5" fmla="*/ 848 h 856"/>
                <a:gd name="T6" fmla="*/ 0 w 503"/>
                <a:gd name="T7" fmla="*/ 8 h 856"/>
                <a:gd name="T8" fmla="*/ 8 w 503"/>
                <a:gd name="T9" fmla="*/ 0 h 856"/>
                <a:gd name="T10" fmla="*/ 495 w 503"/>
                <a:gd name="T11" fmla="*/ 0 h 856"/>
                <a:gd name="T12" fmla="*/ 503 w 503"/>
                <a:gd name="T13" fmla="*/ 8 h 856"/>
                <a:gd name="T14" fmla="*/ 503 w 503"/>
                <a:gd name="T15" fmla="*/ 848 h 856"/>
                <a:gd name="T16" fmla="*/ 495 w 503"/>
                <a:gd name="T17" fmla="*/ 856 h 8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3" h="856">
                  <a:moveTo>
                    <a:pt x="495" y="856"/>
                  </a:moveTo>
                  <a:cubicBezTo>
                    <a:pt x="8" y="856"/>
                    <a:pt x="8" y="856"/>
                    <a:pt x="8" y="856"/>
                  </a:cubicBezTo>
                  <a:cubicBezTo>
                    <a:pt x="4" y="856"/>
                    <a:pt x="0" y="852"/>
                    <a:pt x="0" y="848"/>
                  </a:cubicBezTo>
                  <a:cubicBezTo>
                    <a:pt x="0" y="8"/>
                    <a:pt x="0" y="8"/>
                    <a:pt x="0" y="8"/>
                  </a:cubicBezTo>
                  <a:cubicBezTo>
                    <a:pt x="0" y="4"/>
                    <a:pt x="4" y="0"/>
                    <a:pt x="8" y="0"/>
                  </a:cubicBezTo>
                  <a:cubicBezTo>
                    <a:pt x="495" y="0"/>
                    <a:pt x="495" y="0"/>
                    <a:pt x="495" y="0"/>
                  </a:cubicBezTo>
                  <a:cubicBezTo>
                    <a:pt x="499" y="0"/>
                    <a:pt x="503" y="4"/>
                    <a:pt x="503" y="8"/>
                  </a:cubicBezTo>
                  <a:cubicBezTo>
                    <a:pt x="503" y="848"/>
                    <a:pt x="503" y="848"/>
                    <a:pt x="503" y="848"/>
                  </a:cubicBezTo>
                  <a:cubicBezTo>
                    <a:pt x="503" y="852"/>
                    <a:pt x="499" y="856"/>
                    <a:pt x="495" y="85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53" name="Freeform 1574">
              <a:extLst>
                <a:ext uri="{FF2B5EF4-FFF2-40B4-BE49-F238E27FC236}">
                  <a16:creationId xmlns:a16="http://schemas.microsoft.com/office/drawing/2014/main" id="{F98014E4-4C53-41E0-978D-612D4A00FB01}"/>
                </a:ext>
              </a:extLst>
            </p:cNvPr>
            <p:cNvSpPr>
              <a:spLocks/>
            </p:cNvSpPr>
            <p:nvPr userDrawn="1"/>
          </p:nvSpPr>
          <p:spPr bwMode="auto">
            <a:xfrm>
              <a:off x="6999288" y="4406900"/>
              <a:ext cx="723900" cy="781050"/>
            </a:xfrm>
            <a:custGeom>
              <a:avLst/>
              <a:gdLst>
                <a:gd name="T0" fmla="*/ 20 w 366"/>
                <a:gd name="T1" fmla="*/ 395 h 395"/>
                <a:gd name="T2" fmla="*/ 20 w 366"/>
                <a:gd name="T3" fmla="*/ 58 h 395"/>
                <a:gd name="T4" fmla="*/ 31 w 366"/>
                <a:gd name="T5" fmla="*/ 31 h 395"/>
                <a:gd name="T6" fmla="*/ 55 w 366"/>
                <a:gd name="T7" fmla="*/ 21 h 395"/>
                <a:gd name="T8" fmla="*/ 366 w 366"/>
                <a:gd name="T9" fmla="*/ 21 h 395"/>
                <a:gd name="T10" fmla="*/ 366 w 366"/>
                <a:gd name="T11" fmla="*/ 0 h 395"/>
                <a:gd name="T12" fmla="*/ 55 w 366"/>
                <a:gd name="T13" fmla="*/ 0 h 395"/>
                <a:gd name="T14" fmla="*/ 16 w 366"/>
                <a:gd name="T15" fmla="*/ 18 h 395"/>
                <a:gd name="T16" fmla="*/ 0 w 366"/>
                <a:gd name="T17" fmla="*/ 58 h 395"/>
                <a:gd name="T18" fmla="*/ 0 w 366"/>
                <a:gd name="T19" fmla="*/ 395 h 395"/>
                <a:gd name="T20" fmla="*/ 20 w 366"/>
                <a:gd name="T21" fmla="*/ 395 h 3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6" h="395">
                  <a:moveTo>
                    <a:pt x="20" y="395"/>
                  </a:moveTo>
                  <a:cubicBezTo>
                    <a:pt x="20" y="58"/>
                    <a:pt x="20" y="58"/>
                    <a:pt x="20" y="58"/>
                  </a:cubicBezTo>
                  <a:cubicBezTo>
                    <a:pt x="20" y="48"/>
                    <a:pt x="25" y="38"/>
                    <a:pt x="31" y="31"/>
                  </a:cubicBezTo>
                  <a:cubicBezTo>
                    <a:pt x="37" y="25"/>
                    <a:pt x="46" y="21"/>
                    <a:pt x="55" y="21"/>
                  </a:cubicBezTo>
                  <a:cubicBezTo>
                    <a:pt x="366" y="21"/>
                    <a:pt x="366" y="21"/>
                    <a:pt x="366" y="21"/>
                  </a:cubicBezTo>
                  <a:cubicBezTo>
                    <a:pt x="366" y="0"/>
                    <a:pt x="366" y="0"/>
                    <a:pt x="366" y="0"/>
                  </a:cubicBezTo>
                  <a:cubicBezTo>
                    <a:pt x="55" y="0"/>
                    <a:pt x="55" y="0"/>
                    <a:pt x="55" y="0"/>
                  </a:cubicBezTo>
                  <a:cubicBezTo>
                    <a:pt x="40" y="0"/>
                    <a:pt x="26" y="7"/>
                    <a:pt x="16" y="18"/>
                  </a:cubicBezTo>
                  <a:cubicBezTo>
                    <a:pt x="6" y="28"/>
                    <a:pt x="0" y="43"/>
                    <a:pt x="0" y="58"/>
                  </a:cubicBezTo>
                  <a:cubicBezTo>
                    <a:pt x="0" y="395"/>
                    <a:pt x="0" y="395"/>
                    <a:pt x="0" y="395"/>
                  </a:cubicBezTo>
                  <a:cubicBezTo>
                    <a:pt x="20" y="395"/>
                    <a:pt x="20" y="395"/>
                    <a:pt x="20" y="395"/>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54" name="Freeform 1575">
              <a:extLst>
                <a:ext uri="{FF2B5EF4-FFF2-40B4-BE49-F238E27FC236}">
                  <a16:creationId xmlns:a16="http://schemas.microsoft.com/office/drawing/2014/main" id="{4C79F9B6-51E3-46E0-B21D-857C0DA77559}"/>
                </a:ext>
              </a:extLst>
            </p:cNvPr>
            <p:cNvSpPr>
              <a:spLocks/>
            </p:cNvSpPr>
            <p:nvPr userDrawn="1"/>
          </p:nvSpPr>
          <p:spPr bwMode="auto">
            <a:xfrm>
              <a:off x="7924801" y="4406900"/>
              <a:ext cx="109538" cy="1731963"/>
            </a:xfrm>
            <a:custGeom>
              <a:avLst/>
              <a:gdLst>
                <a:gd name="T0" fmla="*/ 0 w 55"/>
                <a:gd name="T1" fmla="*/ 21 h 876"/>
                <a:gd name="T2" fmla="*/ 24 w 55"/>
                <a:gd name="T3" fmla="*/ 31 h 876"/>
                <a:gd name="T4" fmla="*/ 35 w 55"/>
                <a:gd name="T5" fmla="*/ 58 h 876"/>
                <a:gd name="T6" fmla="*/ 35 w 55"/>
                <a:gd name="T7" fmla="*/ 818 h 876"/>
                <a:gd name="T8" fmla="*/ 24 w 55"/>
                <a:gd name="T9" fmla="*/ 845 h 876"/>
                <a:gd name="T10" fmla="*/ 0 w 55"/>
                <a:gd name="T11" fmla="*/ 856 h 876"/>
                <a:gd name="T12" fmla="*/ 0 w 55"/>
                <a:gd name="T13" fmla="*/ 876 h 876"/>
                <a:gd name="T14" fmla="*/ 39 w 55"/>
                <a:gd name="T15" fmla="*/ 859 h 876"/>
                <a:gd name="T16" fmla="*/ 55 w 55"/>
                <a:gd name="T17" fmla="*/ 818 h 876"/>
                <a:gd name="T18" fmla="*/ 55 w 55"/>
                <a:gd name="T19" fmla="*/ 58 h 876"/>
                <a:gd name="T20" fmla="*/ 39 w 55"/>
                <a:gd name="T21" fmla="*/ 18 h 876"/>
                <a:gd name="T22" fmla="*/ 0 w 55"/>
                <a:gd name="T23" fmla="*/ 0 h 876"/>
                <a:gd name="T24" fmla="*/ 0 w 55"/>
                <a:gd name="T25" fmla="*/ 21 h 8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5" h="876">
                  <a:moveTo>
                    <a:pt x="0" y="21"/>
                  </a:moveTo>
                  <a:cubicBezTo>
                    <a:pt x="9" y="21"/>
                    <a:pt x="18" y="25"/>
                    <a:pt x="24" y="31"/>
                  </a:cubicBezTo>
                  <a:cubicBezTo>
                    <a:pt x="31" y="38"/>
                    <a:pt x="35" y="48"/>
                    <a:pt x="35" y="58"/>
                  </a:cubicBezTo>
                  <a:cubicBezTo>
                    <a:pt x="35" y="818"/>
                    <a:pt x="35" y="818"/>
                    <a:pt x="35" y="818"/>
                  </a:cubicBezTo>
                  <a:cubicBezTo>
                    <a:pt x="35" y="828"/>
                    <a:pt x="31" y="838"/>
                    <a:pt x="24" y="845"/>
                  </a:cubicBezTo>
                  <a:cubicBezTo>
                    <a:pt x="18" y="852"/>
                    <a:pt x="9" y="856"/>
                    <a:pt x="0" y="856"/>
                  </a:cubicBezTo>
                  <a:cubicBezTo>
                    <a:pt x="0" y="876"/>
                    <a:pt x="0" y="876"/>
                    <a:pt x="0" y="876"/>
                  </a:cubicBezTo>
                  <a:cubicBezTo>
                    <a:pt x="15" y="876"/>
                    <a:pt x="29" y="869"/>
                    <a:pt x="39" y="859"/>
                  </a:cubicBezTo>
                  <a:cubicBezTo>
                    <a:pt x="49" y="848"/>
                    <a:pt x="55" y="834"/>
                    <a:pt x="55" y="818"/>
                  </a:cubicBezTo>
                  <a:cubicBezTo>
                    <a:pt x="55" y="58"/>
                    <a:pt x="55" y="58"/>
                    <a:pt x="55" y="58"/>
                  </a:cubicBezTo>
                  <a:cubicBezTo>
                    <a:pt x="55" y="43"/>
                    <a:pt x="49" y="28"/>
                    <a:pt x="39" y="18"/>
                  </a:cubicBezTo>
                  <a:cubicBezTo>
                    <a:pt x="29" y="7"/>
                    <a:pt x="15" y="0"/>
                    <a:pt x="0" y="0"/>
                  </a:cubicBezTo>
                  <a:cubicBezTo>
                    <a:pt x="0" y="21"/>
                    <a:pt x="0" y="21"/>
                    <a:pt x="0" y="21"/>
                  </a:cubicBezTo>
                </a:path>
              </a:pathLst>
            </a:custGeom>
            <a:solidFill>
              <a:srgbClr val="0686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55" name="Rectangle 1576">
              <a:extLst>
                <a:ext uri="{FF2B5EF4-FFF2-40B4-BE49-F238E27FC236}">
                  <a16:creationId xmlns:a16="http://schemas.microsoft.com/office/drawing/2014/main" id="{81CB0269-178C-4FC0-A12F-1BDD2BC50FB2}"/>
                </a:ext>
              </a:extLst>
            </p:cNvPr>
            <p:cNvSpPr>
              <a:spLocks noChangeArrowheads="1"/>
            </p:cNvSpPr>
            <p:nvPr userDrawn="1"/>
          </p:nvSpPr>
          <p:spPr bwMode="auto">
            <a:xfrm>
              <a:off x="7369176" y="4535488"/>
              <a:ext cx="295275" cy="38100"/>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56" name="Freeform 1577">
              <a:extLst>
                <a:ext uri="{FF2B5EF4-FFF2-40B4-BE49-F238E27FC236}">
                  <a16:creationId xmlns:a16="http://schemas.microsoft.com/office/drawing/2014/main" id="{F6EA0421-89E3-4C12-8408-E4C90146D04A}"/>
                </a:ext>
              </a:extLst>
            </p:cNvPr>
            <p:cNvSpPr>
              <a:spLocks/>
            </p:cNvSpPr>
            <p:nvPr userDrawn="1"/>
          </p:nvSpPr>
          <p:spPr bwMode="auto">
            <a:xfrm>
              <a:off x="7369176" y="4535488"/>
              <a:ext cx="295275" cy="38100"/>
            </a:xfrm>
            <a:custGeom>
              <a:avLst/>
              <a:gdLst>
                <a:gd name="T0" fmla="*/ 0 w 186"/>
                <a:gd name="T1" fmla="*/ 24 h 24"/>
                <a:gd name="T2" fmla="*/ 186 w 186"/>
                <a:gd name="T3" fmla="*/ 24 h 24"/>
                <a:gd name="T4" fmla="*/ 186 w 186"/>
                <a:gd name="T5" fmla="*/ 0 h 24"/>
                <a:gd name="T6" fmla="*/ 0 w 186"/>
                <a:gd name="T7" fmla="*/ 0 h 24"/>
              </a:gdLst>
              <a:ahLst/>
              <a:cxnLst>
                <a:cxn ang="0">
                  <a:pos x="T0" y="T1"/>
                </a:cxn>
                <a:cxn ang="0">
                  <a:pos x="T2" y="T3"/>
                </a:cxn>
                <a:cxn ang="0">
                  <a:pos x="T4" y="T5"/>
                </a:cxn>
                <a:cxn ang="0">
                  <a:pos x="T6" y="T7"/>
                </a:cxn>
              </a:cxnLst>
              <a:rect l="0" t="0" r="r" b="b"/>
              <a:pathLst>
                <a:path w="186" h="24">
                  <a:moveTo>
                    <a:pt x="0" y="24"/>
                  </a:moveTo>
                  <a:lnTo>
                    <a:pt x="186" y="24"/>
                  </a:lnTo>
                  <a:lnTo>
                    <a:pt x="186"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57" name="Freeform 1578">
              <a:extLst>
                <a:ext uri="{FF2B5EF4-FFF2-40B4-BE49-F238E27FC236}">
                  <a16:creationId xmlns:a16="http://schemas.microsoft.com/office/drawing/2014/main" id="{D59E178D-39BA-42B0-9C65-ACCC6933A155}"/>
                </a:ext>
              </a:extLst>
            </p:cNvPr>
            <p:cNvSpPr>
              <a:spLocks/>
            </p:cNvSpPr>
            <p:nvPr userDrawn="1"/>
          </p:nvSpPr>
          <p:spPr bwMode="auto">
            <a:xfrm>
              <a:off x="7448551" y="5910263"/>
              <a:ext cx="136525" cy="141288"/>
            </a:xfrm>
            <a:custGeom>
              <a:avLst/>
              <a:gdLst>
                <a:gd name="T0" fmla="*/ 59 w 69"/>
                <a:gd name="T1" fmla="*/ 36 h 72"/>
                <a:gd name="T2" fmla="*/ 49 w 69"/>
                <a:gd name="T3" fmla="*/ 36 h 72"/>
                <a:gd name="T4" fmla="*/ 44 w 69"/>
                <a:gd name="T5" fmla="*/ 47 h 72"/>
                <a:gd name="T6" fmla="*/ 35 w 69"/>
                <a:gd name="T7" fmla="*/ 52 h 72"/>
                <a:gd name="T8" fmla="*/ 25 w 69"/>
                <a:gd name="T9" fmla="*/ 47 h 72"/>
                <a:gd name="T10" fmla="*/ 21 w 69"/>
                <a:gd name="T11" fmla="*/ 36 h 72"/>
                <a:gd name="T12" fmla="*/ 25 w 69"/>
                <a:gd name="T13" fmla="*/ 25 h 72"/>
                <a:gd name="T14" fmla="*/ 35 w 69"/>
                <a:gd name="T15" fmla="*/ 20 h 72"/>
                <a:gd name="T16" fmla="*/ 44 w 69"/>
                <a:gd name="T17" fmla="*/ 25 h 72"/>
                <a:gd name="T18" fmla="*/ 49 w 69"/>
                <a:gd name="T19" fmla="*/ 36 h 72"/>
                <a:gd name="T20" fmla="*/ 59 w 69"/>
                <a:gd name="T21" fmla="*/ 36 h 72"/>
                <a:gd name="T22" fmla="*/ 69 w 69"/>
                <a:gd name="T23" fmla="*/ 36 h 72"/>
                <a:gd name="T24" fmla="*/ 59 w 69"/>
                <a:gd name="T25" fmla="*/ 11 h 72"/>
                <a:gd name="T26" fmla="*/ 35 w 69"/>
                <a:gd name="T27" fmla="*/ 0 h 72"/>
                <a:gd name="T28" fmla="*/ 10 w 69"/>
                <a:gd name="T29" fmla="*/ 11 h 72"/>
                <a:gd name="T30" fmla="*/ 0 w 69"/>
                <a:gd name="T31" fmla="*/ 36 h 72"/>
                <a:gd name="T32" fmla="*/ 10 w 69"/>
                <a:gd name="T33" fmla="*/ 61 h 72"/>
                <a:gd name="T34" fmla="*/ 35 w 69"/>
                <a:gd name="T35" fmla="*/ 72 h 72"/>
                <a:gd name="T36" fmla="*/ 59 w 69"/>
                <a:gd name="T37" fmla="*/ 61 h 72"/>
                <a:gd name="T38" fmla="*/ 69 w 69"/>
                <a:gd name="T39" fmla="*/ 36 h 72"/>
                <a:gd name="T40" fmla="*/ 59 w 69"/>
                <a:gd name="T41" fmla="*/ 36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9" h="72">
                  <a:moveTo>
                    <a:pt x="59" y="36"/>
                  </a:moveTo>
                  <a:cubicBezTo>
                    <a:pt x="49" y="36"/>
                    <a:pt x="49" y="36"/>
                    <a:pt x="49" y="36"/>
                  </a:cubicBezTo>
                  <a:cubicBezTo>
                    <a:pt x="49" y="40"/>
                    <a:pt x="47" y="44"/>
                    <a:pt x="44" y="47"/>
                  </a:cubicBezTo>
                  <a:cubicBezTo>
                    <a:pt x="42" y="50"/>
                    <a:pt x="38" y="52"/>
                    <a:pt x="35" y="52"/>
                  </a:cubicBezTo>
                  <a:cubicBezTo>
                    <a:pt x="31" y="52"/>
                    <a:pt x="28" y="50"/>
                    <a:pt x="25" y="47"/>
                  </a:cubicBezTo>
                  <a:cubicBezTo>
                    <a:pt x="22" y="44"/>
                    <a:pt x="21" y="40"/>
                    <a:pt x="21" y="36"/>
                  </a:cubicBezTo>
                  <a:cubicBezTo>
                    <a:pt x="21" y="31"/>
                    <a:pt x="22" y="27"/>
                    <a:pt x="25" y="25"/>
                  </a:cubicBezTo>
                  <a:cubicBezTo>
                    <a:pt x="28" y="22"/>
                    <a:pt x="31" y="20"/>
                    <a:pt x="35" y="20"/>
                  </a:cubicBezTo>
                  <a:cubicBezTo>
                    <a:pt x="38" y="20"/>
                    <a:pt x="42" y="22"/>
                    <a:pt x="44" y="25"/>
                  </a:cubicBezTo>
                  <a:cubicBezTo>
                    <a:pt x="47" y="27"/>
                    <a:pt x="49" y="31"/>
                    <a:pt x="49" y="36"/>
                  </a:cubicBezTo>
                  <a:cubicBezTo>
                    <a:pt x="59" y="36"/>
                    <a:pt x="59" y="36"/>
                    <a:pt x="59" y="36"/>
                  </a:cubicBezTo>
                  <a:cubicBezTo>
                    <a:pt x="69" y="36"/>
                    <a:pt x="69" y="36"/>
                    <a:pt x="69" y="36"/>
                  </a:cubicBezTo>
                  <a:cubicBezTo>
                    <a:pt x="69" y="26"/>
                    <a:pt x="65" y="17"/>
                    <a:pt x="59" y="11"/>
                  </a:cubicBezTo>
                  <a:cubicBezTo>
                    <a:pt x="53" y="4"/>
                    <a:pt x="44" y="0"/>
                    <a:pt x="35" y="0"/>
                  </a:cubicBezTo>
                  <a:cubicBezTo>
                    <a:pt x="25" y="0"/>
                    <a:pt x="16" y="4"/>
                    <a:pt x="10" y="11"/>
                  </a:cubicBezTo>
                  <a:cubicBezTo>
                    <a:pt x="4" y="17"/>
                    <a:pt x="0" y="26"/>
                    <a:pt x="0" y="36"/>
                  </a:cubicBezTo>
                  <a:cubicBezTo>
                    <a:pt x="0" y="46"/>
                    <a:pt x="4" y="54"/>
                    <a:pt x="10" y="61"/>
                  </a:cubicBezTo>
                  <a:cubicBezTo>
                    <a:pt x="16" y="68"/>
                    <a:pt x="25" y="72"/>
                    <a:pt x="35" y="72"/>
                  </a:cubicBezTo>
                  <a:cubicBezTo>
                    <a:pt x="44" y="72"/>
                    <a:pt x="53" y="68"/>
                    <a:pt x="59" y="61"/>
                  </a:cubicBezTo>
                  <a:cubicBezTo>
                    <a:pt x="65" y="54"/>
                    <a:pt x="69" y="46"/>
                    <a:pt x="69" y="36"/>
                  </a:cubicBezTo>
                  <a:lnTo>
                    <a:pt x="59" y="36"/>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58" name="Rectangle 1579">
              <a:extLst>
                <a:ext uri="{FF2B5EF4-FFF2-40B4-BE49-F238E27FC236}">
                  <a16:creationId xmlns:a16="http://schemas.microsoft.com/office/drawing/2014/main" id="{A4AC14E3-557C-414A-A249-9A475FB266A4}"/>
                </a:ext>
              </a:extLst>
            </p:cNvPr>
            <p:cNvSpPr>
              <a:spLocks noChangeArrowheads="1"/>
            </p:cNvSpPr>
            <p:nvPr userDrawn="1"/>
          </p:nvSpPr>
          <p:spPr bwMode="auto">
            <a:xfrm>
              <a:off x="7119938" y="4672013"/>
              <a:ext cx="795338" cy="1198563"/>
            </a:xfrm>
            <a:prstGeom prst="rect">
              <a:avLst/>
            </a:prstGeom>
            <a:solidFill>
              <a:schemeClr val="accent2">
                <a:lumMod val="60000"/>
                <a:lumOff val="4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59" name="Rectangle 1580">
              <a:extLst>
                <a:ext uri="{FF2B5EF4-FFF2-40B4-BE49-F238E27FC236}">
                  <a16:creationId xmlns:a16="http://schemas.microsoft.com/office/drawing/2014/main" id="{267FA072-2FDC-410A-ABCA-7999CCF835AA}"/>
                </a:ext>
              </a:extLst>
            </p:cNvPr>
            <p:cNvSpPr>
              <a:spLocks noChangeArrowheads="1"/>
            </p:cNvSpPr>
            <p:nvPr userDrawn="1"/>
          </p:nvSpPr>
          <p:spPr bwMode="auto">
            <a:xfrm>
              <a:off x="7119938" y="4672013"/>
              <a:ext cx="795338" cy="1198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60" name="Freeform 1581">
              <a:extLst>
                <a:ext uri="{FF2B5EF4-FFF2-40B4-BE49-F238E27FC236}">
                  <a16:creationId xmlns:a16="http://schemas.microsoft.com/office/drawing/2014/main" id="{90D32626-BAC1-41D8-8CF6-240D513E5F5D}"/>
                </a:ext>
              </a:extLst>
            </p:cNvPr>
            <p:cNvSpPr>
              <a:spLocks noEditPoints="1"/>
            </p:cNvSpPr>
            <p:nvPr userDrawn="1"/>
          </p:nvSpPr>
          <p:spPr bwMode="auto">
            <a:xfrm>
              <a:off x="7610476" y="4425950"/>
              <a:ext cx="200025" cy="1673225"/>
            </a:xfrm>
            <a:custGeom>
              <a:avLst/>
              <a:gdLst>
                <a:gd name="T0" fmla="*/ 22 w 101"/>
                <a:gd name="T1" fmla="*/ 730 h 846"/>
                <a:gd name="T2" fmla="*/ 0 w 101"/>
                <a:gd name="T3" fmla="*/ 730 h 846"/>
                <a:gd name="T4" fmla="*/ 10 w 101"/>
                <a:gd name="T5" fmla="*/ 795 h 846"/>
                <a:gd name="T6" fmla="*/ 37 w 101"/>
                <a:gd name="T7" fmla="*/ 846 h 846"/>
                <a:gd name="T8" fmla="*/ 59 w 101"/>
                <a:gd name="T9" fmla="*/ 846 h 846"/>
                <a:gd name="T10" fmla="*/ 58 w 101"/>
                <a:gd name="T11" fmla="*/ 846 h 846"/>
                <a:gd name="T12" fmla="*/ 32 w 101"/>
                <a:gd name="T13" fmla="*/ 795 h 846"/>
                <a:gd name="T14" fmla="*/ 22 w 101"/>
                <a:gd name="T15" fmla="*/ 730 h 846"/>
                <a:gd name="T16" fmla="*/ 101 w 101"/>
                <a:gd name="T17" fmla="*/ 0 h 846"/>
                <a:gd name="T18" fmla="*/ 69 w 101"/>
                <a:gd name="T19" fmla="*/ 0 h 846"/>
                <a:gd name="T20" fmla="*/ 69 w 101"/>
                <a:gd name="T21" fmla="*/ 124 h 846"/>
                <a:gd name="T22" fmla="*/ 101 w 101"/>
                <a:gd name="T23" fmla="*/ 124 h 846"/>
                <a:gd name="T24" fmla="*/ 101 w 101"/>
                <a:gd name="T25" fmla="*/ 0 h 8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1" h="846">
                  <a:moveTo>
                    <a:pt x="22" y="730"/>
                  </a:moveTo>
                  <a:cubicBezTo>
                    <a:pt x="0" y="730"/>
                    <a:pt x="0" y="730"/>
                    <a:pt x="0" y="730"/>
                  </a:cubicBezTo>
                  <a:cubicBezTo>
                    <a:pt x="10" y="795"/>
                    <a:pt x="10" y="795"/>
                    <a:pt x="10" y="795"/>
                  </a:cubicBezTo>
                  <a:cubicBezTo>
                    <a:pt x="13" y="816"/>
                    <a:pt x="23" y="833"/>
                    <a:pt x="37" y="846"/>
                  </a:cubicBezTo>
                  <a:cubicBezTo>
                    <a:pt x="59" y="846"/>
                    <a:pt x="59" y="846"/>
                    <a:pt x="59" y="846"/>
                  </a:cubicBezTo>
                  <a:cubicBezTo>
                    <a:pt x="59" y="846"/>
                    <a:pt x="58" y="846"/>
                    <a:pt x="58" y="846"/>
                  </a:cubicBezTo>
                  <a:cubicBezTo>
                    <a:pt x="45" y="833"/>
                    <a:pt x="35" y="815"/>
                    <a:pt x="32" y="795"/>
                  </a:cubicBezTo>
                  <a:cubicBezTo>
                    <a:pt x="22" y="730"/>
                    <a:pt x="22" y="730"/>
                    <a:pt x="22" y="730"/>
                  </a:cubicBezTo>
                  <a:moveTo>
                    <a:pt x="101" y="0"/>
                  </a:moveTo>
                  <a:cubicBezTo>
                    <a:pt x="69" y="0"/>
                    <a:pt x="69" y="0"/>
                    <a:pt x="69" y="0"/>
                  </a:cubicBezTo>
                  <a:cubicBezTo>
                    <a:pt x="69" y="124"/>
                    <a:pt x="69" y="124"/>
                    <a:pt x="69" y="124"/>
                  </a:cubicBezTo>
                  <a:cubicBezTo>
                    <a:pt x="101" y="124"/>
                    <a:pt x="101" y="124"/>
                    <a:pt x="101" y="124"/>
                  </a:cubicBezTo>
                  <a:cubicBezTo>
                    <a:pt x="101" y="0"/>
                    <a:pt x="101" y="0"/>
                    <a:pt x="101" y="0"/>
                  </a:cubicBezTo>
                </a:path>
              </a:pathLst>
            </a:custGeom>
            <a:solidFill>
              <a:schemeClr val="accent2">
                <a:lumMod val="40000"/>
                <a:lumOff val="6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61" name="Freeform 1582">
              <a:extLst>
                <a:ext uri="{FF2B5EF4-FFF2-40B4-BE49-F238E27FC236}">
                  <a16:creationId xmlns:a16="http://schemas.microsoft.com/office/drawing/2014/main" id="{1209ECC5-4333-4965-BC96-3D6A71A76F20}"/>
                </a:ext>
              </a:extLst>
            </p:cNvPr>
            <p:cNvSpPr>
              <a:spLocks noEditPoints="1"/>
            </p:cNvSpPr>
            <p:nvPr userDrawn="1"/>
          </p:nvSpPr>
          <p:spPr bwMode="auto">
            <a:xfrm>
              <a:off x="7605713" y="4672013"/>
              <a:ext cx="204788" cy="1198563"/>
            </a:xfrm>
            <a:custGeom>
              <a:avLst/>
              <a:gdLst>
                <a:gd name="T0" fmla="*/ 28 w 129"/>
                <a:gd name="T1" fmla="*/ 740 h 755"/>
                <a:gd name="T2" fmla="*/ 0 w 129"/>
                <a:gd name="T3" fmla="*/ 740 h 755"/>
                <a:gd name="T4" fmla="*/ 3 w 129"/>
                <a:gd name="T5" fmla="*/ 755 h 755"/>
                <a:gd name="T6" fmla="*/ 30 w 129"/>
                <a:gd name="T7" fmla="*/ 755 h 755"/>
                <a:gd name="T8" fmla="*/ 28 w 129"/>
                <a:gd name="T9" fmla="*/ 740 h 755"/>
                <a:gd name="T10" fmla="*/ 129 w 129"/>
                <a:gd name="T11" fmla="*/ 0 h 755"/>
                <a:gd name="T12" fmla="*/ 89 w 129"/>
                <a:gd name="T13" fmla="*/ 0 h 755"/>
                <a:gd name="T14" fmla="*/ 89 w 129"/>
                <a:gd name="T15" fmla="*/ 739 h 755"/>
                <a:gd name="T16" fmla="*/ 129 w 129"/>
                <a:gd name="T17" fmla="*/ 739 h 755"/>
                <a:gd name="T18" fmla="*/ 129 w 129"/>
                <a:gd name="T19" fmla="*/ 0 h 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9" h="755">
                  <a:moveTo>
                    <a:pt x="28" y="740"/>
                  </a:moveTo>
                  <a:lnTo>
                    <a:pt x="0" y="740"/>
                  </a:lnTo>
                  <a:lnTo>
                    <a:pt x="3" y="755"/>
                  </a:lnTo>
                  <a:lnTo>
                    <a:pt x="30" y="755"/>
                  </a:lnTo>
                  <a:lnTo>
                    <a:pt x="28" y="740"/>
                  </a:lnTo>
                  <a:close/>
                  <a:moveTo>
                    <a:pt x="129" y="0"/>
                  </a:moveTo>
                  <a:lnTo>
                    <a:pt x="89" y="0"/>
                  </a:lnTo>
                  <a:lnTo>
                    <a:pt x="89" y="739"/>
                  </a:lnTo>
                  <a:lnTo>
                    <a:pt x="129" y="739"/>
                  </a:lnTo>
                  <a:lnTo>
                    <a:pt x="129" y="0"/>
                  </a:lnTo>
                  <a:close/>
                </a:path>
              </a:pathLst>
            </a:custGeom>
            <a:solidFill>
              <a:schemeClr val="accent2">
                <a:lumMod val="75000"/>
                <a:alpha val="3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62" name="Freeform 1583">
              <a:extLst>
                <a:ext uri="{FF2B5EF4-FFF2-40B4-BE49-F238E27FC236}">
                  <a16:creationId xmlns:a16="http://schemas.microsoft.com/office/drawing/2014/main" id="{9A9AAA5A-4A40-4008-B29F-E22A97F51DE5}"/>
                </a:ext>
              </a:extLst>
            </p:cNvPr>
            <p:cNvSpPr>
              <a:spLocks noEditPoints="1"/>
            </p:cNvSpPr>
            <p:nvPr userDrawn="1"/>
          </p:nvSpPr>
          <p:spPr bwMode="auto">
            <a:xfrm>
              <a:off x="7605713" y="4672013"/>
              <a:ext cx="204788" cy="1198563"/>
            </a:xfrm>
            <a:custGeom>
              <a:avLst/>
              <a:gdLst>
                <a:gd name="T0" fmla="*/ 28 w 129"/>
                <a:gd name="T1" fmla="*/ 740 h 755"/>
                <a:gd name="T2" fmla="*/ 0 w 129"/>
                <a:gd name="T3" fmla="*/ 740 h 755"/>
                <a:gd name="T4" fmla="*/ 3 w 129"/>
                <a:gd name="T5" fmla="*/ 755 h 755"/>
                <a:gd name="T6" fmla="*/ 30 w 129"/>
                <a:gd name="T7" fmla="*/ 755 h 755"/>
                <a:gd name="T8" fmla="*/ 28 w 129"/>
                <a:gd name="T9" fmla="*/ 740 h 755"/>
                <a:gd name="T10" fmla="*/ 129 w 129"/>
                <a:gd name="T11" fmla="*/ 0 h 755"/>
                <a:gd name="T12" fmla="*/ 89 w 129"/>
                <a:gd name="T13" fmla="*/ 0 h 755"/>
                <a:gd name="T14" fmla="*/ 89 w 129"/>
                <a:gd name="T15" fmla="*/ 739 h 755"/>
                <a:gd name="T16" fmla="*/ 129 w 129"/>
                <a:gd name="T17" fmla="*/ 739 h 755"/>
                <a:gd name="T18" fmla="*/ 129 w 129"/>
                <a:gd name="T19" fmla="*/ 0 h 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9" h="755">
                  <a:moveTo>
                    <a:pt x="28" y="740"/>
                  </a:moveTo>
                  <a:lnTo>
                    <a:pt x="0" y="740"/>
                  </a:lnTo>
                  <a:lnTo>
                    <a:pt x="3" y="755"/>
                  </a:lnTo>
                  <a:lnTo>
                    <a:pt x="30" y="755"/>
                  </a:lnTo>
                  <a:lnTo>
                    <a:pt x="28" y="740"/>
                  </a:lnTo>
                  <a:moveTo>
                    <a:pt x="129" y="0"/>
                  </a:moveTo>
                  <a:lnTo>
                    <a:pt x="89" y="0"/>
                  </a:lnTo>
                  <a:lnTo>
                    <a:pt x="89" y="739"/>
                  </a:lnTo>
                  <a:lnTo>
                    <a:pt x="129" y="739"/>
                  </a:lnTo>
                  <a:lnTo>
                    <a:pt x="12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63" name="Freeform 1584">
              <a:extLst>
                <a:ext uri="{FF2B5EF4-FFF2-40B4-BE49-F238E27FC236}">
                  <a16:creationId xmlns:a16="http://schemas.microsoft.com/office/drawing/2014/main" id="{8DDCEDCC-5C55-4A38-BAF8-27792F3E6AF0}"/>
                </a:ext>
              </a:extLst>
            </p:cNvPr>
            <p:cNvSpPr>
              <a:spLocks/>
            </p:cNvSpPr>
            <p:nvPr userDrawn="1"/>
          </p:nvSpPr>
          <p:spPr bwMode="auto">
            <a:xfrm>
              <a:off x="7810501" y="3786188"/>
              <a:ext cx="2876550" cy="2209800"/>
            </a:xfrm>
            <a:custGeom>
              <a:avLst/>
              <a:gdLst>
                <a:gd name="T0" fmla="*/ 1449 w 1453"/>
                <a:gd name="T1" fmla="*/ 1117 h 1117"/>
                <a:gd name="T2" fmla="*/ 4 w 1453"/>
                <a:gd name="T3" fmla="*/ 1117 h 1117"/>
                <a:gd name="T4" fmla="*/ 0 w 1453"/>
                <a:gd name="T5" fmla="*/ 1113 h 1117"/>
                <a:gd name="T6" fmla="*/ 0 w 1453"/>
                <a:gd name="T7" fmla="*/ 4 h 1117"/>
                <a:gd name="T8" fmla="*/ 4 w 1453"/>
                <a:gd name="T9" fmla="*/ 0 h 1117"/>
                <a:gd name="T10" fmla="*/ 1449 w 1453"/>
                <a:gd name="T11" fmla="*/ 0 h 1117"/>
                <a:gd name="T12" fmla="*/ 1453 w 1453"/>
                <a:gd name="T13" fmla="*/ 4 h 1117"/>
                <a:gd name="T14" fmla="*/ 1453 w 1453"/>
                <a:gd name="T15" fmla="*/ 1113 h 1117"/>
                <a:gd name="T16" fmla="*/ 1449 w 1453"/>
                <a:gd name="T17" fmla="*/ 1117 h 1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53" h="1117">
                  <a:moveTo>
                    <a:pt x="1449" y="1117"/>
                  </a:moveTo>
                  <a:cubicBezTo>
                    <a:pt x="4" y="1117"/>
                    <a:pt x="4" y="1117"/>
                    <a:pt x="4" y="1117"/>
                  </a:cubicBezTo>
                  <a:cubicBezTo>
                    <a:pt x="2" y="1117"/>
                    <a:pt x="0" y="1115"/>
                    <a:pt x="0" y="1113"/>
                  </a:cubicBezTo>
                  <a:cubicBezTo>
                    <a:pt x="0" y="4"/>
                    <a:pt x="0" y="4"/>
                    <a:pt x="0" y="4"/>
                  </a:cubicBezTo>
                  <a:cubicBezTo>
                    <a:pt x="0" y="2"/>
                    <a:pt x="2" y="0"/>
                    <a:pt x="4" y="0"/>
                  </a:cubicBezTo>
                  <a:cubicBezTo>
                    <a:pt x="1449" y="0"/>
                    <a:pt x="1449" y="0"/>
                    <a:pt x="1449" y="0"/>
                  </a:cubicBezTo>
                  <a:cubicBezTo>
                    <a:pt x="1451" y="0"/>
                    <a:pt x="1453" y="2"/>
                    <a:pt x="1453" y="4"/>
                  </a:cubicBezTo>
                  <a:cubicBezTo>
                    <a:pt x="1453" y="1113"/>
                    <a:pt x="1453" y="1113"/>
                    <a:pt x="1453" y="1113"/>
                  </a:cubicBezTo>
                  <a:cubicBezTo>
                    <a:pt x="1453" y="1115"/>
                    <a:pt x="1451" y="1117"/>
                    <a:pt x="1449" y="1117"/>
                  </a:cubicBezTo>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64" name="Freeform 1585">
              <a:extLst>
                <a:ext uri="{FF2B5EF4-FFF2-40B4-BE49-F238E27FC236}">
                  <a16:creationId xmlns:a16="http://schemas.microsoft.com/office/drawing/2014/main" id="{A62A31E9-D2A0-4BC1-981A-9241BCD4B009}"/>
                </a:ext>
              </a:extLst>
            </p:cNvPr>
            <p:cNvSpPr>
              <a:spLocks/>
            </p:cNvSpPr>
            <p:nvPr userDrawn="1"/>
          </p:nvSpPr>
          <p:spPr bwMode="auto">
            <a:xfrm>
              <a:off x="7789863" y="3767138"/>
              <a:ext cx="1192213" cy="2128838"/>
            </a:xfrm>
            <a:custGeom>
              <a:avLst/>
              <a:gdLst>
                <a:gd name="T0" fmla="*/ 20 w 602"/>
                <a:gd name="T1" fmla="*/ 1076 h 1076"/>
                <a:gd name="T2" fmla="*/ 20 w 602"/>
                <a:gd name="T3" fmla="*/ 48 h 1076"/>
                <a:gd name="T4" fmla="*/ 28 w 602"/>
                <a:gd name="T5" fmla="*/ 28 h 1076"/>
                <a:gd name="T6" fmla="*/ 46 w 602"/>
                <a:gd name="T7" fmla="*/ 20 h 1076"/>
                <a:gd name="T8" fmla="*/ 602 w 602"/>
                <a:gd name="T9" fmla="*/ 20 h 1076"/>
                <a:gd name="T10" fmla="*/ 602 w 602"/>
                <a:gd name="T11" fmla="*/ 0 h 1076"/>
                <a:gd name="T12" fmla="*/ 46 w 602"/>
                <a:gd name="T13" fmla="*/ 0 h 1076"/>
                <a:gd name="T14" fmla="*/ 13 w 602"/>
                <a:gd name="T15" fmla="*/ 14 h 1076"/>
                <a:gd name="T16" fmla="*/ 0 w 602"/>
                <a:gd name="T17" fmla="*/ 48 h 1076"/>
                <a:gd name="T18" fmla="*/ 0 w 602"/>
                <a:gd name="T19" fmla="*/ 1076 h 1076"/>
                <a:gd name="T20" fmla="*/ 20 w 602"/>
                <a:gd name="T21" fmla="*/ 1076 h 10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02" h="1076">
                  <a:moveTo>
                    <a:pt x="20" y="1076"/>
                  </a:moveTo>
                  <a:cubicBezTo>
                    <a:pt x="20" y="48"/>
                    <a:pt x="20" y="48"/>
                    <a:pt x="20" y="48"/>
                  </a:cubicBezTo>
                  <a:cubicBezTo>
                    <a:pt x="20" y="40"/>
                    <a:pt x="23" y="33"/>
                    <a:pt x="28" y="28"/>
                  </a:cubicBezTo>
                  <a:cubicBezTo>
                    <a:pt x="33" y="23"/>
                    <a:pt x="39" y="20"/>
                    <a:pt x="46" y="20"/>
                  </a:cubicBezTo>
                  <a:cubicBezTo>
                    <a:pt x="602" y="20"/>
                    <a:pt x="602" y="20"/>
                    <a:pt x="602" y="20"/>
                  </a:cubicBezTo>
                  <a:cubicBezTo>
                    <a:pt x="602" y="0"/>
                    <a:pt x="602" y="0"/>
                    <a:pt x="602" y="0"/>
                  </a:cubicBezTo>
                  <a:cubicBezTo>
                    <a:pt x="46" y="0"/>
                    <a:pt x="46" y="0"/>
                    <a:pt x="46" y="0"/>
                  </a:cubicBezTo>
                  <a:cubicBezTo>
                    <a:pt x="33" y="0"/>
                    <a:pt x="21" y="5"/>
                    <a:pt x="13" y="14"/>
                  </a:cubicBezTo>
                  <a:cubicBezTo>
                    <a:pt x="5" y="23"/>
                    <a:pt x="0" y="35"/>
                    <a:pt x="0" y="48"/>
                  </a:cubicBezTo>
                  <a:cubicBezTo>
                    <a:pt x="0" y="1076"/>
                    <a:pt x="0" y="1076"/>
                    <a:pt x="0" y="1076"/>
                  </a:cubicBezTo>
                  <a:cubicBezTo>
                    <a:pt x="20" y="1076"/>
                    <a:pt x="20" y="1076"/>
                    <a:pt x="20" y="1076"/>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65" name="Freeform 1586">
              <a:extLst>
                <a:ext uri="{FF2B5EF4-FFF2-40B4-BE49-F238E27FC236}">
                  <a16:creationId xmlns:a16="http://schemas.microsoft.com/office/drawing/2014/main" id="{25FC9188-21EA-4739-BDED-06DA866FCD63}"/>
                </a:ext>
              </a:extLst>
            </p:cNvPr>
            <p:cNvSpPr>
              <a:spLocks/>
            </p:cNvSpPr>
            <p:nvPr userDrawn="1"/>
          </p:nvSpPr>
          <p:spPr bwMode="auto">
            <a:xfrm>
              <a:off x="10153651" y="3767138"/>
              <a:ext cx="554038" cy="2249488"/>
            </a:xfrm>
            <a:custGeom>
              <a:avLst/>
              <a:gdLst>
                <a:gd name="T0" fmla="*/ 0 w 280"/>
                <a:gd name="T1" fmla="*/ 20 h 1137"/>
                <a:gd name="T2" fmla="*/ 234 w 280"/>
                <a:gd name="T3" fmla="*/ 20 h 1137"/>
                <a:gd name="T4" fmla="*/ 252 w 280"/>
                <a:gd name="T5" fmla="*/ 28 h 1137"/>
                <a:gd name="T6" fmla="*/ 260 w 280"/>
                <a:gd name="T7" fmla="*/ 48 h 1137"/>
                <a:gd name="T8" fmla="*/ 260 w 280"/>
                <a:gd name="T9" fmla="*/ 1088 h 1137"/>
                <a:gd name="T10" fmla="*/ 252 w 280"/>
                <a:gd name="T11" fmla="*/ 1109 h 1137"/>
                <a:gd name="T12" fmla="*/ 234 w 280"/>
                <a:gd name="T13" fmla="*/ 1117 h 1137"/>
                <a:gd name="T14" fmla="*/ 234 w 280"/>
                <a:gd name="T15" fmla="*/ 1137 h 1137"/>
                <a:gd name="T16" fmla="*/ 267 w 280"/>
                <a:gd name="T17" fmla="*/ 1122 h 1137"/>
                <a:gd name="T18" fmla="*/ 280 w 280"/>
                <a:gd name="T19" fmla="*/ 1088 h 1137"/>
                <a:gd name="T20" fmla="*/ 280 w 280"/>
                <a:gd name="T21" fmla="*/ 48 h 1137"/>
                <a:gd name="T22" fmla="*/ 267 w 280"/>
                <a:gd name="T23" fmla="*/ 14 h 1137"/>
                <a:gd name="T24" fmla="*/ 234 w 280"/>
                <a:gd name="T25" fmla="*/ 0 h 1137"/>
                <a:gd name="T26" fmla="*/ 0 w 280"/>
                <a:gd name="T27" fmla="*/ 0 h 1137"/>
                <a:gd name="T28" fmla="*/ 0 w 280"/>
                <a:gd name="T29" fmla="*/ 20 h 1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80" h="1137">
                  <a:moveTo>
                    <a:pt x="0" y="20"/>
                  </a:moveTo>
                  <a:cubicBezTo>
                    <a:pt x="234" y="20"/>
                    <a:pt x="234" y="20"/>
                    <a:pt x="234" y="20"/>
                  </a:cubicBezTo>
                  <a:cubicBezTo>
                    <a:pt x="241" y="20"/>
                    <a:pt x="247" y="23"/>
                    <a:pt x="252" y="28"/>
                  </a:cubicBezTo>
                  <a:cubicBezTo>
                    <a:pt x="257" y="33"/>
                    <a:pt x="260" y="40"/>
                    <a:pt x="260" y="48"/>
                  </a:cubicBezTo>
                  <a:cubicBezTo>
                    <a:pt x="260" y="1088"/>
                    <a:pt x="260" y="1088"/>
                    <a:pt x="260" y="1088"/>
                  </a:cubicBezTo>
                  <a:cubicBezTo>
                    <a:pt x="260" y="1096"/>
                    <a:pt x="257" y="1103"/>
                    <a:pt x="252" y="1109"/>
                  </a:cubicBezTo>
                  <a:cubicBezTo>
                    <a:pt x="247" y="1114"/>
                    <a:pt x="241" y="1117"/>
                    <a:pt x="234" y="1117"/>
                  </a:cubicBezTo>
                  <a:cubicBezTo>
                    <a:pt x="234" y="1137"/>
                    <a:pt x="234" y="1137"/>
                    <a:pt x="234" y="1137"/>
                  </a:cubicBezTo>
                  <a:cubicBezTo>
                    <a:pt x="247" y="1137"/>
                    <a:pt x="259" y="1131"/>
                    <a:pt x="267" y="1122"/>
                  </a:cubicBezTo>
                  <a:cubicBezTo>
                    <a:pt x="275" y="1114"/>
                    <a:pt x="280" y="1101"/>
                    <a:pt x="280" y="1088"/>
                  </a:cubicBezTo>
                  <a:cubicBezTo>
                    <a:pt x="280" y="48"/>
                    <a:pt x="280" y="48"/>
                    <a:pt x="280" y="48"/>
                  </a:cubicBezTo>
                  <a:cubicBezTo>
                    <a:pt x="280" y="35"/>
                    <a:pt x="275" y="23"/>
                    <a:pt x="267" y="14"/>
                  </a:cubicBezTo>
                  <a:cubicBezTo>
                    <a:pt x="259" y="5"/>
                    <a:pt x="247" y="0"/>
                    <a:pt x="234" y="0"/>
                  </a:cubicBezTo>
                  <a:cubicBezTo>
                    <a:pt x="0" y="0"/>
                    <a:pt x="0" y="0"/>
                    <a:pt x="0" y="0"/>
                  </a:cubicBezTo>
                  <a:cubicBezTo>
                    <a:pt x="0" y="20"/>
                    <a:pt x="0" y="20"/>
                    <a:pt x="0" y="20"/>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66" name="Rectangle 1587">
              <a:extLst>
                <a:ext uri="{FF2B5EF4-FFF2-40B4-BE49-F238E27FC236}">
                  <a16:creationId xmlns:a16="http://schemas.microsoft.com/office/drawing/2014/main" id="{887616D0-8A37-4A32-90F1-A60A10359C25}"/>
                </a:ext>
              </a:extLst>
            </p:cNvPr>
            <p:cNvSpPr>
              <a:spLocks noChangeArrowheads="1"/>
            </p:cNvSpPr>
            <p:nvPr userDrawn="1"/>
          </p:nvSpPr>
          <p:spPr bwMode="auto">
            <a:xfrm>
              <a:off x="7948613" y="3960813"/>
              <a:ext cx="2584450" cy="1792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67" name="Rectangle 1588">
              <a:extLst>
                <a:ext uri="{FF2B5EF4-FFF2-40B4-BE49-F238E27FC236}">
                  <a16:creationId xmlns:a16="http://schemas.microsoft.com/office/drawing/2014/main" id="{EBB48520-DFB9-4321-A8F4-15005E195B35}"/>
                </a:ext>
              </a:extLst>
            </p:cNvPr>
            <p:cNvSpPr>
              <a:spLocks noChangeArrowheads="1"/>
            </p:cNvSpPr>
            <p:nvPr userDrawn="1"/>
          </p:nvSpPr>
          <p:spPr bwMode="auto">
            <a:xfrm>
              <a:off x="7948613" y="3960813"/>
              <a:ext cx="2584450" cy="1792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68" name="Freeform 1589">
              <a:extLst>
                <a:ext uri="{FF2B5EF4-FFF2-40B4-BE49-F238E27FC236}">
                  <a16:creationId xmlns:a16="http://schemas.microsoft.com/office/drawing/2014/main" id="{7822023F-EB51-4075-8A88-6856ACF6179B}"/>
                </a:ext>
              </a:extLst>
            </p:cNvPr>
            <p:cNvSpPr>
              <a:spLocks/>
            </p:cNvSpPr>
            <p:nvPr userDrawn="1"/>
          </p:nvSpPr>
          <p:spPr bwMode="auto">
            <a:xfrm>
              <a:off x="7673976" y="5865813"/>
              <a:ext cx="3133725" cy="254000"/>
            </a:xfrm>
            <a:custGeom>
              <a:avLst/>
              <a:gdLst>
                <a:gd name="T0" fmla="*/ 1497 w 1583"/>
                <a:gd name="T1" fmla="*/ 128 h 128"/>
                <a:gd name="T2" fmla="*/ 78 w 1583"/>
                <a:gd name="T3" fmla="*/ 128 h 128"/>
                <a:gd name="T4" fmla="*/ 10 w 1583"/>
                <a:gd name="T5" fmla="*/ 65 h 128"/>
                <a:gd name="T6" fmla="*/ 0 w 1583"/>
                <a:gd name="T7" fmla="*/ 0 h 128"/>
                <a:gd name="T8" fmla="*/ 657 w 1583"/>
                <a:gd name="T9" fmla="*/ 0 h 128"/>
                <a:gd name="T10" fmla="*/ 682 w 1583"/>
                <a:gd name="T11" fmla="*/ 38 h 128"/>
                <a:gd name="T12" fmla="*/ 864 w 1583"/>
                <a:gd name="T13" fmla="*/ 38 h 128"/>
                <a:gd name="T14" fmla="*/ 891 w 1583"/>
                <a:gd name="T15" fmla="*/ 0 h 128"/>
                <a:gd name="T16" fmla="*/ 1583 w 1583"/>
                <a:gd name="T17" fmla="*/ 0 h 128"/>
                <a:gd name="T18" fmla="*/ 1575 w 1583"/>
                <a:gd name="T19" fmla="*/ 57 h 128"/>
                <a:gd name="T20" fmla="*/ 1497 w 1583"/>
                <a:gd name="T21" fmla="*/ 12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83" h="128">
                  <a:moveTo>
                    <a:pt x="1497" y="128"/>
                  </a:moveTo>
                  <a:cubicBezTo>
                    <a:pt x="78" y="128"/>
                    <a:pt x="78" y="128"/>
                    <a:pt x="78" y="128"/>
                  </a:cubicBezTo>
                  <a:cubicBezTo>
                    <a:pt x="44" y="128"/>
                    <a:pt x="15" y="101"/>
                    <a:pt x="10" y="65"/>
                  </a:cubicBezTo>
                  <a:cubicBezTo>
                    <a:pt x="0" y="0"/>
                    <a:pt x="0" y="0"/>
                    <a:pt x="0" y="0"/>
                  </a:cubicBezTo>
                  <a:cubicBezTo>
                    <a:pt x="657" y="0"/>
                    <a:pt x="657" y="0"/>
                    <a:pt x="657" y="0"/>
                  </a:cubicBezTo>
                  <a:cubicBezTo>
                    <a:pt x="682" y="38"/>
                    <a:pt x="682" y="38"/>
                    <a:pt x="682" y="38"/>
                  </a:cubicBezTo>
                  <a:cubicBezTo>
                    <a:pt x="864" y="38"/>
                    <a:pt x="864" y="38"/>
                    <a:pt x="864" y="38"/>
                  </a:cubicBezTo>
                  <a:cubicBezTo>
                    <a:pt x="891" y="0"/>
                    <a:pt x="891" y="0"/>
                    <a:pt x="891" y="0"/>
                  </a:cubicBezTo>
                  <a:cubicBezTo>
                    <a:pt x="1583" y="0"/>
                    <a:pt x="1583" y="0"/>
                    <a:pt x="1583" y="0"/>
                  </a:cubicBezTo>
                  <a:cubicBezTo>
                    <a:pt x="1575" y="57"/>
                    <a:pt x="1575" y="57"/>
                    <a:pt x="1575" y="57"/>
                  </a:cubicBezTo>
                  <a:cubicBezTo>
                    <a:pt x="1568" y="98"/>
                    <a:pt x="1535" y="128"/>
                    <a:pt x="1497" y="12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69" name="Freeform 1590">
              <a:extLst>
                <a:ext uri="{FF2B5EF4-FFF2-40B4-BE49-F238E27FC236}">
                  <a16:creationId xmlns:a16="http://schemas.microsoft.com/office/drawing/2014/main" id="{572A1114-E1E3-4537-9823-6B43F316E813}"/>
                </a:ext>
              </a:extLst>
            </p:cNvPr>
            <p:cNvSpPr>
              <a:spLocks/>
            </p:cNvSpPr>
            <p:nvPr userDrawn="1"/>
          </p:nvSpPr>
          <p:spPr bwMode="auto">
            <a:xfrm>
              <a:off x="7650163" y="5845175"/>
              <a:ext cx="3181350" cy="293688"/>
            </a:xfrm>
            <a:custGeom>
              <a:avLst/>
              <a:gdLst>
                <a:gd name="T0" fmla="*/ 1509 w 1607"/>
                <a:gd name="T1" fmla="*/ 139 h 149"/>
                <a:gd name="T2" fmla="*/ 1509 w 1607"/>
                <a:gd name="T3" fmla="*/ 129 h 149"/>
                <a:gd name="T4" fmla="*/ 90 w 1607"/>
                <a:gd name="T5" fmla="*/ 129 h 149"/>
                <a:gd name="T6" fmla="*/ 52 w 1607"/>
                <a:gd name="T7" fmla="*/ 114 h 149"/>
                <a:gd name="T8" fmla="*/ 32 w 1607"/>
                <a:gd name="T9" fmla="*/ 75 h 149"/>
                <a:gd name="T10" fmla="*/ 23 w 1607"/>
                <a:gd name="T11" fmla="*/ 21 h 149"/>
                <a:gd name="T12" fmla="*/ 663 w 1607"/>
                <a:gd name="T13" fmla="*/ 21 h 149"/>
                <a:gd name="T14" fmla="*/ 689 w 1607"/>
                <a:gd name="T15" fmla="*/ 59 h 149"/>
                <a:gd name="T16" fmla="*/ 881 w 1607"/>
                <a:gd name="T17" fmla="*/ 59 h 149"/>
                <a:gd name="T18" fmla="*/ 908 w 1607"/>
                <a:gd name="T19" fmla="*/ 21 h 149"/>
                <a:gd name="T20" fmla="*/ 1584 w 1607"/>
                <a:gd name="T21" fmla="*/ 21 h 149"/>
                <a:gd name="T22" fmla="*/ 1577 w 1607"/>
                <a:gd name="T23" fmla="*/ 66 h 149"/>
                <a:gd name="T24" fmla="*/ 1553 w 1607"/>
                <a:gd name="T25" fmla="*/ 111 h 149"/>
                <a:gd name="T26" fmla="*/ 1509 w 1607"/>
                <a:gd name="T27" fmla="*/ 129 h 149"/>
                <a:gd name="T28" fmla="*/ 1509 w 1607"/>
                <a:gd name="T29" fmla="*/ 139 h 149"/>
                <a:gd name="T30" fmla="*/ 1509 w 1607"/>
                <a:gd name="T31" fmla="*/ 149 h 149"/>
                <a:gd name="T32" fmla="*/ 1567 w 1607"/>
                <a:gd name="T33" fmla="*/ 126 h 149"/>
                <a:gd name="T34" fmla="*/ 1597 w 1607"/>
                <a:gd name="T35" fmla="*/ 69 h 149"/>
                <a:gd name="T36" fmla="*/ 1607 w 1607"/>
                <a:gd name="T37" fmla="*/ 0 h 149"/>
                <a:gd name="T38" fmla="*/ 898 w 1607"/>
                <a:gd name="T39" fmla="*/ 0 h 149"/>
                <a:gd name="T40" fmla="*/ 871 w 1607"/>
                <a:gd name="T41" fmla="*/ 39 h 149"/>
                <a:gd name="T42" fmla="*/ 700 w 1607"/>
                <a:gd name="T43" fmla="*/ 39 h 149"/>
                <a:gd name="T44" fmla="*/ 674 w 1607"/>
                <a:gd name="T45" fmla="*/ 0 h 149"/>
                <a:gd name="T46" fmla="*/ 0 w 1607"/>
                <a:gd name="T47" fmla="*/ 0 h 149"/>
                <a:gd name="T48" fmla="*/ 12 w 1607"/>
                <a:gd name="T49" fmla="*/ 78 h 149"/>
                <a:gd name="T50" fmla="*/ 38 w 1607"/>
                <a:gd name="T51" fmla="*/ 129 h 149"/>
                <a:gd name="T52" fmla="*/ 90 w 1607"/>
                <a:gd name="T53" fmla="*/ 149 h 149"/>
                <a:gd name="T54" fmla="*/ 1509 w 1607"/>
                <a:gd name="T55" fmla="*/ 149 h 149"/>
                <a:gd name="T56" fmla="*/ 1509 w 1607"/>
                <a:gd name="T57" fmla="*/ 139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07" h="149">
                  <a:moveTo>
                    <a:pt x="1509" y="139"/>
                  </a:moveTo>
                  <a:cubicBezTo>
                    <a:pt x="1509" y="129"/>
                    <a:pt x="1509" y="129"/>
                    <a:pt x="1509" y="129"/>
                  </a:cubicBezTo>
                  <a:cubicBezTo>
                    <a:pt x="90" y="129"/>
                    <a:pt x="90" y="129"/>
                    <a:pt x="90" y="129"/>
                  </a:cubicBezTo>
                  <a:cubicBezTo>
                    <a:pt x="76" y="129"/>
                    <a:pt x="63" y="123"/>
                    <a:pt x="52" y="114"/>
                  </a:cubicBezTo>
                  <a:cubicBezTo>
                    <a:pt x="42" y="104"/>
                    <a:pt x="34" y="91"/>
                    <a:pt x="32" y="75"/>
                  </a:cubicBezTo>
                  <a:cubicBezTo>
                    <a:pt x="23" y="21"/>
                    <a:pt x="23" y="21"/>
                    <a:pt x="23" y="21"/>
                  </a:cubicBezTo>
                  <a:cubicBezTo>
                    <a:pt x="663" y="21"/>
                    <a:pt x="663" y="21"/>
                    <a:pt x="663" y="21"/>
                  </a:cubicBezTo>
                  <a:cubicBezTo>
                    <a:pt x="689" y="59"/>
                    <a:pt x="689" y="59"/>
                    <a:pt x="689" y="59"/>
                  </a:cubicBezTo>
                  <a:cubicBezTo>
                    <a:pt x="881" y="59"/>
                    <a:pt x="881" y="59"/>
                    <a:pt x="881" y="59"/>
                  </a:cubicBezTo>
                  <a:cubicBezTo>
                    <a:pt x="908" y="21"/>
                    <a:pt x="908" y="21"/>
                    <a:pt x="908" y="21"/>
                  </a:cubicBezTo>
                  <a:cubicBezTo>
                    <a:pt x="1584" y="21"/>
                    <a:pt x="1584" y="21"/>
                    <a:pt x="1584" y="21"/>
                  </a:cubicBezTo>
                  <a:cubicBezTo>
                    <a:pt x="1577" y="66"/>
                    <a:pt x="1577" y="66"/>
                    <a:pt x="1577" y="66"/>
                  </a:cubicBezTo>
                  <a:cubicBezTo>
                    <a:pt x="1574" y="85"/>
                    <a:pt x="1565" y="100"/>
                    <a:pt x="1553" y="111"/>
                  </a:cubicBezTo>
                  <a:cubicBezTo>
                    <a:pt x="1541" y="122"/>
                    <a:pt x="1525" y="129"/>
                    <a:pt x="1509" y="129"/>
                  </a:cubicBezTo>
                  <a:cubicBezTo>
                    <a:pt x="1509" y="139"/>
                    <a:pt x="1509" y="139"/>
                    <a:pt x="1509" y="139"/>
                  </a:cubicBezTo>
                  <a:cubicBezTo>
                    <a:pt x="1509" y="149"/>
                    <a:pt x="1509" y="149"/>
                    <a:pt x="1509" y="149"/>
                  </a:cubicBezTo>
                  <a:cubicBezTo>
                    <a:pt x="1531" y="149"/>
                    <a:pt x="1551" y="140"/>
                    <a:pt x="1567" y="126"/>
                  </a:cubicBezTo>
                  <a:cubicBezTo>
                    <a:pt x="1582" y="112"/>
                    <a:pt x="1593" y="92"/>
                    <a:pt x="1597" y="69"/>
                  </a:cubicBezTo>
                  <a:cubicBezTo>
                    <a:pt x="1607" y="0"/>
                    <a:pt x="1607" y="0"/>
                    <a:pt x="1607" y="0"/>
                  </a:cubicBezTo>
                  <a:cubicBezTo>
                    <a:pt x="898" y="0"/>
                    <a:pt x="898" y="0"/>
                    <a:pt x="898" y="0"/>
                  </a:cubicBezTo>
                  <a:cubicBezTo>
                    <a:pt x="871" y="39"/>
                    <a:pt x="871" y="39"/>
                    <a:pt x="871" y="39"/>
                  </a:cubicBezTo>
                  <a:cubicBezTo>
                    <a:pt x="700" y="39"/>
                    <a:pt x="700" y="39"/>
                    <a:pt x="700" y="39"/>
                  </a:cubicBezTo>
                  <a:cubicBezTo>
                    <a:pt x="674" y="0"/>
                    <a:pt x="674" y="0"/>
                    <a:pt x="674" y="0"/>
                  </a:cubicBezTo>
                  <a:cubicBezTo>
                    <a:pt x="0" y="0"/>
                    <a:pt x="0" y="0"/>
                    <a:pt x="0" y="0"/>
                  </a:cubicBezTo>
                  <a:cubicBezTo>
                    <a:pt x="12" y="78"/>
                    <a:pt x="12" y="78"/>
                    <a:pt x="12" y="78"/>
                  </a:cubicBezTo>
                  <a:cubicBezTo>
                    <a:pt x="15" y="98"/>
                    <a:pt x="25" y="116"/>
                    <a:pt x="38" y="129"/>
                  </a:cubicBezTo>
                  <a:cubicBezTo>
                    <a:pt x="52" y="141"/>
                    <a:pt x="71" y="149"/>
                    <a:pt x="90" y="149"/>
                  </a:cubicBezTo>
                  <a:cubicBezTo>
                    <a:pt x="1509" y="149"/>
                    <a:pt x="1509" y="149"/>
                    <a:pt x="1509" y="149"/>
                  </a:cubicBezTo>
                  <a:cubicBezTo>
                    <a:pt x="1509" y="139"/>
                    <a:pt x="1509" y="139"/>
                    <a:pt x="1509" y="139"/>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70" name="Freeform 1591">
              <a:extLst>
                <a:ext uri="{FF2B5EF4-FFF2-40B4-BE49-F238E27FC236}">
                  <a16:creationId xmlns:a16="http://schemas.microsoft.com/office/drawing/2014/main" id="{A810F2BC-AAB5-46AE-B7D9-848C828CCE4B}"/>
                </a:ext>
              </a:extLst>
            </p:cNvPr>
            <p:cNvSpPr>
              <a:spLocks noEditPoints="1"/>
            </p:cNvSpPr>
            <p:nvPr userDrawn="1"/>
          </p:nvSpPr>
          <p:spPr bwMode="auto">
            <a:xfrm>
              <a:off x="8797926" y="4411663"/>
              <a:ext cx="849313" cy="908050"/>
            </a:xfrm>
            <a:custGeom>
              <a:avLst/>
              <a:gdLst>
                <a:gd name="T0" fmla="*/ 407 w 429"/>
                <a:gd name="T1" fmla="*/ 192 h 459"/>
                <a:gd name="T2" fmla="*/ 372 w 429"/>
                <a:gd name="T3" fmla="*/ 192 h 459"/>
                <a:gd name="T4" fmla="*/ 351 w 429"/>
                <a:gd name="T5" fmla="*/ 138 h 459"/>
                <a:gd name="T6" fmla="*/ 375 w 429"/>
                <a:gd name="T7" fmla="*/ 112 h 459"/>
                <a:gd name="T8" fmla="*/ 376 w 429"/>
                <a:gd name="T9" fmla="*/ 78 h 459"/>
                <a:gd name="T10" fmla="*/ 357 w 429"/>
                <a:gd name="T11" fmla="*/ 58 h 459"/>
                <a:gd name="T12" fmla="*/ 325 w 429"/>
                <a:gd name="T13" fmla="*/ 58 h 459"/>
                <a:gd name="T14" fmla="*/ 300 w 429"/>
                <a:gd name="T15" fmla="*/ 84 h 459"/>
                <a:gd name="T16" fmla="*/ 250 w 429"/>
                <a:gd name="T17" fmla="*/ 62 h 459"/>
                <a:gd name="T18" fmla="*/ 250 w 429"/>
                <a:gd name="T19" fmla="*/ 24 h 459"/>
                <a:gd name="T20" fmla="*/ 228 w 429"/>
                <a:gd name="T21" fmla="*/ 0 h 459"/>
                <a:gd name="T22" fmla="*/ 201 w 429"/>
                <a:gd name="T23" fmla="*/ 0 h 459"/>
                <a:gd name="T24" fmla="*/ 179 w 429"/>
                <a:gd name="T25" fmla="*/ 24 h 459"/>
                <a:gd name="T26" fmla="*/ 179 w 429"/>
                <a:gd name="T27" fmla="*/ 62 h 459"/>
                <a:gd name="T28" fmla="*/ 129 w 429"/>
                <a:gd name="T29" fmla="*/ 84 h 459"/>
                <a:gd name="T30" fmla="*/ 105 w 429"/>
                <a:gd name="T31" fmla="*/ 57 h 459"/>
                <a:gd name="T32" fmla="*/ 73 w 429"/>
                <a:gd name="T33" fmla="*/ 57 h 459"/>
                <a:gd name="T34" fmla="*/ 54 w 429"/>
                <a:gd name="T35" fmla="*/ 77 h 459"/>
                <a:gd name="T36" fmla="*/ 54 w 429"/>
                <a:gd name="T37" fmla="*/ 111 h 459"/>
                <a:gd name="T38" fmla="*/ 79 w 429"/>
                <a:gd name="T39" fmla="*/ 137 h 459"/>
                <a:gd name="T40" fmla="*/ 57 w 429"/>
                <a:gd name="T41" fmla="*/ 191 h 459"/>
                <a:gd name="T42" fmla="*/ 23 w 429"/>
                <a:gd name="T43" fmla="*/ 191 h 459"/>
                <a:gd name="T44" fmla="*/ 0 w 429"/>
                <a:gd name="T45" fmla="*/ 215 h 459"/>
                <a:gd name="T46" fmla="*/ 0 w 429"/>
                <a:gd name="T47" fmla="*/ 243 h 459"/>
                <a:gd name="T48" fmla="*/ 22 w 429"/>
                <a:gd name="T49" fmla="*/ 267 h 459"/>
                <a:gd name="T50" fmla="*/ 57 w 429"/>
                <a:gd name="T51" fmla="*/ 267 h 459"/>
                <a:gd name="T52" fmla="*/ 78 w 429"/>
                <a:gd name="T53" fmla="*/ 321 h 459"/>
                <a:gd name="T54" fmla="*/ 53 w 429"/>
                <a:gd name="T55" fmla="*/ 348 h 459"/>
                <a:gd name="T56" fmla="*/ 53 w 429"/>
                <a:gd name="T57" fmla="*/ 382 h 459"/>
                <a:gd name="T58" fmla="*/ 71 w 429"/>
                <a:gd name="T59" fmla="*/ 401 h 459"/>
                <a:gd name="T60" fmla="*/ 103 w 429"/>
                <a:gd name="T61" fmla="*/ 402 h 459"/>
                <a:gd name="T62" fmla="*/ 128 w 429"/>
                <a:gd name="T63" fmla="*/ 375 h 459"/>
                <a:gd name="T64" fmla="*/ 178 w 429"/>
                <a:gd name="T65" fmla="*/ 398 h 459"/>
                <a:gd name="T66" fmla="*/ 178 w 429"/>
                <a:gd name="T67" fmla="*/ 435 h 459"/>
                <a:gd name="T68" fmla="*/ 201 w 429"/>
                <a:gd name="T69" fmla="*/ 459 h 459"/>
                <a:gd name="T70" fmla="*/ 227 w 429"/>
                <a:gd name="T71" fmla="*/ 459 h 459"/>
                <a:gd name="T72" fmla="*/ 250 w 429"/>
                <a:gd name="T73" fmla="*/ 435 h 459"/>
                <a:gd name="T74" fmla="*/ 250 w 429"/>
                <a:gd name="T75" fmla="*/ 398 h 459"/>
                <a:gd name="T76" fmla="*/ 300 w 429"/>
                <a:gd name="T77" fmla="*/ 376 h 459"/>
                <a:gd name="T78" fmla="*/ 325 w 429"/>
                <a:gd name="T79" fmla="*/ 402 h 459"/>
                <a:gd name="T80" fmla="*/ 357 w 429"/>
                <a:gd name="T81" fmla="*/ 402 h 459"/>
                <a:gd name="T82" fmla="*/ 375 w 429"/>
                <a:gd name="T83" fmla="*/ 383 h 459"/>
                <a:gd name="T84" fmla="*/ 375 w 429"/>
                <a:gd name="T85" fmla="*/ 349 h 459"/>
                <a:gd name="T86" fmla="*/ 351 w 429"/>
                <a:gd name="T87" fmla="*/ 322 h 459"/>
                <a:gd name="T88" fmla="*/ 372 w 429"/>
                <a:gd name="T89" fmla="*/ 268 h 459"/>
                <a:gd name="T90" fmla="*/ 406 w 429"/>
                <a:gd name="T91" fmla="*/ 268 h 459"/>
                <a:gd name="T92" fmla="*/ 429 w 429"/>
                <a:gd name="T93" fmla="*/ 244 h 459"/>
                <a:gd name="T94" fmla="*/ 429 w 429"/>
                <a:gd name="T95" fmla="*/ 216 h 459"/>
                <a:gd name="T96" fmla="*/ 407 w 429"/>
                <a:gd name="T97" fmla="*/ 192 h 459"/>
                <a:gd name="T98" fmla="*/ 214 w 429"/>
                <a:gd name="T99" fmla="*/ 307 h 459"/>
                <a:gd name="T100" fmla="*/ 143 w 429"/>
                <a:gd name="T101" fmla="*/ 230 h 459"/>
                <a:gd name="T102" fmla="*/ 214 w 429"/>
                <a:gd name="T103" fmla="*/ 153 h 459"/>
                <a:gd name="T104" fmla="*/ 286 w 429"/>
                <a:gd name="T105" fmla="*/ 230 h 459"/>
                <a:gd name="T106" fmla="*/ 214 w 429"/>
                <a:gd name="T107" fmla="*/ 307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29" h="459">
                  <a:moveTo>
                    <a:pt x="407" y="192"/>
                  </a:moveTo>
                  <a:cubicBezTo>
                    <a:pt x="372" y="192"/>
                    <a:pt x="372" y="192"/>
                    <a:pt x="372" y="192"/>
                  </a:cubicBezTo>
                  <a:cubicBezTo>
                    <a:pt x="368" y="173"/>
                    <a:pt x="360" y="154"/>
                    <a:pt x="351" y="138"/>
                  </a:cubicBezTo>
                  <a:cubicBezTo>
                    <a:pt x="375" y="112"/>
                    <a:pt x="375" y="112"/>
                    <a:pt x="375" y="112"/>
                  </a:cubicBezTo>
                  <a:cubicBezTo>
                    <a:pt x="384" y="102"/>
                    <a:pt x="384" y="87"/>
                    <a:pt x="376" y="78"/>
                  </a:cubicBezTo>
                  <a:cubicBezTo>
                    <a:pt x="357" y="58"/>
                    <a:pt x="357" y="58"/>
                    <a:pt x="357" y="58"/>
                  </a:cubicBezTo>
                  <a:cubicBezTo>
                    <a:pt x="348" y="48"/>
                    <a:pt x="334" y="48"/>
                    <a:pt x="325" y="58"/>
                  </a:cubicBezTo>
                  <a:cubicBezTo>
                    <a:pt x="300" y="84"/>
                    <a:pt x="300" y="84"/>
                    <a:pt x="300" y="84"/>
                  </a:cubicBezTo>
                  <a:cubicBezTo>
                    <a:pt x="285" y="74"/>
                    <a:pt x="268" y="66"/>
                    <a:pt x="250" y="62"/>
                  </a:cubicBezTo>
                  <a:cubicBezTo>
                    <a:pt x="250" y="24"/>
                    <a:pt x="250" y="24"/>
                    <a:pt x="250" y="24"/>
                  </a:cubicBezTo>
                  <a:cubicBezTo>
                    <a:pt x="250" y="11"/>
                    <a:pt x="240" y="0"/>
                    <a:pt x="228" y="0"/>
                  </a:cubicBezTo>
                  <a:cubicBezTo>
                    <a:pt x="201" y="0"/>
                    <a:pt x="201" y="0"/>
                    <a:pt x="201" y="0"/>
                  </a:cubicBezTo>
                  <a:cubicBezTo>
                    <a:pt x="189" y="0"/>
                    <a:pt x="179" y="11"/>
                    <a:pt x="179" y="24"/>
                  </a:cubicBezTo>
                  <a:cubicBezTo>
                    <a:pt x="179" y="62"/>
                    <a:pt x="179" y="62"/>
                    <a:pt x="179" y="62"/>
                  </a:cubicBezTo>
                  <a:cubicBezTo>
                    <a:pt x="161" y="66"/>
                    <a:pt x="144" y="74"/>
                    <a:pt x="129" y="84"/>
                  </a:cubicBezTo>
                  <a:cubicBezTo>
                    <a:pt x="105" y="57"/>
                    <a:pt x="105" y="57"/>
                    <a:pt x="105" y="57"/>
                  </a:cubicBezTo>
                  <a:cubicBezTo>
                    <a:pt x="96" y="48"/>
                    <a:pt x="82" y="47"/>
                    <a:pt x="73" y="57"/>
                  </a:cubicBezTo>
                  <a:cubicBezTo>
                    <a:pt x="54" y="77"/>
                    <a:pt x="54" y="77"/>
                    <a:pt x="54" y="77"/>
                  </a:cubicBezTo>
                  <a:cubicBezTo>
                    <a:pt x="45" y="86"/>
                    <a:pt x="45" y="101"/>
                    <a:pt x="54" y="111"/>
                  </a:cubicBezTo>
                  <a:cubicBezTo>
                    <a:pt x="79" y="137"/>
                    <a:pt x="79" y="137"/>
                    <a:pt x="79" y="137"/>
                  </a:cubicBezTo>
                  <a:cubicBezTo>
                    <a:pt x="69" y="154"/>
                    <a:pt x="62" y="172"/>
                    <a:pt x="57" y="191"/>
                  </a:cubicBezTo>
                  <a:cubicBezTo>
                    <a:pt x="23" y="191"/>
                    <a:pt x="23" y="191"/>
                    <a:pt x="23" y="191"/>
                  </a:cubicBezTo>
                  <a:cubicBezTo>
                    <a:pt x="10" y="191"/>
                    <a:pt x="0" y="202"/>
                    <a:pt x="0" y="215"/>
                  </a:cubicBezTo>
                  <a:cubicBezTo>
                    <a:pt x="0" y="243"/>
                    <a:pt x="0" y="243"/>
                    <a:pt x="0" y="243"/>
                  </a:cubicBezTo>
                  <a:cubicBezTo>
                    <a:pt x="0" y="256"/>
                    <a:pt x="10" y="267"/>
                    <a:pt x="22" y="267"/>
                  </a:cubicBezTo>
                  <a:cubicBezTo>
                    <a:pt x="57" y="267"/>
                    <a:pt x="57" y="267"/>
                    <a:pt x="57" y="267"/>
                  </a:cubicBezTo>
                  <a:cubicBezTo>
                    <a:pt x="61" y="287"/>
                    <a:pt x="68" y="305"/>
                    <a:pt x="78" y="321"/>
                  </a:cubicBezTo>
                  <a:cubicBezTo>
                    <a:pt x="53" y="348"/>
                    <a:pt x="53" y="348"/>
                    <a:pt x="53" y="348"/>
                  </a:cubicBezTo>
                  <a:cubicBezTo>
                    <a:pt x="44" y="357"/>
                    <a:pt x="44" y="372"/>
                    <a:pt x="53" y="382"/>
                  </a:cubicBezTo>
                  <a:cubicBezTo>
                    <a:pt x="71" y="401"/>
                    <a:pt x="71" y="401"/>
                    <a:pt x="71" y="401"/>
                  </a:cubicBezTo>
                  <a:cubicBezTo>
                    <a:pt x="80" y="411"/>
                    <a:pt x="94" y="411"/>
                    <a:pt x="103" y="402"/>
                  </a:cubicBezTo>
                  <a:cubicBezTo>
                    <a:pt x="128" y="375"/>
                    <a:pt x="128" y="375"/>
                    <a:pt x="128" y="375"/>
                  </a:cubicBezTo>
                  <a:cubicBezTo>
                    <a:pt x="143" y="386"/>
                    <a:pt x="160" y="393"/>
                    <a:pt x="178" y="398"/>
                  </a:cubicBezTo>
                  <a:cubicBezTo>
                    <a:pt x="178" y="435"/>
                    <a:pt x="178" y="435"/>
                    <a:pt x="178" y="435"/>
                  </a:cubicBezTo>
                  <a:cubicBezTo>
                    <a:pt x="178" y="448"/>
                    <a:pt x="188" y="459"/>
                    <a:pt x="201" y="459"/>
                  </a:cubicBezTo>
                  <a:cubicBezTo>
                    <a:pt x="227" y="459"/>
                    <a:pt x="227" y="459"/>
                    <a:pt x="227" y="459"/>
                  </a:cubicBezTo>
                  <a:cubicBezTo>
                    <a:pt x="239" y="459"/>
                    <a:pt x="250" y="449"/>
                    <a:pt x="250" y="435"/>
                  </a:cubicBezTo>
                  <a:cubicBezTo>
                    <a:pt x="250" y="398"/>
                    <a:pt x="250" y="398"/>
                    <a:pt x="250" y="398"/>
                  </a:cubicBezTo>
                  <a:cubicBezTo>
                    <a:pt x="268" y="394"/>
                    <a:pt x="285" y="386"/>
                    <a:pt x="300" y="376"/>
                  </a:cubicBezTo>
                  <a:cubicBezTo>
                    <a:pt x="325" y="402"/>
                    <a:pt x="325" y="402"/>
                    <a:pt x="325" y="402"/>
                  </a:cubicBezTo>
                  <a:cubicBezTo>
                    <a:pt x="333" y="412"/>
                    <a:pt x="348" y="412"/>
                    <a:pt x="357" y="402"/>
                  </a:cubicBezTo>
                  <a:cubicBezTo>
                    <a:pt x="375" y="383"/>
                    <a:pt x="375" y="383"/>
                    <a:pt x="375" y="383"/>
                  </a:cubicBezTo>
                  <a:cubicBezTo>
                    <a:pt x="384" y="373"/>
                    <a:pt x="384" y="358"/>
                    <a:pt x="375" y="349"/>
                  </a:cubicBezTo>
                  <a:cubicBezTo>
                    <a:pt x="351" y="322"/>
                    <a:pt x="351" y="322"/>
                    <a:pt x="351" y="322"/>
                  </a:cubicBezTo>
                  <a:cubicBezTo>
                    <a:pt x="360" y="306"/>
                    <a:pt x="367" y="288"/>
                    <a:pt x="372" y="268"/>
                  </a:cubicBezTo>
                  <a:cubicBezTo>
                    <a:pt x="406" y="268"/>
                    <a:pt x="406" y="268"/>
                    <a:pt x="406" y="268"/>
                  </a:cubicBezTo>
                  <a:cubicBezTo>
                    <a:pt x="419" y="268"/>
                    <a:pt x="429" y="258"/>
                    <a:pt x="429" y="244"/>
                  </a:cubicBezTo>
                  <a:cubicBezTo>
                    <a:pt x="429" y="216"/>
                    <a:pt x="429" y="216"/>
                    <a:pt x="429" y="216"/>
                  </a:cubicBezTo>
                  <a:cubicBezTo>
                    <a:pt x="429" y="203"/>
                    <a:pt x="419" y="192"/>
                    <a:pt x="407" y="192"/>
                  </a:cubicBezTo>
                  <a:close/>
                  <a:moveTo>
                    <a:pt x="214" y="307"/>
                  </a:moveTo>
                  <a:cubicBezTo>
                    <a:pt x="175" y="307"/>
                    <a:pt x="143" y="272"/>
                    <a:pt x="143" y="230"/>
                  </a:cubicBezTo>
                  <a:cubicBezTo>
                    <a:pt x="143" y="188"/>
                    <a:pt x="175" y="153"/>
                    <a:pt x="214" y="153"/>
                  </a:cubicBezTo>
                  <a:cubicBezTo>
                    <a:pt x="254" y="153"/>
                    <a:pt x="286" y="188"/>
                    <a:pt x="286" y="230"/>
                  </a:cubicBezTo>
                  <a:cubicBezTo>
                    <a:pt x="286" y="272"/>
                    <a:pt x="254" y="307"/>
                    <a:pt x="214" y="307"/>
                  </a:cubicBezTo>
                  <a:close/>
                </a:path>
              </a:pathLst>
            </a:custGeom>
            <a:solidFill>
              <a:schemeClr val="accent2">
                <a:lumMod val="60000"/>
                <a:lumOff val="4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71" name="Freeform 1592">
              <a:extLst>
                <a:ext uri="{FF2B5EF4-FFF2-40B4-BE49-F238E27FC236}">
                  <a16:creationId xmlns:a16="http://schemas.microsoft.com/office/drawing/2014/main" id="{76BA299D-EFE4-4FAF-9038-2507E6ECE43C}"/>
                </a:ext>
              </a:extLst>
            </p:cNvPr>
            <p:cNvSpPr>
              <a:spLocks/>
            </p:cNvSpPr>
            <p:nvPr userDrawn="1"/>
          </p:nvSpPr>
          <p:spPr bwMode="auto">
            <a:xfrm>
              <a:off x="9747251" y="4922838"/>
              <a:ext cx="46038" cy="52388"/>
            </a:xfrm>
            <a:custGeom>
              <a:avLst/>
              <a:gdLst>
                <a:gd name="T0" fmla="*/ 3 w 23"/>
                <a:gd name="T1" fmla="*/ 0 h 27"/>
                <a:gd name="T2" fmla="*/ 0 w 23"/>
                <a:gd name="T3" fmla="*/ 23 h 27"/>
                <a:gd name="T4" fmla="*/ 20 w 23"/>
                <a:gd name="T5" fmla="*/ 27 h 27"/>
                <a:gd name="T6" fmla="*/ 23 w 23"/>
                <a:gd name="T7" fmla="*/ 2 h 27"/>
                <a:gd name="T8" fmla="*/ 3 w 23"/>
                <a:gd name="T9" fmla="*/ 0 h 27"/>
              </a:gdLst>
              <a:ahLst/>
              <a:cxnLst>
                <a:cxn ang="0">
                  <a:pos x="T0" y="T1"/>
                </a:cxn>
                <a:cxn ang="0">
                  <a:pos x="T2" y="T3"/>
                </a:cxn>
                <a:cxn ang="0">
                  <a:pos x="T4" y="T5"/>
                </a:cxn>
                <a:cxn ang="0">
                  <a:pos x="T6" y="T7"/>
                </a:cxn>
                <a:cxn ang="0">
                  <a:pos x="T8" y="T9"/>
                </a:cxn>
              </a:cxnLst>
              <a:rect l="0" t="0" r="r" b="b"/>
              <a:pathLst>
                <a:path w="23" h="27">
                  <a:moveTo>
                    <a:pt x="3" y="0"/>
                  </a:moveTo>
                  <a:cubicBezTo>
                    <a:pt x="2" y="8"/>
                    <a:pt x="1" y="15"/>
                    <a:pt x="0" y="23"/>
                  </a:cubicBezTo>
                  <a:cubicBezTo>
                    <a:pt x="20" y="27"/>
                    <a:pt x="20" y="27"/>
                    <a:pt x="20" y="27"/>
                  </a:cubicBezTo>
                  <a:cubicBezTo>
                    <a:pt x="21" y="19"/>
                    <a:pt x="23" y="10"/>
                    <a:pt x="23" y="2"/>
                  </a:cubicBezTo>
                  <a:cubicBezTo>
                    <a:pt x="3" y="0"/>
                    <a:pt x="3" y="0"/>
                    <a:pt x="3"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72" name="Freeform 1593">
              <a:extLst>
                <a:ext uri="{FF2B5EF4-FFF2-40B4-BE49-F238E27FC236}">
                  <a16:creationId xmlns:a16="http://schemas.microsoft.com/office/drawing/2014/main" id="{A389219C-4028-4681-B274-E680CE126DC5}"/>
                </a:ext>
              </a:extLst>
            </p:cNvPr>
            <p:cNvSpPr>
              <a:spLocks noEditPoints="1"/>
            </p:cNvSpPr>
            <p:nvPr userDrawn="1"/>
          </p:nvSpPr>
          <p:spPr bwMode="auto">
            <a:xfrm>
              <a:off x="8685213" y="4733925"/>
              <a:ext cx="1073150" cy="714375"/>
            </a:xfrm>
            <a:custGeom>
              <a:avLst/>
              <a:gdLst>
                <a:gd name="T0" fmla="*/ 20 w 542"/>
                <a:gd name="T1" fmla="*/ 58 h 361"/>
                <a:gd name="T2" fmla="*/ 26 w 542"/>
                <a:gd name="T3" fmla="*/ 4 h 361"/>
                <a:gd name="T4" fmla="*/ 6 w 542"/>
                <a:gd name="T5" fmla="*/ 0 h 361"/>
                <a:gd name="T6" fmla="*/ 0 w 542"/>
                <a:gd name="T7" fmla="*/ 57 h 361"/>
                <a:gd name="T8" fmla="*/ 20 w 542"/>
                <a:gd name="T9" fmla="*/ 58 h 361"/>
                <a:gd name="T10" fmla="*/ 37 w 542"/>
                <a:gd name="T11" fmla="*/ 163 h 361"/>
                <a:gd name="T12" fmla="*/ 24 w 542"/>
                <a:gd name="T13" fmla="*/ 111 h 361"/>
                <a:gd name="T14" fmla="*/ 4 w 542"/>
                <a:gd name="T15" fmla="*/ 114 h 361"/>
                <a:gd name="T16" fmla="*/ 18 w 542"/>
                <a:gd name="T17" fmla="*/ 170 h 361"/>
                <a:gd name="T18" fmla="*/ 37 w 542"/>
                <a:gd name="T19" fmla="*/ 163 h 361"/>
                <a:gd name="T20" fmla="*/ 92 w 542"/>
                <a:gd name="T21" fmla="*/ 254 h 361"/>
                <a:gd name="T22" fmla="*/ 60 w 542"/>
                <a:gd name="T23" fmla="*/ 211 h 361"/>
                <a:gd name="T24" fmla="*/ 43 w 542"/>
                <a:gd name="T25" fmla="*/ 221 h 361"/>
                <a:gd name="T26" fmla="*/ 76 w 542"/>
                <a:gd name="T27" fmla="*/ 268 h 361"/>
                <a:gd name="T28" fmla="*/ 92 w 542"/>
                <a:gd name="T29" fmla="*/ 254 h 361"/>
                <a:gd name="T30" fmla="*/ 176 w 542"/>
                <a:gd name="T31" fmla="*/ 318 h 361"/>
                <a:gd name="T32" fmla="*/ 131 w 542"/>
                <a:gd name="T33" fmla="*/ 290 h 361"/>
                <a:gd name="T34" fmla="*/ 118 w 542"/>
                <a:gd name="T35" fmla="*/ 307 h 361"/>
                <a:gd name="T36" fmla="*/ 167 w 542"/>
                <a:gd name="T37" fmla="*/ 336 h 361"/>
                <a:gd name="T38" fmla="*/ 176 w 542"/>
                <a:gd name="T39" fmla="*/ 318 h 361"/>
                <a:gd name="T40" fmla="*/ 279 w 542"/>
                <a:gd name="T41" fmla="*/ 341 h 361"/>
                <a:gd name="T42" fmla="*/ 226 w 542"/>
                <a:gd name="T43" fmla="*/ 335 h 361"/>
                <a:gd name="T44" fmla="*/ 222 w 542"/>
                <a:gd name="T45" fmla="*/ 355 h 361"/>
                <a:gd name="T46" fmla="*/ 279 w 542"/>
                <a:gd name="T47" fmla="*/ 361 h 361"/>
                <a:gd name="T48" fmla="*/ 279 w 542"/>
                <a:gd name="T49" fmla="*/ 341 h 361"/>
                <a:gd name="T50" fmla="*/ 382 w 542"/>
                <a:gd name="T51" fmla="*/ 319 h 361"/>
                <a:gd name="T52" fmla="*/ 332 w 542"/>
                <a:gd name="T53" fmla="*/ 336 h 361"/>
                <a:gd name="T54" fmla="*/ 336 w 542"/>
                <a:gd name="T55" fmla="*/ 356 h 361"/>
                <a:gd name="T56" fmla="*/ 391 w 542"/>
                <a:gd name="T57" fmla="*/ 338 h 361"/>
                <a:gd name="T58" fmla="*/ 382 w 542"/>
                <a:gd name="T59" fmla="*/ 319 h 361"/>
                <a:gd name="T60" fmla="*/ 467 w 542"/>
                <a:gd name="T61" fmla="*/ 256 h 361"/>
                <a:gd name="T62" fmla="*/ 428 w 542"/>
                <a:gd name="T63" fmla="*/ 292 h 361"/>
                <a:gd name="T64" fmla="*/ 440 w 542"/>
                <a:gd name="T65" fmla="*/ 309 h 361"/>
                <a:gd name="T66" fmla="*/ 483 w 542"/>
                <a:gd name="T67" fmla="*/ 270 h 361"/>
                <a:gd name="T68" fmla="*/ 467 w 542"/>
                <a:gd name="T69" fmla="*/ 256 h 361"/>
                <a:gd name="T70" fmla="*/ 523 w 542"/>
                <a:gd name="T71" fmla="*/ 166 h 361"/>
                <a:gd name="T72" fmla="*/ 499 w 542"/>
                <a:gd name="T73" fmla="*/ 214 h 361"/>
                <a:gd name="T74" fmla="*/ 517 w 542"/>
                <a:gd name="T75" fmla="*/ 224 h 361"/>
                <a:gd name="T76" fmla="*/ 542 w 542"/>
                <a:gd name="T77" fmla="*/ 173 h 361"/>
                <a:gd name="T78" fmla="*/ 523 w 542"/>
                <a:gd name="T79" fmla="*/ 166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42" h="361">
                  <a:moveTo>
                    <a:pt x="20" y="58"/>
                  </a:moveTo>
                  <a:cubicBezTo>
                    <a:pt x="20" y="39"/>
                    <a:pt x="22" y="22"/>
                    <a:pt x="26" y="4"/>
                  </a:cubicBezTo>
                  <a:cubicBezTo>
                    <a:pt x="6" y="0"/>
                    <a:pt x="6" y="0"/>
                    <a:pt x="6" y="0"/>
                  </a:cubicBezTo>
                  <a:cubicBezTo>
                    <a:pt x="2" y="19"/>
                    <a:pt x="0" y="38"/>
                    <a:pt x="0" y="57"/>
                  </a:cubicBezTo>
                  <a:lnTo>
                    <a:pt x="20" y="58"/>
                  </a:lnTo>
                  <a:close/>
                  <a:moveTo>
                    <a:pt x="37" y="163"/>
                  </a:moveTo>
                  <a:cubicBezTo>
                    <a:pt x="31" y="146"/>
                    <a:pt x="27" y="129"/>
                    <a:pt x="24" y="111"/>
                  </a:cubicBezTo>
                  <a:cubicBezTo>
                    <a:pt x="4" y="114"/>
                    <a:pt x="4" y="114"/>
                    <a:pt x="4" y="114"/>
                  </a:cubicBezTo>
                  <a:cubicBezTo>
                    <a:pt x="7" y="133"/>
                    <a:pt x="12" y="152"/>
                    <a:pt x="18" y="170"/>
                  </a:cubicBezTo>
                  <a:lnTo>
                    <a:pt x="37" y="163"/>
                  </a:lnTo>
                  <a:close/>
                  <a:moveTo>
                    <a:pt x="92" y="254"/>
                  </a:moveTo>
                  <a:cubicBezTo>
                    <a:pt x="80" y="241"/>
                    <a:pt x="69" y="226"/>
                    <a:pt x="60" y="211"/>
                  </a:cubicBezTo>
                  <a:cubicBezTo>
                    <a:pt x="43" y="221"/>
                    <a:pt x="43" y="221"/>
                    <a:pt x="43" y="221"/>
                  </a:cubicBezTo>
                  <a:cubicBezTo>
                    <a:pt x="53" y="238"/>
                    <a:pt x="64" y="253"/>
                    <a:pt x="76" y="268"/>
                  </a:cubicBezTo>
                  <a:cubicBezTo>
                    <a:pt x="92" y="254"/>
                    <a:pt x="92" y="254"/>
                    <a:pt x="92" y="254"/>
                  </a:cubicBezTo>
                  <a:close/>
                  <a:moveTo>
                    <a:pt x="176" y="318"/>
                  </a:moveTo>
                  <a:cubicBezTo>
                    <a:pt x="160" y="310"/>
                    <a:pt x="145" y="301"/>
                    <a:pt x="131" y="290"/>
                  </a:cubicBezTo>
                  <a:cubicBezTo>
                    <a:pt x="118" y="307"/>
                    <a:pt x="118" y="307"/>
                    <a:pt x="118" y="307"/>
                  </a:cubicBezTo>
                  <a:cubicBezTo>
                    <a:pt x="134" y="318"/>
                    <a:pt x="150" y="328"/>
                    <a:pt x="167" y="336"/>
                  </a:cubicBezTo>
                  <a:cubicBezTo>
                    <a:pt x="176" y="318"/>
                    <a:pt x="176" y="318"/>
                    <a:pt x="176" y="318"/>
                  </a:cubicBezTo>
                  <a:close/>
                  <a:moveTo>
                    <a:pt x="279" y="341"/>
                  </a:moveTo>
                  <a:cubicBezTo>
                    <a:pt x="261" y="341"/>
                    <a:pt x="243" y="339"/>
                    <a:pt x="226" y="335"/>
                  </a:cubicBezTo>
                  <a:cubicBezTo>
                    <a:pt x="222" y="355"/>
                    <a:pt x="222" y="355"/>
                    <a:pt x="222" y="355"/>
                  </a:cubicBezTo>
                  <a:cubicBezTo>
                    <a:pt x="240" y="359"/>
                    <a:pt x="259" y="361"/>
                    <a:pt x="279" y="361"/>
                  </a:cubicBezTo>
                  <a:cubicBezTo>
                    <a:pt x="279" y="341"/>
                    <a:pt x="279" y="341"/>
                    <a:pt x="279" y="341"/>
                  </a:cubicBezTo>
                  <a:close/>
                  <a:moveTo>
                    <a:pt x="382" y="319"/>
                  </a:moveTo>
                  <a:cubicBezTo>
                    <a:pt x="366" y="326"/>
                    <a:pt x="349" y="332"/>
                    <a:pt x="332" y="336"/>
                  </a:cubicBezTo>
                  <a:cubicBezTo>
                    <a:pt x="336" y="356"/>
                    <a:pt x="336" y="356"/>
                    <a:pt x="336" y="356"/>
                  </a:cubicBezTo>
                  <a:cubicBezTo>
                    <a:pt x="355" y="352"/>
                    <a:pt x="373" y="346"/>
                    <a:pt x="391" y="338"/>
                  </a:cubicBezTo>
                  <a:lnTo>
                    <a:pt x="382" y="319"/>
                  </a:lnTo>
                  <a:close/>
                  <a:moveTo>
                    <a:pt x="467" y="256"/>
                  </a:moveTo>
                  <a:cubicBezTo>
                    <a:pt x="455" y="270"/>
                    <a:pt x="442" y="282"/>
                    <a:pt x="428" y="292"/>
                  </a:cubicBezTo>
                  <a:cubicBezTo>
                    <a:pt x="440" y="309"/>
                    <a:pt x="440" y="309"/>
                    <a:pt x="440" y="309"/>
                  </a:cubicBezTo>
                  <a:cubicBezTo>
                    <a:pt x="455" y="297"/>
                    <a:pt x="470" y="284"/>
                    <a:pt x="483" y="270"/>
                  </a:cubicBezTo>
                  <a:lnTo>
                    <a:pt x="467" y="256"/>
                  </a:lnTo>
                  <a:close/>
                  <a:moveTo>
                    <a:pt x="523" y="166"/>
                  </a:moveTo>
                  <a:cubicBezTo>
                    <a:pt x="516" y="182"/>
                    <a:pt x="508" y="199"/>
                    <a:pt x="499" y="214"/>
                  </a:cubicBezTo>
                  <a:cubicBezTo>
                    <a:pt x="517" y="224"/>
                    <a:pt x="517" y="224"/>
                    <a:pt x="517" y="224"/>
                  </a:cubicBezTo>
                  <a:cubicBezTo>
                    <a:pt x="526" y="208"/>
                    <a:pt x="535" y="191"/>
                    <a:pt x="542" y="173"/>
                  </a:cubicBezTo>
                  <a:cubicBezTo>
                    <a:pt x="523" y="166"/>
                    <a:pt x="523" y="166"/>
                    <a:pt x="523" y="166"/>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73" name="Freeform 1594">
              <a:extLst>
                <a:ext uri="{FF2B5EF4-FFF2-40B4-BE49-F238E27FC236}">
                  <a16:creationId xmlns:a16="http://schemas.microsoft.com/office/drawing/2014/main" id="{1864F0E2-F808-4F01-A79B-6EB878034F1D}"/>
                </a:ext>
              </a:extLst>
            </p:cNvPr>
            <p:cNvSpPr>
              <a:spLocks/>
            </p:cNvSpPr>
            <p:nvPr userDrawn="1"/>
          </p:nvSpPr>
          <p:spPr bwMode="auto">
            <a:xfrm>
              <a:off x="8731251" y="4543425"/>
              <a:ext cx="69850" cy="92075"/>
            </a:xfrm>
            <a:custGeom>
              <a:avLst/>
              <a:gdLst>
                <a:gd name="T0" fmla="*/ 19 w 35"/>
                <a:gd name="T1" fmla="*/ 47 h 47"/>
                <a:gd name="T2" fmla="*/ 29 w 35"/>
                <a:gd name="T3" fmla="*/ 25 h 47"/>
                <a:gd name="T4" fmla="*/ 20 w 35"/>
                <a:gd name="T5" fmla="*/ 21 h 47"/>
                <a:gd name="T6" fmla="*/ 11 w 35"/>
                <a:gd name="T7" fmla="*/ 16 h 47"/>
                <a:gd name="T8" fmla="*/ 8 w 35"/>
                <a:gd name="T9" fmla="*/ 22 h 47"/>
                <a:gd name="T10" fmla="*/ 17 w 35"/>
                <a:gd name="T11" fmla="*/ 26 h 47"/>
                <a:gd name="T12" fmla="*/ 26 w 35"/>
                <a:gd name="T13" fmla="*/ 30 h 47"/>
                <a:gd name="T14" fmla="*/ 35 w 35"/>
                <a:gd name="T15" fmla="*/ 7 h 47"/>
                <a:gd name="T16" fmla="*/ 16 w 35"/>
                <a:gd name="T17" fmla="*/ 0 h 47"/>
                <a:gd name="T18" fmla="*/ 7 w 35"/>
                <a:gd name="T19" fmla="*/ 23 h 47"/>
                <a:gd name="T20" fmla="*/ 26 w 35"/>
                <a:gd name="T21" fmla="*/ 31 h 47"/>
                <a:gd name="T22" fmla="*/ 29 w 35"/>
                <a:gd name="T23" fmla="*/ 25 h 47"/>
                <a:gd name="T24" fmla="*/ 11 w 35"/>
                <a:gd name="T25" fmla="*/ 16 h 47"/>
                <a:gd name="T26" fmla="*/ 0 w 35"/>
                <a:gd name="T27" fmla="*/ 39 h 47"/>
                <a:gd name="T28" fmla="*/ 19 w 35"/>
                <a:gd name="T29" fmla="*/ 47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5" h="47">
                  <a:moveTo>
                    <a:pt x="19" y="47"/>
                  </a:moveTo>
                  <a:cubicBezTo>
                    <a:pt x="22" y="39"/>
                    <a:pt x="25" y="32"/>
                    <a:pt x="29" y="25"/>
                  </a:cubicBezTo>
                  <a:cubicBezTo>
                    <a:pt x="20" y="21"/>
                    <a:pt x="20" y="21"/>
                    <a:pt x="20" y="21"/>
                  </a:cubicBezTo>
                  <a:cubicBezTo>
                    <a:pt x="11" y="16"/>
                    <a:pt x="11" y="16"/>
                    <a:pt x="11" y="16"/>
                  </a:cubicBezTo>
                  <a:cubicBezTo>
                    <a:pt x="8" y="22"/>
                    <a:pt x="8" y="22"/>
                    <a:pt x="8" y="22"/>
                  </a:cubicBezTo>
                  <a:cubicBezTo>
                    <a:pt x="17" y="26"/>
                    <a:pt x="17" y="26"/>
                    <a:pt x="17" y="26"/>
                  </a:cubicBezTo>
                  <a:cubicBezTo>
                    <a:pt x="26" y="30"/>
                    <a:pt x="26" y="30"/>
                    <a:pt x="26" y="30"/>
                  </a:cubicBezTo>
                  <a:cubicBezTo>
                    <a:pt x="35" y="7"/>
                    <a:pt x="35" y="7"/>
                    <a:pt x="35" y="7"/>
                  </a:cubicBezTo>
                  <a:cubicBezTo>
                    <a:pt x="16" y="0"/>
                    <a:pt x="16" y="0"/>
                    <a:pt x="16" y="0"/>
                  </a:cubicBezTo>
                  <a:cubicBezTo>
                    <a:pt x="7" y="23"/>
                    <a:pt x="7" y="23"/>
                    <a:pt x="7" y="23"/>
                  </a:cubicBezTo>
                  <a:cubicBezTo>
                    <a:pt x="26" y="31"/>
                    <a:pt x="26" y="31"/>
                    <a:pt x="26" y="31"/>
                  </a:cubicBezTo>
                  <a:cubicBezTo>
                    <a:pt x="29" y="25"/>
                    <a:pt x="29" y="25"/>
                    <a:pt x="29" y="25"/>
                  </a:cubicBezTo>
                  <a:cubicBezTo>
                    <a:pt x="11" y="16"/>
                    <a:pt x="11" y="16"/>
                    <a:pt x="11" y="16"/>
                  </a:cubicBezTo>
                  <a:cubicBezTo>
                    <a:pt x="7" y="24"/>
                    <a:pt x="3" y="31"/>
                    <a:pt x="0" y="39"/>
                  </a:cubicBezTo>
                  <a:cubicBezTo>
                    <a:pt x="19" y="47"/>
                    <a:pt x="19" y="47"/>
                    <a:pt x="19" y="47"/>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74" name="Freeform 1595">
              <a:extLst>
                <a:ext uri="{FF2B5EF4-FFF2-40B4-BE49-F238E27FC236}">
                  <a16:creationId xmlns:a16="http://schemas.microsoft.com/office/drawing/2014/main" id="{F91DC142-BCD5-47B4-9AA4-AF171FCC27A5}"/>
                </a:ext>
              </a:extLst>
            </p:cNvPr>
            <p:cNvSpPr>
              <a:spLocks noEditPoints="1"/>
            </p:cNvSpPr>
            <p:nvPr userDrawn="1"/>
          </p:nvSpPr>
          <p:spPr bwMode="auto">
            <a:xfrm>
              <a:off x="8797926" y="3068638"/>
              <a:ext cx="571500" cy="1398588"/>
            </a:xfrm>
            <a:custGeom>
              <a:avLst/>
              <a:gdLst>
                <a:gd name="T0" fmla="*/ 356 w 360"/>
                <a:gd name="T1" fmla="*/ 19 h 881"/>
                <a:gd name="T2" fmla="*/ 360 w 360"/>
                <a:gd name="T3" fmla="*/ 10 h 881"/>
                <a:gd name="T4" fmla="*/ 336 w 360"/>
                <a:gd name="T5" fmla="*/ 0 h 881"/>
                <a:gd name="T6" fmla="*/ 332 w 360"/>
                <a:gd name="T7" fmla="*/ 10 h 881"/>
                <a:gd name="T8" fmla="*/ 356 w 360"/>
                <a:gd name="T9" fmla="*/ 19 h 881"/>
                <a:gd name="T10" fmla="*/ 308 w 360"/>
                <a:gd name="T11" fmla="*/ 142 h 881"/>
                <a:gd name="T12" fmla="*/ 332 w 360"/>
                <a:gd name="T13" fmla="*/ 81 h 881"/>
                <a:gd name="T14" fmla="*/ 308 w 360"/>
                <a:gd name="T15" fmla="*/ 71 h 881"/>
                <a:gd name="T16" fmla="*/ 285 w 360"/>
                <a:gd name="T17" fmla="*/ 133 h 881"/>
                <a:gd name="T18" fmla="*/ 308 w 360"/>
                <a:gd name="T19" fmla="*/ 142 h 881"/>
                <a:gd name="T20" fmla="*/ 261 w 360"/>
                <a:gd name="T21" fmla="*/ 266 h 881"/>
                <a:gd name="T22" fmla="*/ 285 w 360"/>
                <a:gd name="T23" fmla="*/ 203 h 881"/>
                <a:gd name="T24" fmla="*/ 261 w 360"/>
                <a:gd name="T25" fmla="*/ 195 h 881"/>
                <a:gd name="T26" fmla="*/ 237 w 360"/>
                <a:gd name="T27" fmla="*/ 256 h 881"/>
                <a:gd name="T28" fmla="*/ 261 w 360"/>
                <a:gd name="T29" fmla="*/ 266 h 881"/>
                <a:gd name="T30" fmla="*/ 214 w 360"/>
                <a:gd name="T31" fmla="*/ 389 h 881"/>
                <a:gd name="T32" fmla="*/ 237 w 360"/>
                <a:gd name="T33" fmla="*/ 327 h 881"/>
                <a:gd name="T34" fmla="*/ 214 w 360"/>
                <a:gd name="T35" fmla="*/ 318 h 881"/>
                <a:gd name="T36" fmla="*/ 190 w 360"/>
                <a:gd name="T37" fmla="*/ 379 h 881"/>
                <a:gd name="T38" fmla="*/ 214 w 360"/>
                <a:gd name="T39" fmla="*/ 389 h 881"/>
                <a:gd name="T40" fmla="*/ 166 w 360"/>
                <a:gd name="T41" fmla="*/ 511 h 881"/>
                <a:gd name="T42" fmla="*/ 190 w 360"/>
                <a:gd name="T43" fmla="*/ 450 h 881"/>
                <a:gd name="T44" fmla="*/ 166 w 360"/>
                <a:gd name="T45" fmla="*/ 441 h 881"/>
                <a:gd name="T46" fmla="*/ 143 w 360"/>
                <a:gd name="T47" fmla="*/ 502 h 881"/>
                <a:gd name="T48" fmla="*/ 166 w 360"/>
                <a:gd name="T49" fmla="*/ 511 h 881"/>
                <a:gd name="T50" fmla="*/ 119 w 360"/>
                <a:gd name="T51" fmla="*/ 634 h 881"/>
                <a:gd name="T52" fmla="*/ 143 w 360"/>
                <a:gd name="T53" fmla="*/ 573 h 881"/>
                <a:gd name="T54" fmla="*/ 119 w 360"/>
                <a:gd name="T55" fmla="*/ 565 h 881"/>
                <a:gd name="T56" fmla="*/ 95 w 360"/>
                <a:gd name="T57" fmla="*/ 626 h 881"/>
                <a:gd name="T58" fmla="*/ 119 w 360"/>
                <a:gd name="T59" fmla="*/ 634 h 881"/>
                <a:gd name="T60" fmla="*/ 71 w 360"/>
                <a:gd name="T61" fmla="*/ 758 h 881"/>
                <a:gd name="T62" fmla="*/ 95 w 360"/>
                <a:gd name="T63" fmla="*/ 697 h 881"/>
                <a:gd name="T64" fmla="*/ 71 w 360"/>
                <a:gd name="T65" fmla="*/ 687 h 881"/>
                <a:gd name="T66" fmla="*/ 48 w 360"/>
                <a:gd name="T67" fmla="*/ 749 h 881"/>
                <a:gd name="T68" fmla="*/ 71 w 360"/>
                <a:gd name="T69" fmla="*/ 758 h 881"/>
                <a:gd name="T70" fmla="*/ 24 w 360"/>
                <a:gd name="T71" fmla="*/ 881 h 881"/>
                <a:gd name="T72" fmla="*/ 48 w 360"/>
                <a:gd name="T73" fmla="*/ 819 h 881"/>
                <a:gd name="T74" fmla="*/ 24 w 360"/>
                <a:gd name="T75" fmla="*/ 810 h 881"/>
                <a:gd name="T76" fmla="*/ 0 w 360"/>
                <a:gd name="T77" fmla="*/ 872 h 881"/>
                <a:gd name="T78" fmla="*/ 24 w 360"/>
                <a:gd name="T79" fmla="*/ 881 h 8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60" h="881">
                  <a:moveTo>
                    <a:pt x="356" y="19"/>
                  </a:moveTo>
                  <a:lnTo>
                    <a:pt x="360" y="10"/>
                  </a:lnTo>
                  <a:lnTo>
                    <a:pt x="336" y="0"/>
                  </a:lnTo>
                  <a:lnTo>
                    <a:pt x="332" y="10"/>
                  </a:lnTo>
                  <a:lnTo>
                    <a:pt x="356" y="19"/>
                  </a:lnTo>
                  <a:close/>
                  <a:moveTo>
                    <a:pt x="308" y="142"/>
                  </a:moveTo>
                  <a:lnTo>
                    <a:pt x="332" y="81"/>
                  </a:lnTo>
                  <a:lnTo>
                    <a:pt x="308" y="71"/>
                  </a:lnTo>
                  <a:lnTo>
                    <a:pt x="285" y="133"/>
                  </a:lnTo>
                  <a:lnTo>
                    <a:pt x="308" y="142"/>
                  </a:lnTo>
                  <a:close/>
                  <a:moveTo>
                    <a:pt x="261" y="266"/>
                  </a:moveTo>
                  <a:lnTo>
                    <a:pt x="285" y="203"/>
                  </a:lnTo>
                  <a:lnTo>
                    <a:pt x="261" y="195"/>
                  </a:lnTo>
                  <a:lnTo>
                    <a:pt x="237" y="256"/>
                  </a:lnTo>
                  <a:lnTo>
                    <a:pt x="261" y="266"/>
                  </a:lnTo>
                  <a:close/>
                  <a:moveTo>
                    <a:pt x="214" y="389"/>
                  </a:moveTo>
                  <a:lnTo>
                    <a:pt x="237" y="327"/>
                  </a:lnTo>
                  <a:lnTo>
                    <a:pt x="214" y="318"/>
                  </a:lnTo>
                  <a:lnTo>
                    <a:pt x="190" y="379"/>
                  </a:lnTo>
                  <a:lnTo>
                    <a:pt x="214" y="389"/>
                  </a:lnTo>
                  <a:close/>
                  <a:moveTo>
                    <a:pt x="166" y="511"/>
                  </a:moveTo>
                  <a:lnTo>
                    <a:pt x="190" y="450"/>
                  </a:lnTo>
                  <a:lnTo>
                    <a:pt x="166" y="441"/>
                  </a:lnTo>
                  <a:lnTo>
                    <a:pt x="143" y="502"/>
                  </a:lnTo>
                  <a:lnTo>
                    <a:pt x="166" y="511"/>
                  </a:lnTo>
                  <a:close/>
                  <a:moveTo>
                    <a:pt x="119" y="634"/>
                  </a:moveTo>
                  <a:lnTo>
                    <a:pt x="143" y="573"/>
                  </a:lnTo>
                  <a:lnTo>
                    <a:pt x="119" y="565"/>
                  </a:lnTo>
                  <a:lnTo>
                    <a:pt x="95" y="626"/>
                  </a:lnTo>
                  <a:lnTo>
                    <a:pt x="119" y="634"/>
                  </a:lnTo>
                  <a:close/>
                  <a:moveTo>
                    <a:pt x="71" y="758"/>
                  </a:moveTo>
                  <a:lnTo>
                    <a:pt x="95" y="697"/>
                  </a:lnTo>
                  <a:lnTo>
                    <a:pt x="71" y="687"/>
                  </a:lnTo>
                  <a:lnTo>
                    <a:pt x="48" y="749"/>
                  </a:lnTo>
                  <a:lnTo>
                    <a:pt x="71" y="758"/>
                  </a:lnTo>
                  <a:close/>
                  <a:moveTo>
                    <a:pt x="24" y="881"/>
                  </a:moveTo>
                  <a:lnTo>
                    <a:pt x="48" y="819"/>
                  </a:lnTo>
                  <a:lnTo>
                    <a:pt x="24" y="810"/>
                  </a:lnTo>
                  <a:lnTo>
                    <a:pt x="0" y="872"/>
                  </a:lnTo>
                  <a:lnTo>
                    <a:pt x="24" y="881"/>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75" name="Freeform 1596">
              <a:extLst>
                <a:ext uri="{FF2B5EF4-FFF2-40B4-BE49-F238E27FC236}">
                  <a16:creationId xmlns:a16="http://schemas.microsoft.com/office/drawing/2014/main" id="{6DE9A561-B4C6-4EA2-88FB-D8061F95B615}"/>
                </a:ext>
              </a:extLst>
            </p:cNvPr>
            <p:cNvSpPr>
              <a:spLocks/>
            </p:cNvSpPr>
            <p:nvPr userDrawn="1"/>
          </p:nvSpPr>
          <p:spPr bwMode="auto">
            <a:xfrm>
              <a:off x="9348788" y="2933700"/>
              <a:ext cx="76200" cy="104775"/>
            </a:xfrm>
            <a:custGeom>
              <a:avLst/>
              <a:gdLst>
                <a:gd name="T0" fmla="*/ 19 w 38"/>
                <a:gd name="T1" fmla="*/ 53 h 53"/>
                <a:gd name="T2" fmla="*/ 31 w 38"/>
                <a:gd name="T3" fmla="*/ 21 h 53"/>
                <a:gd name="T4" fmla="*/ 22 w 38"/>
                <a:gd name="T5" fmla="*/ 17 h 53"/>
                <a:gd name="T6" fmla="*/ 18 w 38"/>
                <a:gd name="T7" fmla="*/ 27 h 53"/>
                <a:gd name="T8" fmla="*/ 27 w 38"/>
                <a:gd name="T9" fmla="*/ 31 h 53"/>
                <a:gd name="T10" fmla="*/ 38 w 38"/>
                <a:gd name="T11" fmla="*/ 10 h 53"/>
                <a:gd name="T12" fmla="*/ 20 w 38"/>
                <a:gd name="T13" fmla="*/ 0 h 53"/>
                <a:gd name="T14" fmla="*/ 9 w 38"/>
                <a:gd name="T15" fmla="*/ 23 h 53"/>
                <a:gd name="T16" fmla="*/ 5 w 38"/>
                <a:gd name="T17" fmla="*/ 32 h 53"/>
                <a:gd name="T18" fmla="*/ 5 w 38"/>
                <a:gd name="T19" fmla="*/ 32 h 53"/>
                <a:gd name="T20" fmla="*/ 0 w 38"/>
                <a:gd name="T21" fmla="*/ 46 h 53"/>
                <a:gd name="T22" fmla="*/ 19 w 38"/>
                <a:gd name="T2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8" h="53">
                  <a:moveTo>
                    <a:pt x="19" y="53"/>
                  </a:moveTo>
                  <a:cubicBezTo>
                    <a:pt x="31" y="21"/>
                    <a:pt x="31" y="21"/>
                    <a:pt x="31" y="21"/>
                  </a:cubicBezTo>
                  <a:cubicBezTo>
                    <a:pt x="22" y="17"/>
                    <a:pt x="22" y="17"/>
                    <a:pt x="22" y="17"/>
                  </a:cubicBezTo>
                  <a:cubicBezTo>
                    <a:pt x="18" y="27"/>
                    <a:pt x="18" y="27"/>
                    <a:pt x="18" y="27"/>
                  </a:cubicBezTo>
                  <a:cubicBezTo>
                    <a:pt x="27" y="31"/>
                    <a:pt x="27" y="31"/>
                    <a:pt x="27" y="31"/>
                  </a:cubicBezTo>
                  <a:cubicBezTo>
                    <a:pt x="30" y="23"/>
                    <a:pt x="34" y="16"/>
                    <a:pt x="38" y="10"/>
                  </a:cubicBezTo>
                  <a:cubicBezTo>
                    <a:pt x="20" y="0"/>
                    <a:pt x="20" y="0"/>
                    <a:pt x="20" y="0"/>
                  </a:cubicBezTo>
                  <a:cubicBezTo>
                    <a:pt x="16" y="7"/>
                    <a:pt x="12" y="15"/>
                    <a:pt x="9" y="23"/>
                  </a:cubicBezTo>
                  <a:cubicBezTo>
                    <a:pt x="5" y="32"/>
                    <a:pt x="5" y="32"/>
                    <a:pt x="5" y="32"/>
                  </a:cubicBezTo>
                  <a:cubicBezTo>
                    <a:pt x="5" y="32"/>
                    <a:pt x="5" y="32"/>
                    <a:pt x="5" y="32"/>
                  </a:cubicBezTo>
                  <a:cubicBezTo>
                    <a:pt x="0" y="46"/>
                    <a:pt x="0" y="46"/>
                    <a:pt x="0" y="46"/>
                  </a:cubicBezTo>
                  <a:cubicBezTo>
                    <a:pt x="19" y="53"/>
                    <a:pt x="19" y="53"/>
                    <a:pt x="19" y="5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76" name="Freeform 1597">
              <a:extLst>
                <a:ext uri="{FF2B5EF4-FFF2-40B4-BE49-F238E27FC236}">
                  <a16:creationId xmlns:a16="http://schemas.microsoft.com/office/drawing/2014/main" id="{B7B15A72-D3E2-45A3-BD4A-CAD40174E7ED}"/>
                </a:ext>
              </a:extLst>
            </p:cNvPr>
            <p:cNvSpPr>
              <a:spLocks noEditPoints="1"/>
            </p:cNvSpPr>
            <p:nvPr userDrawn="1"/>
          </p:nvSpPr>
          <p:spPr bwMode="auto">
            <a:xfrm>
              <a:off x="9447213" y="2720975"/>
              <a:ext cx="709613" cy="2124075"/>
            </a:xfrm>
            <a:custGeom>
              <a:avLst/>
              <a:gdLst>
                <a:gd name="T0" fmla="*/ 164 w 358"/>
                <a:gd name="T1" fmla="*/ 1070 h 1074"/>
                <a:gd name="T2" fmla="*/ 193 w 358"/>
                <a:gd name="T3" fmla="*/ 1025 h 1074"/>
                <a:gd name="T4" fmla="*/ 195 w 358"/>
                <a:gd name="T5" fmla="*/ 914 h 1074"/>
                <a:gd name="T6" fmla="*/ 204 w 358"/>
                <a:gd name="T7" fmla="*/ 971 h 1074"/>
                <a:gd name="T8" fmla="*/ 195 w 358"/>
                <a:gd name="T9" fmla="*/ 914 h 1074"/>
                <a:gd name="T10" fmla="*/ 206 w 358"/>
                <a:gd name="T11" fmla="*/ 861 h 1074"/>
                <a:gd name="T12" fmla="*/ 237 w 358"/>
                <a:gd name="T13" fmla="*/ 812 h 1074"/>
                <a:gd name="T14" fmla="*/ 239 w 358"/>
                <a:gd name="T15" fmla="*/ 701 h 1074"/>
                <a:gd name="T16" fmla="*/ 248 w 358"/>
                <a:gd name="T17" fmla="*/ 758 h 1074"/>
                <a:gd name="T18" fmla="*/ 239 w 358"/>
                <a:gd name="T19" fmla="*/ 701 h 1074"/>
                <a:gd name="T20" fmla="*/ 250 w 358"/>
                <a:gd name="T21" fmla="*/ 648 h 1074"/>
                <a:gd name="T22" fmla="*/ 280 w 358"/>
                <a:gd name="T23" fmla="*/ 599 h 1074"/>
                <a:gd name="T24" fmla="*/ 282 w 358"/>
                <a:gd name="T25" fmla="*/ 488 h 1074"/>
                <a:gd name="T26" fmla="*/ 291 w 358"/>
                <a:gd name="T27" fmla="*/ 545 h 1074"/>
                <a:gd name="T28" fmla="*/ 282 w 358"/>
                <a:gd name="T29" fmla="*/ 488 h 1074"/>
                <a:gd name="T30" fmla="*/ 293 w 358"/>
                <a:gd name="T31" fmla="*/ 435 h 1074"/>
                <a:gd name="T32" fmla="*/ 324 w 358"/>
                <a:gd name="T33" fmla="*/ 386 h 1074"/>
                <a:gd name="T34" fmla="*/ 326 w 358"/>
                <a:gd name="T35" fmla="*/ 275 h 1074"/>
                <a:gd name="T36" fmla="*/ 335 w 358"/>
                <a:gd name="T37" fmla="*/ 332 h 1074"/>
                <a:gd name="T38" fmla="*/ 326 w 358"/>
                <a:gd name="T39" fmla="*/ 275 h 1074"/>
                <a:gd name="T40" fmla="*/ 338 w 358"/>
                <a:gd name="T41" fmla="*/ 209 h 1074"/>
                <a:gd name="T42" fmla="*/ 338 w 358"/>
                <a:gd name="T43" fmla="*/ 215 h 1074"/>
                <a:gd name="T44" fmla="*/ 356 w 358"/>
                <a:gd name="T45" fmla="*/ 226 h 1074"/>
                <a:gd name="T46" fmla="*/ 358 w 358"/>
                <a:gd name="T47" fmla="*/ 209 h 1074"/>
                <a:gd name="T48" fmla="*/ 358 w 358"/>
                <a:gd name="T49" fmla="*/ 209 h 1074"/>
                <a:gd name="T50" fmla="*/ 335 w 358"/>
                <a:gd name="T51" fmla="*/ 172 h 1074"/>
                <a:gd name="T52" fmla="*/ 319 w 358"/>
                <a:gd name="T53" fmla="*/ 123 h 1074"/>
                <a:gd name="T54" fmla="*/ 305 w 358"/>
                <a:gd name="T55" fmla="*/ 67 h 1074"/>
                <a:gd name="T56" fmla="*/ 203 w 358"/>
                <a:gd name="T57" fmla="*/ 27 h 1074"/>
                <a:gd name="T58" fmla="*/ 261 w 358"/>
                <a:gd name="T59" fmla="*/ 31 h 1074"/>
                <a:gd name="T60" fmla="*/ 203 w 358"/>
                <a:gd name="T61" fmla="*/ 27 h 1074"/>
                <a:gd name="T62" fmla="*/ 149 w 358"/>
                <a:gd name="T63" fmla="*/ 20 h 1074"/>
                <a:gd name="T64" fmla="*/ 153 w 358"/>
                <a:gd name="T65" fmla="*/ 0 h 1074"/>
                <a:gd name="T66" fmla="*/ 96 w 358"/>
                <a:gd name="T67" fmla="*/ 7 h 1074"/>
                <a:gd name="T68" fmla="*/ 15 w 358"/>
                <a:gd name="T69" fmla="*/ 80 h 1074"/>
                <a:gd name="T70" fmla="*/ 44 w 358"/>
                <a:gd name="T71" fmla="*/ 30 h 1074"/>
                <a:gd name="T72" fmla="*/ 15 w 358"/>
                <a:gd name="T73" fmla="*/ 80 h 10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58" h="1074">
                  <a:moveTo>
                    <a:pt x="174" y="1021"/>
                  </a:moveTo>
                  <a:cubicBezTo>
                    <a:pt x="164" y="1070"/>
                    <a:pt x="164" y="1070"/>
                    <a:pt x="164" y="1070"/>
                  </a:cubicBezTo>
                  <a:cubicBezTo>
                    <a:pt x="183" y="1074"/>
                    <a:pt x="183" y="1074"/>
                    <a:pt x="183" y="1074"/>
                  </a:cubicBezTo>
                  <a:cubicBezTo>
                    <a:pt x="193" y="1025"/>
                    <a:pt x="193" y="1025"/>
                    <a:pt x="193" y="1025"/>
                  </a:cubicBezTo>
                  <a:lnTo>
                    <a:pt x="174" y="1021"/>
                  </a:lnTo>
                  <a:close/>
                  <a:moveTo>
                    <a:pt x="195" y="914"/>
                  </a:moveTo>
                  <a:cubicBezTo>
                    <a:pt x="184" y="967"/>
                    <a:pt x="184" y="967"/>
                    <a:pt x="184" y="967"/>
                  </a:cubicBezTo>
                  <a:cubicBezTo>
                    <a:pt x="204" y="971"/>
                    <a:pt x="204" y="971"/>
                    <a:pt x="204" y="971"/>
                  </a:cubicBezTo>
                  <a:cubicBezTo>
                    <a:pt x="215" y="918"/>
                    <a:pt x="215" y="918"/>
                    <a:pt x="215" y="918"/>
                  </a:cubicBezTo>
                  <a:lnTo>
                    <a:pt x="195" y="914"/>
                  </a:lnTo>
                  <a:close/>
                  <a:moveTo>
                    <a:pt x="217" y="808"/>
                  </a:moveTo>
                  <a:cubicBezTo>
                    <a:pt x="206" y="861"/>
                    <a:pt x="206" y="861"/>
                    <a:pt x="206" y="861"/>
                  </a:cubicBezTo>
                  <a:cubicBezTo>
                    <a:pt x="226" y="865"/>
                    <a:pt x="226" y="865"/>
                    <a:pt x="226" y="865"/>
                  </a:cubicBezTo>
                  <a:cubicBezTo>
                    <a:pt x="237" y="812"/>
                    <a:pt x="237" y="812"/>
                    <a:pt x="237" y="812"/>
                  </a:cubicBezTo>
                  <a:lnTo>
                    <a:pt x="217" y="808"/>
                  </a:lnTo>
                  <a:close/>
                  <a:moveTo>
                    <a:pt x="239" y="701"/>
                  </a:moveTo>
                  <a:cubicBezTo>
                    <a:pt x="228" y="754"/>
                    <a:pt x="228" y="754"/>
                    <a:pt x="228" y="754"/>
                  </a:cubicBezTo>
                  <a:cubicBezTo>
                    <a:pt x="248" y="758"/>
                    <a:pt x="248" y="758"/>
                    <a:pt x="248" y="758"/>
                  </a:cubicBezTo>
                  <a:cubicBezTo>
                    <a:pt x="259" y="705"/>
                    <a:pt x="259" y="705"/>
                    <a:pt x="259" y="705"/>
                  </a:cubicBezTo>
                  <a:lnTo>
                    <a:pt x="239" y="701"/>
                  </a:lnTo>
                  <a:close/>
                  <a:moveTo>
                    <a:pt x="260" y="595"/>
                  </a:moveTo>
                  <a:cubicBezTo>
                    <a:pt x="250" y="648"/>
                    <a:pt x="250" y="648"/>
                    <a:pt x="250" y="648"/>
                  </a:cubicBezTo>
                  <a:cubicBezTo>
                    <a:pt x="269" y="652"/>
                    <a:pt x="269" y="652"/>
                    <a:pt x="269" y="652"/>
                  </a:cubicBezTo>
                  <a:cubicBezTo>
                    <a:pt x="280" y="599"/>
                    <a:pt x="280" y="599"/>
                    <a:pt x="280" y="599"/>
                  </a:cubicBezTo>
                  <a:lnTo>
                    <a:pt x="260" y="595"/>
                  </a:lnTo>
                  <a:close/>
                  <a:moveTo>
                    <a:pt x="282" y="488"/>
                  </a:moveTo>
                  <a:cubicBezTo>
                    <a:pt x="271" y="541"/>
                    <a:pt x="271" y="541"/>
                    <a:pt x="271" y="541"/>
                  </a:cubicBezTo>
                  <a:cubicBezTo>
                    <a:pt x="291" y="545"/>
                    <a:pt x="291" y="545"/>
                    <a:pt x="291" y="545"/>
                  </a:cubicBezTo>
                  <a:cubicBezTo>
                    <a:pt x="302" y="492"/>
                    <a:pt x="302" y="492"/>
                    <a:pt x="302" y="492"/>
                  </a:cubicBezTo>
                  <a:lnTo>
                    <a:pt x="282" y="488"/>
                  </a:lnTo>
                  <a:close/>
                  <a:moveTo>
                    <a:pt x="304" y="382"/>
                  </a:moveTo>
                  <a:cubicBezTo>
                    <a:pt x="293" y="435"/>
                    <a:pt x="293" y="435"/>
                    <a:pt x="293" y="435"/>
                  </a:cubicBezTo>
                  <a:cubicBezTo>
                    <a:pt x="313" y="439"/>
                    <a:pt x="313" y="439"/>
                    <a:pt x="313" y="439"/>
                  </a:cubicBezTo>
                  <a:cubicBezTo>
                    <a:pt x="324" y="386"/>
                    <a:pt x="324" y="386"/>
                    <a:pt x="324" y="386"/>
                  </a:cubicBezTo>
                  <a:lnTo>
                    <a:pt x="304" y="382"/>
                  </a:lnTo>
                  <a:close/>
                  <a:moveTo>
                    <a:pt x="326" y="275"/>
                  </a:moveTo>
                  <a:cubicBezTo>
                    <a:pt x="315" y="328"/>
                    <a:pt x="315" y="328"/>
                    <a:pt x="315" y="328"/>
                  </a:cubicBezTo>
                  <a:cubicBezTo>
                    <a:pt x="335" y="332"/>
                    <a:pt x="335" y="332"/>
                    <a:pt x="335" y="332"/>
                  </a:cubicBezTo>
                  <a:cubicBezTo>
                    <a:pt x="345" y="279"/>
                    <a:pt x="345" y="279"/>
                    <a:pt x="345" y="279"/>
                  </a:cubicBezTo>
                  <a:lnTo>
                    <a:pt x="326" y="275"/>
                  </a:lnTo>
                  <a:close/>
                  <a:moveTo>
                    <a:pt x="335" y="172"/>
                  </a:moveTo>
                  <a:cubicBezTo>
                    <a:pt x="337" y="184"/>
                    <a:pt x="338" y="196"/>
                    <a:pt x="338" y="209"/>
                  </a:cubicBezTo>
                  <a:cubicBezTo>
                    <a:pt x="338" y="209"/>
                    <a:pt x="338" y="209"/>
                    <a:pt x="338" y="209"/>
                  </a:cubicBezTo>
                  <a:cubicBezTo>
                    <a:pt x="338" y="215"/>
                    <a:pt x="338" y="215"/>
                    <a:pt x="338" y="215"/>
                  </a:cubicBezTo>
                  <a:cubicBezTo>
                    <a:pt x="336" y="222"/>
                    <a:pt x="336" y="222"/>
                    <a:pt x="336" y="222"/>
                  </a:cubicBezTo>
                  <a:cubicBezTo>
                    <a:pt x="356" y="226"/>
                    <a:pt x="356" y="226"/>
                    <a:pt x="356" y="226"/>
                  </a:cubicBezTo>
                  <a:cubicBezTo>
                    <a:pt x="358" y="217"/>
                    <a:pt x="358" y="217"/>
                    <a:pt x="358" y="217"/>
                  </a:cubicBezTo>
                  <a:cubicBezTo>
                    <a:pt x="358" y="209"/>
                    <a:pt x="358" y="209"/>
                    <a:pt x="358" y="209"/>
                  </a:cubicBezTo>
                  <a:cubicBezTo>
                    <a:pt x="348" y="209"/>
                    <a:pt x="348" y="209"/>
                    <a:pt x="348" y="209"/>
                  </a:cubicBezTo>
                  <a:cubicBezTo>
                    <a:pt x="358" y="209"/>
                    <a:pt x="358" y="209"/>
                    <a:pt x="358" y="209"/>
                  </a:cubicBezTo>
                  <a:cubicBezTo>
                    <a:pt x="358" y="195"/>
                    <a:pt x="357" y="181"/>
                    <a:pt x="354" y="168"/>
                  </a:cubicBezTo>
                  <a:lnTo>
                    <a:pt x="335" y="172"/>
                  </a:lnTo>
                  <a:close/>
                  <a:moveTo>
                    <a:pt x="290" y="80"/>
                  </a:moveTo>
                  <a:cubicBezTo>
                    <a:pt x="301" y="93"/>
                    <a:pt x="311" y="107"/>
                    <a:pt x="319" y="123"/>
                  </a:cubicBezTo>
                  <a:cubicBezTo>
                    <a:pt x="337" y="114"/>
                    <a:pt x="337" y="114"/>
                    <a:pt x="337" y="114"/>
                  </a:cubicBezTo>
                  <a:cubicBezTo>
                    <a:pt x="329" y="97"/>
                    <a:pt x="318" y="81"/>
                    <a:pt x="305" y="67"/>
                  </a:cubicBezTo>
                  <a:cubicBezTo>
                    <a:pt x="290" y="80"/>
                    <a:pt x="290" y="80"/>
                    <a:pt x="290" y="80"/>
                  </a:cubicBezTo>
                  <a:close/>
                  <a:moveTo>
                    <a:pt x="203" y="27"/>
                  </a:moveTo>
                  <a:cubicBezTo>
                    <a:pt x="220" y="32"/>
                    <a:pt x="236" y="39"/>
                    <a:pt x="251" y="48"/>
                  </a:cubicBezTo>
                  <a:cubicBezTo>
                    <a:pt x="261" y="31"/>
                    <a:pt x="261" y="31"/>
                    <a:pt x="261" y="31"/>
                  </a:cubicBezTo>
                  <a:cubicBezTo>
                    <a:pt x="245" y="21"/>
                    <a:pt x="228" y="13"/>
                    <a:pt x="209" y="8"/>
                  </a:cubicBezTo>
                  <a:cubicBezTo>
                    <a:pt x="203" y="27"/>
                    <a:pt x="203" y="27"/>
                    <a:pt x="203" y="27"/>
                  </a:cubicBezTo>
                  <a:close/>
                  <a:moveTo>
                    <a:pt x="102" y="27"/>
                  </a:moveTo>
                  <a:cubicBezTo>
                    <a:pt x="117" y="22"/>
                    <a:pt x="133" y="20"/>
                    <a:pt x="149" y="20"/>
                  </a:cubicBezTo>
                  <a:cubicBezTo>
                    <a:pt x="150" y="20"/>
                    <a:pt x="151" y="20"/>
                    <a:pt x="152" y="20"/>
                  </a:cubicBezTo>
                  <a:cubicBezTo>
                    <a:pt x="153" y="0"/>
                    <a:pt x="153" y="0"/>
                    <a:pt x="153" y="0"/>
                  </a:cubicBezTo>
                  <a:cubicBezTo>
                    <a:pt x="152" y="0"/>
                    <a:pt x="150" y="0"/>
                    <a:pt x="149" y="0"/>
                  </a:cubicBezTo>
                  <a:cubicBezTo>
                    <a:pt x="131" y="0"/>
                    <a:pt x="113" y="2"/>
                    <a:pt x="96" y="7"/>
                  </a:cubicBezTo>
                  <a:cubicBezTo>
                    <a:pt x="102" y="27"/>
                    <a:pt x="102" y="27"/>
                    <a:pt x="102" y="27"/>
                  </a:cubicBezTo>
                  <a:close/>
                  <a:moveTo>
                    <a:pt x="15" y="80"/>
                  </a:moveTo>
                  <a:cubicBezTo>
                    <a:pt x="27" y="67"/>
                    <a:pt x="40" y="56"/>
                    <a:pt x="55" y="47"/>
                  </a:cubicBezTo>
                  <a:cubicBezTo>
                    <a:pt x="44" y="30"/>
                    <a:pt x="44" y="30"/>
                    <a:pt x="44" y="30"/>
                  </a:cubicBezTo>
                  <a:cubicBezTo>
                    <a:pt x="28" y="40"/>
                    <a:pt x="13" y="52"/>
                    <a:pt x="0" y="66"/>
                  </a:cubicBezTo>
                  <a:cubicBezTo>
                    <a:pt x="15" y="80"/>
                    <a:pt x="15" y="80"/>
                    <a:pt x="15" y="8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77" name="Freeform 1598">
              <a:extLst>
                <a:ext uri="{FF2B5EF4-FFF2-40B4-BE49-F238E27FC236}">
                  <a16:creationId xmlns:a16="http://schemas.microsoft.com/office/drawing/2014/main" id="{428D10DD-829B-4A78-8AD1-D7834C4B776C}"/>
                </a:ext>
              </a:extLst>
            </p:cNvPr>
            <p:cNvSpPr>
              <a:spLocks/>
            </p:cNvSpPr>
            <p:nvPr userDrawn="1"/>
          </p:nvSpPr>
          <p:spPr bwMode="auto">
            <a:xfrm>
              <a:off x="9753601" y="4886325"/>
              <a:ext cx="47625" cy="55563"/>
            </a:xfrm>
            <a:custGeom>
              <a:avLst/>
              <a:gdLst>
                <a:gd name="T0" fmla="*/ 6 w 30"/>
                <a:gd name="T1" fmla="*/ 0 h 35"/>
                <a:gd name="T2" fmla="*/ 0 w 30"/>
                <a:gd name="T3" fmla="*/ 30 h 35"/>
                <a:gd name="T4" fmla="*/ 23 w 30"/>
                <a:gd name="T5" fmla="*/ 35 h 35"/>
                <a:gd name="T6" fmla="*/ 30 w 30"/>
                <a:gd name="T7" fmla="*/ 5 h 35"/>
                <a:gd name="T8" fmla="*/ 6 w 30"/>
                <a:gd name="T9" fmla="*/ 0 h 35"/>
              </a:gdLst>
              <a:ahLst/>
              <a:cxnLst>
                <a:cxn ang="0">
                  <a:pos x="T0" y="T1"/>
                </a:cxn>
                <a:cxn ang="0">
                  <a:pos x="T2" y="T3"/>
                </a:cxn>
                <a:cxn ang="0">
                  <a:pos x="T4" y="T5"/>
                </a:cxn>
                <a:cxn ang="0">
                  <a:pos x="T6" y="T7"/>
                </a:cxn>
                <a:cxn ang="0">
                  <a:pos x="T8" y="T9"/>
                </a:cxn>
              </a:cxnLst>
              <a:rect l="0" t="0" r="r" b="b"/>
              <a:pathLst>
                <a:path w="30" h="35">
                  <a:moveTo>
                    <a:pt x="6" y="0"/>
                  </a:moveTo>
                  <a:lnTo>
                    <a:pt x="0" y="30"/>
                  </a:lnTo>
                  <a:lnTo>
                    <a:pt x="23" y="35"/>
                  </a:lnTo>
                  <a:lnTo>
                    <a:pt x="30" y="5"/>
                  </a:lnTo>
                  <a:lnTo>
                    <a:pt x="6"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78" name="Freeform 1600">
              <a:extLst>
                <a:ext uri="{FF2B5EF4-FFF2-40B4-BE49-F238E27FC236}">
                  <a16:creationId xmlns:a16="http://schemas.microsoft.com/office/drawing/2014/main" id="{78EF9986-E5ED-4221-A24D-FE2CCA2EE563}"/>
                </a:ext>
              </a:extLst>
            </p:cNvPr>
            <p:cNvSpPr>
              <a:spLocks noEditPoints="1"/>
            </p:cNvSpPr>
            <p:nvPr userDrawn="1"/>
          </p:nvSpPr>
          <p:spPr bwMode="auto">
            <a:xfrm>
              <a:off x="10171113" y="4878388"/>
              <a:ext cx="327025" cy="19050"/>
            </a:xfrm>
            <a:custGeom>
              <a:avLst/>
              <a:gdLst>
                <a:gd name="T0" fmla="*/ 58 w 206"/>
                <a:gd name="T1" fmla="*/ 0 h 12"/>
                <a:gd name="T2" fmla="*/ 0 w 206"/>
                <a:gd name="T3" fmla="*/ 0 h 12"/>
                <a:gd name="T4" fmla="*/ 0 w 206"/>
                <a:gd name="T5" fmla="*/ 12 h 12"/>
                <a:gd name="T6" fmla="*/ 58 w 206"/>
                <a:gd name="T7" fmla="*/ 12 h 12"/>
                <a:gd name="T8" fmla="*/ 58 w 206"/>
                <a:gd name="T9" fmla="*/ 0 h 12"/>
                <a:gd name="T10" fmla="*/ 206 w 206"/>
                <a:gd name="T11" fmla="*/ 0 h 12"/>
                <a:gd name="T12" fmla="*/ 147 w 206"/>
                <a:gd name="T13" fmla="*/ 0 h 12"/>
                <a:gd name="T14" fmla="*/ 147 w 206"/>
                <a:gd name="T15" fmla="*/ 12 h 12"/>
                <a:gd name="T16" fmla="*/ 206 w 206"/>
                <a:gd name="T17" fmla="*/ 12 h 12"/>
                <a:gd name="T18" fmla="*/ 206 w 206"/>
                <a:gd name="T1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6" h="12">
                  <a:moveTo>
                    <a:pt x="58" y="0"/>
                  </a:moveTo>
                  <a:lnTo>
                    <a:pt x="0" y="0"/>
                  </a:lnTo>
                  <a:lnTo>
                    <a:pt x="0" y="12"/>
                  </a:lnTo>
                  <a:lnTo>
                    <a:pt x="58" y="12"/>
                  </a:lnTo>
                  <a:lnTo>
                    <a:pt x="58" y="0"/>
                  </a:lnTo>
                  <a:close/>
                  <a:moveTo>
                    <a:pt x="206" y="0"/>
                  </a:moveTo>
                  <a:lnTo>
                    <a:pt x="147" y="0"/>
                  </a:lnTo>
                  <a:lnTo>
                    <a:pt x="147" y="12"/>
                  </a:lnTo>
                  <a:lnTo>
                    <a:pt x="206" y="12"/>
                  </a:lnTo>
                  <a:lnTo>
                    <a:pt x="206" y="0"/>
                  </a:lnTo>
                  <a:close/>
                </a:path>
              </a:pathLst>
            </a:custGeom>
            <a:solidFill>
              <a:srgbClr val="BBDDF4"/>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79" name="Freeform 1601">
              <a:extLst>
                <a:ext uri="{FF2B5EF4-FFF2-40B4-BE49-F238E27FC236}">
                  <a16:creationId xmlns:a16="http://schemas.microsoft.com/office/drawing/2014/main" id="{7F242EA7-21FB-43B7-9182-3D1E713BD4BA}"/>
                </a:ext>
              </a:extLst>
            </p:cNvPr>
            <p:cNvSpPr>
              <a:spLocks noEditPoints="1"/>
            </p:cNvSpPr>
            <p:nvPr userDrawn="1"/>
          </p:nvSpPr>
          <p:spPr bwMode="auto">
            <a:xfrm>
              <a:off x="10171113" y="4878388"/>
              <a:ext cx="327025" cy="19050"/>
            </a:xfrm>
            <a:custGeom>
              <a:avLst/>
              <a:gdLst>
                <a:gd name="T0" fmla="*/ 58 w 206"/>
                <a:gd name="T1" fmla="*/ 0 h 12"/>
                <a:gd name="T2" fmla="*/ 0 w 206"/>
                <a:gd name="T3" fmla="*/ 0 h 12"/>
                <a:gd name="T4" fmla="*/ 0 w 206"/>
                <a:gd name="T5" fmla="*/ 12 h 12"/>
                <a:gd name="T6" fmla="*/ 58 w 206"/>
                <a:gd name="T7" fmla="*/ 12 h 12"/>
                <a:gd name="T8" fmla="*/ 58 w 206"/>
                <a:gd name="T9" fmla="*/ 0 h 12"/>
                <a:gd name="T10" fmla="*/ 206 w 206"/>
                <a:gd name="T11" fmla="*/ 0 h 12"/>
                <a:gd name="T12" fmla="*/ 147 w 206"/>
                <a:gd name="T13" fmla="*/ 0 h 12"/>
                <a:gd name="T14" fmla="*/ 147 w 206"/>
                <a:gd name="T15" fmla="*/ 12 h 12"/>
                <a:gd name="T16" fmla="*/ 206 w 206"/>
                <a:gd name="T17" fmla="*/ 12 h 12"/>
                <a:gd name="T18" fmla="*/ 206 w 206"/>
                <a:gd name="T1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6" h="12">
                  <a:moveTo>
                    <a:pt x="58" y="0"/>
                  </a:moveTo>
                  <a:lnTo>
                    <a:pt x="0" y="0"/>
                  </a:lnTo>
                  <a:lnTo>
                    <a:pt x="0" y="12"/>
                  </a:lnTo>
                  <a:lnTo>
                    <a:pt x="58" y="12"/>
                  </a:lnTo>
                  <a:lnTo>
                    <a:pt x="58" y="0"/>
                  </a:lnTo>
                  <a:moveTo>
                    <a:pt x="206" y="0"/>
                  </a:moveTo>
                  <a:lnTo>
                    <a:pt x="147" y="0"/>
                  </a:lnTo>
                  <a:lnTo>
                    <a:pt x="147" y="12"/>
                  </a:lnTo>
                  <a:lnTo>
                    <a:pt x="206" y="12"/>
                  </a:lnTo>
                  <a:lnTo>
                    <a:pt x="206" y="0"/>
                  </a:lnTo>
                </a:path>
              </a:pathLst>
            </a:custGeom>
            <a:solidFill>
              <a:schemeClr val="accent2">
                <a:lumMod val="40000"/>
                <a:lumOff val="6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80" name="Rectangle 1602">
              <a:extLst>
                <a:ext uri="{FF2B5EF4-FFF2-40B4-BE49-F238E27FC236}">
                  <a16:creationId xmlns:a16="http://schemas.microsoft.com/office/drawing/2014/main" id="{878C6BAD-A627-47BA-BAFD-5A0DBE20A64F}"/>
                </a:ext>
              </a:extLst>
            </p:cNvPr>
            <p:cNvSpPr>
              <a:spLocks noChangeArrowheads="1"/>
            </p:cNvSpPr>
            <p:nvPr userDrawn="1"/>
          </p:nvSpPr>
          <p:spPr bwMode="auto">
            <a:xfrm>
              <a:off x="9839326" y="5753100"/>
              <a:ext cx="92075" cy="92075"/>
            </a:xfrm>
            <a:prstGeom prst="rect">
              <a:avLst/>
            </a:prstGeom>
            <a:solidFill>
              <a:schemeClr val="accent2">
                <a:lumMod val="60000"/>
                <a:lumOff val="40000"/>
                <a:alpha val="5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81" name="Rectangle 1603">
              <a:extLst>
                <a:ext uri="{FF2B5EF4-FFF2-40B4-BE49-F238E27FC236}">
                  <a16:creationId xmlns:a16="http://schemas.microsoft.com/office/drawing/2014/main" id="{D7000615-9092-4B8F-A64A-6722B1DDAC54}"/>
                </a:ext>
              </a:extLst>
            </p:cNvPr>
            <p:cNvSpPr>
              <a:spLocks noChangeArrowheads="1"/>
            </p:cNvSpPr>
            <p:nvPr userDrawn="1"/>
          </p:nvSpPr>
          <p:spPr bwMode="auto">
            <a:xfrm>
              <a:off x="9839326" y="5753100"/>
              <a:ext cx="92075" cy="92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82" name="Freeform 1604">
              <a:extLst>
                <a:ext uri="{FF2B5EF4-FFF2-40B4-BE49-F238E27FC236}">
                  <a16:creationId xmlns:a16="http://schemas.microsoft.com/office/drawing/2014/main" id="{E21DA834-6A41-4190-BB0D-4D437C37A64A}"/>
                </a:ext>
              </a:extLst>
            </p:cNvPr>
            <p:cNvSpPr>
              <a:spLocks/>
            </p:cNvSpPr>
            <p:nvPr userDrawn="1"/>
          </p:nvSpPr>
          <p:spPr bwMode="auto">
            <a:xfrm>
              <a:off x="9839326" y="4878388"/>
              <a:ext cx="174625" cy="874713"/>
            </a:xfrm>
            <a:custGeom>
              <a:avLst/>
              <a:gdLst>
                <a:gd name="T0" fmla="*/ 88 w 88"/>
                <a:gd name="T1" fmla="*/ 0 h 442"/>
                <a:gd name="T2" fmla="*/ 46 w 88"/>
                <a:gd name="T3" fmla="*/ 0 h 442"/>
                <a:gd name="T4" fmla="*/ 0 w 88"/>
                <a:gd name="T5" fmla="*/ 49 h 442"/>
                <a:gd name="T6" fmla="*/ 0 w 88"/>
                <a:gd name="T7" fmla="*/ 442 h 442"/>
                <a:gd name="T8" fmla="*/ 46 w 88"/>
                <a:gd name="T9" fmla="*/ 442 h 442"/>
                <a:gd name="T10" fmla="*/ 46 w 88"/>
                <a:gd name="T11" fmla="*/ 49 h 442"/>
                <a:gd name="T12" fmla="*/ 88 w 88"/>
                <a:gd name="T13" fmla="*/ 0 h 442"/>
                <a:gd name="T14" fmla="*/ 88 w 88"/>
                <a:gd name="T15" fmla="*/ 0 h 4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 h="442">
                  <a:moveTo>
                    <a:pt x="88" y="0"/>
                  </a:moveTo>
                  <a:cubicBezTo>
                    <a:pt x="46" y="0"/>
                    <a:pt x="46" y="0"/>
                    <a:pt x="46" y="0"/>
                  </a:cubicBezTo>
                  <a:cubicBezTo>
                    <a:pt x="20" y="0"/>
                    <a:pt x="0" y="22"/>
                    <a:pt x="0" y="49"/>
                  </a:cubicBezTo>
                  <a:cubicBezTo>
                    <a:pt x="0" y="442"/>
                    <a:pt x="0" y="442"/>
                    <a:pt x="0" y="442"/>
                  </a:cubicBezTo>
                  <a:cubicBezTo>
                    <a:pt x="46" y="442"/>
                    <a:pt x="46" y="442"/>
                    <a:pt x="46" y="442"/>
                  </a:cubicBezTo>
                  <a:cubicBezTo>
                    <a:pt x="46" y="49"/>
                    <a:pt x="46" y="49"/>
                    <a:pt x="46" y="49"/>
                  </a:cubicBezTo>
                  <a:cubicBezTo>
                    <a:pt x="46" y="23"/>
                    <a:pt x="65" y="2"/>
                    <a:pt x="88" y="0"/>
                  </a:cubicBezTo>
                  <a:cubicBezTo>
                    <a:pt x="88" y="0"/>
                    <a:pt x="88" y="0"/>
                    <a:pt x="88" y="0"/>
                  </a:cubicBezTo>
                </a:path>
              </a:pathLst>
            </a:custGeom>
            <a:solidFill>
              <a:schemeClr val="accent2">
                <a:lumMod val="40000"/>
                <a:lumOff val="6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83" name="Freeform 1605">
              <a:extLst>
                <a:ext uri="{FF2B5EF4-FFF2-40B4-BE49-F238E27FC236}">
                  <a16:creationId xmlns:a16="http://schemas.microsoft.com/office/drawing/2014/main" id="{93682887-38E2-4FAD-81DE-299A916219CF}"/>
                </a:ext>
              </a:extLst>
            </p:cNvPr>
            <p:cNvSpPr>
              <a:spLocks/>
            </p:cNvSpPr>
            <p:nvPr userDrawn="1"/>
          </p:nvSpPr>
          <p:spPr bwMode="auto">
            <a:xfrm>
              <a:off x="9839326" y="5886450"/>
              <a:ext cx="111125" cy="212725"/>
            </a:xfrm>
            <a:custGeom>
              <a:avLst/>
              <a:gdLst>
                <a:gd name="T0" fmla="*/ 46 w 56"/>
                <a:gd name="T1" fmla="*/ 0 h 108"/>
                <a:gd name="T2" fmla="*/ 0 w 56"/>
                <a:gd name="T3" fmla="*/ 0 h 108"/>
                <a:gd name="T4" fmla="*/ 0 w 56"/>
                <a:gd name="T5" fmla="*/ 78 h 108"/>
                <a:gd name="T6" fmla="*/ 9 w 56"/>
                <a:gd name="T7" fmla="*/ 108 h 108"/>
                <a:gd name="T8" fmla="*/ 56 w 56"/>
                <a:gd name="T9" fmla="*/ 108 h 108"/>
                <a:gd name="T10" fmla="*/ 46 w 56"/>
                <a:gd name="T11" fmla="*/ 78 h 108"/>
                <a:gd name="T12" fmla="*/ 46 w 56"/>
                <a:gd name="T13" fmla="*/ 0 h 108"/>
              </a:gdLst>
              <a:ahLst/>
              <a:cxnLst>
                <a:cxn ang="0">
                  <a:pos x="T0" y="T1"/>
                </a:cxn>
                <a:cxn ang="0">
                  <a:pos x="T2" y="T3"/>
                </a:cxn>
                <a:cxn ang="0">
                  <a:pos x="T4" y="T5"/>
                </a:cxn>
                <a:cxn ang="0">
                  <a:pos x="T6" y="T7"/>
                </a:cxn>
                <a:cxn ang="0">
                  <a:pos x="T8" y="T9"/>
                </a:cxn>
                <a:cxn ang="0">
                  <a:pos x="T10" y="T11"/>
                </a:cxn>
                <a:cxn ang="0">
                  <a:pos x="T12" y="T13"/>
                </a:cxn>
              </a:cxnLst>
              <a:rect l="0" t="0" r="r" b="b"/>
              <a:pathLst>
                <a:path w="56" h="108">
                  <a:moveTo>
                    <a:pt x="46" y="0"/>
                  </a:moveTo>
                  <a:cubicBezTo>
                    <a:pt x="0" y="0"/>
                    <a:pt x="0" y="0"/>
                    <a:pt x="0" y="0"/>
                  </a:cubicBezTo>
                  <a:cubicBezTo>
                    <a:pt x="0" y="78"/>
                    <a:pt x="0" y="78"/>
                    <a:pt x="0" y="78"/>
                  </a:cubicBezTo>
                  <a:cubicBezTo>
                    <a:pt x="0" y="89"/>
                    <a:pt x="3" y="99"/>
                    <a:pt x="9" y="108"/>
                  </a:cubicBezTo>
                  <a:cubicBezTo>
                    <a:pt x="56" y="108"/>
                    <a:pt x="56" y="108"/>
                    <a:pt x="56" y="108"/>
                  </a:cubicBezTo>
                  <a:cubicBezTo>
                    <a:pt x="50" y="99"/>
                    <a:pt x="46" y="89"/>
                    <a:pt x="46" y="78"/>
                  </a:cubicBezTo>
                  <a:cubicBezTo>
                    <a:pt x="46" y="0"/>
                    <a:pt x="46" y="0"/>
                    <a:pt x="46" y="0"/>
                  </a:cubicBezTo>
                </a:path>
              </a:pathLst>
            </a:custGeom>
            <a:solidFill>
              <a:schemeClr val="accent2">
                <a:lumMod val="40000"/>
                <a:lumOff val="6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84" name="Rectangle 1606">
              <a:extLst>
                <a:ext uri="{FF2B5EF4-FFF2-40B4-BE49-F238E27FC236}">
                  <a16:creationId xmlns:a16="http://schemas.microsoft.com/office/drawing/2014/main" id="{5240F44D-A2C5-4E8B-985A-A6F6C80D2FFF}"/>
                </a:ext>
              </a:extLst>
            </p:cNvPr>
            <p:cNvSpPr>
              <a:spLocks noChangeArrowheads="1"/>
            </p:cNvSpPr>
            <p:nvPr userDrawn="1"/>
          </p:nvSpPr>
          <p:spPr bwMode="auto">
            <a:xfrm>
              <a:off x="9839326" y="5845175"/>
              <a:ext cx="92075" cy="41275"/>
            </a:xfrm>
            <a:prstGeom prst="rect">
              <a:avLst/>
            </a:prstGeom>
            <a:solidFill>
              <a:schemeClr val="accent2">
                <a:lumMod val="75000"/>
                <a:alpha val="3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85" name="Rectangle 1607">
              <a:extLst>
                <a:ext uri="{FF2B5EF4-FFF2-40B4-BE49-F238E27FC236}">
                  <a16:creationId xmlns:a16="http://schemas.microsoft.com/office/drawing/2014/main" id="{C1C4BD4F-C734-4BEE-A9F8-32208EF2C278}"/>
                </a:ext>
              </a:extLst>
            </p:cNvPr>
            <p:cNvSpPr>
              <a:spLocks noChangeArrowheads="1"/>
            </p:cNvSpPr>
            <p:nvPr userDrawn="1"/>
          </p:nvSpPr>
          <p:spPr bwMode="auto">
            <a:xfrm>
              <a:off x="9839326" y="5845175"/>
              <a:ext cx="92075" cy="4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86" name="Freeform 1608">
              <a:extLst>
                <a:ext uri="{FF2B5EF4-FFF2-40B4-BE49-F238E27FC236}">
                  <a16:creationId xmlns:a16="http://schemas.microsoft.com/office/drawing/2014/main" id="{AEB04E76-1BD5-4917-AB2E-364BD3EC9D90}"/>
                </a:ext>
              </a:extLst>
            </p:cNvPr>
            <p:cNvSpPr>
              <a:spLocks/>
            </p:cNvSpPr>
            <p:nvPr userDrawn="1"/>
          </p:nvSpPr>
          <p:spPr bwMode="auto">
            <a:xfrm>
              <a:off x="10707688" y="4878388"/>
              <a:ext cx="849313" cy="1220788"/>
            </a:xfrm>
            <a:custGeom>
              <a:avLst/>
              <a:gdLst>
                <a:gd name="T0" fmla="*/ 383 w 429"/>
                <a:gd name="T1" fmla="*/ 0 h 617"/>
                <a:gd name="T2" fmla="*/ 0 w 429"/>
                <a:gd name="T3" fmla="*/ 0 h 617"/>
                <a:gd name="T4" fmla="*/ 0 w 429"/>
                <a:gd name="T5" fmla="*/ 488 h 617"/>
                <a:gd name="T6" fmla="*/ 63 w 429"/>
                <a:gd name="T7" fmla="*/ 488 h 617"/>
                <a:gd name="T8" fmla="*/ 53 w 429"/>
                <a:gd name="T9" fmla="*/ 557 h 617"/>
                <a:gd name="T10" fmla="*/ 23 w 429"/>
                <a:gd name="T11" fmla="*/ 614 h 617"/>
                <a:gd name="T12" fmla="*/ 20 w 429"/>
                <a:gd name="T13" fmla="*/ 617 h 617"/>
                <a:gd name="T14" fmla="*/ 419 w 429"/>
                <a:gd name="T15" fmla="*/ 617 h 617"/>
                <a:gd name="T16" fmla="*/ 429 w 429"/>
                <a:gd name="T17" fmla="*/ 587 h 617"/>
                <a:gd name="T18" fmla="*/ 429 w 429"/>
                <a:gd name="T19" fmla="*/ 49 h 617"/>
                <a:gd name="T20" fmla="*/ 383 w 429"/>
                <a:gd name="T21" fmla="*/ 0 h 6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29" h="617">
                  <a:moveTo>
                    <a:pt x="383" y="0"/>
                  </a:moveTo>
                  <a:cubicBezTo>
                    <a:pt x="0" y="0"/>
                    <a:pt x="0" y="0"/>
                    <a:pt x="0" y="0"/>
                  </a:cubicBezTo>
                  <a:cubicBezTo>
                    <a:pt x="0" y="488"/>
                    <a:pt x="0" y="488"/>
                    <a:pt x="0" y="488"/>
                  </a:cubicBezTo>
                  <a:cubicBezTo>
                    <a:pt x="63" y="488"/>
                    <a:pt x="63" y="488"/>
                    <a:pt x="63" y="488"/>
                  </a:cubicBezTo>
                  <a:cubicBezTo>
                    <a:pt x="53" y="557"/>
                    <a:pt x="53" y="557"/>
                    <a:pt x="53" y="557"/>
                  </a:cubicBezTo>
                  <a:cubicBezTo>
                    <a:pt x="49" y="580"/>
                    <a:pt x="38" y="600"/>
                    <a:pt x="23" y="614"/>
                  </a:cubicBezTo>
                  <a:cubicBezTo>
                    <a:pt x="22" y="615"/>
                    <a:pt x="21" y="616"/>
                    <a:pt x="20" y="617"/>
                  </a:cubicBezTo>
                  <a:cubicBezTo>
                    <a:pt x="419" y="617"/>
                    <a:pt x="419" y="617"/>
                    <a:pt x="419" y="617"/>
                  </a:cubicBezTo>
                  <a:cubicBezTo>
                    <a:pt x="425" y="608"/>
                    <a:pt x="429" y="598"/>
                    <a:pt x="429" y="587"/>
                  </a:cubicBezTo>
                  <a:cubicBezTo>
                    <a:pt x="429" y="49"/>
                    <a:pt x="429" y="49"/>
                    <a:pt x="429" y="49"/>
                  </a:cubicBezTo>
                  <a:cubicBezTo>
                    <a:pt x="429" y="22"/>
                    <a:pt x="408" y="0"/>
                    <a:pt x="383" y="0"/>
                  </a:cubicBezTo>
                </a:path>
              </a:pathLst>
            </a:custGeom>
            <a:solidFill>
              <a:schemeClr val="accent2">
                <a:lumMod val="40000"/>
                <a:lumOff val="6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87" name="Freeform 1609">
              <a:extLst>
                <a:ext uri="{FF2B5EF4-FFF2-40B4-BE49-F238E27FC236}">
                  <a16:creationId xmlns:a16="http://schemas.microsoft.com/office/drawing/2014/main" id="{749983B9-65C1-465E-9CA0-0AE6704F191C}"/>
                </a:ext>
              </a:extLst>
            </p:cNvPr>
            <p:cNvSpPr>
              <a:spLocks/>
            </p:cNvSpPr>
            <p:nvPr userDrawn="1"/>
          </p:nvSpPr>
          <p:spPr bwMode="auto">
            <a:xfrm>
              <a:off x="10668001" y="4878388"/>
              <a:ext cx="39688" cy="966788"/>
            </a:xfrm>
            <a:custGeom>
              <a:avLst/>
              <a:gdLst>
                <a:gd name="T0" fmla="*/ 25 w 25"/>
                <a:gd name="T1" fmla="*/ 0 h 609"/>
                <a:gd name="T2" fmla="*/ 0 w 25"/>
                <a:gd name="T3" fmla="*/ 0 h 609"/>
                <a:gd name="T4" fmla="*/ 24 w 25"/>
                <a:gd name="T5" fmla="*/ 0 h 609"/>
                <a:gd name="T6" fmla="*/ 24 w 25"/>
                <a:gd name="T7" fmla="*/ 609 h 609"/>
                <a:gd name="T8" fmla="*/ 25 w 25"/>
                <a:gd name="T9" fmla="*/ 609 h 609"/>
                <a:gd name="T10" fmla="*/ 25 w 25"/>
                <a:gd name="T11" fmla="*/ 0 h 609"/>
              </a:gdLst>
              <a:ahLst/>
              <a:cxnLst>
                <a:cxn ang="0">
                  <a:pos x="T0" y="T1"/>
                </a:cxn>
                <a:cxn ang="0">
                  <a:pos x="T2" y="T3"/>
                </a:cxn>
                <a:cxn ang="0">
                  <a:pos x="T4" y="T5"/>
                </a:cxn>
                <a:cxn ang="0">
                  <a:pos x="T6" y="T7"/>
                </a:cxn>
                <a:cxn ang="0">
                  <a:pos x="T8" y="T9"/>
                </a:cxn>
                <a:cxn ang="0">
                  <a:pos x="T10" y="T11"/>
                </a:cxn>
              </a:cxnLst>
              <a:rect l="0" t="0" r="r" b="b"/>
              <a:pathLst>
                <a:path w="25" h="609">
                  <a:moveTo>
                    <a:pt x="25" y="0"/>
                  </a:moveTo>
                  <a:lnTo>
                    <a:pt x="0" y="0"/>
                  </a:lnTo>
                  <a:lnTo>
                    <a:pt x="24" y="0"/>
                  </a:lnTo>
                  <a:lnTo>
                    <a:pt x="24" y="609"/>
                  </a:lnTo>
                  <a:lnTo>
                    <a:pt x="25" y="609"/>
                  </a:lnTo>
                  <a:lnTo>
                    <a:pt x="25" y="0"/>
                  </a:lnTo>
                  <a:close/>
                </a:path>
              </a:pathLst>
            </a:custGeom>
            <a:solidFill>
              <a:srgbClr val="067C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88" name="Freeform 1610">
              <a:extLst>
                <a:ext uri="{FF2B5EF4-FFF2-40B4-BE49-F238E27FC236}">
                  <a16:creationId xmlns:a16="http://schemas.microsoft.com/office/drawing/2014/main" id="{1FEEC374-FC9D-4CAF-8424-9E5CF3E8A756}"/>
                </a:ext>
              </a:extLst>
            </p:cNvPr>
            <p:cNvSpPr>
              <a:spLocks/>
            </p:cNvSpPr>
            <p:nvPr userDrawn="1"/>
          </p:nvSpPr>
          <p:spPr bwMode="auto">
            <a:xfrm>
              <a:off x="10668001" y="4878388"/>
              <a:ext cx="39688" cy="966788"/>
            </a:xfrm>
            <a:custGeom>
              <a:avLst/>
              <a:gdLst>
                <a:gd name="T0" fmla="*/ 25 w 25"/>
                <a:gd name="T1" fmla="*/ 0 h 609"/>
                <a:gd name="T2" fmla="*/ 0 w 25"/>
                <a:gd name="T3" fmla="*/ 0 h 609"/>
                <a:gd name="T4" fmla="*/ 24 w 25"/>
                <a:gd name="T5" fmla="*/ 0 h 609"/>
                <a:gd name="T6" fmla="*/ 24 w 25"/>
                <a:gd name="T7" fmla="*/ 609 h 609"/>
                <a:gd name="T8" fmla="*/ 25 w 25"/>
                <a:gd name="T9" fmla="*/ 609 h 609"/>
                <a:gd name="T10" fmla="*/ 25 w 25"/>
                <a:gd name="T11" fmla="*/ 0 h 609"/>
              </a:gdLst>
              <a:ahLst/>
              <a:cxnLst>
                <a:cxn ang="0">
                  <a:pos x="T0" y="T1"/>
                </a:cxn>
                <a:cxn ang="0">
                  <a:pos x="T2" y="T3"/>
                </a:cxn>
                <a:cxn ang="0">
                  <a:pos x="T4" y="T5"/>
                </a:cxn>
                <a:cxn ang="0">
                  <a:pos x="T6" y="T7"/>
                </a:cxn>
                <a:cxn ang="0">
                  <a:pos x="T8" y="T9"/>
                </a:cxn>
                <a:cxn ang="0">
                  <a:pos x="T10" y="T11"/>
                </a:cxn>
              </a:cxnLst>
              <a:rect l="0" t="0" r="r" b="b"/>
              <a:pathLst>
                <a:path w="25" h="609">
                  <a:moveTo>
                    <a:pt x="25" y="0"/>
                  </a:moveTo>
                  <a:lnTo>
                    <a:pt x="0" y="0"/>
                  </a:lnTo>
                  <a:lnTo>
                    <a:pt x="24" y="0"/>
                  </a:lnTo>
                  <a:lnTo>
                    <a:pt x="24" y="609"/>
                  </a:lnTo>
                  <a:lnTo>
                    <a:pt x="25" y="609"/>
                  </a:lnTo>
                  <a:lnTo>
                    <a:pt x="2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89" name="Freeform 1611">
              <a:extLst>
                <a:ext uri="{FF2B5EF4-FFF2-40B4-BE49-F238E27FC236}">
                  <a16:creationId xmlns:a16="http://schemas.microsoft.com/office/drawing/2014/main" id="{15838BBA-5066-489E-B53A-06E5CB83C5CB}"/>
                </a:ext>
              </a:extLst>
            </p:cNvPr>
            <p:cNvSpPr>
              <a:spLocks/>
            </p:cNvSpPr>
            <p:nvPr userDrawn="1"/>
          </p:nvSpPr>
          <p:spPr bwMode="auto">
            <a:xfrm>
              <a:off x="10706101" y="5845175"/>
              <a:ext cx="125413" cy="254000"/>
            </a:xfrm>
            <a:custGeom>
              <a:avLst/>
              <a:gdLst>
                <a:gd name="T0" fmla="*/ 64 w 64"/>
                <a:gd name="T1" fmla="*/ 0 h 129"/>
                <a:gd name="T2" fmla="*/ 1 w 64"/>
                <a:gd name="T3" fmla="*/ 0 h 129"/>
                <a:gd name="T4" fmla="*/ 0 w 64"/>
                <a:gd name="T5" fmla="*/ 0 h 129"/>
                <a:gd name="T6" fmla="*/ 0 w 64"/>
                <a:gd name="T7" fmla="*/ 1 h 129"/>
                <a:gd name="T8" fmla="*/ 63 w 64"/>
                <a:gd name="T9" fmla="*/ 1 h 129"/>
                <a:gd name="T10" fmla="*/ 52 w 64"/>
                <a:gd name="T11" fmla="*/ 69 h 129"/>
                <a:gd name="T12" fmla="*/ 19 w 64"/>
                <a:gd name="T13" fmla="*/ 129 h 129"/>
                <a:gd name="T14" fmla="*/ 21 w 64"/>
                <a:gd name="T15" fmla="*/ 129 h 129"/>
                <a:gd name="T16" fmla="*/ 24 w 64"/>
                <a:gd name="T17" fmla="*/ 126 h 129"/>
                <a:gd name="T18" fmla="*/ 54 w 64"/>
                <a:gd name="T19" fmla="*/ 69 h 129"/>
                <a:gd name="T20" fmla="*/ 64 w 64"/>
                <a:gd name="T21" fmla="*/ 0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 h="129">
                  <a:moveTo>
                    <a:pt x="64" y="0"/>
                  </a:moveTo>
                  <a:cubicBezTo>
                    <a:pt x="1" y="0"/>
                    <a:pt x="1" y="0"/>
                    <a:pt x="1" y="0"/>
                  </a:cubicBezTo>
                  <a:cubicBezTo>
                    <a:pt x="0" y="0"/>
                    <a:pt x="0" y="0"/>
                    <a:pt x="0" y="0"/>
                  </a:cubicBezTo>
                  <a:cubicBezTo>
                    <a:pt x="0" y="1"/>
                    <a:pt x="0" y="1"/>
                    <a:pt x="0" y="1"/>
                  </a:cubicBezTo>
                  <a:cubicBezTo>
                    <a:pt x="63" y="1"/>
                    <a:pt x="63" y="1"/>
                    <a:pt x="63" y="1"/>
                  </a:cubicBezTo>
                  <a:cubicBezTo>
                    <a:pt x="52" y="69"/>
                    <a:pt x="52" y="69"/>
                    <a:pt x="52" y="69"/>
                  </a:cubicBezTo>
                  <a:cubicBezTo>
                    <a:pt x="49" y="94"/>
                    <a:pt x="36" y="115"/>
                    <a:pt x="19" y="129"/>
                  </a:cubicBezTo>
                  <a:cubicBezTo>
                    <a:pt x="21" y="129"/>
                    <a:pt x="21" y="129"/>
                    <a:pt x="21" y="129"/>
                  </a:cubicBezTo>
                  <a:cubicBezTo>
                    <a:pt x="22" y="128"/>
                    <a:pt x="23" y="127"/>
                    <a:pt x="24" y="126"/>
                  </a:cubicBezTo>
                  <a:cubicBezTo>
                    <a:pt x="39" y="112"/>
                    <a:pt x="50" y="92"/>
                    <a:pt x="54" y="69"/>
                  </a:cubicBezTo>
                  <a:cubicBezTo>
                    <a:pt x="64" y="0"/>
                    <a:pt x="64" y="0"/>
                    <a:pt x="64" y="0"/>
                  </a:cubicBezTo>
                </a:path>
              </a:pathLst>
            </a:custGeom>
            <a:solidFill>
              <a:srgbClr val="067C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90" name="Freeform 1612">
              <a:extLst>
                <a:ext uri="{FF2B5EF4-FFF2-40B4-BE49-F238E27FC236}">
                  <a16:creationId xmlns:a16="http://schemas.microsoft.com/office/drawing/2014/main" id="{F4A2A83F-5BB2-4F9E-A35A-49210700A1B7}"/>
                </a:ext>
              </a:extLst>
            </p:cNvPr>
            <p:cNvSpPr>
              <a:spLocks noEditPoints="1"/>
            </p:cNvSpPr>
            <p:nvPr userDrawn="1"/>
          </p:nvSpPr>
          <p:spPr bwMode="auto">
            <a:xfrm>
              <a:off x="10013951" y="4878388"/>
              <a:ext cx="390525" cy="19050"/>
            </a:xfrm>
            <a:custGeom>
              <a:avLst/>
              <a:gdLst>
                <a:gd name="T0" fmla="*/ 47 w 197"/>
                <a:gd name="T1" fmla="*/ 0 h 9"/>
                <a:gd name="T2" fmla="*/ 4 w 197"/>
                <a:gd name="T3" fmla="*/ 0 h 9"/>
                <a:gd name="T4" fmla="*/ 0 w 197"/>
                <a:gd name="T5" fmla="*/ 0 h 9"/>
                <a:gd name="T6" fmla="*/ 0 w 197"/>
                <a:gd name="T7" fmla="*/ 9 h 9"/>
                <a:gd name="T8" fmla="*/ 79 w 197"/>
                <a:gd name="T9" fmla="*/ 9 h 9"/>
                <a:gd name="T10" fmla="*/ 47 w 197"/>
                <a:gd name="T11" fmla="*/ 9 h 9"/>
                <a:gd name="T12" fmla="*/ 47 w 197"/>
                <a:gd name="T13" fmla="*/ 0 h 9"/>
                <a:gd name="T14" fmla="*/ 191 w 197"/>
                <a:gd name="T15" fmla="*/ 0 h 9"/>
                <a:gd name="T16" fmla="*/ 126 w 197"/>
                <a:gd name="T17" fmla="*/ 0 h 9"/>
                <a:gd name="T18" fmla="*/ 144 w 197"/>
                <a:gd name="T19" fmla="*/ 0 h 9"/>
                <a:gd name="T20" fmla="*/ 144 w 197"/>
                <a:gd name="T21" fmla="*/ 9 h 9"/>
                <a:gd name="T22" fmla="*/ 197 w 197"/>
                <a:gd name="T23" fmla="*/ 9 h 9"/>
                <a:gd name="T24" fmla="*/ 191 w 197"/>
                <a:gd name="T25" fmla="*/ 9 h 9"/>
                <a:gd name="T26" fmla="*/ 191 w 197"/>
                <a:gd name="T27"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7" h="9">
                  <a:moveTo>
                    <a:pt x="47" y="0"/>
                  </a:moveTo>
                  <a:cubicBezTo>
                    <a:pt x="4" y="0"/>
                    <a:pt x="4" y="0"/>
                    <a:pt x="4" y="0"/>
                  </a:cubicBezTo>
                  <a:cubicBezTo>
                    <a:pt x="3" y="0"/>
                    <a:pt x="1" y="0"/>
                    <a:pt x="0" y="0"/>
                  </a:cubicBezTo>
                  <a:cubicBezTo>
                    <a:pt x="0" y="9"/>
                    <a:pt x="0" y="9"/>
                    <a:pt x="0" y="9"/>
                  </a:cubicBezTo>
                  <a:cubicBezTo>
                    <a:pt x="79" y="9"/>
                    <a:pt x="79" y="9"/>
                    <a:pt x="79" y="9"/>
                  </a:cubicBezTo>
                  <a:cubicBezTo>
                    <a:pt x="47" y="9"/>
                    <a:pt x="47" y="9"/>
                    <a:pt x="47" y="9"/>
                  </a:cubicBezTo>
                  <a:cubicBezTo>
                    <a:pt x="47" y="0"/>
                    <a:pt x="47" y="0"/>
                    <a:pt x="47" y="0"/>
                  </a:cubicBezTo>
                  <a:moveTo>
                    <a:pt x="191" y="0"/>
                  </a:moveTo>
                  <a:cubicBezTo>
                    <a:pt x="126" y="0"/>
                    <a:pt x="126" y="0"/>
                    <a:pt x="126" y="0"/>
                  </a:cubicBezTo>
                  <a:cubicBezTo>
                    <a:pt x="144" y="0"/>
                    <a:pt x="144" y="0"/>
                    <a:pt x="144" y="0"/>
                  </a:cubicBezTo>
                  <a:cubicBezTo>
                    <a:pt x="144" y="9"/>
                    <a:pt x="144" y="9"/>
                    <a:pt x="144" y="9"/>
                  </a:cubicBezTo>
                  <a:cubicBezTo>
                    <a:pt x="197" y="9"/>
                    <a:pt x="197" y="9"/>
                    <a:pt x="197" y="9"/>
                  </a:cubicBezTo>
                  <a:cubicBezTo>
                    <a:pt x="191" y="9"/>
                    <a:pt x="191" y="9"/>
                    <a:pt x="191" y="9"/>
                  </a:cubicBezTo>
                  <a:cubicBezTo>
                    <a:pt x="191" y="0"/>
                    <a:pt x="191" y="0"/>
                    <a:pt x="191" y="0"/>
                  </a:cubicBezTo>
                </a:path>
              </a:pathLst>
            </a:custGeom>
            <a:solidFill>
              <a:schemeClr val="accent2">
                <a:lumMod val="40000"/>
                <a:lumOff val="6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91" name="Freeform 1613">
              <a:extLst>
                <a:ext uri="{FF2B5EF4-FFF2-40B4-BE49-F238E27FC236}">
                  <a16:creationId xmlns:a16="http://schemas.microsoft.com/office/drawing/2014/main" id="{9436A677-B267-4BB5-9FE7-6531EE98AD72}"/>
                </a:ext>
              </a:extLst>
            </p:cNvPr>
            <p:cNvSpPr>
              <a:spLocks/>
            </p:cNvSpPr>
            <p:nvPr userDrawn="1"/>
          </p:nvSpPr>
          <p:spPr bwMode="auto">
            <a:xfrm>
              <a:off x="9931401" y="4878388"/>
              <a:ext cx="736600" cy="966788"/>
            </a:xfrm>
            <a:custGeom>
              <a:avLst/>
              <a:gdLst>
                <a:gd name="T0" fmla="*/ 464 w 464"/>
                <a:gd name="T1" fmla="*/ 0 h 609"/>
                <a:gd name="T2" fmla="*/ 379 w 464"/>
                <a:gd name="T3" fmla="*/ 0 h 609"/>
                <a:gd name="T4" fmla="*/ 379 w 464"/>
                <a:gd name="T5" fmla="*/ 551 h 609"/>
                <a:gd name="T6" fmla="*/ 0 w 464"/>
                <a:gd name="T7" fmla="*/ 551 h 609"/>
                <a:gd name="T8" fmla="*/ 0 w 464"/>
                <a:gd name="T9" fmla="*/ 609 h 609"/>
                <a:gd name="T10" fmla="*/ 464 w 464"/>
                <a:gd name="T11" fmla="*/ 609 h 609"/>
                <a:gd name="T12" fmla="*/ 464 w 464"/>
                <a:gd name="T13" fmla="*/ 0 h 609"/>
              </a:gdLst>
              <a:ahLst/>
              <a:cxnLst>
                <a:cxn ang="0">
                  <a:pos x="T0" y="T1"/>
                </a:cxn>
                <a:cxn ang="0">
                  <a:pos x="T2" y="T3"/>
                </a:cxn>
                <a:cxn ang="0">
                  <a:pos x="T4" y="T5"/>
                </a:cxn>
                <a:cxn ang="0">
                  <a:pos x="T6" y="T7"/>
                </a:cxn>
                <a:cxn ang="0">
                  <a:pos x="T8" y="T9"/>
                </a:cxn>
                <a:cxn ang="0">
                  <a:pos x="T10" y="T11"/>
                </a:cxn>
                <a:cxn ang="0">
                  <a:pos x="T12" y="T13"/>
                </a:cxn>
              </a:cxnLst>
              <a:rect l="0" t="0" r="r" b="b"/>
              <a:pathLst>
                <a:path w="464" h="609">
                  <a:moveTo>
                    <a:pt x="464" y="0"/>
                  </a:moveTo>
                  <a:lnTo>
                    <a:pt x="379" y="0"/>
                  </a:lnTo>
                  <a:lnTo>
                    <a:pt x="379" y="551"/>
                  </a:lnTo>
                  <a:lnTo>
                    <a:pt x="0" y="551"/>
                  </a:lnTo>
                  <a:lnTo>
                    <a:pt x="0" y="609"/>
                  </a:lnTo>
                  <a:lnTo>
                    <a:pt x="464" y="609"/>
                  </a:lnTo>
                  <a:lnTo>
                    <a:pt x="464" y="0"/>
                  </a:lnTo>
                  <a:close/>
                </a:path>
              </a:pathLst>
            </a:custGeom>
            <a:solidFill>
              <a:srgbClr val="3189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92" name="Freeform 1614">
              <a:extLst>
                <a:ext uri="{FF2B5EF4-FFF2-40B4-BE49-F238E27FC236}">
                  <a16:creationId xmlns:a16="http://schemas.microsoft.com/office/drawing/2014/main" id="{68C2C4B8-36BB-435C-BBE5-976638EC8F85}"/>
                </a:ext>
              </a:extLst>
            </p:cNvPr>
            <p:cNvSpPr>
              <a:spLocks/>
            </p:cNvSpPr>
            <p:nvPr userDrawn="1"/>
          </p:nvSpPr>
          <p:spPr bwMode="auto">
            <a:xfrm>
              <a:off x="9931401" y="4878388"/>
              <a:ext cx="736600" cy="966788"/>
            </a:xfrm>
            <a:custGeom>
              <a:avLst/>
              <a:gdLst>
                <a:gd name="T0" fmla="*/ 464 w 464"/>
                <a:gd name="T1" fmla="*/ 0 h 609"/>
                <a:gd name="T2" fmla="*/ 379 w 464"/>
                <a:gd name="T3" fmla="*/ 0 h 609"/>
                <a:gd name="T4" fmla="*/ 379 w 464"/>
                <a:gd name="T5" fmla="*/ 551 h 609"/>
                <a:gd name="T6" fmla="*/ 0 w 464"/>
                <a:gd name="T7" fmla="*/ 551 h 609"/>
                <a:gd name="T8" fmla="*/ 0 w 464"/>
                <a:gd name="T9" fmla="*/ 609 h 609"/>
                <a:gd name="T10" fmla="*/ 464 w 464"/>
                <a:gd name="T11" fmla="*/ 609 h 609"/>
                <a:gd name="T12" fmla="*/ 464 w 464"/>
                <a:gd name="T13" fmla="*/ 0 h 609"/>
              </a:gdLst>
              <a:ahLst/>
              <a:cxnLst>
                <a:cxn ang="0">
                  <a:pos x="T0" y="T1"/>
                </a:cxn>
                <a:cxn ang="0">
                  <a:pos x="T2" y="T3"/>
                </a:cxn>
                <a:cxn ang="0">
                  <a:pos x="T4" y="T5"/>
                </a:cxn>
                <a:cxn ang="0">
                  <a:pos x="T6" y="T7"/>
                </a:cxn>
                <a:cxn ang="0">
                  <a:pos x="T8" y="T9"/>
                </a:cxn>
                <a:cxn ang="0">
                  <a:pos x="T10" y="T11"/>
                </a:cxn>
                <a:cxn ang="0">
                  <a:pos x="T12" y="T13"/>
                </a:cxn>
              </a:cxnLst>
              <a:rect l="0" t="0" r="r" b="b"/>
              <a:pathLst>
                <a:path w="464" h="609">
                  <a:moveTo>
                    <a:pt x="464" y="0"/>
                  </a:moveTo>
                  <a:lnTo>
                    <a:pt x="379" y="0"/>
                  </a:lnTo>
                  <a:lnTo>
                    <a:pt x="379" y="551"/>
                  </a:lnTo>
                  <a:lnTo>
                    <a:pt x="0" y="551"/>
                  </a:lnTo>
                  <a:lnTo>
                    <a:pt x="0" y="609"/>
                  </a:lnTo>
                  <a:lnTo>
                    <a:pt x="464" y="609"/>
                  </a:lnTo>
                  <a:lnTo>
                    <a:pt x="46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93" name="Rectangle 1615">
              <a:extLst>
                <a:ext uri="{FF2B5EF4-FFF2-40B4-BE49-F238E27FC236}">
                  <a16:creationId xmlns:a16="http://schemas.microsoft.com/office/drawing/2014/main" id="{E4529949-7453-4143-905F-880C729ACAC3}"/>
                </a:ext>
              </a:extLst>
            </p:cNvPr>
            <p:cNvSpPr>
              <a:spLocks noChangeArrowheads="1"/>
            </p:cNvSpPr>
            <p:nvPr userDrawn="1"/>
          </p:nvSpPr>
          <p:spPr bwMode="auto">
            <a:xfrm>
              <a:off x="10668001" y="4878388"/>
              <a:ext cx="38100" cy="966788"/>
            </a:xfrm>
            <a:prstGeom prst="rect">
              <a:avLst/>
            </a:prstGeom>
            <a:solidFill>
              <a:srgbClr val="0675B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94" name="Rectangle 1616">
              <a:extLst>
                <a:ext uri="{FF2B5EF4-FFF2-40B4-BE49-F238E27FC236}">
                  <a16:creationId xmlns:a16="http://schemas.microsoft.com/office/drawing/2014/main" id="{A60CC0DB-0210-4249-A4BA-703EDC45D256}"/>
                </a:ext>
              </a:extLst>
            </p:cNvPr>
            <p:cNvSpPr>
              <a:spLocks noChangeArrowheads="1"/>
            </p:cNvSpPr>
            <p:nvPr userDrawn="1"/>
          </p:nvSpPr>
          <p:spPr bwMode="auto">
            <a:xfrm>
              <a:off x="10668001" y="4878388"/>
              <a:ext cx="38100" cy="966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95" name="Freeform 1617">
              <a:extLst>
                <a:ext uri="{FF2B5EF4-FFF2-40B4-BE49-F238E27FC236}">
                  <a16:creationId xmlns:a16="http://schemas.microsoft.com/office/drawing/2014/main" id="{829BBDC0-D28D-49C0-AE27-A48534E74DC0}"/>
                </a:ext>
              </a:extLst>
            </p:cNvPr>
            <p:cNvSpPr>
              <a:spLocks/>
            </p:cNvSpPr>
            <p:nvPr userDrawn="1"/>
          </p:nvSpPr>
          <p:spPr bwMode="auto">
            <a:xfrm>
              <a:off x="9931401" y="4878388"/>
              <a:ext cx="601663" cy="874713"/>
            </a:xfrm>
            <a:custGeom>
              <a:avLst/>
              <a:gdLst>
                <a:gd name="T0" fmla="*/ 304 w 304"/>
                <a:gd name="T1" fmla="*/ 0 h 442"/>
                <a:gd name="T2" fmla="*/ 286 w 304"/>
                <a:gd name="T3" fmla="*/ 0 h 442"/>
                <a:gd name="T4" fmla="*/ 286 w 304"/>
                <a:gd name="T5" fmla="*/ 9 h 442"/>
                <a:gd name="T6" fmla="*/ 239 w 304"/>
                <a:gd name="T7" fmla="*/ 9 h 442"/>
                <a:gd name="T8" fmla="*/ 186 w 304"/>
                <a:gd name="T9" fmla="*/ 9 h 442"/>
                <a:gd name="T10" fmla="*/ 186 w 304"/>
                <a:gd name="T11" fmla="*/ 0 h 442"/>
                <a:gd name="T12" fmla="*/ 168 w 304"/>
                <a:gd name="T13" fmla="*/ 0 h 442"/>
                <a:gd name="T14" fmla="*/ 168 w 304"/>
                <a:gd name="T15" fmla="*/ 9 h 442"/>
                <a:gd name="T16" fmla="*/ 121 w 304"/>
                <a:gd name="T17" fmla="*/ 9 h 442"/>
                <a:gd name="T18" fmla="*/ 42 w 304"/>
                <a:gd name="T19" fmla="*/ 9 h 442"/>
                <a:gd name="T20" fmla="*/ 42 w 304"/>
                <a:gd name="T21" fmla="*/ 0 h 442"/>
                <a:gd name="T22" fmla="*/ 0 w 304"/>
                <a:gd name="T23" fmla="*/ 49 h 442"/>
                <a:gd name="T24" fmla="*/ 0 w 304"/>
                <a:gd name="T25" fmla="*/ 442 h 442"/>
                <a:gd name="T26" fmla="*/ 304 w 304"/>
                <a:gd name="T27" fmla="*/ 442 h 442"/>
                <a:gd name="T28" fmla="*/ 304 w 304"/>
                <a:gd name="T29" fmla="*/ 0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4" h="442">
                  <a:moveTo>
                    <a:pt x="304" y="0"/>
                  </a:moveTo>
                  <a:cubicBezTo>
                    <a:pt x="286" y="0"/>
                    <a:pt x="286" y="0"/>
                    <a:pt x="286" y="0"/>
                  </a:cubicBezTo>
                  <a:cubicBezTo>
                    <a:pt x="286" y="9"/>
                    <a:pt x="286" y="9"/>
                    <a:pt x="286" y="9"/>
                  </a:cubicBezTo>
                  <a:cubicBezTo>
                    <a:pt x="239" y="9"/>
                    <a:pt x="239" y="9"/>
                    <a:pt x="239" y="9"/>
                  </a:cubicBezTo>
                  <a:cubicBezTo>
                    <a:pt x="186" y="9"/>
                    <a:pt x="186" y="9"/>
                    <a:pt x="186" y="9"/>
                  </a:cubicBezTo>
                  <a:cubicBezTo>
                    <a:pt x="186" y="0"/>
                    <a:pt x="186" y="0"/>
                    <a:pt x="186" y="0"/>
                  </a:cubicBezTo>
                  <a:cubicBezTo>
                    <a:pt x="168" y="0"/>
                    <a:pt x="168" y="0"/>
                    <a:pt x="168" y="0"/>
                  </a:cubicBezTo>
                  <a:cubicBezTo>
                    <a:pt x="168" y="9"/>
                    <a:pt x="168" y="9"/>
                    <a:pt x="168" y="9"/>
                  </a:cubicBezTo>
                  <a:cubicBezTo>
                    <a:pt x="121" y="9"/>
                    <a:pt x="121" y="9"/>
                    <a:pt x="121" y="9"/>
                  </a:cubicBezTo>
                  <a:cubicBezTo>
                    <a:pt x="42" y="9"/>
                    <a:pt x="42" y="9"/>
                    <a:pt x="42" y="9"/>
                  </a:cubicBezTo>
                  <a:cubicBezTo>
                    <a:pt x="42" y="0"/>
                    <a:pt x="42" y="0"/>
                    <a:pt x="42" y="0"/>
                  </a:cubicBezTo>
                  <a:cubicBezTo>
                    <a:pt x="19" y="2"/>
                    <a:pt x="0" y="23"/>
                    <a:pt x="0" y="49"/>
                  </a:cubicBezTo>
                  <a:cubicBezTo>
                    <a:pt x="0" y="442"/>
                    <a:pt x="0" y="442"/>
                    <a:pt x="0" y="442"/>
                  </a:cubicBezTo>
                  <a:cubicBezTo>
                    <a:pt x="304" y="442"/>
                    <a:pt x="304" y="442"/>
                    <a:pt x="304" y="442"/>
                  </a:cubicBezTo>
                  <a:cubicBezTo>
                    <a:pt x="304" y="0"/>
                    <a:pt x="304" y="0"/>
                    <a:pt x="304" y="0"/>
                  </a:cubicBezTo>
                </a:path>
              </a:pathLst>
            </a:custGeom>
            <a:solidFill>
              <a:srgbClr val="7FB0C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96" name="Freeform 1618">
              <a:extLst>
                <a:ext uri="{FF2B5EF4-FFF2-40B4-BE49-F238E27FC236}">
                  <a16:creationId xmlns:a16="http://schemas.microsoft.com/office/drawing/2014/main" id="{FFC958CE-5AB1-495E-9F92-BEFE9F533911}"/>
                </a:ext>
              </a:extLst>
            </p:cNvPr>
            <p:cNvSpPr>
              <a:spLocks/>
            </p:cNvSpPr>
            <p:nvPr userDrawn="1"/>
          </p:nvSpPr>
          <p:spPr bwMode="auto">
            <a:xfrm>
              <a:off x="9931401" y="5886450"/>
              <a:ext cx="855663" cy="212725"/>
            </a:xfrm>
            <a:custGeom>
              <a:avLst/>
              <a:gdLst>
                <a:gd name="T0" fmla="*/ 432 w 432"/>
                <a:gd name="T1" fmla="*/ 0 h 108"/>
                <a:gd name="T2" fmla="*/ 0 w 432"/>
                <a:gd name="T3" fmla="*/ 0 h 108"/>
                <a:gd name="T4" fmla="*/ 0 w 432"/>
                <a:gd name="T5" fmla="*/ 78 h 108"/>
                <a:gd name="T6" fmla="*/ 10 w 432"/>
                <a:gd name="T7" fmla="*/ 108 h 108"/>
                <a:gd name="T8" fmla="*/ 357 w 432"/>
                <a:gd name="T9" fmla="*/ 108 h 108"/>
                <a:gd name="T10" fmla="*/ 401 w 432"/>
                <a:gd name="T11" fmla="*/ 90 h 108"/>
                <a:gd name="T12" fmla="*/ 425 w 432"/>
                <a:gd name="T13" fmla="*/ 45 h 108"/>
                <a:gd name="T14" fmla="*/ 432 w 432"/>
                <a:gd name="T15" fmla="*/ 0 h 1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32" h="108">
                  <a:moveTo>
                    <a:pt x="432" y="0"/>
                  </a:moveTo>
                  <a:cubicBezTo>
                    <a:pt x="0" y="0"/>
                    <a:pt x="0" y="0"/>
                    <a:pt x="0" y="0"/>
                  </a:cubicBezTo>
                  <a:cubicBezTo>
                    <a:pt x="0" y="78"/>
                    <a:pt x="0" y="78"/>
                    <a:pt x="0" y="78"/>
                  </a:cubicBezTo>
                  <a:cubicBezTo>
                    <a:pt x="0" y="89"/>
                    <a:pt x="4" y="99"/>
                    <a:pt x="10" y="108"/>
                  </a:cubicBezTo>
                  <a:cubicBezTo>
                    <a:pt x="357" y="108"/>
                    <a:pt x="357" y="108"/>
                    <a:pt x="357" y="108"/>
                  </a:cubicBezTo>
                  <a:cubicBezTo>
                    <a:pt x="373" y="108"/>
                    <a:pt x="389" y="101"/>
                    <a:pt x="401" y="90"/>
                  </a:cubicBezTo>
                  <a:cubicBezTo>
                    <a:pt x="413" y="79"/>
                    <a:pt x="422" y="64"/>
                    <a:pt x="425" y="45"/>
                  </a:cubicBezTo>
                  <a:cubicBezTo>
                    <a:pt x="432" y="0"/>
                    <a:pt x="432" y="0"/>
                    <a:pt x="432" y="0"/>
                  </a:cubicBezTo>
                </a:path>
              </a:pathLst>
            </a:custGeom>
            <a:solidFill>
              <a:srgbClr val="7FB0C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97" name="Freeform 1619">
              <a:extLst>
                <a:ext uri="{FF2B5EF4-FFF2-40B4-BE49-F238E27FC236}">
                  <a16:creationId xmlns:a16="http://schemas.microsoft.com/office/drawing/2014/main" id="{F5194026-8CAF-4E96-BA1F-02CBEBF0C19B}"/>
                </a:ext>
              </a:extLst>
            </p:cNvPr>
            <p:cNvSpPr>
              <a:spLocks/>
            </p:cNvSpPr>
            <p:nvPr userDrawn="1"/>
          </p:nvSpPr>
          <p:spPr bwMode="auto">
            <a:xfrm>
              <a:off x="9931401" y="5845175"/>
              <a:ext cx="898525" cy="254000"/>
            </a:xfrm>
            <a:custGeom>
              <a:avLst/>
              <a:gdLst>
                <a:gd name="T0" fmla="*/ 391 w 454"/>
                <a:gd name="T1" fmla="*/ 0 h 129"/>
                <a:gd name="T2" fmla="*/ 372 w 454"/>
                <a:gd name="T3" fmla="*/ 0 h 129"/>
                <a:gd name="T4" fmla="*/ 0 w 454"/>
                <a:gd name="T5" fmla="*/ 0 h 129"/>
                <a:gd name="T6" fmla="*/ 0 w 454"/>
                <a:gd name="T7" fmla="*/ 21 h 129"/>
                <a:gd name="T8" fmla="*/ 432 w 454"/>
                <a:gd name="T9" fmla="*/ 21 h 129"/>
                <a:gd name="T10" fmla="*/ 425 w 454"/>
                <a:gd name="T11" fmla="*/ 66 h 129"/>
                <a:gd name="T12" fmla="*/ 401 w 454"/>
                <a:gd name="T13" fmla="*/ 111 h 129"/>
                <a:gd name="T14" fmla="*/ 357 w 454"/>
                <a:gd name="T15" fmla="*/ 129 h 129"/>
                <a:gd name="T16" fmla="*/ 410 w 454"/>
                <a:gd name="T17" fmla="*/ 129 h 129"/>
                <a:gd name="T18" fmla="*/ 443 w 454"/>
                <a:gd name="T19" fmla="*/ 69 h 129"/>
                <a:gd name="T20" fmla="*/ 454 w 454"/>
                <a:gd name="T21" fmla="*/ 1 h 129"/>
                <a:gd name="T22" fmla="*/ 391 w 454"/>
                <a:gd name="T23" fmla="*/ 1 h 129"/>
                <a:gd name="T24" fmla="*/ 391 w 454"/>
                <a:gd name="T25" fmla="*/ 0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54" h="129">
                  <a:moveTo>
                    <a:pt x="391" y="0"/>
                  </a:moveTo>
                  <a:cubicBezTo>
                    <a:pt x="372" y="0"/>
                    <a:pt x="372" y="0"/>
                    <a:pt x="372" y="0"/>
                  </a:cubicBezTo>
                  <a:cubicBezTo>
                    <a:pt x="0" y="0"/>
                    <a:pt x="0" y="0"/>
                    <a:pt x="0" y="0"/>
                  </a:cubicBezTo>
                  <a:cubicBezTo>
                    <a:pt x="0" y="21"/>
                    <a:pt x="0" y="21"/>
                    <a:pt x="0" y="21"/>
                  </a:cubicBezTo>
                  <a:cubicBezTo>
                    <a:pt x="432" y="21"/>
                    <a:pt x="432" y="21"/>
                    <a:pt x="432" y="21"/>
                  </a:cubicBezTo>
                  <a:cubicBezTo>
                    <a:pt x="425" y="66"/>
                    <a:pt x="425" y="66"/>
                    <a:pt x="425" y="66"/>
                  </a:cubicBezTo>
                  <a:cubicBezTo>
                    <a:pt x="422" y="85"/>
                    <a:pt x="413" y="100"/>
                    <a:pt x="401" y="111"/>
                  </a:cubicBezTo>
                  <a:cubicBezTo>
                    <a:pt x="389" y="122"/>
                    <a:pt x="373" y="129"/>
                    <a:pt x="357" y="129"/>
                  </a:cubicBezTo>
                  <a:cubicBezTo>
                    <a:pt x="410" y="129"/>
                    <a:pt x="410" y="129"/>
                    <a:pt x="410" y="129"/>
                  </a:cubicBezTo>
                  <a:cubicBezTo>
                    <a:pt x="427" y="115"/>
                    <a:pt x="440" y="94"/>
                    <a:pt x="443" y="69"/>
                  </a:cubicBezTo>
                  <a:cubicBezTo>
                    <a:pt x="454" y="1"/>
                    <a:pt x="454" y="1"/>
                    <a:pt x="454" y="1"/>
                  </a:cubicBezTo>
                  <a:cubicBezTo>
                    <a:pt x="391" y="1"/>
                    <a:pt x="391" y="1"/>
                    <a:pt x="391" y="1"/>
                  </a:cubicBezTo>
                  <a:cubicBezTo>
                    <a:pt x="391" y="0"/>
                    <a:pt x="391" y="0"/>
                    <a:pt x="391" y="0"/>
                  </a:cubicBezTo>
                </a:path>
              </a:pathLst>
            </a:custGeom>
            <a:solidFill>
              <a:srgbClr val="0675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98" name="Freeform 1620">
              <a:extLst>
                <a:ext uri="{FF2B5EF4-FFF2-40B4-BE49-F238E27FC236}">
                  <a16:creationId xmlns:a16="http://schemas.microsoft.com/office/drawing/2014/main" id="{3EB80BBE-915A-465C-A6C5-CA5AC4BC3F47}"/>
                </a:ext>
              </a:extLst>
            </p:cNvPr>
            <p:cNvSpPr>
              <a:spLocks/>
            </p:cNvSpPr>
            <p:nvPr userDrawn="1"/>
          </p:nvSpPr>
          <p:spPr bwMode="auto">
            <a:xfrm>
              <a:off x="9902826" y="4897438"/>
              <a:ext cx="1590675" cy="1222375"/>
            </a:xfrm>
            <a:custGeom>
              <a:avLst/>
              <a:gdLst>
                <a:gd name="T0" fmla="*/ 795 w 803"/>
                <a:gd name="T1" fmla="*/ 618 h 618"/>
                <a:gd name="T2" fmla="*/ 7 w 803"/>
                <a:gd name="T3" fmla="*/ 618 h 618"/>
                <a:gd name="T4" fmla="*/ 0 w 803"/>
                <a:gd name="T5" fmla="*/ 610 h 618"/>
                <a:gd name="T6" fmla="*/ 0 w 803"/>
                <a:gd name="T7" fmla="*/ 8 h 618"/>
                <a:gd name="T8" fmla="*/ 7 w 803"/>
                <a:gd name="T9" fmla="*/ 0 h 618"/>
                <a:gd name="T10" fmla="*/ 795 w 803"/>
                <a:gd name="T11" fmla="*/ 0 h 618"/>
                <a:gd name="T12" fmla="*/ 803 w 803"/>
                <a:gd name="T13" fmla="*/ 8 h 618"/>
                <a:gd name="T14" fmla="*/ 803 w 803"/>
                <a:gd name="T15" fmla="*/ 610 h 618"/>
                <a:gd name="T16" fmla="*/ 795 w 803"/>
                <a:gd name="T17" fmla="*/ 618 h 6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03" h="618">
                  <a:moveTo>
                    <a:pt x="795" y="618"/>
                  </a:moveTo>
                  <a:cubicBezTo>
                    <a:pt x="7" y="618"/>
                    <a:pt x="7" y="618"/>
                    <a:pt x="7" y="618"/>
                  </a:cubicBezTo>
                  <a:cubicBezTo>
                    <a:pt x="3" y="618"/>
                    <a:pt x="0" y="614"/>
                    <a:pt x="0" y="610"/>
                  </a:cubicBezTo>
                  <a:cubicBezTo>
                    <a:pt x="0" y="8"/>
                    <a:pt x="0" y="8"/>
                    <a:pt x="0" y="8"/>
                  </a:cubicBezTo>
                  <a:cubicBezTo>
                    <a:pt x="0" y="3"/>
                    <a:pt x="3" y="0"/>
                    <a:pt x="7" y="0"/>
                  </a:cubicBezTo>
                  <a:cubicBezTo>
                    <a:pt x="795" y="0"/>
                    <a:pt x="795" y="0"/>
                    <a:pt x="795" y="0"/>
                  </a:cubicBezTo>
                  <a:cubicBezTo>
                    <a:pt x="799" y="0"/>
                    <a:pt x="803" y="3"/>
                    <a:pt x="803" y="8"/>
                  </a:cubicBezTo>
                  <a:cubicBezTo>
                    <a:pt x="803" y="610"/>
                    <a:pt x="803" y="610"/>
                    <a:pt x="803" y="610"/>
                  </a:cubicBezTo>
                  <a:cubicBezTo>
                    <a:pt x="803" y="614"/>
                    <a:pt x="799" y="618"/>
                    <a:pt x="795" y="61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99" name="Freeform 1621">
              <a:extLst>
                <a:ext uri="{FF2B5EF4-FFF2-40B4-BE49-F238E27FC236}">
                  <a16:creationId xmlns:a16="http://schemas.microsoft.com/office/drawing/2014/main" id="{FB364574-2524-41B0-AB91-870596D09137}"/>
                </a:ext>
              </a:extLst>
            </p:cNvPr>
            <p:cNvSpPr>
              <a:spLocks/>
            </p:cNvSpPr>
            <p:nvPr userDrawn="1"/>
          </p:nvSpPr>
          <p:spPr bwMode="auto">
            <a:xfrm>
              <a:off x="9883776" y="4876800"/>
              <a:ext cx="1628775" cy="1262063"/>
            </a:xfrm>
            <a:custGeom>
              <a:avLst/>
              <a:gdLst>
                <a:gd name="T0" fmla="*/ 286 w 823"/>
                <a:gd name="T1" fmla="*/ 20 h 638"/>
                <a:gd name="T2" fmla="*/ 775 w 823"/>
                <a:gd name="T3" fmla="*/ 20 h 638"/>
                <a:gd name="T4" fmla="*/ 794 w 823"/>
                <a:gd name="T5" fmla="*/ 28 h 638"/>
                <a:gd name="T6" fmla="*/ 803 w 823"/>
                <a:gd name="T7" fmla="*/ 50 h 638"/>
                <a:gd name="T8" fmla="*/ 803 w 823"/>
                <a:gd name="T9" fmla="*/ 588 h 638"/>
                <a:gd name="T10" fmla="*/ 794 w 823"/>
                <a:gd name="T11" fmla="*/ 609 h 638"/>
                <a:gd name="T12" fmla="*/ 775 w 823"/>
                <a:gd name="T13" fmla="*/ 618 h 638"/>
                <a:gd name="T14" fmla="*/ 47 w 823"/>
                <a:gd name="T15" fmla="*/ 618 h 638"/>
                <a:gd name="T16" fmla="*/ 28 w 823"/>
                <a:gd name="T17" fmla="*/ 609 h 638"/>
                <a:gd name="T18" fmla="*/ 20 w 823"/>
                <a:gd name="T19" fmla="*/ 588 h 638"/>
                <a:gd name="T20" fmla="*/ 20 w 823"/>
                <a:gd name="T21" fmla="*/ 50 h 638"/>
                <a:gd name="T22" fmla="*/ 28 w 823"/>
                <a:gd name="T23" fmla="*/ 28 h 638"/>
                <a:gd name="T24" fmla="*/ 47 w 823"/>
                <a:gd name="T25" fmla="*/ 20 h 638"/>
                <a:gd name="T26" fmla="*/ 89 w 823"/>
                <a:gd name="T27" fmla="*/ 20 h 638"/>
                <a:gd name="T28" fmla="*/ 89 w 823"/>
                <a:gd name="T29" fmla="*/ 0 h 638"/>
                <a:gd name="T30" fmla="*/ 47 w 823"/>
                <a:gd name="T31" fmla="*/ 0 h 638"/>
                <a:gd name="T32" fmla="*/ 13 w 823"/>
                <a:gd name="T33" fmla="*/ 15 h 638"/>
                <a:gd name="T34" fmla="*/ 0 w 823"/>
                <a:gd name="T35" fmla="*/ 50 h 638"/>
                <a:gd name="T36" fmla="*/ 0 w 823"/>
                <a:gd name="T37" fmla="*/ 588 h 638"/>
                <a:gd name="T38" fmla="*/ 13 w 823"/>
                <a:gd name="T39" fmla="*/ 623 h 638"/>
                <a:gd name="T40" fmla="*/ 47 w 823"/>
                <a:gd name="T41" fmla="*/ 638 h 638"/>
                <a:gd name="T42" fmla="*/ 775 w 823"/>
                <a:gd name="T43" fmla="*/ 638 h 638"/>
                <a:gd name="T44" fmla="*/ 809 w 823"/>
                <a:gd name="T45" fmla="*/ 623 h 638"/>
                <a:gd name="T46" fmla="*/ 823 w 823"/>
                <a:gd name="T47" fmla="*/ 588 h 638"/>
                <a:gd name="T48" fmla="*/ 823 w 823"/>
                <a:gd name="T49" fmla="*/ 50 h 638"/>
                <a:gd name="T50" fmla="*/ 809 w 823"/>
                <a:gd name="T51" fmla="*/ 15 h 638"/>
                <a:gd name="T52" fmla="*/ 775 w 823"/>
                <a:gd name="T53" fmla="*/ 0 h 638"/>
                <a:gd name="T54" fmla="*/ 286 w 823"/>
                <a:gd name="T55" fmla="*/ 0 h 638"/>
                <a:gd name="T56" fmla="*/ 286 w 823"/>
                <a:gd name="T57" fmla="*/ 20 h 6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23" h="638">
                  <a:moveTo>
                    <a:pt x="286" y="20"/>
                  </a:moveTo>
                  <a:cubicBezTo>
                    <a:pt x="775" y="20"/>
                    <a:pt x="775" y="20"/>
                    <a:pt x="775" y="20"/>
                  </a:cubicBezTo>
                  <a:cubicBezTo>
                    <a:pt x="783" y="20"/>
                    <a:pt x="789" y="23"/>
                    <a:pt x="794" y="28"/>
                  </a:cubicBezTo>
                  <a:cubicBezTo>
                    <a:pt x="799" y="34"/>
                    <a:pt x="803" y="41"/>
                    <a:pt x="803" y="50"/>
                  </a:cubicBezTo>
                  <a:cubicBezTo>
                    <a:pt x="803" y="588"/>
                    <a:pt x="803" y="588"/>
                    <a:pt x="803" y="588"/>
                  </a:cubicBezTo>
                  <a:cubicBezTo>
                    <a:pt x="803" y="596"/>
                    <a:pt x="799" y="604"/>
                    <a:pt x="794" y="609"/>
                  </a:cubicBezTo>
                  <a:cubicBezTo>
                    <a:pt x="789" y="615"/>
                    <a:pt x="783" y="618"/>
                    <a:pt x="775" y="618"/>
                  </a:cubicBezTo>
                  <a:cubicBezTo>
                    <a:pt x="47" y="618"/>
                    <a:pt x="47" y="618"/>
                    <a:pt x="47" y="618"/>
                  </a:cubicBezTo>
                  <a:cubicBezTo>
                    <a:pt x="40" y="618"/>
                    <a:pt x="33" y="615"/>
                    <a:pt x="28" y="609"/>
                  </a:cubicBezTo>
                  <a:cubicBezTo>
                    <a:pt x="23" y="604"/>
                    <a:pt x="20" y="596"/>
                    <a:pt x="20" y="588"/>
                  </a:cubicBezTo>
                  <a:cubicBezTo>
                    <a:pt x="20" y="50"/>
                    <a:pt x="20" y="50"/>
                    <a:pt x="20" y="50"/>
                  </a:cubicBezTo>
                  <a:cubicBezTo>
                    <a:pt x="20" y="41"/>
                    <a:pt x="23" y="34"/>
                    <a:pt x="28" y="28"/>
                  </a:cubicBezTo>
                  <a:cubicBezTo>
                    <a:pt x="33" y="23"/>
                    <a:pt x="40" y="20"/>
                    <a:pt x="47" y="20"/>
                  </a:cubicBezTo>
                  <a:cubicBezTo>
                    <a:pt x="89" y="20"/>
                    <a:pt x="89" y="20"/>
                    <a:pt x="89" y="20"/>
                  </a:cubicBezTo>
                  <a:cubicBezTo>
                    <a:pt x="89" y="0"/>
                    <a:pt x="89" y="0"/>
                    <a:pt x="89" y="0"/>
                  </a:cubicBezTo>
                  <a:cubicBezTo>
                    <a:pt x="47" y="0"/>
                    <a:pt x="47" y="0"/>
                    <a:pt x="47" y="0"/>
                  </a:cubicBezTo>
                  <a:cubicBezTo>
                    <a:pt x="34" y="0"/>
                    <a:pt x="22" y="6"/>
                    <a:pt x="13" y="15"/>
                  </a:cubicBezTo>
                  <a:cubicBezTo>
                    <a:pt x="5" y="24"/>
                    <a:pt x="0" y="36"/>
                    <a:pt x="0" y="50"/>
                  </a:cubicBezTo>
                  <a:cubicBezTo>
                    <a:pt x="0" y="588"/>
                    <a:pt x="0" y="588"/>
                    <a:pt x="0" y="588"/>
                  </a:cubicBezTo>
                  <a:cubicBezTo>
                    <a:pt x="0" y="601"/>
                    <a:pt x="5" y="614"/>
                    <a:pt x="13" y="623"/>
                  </a:cubicBezTo>
                  <a:cubicBezTo>
                    <a:pt x="22" y="632"/>
                    <a:pt x="34" y="638"/>
                    <a:pt x="47" y="638"/>
                  </a:cubicBezTo>
                  <a:cubicBezTo>
                    <a:pt x="775" y="638"/>
                    <a:pt x="775" y="638"/>
                    <a:pt x="775" y="638"/>
                  </a:cubicBezTo>
                  <a:cubicBezTo>
                    <a:pt x="789" y="638"/>
                    <a:pt x="801" y="632"/>
                    <a:pt x="809" y="623"/>
                  </a:cubicBezTo>
                  <a:cubicBezTo>
                    <a:pt x="818" y="614"/>
                    <a:pt x="823" y="601"/>
                    <a:pt x="823" y="588"/>
                  </a:cubicBezTo>
                  <a:cubicBezTo>
                    <a:pt x="823" y="50"/>
                    <a:pt x="823" y="50"/>
                    <a:pt x="823" y="50"/>
                  </a:cubicBezTo>
                  <a:cubicBezTo>
                    <a:pt x="823" y="36"/>
                    <a:pt x="818" y="24"/>
                    <a:pt x="809" y="15"/>
                  </a:cubicBezTo>
                  <a:cubicBezTo>
                    <a:pt x="801" y="6"/>
                    <a:pt x="789" y="0"/>
                    <a:pt x="775" y="0"/>
                  </a:cubicBezTo>
                  <a:cubicBezTo>
                    <a:pt x="286" y="0"/>
                    <a:pt x="286" y="0"/>
                    <a:pt x="286" y="0"/>
                  </a:cubicBezTo>
                  <a:cubicBezTo>
                    <a:pt x="286" y="20"/>
                    <a:pt x="286" y="20"/>
                    <a:pt x="286" y="2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300" name="Rectangle 1622">
              <a:extLst>
                <a:ext uri="{FF2B5EF4-FFF2-40B4-BE49-F238E27FC236}">
                  <a16:creationId xmlns:a16="http://schemas.microsoft.com/office/drawing/2014/main" id="{ADA5725E-667D-43D6-BD10-6A887D7F80BB}"/>
                </a:ext>
              </a:extLst>
            </p:cNvPr>
            <p:cNvSpPr>
              <a:spLocks noChangeArrowheads="1"/>
            </p:cNvSpPr>
            <p:nvPr userDrawn="1"/>
          </p:nvSpPr>
          <p:spPr bwMode="auto">
            <a:xfrm>
              <a:off x="10218738" y="4876800"/>
              <a:ext cx="128588" cy="39688"/>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301" name="Freeform 1623">
              <a:extLst>
                <a:ext uri="{FF2B5EF4-FFF2-40B4-BE49-F238E27FC236}">
                  <a16:creationId xmlns:a16="http://schemas.microsoft.com/office/drawing/2014/main" id="{BAC57C49-55AA-49F3-A781-3BAABB1EE5E2}"/>
                </a:ext>
              </a:extLst>
            </p:cNvPr>
            <p:cNvSpPr>
              <a:spLocks/>
            </p:cNvSpPr>
            <p:nvPr userDrawn="1"/>
          </p:nvSpPr>
          <p:spPr bwMode="auto">
            <a:xfrm>
              <a:off x="10218738" y="4876800"/>
              <a:ext cx="128588" cy="39688"/>
            </a:xfrm>
            <a:custGeom>
              <a:avLst/>
              <a:gdLst>
                <a:gd name="T0" fmla="*/ 0 w 81"/>
                <a:gd name="T1" fmla="*/ 25 h 25"/>
                <a:gd name="T2" fmla="*/ 81 w 81"/>
                <a:gd name="T3" fmla="*/ 25 h 25"/>
                <a:gd name="T4" fmla="*/ 81 w 81"/>
                <a:gd name="T5" fmla="*/ 0 h 25"/>
                <a:gd name="T6" fmla="*/ 0 w 81"/>
                <a:gd name="T7" fmla="*/ 0 h 25"/>
              </a:gdLst>
              <a:ahLst/>
              <a:cxnLst>
                <a:cxn ang="0">
                  <a:pos x="T0" y="T1"/>
                </a:cxn>
                <a:cxn ang="0">
                  <a:pos x="T2" y="T3"/>
                </a:cxn>
                <a:cxn ang="0">
                  <a:pos x="T4" y="T5"/>
                </a:cxn>
                <a:cxn ang="0">
                  <a:pos x="T6" y="T7"/>
                </a:cxn>
              </a:cxnLst>
              <a:rect l="0" t="0" r="r" b="b"/>
              <a:pathLst>
                <a:path w="81" h="25">
                  <a:moveTo>
                    <a:pt x="0" y="25"/>
                  </a:moveTo>
                  <a:lnTo>
                    <a:pt x="81" y="25"/>
                  </a:lnTo>
                  <a:lnTo>
                    <a:pt x="81"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302" name="Rectangle 1624">
              <a:extLst>
                <a:ext uri="{FF2B5EF4-FFF2-40B4-BE49-F238E27FC236}">
                  <a16:creationId xmlns:a16="http://schemas.microsoft.com/office/drawing/2014/main" id="{4DEF56CB-1D6C-4D11-B312-7A212D6F9553}"/>
                </a:ext>
              </a:extLst>
            </p:cNvPr>
            <p:cNvSpPr>
              <a:spLocks noChangeArrowheads="1"/>
            </p:cNvSpPr>
            <p:nvPr userDrawn="1"/>
          </p:nvSpPr>
          <p:spPr bwMode="auto">
            <a:xfrm>
              <a:off x="10006013" y="5349875"/>
              <a:ext cx="39688" cy="314325"/>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303" name="Freeform 1625">
              <a:extLst>
                <a:ext uri="{FF2B5EF4-FFF2-40B4-BE49-F238E27FC236}">
                  <a16:creationId xmlns:a16="http://schemas.microsoft.com/office/drawing/2014/main" id="{81CA4281-FA08-44BF-A6B6-B9A85463E6C0}"/>
                </a:ext>
              </a:extLst>
            </p:cNvPr>
            <p:cNvSpPr>
              <a:spLocks/>
            </p:cNvSpPr>
            <p:nvPr userDrawn="1"/>
          </p:nvSpPr>
          <p:spPr bwMode="auto">
            <a:xfrm>
              <a:off x="10006013" y="5349875"/>
              <a:ext cx="39688" cy="314325"/>
            </a:xfrm>
            <a:custGeom>
              <a:avLst/>
              <a:gdLst>
                <a:gd name="T0" fmla="*/ 0 w 25"/>
                <a:gd name="T1" fmla="*/ 0 h 198"/>
                <a:gd name="T2" fmla="*/ 0 w 25"/>
                <a:gd name="T3" fmla="*/ 198 h 198"/>
                <a:gd name="T4" fmla="*/ 25 w 25"/>
                <a:gd name="T5" fmla="*/ 198 h 198"/>
                <a:gd name="T6" fmla="*/ 25 w 25"/>
                <a:gd name="T7" fmla="*/ 0 h 198"/>
              </a:gdLst>
              <a:ahLst/>
              <a:cxnLst>
                <a:cxn ang="0">
                  <a:pos x="T0" y="T1"/>
                </a:cxn>
                <a:cxn ang="0">
                  <a:pos x="T2" y="T3"/>
                </a:cxn>
                <a:cxn ang="0">
                  <a:pos x="T4" y="T5"/>
                </a:cxn>
                <a:cxn ang="0">
                  <a:pos x="T6" y="T7"/>
                </a:cxn>
              </a:cxnLst>
              <a:rect l="0" t="0" r="r" b="b"/>
              <a:pathLst>
                <a:path w="25" h="198">
                  <a:moveTo>
                    <a:pt x="0" y="0"/>
                  </a:moveTo>
                  <a:lnTo>
                    <a:pt x="0" y="198"/>
                  </a:lnTo>
                  <a:lnTo>
                    <a:pt x="25" y="198"/>
                  </a:lnTo>
                  <a:lnTo>
                    <a:pt x="2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304" name="Rectangle 1626">
              <a:extLst>
                <a:ext uri="{FF2B5EF4-FFF2-40B4-BE49-F238E27FC236}">
                  <a16:creationId xmlns:a16="http://schemas.microsoft.com/office/drawing/2014/main" id="{60655048-9D63-42B3-A322-1E2F419BDD5F}"/>
                </a:ext>
              </a:extLst>
            </p:cNvPr>
            <p:cNvSpPr>
              <a:spLocks noChangeArrowheads="1"/>
            </p:cNvSpPr>
            <p:nvPr userDrawn="1"/>
          </p:nvSpPr>
          <p:spPr bwMode="auto">
            <a:xfrm>
              <a:off x="10109201" y="5002213"/>
              <a:ext cx="1162050" cy="1012825"/>
            </a:xfrm>
            <a:prstGeom prst="rect">
              <a:avLst/>
            </a:pr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305" name="Freeform 1627">
              <a:extLst>
                <a:ext uri="{FF2B5EF4-FFF2-40B4-BE49-F238E27FC236}">
                  <a16:creationId xmlns:a16="http://schemas.microsoft.com/office/drawing/2014/main" id="{311818A2-3B17-4591-AED0-FC4228892879}"/>
                </a:ext>
              </a:extLst>
            </p:cNvPr>
            <p:cNvSpPr>
              <a:spLocks/>
            </p:cNvSpPr>
            <p:nvPr userDrawn="1"/>
          </p:nvSpPr>
          <p:spPr bwMode="auto">
            <a:xfrm>
              <a:off x="11285538" y="5443538"/>
              <a:ext cx="122238" cy="128588"/>
            </a:xfrm>
            <a:custGeom>
              <a:avLst/>
              <a:gdLst>
                <a:gd name="T0" fmla="*/ 51 w 62"/>
                <a:gd name="T1" fmla="*/ 33 h 65"/>
                <a:gd name="T2" fmla="*/ 41 w 62"/>
                <a:gd name="T3" fmla="*/ 33 h 65"/>
                <a:gd name="T4" fmla="*/ 38 w 62"/>
                <a:gd name="T5" fmla="*/ 42 h 65"/>
                <a:gd name="T6" fmla="*/ 31 w 62"/>
                <a:gd name="T7" fmla="*/ 45 h 65"/>
                <a:gd name="T8" fmla="*/ 23 w 62"/>
                <a:gd name="T9" fmla="*/ 42 h 65"/>
                <a:gd name="T10" fmla="*/ 20 w 62"/>
                <a:gd name="T11" fmla="*/ 33 h 65"/>
                <a:gd name="T12" fmla="*/ 23 w 62"/>
                <a:gd name="T13" fmla="*/ 24 h 65"/>
                <a:gd name="T14" fmla="*/ 31 w 62"/>
                <a:gd name="T15" fmla="*/ 21 h 65"/>
                <a:gd name="T16" fmla="*/ 38 w 62"/>
                <a:gd name="T17" fmla="*/ 24 h 65"/>
                <a:gd name="T18" fmla="*/ 41 w 62"/>
                <a:gd name="T19" fmla="*/ 33 h 65"/>
                <a:gd name="T20" fmla="*/ 51 w 62"/>
                <a:gd name="T21" fmla="*/ 33 h 65"/>
                <a:gd name="T22" fmla="*/ 62 w 62"/>
                <a:gd name="T23" fmla="*/ 33 h 65"/>
                <a:gd name="T24" fmla="*/ 53 w 62"/>
                <a:gd name="T25" fmla="*/ 10 h 65"/>
                <a:gd name="T26" fmla="*/ 31 w 62"/>
                <a:gd name="T27" fmla="*/ 0 h 65"/>
                <a:gd name="T28" fmla="*/ 8 w 62"/>
                <a:gd name="T29" fmla="*/ 10 h 65"/>
                <a:gd name="T30" fmla="*/ 0 w 62"/>
                <a:gd name="T31" fmla="*/ 33 h 65"/>
                <a:gd name="T32" fmla="*/ 8 w 62"/>
                <a:gd name="T33" fmla="*/ 56 h 65"/>
                <a:gd name="T34" fmla="*/ 31 w 62"/>
                <a:gd name="T35" fmla="*/ 65 h 65"/>
                <a:gd name="T36" fmla="*/ 53 w 62"/>
                <a:gd name="T37" fmla="*/ 56 h 65"/>
                <a:gd name="T38" fmla="*/ 62 w 62"/>
                <a:gd name="T39" fmla="*/ 33 h 65"/>
                <a:gd name="T40" fmla="*/ 51 w 62"/>
                <a:gd name="T41" fmla="*/ 3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2" h="65">
                  <a:moveTo>
                    <a:pt x="51" y="33"/>
                  </a:moveTo>
                  <a:cubicBezTo>
                    <a:pt x="41" y="33"/>
                    <a:pt x="41" y="33"/>
                    <a:pt x="41" y="33"/>
                  </a:cubicBezTo>
                  <a:cubicBezTo>
                    <a:pt x="41" y="36"/>
                    <a:pt x="40" y="40"/>
                    <a:pt x="38" y="42"/>
                  </a:cubicBezTo>
                  <a:cubicBezTo>
                    <a:pt x="36" y="44"/>
                    <a:pt x="33" y="45"/>
                    <a:pt x="31" y="45"/>
                  </a:cubicBezTo>
                  <a:cubicBezTo>
                    <a:pt x="28" y="45"/>
                    <a:pt x="25" y="44"/>
                    <a:pt x="23" y="42"/>
                  </a:cubicBezTo>
                  <a:cubicBezTo>
                    <a:pt x="21" y="40"/>
                    <a:pt x="20" y="36"/>
                    <a:pt x="20" y="33"/>
                  </a:cubicBezTo>
                  <a:cubicBezTo>
                    <a:pt x="20" y="29"/>
                    <a:pt x="21" y="26"/>
                    <a:pt x="23" y="24"/>
                  </a:cubicBezTo>
                  <a:cubicBezTo>
                    <a:pt x="25" y="22"/>
                    <a:pt x="28" y="21"/>
                    <a:pt x="31" y="21"/>
                  </a:cubicBezTo>
                  <a:cubicBezTo>
                    <a:pt x="33" y="21"/>
                    <a:pt x="36" y="22"/>
                    <a:pt x="38" y="24"/>
                  </a:cubicBezTo>
                  <a:cubicBezTo>
                    <a:pt x="40" y="26"/>
                    <a:pt x="41" y="29"/>
                    <a:pt x="41" y="33"/>
                  </a:cubicBezTo>
                  <a:cubicBezTo>
                    <a:pt x="51" y="33"/>
                    <a:pt x="51" y="33"/>
                    <a:pt x="51" y="33"/>
                  </a:cubicBezTo>
                  <a:cubicBezTo>
                    <a:pt x="62" y="33"/>
                    <a:pt x="62" y="33"/>
                    <a:pt x="62" y="33"/>
                  </a:cubicBezTo>
                  <a:cubicBezTo>
                    <a:pt x="62" y="24"/>
                    <a:pt x="58" y="16"/>
                    <a:pt x="53" y="10"/>
                  </a:cubicBezTo>
                  <a:cubicBezTo>
                    <a:pt x="47" y="4"/>
                    <a:pt x="39" y="0"/>
                    <a:pt x="31" y="0"/>
                  </a:cubicBezTo>
                  <a:cubicBezTo>
                    <a:pt x="22" y="0"/>
                    <a:pt x="14" y="4"/>
                    <a:pt x="8" y="10"/>
                  </a:cubicBezTo>
                  <a:cubicBezTo>
                    <a:pt x="3" y="16"/>
                    <a:pt x="0" y="24"/>
                    <a:pt x="0" y="33"/>
                  </a:cubicBezTo>
                  <a:cubicBezTo>
                    <a:pt x="0" y="42"/>
                    <a:pt x="3" y="50"/>
                    <a:pt x="8" y="56"/>
                  </a:cubicBezTo>
                  <a:cubicBezTo>
                    <a:pt x="14" y="61"/>
                    <a:pt x="22" y="65"/>
                    <a:pt x="31" y="65"/>
                  </a:cubicBezTo>
                  <a:cubicBezTo>
                    <a:pt x="39" y="65"/>
                    <a:pt x="47" y="61"/>
                    <a:pt x="53" y="56"/>
                  </a:cubicBezTo>
                  <a:cubicBezTo>
                    <a:pt x="58" y="50"/>
                    <a:pt x="62" y="42"/>
                    <a:pt x="62" y="33"/>
                  </a:cubicBezTo>
                  <a:lnTo>
                    <a:pt x="51" y="33"/>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306" name="Freeform 1628">
              <a:extLst>
                <a:ext uri="{FF2B5EF4-FFF2-40B4-BE49-F238E27FC236}">
                  <a16:creationId xmlns:a16="http://schemas.microsoft.com/office/drawing/2014/main" id="{F9CB3422-FFA8-4745-8E75-98B4A3AA5F51}"/>
                </a:ext>
              </a:extLst>
            </p:cNvPr>
            <p:cNvSpPr>
              <a:spLocks/>
            </p:cNvSpPr>
            <p:nvPr userDrawn="1"/>
          </p:nvSpPr>
          <p:spPr bwMode="auto">
            <a:xfrm>
              <a:off x="10529888" y="5194300"/>
              <a:ext cx="339725" cy="420688"/>
            </a:xfrm>
            <a:custGeom>
              <a:avLst/>
              <a:gdLst>
                <a:gd name="T0" fmla="*/ 163 w 172"/>
                <a:gd name="T1" fmla="*/ 119 h 213"/>
                <a:gd name="T2" fmla="*/ 21 w 172"/>
                <a:gd name="T3" fmla="*/ 207 h 213"/>
                <a:gd name="T4" fmla="*/ 0 w 172"/>
                <a:gd name="T5" fmla="*/ 194 h 213"/>
                <a:gd name="T6" fmla="*/ 0 w 172"/>
                <a:gd name="T7" fmla="*/ 18 h 213"/>
                <a:gd name="T8" fmla="*/ 21 w 172"/>
                <a:gd name="T9" fmla="*/ 5 h 213"/>
                <a:gd name="T10" fmla="*/ 163 w 172"/>
                <a:gd name="T11" fmla="*/ 94 h 213"/>
                <a:gd name="T12" fmla="*/ 163 w 172"/>
                <a:gd name="T13" fmla="*/ 119 h 213"/>
              </a:gdLst>
              <a:ahLst/>
              <a:cxnLst>
                <a:cxn ang="0">
                  <a:pos x="T0" y="T1"/>
                </a:cxn>
                <a:cxn ang="0">
                  <a:pos x="T2" y="T3"/>
                </a:cxn>
                <a:cxn ang="0">
                  <a:pos x="T4" y="T5"/>
                </a:cxn>
                <a:cxn ang="0">
                  <a:pos x="T6" y="T7"/>
                </a:cxn>
                <a:cxn ang="0">
                  <a:pos x="T8" y="T9"/>
                </a:cxn>
                <a:cxn ang="0">
                  <a:pos x="T10" y="T11"/>
                </a:cxn>
                <a:cxn ang="0">
                  <a:pos x="T12" y="T13"/>
                </a:cxn>
              </a:cxnLst>
              <a:rect l="0" t="0" r="r" b="b"/>
              <a:pathLst>
                <a:path w="172" h="213">
                  <a:moveTo>
                    <a:pt x="163" y="119"/>
                  </a:moveTo>
                  <a:cubicBezTo>
                    <a:pt x="21" y="207"/>
                    <a:pt x="21" y="207"/>
                    <a:pt x="21" y="207"/>
                  </a:cubicBezTo>
                  <a:cubicBezTo>
                    <a:pt x="12" y="213"/>
                    <a:pt x="0" y="206"/>
                    <a:pt x="0" y="194"/>
                  </a:cubicBezTo>
                  <a:cubicBezTo>
                    <a:pt x="0" y="18"/>
                    <a:pt x="0" y="18"/>
                    <a:pt x="0" y="18"/>
                  </a:cubicBezTo>
                  <a:cubicBezTo>
                    <a:pt x="0" y="7"/>
                    <a:pt x="12" y="0"/>
                    <a:pt x="21" y="5"/>
                  </a:cubicBezTo>
                  <a:cubicBezTo>
                    <a:pt x="163" y="94"/>
                    <a:pt x="163" y="94"/>
                    <a:pt x="163" y="94"/>
                  </a:cubicBezTo>
                  <a:cubicBezTo>
                    <a:pt x="172" y="99"/>
                    <a:pt x="172" y="113"/>
                    <a:pt x="163" y="119"/>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307" name="Freeform 1629">
              <a:extLst>
                <a:ext uri="{FF2B5EF4-FFF2-40B4-BE49-F238E27FC236}">
                  <a16:creationId xmlns:a16="http://schemas.microsoft.com/office/drawing/2014/main" id="{8EFC6AE7-F27B-4752-BDBA-C56E9BBD42F1}"/>
                </a:ext>
              </a:extLst>
            </p:cNvPr>
            <p:cNvSpPr>
              <a:spLocks/>
            </p:cNvSpPr>
            <p:nvPr userDrawn="1"/>
          </p:nvSpPr>
          <p:spPr bwMode="auto">
            <a:xfrm>
              <a:off x="10509251" y="5180013"/>
              <a:ext cx="376238" cy="446088"/>
            </a:xfrm>
            <a:custGeom>
              <a:avLst/>
              <a:gdLst>
                <a:gd name="T0" fmla="*/ 173 w 190"/>
                <a:gd name="T1" fmla="*/ 126 h 226"/>
                <a:gd name="T2" fmla="*/ 168 w 190"/>
                <a:gd name="T3" fmla="*/ 117 h 226"/>
                <a:gd name="T4" fmla="*/ 25 w 190"/>
                <a:gd name="T5" fmla="*/ 205 h 226"/>
                <a:gd name="T6" fmla="*/ 24 w 190"/>
                <a:gd name="T7" fmla="*/ 206 h 226"/>
                <a:gd name="T8" fmla="*/ 22 w 190"/>
                <a:gd name="T9" fmla="*/ 205 h 226"/>
                <a:gd name="T10" fmla="*/ 20 w 190"/>
                <a:gd name="T11" fmla="*/ 201 h 226"/>
                <a:gd name="T12" fmla="*/ 20 w 190"/>
                <a:gd name="T13" fmla="*/ 25 h 226"/>
                <a:gd name="T14" fmla="*/ 22 w 190"/>
                <a:gd name="T15" fmla="*/ 22 h 226"/>
                <a:gd name="T16" fmla="*/ 24 w 190"/>
                <a:gd name="T17" fmla="*/ 21 h 226"/>
                <a:gd name="T18" fmla="*/ 25 w 190"/>
                <a:gd name="T19" fmla="*/ 21 h 226"/>
                <a:gd name="T20" fmla="*/ 25 w 190"/>
                <a:gd name="T21" fmla="*/ 21 h 226"/>
                <a:gd name="T22" fmla="*/ 168 w 190"/>
                <a:gd name="T23" fmla="*/ 109 h 226"/>
                <a:gd name="T24" fmla="*/ 169 w 190"/>
                <a:gd name="T25" fmla="*/ 111 h 226"/>
                <a:gd name="T26" fmla="*/ 170 w 190"/>
                <a:gd name="T27" fmla="*/ 113 h 226"/>
                <a:gd name="T28" fmla="*/ 169 w 190"/>
                <a:gd name="T29" fmla="*/ 116 h 226"/>
                <a:gd name="T30" fmla="*/ 168 w 190"/>
                <a:gd name="T31" fmla="*/ 117 h 226"/>
                <a:gd name="T32" fmla="*/ 168 w 190"/>
                <a:gd name="T33" fmla="*/ 117 h 226"/>
                <a:gd name="T34" fmla="*/ 173 w 190"/>
                <a:gd name="T35" fmla="*/ 126 h 226"/>
                <a:gd name="T36" fmla="*/ 179 w 190"/>
                <a:gd name="T37" fmla="*/ 134 h 226"/>
                <a:gd name="T38" fmla="*/ 187 w 190"/>
                <a:gd name="T39" fmla="*/ 125 h 226"/>
                <a:gd name="T40" fmla="*/ 190 w 190"/>
                <a:gd name="T41" fmla="*/ 113 h 226"/>
                <a:gd name="T42" fmla="*/ 187 w 190"/>
                <a:gd name="T43" fmla="*/ 102 h 226"/>
                <a:gd name="T44" fmla="*/ 179 w 190"/>
                <a:gd name="T45" fmla="*/ 92 h 226"/>
                <a:gd name="T46" fmla="*/ 36 w 190"/>
                <a:gd name="T47" fmla="*/ 4 h 226"/>
                <a:gd name="T48" fmla="*/ 36 w 190"/>
                <a:gd name="T49" fmla="*/ 4 h 226"/>
                <a:gd name="T50" fmla="*/ 24 w 190"/>
                <a:gd name="T51" fmla="*/ 0 h 226"/>
                <a:gd name="T52" fmla="*/ 7 w 190"/>
                <a:gd name="T53" fmla="*/ 8 h 226"/>
                <a:gd name="T54" fmla="*/ 0 w 190"/>
                <a:gd name="T55" fmla="*/ 25 h 226"/>
                <a:gd name="T56" fmla="*/ 0 w 190"/>
                <a:gd name="T57" fmla="*/ 201 h 226"/>
                <a:gd name="T58" fmla="*/ 7 w 190"/>
                <a:gd name="T59" fmla="*/ 219 h 226"/>
                <a:gd name="T60" fmla="*/ 24 w 190"/>
                <a:gd name="T61" fmla="*/ 226 h 226"/>
                <a:gd name="T62" fmla="*/ 36 w 190"/>
                <a:gd name="T63" fmla="*/ 223 h 226"/>
                <a:gd name="T64" fmla="*/ 179 w 190"/>
                <a:gd name="T65" fmla="*/ 134 h 226"/>
                <a:gd name="T66" fmla="*/ 179 w 190"/>
                <a:gd name="T67" fmla="*/ 134 h 226"/>
                <a:gd name="T68" fmla="*/ 173 w 190"/>
                <a:gd name="T69" fmla="*/ 126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0" h="226">
                  <a:moveTo>
                    <a:pt x="173" y="126"/>
                  </a:moveTo>
                  <a:cubicBezTo>
                    <a:pt x="168" y="117"/>
                    <a:pt x="168" y="117"/>
                    <a:pt x="168" y="117"/>
                  </a:cubicBezTo>
                  <a:cubicBezTo>
                    <a:pt x="25" y="205"/>
                    <a:pt x="25" y="205"/>
                    <a:pt x="25" y="205"/>
                  </a:cubicBezTo>
                  <a:cubicBezTo>
                    <a:pt x="25" y="206"/>
                    <a:pt x="24" y="206"/>
                    <a:pt x="24" y="206"/>
                  </a:cubicBezTo>
                  <a:cubicBezTo>
                    <a:pt x="23" y="206"/>
                    <a:pt x="22" y="205"/>
                    <a:pt x="22" y="205"/>
                  </a:cubicBezTo>
                  <a:cubicBezTo>
                    <a:pt x="21" y="204"/>
                    <a:pt x="20" y="203"/>
                    <a:pt x="20" y="201"/>
                  </a:cubicBezTo>
                  <a:cubicBezTo>
                    <a:pt x="20" y="25"/>
                    <a:pt x="20" y="25"/>
                    <a:pt x="20" y="25"/>
                  </a:cubicBezTo>
                  <a:cubicBezTo>
                    <a:pt x="20" y="23"/>
                    <a:pt x="21" y="22"/>
                    <a:pt x="22" y="22"/>
                  </a:cubicBezTo>
                  <a:cubicBezTo>
                    <a:pt x="22" y="21"/>
                    <a:pt x="23" y="21"/>
                    <a:pt x="24" y="21"/>
                  </a:cubicBezTo>
                  <a:cubicBezTo>
                    <a:pt x="24" y="21"/>
                    <a:pt x="25" y="21"/>
                    <a:pt x="25" y="21"/>
                  </a:cubicBezTo>
                  <a:cubicBezTo>
                    <a:pt x="25" y="21"/>
                    <a:pt x="25" y="21"/>
                    <a:pt x="25" y="21"/>
                  </a:cubicBezTo>
                  <a:cubicBezTo>
                    <a:pt x="168" y="109"/>
                    <a:pt x="168" y="109"/>
                    <a:pt x="168" y="109"/>
                  </a:cubicBezTo>
                  <a:cubicBezTo>
                    <a:pt x="169" y="110"/>
                    <a:pt x="169" y="110"/>
                    <a:pt x="169" y="111"/>
                  </a:cubicBezTo>
                  <a:cubicBezTo>
                    <a:pt x="170" y="111"/>
                    <a:pt x="170" y="112"/>
                    <a:pt x="170" y="113"/>
                  </a:cubicBezTo>
                  <a:cubicBezTo>
                    <a:pt x="170" y="114"/>
                    <a:pt x="170" y="115"/>
                    <a:pt x="169" y="116"/>
                  </a:cubicBezTo>
                  <a:cubicBezTo>
                    <a:pt x="169" y="116"/>
                    <a:pt x="169" y="117"/>
                    <a:pt x="168" y="117"/>
                  </a:cubicBezTo>
                  <a:cubicBezTo>
                    <a:pt x="168" y="117"/>
                    <a:pt x="168" y="117"/>
                    <a:pt x="168" y="117"/>
                  </a:cubicBezTo>
                  <a:cubicBezTo>
                    <a:pt x="173" y="126"/>
                    <a:pt x="173" y="126"/>
                    <a:pt x="173" y="126"/>
                  </a:cubicBezTo>
                  <a:cubicBezTo>
                    <a:pt x="179" y="134"/>
                    <a:pt x="179" y="134"/>
                    <a:pt x="179" y="134"/>
                  </a:cubicBezTo>
                  <a:cubicBezTo>
                    <a:pt x="183" y="132"/>
                    <a:pt x="186" y="129"/>
                    <a:pt x="187" y="125"/>
                  </a:cubicBezTo>
                  <a:cubicBezTo>
                    <a:pt x="189" y="121"/>
                    <a:pt x="190" y="117"/>
                    <a:pt x="190" y="113"/>
                  </a:cubicBezTo>
                  <a:cubicBezTo>
                    <a:pt x="190" y="109"/>
                    <a:pt x="189" y="105"/>
                    <a:pt x="187" y="102"/>
                  </a:cubicBezTo>
                  <a:cubicBezTo>
                    <a:pt x="186" y="98"/>
                    <a:pt x="183" y="94"/>
                    <a:pt x="179" y="92"/>
                  </a:cubicBezTo>
                  <a:cubicBezTo>
                    <a:pt x="36" y="4"/>
                    <a:pt x="36" y="4"/>
                    <a:pt x="36" y="4"/>
                  </a:cubicBezTo>
                  <a:cubicBezTo>
                    <a:pt x="36" y="4"/>
                    <a:pt x="36" y="4"/>
                    <a:pt x="36" y="4"/>
                  </a:cubicBezTo>
                  <a:cubicBezTo>
                    <a:pt x="32" y="2"/>
                    <a:pt x="28" y="0"/>
                    <a:pt x="24" y="0"/>
                  </a:cubicBezTo>
                  <a:cubicBezTo>
                    <a:pt x="17" y="0"/>
                    <a:pt x="11" y="3"/>
                    <a:pt x="7" y="8"/>
                  </a:cubicBezTo>
                  <a:cubicBezTo>
                    <a:pt x="3" y="12"/>
                    <a:pt x="0" y="18"/>
                    <a:pt x="0" y="25"/>
                  </a:cubicBezTo>
                  <a:cubicBezTo>
                    <a:pt x="0" y="201"/>
                    <a:pt x="0" y="201"/>
                    <a:pt x="0" y="201"/>
                  </a:cubicBezTo>
                  <a:cubicBezTo>
                    <a:pt x="0" y="208"/>
                    <a:pt x="3" y="215"/>
                    <a:pt x="7" y="219"/>
                  </a:cubicBezTo>
                  <a:cubicBezTo>
                    <a:pt x="11" y="223"/>
                    <a:pt x="17" y="226"/>
                    <a:pt x="24" y="226"/>
                  </a:cubicBezTo>
                  <a:cubicBezTo>
                    <a:pt x="28" y="226"/>
                    <a:pt x="32" y="225"/>
                    <a:pt x="36" y="223"/>
                  </a:cubicBezTo>
                  <a:cubicBezTo>
                    <a:pt x="179" y="134"/>
                    <a:pt x="179" y="134"/>
                    <a:pt x="179" y="134"/>
                  </a:cubicBezTo>
                  <a:cubicBezTo>
                    <a:pt x="179" y="134"/>
                    <a:pt x="179" y="134"/>
                    <a:pt x="179" y="134"/>
                  </a:cubicBezTo>
                  <a:lnTo>
                    <a:pt x="173" y="126"/>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308" name="Rectangle 1630">
              <a:extLst>
                <a:ext uri="{FF2B5EF4-FFF2-40B4-BE49-F238E27FC236}">
                  <a16:creationId xmlns:a16="http://schemas.microsoft.com/office/drawing/2014/main" id="{01884E2A-05A8-460F-9408-75063B21EFB9}"/>
                </a:ext>
              </a:extLst>
            </p:cNvPr>
            <p:cNvSpPr>
              <a:spLocks noChangeArrowheads="1"/>
            </p:cNvSpPr>
            <p:nvPr userDrawn="1"/>
          </p:nvSpPr>
          <p:spPr bwMode="auto">
            <a:xfrm>
              <a:off x="10252076" y="5799138"/>
              <a:ext cx="889000" cy="39688"/>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309" name="Freeform 1631">
              <a:extLst>
                <a:ext uri="{FF2B5EF4-FFF2-40B4-BE49-F238E27FC236}">
                  <a16:creationId xmlns:a16="http://schemas.microsoft.com/office/drawing/2014/main" id="{26541340-84CF-421F-9E78-8F55159499D0}"/>
                </a:ext>
              </a:extLst>
            </p:cNvPr>
            <p:cNvSpPr>
              <a:spLocks/>
            </p:cNvSpPr>
            <p:nvPr userDrawn="1"/>
          </p:nvSpPr>
          <p:spPr bwMode="auto">
            <a:xfrm>
              <a:off x="10252076" y="5799138"/>
              <a:ext cx="889000" cy="39688"/>
            </a:xfrm>
            <a:custGeom>
              <a:avLst/>
              <a:gdLst>
                <a:gd name="T0" fmla="*/ 0 w 560"/>
                <a:gd name="T1" fmla="*/ 25 h 25"/>
                <a:gd name="T2" fmla="*/ 560 w 560"/>
                <a:gd name="T3" fmla="*/ 25 h 25"/>
                <a:gd name="T4" fmla="*/ 560 w 560"/>
                <a:gd name="T5" fmla="*/ 0 h 25"/>
                <a:gd name="T6" fmla="*/ 0 w 560"/>
                <a:gd name="T7" fmla="*/ 0 h 25"/>
              </a:gdLst>
              <a:ahLst/>
              <a:cxnLst>
                <a:cxn ang="0">
                  <a:pos x="T0" y="T1"/>
                </a:cxn>
                <a:cxn ang="0">
                  <a:pos x="T2" y="T3"/>
                </a:cxn>
                <a:cxn ang="0">
                  <a:pos x="T4" y="T5"/>
                </a:cxn>
                <a:cxn ang="0">
                  <a:pos x="T6" y="T7"/>
                </a:cxn>
              </a:cxnLst>
              <a:rect l="0" t="0" r="r" b="b"/>
              <a:pathLst>
                <a:path w="560" h="25">
                  <a:moveTo>
                    <a:pt x="0" y="25"/>
                  </a:moveTo>
                  <a:lnTo>
                    <a:pt x="560" y="25"/>
                  </a:lnTo>
                  <a:lnTo>
                    <a:pt x="56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310" name="Rectangle 1632">
              <a:extLst>
                <a:ext uri="{FF2B5EF4-FFF2-40B4-BE49-F238E27FC236}">
                  <a16:creationId xmlns:a16="http://schemas.microsoft.com/office/drawing/2014/main" id="{0014F75F-6AA1-4A13-9ABA-1828A3C060EC}"/>
                </a:ext>
              </a:extLst>
            </p:cNvPr>
            <p:cNvSpPr>
              <a:spLocks noChangeArrowheads="1"/>
            </p:cNvSpPr>
            <p:nvPr userDrawn="1"/>
          </p:nvSpPr>
          <p:spPr bwMode="auto">
            <a:xfrm>
              <a:off x="10429876" y="5743575"/>
              <a:ext cx="39688" cy="150813"/>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311" name="Freeform 1633">
              <a:extLst>
                <a:ext uri="{FF2B5EF4-FFF2-40B4-BE49-F238E27FC236}">
                  <a16:creationId xmlns:a16="http://schemas.microsoft.com/office/drawing/2014/main" id="{042266B3-94AC-4866-8A76-B228C1D4A65C}"/>
                </a:ext>
              </a:extLst>
            </p:cNvPr>
            <p:cNvSpPr>
              <a:spLocks/>
            </p:cNvSpPr>
            <p:nvPr userDrawn="1"/>
          </p:nvSpPr>
          <p:spPr bwMode="auto">
            <a:xfrm>
              <a:off x="10429876" y="5743575"/>
              <a:ext cx="39688" cy="150813"/>
            </a:xfrm>
            <a:custGeom>
              <a:avLst/>
              <a:gdLst>
                <a:gd name="T0" fmla="*/ 25 w 25"/>
                <a:gd name="T1" fmla="*/ 95 h 95"/>
                <a:gd name="T2" fmla="*/ 25 w 25"/>
                <a:gd name="T3" fmla="*/ 0 h 95"/>
                <a:gd name="T4" fmla="*/ 0 w 25"/>
                <a:gd name="T5" fmla="*/ 0 h 95"/>
                <a:gd name="T6" fmla="*/ 0 w 25"/>
                <a:gd name="T7" fmla="*/ 95 h 95"/>
              </a:gdLst>
              <a:ahLst/>
              <a:cxnLst>
                <a:cxn ang="0">
                  <a:pos x="T0" y="T1"/>
                </a:cxn>
                <a:cxn ang="0">
                  <a:pos x="T2" y="T3"/>
                </a:cxn>
                <a:cxn ang="0">
                  <a:pos x="T4" y="T5"/>
                </a:cxn>
                <a:cxn ang="0">
                  <a:pos x="T6" y="T7"/>
                </a:cxn>
              </a:cxnLst>
              <a:rect l="0" t="0" r="r" b="b"/>
              <a:pathLst>
                <a:path w="25" h="95">
                  <a:moveTo>
                    <a:pt x="25" y="95"/>
                  </a:moveTo>
                  <a:lnTo>
                    <a:pt x="25" y="0"/>
                  </a:lnTo>
                  <a:lnTo>
                    <a:pt x="0" y="0"/>
                  </a:lnTo>
                  <a:lnTo>
                    <a:pt x="0" y="9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312" name="Rectangle 1634">
              <a:extLst>
                <a:ext uri="{FF2B5EF4-FFF2-40B4-BE49-F238E27FC236}">
                  <a16:creationId xmlns:a16="http://schemas.microsoft.com/office/drawing/2014/main" id="{4A9A8818-EA82-4F0E-A0EC-DE41ABA00DCF}"/>
                </a:ext>
              </a:extLst>
            </p:cNvPr>
            <p:cNvSpPr>
              <a:spLocks noChangeArrowheads="1"/>
            </p:cNvSpPr>
            <p:nvPr userDrawn="1"/>
          </p:nvSpPr>
          <p:spPr bwMode="auto">
            <a:xfrm>
              <a:off x="4230688" y="6099175"/>
              <a:ext cx="7743825" cy="39688"/>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313" name="Rectangle 1635">
              <a:extLst>
                <a:ext uri="{FF2B5EF4-FFF2-40B4-BE49-F238E27FC236}">
                  <a16:creationId xmlns:a16="http://schemas.microsoft.com/office/drawing/2014/main" id="{CD8726FC-4975-471F-AF45-F2EF6DDB211E}"/>
                </a:ext>
              </a:extLst>
            </p:cNvPr>
            <p:cNvSpPr>
              <a:spLocks noChangeArrowheads="1"/>
            </p:cNvSpPr>
            <p:nvPr userDrawn="1"/>
          </p:nvSpPr>
          <p:spPr bwMode="auto">
            <a:xfrm>
              <a:off x="4230688" y="6099175"/>
              <a:ext cx="7743825" cy="39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314" name="Freeform 1636">
              <a:extLst>
                <a:ext uri="{FF2B5EF4-FFF2-40B4-BE49-F238E27FC236}">
                  <a16:creationId xmlns:a16="http://schemas.microsoft.com/office/drawing/2014/main" id="{D261D2FB-09D2-429D-9821-702F81D651F6}"/>
                </a:ext>
              </a:extLst>
            </p:cNvPr>
            <p:cNvSpPr>
              <a:spLocks/>
            </p:cNvSpPr>
            <p:nvPr userDrawn="1"/>
          </p:nvSpPr>
          <p:spPr bwMode="auto">
            <a:xfrm>
              <a:off x="5257801" y="5211763"/>
              <a:ext cx="849313" cy="908050"/>
            </a:xfrm>
            <a:custGeom>
              <a:avLst/>
              <a:gdLst>
                <a:gd name="T0" fmla="*/ 419 w 429"/>
                <a:gd name="T1" fmla="*/ 459 h 459"/>
                <a:gd name="T2" fmla="*/ 10 w 429"/>
                <a:gd name="T3" fmla="*/ 459 h 459"/>
                <a:gd name="T4" fmla="*/ 0 w 429"/>
                <a:gd name="T5" fmla="*/ 448 h 459"/>
                <a:gd name="T6" fmla="*/ 0 w 429"/>
                <a:gd name="T7" fmla="*/ 10 h 459"/>
                <a:gd name="T8" fmla="*/ 10 w 429"/>
                <a:gd name="T9" fmla="*/ 0 h 459"/>
                <a:gd name="T10" fmla="*/ 419 w 429"/>
                <a:gd name="T11" fmla="*/ 0 h 459"/>
                <a:gd name="T12" fmla="*/ 429 w 429"/>
                <a:gd name="T13" fmla="*/ 10 h 459"/>
                <a:gd name="T14" fmla="*/ 429 w 429"/>
                <a:gd name="T15" fmla="*/ 448 h 459"/>
                <a:gd name="T16" fmla="*/ 419 w 429"/>
                <a:gd name="T17" fmla="*/ 459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9" h="459">
                  <a:moveTo>
                    <a:pt x="419" y="459"/>
                  </a:moveTo>
                  <a:cubicBezTo>
                    <a:pt x="10" y="459"/>
                    <a:pt x="10" y="459"/>
                    <a:pt x="10" y="459"/>
                  </a:cubicBezTo>
                  <a:cubicBezTo>
                    <a:pt x="5" y="459"/>
                    <a:pt x="0" y="454"/>
                    <a:pt x="0" y="448"/>
                  </a:cubicBezTo>
                  <a:cubicBezTo>
                    <a:pt x="0" y="10"/>
                    <a:pt x="0" y="10"/>
                    <a:pt x="0" y="10"/>
                  </a:cubicBezTo>
                  <a:cubicBezTo>
                    <a:pt x="0" y="4"/>
                    <a:pt x="5" y="0"/>
                    <a:pt x="10" y="0"/>
                  </a:cubicBezTo>
                  <a:cubicBezTo>
                    <a:pt x="419" y="0"/>
                    <a:pt x="419" y="0"/>
                    <a:pt x="419" y="0"/>
                  </a:cubicBezTo>
                  <a:cubicBezTo>
                    <a:pt x="425" y="0"/>
                    <a:pt x="429" y="4"/>
                    <a:pt x="429" y="10"/>
                  </a:cubicBezTo>
                  <a:cubicBezTo>
                    <a:pt x="429" y="448"/>
                    <a:pt x="429" y="448"/>
                    <a:pt x="429" y="448"/>
                  </a:cubicBezTo>
                  <a:cubicBezTo>
                    <a:pt x="429" y="454"/>
                    <a:pt x="425" y="459"/>
                    <a:pt x="419" y="45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315" name="Freeform 1637">
              <a:extLst>
                <a:ext uri="{FF2B5EF4-FFF2-40B4-BE49-F238E27FC236}">
                  <a16:creationId xmlns:a16="http://schemas.microsoft.com/office/drawing/2014/main" id="{3757DFF9-514F-43D0-8058-4D50FDF3DEA8}"/>
                </a:ext>
              </a:extLst>
            </p:cNvPr>
            <p:cNvSpPr>
              <a:spLocks/>
            </p:cNvSpPr>
            <p:nvPr userDrawn="1"/>
          </p:nvSpPr>
          <p:spPr bwMode="auto">
            <a:xfrm>
              <a:off x="5257801" y="5511800"/>
              <a:ext cx="849313" cy="392113"/>
            </a:xfrm>
            <a:custGeom>
              <a:avLst/>
              <a:gdLst>
                <a:gd name="T0" fmla="*/ 535 w 535"/>
                <a:gd name="T1" fmla="*/ 197 h 247"/>
                <a:gd name="T2" fmla="*/ 386 w 535"/>
                <a:gd name="T3" fmla="*/ 51 h 247"/>
                <a:gd name="T4" fmla="*/ 268 w 535"/>
                <a:gd name="T5" fmla="*/ 148 h 247"/>
                <a:gd name="T6" fmla="*/ 135 w 535"/>
                <a:gd name="T7" fmla="*/ 0 h 247"/>
                <a:gd name="T8" fmla="*/ 0 w 535"/>
                <a:gd name="T9" fmla="*/ 162 h 247"/>
                <a:gd name="T10" fmla="*/ 0 w 535"/>
                <a:gd name="T11" fmla="*/ 247 h 247"/>
                <a:gd name="T12" fmla="*/ 535 w 535"/>
                <a:gd name="T13" fmla="*/ 247 h 247"/>
                <a:gd name="T14" fmla="*/ 535 w 535"/>
                <a:gd name="T15" fmla="*/ 197 h 2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35" h="247">
                  <a:moveTo>
                    <a:pt x="535" y="197"/>
                  </a:moveTo>
                  <a:lnTo>
                    <a:pt x="386" y="51"/>
                  </a:lnTo>
                  <a:lnTo>
                    <a:pt x="268" y="148"/>
                  </a:lnTo>
                  <a:lnTo>
                    <a:pt x="135" y="0"/>
                  </a:lnTo>
                  <a:lnTo>
                    <a:pt x="0" y="162"/>
                  </a:lnTo>
                  <a:lnTo>
                    <a:pt x="0" y="247"/>
                  </a:lnTo>
                  <a:lnTo>
                    <a:pt x="535" y="247"/>
                  </a:lnTo>
                  <a:lnTo>
                    <a:pt x="535" y="197"/>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316" name="Freeform 1638">
              <a:extLst>
                <a:ext uri="{FF2B5EF4-FFF2-40B4-BE49-F238E27FC236}">
                  <a16:creationId xmlns:a16="http://schemas.microsoft.com/office/drawing/2014/main" id="{B97B04B5-4438-4721-808B-CA8115B2D188}"/>
                </a:ext>
              </a:extLst>
            </p:cNvPr>
            <p:cNvSpPr>
              <a:spLocks/>
            </p:cNvSpPr>
            <p:nvPr userDrawn="1"/>
          </p:nvSpPr>
          <p:spPr bwMode="auto">
            <a:xfrm>
              <a:off x="5257801" y="5511800"/>
              <a:ext cx="849313" cy="392113"/>
            </a:xfrm>
            <a:custGeom>
              <a:avLst/>
              <a:gdLst>
                <a:gd name="T0" fmla="*/ 535 w 535"/>
                <a:gd name="T1" fmla="*/ 197 h 247"/>
                <a:gd name="T2" fmla="*/ 386 w 535"/>
                <a:gd name="T3" fmla="*/ 51 h 247"/>
                <a:gd name="T4" fmla="*/ 268 w 535"/>
                <a:gd name="T5" fmla="*/ 148 h 247"/>
                <a:gd name="T6" fmla="*/ 135 w 535"/>
                <a:gd name="T7" fmla="*/ 0 h 247"/>
                <a:gd name="T8" fmla="*/ 0 w 535"/>
                <a:gd name="T9" fmla="*/ 162 h 247"/>
                <a:gd name="T10" fmla="*/ 0 w 535"/>
                <a:gd name="T11" fmla="*/ 247 h 247"/>
                <a:gd name="T12" fmla="*/ 535 w 535"/>
                <a:gd name="T13" fmla="*/ 247 h 247"/>
                <a:gd name="T14" fmla="*/ 535 w 535"/>
                <a:gd name="T15" fmla="*/ 197 h 2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35" h="247">
                  <a:moveTo>
                    <a:pt x="535" y="197"/>
                  </a:moveTo>
                  <a:lnTo>
                    <a:pt x="386" y="51"/>
                  </a:lnTo>
                  <a:lnTo>
                    <a:pt x="268" y="148"/>
                  </a:lnTo>
                  <a:lnTo>
                    <a:pt x="135" y="0"/>
                  </a:lnTo>
                  <a:lnTo>
                    <a:pt x="0" y="162"/>
                  </a:lnTo>
                  <a:lnTo>
                    <a:pt x="0" y="247"/>
                  </a:lnTo>
                  <a:lnTo>
                    <a:pt x="535" y="247"/>
                  </a:lnTo>
                  <a:lnTo>
                    <a:pt x="535" y="19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317" name="Freeform 1639">
              <a:extLst>
                <a:ext uri="{FF2B5EF4-FFF2-40B4-BE49-F238E27FC236}">
                  <a16:creationId xmlns:a16="http://schemas.microsoft.com/office/drawing/2014/main" id="{278A34D6-C53D-4A80-9494-6DD73CBA7DF5}"/>
                </a:ext>
              </a:extLst>
            </p:cNvPr>
            <p:cNvSpPr>
              <a:spLocks/>
            </p:cNvSpPr>
            <p:nvPr userDrawn="1"/>
          </p:nvSpPr>
          <p:spPr bwMode="auto">
            <a:xfrm>
              <a:off x="5238751" y="5191125"/>
              <a:ext cx="889000" cy="947738"/>
            </a:xfrm>
            <a:custGeom>
              <a:avLst/>
              <a:gdLst>
                <a:gd name="T0" fmla="*/ 429 w 449"/>
                <a:gd name="T1" fmla="*/ 433 h 479"/>
                <a:gd name="T2" fmla="*/ 422 w 449"/>
                <a:gd name="T3" fmla="*/ 451 h 479"/>
                <a:gd name="T4" fmla="*/ 406 w 449"/>
                <a:gd name="T5" fmla="*/ 458 h 479"/>
                <a:gd name="T6" fmla="*/ 44 w 449"/>
                <a:gd name="T7" fmla="*/ 458 h 479"/>
                <a:gd name="T8" fmla="*/ 27 w 449"/>
                <a:gd name="T9" fmla="*/ 451 h 479"/>
                <a:gd name="T10" fmla="*/ 20 w 449"/>
                <a:gd name="T11" fmla="*/ 433 h 479"/>
                <a:gd name="T12" fmla="*/ 20 w 449"/>
                <a:gd name="T13" fmla="*/ 46 h 479"/>
                <a:gd name="T14" fmla="*/ 27 w 449"/>
                <a:gd name="T15" fmla="*/ 27 h 479"/>
                <a:gd name="T16" fmla="*/ 44 w 449"/>
                <a:gd name="T17" fmla="*/ 20 h 479"/>
                <a:gd name="T18" fmla="*/ 365 w 449"/>
                <a:gd name="T19" fmla="*/ 20 h 479"/>
                <a:gd name="T20" fmla="*/ 365 w 449"/>
                <a:gd name="T21" fmla="*/ 0 h 479"/>
                <a:gd name="T22" fmla="*/ 44 w 449"/>
                <a:gd name="T23" fmla="*/ 0 h 479"/>
                <a:gd name="T24" fmla="*/ 12 w 449"/>
                <a:gd name="T25" fmla="*/ 13 h 479"/>
                <a:gd name="T26" fmla="*/ 0 w 449"/>
                <a:gd name="T27" fmla="*/ 46 h 479"/>
                <a:gd name="T28" fmla="*/ 0 w 449"/>
                <a:gd name="T29" fmla="*/ 433 h 479"/>
                <a:gd name="T30" fmla="*/ 12 w 449"/>
                <a:gd name="T31" fmla="*/ 465 h 479"/>
                <a:gd name="T32" fmla="*/ 44 w 449"/>
                <a:gd name="T33" fmla="*/ 479 h 479"/>
                <a:gd name="T34" fmla="*/ 406 w 449"/>
                <a:gd name="T35" fmla="*/ 479 h 479"/>
                <a:gd name="T36" fmla="*/ 437 w 449"/>
                <a:gd name="T37" fmla="*/ 465 h 479"/>
                <a:gd name="T38" fmla="*/ 449 w 449"/>
                <a:gd name="T39" fmla="*/ 433 h 479"/>
                <a:gd name="T40" fmla="*/ 429 w 449"/>
                <a:gd name="T41" fmla="*/ 433 h 4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49" h="479">
                  <a:moveTo>
                    <a:pt x="429" y="433"/>
                  </a:moveTo>
                  <a:cubicBezTo>
                    <a:pt x="429" y="440"/>
                    <a:pt x="426" y="447"/>
                    <a:pt x="422" y="451"/>
                  </a:cubicBezTo>
                  <a:cubicBezTo>
                    <a:pt x="418" y="456"/>
                    <a:pt x="412" y="458"/>
                    <a:pt x="406" y="458"/>
                  </a:cubicBezTo>
                  <a:cubicBezTo>
                    <a:pt x="44" y="458"/>
                    <a:pt x="44" y="458"/>
                    <a:pt x="44" y="458"/>
                  </a:cubicBezTo>
                  <a:cubicBezTo>
                    <a:pt x="37" y="458"/>
                    <a:pt x="32" y="456"/>
                    <a:pt x="27" y="451"/>
                  </a:cubicBezTo>
                  <a:cubicBezTo>
                    <a:pt x="23" y="447"/>
                    <a:pt x="20" y="440"/>
                    <a:pt x="20" y="433"/>
                  </a:cubicBezTo>
                  <a:cubicBezTo>
                    <a:pt x="20" y="46"/>
                    <a:pt x="20" y="46"/>
                    <a:pt x="20" y="46"/>
                  </a:cubicBezTo>
                  <a:cubicBezTo>
                    <a:pt x="20" y="38"/>
                    <a:pt x="23" y="32"/>
                    <a:pt x="27" y="27"/>
                  </a:cubicBezTo>
                  <a:cubicBezTo>
                    <a:pt x="32" y="23"/>
                    <a:pt x="37" y="20"/>
                    <a:pt x="44" y="20"/>
                  </a:cubicBezTo>
                  <a:cubicBezTo>
                    <a:pt x="365" y="20"/>
                    <a:pt x="365" y="20"/>
                    <a:pt x="365" y="20"/>
                  </a:cubicBezTo>
                  <a:cubicBezTo>
                    <a:pt x="365" y="0"/>
                    <a:pt x="365" y="0"/>
                    <a:pt x="365" y="0"/>
                  </a:cubicBezTo>
                  <a:cubicBezTo>
                    <a:pt x="44" y="0"/>
                    <a:pt x="44" y="0"/>
                    <a:pt x="44" y="0"/>
                  </a:cubicBezTo>
                  <a:cubicBezTo>
                    <a:pt x="31" y="0"/>
                    <a:pt x="20" y="5"/>
                    <a:pt x="12" y="13"/>
                  </a:cubicBezTo>
                  <a:cubicBezTo>
                    <a:pt x="5" y="22"/>
                    <a:pt x="0" y="33"/>
                    <a:pt x="0" y="46"/>
                  </a:cubicBezTo>
                  <a:cubicBezTo>
                    <a:pt x="0" y="433"/>
                    <a:pt x="0" y="433"/>
                    <a:pt x="0" y="433"/>
                  </a:cubicBezTo>
                  <a:cubicBezTo>
                    <a:pt x="0" y="445"/>
                    <a:pt x="5" y="457"/>
                    <a:pt x="12" y="465"/>
                  </a:cubicBezTo>
                  <a:cubicBezTo>
                    <a:pt x="20" y="473"/>
                    <a:pt x="31" y="479"/>
                    <a:pt x="44" y="479"/>
                  </a:cubicBezTo>
                  <a:cubicBezTo>
                    <a:pt x="406" y="479"/>
                    <a:pt x="406" y="479"/>
                    <a:pt x="406" y="479"/>
                  </a:cubicBezTo>
                  <a:cubicBezTo>
                    <a:pt x="418" y="479"/>
                    <a:pt x="429" y="473"/>
                    <a:pt x="437" y="465"/>
                  </a:cubicBezTo>
                  <a:cubicBezTo>
                    <a:pt x="445" y="457"/>
                    <a:pt x="449" y="445"/>
                    <a:pt x="449" y="433"/>
                  </a:cubicBezTo>
                  <a:cubicBezTo>
                    <a:pt x="429" y="433"/>
                    <a:pt x="429" y="433"/>
                    <a:pt x="429" y="43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318" name="Rectangle 1640">
              <a:extLst>
                <a:ext uri="{FF2B5EF4-FFF2-40B4-BE49-F238E27FC236}">
                  <a16:creationId xmlns:a16="http://schemas.microsoft.com/office/drawing/2014/main" id="{55531A78-CC20-4D87-96AD-1A1E849B4EFB}"/>
                </a:ext>
              </a:extLst>
            </p:cNvPr>
            <p:cNvSpPr>
              <a:spLocks noChangeArrowheads="1"/>
            </p:cNvSpPr>
            <p:nvPr userDrawn="1"/>
          </p:nvSpPr>
          <p:spPr bwMode="auto">
            <a:xfrm>
              <a:off x="5257801" y="5883275"/>
              <a:ext cx="849313" cy="39688"/>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319" name="Rectangle 1641">
              <a:extLst>
                <a:ext uri="{FF2B5EF4-FFF2-40B4-BE49-F238E27FC236}">
                  <a16:creationId xmlns:a16="http://schemas.microsoft.com/office/drawing/2014/main" id="{EB522D0D-7528-4400-A48D-A7BFE4A6A075}"/>
                </a:ext>
              </a:extLst>
            </p:cNvPr>
            <p:cNvSpPr>
              <a:spLocks noChangeArrowheads="1"/>
            </p:cNvSpPr>
            <p:nvPr userDrawn="1"/>
          </p:nvSpPr>
          <p:spPr bwMode="auto">
            <a:xfrm>
              <a:off x="5257801" y="5883275"/>
              <a:ext cx="849313" cy="39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320" name="Freeform 1642">
              <a:extLst>
                <a:ext uri="{FF2B5EF4-FFF2-40B4-BE49-F238E27FC236}">
                  <a16:creationId xmlns:a16="http://schemas.microsoft.com/office/drawing/2014/main" id="{31BA439A-2ED2-4A90-9EEA-7D1ED1CD4801}"/>
                </a:ext>
              </a:extLst>
            </p:cNvPr>
            <p:cNvSpPr>
              <a:spLocks/>
            </p:cNvSpPr>
            <p:nvPr userDrawn="1"/>
          </p:nvSpPr>
          <p:spPr bwMode="auto">
            <a:xfrm>
              <a:off x="5241926" y="5480050"/>
              <a:ext cx="641350" cy="303213"/>
            </a:xfrm>
            <a:custGeom>
              <a:avLst/>
              <a:gdLst>
                <a:gd name="T0" fmla="*/ 20 w 404"/>
                <a:gd name="T1" fmla="*/ 191 h 191"/>
                <a:gd name="T2" fmla="*/ 146 w 404"/>
                <a:gd name="T3" fmla="*/ 39 h 191"/>
                <a:gd name="T4" fmla="*/ 276 w 404"/>
                <a:gd name="T5" fmla="*/ 186 h 191"/>
                <a:gd name="T6" fmla="*/ 404 w 404"/>
                <a:gd name="T7" fmla="*/ 81 h 191"/>
                <a:gd name="T8" fmla="*/ 388 w 404"/>
                <a:gd name="T9" fmla="*/ 61 h 191"/>
                <a:gd name="T10" fmla="*/ 280 w 404"/>
                <a:gd name="T11" fmla="*/ 151 h 191"/>
                <a:gd name="T12" fmla="*/ 145 w 404"/>
                <a:gd name="T13" fmla="*/ 0 h 191"/>
                <a:gd name="T14" fmla="*/ 0 w 404"/>
                <a:gd name="T15" fmla="*/ 175 h 191"/>
                <a:gd name="T16" fmla="*/ 20 w 404"/>
                <a:gd name="T17" fmla="*/ 191 h 191"/>
                <a:gd name="T18" fmla="*/ 20 w 404"/>
                <a:gd name="T19" fmla="*/ 191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4" h="191">
                  <a:moveTo>
                    <a:pt x="20" y="191"/>
                  </a:moveTo>
                  <a:lnTo>
                    <a:pt x="146" y="39"/>
                  </a:lnTo>
                  <a:lnTo>
                    <a:pt x="276" y="186"/>
                  </a:lnTo>
                  <a:lnTo>
                    <a:pt x="404" y="81"/>
                  </a:lnTo>
                  <a:lnTo>
                    <a:pt x="388" y="61"/>
                  </a:lnTo>
                  <a:lnTo>
                    <a:pt x="280" y="151"/>
                  </a:lnTo>
                  <a:lnTo>
                    <a:pt x="145" y="0"/>
                  </a:lnTo>
                  <a:lnTo>
                    <a:pt x="0" y="175"/>
                  </a:lnTo>
                  <a:lnTo>
                    <a:pt x="20" y="191"/>
                  </a:lnTo>
                  <a:lnTo>
                    <a:pt x="20" y="191"/>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321" name="Freeform 1643">
              <a:extLst>
                <a:ext uri="{FF2B5EF4-FFF2-40B4-BE49-F238E27FC236}">
                  <a16:creationId xmlns:a16="http://schemas.microsoft.com/office/drawing/2014/main" id="{7F0DF53B-6BC3-40D1-BC02-F629C4474F9A}"/>
                </a:ext>
              </a:extLst>
            </p:cNvPr>
            <p:cNvSpPr>
              <a:spLocks/>
            </p:cNvSpPr>
            <p:nvPr userDrawn="1"/>
          </p:nvSpPr>
          <p:spPr bwMode="auto">
            <a:xfrm>
              <a:off x="5241926" y="5480050"/>
              <a:ext cx="641350" cy="303213"/>
            </a:xfrm>
            <a:custGeom>
              <a:avLst/>
              <a:gdLst>
                <a:gd name="T0" fmla="*/ 20 w 404"/>
                <a:gd name="T1" fmla="*/ 191 h 191"/>
                <a:gd name="T2" fmla="*/ 146 w 404"/>
                <a:gd name="T3" fmla="*/ 39 h 191"/>
                <a:gd name="T4" fmla="*/ 276 w 404"/>
                <a:gd name="T5" fmla="*/ 186 h 191"/>
                <a:gd name="T6" fmla="*/ 404 w 404"/>
                <a:gd name="T7" fmla="*/ 81 h 191"/>
                <a:gd name="T8" fmla="*/ 388 w 404"/>
                <a:gd name="T9" fmla="*/ 61 h 191"/>
                <a:gd name="T10" fmla="*/ 280 w 404"/>
                <a:gd name="T11" fmla="*/ 151 h 191"/>
                <a:gd name="T12" fmla="*/ 145 w 404"/>
                <a:gd name="T13" fmla="*/ 0 h 191"/>
                <a:gd name="T14" fmla="*/ 0 w 404"/>
                <a:gd name="T15" fmla="*/ 175 h 191"/>
                <a:gd name="T16" fmla="*/ 20 w 404"/>
                <a:gd name="T17" fmla="*/ 191 h 191"/>
                <a:gd name="T18" fmla="*/ 20 w 404"/>
                <a:gd name="T19" fmla="*/ 191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4" h="191">
                  <a:moveTo>
                    <a:pt x="20" y="191"/>
                  </a:moveTo>
                  <a:lnTo>
                    <a:pt x="146" y="39"/>
                  </a:lnTo>
                  <a:lnTo>
                    <a:pt x="276" y="186"/>
                  </a:lnTo>
                  <a:lnTo>
                    <a:pt x="404" y="81"/>
                  </a:lnTo>
                  <a:lnTo>
                    <a:pt x="388" y="61"/>
                  </a:lnTo>
                  <a:lnTo>
                    <a:pt x="280" y="151"/>
                  </a:lnTo>
                  <a:lnTo>
                    <a:pt x="145" y="0"/>
                  </a:lnTo>
                  <a:lnTo>
                    <a:pt x="0" y="175"/>
                  </a:lnTo>
                  <a:lnTo>
                    <a:pt x="20" y="191"/>
                  </a:lnTo>
                  <a:lnTo>
                    <a:pt x="20" y="19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322" name="Oval 1644">
              <a:extLst>
                <a:ext uri="{FF2B5EF4-FFF2-40B4-BE49-F238E27FC236}">
                  <a16:creationId xmlns:a16="http://schemas.microsoft.com/office/drawing/2014/main" id="{443E5E6E-4F37-4FFC-A836-33E43959F4AE}"/>
                </a:ext>
              </a:extLst>
            </p:cNvPr>
            <p:cNvSpPr>
              <a:spLocks noChangeArrowheads="1"/>
            </p:cNvSpPr>
            <p:nvPr userDrawn="1"/>
          </p:nvSpPr>
          <p:spPr bwMode="auto">
            <a:xfrm>
              <a:off x="5756276" y="5345113"/>
              <a:ext cx="85725" cy="90488"/>
            </a:xfrm>
            <a:prstGeom prst="ellipse">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323" name="Freeform 1645">
              <a:extLst>
                <a:ext uri="{FF2B5EF4-FFF2-40B4-BE49-F238E27FC236}">
                  <a16:creationId xmlns:a16="http://schemas.microsoft.com/office/drawing/2014/main" id="{A71ED663-D11F-4FA7-8042-7EDA6B724527}"/>
                </a:ext>
              </a:extLst>
            </p:cNvPr>
            <p:cNvSpPr>
              <a:spLocks/>
            </p:cNvSpPr>
            <p:nvPr userDrawn="1"/>
          </p:nvSpPr>
          <p:spPr bwMode="auto">
            <a:xfrm>
              <a:off x="5737226" y="5326063"/>
              <a:ext cx="125413" cy="130175"/>
            </a:xfrm>
            <a:custGeom>
              <a:avLst/>
              <a:gdLst>
                <a:gd name="T0" fmla="*/ 53 w 63"/>
                <a:gd name="T1" fmla="*/ 33 h 66"/>
                <a:gd name="T2" fmla="*/ 43 w 63"/>
                <a:gd name="T3" fmla="*/ 33 h 66"/>
                <a:gd name="T4" fmla="*/ 39 w 63"/>
                <a:gd name="T5" fmla="*/ 42 h 66"/>
                <a:gd name="T6" fmla="*/ 31 w 63"/>
                <a:gd name="T7" fmla="*/ 45 h 66"/>
                <a:gd name="T8" fmla="*/ 24 w 63"/>
                <a:gd name="T9" fmla="*/ 42 h 66"/>
                <a:gd name="T10" fmla="*/ 20 w 63"/>
                <a:gd name="T11" fmla="*/ 33 h 66"/>
                <a:gd name="T12" fmla="*/ 24 w 63"/>
                <a:gd name="T13" fmla="*/ 23 h 66"/>
                <a:gd name="T14" fmla="*/ 31 w 63"/>
                <a:gd name="T15" fmla="*/ 20 h 66"/>
                <a:gd name="T16" fmla="*/ 39 w 63"/>
                <a:gd name="T17" fmla="*/ 23 h 66"/>
                <a:gd name="T18" fmla="*/ 43 w 63"/>
                <a:gd name="T19" fmla="*/ 33 h 66"/>
                <a:gd name="T20" fmla="*/ 53 w 63"/>
                <a:gd name="T21" fmla="*/ 33 h 66"/>
                <a:gd name="T22" fmla="*/ 63 w 63"/>
                <a:gd name="T23" fmla="*/ 33 h 66"/>
                <a:gd name="T24" fmla="*/ 54 w 63"/>
                <a:gd name="T25" fmla="*/ 9 h 66"/>
                <a:gd name="T26" fmla="*/ 31 w 63"/>
                <a:gd name="T27" fmla="*/ 0 h 66"/>
                <a:gd name="T28" fmla="*/ 9 w 63"/>
                <a:gd name="T29" fmla="*/ 9 h 66"/>
                <a:gd name="T30" fmla="*/ 0 w 63"/>
                <a:gd name="T31" fmla="*/ 33 h 66"/>
                <a:gd name="T32" fmla="*/ 9 w 63"/>
                <a:gd name="T33" fmla="*/ 56 h 66"/>
                <a:gd name="T34" fmla="*/ 31 w 63"/>
                <a:gd name="T35" fmla="*/ 65 h 66"/>
                <a:gd name="T36" fmla="*/ 54 w 63"/>
                <a:gd name="T37" fmla="*/ 56 h 66"/>
                <a:gd name="T38" fmla="*/ 63 w 63"/>
                <a:gd name="T39" fmla="*/ 33 h 66"/>
                <a:gd name="T40" fmla="*/ 53 w 63"/>
                <a:gd name="T41" fmla="*/ 33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3" h="66">
                  <a:moveTo>
                    <a:pt x="53" y="33"/>
                  </a:moveTo>
                  <a:cubicBezTo>
                    <a:pt x="43" y="33"/>
                    <a:pt x="43" y="33"/>
                    <a:pt x="43" y="33"/>
                  </a:cubicBezTo>
                  <a:cubicBezTo>
                    <a:pt x="43" y="36"/>
                    <a:pt x="41" y="40"/>
                    <a:pt x="39" y="42"/>
                  </a:cubicBezTo>
                  <a:cubicBezTo>
                    <a:pt x="37" y="44"/>
                    <a:pt x="34" y="45"/>
                    <a:pt x="31" y="45"/>
                  </a:cubicBezTo>
                  <a:cubicBezTo>
                    <a:pt x="29" y="45"/>
                    <a:pt x="26" y="44"/>
                    <a:pt x="24" y="42"/>
                  </a:cubicBezTo>
                  <a:cubicBezTo>
                    <a:pt x="22" y="40"/>
                    <a:pt x="20" y="36"/>
                    <a:pt x="20" y="33"/>
                  </a:cubicBezTo>
                  <a:cubicBezTo>
                    <a:pt x="20" y="29"/>
                    <a:pt x="22" y="26"/>
                    <a:pt x="24" y="23"/>
                  </a:cubicBezTo>
                  <a:cubicBezTo>
                    <a:pt x="26" y="21"/>
                    <a:pt x="29" y="20"/>
                    <a:pt x="31" y="20"/>
                  </a:cubicBezTo>
                  <a:cubicBezTo>
                    <a:pt x="34" y="20"/>
                    <a:pt x="37" y="21"/>
                    <a:pt x="39" y="23"/>
                  </a:cubicBezTo>
                  <a:cubicBezTo>
                    <a:pt x="41" y="26"/>
                    <a:pt x="43" y="29"/>
                    <a:pt x="43" y="33"/>
                  </a:cubicBezTo>
                  <a:cubicBezTo>
                    <a:pt x="53" y="33"/>
                    <a:pt x="53" y="33"/>
                    <a:pt x="53" y="33"/>
                  </a:cubicBezTo>
                  <a:cubicBezTo>
                    <a:pt x="63" y="33"/>
                    <a:pt x="63" y="33"/>
                    <a:pt x="63" y="33"/>
                  </a:cubicBezTo>
                  <a:cubicBezTo>
                    <a:pt x="63" y="24"/>
                    <a:pt x="60" y="15"/>
                    <a:pt x="54" y="9"/>
                  </a:cubicBezTo>
                  <a:cubicBezTo>
                    <a:pt x="48" y="3"/>
                    <a:pt x="40" y="0"/>
                    <a:pt x="31" y="0"/>
                  </a:cubicBezTo>
                  <a:cubicBezTo>
                    <a:pt x="23" y="0"/>
                    <a:pt x="15" y="3"/>
                    <a:pt x="9" y="9"/>
                  </a:cubicBezTo>
                  <a:cubicBezTo>
                    <a:pt x="3" y="15"/>
                    <a:pt x="0" y="24"/>
                    <a:pt x="0" y="33"/>
                  </a:cubicBezTo>
                  <a:cubicBezTo>
                    <a:pt x="0" y="41"/>
                    <a:pt x="3" y="50"/>
                    <a:pt x="9" y="56"/>
                  </a:cubicBezTo>
                  <a:cubicBezTo>
                    <a:pt x="15" y="62"/>
                    <a:pt x="23" y="66"/>
                    <a:pt x="31" y="65"/>
                  </a:cubicBezTo>
                  <a:cubicBezTo>
                    <a:pt x="40" y="66"/>
                    <a:pt x="48" y="62"/>
                    <a:pt x="54" y="56"/>
                  </a:cubicBezTo>
                  <a:cubicBezTo>
                    <a:pt x="60" y="50"/>
                    <a:pt x="63" y="41"/>
                    <a:pt x="63" y="33"/>
                  </a:cubicBezTo>
                  <a:cubicBezTo>
                    <a:pt x="53" y="33"/>
                    <a:pt x="53" y="33"/>
                    <a:pt x="53" y="3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324" name="Rectangle 1646">
              <a:extLst>
                <a:ext uri="{FF2B5EF4-FFF2-40B4-BE49-F238E27FC236}">
                  <a16:creationId xmlns:a16="http://schemas.microsoft.com/office/drawing/2014/main" id="{1EB9B5F2-D642-4642-9C28-894D7A6426F1}"/>
                </a:ext>
              </a:extLst>
            </p:cNvPr>
            <p:cNvSpPr>
              <a:spLocks noChangeArrowheads="1"/>
            </p:cNvSpPr>
            <p:nvPr userDrawn="1"/>
          </p:nvSpPr>
          <p:spPr bwMode="auto">
            <a:xfrm>
              <a:off x="5407026" y="5326063"/>
              <a:ext cx="234950" cy="39688"/>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325" name="Freeform 1647">
              <a:extLst>
                <a:ext uri="{FF2B5EF4-FFF2-40B4-BE49-F238E27FC236}">
                  <a16:creationId xmlns:a16="http://schemas.microsoft.com/office/drawing/2014/main" id="{BDCEC522-FB15-4505-ACEA-1B4CA0271B06}"/>
                </a:ext>
              </a:extLst>
            </p:cNvPr>
            <p:cNvSpPr>
              <a:spLocks/>
            </p:cNvSpPr>
            <p:nvPr userDrawn="1"/>
          </p:nvSpPr>
          <p:spPr bwMode="auto">
            <a:xfrm>
              <a:off x="5407026" y="5326063"/>
              <a:ext cx="234950" cy="39688"/>
            </a:xfrm>
            <a:custGeom>
              <a:avLst/>
              <a:gdLst>
                <a:gd name="T0" fmla="*/ 0 w 148"/>
                <a:gd name="T1" fmla="*/ 25 h 25"/>
                <a:gd name="T2" fmla="*/ 148 w 148"/>
                <a:gd name="T3" fmla="*/ 25 h 25"/>
                <a:gd name="T4" fmla="*/ 148 w 148"/>
                <a:gd name="T5" fmla="*/ 0 h 25"/>
                <a:gd name="T6" fmla="*/ 0 w 148"/>
                <a:gd name="T7" fmla="*/ 0 h 25"/>
              </a:gdLst>
              <a:ahLst/>
              <a:cxnLst>
                <a:cxn ang="0">
                  <a:pos x="T0" y="T1"/>
                </a:cxn>
                <a:cxn ang="0">
                  <a:pos x="T2" y="T3"/>
                </a:cxn>
                <a:cxn ang="0">
                  <a:pos x="T4" y="T5"/>
                </a:cxn>
                <a:cxn ang="0">
                  <a:pos x="T6" y="T7"/>
                </a:cxn>
              </a:cxnLst>
              <a:rect l="0" t="0" r="r" b="b"/>
              <a:pathLst>
                <a:path w="148" h="25">
                  <a:moveTo>
                    <a:pt x="0" y="25"/>
                  </a:moveTo>
                  <a:lnTo>
                    <a:pt x="148" y="25"/>
                  </a:lnTo>
                  <a:lnTo>
                    <a:pt x="148"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326" name="Rectangle 1648">
              <a:extLst>
                <a:ext uri="{FF2B5EF4-FFF2-40B4-BE49-F238E27FC236}">
                  <a16:creationId xmlns:a16="http://schemas.microsoft.com/office/drawing/2014/main" id="{3C76565F-31E3-4B2D-8545-2AB29B282604}"/>
                </a:ext>
              </a:extLst>
            </p:cNvPr>
            <p:cNvSpPr>
              <a:spLocks noChangeArrowheads="1"/>
            </p:cNvSpPr>
            <p:nvPr userDrawn="1"/>
          </p:nvSpPr>
          <p:spPr bwMode="auto">
            <a:xfrm>
              <a:off x="5314951" y="5397500"/>
              <a:ext cx="234950" cy="39688"/>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327" name="Freeform 1649">
              <a:extLst>
                <a:ext uri="{FF2B5EF4-FFF2-40B4-BE49-F238E27FC236}">
                  <a16:creationId xmlns:a16="http://schemas.microsoft.com/office/drawing/2014/main" id="{DDBC0D66-1935-47BC-8274-CB0F9FDAB817}"/>
                </a:ext>
              </a:extLst>
            </p:cNvPr>
            <p:cNvSpPr>
              <a:spLocks/>
            </p:cNvSpPr>
            <p:nvPr userDrawn="1"/>
          </p:nvSpPr>
          <p:spPr bwMode="auto">
            <a:xfrm>
              <a:off x="5314951" y="5397500"/>
              <a:ext cx="234950" cy="39688"/>
            </a:xfrm>
            <a:custGeom>
              <a:avLst/>
              <a:gdLst>
                <a:gd name="T0" fmla="*/ 0 w 148"/>
                <a:gd name="T1" fmla="*/ 25 h 25"/>
                <a:gd name="T2" fmla="*/ 148 w 148"/>
                <a:gd name="T3" fmla="*/ 25 h 25"/>
                <a:gd name="T4" fmla="*/ 148 w 148"/>
                <a:gd name="T5" fmla="*/ 0 h 25"/>
                <a:gd name="T6" fmla="*/ 0 w 148"/>
                <a:gd name="T7" fmla="*/ 0 h 25"/>
              </a:gdLst>
              <a:ahLst/>
              <a:cxnLst>
                <a:cxn ang="0">
                  <a:pos x="T0" y="T1"/>
                </a:cxn>
                <a:cxn ang="0">
                  <a:pos x="T2" y="T3"/>
                </a:cxn>
                <a:cxn ang="0">
                  <a:pos x="T4" y="T5"/>
                </a:cxn>
                <a:cxn ang="0">
                  <a:pos x="T6" y="T7"/>
                </a:cxn>
              </a:cxnLst>
              <a:rect l="0" t="0" r="r" b="b"/>
              <a:pathLst>
                <a:path w="148" h="25">
                  <a:moveTo>
                    <a:pt x="0" y="25"/>
                  </a:moveTo>
                  <a:lnTo>
                    <a:pt x="148" y="25"/>
                  </a:lnTo>
                  <a:lnTo>
                    <a:pt x="148"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328" name="任意多边形: 形状 1327">
              <a:extLst>
                <a:ext uri="{FF2B5EF4-FFF2-40B4-BE49-F238E27FC236}">
                  <a16:creationId xmlns:a16="http://schemas.microsoft.com/office/drawing/2014/main" id="{FEB9BE28-9C6D-4B78-8109-BECA81BE3551}"/>
                </a:ext>
              </a:extLst>
            </p:cNvPr>
            <p:cNvSpPr>
              <a:spLocks noChangeArrowheads="1"/>
            </p:cNvSpPr>
            <p:nvPr userDrawn="1"/>
          </p:nvSpPr>
          <p:spPr bwMode="auto">
            <a:xfrm>
              <a:off x="6980239" y="5192230"/>
              <a:ext cx="204788" cy="906945"/>
            </a:xfrm>
            <a:custGeom>
              <a:avLst/>
              <a:gdLst>
                <a:gd name="connsiteX0" fmla="*/ 0 w 204788"/>
                <a:gd name="connsiteY0" fmla="*/ 0 h 906945"/>
                <a:gd name="connsiteX1" fmla="*/ 204788 w 204788"/>
                <a:gd name="connsiteY1" fmla="*/ 138410 h 906945"/>
                <a:gd name="connsiteX2" fmla="*/ 204788 w 204788"/>
                <a:gd name="connsiteY2" fmla="*/ 906945 h 906945"/>
                <a:gd name="connsiteX3" fmla="*/ 0 w 204788"/>
                <a:gd name="connsiteY3" fmla="*/ 906945 h 906945"/>
              </a:gdLst>
              <a:ahLst/>
              <a:cxnLst>
                <a:cxn ang="0">
                  <a:pos x="connsiteX0" y="connsiteY0"/>
                </a:cxn>
                <a:cxn ang="0">
                  <a:pos x="connsiteX1" y="connsiteY1"/>
                </a:cxn>
                <a:cxn ang="0">
                  <a:pos x="connsiteX2" y="connsiteY2"/>
                </a:cxn>
                <a:cxn ang="0">
                  <a:pos x="connsiteX3" y="connsiteY3"/>
                </a:cxn>
              </a:cxnLst>
              <a:rect l="l" t="t" r="r" b="b"/>
              <a:pathLst>
                <a:path w="204788" h="906945">
                  <a:moveTo>
                    <a:pt x="0" y="0"/>
                  </a:moveTo>
                  <a:lnTo>
                    <a:pt x="204788" y="138410"/>
                  </a:lnTo>
                  <a:lnTo>
                    <a:pt x="204788" y="906945"/>
                  </a:lnTo>
                  <a:lnTo>
                    <a:pt x="0" y="906945"/>
                  </a:lnTo>
                  <a:close/>
                </a:path>
              </a:pathLst>
            </a:custGeom>
            <a:solidFill>
              <a:schemeClr val="accent2">
                <a:lumMod val="60000"/>
                <a:lumOff val="40000"/>
                <a:alpha val="70000"/>
              </a:schemeClr>
            </a:solidFill>
            <a:ln>
              <a:noFill/>
            </a:ln>
          </p:spPr>
          <p:txBody>
            <a:bodyPr vert="horz" wrap="square" lIns="91440" tIns="45720" rIns="91440" bIns="45720" numCol="1" anchor="t" anchorCtr="0" compatLnSpc="1">
              <a:prstTxWarp prst="textNoShape">
                <a:avLst/>
              </a:prstTxWarp>
              <a:noAutofit/>
            </a:bodyPr>
            <a:lstStyle/>
            <a:p>
              <a:endParaRPr lang="zh-CN" altLang="en-US"/>
            </a:p>
          </p:txBody>
        </p:sp>
        <p:sp>
          <p:nvSpPr>
            <p:cNvPr id="1329" name="Freeform 1652">
              <a:extLst>
                <a:ext uri="{FF2B5EF4-FFF2-40B4-BE49-F238E27FC236}">
                  <a16:creationId xmlns:a16="http://schemas.microsoft.com/office/drawing/2014/main" id="{D3BDA6D5-4408-4203-8B9C-322F3C053E4B}"/>
                </a:ext>
              </a:extLst>
            </p:cNvPr>
            <p:cNvSpPr>
              <a:spLocks/>
            </p:cNvSpPr>
            <p:nvPr userDrawn="1"/>
          </p:nvSpPr>
          <p:spPr bwMode="auto">
            <a:xfrm>
              <a:off x="7119938" y="5303838"/>
              <a:ext cx="66675" cy="566738"/>
            </a:xfrm>
            <a:custGeom>
              <a:avLst/>
              <a:gdLst>
                <a:gd name="T0" fmla="*/ 0 w 34"/>
                <a:gd name="T1" fmla="*/ 0 h 286"/>
                <a:gd name="T2" fmla="*/ 0 w 34"/>
                <a:gd name="T3" fmla="*/ 286 h 286"/>
                <a:gd name="T4" fmla="*/ 33 w 34"/>
                <a:gd name="T5" fmla="*/ 286 h 286"/>
                <a:gd name="T6" fmla="*/ 34 w 34"/>
                <a:gd name="T7" fmla="*/ 47 h 286"/>
                <a:gd name="T8" fmla="*/ 17 w 34"/>
                <a:gd name="T9" fmla="*/ 14 h 286"/>
                <a:gd name="T10" fmla="*/ 0 w 34"/>
                <a:gd name="T11" fmla="*/ 0 h 286"/>
              </a:gdLst>
              <a:ahLst/>
              <a:cxnLst>
                <a:cxn ang="0">
                  <a:pos x="T0" y="T1"/>
                </a:cxn>
                <a:cxn ang="0">
                  <a:pos x="T2" y="T3"/>
                </a:cxn>
                <a:cxn ang="0">
                  <a:pos x="T4" y="T5"/>
                </a:cxn>
                <a:cxn ang="0">
                  <a:pos x="T6" y="T7"/>
                </a:cxn>
                <a:cxn ang="0">
                  <a:pos x="T8" y="T9"/>
                </a:cxn>
                <a:cxn ang="0">
                  <a:pos x="T10" y="T11"/>
                </a:cxn>
              </a:cxnLst>
              <a:rect l="0" t="0" r="r" b="b"/>
              <a:pathLst>
                <a:path w="34" h="286">
                  <a:moveTo>
                    <a:pt x="0" y="0"/>
                  </a:moveTo>
                  <a:cubicBezTo>
                    <a:pt x="0" y="286"/>
                    <a:pt x="0" y="286"/>
                    <a:pt x="0" y="286"/>
                  </a:cubicBezTo>
                  <a:cubicBezTo>
                    <a:pt x="33" y="286"/>
                    <a:pt x="33" y="286"/>
                    <a:pt x="33" y="286"/>
                  </a:cubicBezTo>
                  <a:cubicBezTo>
                    <a:pt x="34" y="47"/>
                    <a:pt x="34" y="47"/>
                    <a:pt x="34" y="47"/>
                  </a:cubicBezTo>
                  <a:cubicBezTo>
                    <a:pt x="34" y="33"/>
                    <a:pt x="27" y="20"/>
                    <a:pt x="17" y="14"/>
                  </a:cubicBezTo>
                  <a:cubicBezTo>
                    <a:pt x="0" y="0"/>
                    <a:pt x="0" y="0"/>
                    <a:pt x="0" y="0"/>
                  </a:cubicBezTo>
                </a:path>
              </a:pathLst>
            </a:custGeom>
            <a:solidFill>
              <a:schemeClr val="accent2">
                <a:lumMod val="75000"/>
                <a:alpha val="3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330" name="Freeform 1654">
              <a:extLst>
                <a:ext uri="{FF2B5EF4-FFF2-40B4-BE49-F238E27FC236}">
                  <a16:creationId xmlns:a16="http://schemas.microsoft.com/office/drawing/2014/main" id="{DECD5218-6402-416B-8805-09C32B67BAA1}"/>
                </a:ext>
              </a:extLst>
            </p:cNvPr>
            <p:cNvSpPr>
              <a:spLocks noEditPoints="1"/>
            </p:cNvSpPr>
            <p:nvPr userDrawn="1"/>
          </p:nvSpPr>
          <p:spPr bwMode="auto">
            <a:xfrm>
              <a:off x="5848351" y="5211763"/>
              <a:ext cx="258763" cy="885825"/>
            </a:xfrm>
            <a:custGeom>
              <a:avLst/>
              <a:gdLst>
                <a:gd name="T0" fmla="*/ 131 w 131"/>
                <a:gd name="T1" fmla="*/ 360 h 448"/>
                <a:gd name="T2" fmla="*/ 0 w 131"/>
                <a:gd name="T3" fmla="*/ 360 h 448"/>
                <a:gd name="T4" fmla="*/ 0 w 131"/>
                <a:gd name="T5" fmla="*/ 427 h 448"/>
                <a:gd name="T6" fmla="*/ 6 w 131"/>
                <a:gd name="T7" fmla="*/ 448 h 448"/>
                <a:gd name="T8" fmla="*/ 98 w 131"/>
                <a:gd name="T9" fmla="*/ 448 h 448"/>
                <a:gd name="T10" fmla="*/ 114 w 131"/>
                <a:gd name="T11" fmla="*/ 441 h 448"/>
                <a:gd name="T12" fmla="*/ 121 w 131"/>
                <a:gd name="T13" fmla="*/ 423 h 448"/>
                <a:gd name="T14" fmla="*/ 131 w 131"/>
                <a:gd name="T15" fmla="*/ 423 h 448"/>
                <a:gd name="T16" fmla="*/ 131 w 131"/>
                <a:gd name="T17" fmla="*/ 360 h 448"/>
                <a:gd name="T18" fmla="*/ 101 w 131"/>
                <a:gd name="T19" fmla="*/ 0 h 448"/>
                <a:gd name="T20" fmla="*/ 89 w 131"/>
                <a:gd name="T21" fmla="*/ 0 h 448"/>
                <a:gd name="T22" fmla="*/ 89 w 131"/>
                <a:gd name="T23" fmla="*/ 27 h 448"/>
                <a:gd name="T24" fmla="*/ 78 w 131"/>
                <a:gd name="T25" fmla="*/ 34 h 448"/>
                <a:gd name="T26" fmla="*/ 72 w 131"/>
                <a:gd name="T27" fmla="*/ 23 h 448"/>
                <a:gd name="T28" fmla="*/ 18 w 131"/>
                <a:gd name="T29" fmla="*/ 61 h 448"/>
                <a:gd name="T30" fmla="*/ 4 w 131"/>
                <a:gd name="T31" fmla="*/ 77 h 448"/>
                <a:gd name="T32" fmla="*/ 7 w 131"/>
                <a:gd name="T33" fmla="*/ 91 h 448"/>
                <a:gd name="T34" fmla="*/ 7 w 131"/>
                <a:gd name="T35" fmla="*/ 91 h 448"/>
                <a:gd name="T36" fmla="*/ 7 w 131"/>
                <a:gd name="T37" fmla="*/ 91 h 448"/>
                <a:gd name="T38" fmla="*/ 1 w 131"/>
                <a:gd name="T39" fmla="*/ 110 h 448"/>
                <a:gd name="T40" fmla="*/ 0 w 131"/>
                <a:gd name="T41" fmla="*/ 189 h 448"/>
                <a:gd name="T42" fmla="*/ 5 w 131"/>
                <a:gd name="T43" fmla="*/ 185 h 448"/>
                <a:gd name="T44" fmla="*/ 11 w 131"/>
                <a:gd name="T45" fmla="*/ 193 h 448"/>
                <a:gd name="T46" fmla="*/ 131 w 131"/>
                <a:gd name="T47" fmla="*/ 310 h 448"/>
                <a:gd name="T48" fmla="*/ 131 w 131"/>
                <a:gd name="T49" fmla="*/ 32 h 448"/>
                <a:gd name="T50" fmla="*/ 101 w 131"/>
                <a:gd name="T51" fmla="*/ 0 h 4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31" h="448">
                  <a:moveTo>
                    <a:pt x="131" y="360"/>
                  </a:moveTo>
                  <a:cubicBezTo>
                    <a:pt x="0" y="360"/>
                    <a:pt x="0" y="360"/>
                    <a:pt x="0" y="360"/>
                  </a:cubicBezTo>
                  <a:cubicBezTo>
                    <a:pt x="0" y="427"/>
                    <a:pt x="0" y="427"/>
                    <a:pt x="0" y="427"/>
                  </a:cubicBezTo>
                  <a:cubicBezTo>
                    <a:pt x="0" y="435"/>
                    <a:pt x="2" y="442"/>
                    <a:pt x="6" y="448"/>
                  </a:cubicBezTo>
                  <a:cubicBezTo>
                    <a:pt x="98" y="448"/>
                    <a:pt x="98" y="448"/>
                    <a:pt x="98" y="448"/>
                  </a:cubicBezTo>
                  <a:cubicBezTo>
                    <a:pt x="104" y="448"/>
                    <a:pt x="110" y="446"/>
                    <a:pt x="114" y="441"/>
                  </a:cubicBezTo>
                  <a:cubicBezTo>
                    <a:pt x="118" y="437"/>
                    <a:pt x="121" y="430"/>
                    <a:pt x="121" y="423"/>
                  </a:cubicBezTo>
                  <a:cubicBezTo>
                    <a:pt x="131" y="423"/>
                    <a:pt x="131" y="423"/>
                    <a:pt x="131" y="423"/>
                  </a:cubicBezTo>
                  <a:cubicBezTo>
                    <a:pt x="131" y="360"/>
                    <a:pt x="131" y="360"/>
                    <a:pt x="131" y="360"/>
                  </a:cubicBezTo>
                  <a:moveTo>
                    <a:pt x="101" y="0"/>
                  </a:moveTo>
                  <a:cubicBezTo>
                    <a:pt x="89" y="0"/>
                    <a:pt x="89" y="0"/>
                    <a:pt x="89" y="0"/>
                  </a:cubicBezTo>
                  <a:cubicBezTo>
                    <a:pt x="89" y="27"/>
                    <a:pt x="89" y="27"/>
                    <a:pt x="89" y="27"/>
                  </a:cubicBezTo>
                  <a:cubicBezTo>
                    <a:pt x="78" y="34"/>
                    <a:pt x="78" y="34"/>
                    <a:pt x="78" y="34"/>
                  </a:cubicBezTo>
                  <a:cubicBezTo>
                    <a:pt x="72" y="23"/>
                    <a:pt x="72" y="23"/>
                    <a:pt x="72" y="23"/>
                  </a:cubicBezTo>
                  <a:cubicBezTo>
                    <a:pt x="18" y="61"/>
                    <a:pt x="18" y="61"/>
                    <a:pt x="18" y="61"/>
                  </a:cubicBezTo>
                  <a:cubicBezTo>
                    <a:pt x="12" y="64"/>
                    <a:pt x="7" y="70"/>
                    <a:pt x="4" y="77"/>
                  </a:cubicBezTo>
                  <a:cubicBezTo>
                    <a:pt x="6" y="81"/>
                    <a:pt x="7" y="86"/>
                    <a:pt x="7" y="91"/>
                  </a:cubicBezTo>
                  <a:cubicBezTo>
                    <a:pt x="7" y="91"/>
                    <a:pt x="7" y="91"/>
                    <a:pt x="7" y="91"/>
                  </a:cubicBezTo>
                  <a:cubicBezTo>
                    <a:pt x="7" y="91"/>
                    <a:pt x="7" y="91"/>
                    <a:pt x="7" y="91"/>
                  </a:cubicBezTo>
                  <a:cubicBezTo>
                    <a:pt x="7" y="98"/>
                    <a:pt x="5" y="105"/>
                    <a:pt x="1" y="110"/>
                  </a:cubicBezTo>
                  <a:cubicBezTo>
                    <a:pt x="0" y="189"/>
                    <a:pt x="0" y="189"/>
                    <a:pt x="0" y="189"/>
                  </a:cubicBezTo>
                  <a:cubicBezTo>
                    <a:pt x="5" y="185"/>
                    <a:pt x="5" y="185"/>
                    <a:pt x="5" y="185"/>
                  </a:cubicBezTo>
                  <a:cubicBezTo>
                    <a:pt x="11" y="193"/>
                    <a:pt x="11" y="193"/>
                    <a:pt x="11" y="193"/>
                  </a:cubicBezTo>
                  <a:cubicBezTo>
                    <a:pt x="131" y="310"/>
                    <a:pt x="131" y="310"/>
                    <a:pt x="131" y="310"/>
                  </a:cubicBezTo>
                  <a:cubicBezTo>
                    <a:pt x="131" y="32"/>
                    <a:pt x="131" y="32"/>
                    <a:pt x="131" y="32"/>
                  </a:cubicBezTo>
                  <a:cubicBezTo>
                    <a:pt x="131" y="14"/>
                    <a:pt x="118" y="0"/>
                    <a:pt x="101" y="0"/>
                  </a:cubicBezTo>
                </a:path>
              </a:pathLst>
            </a:custGeom>
            <a:solidFill>
              <a:schemeClr val="accent2">
                <a:lumMod val="60000"/>
                <a:lumOff val="40000"/>
                <a:alpha val="70000"/>
              </a:schemeClr>
            </a:solidFill>
            <a:ln>
              <a:noFill/>
            </a:ln>
          </p:spPr>
          <p:txBody>
            <a:bodyPr vert="horz" wrap="square" lIns="91440" tIns="45720" rIns="91440" bIns="45720" numCol="1" anchor="t" anchorCtr="0" compatLnSpc="1">
              <a:prstTxWarp prst="textNoShape">
                <a:avLst/>
              </a:prstTxWarp>
            </a:bodyPr>
            <a:lstStyle/>
            <a:p>
              <a:endParaRPr lang="zh-CN" altLang="en-US" dirty="0"/>
            </a:p>
          </p:txBody>
        </p:sp>
        <p:sp>
          <p:nvSpPr>
            <p:cNvPr id="1331" name="Freeform 1655">
              <a:extLst>
                <a:ext uri="{FF2B5EF4-FFF2-40B4-BE49-F238E27FC236}">
                  <a16:creationId xmlns:a16="http://schemas.microsoft.com/office/drawing/2014/main" id="{4B54609C-35AF-453A-B08D-374A49C41AA4}"/>
                </a:ext>
              </a:extLst>
            </p:cNvPr>
            <p:cNvSpPr>
              <a:spLocks/>
            </p:cNvSpPr>
            <p:nvPr userDrawn="1"/>
          </p:nvSpPr>
          <p:spPr bwMode="auto">
            <a:xfrm>
              <a:off x="5848351" y="5592763"/>
              <a:ext cx="258763" cy="290513"/>
            </a:xfrm>
            <a:custGeom>
              <a:avLst/>
              <a:gdLst>
                <a:gd name="T0" fmla="*/ 14 w 163"/>
                <a:gd name="T1" fmla="*/ 0 h 183"/>
                <a:gd name="T2" fmla="*/ 22 w 163"/>
                <a:gd name="T3" fmla="*/ 10 h 183"/>
                <a:gd name="T4" fmla="*/ 0 w 163"/>
                <a:gd name="T5" fmla="*/ 28 h 183"/>
                <a:gd name="T6" fmla="*/ 0 w 163"/>
                <a:gd name="T7" fmla="*/ 183 h 183"/>
                <a:gd name="T8" fmla="*/ 163 w 163"/>
                <a:gd name="T9" fmla="*/ 183 h 183"/>
                <a:gd name="T10" fmla="*/ 163 w 163"/>
                <a:gd name="T11" fmla="*/ 146 h 183"/>
                <a:gd name="T12" fmla="*/ 14 w 163"/>
                <a:gd name="T13" fmla="*/ 0 h 183"/>
              </a:gdLst>
              <a:ahLst/>
              <a:cxnLst>
                <a:cxn ang="0">
                  <a:pos x="T0" y="T1"/>
                </a:cxn>
                <a:cxn ang="0">
                  <a:pos x="T2" y="T3"/>
                </a:cxn>
                <a:cxn ang="0">
                  <a:pos x="T4" y="T5"/>
                </a:cxn>
                <a:cxn ang="0">
                  <a:pos x="T6" y="T7"/>
                </a:cxn>
                <a:cxn ang="0">
                  <a:pos x="T8" y="T9"/>
                </a:cxn>
                <a:cxn ang="0">
                  <a:pos x="T10" y="T11"/>
                </a:cxn>
                <a:cxn ang="0">
                  <a:pos x="T12" y="T13"/>
                </a:cxn>
              </a:cxnLst>
              <a:rect l="0" t="0" r="r" b="b"/>
              <a:pathLst>
                <a:path w="163" h="183">
                  <a:moveTo>
                    <a:pt x="14" y="0"/>
                  </a:moveTo>
                  <a:lnTo>
                    <a:pt x="22" y="10"/>
                  </a:lnTo>
                  <a:lnTo>
                    <a:pt x="0" y="28"/>
                  </a:lnTo>
                  <a:lnTo>
                    <a:pt x="0" y="183"/>
                  </a:lnTo>
                  <a:lnTo>
                    <a:pt x="163" y="183"/>
                  </a:lnTo>
                  <a:lnTo>
                    <a:pt x="163" y="146"/>
                  </a:lnTo>
                  <a:lnTo>
                    <a:pt x="14" y="0"/>
                  </a:lnTo>
                  <a:close/>
                </a:path>
              </a:pathLst>
            </a:custGeom>
            <a:solidFill>
              <a:schemeClr val="accent2">
                <a:lumMod val="75000"/>
                <a:alpha val="3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332" name="Freeform 1656">
              <a:extLst>
                <a:ext uri="{FF2B5EF4-FFF2-40B4-BE49-F238E27FC236}">
                  <a16:creationId xmlns:a16="http://schemas.microsoft.com/office/drawing/2014/main" id="{4D27D3A6-97CA-4B3A-835E-7DEF73248404}"/>
                </a:ext>
              </a:extLst>
            </p:cNvPr>
            <p:cNvSpPr>
              <a:spLocks/>
            </p:cNvSpPr>
            <p:nvPr userDrawn="1"/>
          </p:nvSpPr>
          <p:spPr bwMode="auto">
            <a:xfrm>
              <a:off x="5848351" y="5592763"/>
              <a:ext cx="258763" cy="290513"/>
            </a:xfrm>
            <a:custGeom>
              <a:avLst/>
              <a:gdLst>
                <a:gd name="T0" fmla="*/ 14 w 163"/>
                <a:gd name="T1" fmla="*/ 0 h 183"/>
                <a:gd name="T2" fmla="*/ 22 w 163"/>
                <a:gd name="T3" fmla="*/ 10 h 183"/>
                <a:gd name="T4" fmla="*/ 0 w 163"/>
                <a:gd name="T5" fmla="*/ 28 h 183"/>
                <a:gd name="T6" fmla="*/ 0 w 163"/>
                <a:gd name="T7" fmla="*/ 183 h 183"/>
                <a:gd name="T8" fmla="*/ 163 w 163"/>
                <a:gd name="T9" fmla="*/ 183 h 183"/>
                <a:gd name="T10" fmla="*/ 163 w 163"/>
                <a:gd name="T11" fmla="*/ 146 h 183"/>
                <a:gd name="T12" fmla="*/ 14 w 163"/>
                <a:gd name="T13" fmla="*/ 0 h 183"/>
              </a:gdLst>
              <a:ahLst/>
              <a:cxnLst>
                <a:cxn ang="0">
                  <a:pos x="T0" y="T1"/>
                </a:cxn>
                <a:cxn ang="0">
                  <a:pos x="T2" y="T3"/>
                </a:cxn>
                <a:cxn ang="0">
                  <a:pos x="T4" y="T5"/>
                </a:cxn>
                <a:cxn ang="0">
                  <a:pos x="T6" y="T7"/>
                </a:cxn>
                <a:cxn ang="0">
                  <a:pos x="T8" y="T9"/>
                </a:cxn>
                <a:cxn ang="0">
                  <a:pos x="T10" y="T11"/>
                </a:cxn>
                <a:cxn ang="0">
                  <a:pos x="T12" y="T13"/>
                </a:cxn>
              </a:cxnLst>
              <a:rect l="0" t="0" r="r" b="b"/>
              <a:pathLst>
                <a:path w="163" h="183">
                  <a:moveTo>
                    <a:pt x="14" y="0"/>
                  </a:moveTo>
                  <a:lnTo>
                    <a:pt x="22" y="10"/>
                  </a:lnTo>
                  <a:lnTo>
                    <a:pt x="0" y="28"/>
                  </a:lnTo>
                  <a:lnTo>
                    <a:pt x="0" y="183"/>
                  </a:lnTo>
                  <a:lnTo>
                    <a:pt x="163" y="183"/>
                  </a:lnTo>
                  <a:lnTo>
                    <a:pt x="163" y="14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333" name="Freeform 1658">
              <a:extLst>
                <a:ext uri="{FF2B5EF4-FFF2-40B4-BE49-F238E27FC236}">
                  <a16:creationId xmlns:a16="http://schemas.microsoft.com/office/drawing/2014/main" id="{F1F43EB4-1E52-4470-94CF-C084F9D7E6F6}"/>
                </a:ext>
              </a:extLst>
            </p:cNvPr>
            <p:cNvSpPr>
              <a:spLocks/>
            </p:cNvSpPr>
            <p:nvPr userDrawn="1"/>
          </p:nvSpPr>
          <p:spPr bwMode="auto">
            <a:xfrm>
              <a:off x="5848351" y="5883275"/>
              <a:ext cx="258763" cy="39688"/>
            </a:xfrm>
            <a:custGeom>
              <a:avLst/>
              <a:gdLst>
                <a:gd name="T0" fmla="*/ 163 w 163"/>
                <a:gd name="T1" fmla="*/ 0 h 25"/>
                <a:gd name="T2" fmla="*/ 163 w 163"/>
                <a:gd name="T3" fmla="*/ 0 h 25"/>
                <a:gd name="T4" fmla="*/ 0 w 163"/>
                <a:gd name="T5" fmla="*/ 0 h 25"/>
                <a:gd name="T6" fmla="*/ 0 w 163"/>
                <a:gd name="T7" fmla="*/ 25 h 25"/>
                <a:gd name="T8" fmla="*/ 163 w 163"/>
                <a:gd name="T9" fmla="*/ 25 h 25"/>
                <a:gd name="T10" fmla="*/ 163 w 163"/>
                <a:gd name="T11" fmla="*/ 0 h 25"/>
              </a:gdLst>
              <a:ahLst/>
              <a:cxnLst>
                <a:cxn ang="0">
                  <a:pos x="T0" y="T1"/>
                </a:cxn>
                <a:cxn ang="0">
                  <a:pos x="T2" y="T3"/>
                </a:cxn>
                <a:cxn ang="0">
                  <a:pos x="T4" y="T5"/>
                </a:cxn>
                <a:cxn ang="0">
                  <a:pos x="T6" y="T7"/>
                </a:cxn>
                <a:cxn ang="0">
                  <a:pos x="T8" y="T9"/>
                </a:cxn>
                <a:cxn ang="0">
                  <a:pos x="T10" y="T11"/>
                </a:cxn>
              </a:cxnLst>
              <a:rect l="0" t="0" r="r" b="b"/>
              <a:pathLst>
                <a:path w="163" h="25">
                  <a:moveTo>
                    <a:pt x="163" y="0"/>
                  </a:moveTo>
                  <a:lnTo>
                    <a:pt x="163" y="0"/>
                  </a:lnTo>
                  <a:lnTo>
                    <a:pt x="0" y="0"/>
                  </a:lnTo>
                  <a:lnTo>
                    <a:pt x="0" y="25"/>
                  </a:lnTo>
                  <a:lnTo>
                    <a:pt x="163" y="25"/>
                  </a:lnTo>
                  <a:lnTo>
                    <a:pt x="163" y="0"/>
                  </a:lnTo>
                  <a:close/>
                </a:path>
              </a:pathLst>
            </a:custGeom>
            <a:solidFill>
              <a:schemeClr val="accent2">
                <a:lumMod val="75000"/>
                <a:alpha val="3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334" name="Freeform 1659">
              <a:extLst>
                <a:ext uri="{FF2B5EF4-FFF2-40B4-BE49-F238E27FC236}">
                  <a16:creationId xmlns:a16="http://schemas.microsoft.com/office/drawing/2014/main" id="{DF07277E-66AF-4779-8E91-7544B83B8E12}"/>
                </a:ext>
              </a:extLst>
            </p:cNvPr>
            <p:cNvSpPr>
              <a:spLocks/>
            </p:cNvSpPr>
            <p:nvPr userDrawn="1"/>
          </p:nvSpPr>
          <p:spPr bwMode="auto">
            <a:xfrm>
              <a:off x="5848351" y="5883275"/>
              <a:ext cx="258763" cy="39688"/>
            </a:xfrm>
            <a:custGeom>
              <a:avLst/>
              <a:gdLst>
                <a:gd name="T0" fmla="*/ 163 w 163"/>
                <a:gd name="T1" fmla="*/ 0 h 25"/>
                <a:gd name="T2" fmla="*/ 163 w 163"/>
                <a:gd name="T3" fmla="*/ 0 h 25"/>
                <a:gd name="T4" fmla="*/ 0 w 163"/>
                <a:gd name="T5" fmla="*/ 0 h 25"/>
                <a:gd name="T6" fmla="*/ 0 w 163"/>
                <a:gd name="T7" fmla="*/ 25 h 25"/>
                <a:gd name="T8" fmla="*/ 163 w 163"/>
                <a:gd name="T9" fmla="*/ 25 h 25"/>
                <a:gd name="T10" fmla="*/ 163 w 163"/>
                <a:gd name="T11" fmla="*/ 0 h 25"/>
              </a:gdLst>
              <a:ahLst/>
              <a:cxnLst>
                <a:cxn ang="0">
                  <a:pos x="T0" y="T1"/>
                </a:cxn>
                <a:cxn ang="0">
                  <a:pos x="T2" y="T3"/>
                </a:cxn>
                <a:cxn ang="0">
                  <a:pos x="T4" y="T5"/>
                </a:cxn>
                <a:cxn ang="0">
                  <a:pos x="T6" y="T7"/>
                </a:cxn>
                <a:cxn ang="0">
                  <a:pos x="T8" y="T9"/>
                </a:cxn>
                <a:cxn ang="0">
                  <a:pos x="T10" y="T11"/>
                </a:cxn>
              </a:cxnLst>
              <a:rect l="0" t="0" r="r" b="b"/>
              <a:pathLst>
                <a:path w="163" h="25">
                  <a:moveTo>
                    <a:pt x="163" y="0"/>
                  </a:moveTo>
                  <a:lnTo>
                    <a:pt x="163" y="0"/>
                  </a:lnTo>
                  <a:lnTo>
                    <a:pt x="0" y="0"/>
                  </a:lnTo>
                  <a:lnTo>
                    <a:pt x="0" y="25"/>
                  </a:lnTo>
                  <a:lnTo>
                    <a:pt x="163" y="25"/>
                  </a:lnTo>
                  <a:lnTo>
                    <a:pt x="16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335" name="Freeform 1660">
              <a:extLst>
                <a:ext uri="{FF2B5EF4-FFF2-40B4-BE49-F238E27FC236}">
                  <a16:creationId xmlns:a16="http://schemas.microsoft.com/office/drawing/2014/main" id="{B51E2529-D876-4A21-867F-372D6267CEBC}"/>
                </a:ext>
              </a:extLst>
            </p:cNvPr>
            <p:cNvSpPr>
              <a:spLocks/>
            </p:cNvSpPr>
            <p:nvPr userDrawn="1"/>
          </p:nvSpPr>
          <p:spPr bwMode="auto">
            <a:xfrm>
              <a:off x="5848351" y="5576888"/>
              <a:ext cx="34925" cy="60325"/>
            </a:xfrm>
            <a:custGeom>
              <a:avLst/>
              <a:gdLst>
                <a:gd name="T0" fmla="*/ 6 w 22"/>
                <a:gd name="T1" fmla="*/ 0 h 38"/>
                <a:gd name="T2" fmla="*/ 0 w 22"/>
                <a:gd name="T3" fmla="*/ 5 h 38"/>
                <a:gd name="T4" fmla="*/ 0 w 22"/>
                <a:gd name="T5" fmla="*/ 38 h 38"/>
                <a:gd name="T6" fmla="*/ 22 w 22"/>
                <a:gd name="T7" fmla="*/ 20 h 38"/>
                <a:gd name="T8" fmla="*/ 14 w 22"/>
                <a:gd name="T9" fmla="*/ 10 h 38"/>
                <a:gd name="T10" fmla="*/ 6 w 22"/>
                <a:gd name="T11" fmla="*/ 0 h 38"/>
              </a:gdLst>
              <a:ahLst/>
              <a:cxnLst>
                <a:cxn ang="0">
                  <a:pos x="T0" y="T1"/>
                </a:cxn>
                <a:cxn ang="0">
                  <a:pos x="T2" y="T3"/>
                </a:cxn>
                <a:cxn ang="0">
                  <a:pos x="T4" y="T5"/>
                </a:cxn>
                <a:cxn ang="0">
                  <a:pos x="T6" y="T7"/>
                </a:cxn>
                <a:cxn ang="0">
                  <a:pos x="T8" y="T9"/>
                </a:cxn>
                <a:cxn ang="0">
                  <a:pos x="T10" y="T11"/>
                </a:cxn>
              </a:cxnLst>
              <a:rect l="0" t="0" r="r" b="b"/>
              <a:pathLst>
                <a:path w="22" h="38">
                  <a:moveTo>
                    <a:pt x="6" y="0"/>
                  </a:moveTo>
                  <a:lnTo>
                    <a:pt x="0" y="5"/>
                  </a:lnTo>
                  <a:lnTo>
                    <a:pt x="0" y="38"/>
                  </a:lnTo>
                  <a:lnTo>
                    <a:pt x="22" y="20"/>
                  </a:lnTo>
                  <a:lnTo>
                    <a:pt x="14" y="10"/>
                  </a:lnTo>
                  <a:lnTo>
                    <a:pt x="6" y="0"/>
                  </a:lnTo>
                  <a:close/>
                </a:path>
              </a:pathLst>
            </a:custGeom>
            <a:solidFill>
              <a:schemeClr val="accent2">
                <a:lumMod val="75000"/>
                <a:alpha val="5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336" name="Freeform 1661">
              <a:extLst>
                <a:ext uri="{FF2B5EF4-FFF2-40B4-BE49-F238E27FC236}">
                  <a16:creationId xmlns:a16="http://schemas.microsoft.com/office/drawing/2014/main" id="{F9A6EB34-40FE-48C9-9D09-D4E156AA0B54}"/>
                </a:ext>
              </a:extLst>
            </p:cNvPr>
            <p:cNvSpPr>
              <a:spLocks/>
            </p:cNvSpPr>
            <p:nvPr userDrawn="1"/>
          </p:nvSpPr>
          <p:spPr bwMode="auto">
            <a:xfrm>
              <a:off x="5848351" y="5576888"/>
              <a:ext cx="34925" cy="60325"/>
            </a:xfrm>
            <a:custGeom>
              <a:avLst/>
              <a:gdLst>
                <a:gd name="T0" fmla="*/ 6 w 22"/>
                <a:gd name="T1" fmla="*/ 0 h 38"/>
                <a:gd name="T2" fmla="*/ 0 w 22"/>
                <a:gd name="T3" fmla="*/ 5 h 38"/>
                <a:gd name="T4" fmla="*/ 0 w 22"/>
                <a:gd name="T5" fmla="*/ 38 h 38"/>
                <a:gd name="T6" fmla="*/ 22 w 22"/>
                <a:gd name="T7" fmla="*/ 20 h 38"/>
                <a:gd name="T8" fmla="*/ 14 w 22"/>
                <a:gd name="T9" fmla="*/ 10 h 38"/>
                <a:gd name="T10" fmla="*/ 6 w 22"/>
                <a:gd name="T11" fmla="*/ 0 h 38"/>
              </a:gdLst>
              <a:ahLst/>
              <a:cxnLst>
                <a:cxn ang="0">
                  <a:pos x="T0" y="T1"/>
                </a:cxn>
                <a:cxn ang="0">
                  <a:pos x="T2" y="T3"/>
                </a:cxn>
                <a:cxn ang="0">
                  <a:pos x="T4" y="T5"/>
                </a:cxn>
                <a:cxn ang="0">
                  <a:pos x="T6" y="T7"/>
                </a:cxn>
                <a:cxn ang="0">
                  <a:pos x="T8" y="T9"/>
                </a:cxn>
                <a:cxn ang="0">
                  <a:pos x="T10" y="T11"/>
                </a:cxn>
              </a:cxnLst>
              <a:rect l="0" t="0" r="r" b="b"/>
              <a:pathLst>
                <a:path w="22" h="38">
                  <a:moveTo>
                    <a:pt x="6" y="0"/>
                  </a:moveTo>
                  <a:lnTo>
                    <a:pt x="0" y="5"/>
                  </a:lnTo>
                  <a:lnTo>
                    <a:pt x="0" y="38"/>
                  </a:lnTo>
                  <a:lnTo>
                    <a:pt x="22" y="20"/>
                  </a:lnTo>
                  <a:lnTo>
                    <a:pt x="14" y="1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337" name="Freeform 1662">
              <a:extLst>
                <a:ext uri="{FF2B5EF4-FFF2-40B4-BE49-F238E27FC236}">
                  <a16:creationId xmlns:a16="http://schemas.microsoft.com/office/drawing/2014/main" id="{C4B500F0-F05C-4C25-B90C-9506D2E54A0D}"/>
                </a:ext>
              </a:extLst>
            </p:cNvPr>
            <p:cNvSpPr>
              <a:spLocks noEditPoints="1"/>
            </p:cNvSpPr>
            <p:nvPr userDrawn="1"/>
          </p:nvSpPr>
          <p:spPr bwMode="auto">
            <a:xfrm>
              <a:off x="5849938" y="5364163"/>
              <a:ext cx="12700" cy="65088"/>
            </a:xfrm>
            <a:custGeom>
              <a:avLst/>
              <a:gdLst>
                <a:gd name="T0" fmla="*/ 6 w 6"/>
                <a:gd name="T1" fmla="*/ 14 h 33"/>
                <a:gd name="T2" fmla="*/ 0 w 6"/>
                <a:gd name="T3" fmla="*/ 14 h 33"/>
                <a:gd name="T4" fmla="*/ 0 w 6"/>
                <a:gd name="T5" fmla="*/ 16 h 33"/>
                <a:gd name="T6" fmla="*/ 0 w 6"/>
                <a:gd name="T7" fmla="*/ 33 h 33"/>
                <a:gd name="T8" fmla="*/ 6 w 6"/>
                <a:gd name="T9" fmla="*/ 14 h 33"/>
                <a:gd name="T10" fmla="*/ 6 w 6"/>
                <a:gd name="T11" fmla="*/ 14 h 33"/>
                <a:gd name="T12" fmla="*/ 6 w 6"/>
                <a:gd name="T13" fmla="*/ 14 h 33"/>
                <a:gd name="T14" fmla="*/ 6 w 6"/>
                <a:gd name="T15" fmla="*/ 14 h 33"/>
                <a:gd name="T16" fmla="*/ 3 w 6"/>
                <a:gd name="T17" fmla="*/ 0 h 33"/>
                <a:gd name="T18" fmla="*/ 0 w 6"/>
                <a:gd name="T19" fmla="*/ 14 h 33"/>
                <a:gd name="T20" fmla="*/ 6 w 6"/>
                <a:gd name="T21" fmla="*/ 14 h 33"/>
                <a:gd name="T22" fmla="*/ 6 w 6"/>
                <a:gd name="T23" fmla="*/ 14 h 33"/>
                <a:gd name="T24" fmla="*/ 3 w 6"/>
                <a:gd name="T25"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33">
                  <a:moveTo>
                    <a:pt x="6" y="14"/>
                  </a:moveTo>
                  <a:cubicBezTo>
                    <a:pt x="0" y="14"/>
                    <a:pt x="0" y="14"/>
                    <a:pt x="0" y="14"/>
                  </a:cubicBezTo>
                  <a:cubicBezTo>
                    <a:pt x="0" y="14"/>
                    <a:pt x="0" y="15"/>
                    <a:pt x="0" y="16"/>
                  </a:cubicBezTo>
                  <a:cubicBezTo>
                    <a:pt x="0" y="33"/>
                    <a:pt x="0" y="33"/>
                    <a:pt x="0" y="33"/>
                  </a:cubicBezTo>
                  <a:cubicBezTo>
                    <a:pt x="4" y="28"/>
                    <a:pt x="6" y="21"/>
                    <a:pt x="6" y="14"/>
                  </a:cubicBezTo>
                  <a:moveTo>
                    <a:pt x="6" y="14"/>
                  </a:moveTo>
                  <a:cubicBezTo>
                    <a:pt x="6" y="14"/>
                    <a:pt x="6" y="14"/>
                    <a:pt x="6" y="14"/>
                  </a:cubicBezTo>
                  <a:cubicBezTo>
                    <a:pt x="6" y="14"/>
                    <a:pt x="6" y="14"/>
                    <a:pt x="6" y="14"/>
                  </a:cubicBezTo>
                  <a:moveTo>
                    <a:pt x="3" y="0"/>
                  </a:moveTo>
                  <a:cubicBezTo>
                    <a:pt x="1" y="4"/>
                    <a:pt x="0" y="9"/>
                    <a:pt x="0" y="14"/>
                  </a:cubicBezTo>
                  <a:cubicBezTo>
                    <a:pt x="6" y="14"/>
                    <a:pt x="6" y="14"/>
                    <a:pt x="6" y="14"/>
                  </a:cubicBezTo>
                  <a:cubicBezTo>
                    <a:pt x="6" y="14"/>
                    <a:pt x="6" y="14"/>
                    <a:pt x="6" y="14"/>
                  </a:cubicBezTo>
                  <a:cubicBezTo>
                    <a:pt x="6" y="9"/>
                    <a:pt x="5" y="4"/>
                    <a:pt x="3" y="0"/>
                  </a:cubicBezTo>
                </a:path>
              </a:pathLst>
            </a:custGeom>
            <a:solidFill>
              <a:schemeClr val="accent2">
                <a:lumMod val="75000"/>
                <a:alpha val="3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338" name="Freeform 1663">
              <a:extLst>
                <a:ext uri="{FF2B5EF4-FFF2-40B4-BE49-F238E27FC236}">
                  <a16:creationId xmlns:a16="http://schemas.microsoft.com/office/drawing/2014/main" id="{3D847C5C-53BA-4886-8ED6-AA56038AEE54}"/>
                </a:ext>
              </a:extLst>
            </p:cNvPr>
            <p:cNvSpPr>
              <a:spLocks/>
            </p:cNvSpPr>
            <p:nvPr userDrawn="1"/>
          </p:nvSpPr>
          <p:spPr bwMode="auto">
            <a:xfrm>
              <a:off x="5915026" y="5364163"/>
              <a:ext cx="1209675" cy="377825"/>
            </a:xfrm>
            <a:custGeom>
              <a:avLst/>
              <a:gdLst>
                <a:gd name="T0" fmla="*/ 762 w 762"/>
                <a:gd name="T1" fmla="*/ 3 h 238"/>
                <a:gd name="T2" fmla="*/ 762 w 762"/>
                <a:gd name="T3" fmla="*/ 0 h 238"/>
                <a:gd name="T4" fmla="*/ 0 w 762"/>
                <a:gd name="T5" fmla="*/ 0 h 238"/>
                <a:gd name="T6" fmla="*/ 379 w 762"/>
                <a:gd name="T7" fmla="*/ 238 h 238"/>
                <a:gd name="T8" fmla="*/ 762 w 762"/>
                <a:gd name="T9" fmla="*/ 3 h 238"/>
              </a:gdLst>
              <a:ahLst/>
              <a:cxnLst>
                <a:cxn ang="0">
                  <a:pos x="T0" y="T1"/>
                </a:cxn>
                <a:cxn ang="0">
                  <a:pos x="T2" y="T3"/>
                </a:cxn>
                <a:cxn ang="0">
                  <a:pos x="T4" y="T5"/>
                </a:cxn>
                <a:cxn ang="0">
                  <a:pos x="T6" y="T7"/>
                </a:cxn>
                <a:cxn ang="0">
                  <a:pos x="T8" y="T9"/>
                </a:cxn>
              </a:cxnLst>
              <a:rect l="0" t="0" r="r" b="b"/>
              <a:pathLst>
                <a:path w="762" h="238">
                  <a:moveTo>
                    <a:pt x="762" y="3"/>
                  </a:moveTo>
                  <a:lnTo>
                    <a:pt x="762" y="0"/>
                  </a:lnTo>
                  <a:lnTo>
                    <a:pt x="0" y="0"/>
                  </a:lnTo>
                  <a:lnTo>
                    <a:pt x="379" y="238"/>
                  </a:lnTo>
                  <a:lnTo>
                    <a:pt x="762"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339" name="Freeform 1664">
              <a:extLst>
                <a:ext uri="{FF2B5EF4-FFF2-40B4-BE49-F238E27FC236}">
                  <a16:creationId xmlns:a16="http://schemas.microsoft.com/office/drawing/2014/main" id="{720F33A9-E007-4DE4-9A4C-FF512B8D28F4}"/>
                </a:ext>
              </a:extLst>
            </p:cNvPr>
            <p:cNvSpPr>
              <a:spLocks/>
            </p:cNvSpPr>
            <p:nvPr userDrawn="1"/>
          </p:nvSpPr>
          <p:spPr bwMode="auto">
            <a:xfrm>
              <a:off x="5913438" y="4986338"/>
              <a:ext cx="1209675" cy="377825"/>
            </a:xfrm>
            <a:custGeom>
              <a:avLst/>
              <a:gdLst>
                <a:gd name="T0" fmla="*/ 762 w 762"/>
                <a:gd name="T1" fmla="*/ 234 h 238"/>
                <a:gd name="T2" fmla="*/ 762 w 762"/>
                <a:gd name="T3" fmla="*/ 238 h 238"/>
                <a:gd name="T4" fmla="*/ 0 w 762"/>
                <a:gd name="T5" fmla="*/ 238 h 238"/>
                <a:gd name="T6" fmla="*/ 379 w 762"/>
                <a:gd name="T7" fmla="*/ 0 h 238"/>
                <a:gd name="T8" fmla="*/ 762 w 762"/>
                <a:gd name="T9" fmla="*/ 234 h 238"/>
              </a:gdLst>
              <a:ahLst/>
              <a:cxnLst>
                <a:cxn ang="0">
                  <a:pos x="T0" y="T1"/>
                </a:cxn>
                <a:cxn ang="0">
                  <a:pos x="T2" y="T3"/>
                </a:cxn>
                <a:cxn ang="0">
                  <a:pos x="T4" y="T5"/>
                </a:cxn>
                <a:cxn ang="0">
                  <a:pos x="T6" y="T7"/>
                </a:cxn>
                <a:cxn ang="0">
                  <a:pos x="T8" y="T9"/>
                </a:cxn>
              </a:cxnLst>
              <a:rect l="0" t="0" r="r" b="b"/>
              <a:pathLst>
                <a:path w="762" h="238">
                  <a:moveTo>
                    <a:pt x="762" y="234"/>
                  </a:moveTo>
                  <a:lnTo>
                    <a:pt x="762" y="238"/>
                  </a:lnTo>
                  <a:lnTo>
                    <a:pt x="0" y="238"/>
                  </a:lnTo>
                  <a:lnTo>
                    <a:pt x="379" y="0"/>
                  </a:lnTo>
                  <a:lnTo>
                    <a:pt x="762" y="234"/>
                  </a:lnTo>
                  <a:close/>
                </a:path>
              </a:pathLst>
            </a:custGeom>
            <a:solidFill>
              <a:schemeClr val="accent2">
                <a:lumMod val="40000"/>
                <a:lumOff val="6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340" name="Freeform 1665">
              <a:extLst>
                <a:ext uri="{FF2B5EF4-FFF2-40B4-BE49-F238E27FC236}">
                  <a16:creationId xmlns:a16="http://schemas.microsoft.com/office/drawing/2014/main" id="{C7BCAE2D-0914-401F-87FC-93D0324C3793}"/>
                </a:ext>
              </a:extLst>
            </p:cNvPr>
            <p:cNvSpPr>
              <a:spLocks/>
            </p:cNvSpPr>
            <p:nvPr userDrawn="1"/>
          </p:nvSpPr>
          <p:spPr bwMode="auto">
            <a:xfrm>
              <a:off x="6088063" y="4908550"/>
              <a:ext cx="874713" cy="908050"/>
            </a:xfrm>
            <a:custGeom>
              <a:avLst/>
              <a:gdLst>
                <a:gd name="T0" fmla="*/ 442 w 442"/>
                <a:gd name="T1" fmla="*/ 459 h 459"/>
                <a:gd name="T2" fmla="*/ 0 w 442"/>
                <a:gd name="T3" fmla="*/ 459 h 459"/>
                <a:gd name="T4" fmla="*/ 0 w 442"/>
                <a:gd name="T5" fmla="*/ 8 h 459"/>
                <a:gd name="T6" fmla="*/ 7 w 442"/>
                <a:gd name="T7" fmla="*/ 0 h 459"/>
                <a:gd name="T8" fmla="*/ 435 w 442"/>
                <a:gd name="T9" fmla="*/ 0 h 459"/>
                <a:gd name="T10" fmla="*/ 442 w 442"/>
                <a:gd name="T11" fmla="*/ 8 h 459"/>
                <a:gd name="T12" fmla="*/ 442 w 442"/>
                <a:gd name="T13" fmla="*/ 459 h 459"/>
              </a:gdLst>
              <a:ahLst/>
              <a:cxnLst>
                <a:cxn ang="0">
                  <a:pos x="T0" y="T1"/>
                </a:cxn>
                <a:cxn ang="0">
                  <a:pos x="T2" y="T3"/>
                </a:cxn>
                <a:cxn ang="0">
                  <a:pos x="T4" y="T5"/>
                </a:cxn>
                <a:cxn ang="0">
                  <a:pos x="T6" y="T7"/>
                </a:cxn>
                <a:cxn ang="0">
                  <a:pos x="T8" y="T9"/>
                </a:cxn>
                <a:cxn ang="0">
                  <a:pos x="T10" y="T11"/>
                </a:cxn>
                <a:cxn ang="0">
                  <a:pos x="T12" y="T13"/>
                </a:cxn>
              </a:cxnLst>
              <a:rect l="0" t="0" r="r" b="b"/>
              <a:pathLst>
                <a:path w="442" h="459">
                  <a:moveTo>
                    <a:pt x="442" y="459"/>
                  </a:moveTo>
                  <a:cubicBezTo>
                    <a:pt x="0" y="459"/>
                    <a:pt x="0" y="459"/>
                    <a:pt x="0" y="459"/>
                  </a:cubicBezTo>
                  <a:cubicBezTo>
                    <a:pt x="0" y="8"/>
                    <a:pt x="0" y="8"/>
                    <a:pt x="0" y="8"/>
                  </a:cubicBezTo>
                  <a:cubicBezTo>
                    <a:pt x="0" y="4"/>
                    <a:pt x="3" y="0"/>
                    <a:pt x="7" y="0"/>
                  </a:cubicBezTo>
                  <a:cubicBezTo>
                    <a:pt x="435" y="0"/>
                    <a:pt x="435" y="0"/>
                    <a:pt x="435" y="0"/>
                  </a:cubicBezTo>
                  <a:cubicBezTo>
                    <a:pt x="439" y="0"/>
                    <a:pt x="442" y="4"/>
                    <a:pt x="442" y="8"/>
                  </a:cubicBezTo>
                  <a:lnTo>
                    <a:pt x="442" y="45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341" name="Freeform 1666">
              <a:extLst>
                <a:ext uri="{FF2B5EF4-FFF2-40B4-BE49-F238E27FC236}">
                  <a16:creationId xmlns:a16="http://schemas.microsoft.com/office/drawing/2014/main" id="{06E94E3A-35B6-4C6D-903A-2EEC00EEF206}"/>
                </a:ext>
              </a:extLst>
            </p:cNvPr>
            <p:cNvSpPr>
              <a:spLocks/>
            </p:cNvSpPr>
            <p:nvPr userDrawn="1"/>
          </p:nvSpPr>
          <p:spPr bwMode="auto">
            <a:xfrm>
              <a:off x="6067426" y="4889500"/>
              <a:ext cx="915988" cy="949325"/>
            </a:xfrm>
            <a:custGeom>
              <a:avLst/>
              <a:gdLst>
                <a:gd name="T0" fmla="*/ 452 w 462"/>
                <a:gd name="T1" fmla="*/ 469 h 480"/>
                <a:gd name="T2" fmla="*/ 452 w 462"/>
                <a:gd name="T3" fmla="*/ 459 h 480"/>
                <a:gd name="T4" fmla="*/ 20 w 462"/>
                <a:gd name="T5" fmla="*/ 459 h 480"/>
                <a:gd name="T6" fmla="*/ 20 w 462"/>
                <a:gd name="T7" fmla="*/ 18 h 480"/>
                <a:gd name="T8" fmla="*/ 17 w 462"/>
                <a:gd name="T9" fmla="*/ 18 h 480"/>
                <a:gd name="T10" fmla="*/ 19 w 462"/>
                <a:gd name="T11" fmla="*/ 20 h 480"/>
                <a:gd name="T12" fmla="*/ 20 w 462"/>
                <a:gd name="T13" fmla="*/ 18 h 480"/>
                <a:gd name="T14" fmla="*/ 17 w 462"/>
                <a:gd name="T15" fmla="*/ 18 h 480"/>
                <a:gd name="T16" fmla="*/ 19 w 462"/>
                <a:gd name="T17" fmla="*/ 20 h 480"/>
                <a:gd name="T18" fmla="*/ 17 w 462"/>
                <a:gd name="T19" fmla="*/ 18 h 480"/>
                <a:gd name="T20" fmla="*/ 17 w 462"/>
                <a:gd name="T21" fmla="*/ 20 h 480"/>
                <a:gd name="T22" fmla="*/ 19 w 462"/>
                <a:gd name="T23" fmla="*/ 20 h 480"/>
                <a:gd name="T24" fmla="*/ 17 w 462"/>
                <a:gd name="T25" fmla="*/ 18 h 480"/>
                <a:gd name="T26" fmla="*/ 17 w 462"/>
                <a:gd name="T27" fmla="*/ 20 h 480"/>
                <a:gd name="T28" fmla="*/ 445 w 462"/>
                <a:gd name="T29" fmla="*/ 20 h 480"/>
                <a:gd name="T30" fmla="*/ 445 w 462"/>
                <a:gd name="T31" fmla="*/ 18 h 480"/>
                <a:gd name="T32" fmla="*/ 443 w 462"/>
                <a:gd name="T33" fmla="*/ 20 h 480"/>
                <a:gd name="T34" fmla="*/ 445 w 462"/>
                <a:gd name="T35" fmla="*/ 20 h 480"/>
                <a:gd name="T36" fmla="*/ 445 w 462"/>
                <a:gd name="T37" fmla="*/ 18 h 480"/>
                <a:gd name="T38" fmla="*/ 443 w 462"/>
                <a:gd name="T39" fmla="*/ 20 h 480"/>
                <a:gd name="T40" fmla="*/ 445 w 462"/>
                <a:gd name="T41" fmla="*/ 18 h 480"/>
                <a:gd name="T42" fmla="*/ 442 w 462"/>
                <a:gd name="T43" fmla="*/ 18 h 480"/>
                <a:gd name="T44" fmla="*/ 443 w 462"/>
                <a:gd name="T45" fmla="*/ 20 h 480"/>
                <a:gd name="T46" fmla="*/ 445 w 462"/>
                <a:gd name="T47" fmla="*/ 18 h 480"/>
                <a:gd name="T48" fmla="*/ 442 w 462"/>
                <a:gd name="T49" fmla="*/ 18 h 480"/>
                <a:gd name="T50" fmla="*/ 442 w 462"/>
                <a:gd name="T51" fmla="*/ 469 h 480"/>
                <a:gd name="T52" fmla="*/ 452 w 462"/>
                <a:gd name="T53" fmla="*/ 469 h 480"/>
                <a:gd name="T54" fmla="*/ 452 w 462"/>
                <a:gd name="T55" fmla="*/ 459 h 480"/>
                <a:gd name="T56" fmla="*/ 452 w 462"/>
                <a:gd name="T57" fmla="*/ 469 h 480"/>
                <a:gd name="T58" fmla="*/ 462 w 462"/>
                <a:gd name="T59" fmla="*/ 469 h 480"/>
                <a:gd name="T60" fmla="*/ 462 w 462"/>
                <a:gd name="T61" fmla="*/ 18 h 480"/>
                <a:gd name="T62" fmla="*/ 457 w 462"/>
                <a:gd name="T63" fmla="*/ 5 h 480"/>
                <a:gd name="T64" fmla="*/ 445 w 462"/>
                <a:gd name="T65" fmla="*/ 0 h 480"/>
                <a:gd name="T66" fmla="*/ 17 w 462"/>
                <a:gd name="T67" fmla="*/ 0 h 480"/>
                <a:gd name="T68" fmla="*/ 5 w 462"/>
                <a:gd name="T69" fmla="*/ 5 h 480"/>
                <a:gd name="T70" fmla="*/ 0 w 462"/>
                <a:gd name="T71" fmla="*/ 18 h 480"/>
                <a:gd name="T72" fmla="*/ 0 w 462"/>
                <a:gd name="T73" fmla="*/ 480 h 480"/>
                <a:gd name="T74" fmla="*/ 462 w 462"/>
                <a:gd name="T75" fmla="*/ 480 h 480"/>
                <a:gd name="T76" fmla="*/ 462 w 462"/>
                <a:gd name="T77" fmla="*/ 469 h 480"/>
                <a:gd name="T78" fmla="*/ 452 w 462"/>
                <a:gd name="T79" fmla="*/ 469 h 4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62" h="480">
                  <a:moveTo>
                    <a:pt x="452" y="469"/>
                  </a:moveTo>
                  <a:cubicBezTo>
                    <a:pt x="452" y="459"/>
                    <a:pt x="452" y="459"/>
                    <a:pt x="452" y="459"/>
                  </a:cubicBezTo>
                  <a:cubicBezTo>
                    <a:pt x="20" y="459"/>
                    <a:pt x="20" y="459"/>
                    <a:pt x="20" y="459"/>
                  </a:cubicBezTo>
                  <a:cubicBezTo>
                    <a:pt x="20" y="18"/>
                    <a:pt x="20" y="18"/>
                    <a:pt x="20" y="18"/>
                  </a:cubicBezTo>
                  <a:cubicBezTo>
                    <a:pt x="17" y="18"/>
                    <a:pt x="17" y="18"/>
                    <a:pt x="17" y="18"/>
                  </a:cubicBezTo>
                  <a:cubicBezTo>
                    <a:pt x="19" y="20"/>
                    <a:pt x="19" y="20"/>
                    <a:pt x="19" y="20"/>
                  </a:cubicBezTo>
                  <a:cubicBezTo>
                    <a:pt x="20" y="19"/>
                    <a:pt x="20" y="18"/>
                    <a:pt x="20" y="18"/>
                  </a:cubicBezTo>
                  <a:cubicBezTo>
                    <a:pt x="17" y="18"/>
                    <a:pt x="17" y="18"/>
                    <a:pt x="17" y="18"/>
                  </a:cubicBezTo>
                  <a:cubicBezTo>
                    <a:pt x="19" y="20"/>
                    <a:pt x="19" y="20"/>
                    <a:pt x="19" y="20"/>
                  </a:cubicBezTo>
                  <a:cubicBezTo>
                    <a:pt x="17" y="18"/>
                    <a:pt x="17" y="18"/>
                    <a:pt x="17" y="18"/>
                  </a:cubicBezTo>
                  <a:cubicBezTo>
                    <a:pt x="17" y="20"/>
                    <a:pt x="17" y="20"/>
                    <a:pt x="17" y="20"/>
                  </a:cubicBezTo>
                  <a:cubicBezTo>
                    <a:pt x="18" y="20"/>
                    <a:pt x="19" y="20"/>
                    <a:pt x="19" y="20"/>
                  </a:cubicBezTo>
                  <a:cubicBezTo>
                    <a:pt x="17" y="18"/>
                    <a:pt x="17" y="18"/>
                    <a:pt x="17" y="18"/>
                  </a:cubicBezTo>
                  <a:cubicBezTo>
                    <a:pt x="17" y="20"/>
                    <a:pt x="17" y="20"/>
                    <a:pt x="17" y="20"/>
                  </a:cubicBezTo>
                  <a:cubicBezTo>
                    <a:pt x="445" y="20"/>
                    <a:pt x="445" y="20"/>
                    <a:pt x="445" y="20"/>
                  </a:cubicBezTo>
                  <a:cubicBezTo>
                    <a:pt x="445" y="18"/>
                    <a:pt x="445" y="18"/>
                    <a:pt x="445" y="18"/>
                  </a:cubicBezTo>
                  <a:cubicBezTo>
                    <a:pt x="443" y="20"/>
                    <a:pt x="443" y="20"/>
                    <a:pt x="443" y="20"/>
                  </a:cubicBezTo>
                  <a:cubicBezTo>
                    <a:pt x="443" y="20"/>
                    <a:pt x="444" y="20"/>
                    <a:pt x="445" y="20"/>
                  </a:cubicBezTo>
                  <a:cubicBezTo>
                    <a:pt x="445" y="18"/>
                    <a:pt x="445" y="18"/>
                    <a:pt x="445" y="18"/>
                  </a:cubicBezTo>
                  <a:cubicBezTo>
                    <a:pt x="443" y="20"/>
                    <a:pt x="443" y="20"/>
                    <a:pt x="443" y="20"/>
                  </a:cubicBezTo>
                  <a:cubicBezTo>
                    <a:pt x="445" y="18"/>
                    <a:pt x="445" y="18"/>
                    <a:pt x="445" y="18"/>
                  </a:cubicBezTo>
                  <a:cubicBezTo>
                    <a:pt x="442" y="18"/>
                    <a:pt x="442" y="18"/>
                    <a:pt x="442" y="18"/>
                  </a:cubicBezTo>
                  <a:cubicBezTo>
                    <a:pt x="442" y="18"/>
                    <a:pt x="443" y="19"/>
                    <a:pt x="443" y="20"/>
                  </a:cubicBezTo>
                  <a:cubicBezTo>
                    <a:pt x="445" y="18"/>
                    <a:pt x="445" y="18"/>
                    <a:pt x="445" y="18"/>
                  </a:cubicBezTo>
                  <a:cubicBezTo>
                    <a:pt x="442" y="18"/>
                    <a:pt x="442" y="18"/>
                    <a:pt x="442" y="18"/>
                  </a:cubicBezTo>
                  <a:cubicBezTo>
                    <a:pt x="442" y="469"/>
                    <a:pt x="442" y="469"/>
                    <a:pt x="442" y="469"/>
                  </a:cubicBezTo>
                  <a:cubicBezTo>
                    <a:pt x="452" y="469"/>
                    <a:pt x="452" y="469"/>
                    <a:pt x="452" y="469"/>
                  </a:cubicBezTo>
                  <a:cubicBezTo>
                    <a:pt x="452" y="459"/>
                    <a:pt x="452" y="459"/>
                    <a:pt x="452" y="459"/>
                  </a:cubicBezTo>
                  <a:cubicBezTo>
                    <a:pt x="452" y="469"/>
                    <a:pt x="452" y="469"/>
                    <a:pt x="452" y="469"/>
                  </a:cubicBezTo>
                  <a:cubicBezTo>
                    <a:pt x="462" y="469"/>
                    <a:pt x="462" y="469"/>
                    <a:pt x="462" y="469"/>
                  </a:cubicBezTo>
                  <a:cubicBezTo>
                    <a:pt x="462" y="18"/>
                    <a:pt x="462" y="18"/>
                    <a:pt x="462" y="18"/>
                  </a:cubicBezTo>
                  <a:cubicBezTo>
                    <a:pt x="462" y="13"/>
                    <a:pt x="461" y="8"/>
                    <a:pt x="457" y="5"/>
                  </a:cubicBezTo>
                  <a:cubicBezTo>
                    <a:pt x="454" y="2"/>
                    <a:pt x="450" y="0"/>
                    <a:pt x="445" y="0"/>
                  </a:cubicBezTo>
                  <a:cubicBezTo>
                    <a:pt x="17" y="0"/>
                    <a:pt x="17" y="0"/>
                    <a:pt x="17" y="0"/>
                  </a:cubicBezTo>
                  <a:cubicBezTo>
                    <a:pt x="12" y="0"/>
                    <a:pt x="8" y="2"/>
                    <a:pt x="5" y="5"/>
                  </a:cubicBezTo>
                  <a:cubicBezTo>
                    <a:pt x="2" y="8"/>
                    <a:pt x="0" y="13"/>
                    <a:pt x="0" y="18"/>
                  </a:cubicBezTo>
                  <a:cubicBezTo>
                    <a:pt x="0" y="480"/>
                    <a:pt x="0" y="480"/>
                    <a:pt x="0" y="480"/>
                  </a:cubicBezTo>
                  <a:cubicBezTo>
                    <a:pt x="462" y="480"/>
                    <a:pt x="462" y="480"/>
                    <a:pt x="462" y="480"/>
                  </a:cubicBezTo>
                  <a:cubicBezTo>
                    <a:pt x="462" y="469"/>
                    <a:pt x="462" y="469"/>
                    <a:pt x="462" y="469"/>
                  </a:cubicBezTo>
                  <a:lnTo>
                    <a:pt x="452" y="469"/>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342" name="Freeform 1667">
              <a:extLst>
                <a:ext uri="{FF2B5EF4-FFF2-40B4-BE49-F238E27FC236}">
                  <a16:creationId xmlns:a16="http://schemas.microsoft.com/office/drawing/2014/main" id="{F8D155A3-0388-449C-919A-07F3E9214C0F}"/>
                </a:ext>
              </a:extLst>
            </p:cNvPr>
            <p:cNvSpPr>
              <a:spLocks/>
            </p:cNvSpPr>
            <p:nvPr userDrawn="1"/>
          </p:nvSpPr>
          <p:spPr bwMode="auto">
            <a:xfrm>
              <a:off x="5911851" y="5364163"/>
              <a:ext cx="604838" cy="747713"/>
            </a:xfrm>
            <a:custGeom>
              <a:avLst/>
              <a:gdLst>
                <a:gd name="T0" fmla="*/ 2 w 381"/>
                <a:gd name="T1" fmla="*/ 0 h 471"/>
                <a:gd name="T2" fmla="*/ 0 w 381"/>
                <a:gd name="T3" fmla="*/ 0 h 471"/>
                <a:gd name="T4" fmla="*/ 0 w 381"/>
                <a:gd name="T5" fmla="*/ 471 h 471"/>
                <a:gd name="T6" fmla="*/ 381 w 381"/>
                <a:gd name="T7" fmla="*/ 238 h 471"/>
                <a:gd name="T8" fmla="*/ 2 w 381"/>
                <a:gd name="T9" fmla="*/ 0 h 471"/>
              </a:gdLst>
              <a:ahLst/>
              <a:cxnLst>
                <a:cxn ang="0">
                  <a:pos x="T0" y="T1"/>
                </a:cxn>
                <a:cxn ang="0">
                  <a:pos x="T2" y="T3"/>
                </a:cxn>
                <a:cxn ang="0">
                  <a:pos x="T4" y="T5"/>
                </a:cxn>
                <a:cxn ang="0">
                  <a:pos x="T6" y="T7"/>
                </a:cxn>
                <a:cxn ang="0">
                  <a:pos x="T8" y="T9"/>
                </a:cxn>
              </a:cxnLst>
              <a:rect l="0" t="0" r="r" b="b"/>
              <a:pathLst>
                <a:path w="381" h="471">
                  <a:moveTo>
                    <a:pt x="2" y="0"/>
                  </a:moveTo>
                  <a:lnTo>
                    <a:pt x="0" y="0"/>
                  </a:lnTo>
                  <a:lnTo>
                    <a:pt x="0" y="471"/>
                  </a:lnTo>
                  <a:lnTo>
                    <a:pt x="381" y="238"/>
                  </a:lnTo>
                  <a:lnTo>
                    <a:pt x="2" y="0"/>
                  </a:ln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343" name="Freeform 1668">
              <a:extLst>
                <a:ext uri="{FF2B5EF4-FFF2-40B4-BE49-F238E27FC236}">
                  <a16:creationId xmlns:a16="http://schemas.microsoft.com/office/drawing/2014/main" id="{F5CC4B8C-040B-4DF4-85FF-521E7BC74DF6}"/>
                </a:ext>
              </a:extLst>
            </p:cNvPr>
            <p:cNvSpPr>
              <a:spLocks/>
            </p:cNvSpPr>
            <p:nvPr userDrawn="1"/>
          </p:nvSpPr>
          <p:spPr bwMode="auto">
            <a:xfrm>
              <a:off x="6516688" y="5368925"/>
              <a:ext cx="608013" cy="750888"/>
            </a:xfrm>
            <a:custGeom>
              <a:avLst/>
              <a:gdLst>
                <a:gd name="T0" fmla="*/ 383 w 383"/>
                <a:gd name="T1" fmla="*/ 0 h 473"/>
                <a:gd name="T2" fmla="*/ 0 w 383"/>
                <a:gd name="T3" fmla="*/ 235 h 473"/>
                <a:gd name="T4" fmla="*/ 381 w 383"/>
                <a:gd name="T5" fmla="*/ 473 h 473"/>
                <a:gd name="T6" fmla="*/ 383 w 383"/>
                <a:gd name="T7" fmla="*/ 473 h 473"/>
                <a:gd name="T8" fmla="*/ 383 w 383"/>
                <a:gd name="T9" fmla="*/ 0 h 473"/>
              </a:gdLst>
              <a:ahLst/>
              <a:cxnLst>
                <a:cxn ang="0">
                  <a:pos x="T0" y="T1"/>
                </a:cxn>
                <a:cxn ang="0">
                  <a:pos x="T2" y="T3"/>
                </a:cxn>
                <a:cxn ang="0">
                  <a:pos x="T4" y="T5"/>
                </a:cxn>
                <a:cxn ang="0">
                  <a:pos x="T6" y="T7"/>
                </a:cxn>
                <a:cxn ang="0">
                  <a:pos x="T8" y="T9"/>
                </a:cxn>
              </a:cxnLst>
              <a:rect l="0" t="0" r="r" b="b"/>
              <a:pathLst>
                <a:path w="383" h="473">
                  <a:moveTo>
                    <a:pt x="383" y="0"/>
                  </a:moveTo>
                  <a:lnTo>
                    <a:pt x="0" y="235"/>
                  </a:lnTo>
                  <a:lnTo>
                    <a:pt x="381" y="473"/>
                  </a:lnTo>
                  <a:lnTo>
                    <a:pt x="383" y="473"/>
                  </a:lnTo>
                  <a:lnTo>
                    <a:pt x="383" y="0"/>
                  </a:ln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344" name="Freeform 1669">
              <a:extLst>
                <a:ext uri="{FF2B5EF4-FFF2-40B4-BE49-F238E27FC236}">
                  <a16:creationId xmlns:a16="http://schemas.microsoft.com/office/drawing/2014/main" id="{BD462C41-07EF-4CEA-A887-19644E68D7E8}"/>
                </a:ext>
              </a:extLst>
            </p:cNvPr>
            <p:cNvSpPr>
              <a:spLocks/>
            </p:cNvSpPr>
            <p:nvPr userDrawn="1"/>
          </p:nvSpPr>
          <p:spPr bwMode="auto">
            <a:xfrm>
              <a:off x="5935664" y="5741988"/>
              <a:ext cx="1185862" cy="370387"/>
            </a:xfrm>
            <a:custGeom>
              <a:avLst/>
              <a:gdLst>
                <a:gd name="T0" fmla="*/ 0 w 762"/>
                <a:gd name="T1" fmla="*/ 233 h 238"/>
                <a:gd name="T2" fmla="*/ 0 w 762"/>
                <a:gd name="T3" fmla="*/ 238 h 238"/>
                <a:gd name="T4" fmla="*/ 762 w 762"/>
                <a:gd name="T5" fmla="*/ 238 h 238"/>
                <a:gd name="T6" fmla="*/ 381 w 762"/>
                <a:gd name="T7" fmla="*/ 0 h 238"/>
                <a:gd name="T8" fmla="*/ 166 w 762"/>
                <a:gd name="T9" fmla="*/ 132 h 238"/>
                <a:gd name="T10" fmla="*/ 0 w 762"/>
                <a:gd name="T11" fmla="*/ 233 h 238"/>
              </a:gdLst>
              <a:ahLst/>
              <a:cxnLst>
                <a:cxn ang="0">
                  <a:pos x="T0" y="T1"/>
                </a:cxn>
                <a:cxn ang="0">
                  <a:pos x="T2" y="T3"/>
                </a:cxn>
                <a:cxn ang="0">
                  <a:pos x="T4" y="T5"/>
                </a:cxn>
                <a:cxn ang="0">
                  <a:pos x="T6" y="T7"/>
                </a:cxn>
                <a:cxn ang="0">
                  <a:pos x="T8" y="T9"/>
                </a:cxn>
                <a:cxn ang="0">
                  <a:pos x="T10" y="T11"/>
                </a:cxn>
              </a:cxnLst>
              <a:rect l="0" t="0" r="r" b="b"/>
              <a:pathLst>
                <a:path w="762" h="238">
                  <a:moveTo>
                    <a:pt x="0" y="233"/>
                  </a:moveTo>
                  <a:lnTo>
                    <a:pt x="0" y="238"/>
                  </a:lnTo>
                  <a:lnTo>
                    <a:pt x="762" y="238"/>
                  </a:lnTo>
                  <a:lnTo>
                    <a:pt x="381" y="0"/>
                  </a:lnTo>
                  <a:lnTo>
                    <a:pt x="166" y="132"/>
                  </a:lnTo>
                  <a:lnTo>
                    <a:pt x="0" y="233"/>
                  </a:lnTo>
                  <a:close/>
                </a:path>
              </a:pathLst>
            </a:custGeom>
            <a:solidFill>
              <a:schemeClr val="accent2">
                <a:lumMod val="60000"/>
                <a:lumOff val="4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345" name="Freeform 1670">
              <a:extLst>
                <a:ext uri="{FF2B5EF4-FFF2-40B4-BE49-F238E27FC236}">
                  <a16:creationId xmlns:a16="http://schemas.microsoft.com/office/drawing/2014/main" id="{90E54096-95FC-4774-9D73-39E888B6388E}"/>
                </a:ext>
              </a:extLst>
            </p:cNvPr>
            <p:cNvSpPr>
              <a:spLocks/>
            </p:cNvSpPr>
            <p:nvPr userDrawn="1"/>
          </p:nvSpPr>
          <p:spPr bwMode="auto">
            <a:xfrm>
              <a:off x="5905501" y="5345113"/>
              <a:ext cx="1208088" cy="777875"/>
            </a:xfrm>
            <a:custGeom>
              <a:avLst/>
              <a:gdLst>
                <a:gd name="T0" fmla="*/ 0 w 761"/>
                <a:gd name="T1" fmla="*/ 22 h 490"/>
                <a:gd name="T2" fmla="*/ 747 w 761"/>
                <a:gd name="T3" fmla="*/ 490 h 490"/>
                <a:gd name="T4" fmla="*/ 761 w 761"/>
                <a:gd name="T5" fmla="*/ 469 h 490"/>
                <a:gd name="T6" fmla="*/ 12 w 761"/>
                <a:gd name="T7" fmla="*/ 0 h 490"/>
                <a:gd name="T8" fmla="*/ 0 w 761"/>
                <a:gd name="T9" fmla="*/ 22 h 490"/>
              </a:gdLst>
              <a:ahLst/>
              <a:cxnLst>
                <a:cxn ang="0">
                  <a:pos x="T0" y="T1"/>
                </a:cxn>
                <a:cxn ang="0">
                  <a:pos x="T2" y="T3"/>
                </a:cxn>
                <a:cxn ang="0">
                  <a:pos x="T4" y="T5"/>
                </a:cxn>
                <a:cxn ang="0">
                  <a:pos x="T6" y="T7"/>
                </a:cxn>
                <a:cxn ang="0">
                  <a:pos x="T8" y="T9"/>
                </a:cxn>
              </a:cxnLst>
              <a:rect l="0" t="0" r="r" b="b"/>
              <a:pathLst>
                <a:path w="761" h="490">
                  <a:moveTo>
                    <a:pt x="0" y="22"/>
                  </a:moveTo>
                  <a:lnTo>
                    <a:pt x="747" y="490"/>
                  </a:lnTo>
                  <a:lnTo>
                    <a:pt x="761" y="469"/>
                  </a:lnTo>
                  <a:lnTo>
                    <a:pt x="12" y="0"/>
                  </a:lnTo>
                  <a:lnTo>
                    <a:pt x="0" y="22"/>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346" name="Freeform 1671">
              <a:extLst>
                <a:ext uri="{FF2B5EF4-FFF2-40B4-BE49-F238E27FC236}">
                  <a16:creationId xmlns:a16="http://schemas.microsoft.com/office/drawing/2014/main" id="{15D0835A-696F-4F6A-B16C-DAA633F301C2}"/>
                </a:ext>
              </a:extLst>
            </p:cNvPr>
            <p:cNvSpPr>
              <a:spLocks/>
            </p:cNvSpPr>
            <p:nvPr userDrawn="1"/>
          </p:nvSpPr>
          <p:spPr bwMode="auto">
            <a:xfrm>
              <a:off x="5905501" y="5345113"/>
              <a:ext cx="1208088" cy="777875"/>
            </a:xfrm>
            <a:custGeom>
              <a:avLst/>
              <a:gdLst>
                <a:gd name="T0" fmla="*/ 0 w 761"/>
                <a:gd name="T1" fmla="*/ 22 h 490"/>
                <a:gd name="T2" fmla="*/ 747 w 761"/>
                <a:gd name="T3" fmla="*/ 490 h 490"/>
                <a:gd name="T4" fmla="*/ 761 w 761"/>
                <a:gd name="T5" fmla="*/ 469 h 490"/>
                <a:gd name="T6" fmla="*/ 12 w 761"/>
                <a:gd name="T7" fmla="*/ 0 h 490"/>
              </a:gdLst>
              <a:ahLst/>
              <a:cxnLst>
                <a:cxn ang="0">
                  <a:pos x="T0" y="T1"/>
                </a:cxn>
                <a:cxn ang="0">
                  <a:pos x="T2" y="T3"/>
                </a:cxn>
                <a:cxn ang="0">
                  <a:pos x="T4" y="T5"/>
                </a:cxn>
                <a:cxn ang="0">
                  <a:pos x="T6" y="T7"/>
                </a:cxn>
              </a:cxnLst>
              <a:rect l="0" t="0" r="r" b="b"/>
              <a:pathLst>
                <a:path w="761" h="490">
                  <a:moveTo>
                    <a:pt x="0" y="22"/>
                  </a:moveTo>
                  <a:lnTo>
                    <a:pt x="747" y="490"/>
                  </a:lnTo>
                  <a:lnTo>
                    <a:pt x="761" y="469"/>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347" name="Freeform 1672">
              <a:extLst>
                <a:ext uri="{FF2B5EF4-FFF2-40B4-BE49-F238E27FC236}">
                  <a16:creationId xmlns:a16="http://schemas.microsoft.com/office/drawing/2014/main" id="{17083631-BF15-4D80-BB59-FE9ADEDA1D77}"/>
                </a:ext>
              </a:extLst>
            </p:cNvPr>
            <p:cNvSpPr>
              <a:spLocks/>
            </p:cNvSpPr>
            <p:nvPr userDrawn="1"/>
          </p:nvSpPr>
          <p:spPr bwMode="auto">
            <a:xfrm>
              <a:off x="5921376" y="5353050"/>
              <a:ext cx="1211263" cy="768350"/>
            </a:xfrm>
            <a:custGeom>
              <a:avLst/>
              <a:gdLst>
                <a:gd name="T0" fmla="*/ 14 w 763"/>
                <a:gd name="T1" fmla="*/ 484 h 484"/>
                <a:gd name="T2" fmla="*/ 763 w 763"/>
                <a:gd name="T3" fmla="*/ 22 h 484"/>
                <a:gd name="T4" fmla="*/ 750 w 763"/>
                <a:gd name="T5" fmla="*/ 0 h 484"/>
                <a:gd name="T6" fmla="*/ 0 w 763"/>
                <a:gd name="T7" fmla="*/ 463 h 484"/>
                <a:gd name="T8" fmla="*/ 14 w 763"/>
                <a:gd name="T9" fmla="*/ 484 h 484"/>
              </a:gdLst>
              <a:ahLst/>
              <a:cxnLst>
                <a:cxn ang="0">
                  <a:pos x="T0" y="T1"/>
                </a:cxn>
                <a:cxn ang="0">
                  <a:pos x="T2" y="T3"/>
                </a:cxn>
                <a:cxn ang="0">
                  <a:pos x="T4" y="T5"/>
                </a:cxn>
                <a:cxn ang="0">
                  <a:pos x="T6" y="T7"/>
                </a:cxn>
                <a:cxn ang="0">
                  <a:pos x="T8" y="T9"/>
                </a:cxn>
              </a:cxnLst>
              <a:rect l="0" t="0" r="r" b="b"/>
              <a:pathLst>
                <a:path w="763" h="484">
                  <a:moveTo>
                    <a:pt x="14" y="484"/>
                  </a:moveTo>
                  <a:lnTo>
                    <a:pt x="763" y="22"/>
                  </a:lnTo>
                  <a:lnTo>
                    <a:pt x="750" y="0"/>
                  </a:lnTo>
                  <a:lnTo>
                    <a:pt x="0" y="463"/>
                  </a:lnTo>
                  <a:lnTo>
                    <a:pt x="14" y="484"/>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348" name="Freeform 1673">
              <a:extLst>
                <a:ext uri="{FF2B5EF4-FFF2-40B4-BE49-F238E27FC236}">
                  <a16:creationId xmlns:a16="http://schemas.microsoft.com/office/drawing/2014/main" id="{FEB6D3EE-A2BA-4F81-ACC4-00919D557458}"/>
                </a:ext>
              </a:extLst>
            </p:cNvPr>
            <p:cNvSpPr>
              <a:spLocks/>
            </p:cNvSpPr>
            <p:nvPr userDrawn="1"/>
          </p:nvSpPr>
          <p:spPr bwMode="auto">
            <a:xfrm>
              <a:off x="5921376" y="5353050"/>
              <a:ext cx="1211263" cy="768350"/>
            </a:xfrm>
            <a:custGeom>
              <a:avLst/>
              <a:gdLst>
                <a:gd name="T0" fmla="*/ 14 w 763"/>
                <a:gd name="T1" fmla="*/ 484 h 484"/>
                <a:gd name="T2" fmla="*/ 763 w 763"/>
                <a:gd name="T3" fmla="*/ 22 h 484"/>
                <a:gd name="T4" fmla="*/ 750 w 763"/>
                <a:gd name="T5" fmla="*/ 0 h 484"/>
                <a:gd name="T6" fmla="*/ 0 w 763"/>
                <a:gd name="T7" fmla="*/ 463 h 484"/>
              </a:gdLst>
              <a:ahLst/>
              <a:cxnLst>
                <a:cxn ang="0">
                  <a:pos x="T0" y="T1"/>
                </a:cxn>
                <a:cxn ang="0">
                  <a:pos x="T2" y="T3"/>
                </a:cxn>
                <a:cxn ang="0">
                  <a:pos x="T4" y="T5"/>
                </a:cxn>
                <a:cxn ang="0">
                  <a:pos x="T6" y="T7"/>
                </a:cxn>
              </a:cxnLst>
              <a:rect l="0" t="0" r="r" b="b"/>
              <a:pathLst>
                <a:path w="763" h="484">
                  <a:moveTo>
                    <a:pt x="14" y="484"/>
                  </a:moveTo>
                  <a:lnTo>
                    <a:pt x="763" y="22"/>
                  </a:lnTo>
                  <a:lnTo>
                    <a:pt x="750" y="0"/>
                  </a:lnTo>
                  <a:lnTo>
                    <a:pt x="0" y="46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349" name="Freeform 1674">
              <a:extLst>
                <a:ext uri="{FF2B5EF4-FFF2-40B4-BE49-F238E27FC236}">
                  <a16:creationId xmlns:a16="http://schemas.microsoft.com/office/drawing/2014/main" id="{07C87D08-1D3C-460E-9335-CEF669B77A83}"/>
                </a:ext>
              </a:extLst>
            </p:cNvPr>
            <p:cNvSpPr>
              <a:spLocks/>
            </p:cNvSpPr>
            <p:nvPr userDrawn="1"/>
          </p:nvSpPr>
          <p:spPr bwMode="auto">
            <a:xfrm>
              <a:off x="6988176" y="5256213"/>
              <a:ext cx="155575" cy="882650"/>
            </a:xfrm>
            <a:custGeom>
              <a:avLst/>
              <a:gdLst>
                <a:gd name="T0" fmla="*/ 3 w 78"/>
                <a:gd name="T1" fmla="*/ 446 h 446"/>
                <a:gd name="T2" fmla="*/ 40 w 78"/>
                <a:gd name="T3" fmla="*/ 446 h 446"/>
                <a:gd name="T4" fmla="*/ 40 w 78"/>
                <a:gd name="T5" fmla="*/ 446 h 446"/>
                <a:gd name="T6" fmla="*/ 40 w 78"/>
                <a:gd name="T7" fmla="*/ 446 h 446"/>
                <a:gd name="T8" fmla="*/ 40 w 78"/>
                <a:gd name="T9" fmla="*/ 439 h 446"/>
                <a:gd name="T10" fmla="*/ 40 w 78"/>
                <a:gd name="T11" fmla="*/ 446 h 446"/>
                <a:gd name="T12" fmla="*/ 40 w 78"/>
                <a:gd name="T13" fmla="*/ 446 h 446"/>
                <a:gd name="T14" fmla="*/ 40 w 78"/>
                <a:gd name="T15" fmla="*/ 439 h 446"/>
                <a:gd name="T16" fmla="*/ 40 w 78"/>
                <a:gd name="T17" fmla="*/ 446 h 446"/>
                <a:gd name="T18" fmla="*/ 66 w 78"/>
                <a:gd name="T19" fmla="*/ 434 h 446"/>
                <a:gd name="T20" fmla="*/ 77 w 78"/>
                <a:gd name="T21" fmla="*/ 407 h 446"/>
                <a:gd name="T22" fmla="*/ 78 w 78"/>
                <a:gd name="T23" fmla="*/ 71 h 446"/>
                <a:gd name="T24" fmla="*/ 78 w 78"/>
                <a:gd name="T25" fmla="*/ 71 h 446"/>
                <a:gd name="T26" fmla="*/ 78 w 78"/>
                <a:gd name="T27" fmla="*/ 70 h 446"/>
                <a:gd name="T28" fmla="*/ 71 w 78"/>
                <a:gd name="T29" fmla="*/ 71 h 446"/>
                <a:gd name="T30" fmla="*/ 78 w 78"/>
                <a:gd name="T31" fmla="*/ 71 h 446"/>
                <a:gd name="T32" fmla="*/ 78 w 78"/>
                <a:gd name="T33" fmla="*/ 70 h 446"/>
                <a:gd name="T34" fmla="*/ 71 w 78"/>
                <a:gd name="T35" fmla="*/ 71 h 446"/>
                <a:gd name="T36" fmla="*/ 78 w 78"/>
                <a:gd name="T37" fmla="*/ 71 h 446"/>
                <a:gd name="T38" fmla="*/ 60 w 78"/>
                <a:gd name="T39" fmla="*/ 37 h 446"/>
                <a:gd name="T40" fmla="*/ 55 w 78"/>
                <a:gd name="T41" fmla="*/ 45 h 446"/>
                <a:gd name="T42" fmla="*/ 61 w 78"/>
                <a:gd name="T43" fmla="*/ 37 h 446"/>
                <a:gd name="T44" fmla="*/ 13 w 78"/>
                <a:gd name="T45" fmla="*/ 0 h 446"/>
                <a:gd name="T46" fmla="*/ 0 w 78"/>
                <a:gd name="T47" fmla="*/ 16 h 446"/>
                <a:gd name="T48" fmla="*/ 49 w 78"/>
                <a:gd name="T49" fmla="*/ 54 h 446"/>
                <a:gd name="T50" fmla="*/ 49 w 78"/>
                <a:gd name="T51" fmla="*/ 54 h 446"/>
                <a:gd name="T52" fmla="*/ 58 w 78"/>
                <a:gd name="T53" fmla="*/ 71 h 446"/>
                <a:gd name="T54" fmla="*/ 58 w 78"/>
                <a:gd name="T55" fmla="*/ 71 h 446"/>
                <a:gd name="T56" fmla="*/ 65 w 78"/>
                <a:gd name="T57" fmla="*/ 71 h 446"/>
                <a:gd name="T58" fmla="*/ 58 w 78"/>
                <a:gd name="T59" fmla="*/ 71 h 446"/>
                <a:gd name="T60" fmla="*/ 58 w 78"/>
                <a:gd name="T61" fmla="*/ 71 h 446"/>
                <a:gd name="T62" fmla="*/ 65 w 78"/>
                <a:gd name="T63" fmla="*/ 71 h 446"/>
                <a:gd name="T64" fmla="*/ 58 w 78"/>
                <a:gd name="T65" fmla="*/ 71 h 446"/>
                <a:gd name="T66" fmla="*/ 58 w 78"/>
                <a:gd name="T67" fmla="*/ 71 h 446"/>
                <a:gd name="T68" fmla="*/ 57 w 78"/>
                <a:gd name="T69" fmla="*/ 407 h 446"/>
                <a:gd name="T70" fmla="*/ 52 w 78"/>
                <a:gd name="T71" fmla="*/ 420 h 446"/>
                <a:gd name="T72" fmla="*/ 40 w 78"/>
                <a:gd name="T73" fmla="*/ 426 h 446"/>
                <a:gd name="T74" fmla="*/ 40 w 78"/>
                <a:gd name="T75" fmla="*/ 426 h 446"/>
                <a:gd name="T76" fmla="*/ 40 w 78"/>
                <a:gd name="T77" fmla="*/ 432 h 446"/>
                <a:gd name="T78" fmla="*/ 40 w 78"/>
                <a:gd name="T79" fmla="*/ 426 h 446"/>
                <a:gd name="T80" fmla="*/ 40 w 78"/>
                <a:gd name="T81" fmla="*/ 426 h 446"/>
                <a:gd name="T82" fmla="*/ 40 w 78"/>
                <a:gd name="T83" fmla="*/ 432 h 446"/>
                <a:gd name="T84" fmla="*/ 40 w 78"/>
                <a:gd name="T85" fmla="*/ 426 h 446"/>
                <a:gd name="T86" fmla="*/ 3 w 78"/>
                <a:gd name="T87" fmla="*/ 425 h 446"/>
                <a:gd name="T88" fmla="*/ 3 w 78"/>
                <a:gd name="T89" fmla="*/ 446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78" h="446">
                  <a:moveTo>
                    <a:pt x="3" y="446"/>
                  </a:moveTo>
                  <a:cubicBezTo>
                    <a:pt x="40" y="446"/>
                    <a:pt x="40" y="446"/>
                    <a:pt x="40" y="446"/>
                  </a:cubicBezTo>
                  <a:cubicBezTo>
                    <a:pt x="40" y="446"/>
                    <a:pt x="40" y="446"/>
                    <a:pt x="40" y="446"/>
                  </a:cubicBezTo>
                  <a:cubicBezTo>
                    <a:pt x="40" y="446"/>
                    <a:pt x="40" y="446"/>
                    <a:pt x="40" y="446"/>
                  </a:cubicBezTo>
                  <a:cubicBezTo>
                    <a:pt x="40" y="439"/>
                    <a:pt x="40" y="439"/>
                    <a:pt x="40" y="439"/>
                  </a:cubicBezTo>
                  <a:cubicBezTo>
                    <a:pt x="40" y="446"/>
                    <a:pt x="40" y="446"/>
                    <a:pt x="40" y="446"/>
                  </a:cubicBezTo>
                  <a:cubicBezTo>
                    <a:pt x="40" y="446"/>
                    <a:pt x="40" y="446"/>
                    <a:pt x="40" y="446"/>
                  </a:cubicBezTo>
                  <a:cubicBezTo>
                    <a:pt x="40" y="439"/>
                    <a:pt x="40" y="439"/>
                    <a:pt x="40" y="439"/>
                  </a:cubicBezTo>
                  <a:cubicBezTo>
                    <a:pt x="40" y="446"/>
                    <a:pt x="40" y="446"/>
                    <a:pt x="40" y="446"/>
                  </a:cubicBezTo>
                  <a:cubicBezTo>
                    <a:pt x="50" y="446"/>
                    <a:pt x="60" y="441"/>
                    <a:pt x="66" y="434"/>
                  </a:cubicBezTo>
                  <a:cubicBezTo>
                    <a:pt x="73" y="427"/>
                    <a:pt x="77" y="417"/>
                    <a:pt x="77" y="407"/>
                  </a:cubicBezTo>
                  <a:cubicBezTo>
                    <a:pt x="78" y="71"/>
                    <a:pt x="78" y="71"/>
                    <a:pt x="78" y="71"/>
                  </a:cubicBezTo>
                  <a:cubicBezTo>
                    <a:pt x="78" y="71"/>
                    <a:pt x="78" y="71"/>
                    <a:pt x="78" y="71"/>
                  </a:cubicBezTo>
                  <a:cubicBezTo>
                    <a:pt x="78" y="70"/>
                    <a:pt x="78" y="70"/>
                    <a:pt x="78" y="70"/>
                  </a:cubicBezTo>
                  <a:cubicBezTo>
                    <a:pt x="71" y="71"/>
                    <a:pt x="71" y="71"/>
                    <a:pt x="71" y="71"/>
                  </a:cubicBezTo>
                  <a:cubicBezTo>
                    <a:pt x="78" y="71"/>
                    <a:pt x="78" y="71"/>
                    <a:pt x="78" y="71"/>
                  </a:cubicBezTo>
                  <a:cubicBezTo>
                    <a:pt x="78" y="70"/>
                    <a:pt x="78" y="70"/>
                    <a:pt x="78" y="70"/>
                  </a:cubicBezTo>
                  <a:cubicBezTo>
                    <a:pt x="71" y="71"/>
                    <a:pt x="71" y="71"/>
                    <a:pt x="71" y="71"/>
                  </a:cubicBezTo>
                  <a:cubicBezTo>
                    <a:pt x="78" y="71"/>
                    <a:pt x="78" y="71"/>
                    <a:pt x="78" y="71"/>
                  </a:cubicBezTo>
                  <a:cubicBezTo>
                    <a:pt x="78" y="57"/>
                    <a:pt x="71" y="44"/>
                    <a:pt x="60" y="37"/>
                  </a:cubicBezTo>
                  <a:cubicBezTo>
                    <a:pt x="55" y="45"/>
                    <a:pt x="55" y="45"/>
                    <a:pt x="55" y="45"/>
                  </a:cubicBezTo>
                  <a:cubicBezTo>
                    <a:pt x="61" y="37"/>
                    <a:pt x="61" y="37"/>
                    <a:pt x="61" y="37"/>
                  </a:cubicBezTo>
                  <a:cubicBezTo>
                    <a:pt x="13" y="0"/>
                    <a:pt x="13" y="0"/>
                    <a:pt x="13" y="0"/>
                  </a:cubicBezTo>
                  <a:cubicBezTo>
                    <a:pt x="0" y="16"/>
                    <a:pt x="0" y="16"/>
                    <a:pt x="0" y="16"/>
                  </a:cubicBezTo>
                  <a:cubicBezTo>
                    <a:pt x="49" y="54"/>
                    <a:pt x="49" y="54"/>
                    <a:pt x="49" y="54"/>
                  </a:cubicBezTo>
                  <a:cubicBezTo>
                    <a:pt x="49" y="54"/>
                    <a:pt x="49" y="54"/>
                    <a:pt x="49" y="54"/>
                  </a:cubicBezTo>
                  <a:cubicBezTo>
                    <a:pt x="54" y="57"/>
                    <a:pt x="58" y="64"/>
                    <a:pt x="58" y="71"/>
                  </a:cubicBezTo>
                  <a:cubicBezTo>
                    <a:pt x="58" y="71"/>
                    <a:pt x="58" y="71"/>
                    <a:pt x="58" y="71"/>
                  </a:cubicBezTo>
                  <a:cubicBezTo>
                    <a:pt x="65" y="71"/>
                    <a:pt x="65" y="71"/>
                    <a:pt x="65" y="71"/>
                  </a:cubicBezTo>
                  <a:cubicBezTo>
                    <a:pt x="58" y="71"/>
                    <a:pt x="58" y="71"/>
                    <a:pt x="58" y="71"/>
                  </a:cubicBezTo>
                  <a:cubicBezTo>
                    <a:pt x="58" y="71"/>
                    <a:pt x="58" y="71"/>
                    <a:pt x="58" y="71"/>
                  </a:cubicBezTo>
                  <a:cubicBezTo>
                    <a:pt x="65" y="71"/>
                    <a:pt x="65" y="71"/>
                    <a:pt x="65" y="71"/>
                  </a:cubicBezTo>
                  <a:cubicBezTo>
                    <a:pt x="58" y="71"/>
                    <a:pt x="58" y="71"/>
                    <a:pt x="58" y="71"/>
                  </a:cubicBezTo>
                  <a:cubicBezTo>
                    <a:pt x="58" y="71"/>
                    <a:pt x="58" y="71"/>
                    <a:pt x="58" y="71"/>
                  </a:cubicBezTo>
                  <a:cubicBezTo>
                    <a:pt x="57" y="407"/>
                    <a:pt x="57" y="407"/>
                    <a:pt x="57" y="407"/>
                  </a:cubicBezTo>
                  <a:cubicBezTo>
                    <a:pt x="57" y="412"/>
                    <a:pt x="55" y="417"/>
                    <a:pt x="52" y="420"/>
                  </a:cubicBezTo>
                  <a:cubicBezTo>
                    <a:pt x="49" y="424"/>
                    <a:pt x="44" y="426"/>
                    <a:pt x="40" y="426"/>
                  </a:cubicBezTo>
                  <a:cubicBezTo>
                    <a:pt x="40" y="426"/>
                    <a:pt x="40" y="426"/>
                    <a:pt x="40" y="426"/>
                  </a:cubicBezTo>
                  <a:cubicBezTo>
                    <a:pt x="40" y="432"/>
                    <a:pt x="40" y="432"/>
                    <a:pt x="40" y="432"/>
                  </a:cubicBezTo>
                  <a:cubicBezTo>
                    <a:pt x="40" y="426"/>
                    <a:pt x="40" y="426"/>
                    <a:pt x="40" y="426"/>
                  </a:cubicBezTo>
                  <a:cubicBezTo>
                    <a:pt x="40" y="426"/>
                    <a:pt x="40" y="426"/>
                    <a:pt x="40" y="426"/>
                  </a:cubicBezTo>
                  <a:cubicBezTo>
                    <a:pt x="40" y="432"/>
                    <a:pt x="40" y="432"/>
                    <a:pt x="40" y="432"/>
                  </a:cubicBezTo>
                  <a:cubicBezTo>
                    <a:pt x="40" y="426"/>
                    <a:pt x="40" y="426"/>
                    <a:pt x="40" y="426"/>
                  </a:cubicBezTo>
                  <a:cubicBezTo>
                    <a:pt x="3" y="425"/>
                    <a:pt x="3" y="425"/>
                    <a:pt x="3" y="425"/>
                  </a:cubicBezTo>
                  <a:cubicBezTo>
                    <a:pt x="3" y="446"/>
                    <a:pt x="3" y="446"/>
                    <a:pt x="3" y="446"/>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dirty="0"/>
            </a:p>
          </p:txBody>
        </p:sp>
        <p:sp>
          <p:nvSpPr>
            <p:cNvPr id="1350" name="Freeform 1675">
              <a:extLst>
                <a:ext uri="{FF2B5EF4-FFF2-40B4-BE49-F238E27FC236}">
                  <a16:creationId xmlns:a16="http://schemas.microsoft.com/office/drawing/2014/main" id="{B7FFA4E4-16C6-4571-BEB1-DE4095061B22}"/>
                </a:ext>
              </a:extLst>
            </p:cNvPr>
            <p:cNvSpPr>
              <a:spLocks/>
            </p:cNvSpPr>
            <p:nvPr userDrawn="1"/>
          </p:nvSpPr>
          <p:spPr bwMode="auto">
            <a:xfrm>
              <a:off x="5891213" y="5254625"/>
              <a:ext cx="825500" cy="877888"/>
            </a:xfrm>
            <a:custGeom>
              <a:avLst/>
              <a:gdLst>
                <a:gd name="T0" fmla="*/ 72 w 417"/>
                <a:gd name="T1" fmla="*/ 0 h 444"/>
                <a:gd name="T2" fmla="*/ 18 w 417"/>
                <a:gd name="T3" fmla="*/ 38 h 444"/>
                <a:gd name="T4" fmla="*/ 24 w 417"/>
                <a:gd name="T5" fmla="*/ 47 h 444"/>
                <a:gd name="T6" fmla="*/ 19 w 417"/>
                <a:gd name="T7" fmla="*/ 38 h 444"/>
                <a:gd name="T8" fmla="*/ 1 w 417"/>
                <a:gd name="T9" fmla="*/ 71 h 444"/>
                <a:gd name="T10" fmla="*/ 0 w 417"/>
                <a:gd name="T11" fmla="*/ 405 h 444"/>
                <a:gd name="T12" fmla="*/ 10 w 417"/>
                <a:gd name="T13" fmla="*/ 405 h 444"/>
                <a:gd name="T14" fmla="*/ 0 w 417"/>
                <a:gd name="T15" fmla="*/ 404 h 444"/>
                <a:gd name="T16" fmla="*/ 0 w 417"/>
                <a:gd name="T17" fmla="*/ 405 h 444"/>
                <a:gd name="T18" fmla="*/ 10 w 417"/>
                <a:gd name="T19" fmla="*/ 432 h 444"/>
                <a:gd name="T20" fmla="*/ 37 w 417"/>
                <a:gd name="T21" fmla="*/ 444 h 444"/>
                <a:gd name="T22" fmla="*/ 417 w 417"/>
                <a:gd name="T23" fmla="*/ 444 h 444"/>
                <a:gd name="T24" fmla="*/ 417 w 417"/>
                <a:gd name="T25" fmla="*/ 424 h 444"/>
                <a:gd name="T26" fmla="*/ 37 w 417"/>
                <a:gd name="T27" fmla="*/ 423 h 444"/>
                <a:gd name="T28" fmla="*/ 37 w 417"/>
                <a:gd name="T29" fmla="*/ 423 h 444"/>
                <a:gd name="T30" fmla="*/ 25 w 417"/>
                <a:gd name="T31" fmla="*/ 418 h 444"/>
                <a:gd name="T32" fmla="*/ 20 w 417"/>
                <a:gd name="T33" fmla="*/ 405 h 444"/>
                <a:gd name="T34" fmla="*/ 12 w 417"/>
                <a:gd name="T35" fmla="*/ 405 h 444"/>
                <a:gd name="T36" fmla="*/ 20 w 417"/>
                <a:gd name="T37" fmla="*/ 405 h 444"/>
                <a:gd name="T38" fmla="*/ 20 w 417"/>
                <a:gd name="T39" fmla="*/ 405 h 444"/>
                <a:gd name="T40" fmla="*/ 12 w 417"/>
                <a:gd name="T41" fmla="*/ 405 h 444"/>
                <a:gd name="T42" fmla="*/ 20 w 417"/>
                <a:gd name="T43" fmla="*/ 405 h 444"/>
                <a:gd name="T44" fmla="*/ 15 w 417"/>
                <a:gd name="T45" fmla="*/ 405 h 444"/>
                <a:gd name="T46" fmla="*/ 20 w 417"/>
                <a:gd name="T47" fmla="*/ 405 h 444"/>
                <a:gd name="T48" fmla="*/ 20 w 417"/>
                <a:gd name="T49" fmla="*/ 405 h 444"/>
                <a:gd name="T50" fmla="*/ 15 w 417"/>
                <a:gd name="T51" fmla="*/ 405 h 444"/>
                <a:gd name="T52" fmla="*/ 20 w 417"/>
                <a:gd name="T53" fmla="*/ 405 h 444"/>
                <a:gd name="T54" fmla="*/ 20 w 417"/>
                <a:gd name="T55" fmla="*/ 405 h 444"/>
                <a:gd name="T56" fmla="*/ 21 w 417"/>
                <a:gd name="T57" fmla="*/ 71 h 444"/>
                <a:gd name="T58" fmla="*/ 29 w 417"/>
                <a:gd name="T59" fmla="*/ 55 h 444"/>
                <a:gd name="T60" fmla="*/ 30 w 417"/>
                <a:gd name="T61" fmla="*/ 55 h 444"/>
                <a:gd name="T62" fmla="*/ 84 w 417"/>
                <a:gd name="T63" fmla="*/ 17 h 444"/>
                <a:gd name="T64" fmla="*/ 72 w 417"/>
                <a:gd name="T65" fmla="*/ 0 h 4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17" h="444">
                  <a:moveTo>
                    <a:pt x="72" y="0"/>
                  </a:moveTo>
                  <a:cubicBezTo>
                    <a:pt x="18" y="38"/>
                    <a:pt x="18" y="38"/>
                    <a:pt x="18" y="38"/>
                  </a:cubicBezTo>
                  <a:cubicBezTo>
                    <a:pt x="24" y="47"/>
                    <a:pt x="24" y="47"/>
                    <a:pt x="24" y="47"/>
                  </a:cubicBezTo>
                  <a:cubicBezTo>
                    <a:pt x="19" y="38"/>
                    <a:pt x="19" y="38"/>
                    <a:pt x="19" y="38"/>
                  </a:cubicBezTo>
                  <a:cubicBezTo>
                    <a:pt x="7" y="45"/>
                    <a:pt x="1" y="58"/>
                    <a:pt x="1" y="71"/>
                  </a:cubicBezTo>
                  <a:cubicBezTo>
                    <a:pt x="0" y="405"/>
                    <a:pt x="0" y="405"/>
                    <a:pt x="0" y="405"/>
                  </a:cubicBezTo>
                  <a:cubicBezTo>
                    <a:pt x="10" y="405"/>
                    <a:pt x="10" y="405"/>
                    <a:pt x="10" y="405"/>
                  </a:cubicBezTo>
                  <a:cubicBezTo>
                    <a:pt x="0" y="404"/>
                    <a:pt x="0" y="404"/>
                    <a:pt x="0" y="404"/>
                  </a:cubicBezTo>
                  <a:cubicBezTo>
                    <a:pt x="0" y="405"/>
                    <a:pt x="0" y="405"/>
                    <a:pt x="0" y="405"/>
                  </a:cubicBezTo>
                  <a:cubicBezTo>
                    <a:pt x="0" y="415"/>
                    <a:pt x="4" y="425"/>
                    <a:pt x="10" y="432"/>
                  </a:cubicBezTo>
                  <a:cubicBezTo>
                    <a:pt x="17" y="439"/>
                    <a:pt x="26" y="444"/>
                    <a:pt x="37" y="444"/>
                  </a:cubicBezTo>
                  <a:cubicBezTo>
                    <a:pt x="417" y="444"/>
                    <a:pt x="417" y="444"/>
                    <a:pt x="417" y="444"/>
                  </a:cubicBezTo>
                  <a:cubicBezTo>
                    <a:pt x="417" y="424"/>
                    <a:pt x="417" y="424"/>
                    <a:pt x="417" y="424"/>
                  </a:cubicBezTo>
                  <a:cubicBezTo>
                    <a:pt x="37" y="423"/>
                    <a:pt x="37" y="423"/>
                    <a:pt x="37" y="423"/>
                  </a:cubicBezTo>
                  <a:cubicBezTo>
                    <a:pt x="37" y="423"/>
                    <a:pt x="37" y="423"/>
                    <a:pt x="37" y="423"/>
                  </a:cubicBezTo>
                  <a:cubicBezTo>
                    <a:pt x="32" y="423"/>
                    <a:pt x="28" y="422"/>
                    <a:pt x="25" y="418"/>
                  </a:cubicBezTo>
                  <a:cubicBezTo>
                    <a:pt x="22" y="415"/>
                    <a:pt x="20" y="410"/>
                    <a:pt x="20" y="405"/>
                  </a:cubicBezTo>
                  <a:cubicBezTo>
                    <a:pt x="12" y="405"/>
                    <a:pt x="12" y="405"/>
                    <a:pt x="12" y="405"/>
                  </a:cubicBezTo>
                  <a:cubicBezTo>
                    <a:pt x="20" y="405"/>
                    <a:pt x="20" y="405"/>
                    <a:pt x="20" y="405"/>
                  </a:cubicBezTo>
                  <a:cubicBezTo>
                    <a:pt x="20" y="405"/>
                    <a:pt x="20" y="405"/>
                    <a:pt x="20" y="405"/>
                  </a:cubicBezTo>
                  <a:cubicBezTo>
                    <a:pt x="12" y="405"/>
                    <a:pt x="12" y="405"/>
                    <a:pt x="12" y="405"/>
                  </a:cubicBezTo>
                  <a:cubicBezTo>
                    <a:pt x="20" y="405"/>
                    <a:pt x="20" y="405"/>
                    <a:pt x="20" y="405"/>
                  </a:cubicBezTo>
                  <a:cubicBezTo>
                    <a:pt x="15" y="405"/>
                    <a:pt x="15" y="405"/>
                    <a:pt x="15" y="405"/>
                  </a:cubicBezTo>
                  <a:cubicBezTo>
                    <a:pt x="20" y="405"/>
                    <a:pt x="20" y="405"/>
                    <a:pt x="20" y="405"/>
                  </a:cubicBezTo>
                  <a:cubicBezTo>
                    <a:pt x="20" y="405"/>
                    <a:pt x="20" y="405"/>
                    <a:pt x="20" y="405"/>
                  </a:cubicBezTo>
                  <a:cubicBezTo>
                    <a:pt x="15" y="405"/>
                    <a:pt x="15" y="405"/>
                    <a:pt x="15" y="405"/>
                  </a:cubicBezTo>
                  <a:cubicBezTo>
                    <a:pt x="20" y="405"/>
                    <a:pt x="20" y="405"/>
                    <a:pt x="20" y="405"/>
                  </a:cubicBezTo>
                  <a:cubicBezTo>
                    <a:pt x="20" y="405"/>
                    <a:pt x="20" y="405"/>
                    <a:pt x="20" y="405"/>
                  </a:cubicBezTo>
                  <a:cubicBezTo>
                    <a:pt x="21" y="71"/>
                    <a:pt x="21" y="71"/>
                    <a:pt x="21" y="71"/>
                  </a:cubicBezTo>
                  <a:cubicBezTo>
                    <a:pt x="21" y="65"/>
                    <a:pt x="24" y="58"/>
                    <a:pt x="29" y="55"/>
                  </a:cubicBezTo>
                  <a:cubicBezTo>
                    <a:pt x="30" y="55"/>
                    <a:pt x="30" y="55"/>
                    <a:pt x="30" y="55"/>
                  </a:cubicBezTo>
                  <a:cubicBezTo>
                    <a:pt x="84" y="17"/>
                    <a:pt x="84" y="17"/>
                    <a:pt x="84" y="17"/>
                  </a:cubicBezTo>
                  <a:cubicBezTo>
                    <a:pt x="72" y="0"/>
                    <a:pt x="72" y="0"/>
                    <a:pt x="72" y="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351" name="Rectangle 1676">
              <a:extLst>
                <a:ext uri="{FF2B5EF4-FFF2-40B4-BE49-F238E27FC236}">
                  <a16:creationId xmlns:a16="http://schemas.microsoft.com/office/drawing/2014/main" id="{CE672263-5758-4948-A4BA-AAC0701B5230}"/>
                </a:ext>
              </a:extLst>
            </p:cNvPr>
            <p:cNvSpPr>
              <a:spLocks noChangeArrowheads="1"/>
            </p:cNvSpPr>
            <p:nvPr userDrawn="1"/>
          </p:nvSpPr>
          <p:spPr bwMode="auto">
            <a:xfrm>
              <a:off x="6215063" y="5122863"/>
              <a:ext cx="631825" cy="39688"/>
            </a:xfrm>
            <a:prstGeom prst="rect">
              <a:avLst/>
            </a:prstGeom>
            <a:solidFill>
              <a:srgbClr val="0686D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352" name="Freeform 1677">
              <a:extLst>
                <a:ext uri="{FF2B5EF4-FFF2-40B4-BE49-F238E27FC236}">
                  <a16:creationId xmlns:a16="http://schemas.microsoft.com/office/drawing/2014/main" id="{40185A86-B47D-4FE6-9CE4-5E1DD0396CF5}"/>
                </a:ext>
              </a:extLst>
            </p:cNvPr>
            <p:cNvSpPr>
              <a:spLocks/>
            </p:cNvSpPr>
            <p:nvPr userDrawn="1"/>
          </p:nvSpPr>
          <p:spPr bwMode="auto">
            <a:xfrm>
              <a:off x="6215063" y="5122863"/>
              <a:ext cx="631825" cy="39688"/>
            </a:xfrm>
            <a:custGeom>
              <a:avLst/>
              <a:gdLst>
                <a:gd name="T0" fmla="*/ 0 w 398"/>
                <a:gd name="T1" fmla="*/ 25 h 25"/>
                <a:gd name="T2" fmla="*/ 398 w 398"/>
                <a:gd name="T3" fmla="*/ 25 h 25"/>
                <a:gd name="T4" fmla="*/ 398 w 398"/>
                <a:gd name="T5" fmla="*/ 0 h 25"/>
                <a:gd name="T6" fmla="*/ 0 w 398"/>
                <a:gd name="T7" fmla="*/ 0 h 25"/>
              </a:gdLst>
              <a:ahLst/>
              <a:cxnLst>
                <a:cxn ang="0">
                  <a:pos x="T0" y="T1"/>
                </a:cxn>
                <a:cxn ang="0">
                  <a:pos x="T2" y="T3"/>
                </a:cxn>
                <a:cxn ang="0">
                  <a:pos x="T4" y="T5"/>
                </a:cxn>
                <a:cxn ang="0">
                  <a:pos x="T6" y="T7"/>
                </a:cxn>
              </a:cxnLst>
              <a:rect l="0" t="0" r="r" b="b"/>
              <a:pathLst>
                <a:path w="398" h="25">
                  <a:moveTo>
                    <a:pt x="0" y="25"/>
                  </a:moveTo>
                  <a:lnTo>
                    <a:pt x="398" y="25"/>
                  </a:lnTo>
                  <a:lnTo>
                    <a:pt x="398" y="0"/>
                  </a:lnTo>
                  <a:lnTo>
                    <a:pt x="0" y="0"/>
                  </a:lnTo>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353" name="Rectangle 1678">
              <a:extLst>
                <a:ext uri="{FF2B5EF4-FFF2-40B4-BE49-F238E27FC236}">
                  <a16:creationId xmlns:a16="http://schemas.microsoft.com/office/drawing/2014/main" id="{5959B015-AAAF-4976-A5A5-52D2461048DC}"/>
                </a:ext>
              </a:extLst>
            </p:cNvPr>
            <p:cNvSpPr>
              <a:spLocks noChangeArrowheads="1"/>
            </p:cNvSpPr>
            <p:nvPr userDrawn="1"/>
          </p:nvSpPr>
          <p:spPr bwMode="auto">
            <a:xfrm>
              <a:off x="6215063" y="5284788"/>
              <a:ext cx="631825" cy="39688"/>
            </a:xfrm>
            <a:prstGeom prst="rect">
              <a:avLst/>
            </a:prstGeom>
            <a:solidFill>
              <a:srgbClr val="0686D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354" name="Freeform 1679">
              <a:extLst>
                <a:ext uri="{FF2B5EF4-FFF2-40B4-BE49-F238E27FC236}">
                  <a16:creationId xmlns:a16="http://schemas.microsoft.com/office/drawing/2014/main" id="{6CB5766A-98CA-4A7F-A1A0-C1609874738D}"/>
                </a:ext>
              </a:extLst>
            </p:cNvPr>
            <p:cNvSpPr>
              <a:spLocks/>
            </p:cNvSpPr>
            <p:nvPr userDrawn="1"/>
          </p:nvSpPr>
          <p:spPr bwMode="auto">
            <a:xfrm>
              <a:off x="6215063" y="5284788"/>
              <a:ext cx="631825" cy="39688"/>
            </a:xfrm>
            <a:custGeom>
              <a:avLst/>
              <a:gdLst>
                <a:gd name="T0" fmla="*/ 0 w 398"/>
                <a:gd name="T1" fmla="*/ 25 h 25"/>
                <a:gd name="T2" fmla="*/ 398 w 398"/>
                <a:gd name="T3" fmla="*/ 25 h 25"/>
                <a:gd name="T4" fmla="*/ 398 w 398"/>
                <a:gd name="T5" fmla="*/ 0 h 25"/>
                <a:gd name="T6" fmla="*/ 0 w 398"/>
                <a:gd name="T7" fmla="*/ 0 h 25"/>
              </a:gdLst>
              <a:ahLst/>
              <a:cxnLst>
                <a:cxn ang="0">
                  <a:pos x="T0" y="T1"/>
                </a:cxn>
                <a:cxn ang="0">
                  <a:pos x="T2" y="T3"/>
                </a:cxn>
                <a:cxn ang="0">
                  <a:pos x="T4" y="T5"/>
                </a:cxn>
                <a:cxn ang="0">
                  <a:pos x="T6" y="T7"/>
                </a:cxn>
              </a:cxnLst>
              <a:rect l="0" t="0" r="r" b="b"/>
              <a:pathLst>
                <a:path w="398" h="25">
                  <a:moveTo>
                    <a:pt x="0" y="25"/>
                  </a:moveTo>
                  <a:lnTo>
                    <a:pt x="398" y="25"/>
                  </a:lnTo>
                  <a:lnTo>
                    <a:pt x="398" y="0"/>
                  </a:lnTo>
                  <a:lnTo>
                    <a:pt x="0" y="0"/>
                  </a:lnTo>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355" name="Rectangle 1680">
              <a:extLst>
                <a:ext uri="{FF2B5EF4-FFF2-40B4-BE49-F238E27FC236}">
                  <a16:creationId xmlns:a16="http://schemas.microsoft.com/office/drawing/2014/main" id="{5B6D5A4A-16A6-4818-99A5-8D86E8653EE9}"/>
                </a:ext>
              </a:extLst>
            </p:cNvPr>
            <p:cNvSpPr>
              <a:spLocks noChangeArrowheads="1"/>
            </p:cNvSpPr>
            <p:nvPr userDrawn="1"/>
          </p:nvSpPr>
          <p:spPr bwMode="auto">
            <a:xfrm>
              <a:off x="6215063" y="5446713"/>
              <a:ext cx="631825" cy="41275"/>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356" name="Freeform 1681">
              <a:extLst>
                <a:ext uri="{FF2B5EF4-FFF2-40B4-BE49-F238E27FC236}">
                  <a16:creationId xmlns:a16="http://schemas.microsoft.com/office/drawing/2014/main" id="{A6D7AA78-E1DE-4CA5-8127-97061A935CC6}"/>
                </a:ext>
              </a:extLst>
            </p:cNvPr>
            <p:cNvSpPr>
              <a:spLocks/>
            </p:cNvSpPr>
            <p:nvPr userDrawn="1"/>
          </p:nvSpPr>
          <p:spPr bwMode="auto">
            <a:xfrm>
              <a:off x="6215063" y="5446713"/>
              <a:ext cx="631825" cy="41275"/>
            </a:xfrm>
            <a:custGeom>
              <a:avLst/>
              <a:gdLst>
                <a:gd name="T0" fmla="*/ 0 w 398"/>
                <a:gd name="T1" fmla="*/ 26 h 26"/>
                <a:gd name="T2" fmla="*/ 398 w 398"/>
                <a:gd name="T3" fmla="*/ 26 h 26"/>
                <a:gd name="T4" fmla="*/ 398 w 398"/>
                <a:gd name="T5" fmla="*/ 0 h 26"/>
                <a:gd name="T6" fmla="*/ 0 w 398"/>
                <a:gd name="T7" fmla="*/ 0 h 26"/>
              </a:gdLst>
              <a:ahLst/>
              <a:cxnLst>
                <a:cxn ang="0">
                  <a:pos x="T0" y="T1"/>
                </a:cxn>
                <a:cxn ang="0">
                  <a:pos x="T2" y="T3"/>
                </a:cxn>
                <a:cxn ang="0">
                  <a:pos x="T4" y="T5"/>
                </a:cxn>
                <a:cxn ang="0">
                  <a:pos x="T6" y="T7"/>
                </a:cxn>
              </a:cxnLst>
              <a:rect l="0" t="0" r="r" b="b"/>
              <a:pathLst>
                <a:path w="398" h="26">
                  <a:moveTo>
                    <a:pt x="0" y="26"/>
                  </a:moveTo>
                  <a:lnTo>
                    <a:pt x="398" y="26"/>
                  </a:lnTo>
                  <a:lnTo>
                    <a:pt x="398"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357" name="Freeform 1682">
              <a:extLst>
                <a:ext uri="{FF2B5EF4-FFF2-40B4-BE49-F238E27FC236}">
                  <a16:creationId xmlns:a16="http://schemas.microsoft.com/office/drawing/2014/main" id="{CF8D8277-E1F0-47C7-A516-4E677D2209D0}"/>
                </a:ext>
              </a:extLst>
            </p:cNvPr>
            <p:cNvSpPr>
              <a:spLocks/>
            </p:cNvSpPr>
            <p:nvPr userDrawn="1"/>
          </p:nvSpPr>
          <p:spPr bwMode="auto">
            <a:xfrm>
              <a:off x="4818063" y="5983288"/>
              <a:ext cx="171450" cy="133350"/>
            </a:xfrm>
            <a:custGeom>
              <a:avLst/>
              <a:gdLst>
                <a:gd name="T0" fmla="*/ 84 w 86"/>
                <a:gd name="T1" fmla="*/ 26 h 68"/>
                <a:gd name="T2" fmla="*/ 48 w 86"/>
                <a:gd name="T3" fmla="*/ 64 h 68"/>
                <a:gd name="T4" fmla="*/ 3 w 86"/>
                <a:gd name="T5" fmla="*/ 41 h 68"/>
                <a:gd name="T6" fmla="*/ 39 w 86"/>
                <a:gd name="T7" fmla="*/ 4 h 68"/>
                <a:gd name="T8" fmla="*/ 84 w 86"/>
                <a:gd name="T9" fmla="*/ 26 h 68"/>
              </a:gdLst>
              <a:ahLst/>
              <a:cxnLst>
                <a:cxn ang="0">
                  <a:pos x="T0" y="T1"/>
                </a:cxn>
                <a:cxn ang="0">
                  <a:pos x="T2" y="T3"/>
                </a:cxn>
                <a:cxn ang="0">
                  <a:pos x="T4" y="T5"/>
                </a:cxn>
                <a:cxn ang="0">
                  <a:pos x="T6" y="T7"/>
                </a:cxn>
                <a:cxn ang="0">
                  <a:pos x="T8" y="T9"/>
                </a:cxn>
              </a:cxnLst>
              <a:rect l="0" t="0" r="r" b="b"/>
              <a:pathLst>
                <a:path w="86" h="68">
                  <a:moveTo>
                    <a:pt x="84" y="26"/>
                  </a:moveTo>
                  <a:cubicBezTo>
                    <a:pt x="86" y="43"/>
                    <a:pt x="71" y="60"/>
                    <a:pt x="48" y="64"/>
                  </a:cubicBezTo>
                  <a:cubicBezTo>
                    <a:pt x="26" y="68"/>
                    <a:pt x="6" y="58"/>
                    <a:pt x="3" y="41"/>
                  </a:cubicBezTo>
                  <a:cubicBezTo>
                    <a:pt x="0" y="25"/>
                    <a:pt x="16" y="8"/>
                    <a:pt x="39" y="4"/>
                  </a:cubicBezTo>
                  <a:cubicBezTo>
                    <a:pt x="61" y="0"/>
                    <a:pt x="81" y="10"/>
                    <a:pt x="84" y="2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358" name="Freeform 1683">
              <a:extLst>
                <a:ext uri="{FF2B5EF4-FFF2-40B4-BE49-F238E27FC236}">
                  <a16:creationId xmlns:a16="http://schemas.microsoft.com/office/drawing/2014/main" id="{8547BE5A-981D-46FE-BB36-7DA44A9929A0}"/>
                </a:ext>
              </a:extLst>
            </p:cNvPr>
            <p:cNvSpPr>
              <a:spLocks/>
            </p:cNvSpPr>
            <p:nvPr userDrawn="1"/>
          </p:nvSpPr>
          <p:spPr bwMode="auto">
            <a:xfrm>
              <a:off x="4805363" y="5969000"/>
              <a:ext cx="198438" cy="161925"/>
            </a:xfrm>
            <a:custGeom>
              <a:avLst/>
              <a:gdLst>
                <a:gd name="T0" fmla="*/ 91 w 101"/>
                <a:gd name="T1" fmla="*/ 33 h 82"/>
                <a:gd name="T2" fmla="*/ 81 w 101"/>
                <a:gd name="T3" fmla="*/ 35 h 82"/>
                <a:gd name="T4" fmla="*/ 81 w 101"/>
                <a:gd name="T5" fmla="*/ 37 h 82"/>
                <a:gd name="T6" fmla="*/ 79 w 101"/>
                <a:gd name="T7" fmla="*/ 44 h 82"/>
                <a:gd name="T8" fmla="*/ 70 w 101"/>
                <a:gd name="T9" fmla="*/ 54 h 82"/>
                <a:gd name="T10" fmla="*/ 53 w 101"/>
                <a:gd name="T11" fmla="*/ 61 h 82"/>
                <a:gd name="T12" fmla="*/ 45 w 101"/>
                <a:gd name="T13" fmla="*/ 61 h 82"/>
                <a:gd name="T14" fmla="*/ 27 w 101"/>
                <a:gd name="T15" fmla="*/ 57 h 82"/>
                <a:gd name="T16" fmla="*/ 22 w 101"/>
                <a:gd name="T17" fmla="*/ 52 h 82"/>
                <a:gd name="T18" fmla="*/ 20 w 101"/>
                <a:gd name="T19" fmla="*/ 47 h 82"/>
                <a:gd name="T20" fmla="*/ 20 w 101"/>
                <a:gd name="T21" fmla="*/ 45 h 82"/>
                <a:gd name="T22" fmla="*/ 22 w 101"/>
                <a:gd name="T23" fmla="*/ 38 h 82"/>
                <a:gd name="T24" fmla="*/ 31 w 101"/>
                <a:gd name="T25" fmla="*/ 28 h 82"/>
                <a:gd name="T26" fmla="*/ 47 w 101"/>
                <a:gd name="T27" fmla="*/ 21 h 82"/>
                <a:gd name="T28" fmla="*/ 47 w 101"/>
                <a:gd name="T29" fmla="*/ 21 h 82"/>
                <a:gd name="T30" fmla="*/ 56 w 101"/>
                <a:gd name="T31" fmla="*/ 20 h 82"/>
                <a:gd name="T32" fmla="*/ 74 w 101"/>
                <a:gd name="T33" fmla="*/ 25 h 82"/>
                <a:gd name="T34" fmla="*/ 79 w 101"/>
                <a:gd name="T35" fmla="*/ 30 h 82"/>
                <a:gd name="T36" fmla="*/ 81 w 101"/>
                <a:gd name="T37" fmla="*/ 35 h 82"/>
                <a:gd name="T38" fmla="*/ 91 w 101"/>
                <a:gd name="T39" fmla="*/ 33 h 82"/>
                <a:gd name="T40" fmla="*/ 101 w 101"/>
                <a:gd name="T41" fmla="*/ 32 h 82"/>
                <a:gd name="T42" fmla="*/ 95 w 101"/>
                <a:gd name="T43" fmla="*/ 18 h 82"/>
                <a:gd name="T44" fmla="*/ 78 w 101"/>
                <a:gd name="T45" fmla="*/ 5 h 82"/>
                <a:gd name="T46" fmla="*/ 56 w 101"/>
                <a:gd name="T47" fmla="*/ 0 h 82"/>
                <a:gd name="T48" fmla="*/ 44 w 101"/>
                <a:gd name="T49" fmla="*/ 1 h 82"/>
                <a:gd name="T50" fmla="*/ 44 w 101"/>
                <a:gd name="T51" fmla="*/ 1 h 82"/>
                <a:gd name="T52" fmla="*/ 13 w 101"/>
                <a:gd name="T53" fmla="*/ 16 h 82"/>
                <a:gd name="T54" fmla="*/ 3 w 101"/>
                <a:gd name="T55" fmla="*/ 29 h 82"/>
                <a:gd name="T56" fmla="*/ 0 w 101"/>
                <a:gd name="T57" fmla="*/ 45 h 82"/>
                <a:gd name="T58" fmla="*/ 0 w 101"/>
                <a:gd name="T59" fmla="*/ 50 h 82"/>
                <a:gd name="T60" fmla="*/ 6 w 101"/>
                <a:gd name="T61" fmla="*/ 64 h 82"/>
                <a:gd name="T62" fmla="*/ 23 w 101"/>
                <a:gd name="T63" fmla="*/ 77 h 82"/>
                <a:gd name="T64" fmla="*/ 45 w 101"/>
                <a:gd name="T65" fmla="*/ 82 h 82"/>
                <a:gd name="T66" fmla="*/ 57 w 101"/>
                <a:gd name="T67" fmla="*/ 81 h 82"/>
                <a:gd name="T68" fmla="*/ 88 w 101"/>
                <a:gd name="T69" fmla="*/ 65 h 82"/>
                <a:gd name="T70" fmla="*/ 97 w 101"/>
                <a:gd name="T71" fmla="*/ 53 h 82"/>
                <a:gd name="T72" fmla="*/ 101 w 101"/>
                <a:gd name="T73" fmla="*/ 37 h 82"/>
                <a:gd name="T74" fmla="*/ 101 w 101"/>
                <a:gd name="T75" fmla="*/ 32 h 82"/>
                <a:gd name="T76" fmla="*/ 91 w 101"/>
                <a:gd name="T77" fmla="*/ 33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01" h="82">
                  <a:moveTo>
                    <a:pt x="91" y="33"/>
                  </a:moveTo>
                  <a:cubicBezTo>
                    <a:pt x="81" y="35"/>
                    <a:pt x="81" y="35"/>
                    <a:pt x="81" y="35"/>
                  </a:cubicBezTo>
                  <a:cubicBezTo>
                    <a:pt x="81" y="36"/>
                    <a:pt x="81" y="36"/>
                    <a:pt x="81" y="37"/>
                  </a:cubicBezTo>
                  <a:cubicBezTo>
                    <a:pt x="81" y="39"/>
                    <a:pt x="80" y="41"/>
                    <a:pt x="79" y="44"/>
                  </a:cubicBezTo>
                  <a:cubicBezTo>
                    <a:pt x="78" y="47"/>
                    <a:pt x="74" y="51"/>
                    <a:pt x="70" y="54"/>
                  </a:cubicBezTo>
                  <a:cubicBezTo>
                    <a:pt x="65" y="57"/>
                    <a:pt x="60" y="60"/>
                    <a:pt x="53" y="61"/>
                  </a:cubicBezTo>
                  <a:cubicBezTo>
                    <a:pt x="51" y="61"/>
                    <a:pt x="48" y="61"/>
                    <a:pt x="45" y="61"/>
                  </a:cubicBezTo>
                  <a:cubicBezTo>
                    <a:pt x="38" y="61"/>
                    <a:pt x="32" y="60"/>
                    <a:pt x="27" y="57"/>
                  </a:cubicBezTo>
                  <a:cubicBezTo>
                    <a:pt x="25" y="55"/>
                    <a:pt x="23" y="54"/>
                    <a:pt x="22" y="52"/>
                  </a:cubicBezTo>
                  <a:cubicBezTo>
                    <a:pt x="21" y="50"/>
                    <a:pt x="20" y="49"/>
                    <a:pt x="20" y="47"/>
                  </a:cubicBezTo>
                  <a:cubicBezTo>
                    <a:pt x="20" y="46"/>
                    <a:pt x="20" y="45"/>
                    <a:pt x="20" y="45"/>
                  </a:cubicBezTo>
                  <a:cubicBezTo>
                    <a:pt x="20" y="43"/>
                    <a:pt x="20" y="40"/>
                    <a:pt x="22" y="38"/>
                  </a:cubicBezTo>
                  <a:cubicBezTo>
                    <a:pt x="23" y="35"/>
                    <a:pt x="26" y="31"/>
                    <a:pt x="31" y="28"/>
                  </a:cubicBezTo>
                  <a:cubicBezTo>
                    <a:pt x="35" y="25"/>
                    <a:pt x="41" y="22"/>
                    <a:pt x="47" y="21"/>
                  </a:cubicBezTo>
                  <a:cubicBezTo>
                    <a:pt x="47" y="21"/>
                    <a:pt x="47" y="21"/>
                    <a:pt x="47" y="21"/>
                  </a:cubicBezTo>
                  <a:cubicBezTo>
                    <a:pt x="50" y="21"/>
                    <a:pt x="53" y="20"/>
                    <a:pt x="56" y="20"/>
                  </a:cubicBezTo>
                  <a:cubicBezTo>
                    <a:pt x="63" y="20"/>
                    <a:pt x="69" y="22"/>
                    <a:pt x="74" y="25"/>
                  </a:cubicBezTo>
                  <a:cubicBezTo>
                    <a:pt x="76" y="26"/>
                    <a:pt x="77" y="28"/>
                    <a:pt x="79" y="30"/>
                  </a:cubicBezTo>
                  <a:cubicBezTo>
                    <a:pt x="80" y="31"/>
                    <a:pt x="80" y="33"/>
                    <a:pt x="81" y="35"/>
                  </a:cubicBezTo>
                  <a:cubicBezTo>
                    <a:pt x="91" y="33"/>
                    <a:pt x="91" y="33"/>
                    <a:pt x="91" y="33"/>
                  </a:cubicBezTo>
                  <a:cubicBezTo>
                    <a:pt x="101" y="32"/>
                    <a:pt x="101" y="32"/>
                    <a:pt x="101" y="32"/>
                  </a:cubicBezTo>
                  <a:cubicBezTo>
                    <a:pt x="100" y="27"/>
                    <a:pt x="98" y="22"/>
                    <a:pt x="95" y="18"/>
                  </a:cubicBezTo>
                  <a:cubicBezTo>
                    <a:pt x="91" y="12"/>
                    <a:pt x="85" y="8"/>
                    <a:pt x="78" y="5"/>
                  </a:cubicBezTo>
                  <a:cubicBezTo>
                    <a:pt x="71" y="2"/>
                    <a:pt x="64" y="0"/>
                    <a:pt x="56" y="0"/>
                  </a:cubicBezTo>
                  <a:cubicBezTo>
                    <a:pt x="52" y="0"/>
                    <a:pt x="48" y="0"/>
                    <a:pt x="44" y="1"/>
                  </a:cubicBezTo>
                  <a:cubicBezTo>
                    <a:pt x="44" y="1"/>
                    <a:pt x="44" y="1"/>
                    <a:pt x="44" y="1"/>
                  </a:cubicBezTo>
                  <a:cubicBezTo>
                    <a:pt x="32" y="3"/>
                    <a:pt x="21" y="9"/>
                    <a:pt x="13" y="16"/>
                  </a:cubicBezTo>
                  <a:cubicBezTo>
                    <a:pt x="9" y="20"/>
                    <a:pt x="6" y="24"/>
                    <a:pt x="3" y="29"/>
                  </a:cubicBezTo>
                  <a:cubicBezTo>
                    <a:pt x="1" y="34"/>
                    <a:pt x="0" y="39"/>
                    <a:pt x="0" y="45"/>
                  </a:cubicBezTo>
                  <a:cubicBezTo>
                    <a:pt x="0" y="46"/>
                    <a:pt x="0" y="48"/>
                    <a:pt x="0" y="50"/>
                  </a:cubicBezTo>
                  <a:cubicBezTo>
                    <a:pt x="1" y="55"/>
                    <a:pt x="3" y="60"/>
                    <a:pt x="6" y="64"/>
                  </a:cubicBezTo>
                  <a:cubicBezTo>
                    <a:pt x="10" y="70"/>
                    <a:pt x="16" y="74"/>
                    <a:pt x="23" y="77"/>
                  </a:cubicBezTo>
                  <a:cubicBezTo>
                    <a:pt x="30" y="80"/>
                    <a:pt x="37" y="82"/>
                    <a:pt x="45" y="82"/>
                  </a:cubicBezTo>
                  <a:cubicBezTo>
                    <a:pt x="49" y="82"/>
                    <a:pt x="53" y="81"/>
                    <a:pt x="57" y="81"/>
                  </a:cubicBezTo>
                  <a:cubicBezTo>
                    <a:pt x="69" y="78"/>
                    <a:pt x="80" y="73"/>
                    <a:pt x="88" y="65"/>
                  </a:cubicBezTo>
                  <a:cubicBezTo>
                    <a:pt x="92" y="62"/>
                    <a:pt x="95" y="57"/>
                    <a:pt x="97" y="53"/>
                  </a:cubicBezTo>
                  <a:cubicBezTo>
                    <a:pt x="100" y="48"/>
                    <a:pt x="101" y="43"/>
                    <a:pt x="101" y="37"/>
                  </a:cubicBezTo>
                  <a:cubicBezTo>
                    <a:pt x="101" y="35"/>
                    <a:pt x="101" y="34"/>
                    <a:pt x="101" y="32"/>
                  </a:cubicBezTo>
                  <a:lnTo>
                    <a:pt x="91" y="33"/>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359" name="Freeform 1684">
              <a:extLst>
                <a:ext uri="{FF2B5EF4-FFF2-40B4-BE49-F238E27FC236}">
                  <a16:creationId xmlns:a16="http://schemas.microsoft.com/office/drawing/2014/main" id="{F67ADABA-BA58-46DF-8B0A-EEEAC87153A6}"/>
                </a:ext>
              </a:extLst>
            </p:cNvPr>
            <p:cNvSpPr>
              <a:spLocks/>
            </p:cNvSpPr>
            <p:nvPr userDrawn="1"/>
          </p:nvSpPr>
          <p:spPr bwMode="auto">
            <a:xfrm>
              <a:off x="5046663" y="5983288"/>
              <a:ext cx="169863" cy="133350"/>
            </a:xfrm>
            <a:custGeom>
              <a:avLst/>
              <a:gdLst>
                <a:gd name="T0" fmla="*/ 83 w 86"/>
                <a:gd name="T1" fmla="*/ 26 h 68"/>
                <a:gd name="T2" fmla="*/ 48 w 86"/>
                <a:gd name="T3" fmla="*/ 64 h 68"/>
                <a:gd name="T4" fmla="*/ 2 w 86"/>
                <a:gd name="T5" fmla="*/ 41 h 68"/>
                <a:gd name="T6" fmla="*/ 38 w 86"/>
                <a:gd name="T7" fmla="*/ 4 h 68"/>
                <a:gd name="T8" fmla="*/ 83 w 86"/>
                <a:gd name="T9" fmla="*/ 26 h 68"/>
              </a:gdLst>
              <a:ahLst/>
              <a:cxnLst>
                <a:cxn ang="0">
                  <a:pos x="T0" y="T1"/>
                </a:cxn>
                <a:cxn ang="0">
                  <a:pos x="T2" y="T3"/>
                </a:cxn>
                <a:cxn ang="0">
                  <a:pos x="T4" y="T5"/>
                </a:cxn>
                <a:cxn ang="0">
                  <a:pos x="T6" y="T7"/>
                </a:cxn>
                <a:cxn ang="0">
                  <a:pos x="T8" y="T9"/>
                </a:cxn>
              </a:cxnLst>
              <a:rect l="0" t="0" r="r" b="b"/>
              <a:pathLst>
                <a:path w="86" h="68">
                  <a:moveTo>
                    <a:pt x="83" y="26"/>
                  </a:moveTo>
                  <a:cubicBezTo>
                    <a:pt x="86" y="43"/>
                    <a:pt x="70" y="60"/>
                    <a:pt x="48" y="64"/>
                  </a:cubicBezTo>
                  <a:cubicBezTo>
                    <a:pt x="25" y="68"/>
                    <a:pt x="5" y="58"/>
                    <a:pt x="2" y="41"/>
                  </a:cubicBezTo>
                  <a:cubicBezTo>
                    <a:pt x="0" y="25"/>
                    <a:pt x="16" y="8"/>
                    <a:pt x="38" y="4"/>
                  </a:cubicBezTo>
                  <a:cubicBezTo>
                    <a:pt x="60" y="0"/>
                    <a:pt x="80" y="10"/>
                    <a:pt x="83" y="2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360" name="Freeform 1685">
              <a:extLst>
                <a:ext uri="{FF2B5EF4-FFF2-40B4-BE49-F238E27FC236}">
                  <a16:creationId xmlns:a16="http://schemas.microsoft.com/office/drawing/2014/main" id="{13D3FB33-2FE5-4B8C-AFD2-B273AFF6C1FD}"/>
                </a:ext>
              </a:extLst>
            </p:cNvPr>
            <p:cNvSpPr>
              <a:spLocks/>
            </p:cNvSpPr>
            <p:nvPr userDrawn="1"/>
          </p:nvSpPr>
          <p:spPr bwMode="auto">
            <a:xfrm>
              <a:off x="5030788" y="5969000"/>
              <a:ext cx="201613" cy="161925"/>
            </a:xfrm>
            <a:custGeom>
              <a:avLst/>
              <a:gdLst>
                <a:gd name="T0" fmla="*/ 91 w 102"/>
                <a:gd name="T1" fmla="*/ 33 h 82"/>
                <a:gd name="T2" fmla="*/ 81 w 102"/>
                <a:gd name="T3" fmla="*/ 35 h 82"/>
                <a:gd name="T4" fmla="*/ 81 w 102"/>
                <a:gd name="T5" fmla="*/ 37 h 82"/>
                <a:gd name="T6" fmla="*/ 80 w 102"/>
                <a:gd name="T7" fmla="*/ 44 h 82"/>
                <a:gd name="T8" fmla="*/ 70 w 102"/>
                <a:gd name="T9" fmla="*/ 54 h 82"/>
                <a:gd name="T10" fmla="*/ 54 w 102"/>
                <a:gd name="T11" fmla="*/ 61 h 82"/>
                <a:gd name="T12" fmla="*/ 46 w 102"/>
                <a:gd name="T13" fmla="*/ 61 h 82"/>
                <a:gd name="T14" fmla="*/ 28 w 102"/>
                <a:gd name="T15" fmla="*/ 57 h 82"/>
                <a:gd name="T16" fmla="*/ 23 w 102"/>
                <a:gd name="T17" fmla="*/ 52 h 82"/>
                <a:gd name="T18" fmla="*/ 20 w 102"/>
                <a:gd name="T19" fmla="*/ 47 h 82"/>
                <a:gd name="T20" fmla="*/ 20 w 102"/>
                <a:gd name="T21" fmla="*/ 45 h 82"/>
                <a:gd name="T22" fmla="*/ 22 w 102"/>
                <a:gd name="T23" fmla="*/ 38 h 82"/>
                <a:gd name="T24" fmla="*/ 31 w 102"/>
                <a:gd name="T25" fmla="*/ 28 h 82"/>
                <a:gd name="T26" fmla="*/ 48 w 102"/>
                <a:gd name="T27" fmla="*/ 21 h 82"/>
                <a:gd name="T28" fmla="*/ 48 w 102"/>
                <a:gd name="T29" fmla="*/ 21 h 82"/>
                <a:gd name="T30" fmla="*/ 56 w 102"/>
                <a:gd name="T31" fmla="*/ 20 h 82"/>
                <a:gd name="T32" fmla="*/ 74 w 102"/>
                <a:gd name="T33" fmla="*/ 25 h 82"/>
                <a:gd name="T34" fmla="*/ 79 w 102"/>
                <a:gd name="T35" fmla="*/ 30 h 82"/>
                <a:gd name="T36" fmla="*/ 81 w 102"/>
                <a:gd name="T37" fmla="*/ 35 h 82"/>
                <a:gd name="T38" fmla="*/ 91 w 102"/>
                <a:gd name="T39" fmla="*/ 33 h 82"/>
                <a:gd name="T40" fmla="*/ 101 w 102"/>
                <a:gd name="T41" fmla="*/ 32 h 82"/>
                <a:gd name="T42" fmla="*/ 95 w 102"/>
                <a:gd name="T43" fmla="*/ 18 h 82"/>
                <a:gd name="T44" fmla="*/ 78 w 102"/>
                <a:gd name="T45" fmla="*/ 5 h 82"/>
                <a:gd name="T46" fmla="*/ 56 w 102"/>
                <a:gd name="T47" fmla="*/ 0 h 82"/>
                <a:gd name="T48" fmla="*/ 44 w 102"/>
                <a:gd name="T49" fmla="*/ 1 h 82"/>
                <a:gd name="T50" fmla="*/ 44 w 102"/>
                <a:gd name="T51" fmla="*/ 1 h 82"/>
                <a:gd name="T52" fmla="*/ 13 w 102"/>
                <a:gd name="T53" fmla="*/ 16 h 82"/>
                <a:gd name="T54" fmla="*/ 4 w 102"/>
                <a:gd name="T55" fmla="*/ 29 h 82"/>
                <a:gd name="T56" fmla="*/ 0 w 102"/>
                <a:gd name="T57" fmla="*/ 45 h 82"/>
                <a:gd name="T58" fmla="*/ 0 w 102"/>
                <a:gd name="T59" fmla="*/ 50 h 82"/>
                <a:gd name="T60" fmla="*/ 6 w 102"/>
                <a:gd name="T61" fmla="*/ 64 h 82"/>
                <a:gd name="T62" fmla="*/ 23 w 102"/>
                <a:gd name="T63" fmla="*/ 77 h 82"/>
                <a:gd name="T64" fmla="*/ 46 w 102"/>
                <a:gd name="T65" fmla="*/ 82 h 82"/>
                <a:gd name="T66" fmla="*/ 57 w 102"/>
                <a:gd name="T67" fmla="*/ 81 h 82"/>
                <a:gd name="T68" fmla="*/ 88 w 102"/>
                <a:gd name="T69" fmla="*/ 65 h 82"/>
                <a:gd name="T70" fmla="*/ 98 w 102"/>
                <a:gd name="T71" fmla="*/ 53 h 82"/>
                <a:gd name="T72" fmla="*/ 102 w 102"/>
                <a:gd name="T73" fmla="*/ 37 h 82"/>
                <a:gd name="T74" fmla="*/ 101 w 102"/>
                <a:gd name="T75" fmla="*/ 32 h 82"/>
                <a:gd name="T76" fmla="*/ 91 w 102"/>
                <a:gd name="T77" fmla="*/ 33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02" h="82">
                  <a:moveTo>
                    <a:pt x="91" y="33"/>
                  </a:moveTo>
                  <a:cubicBezTo>
                    <a:pt x="81" y="35"/>
                    <a:pt x="81" y="35"/>
                    <a:pt x="81" y="35"/>
                  </a:cubicBezTo>
                  <a:cubicBezTo>
                    <a:pt x="81" y="36"/>
                    <a:pt x="81" y="36"/>
                    <a:pt x="81" y="37"/>
                  </a:cubicBezTo>
                  <a:cubicBezTo>
                    <a:pt x="81" y="39"/>
                    <a:pt x="81" y="41"/>
                    <a:pt x="80" y="44"/>
                  </a:cubicBezTo>
                  <a:cubicBezTo>
                    <a:pt x="78" y="47"/>
                    <a:pt x="75" y="51"/>
                    <a:pt x="70" y="54"/>
                  </a:cubicBezTo>
                  <a:cubicBezTo>
                    <a:pt x="66" y="57"/>
                    <a:pt x="60" y="60"/>
                    <a:pt x="54" y="61"/>
                  </a:cubicBezTo>
                  <a:cubicBezTo>
                    <a:pt x="51" y="61"/>
                    <a:pt x="48" y="61"/>
                    <a:pt x="46" y="61"/>
                  </a:cubicBezTo>
                  <a:cubicBezTo>
                    <a:pt x="38" y="61"/>
                    <a:pt x="32" y="60"/>
                    <a:pt x="28" y="57"/>
                  </a:cubicBezTo>
                  <a:cubicBezTo>
                    <a:pt x="25" y="55"/>
                    <a:pt x="24" y="54"/>
                    <a:pt x="23" y="52"/>
                  </a:cubicBezTo>
                  <a:cubicBezTo>
                    <a:pt x="21" y="50"/>
                    <a:pt x="21" y="49"/>
                    <a:pt x="20" y="47"/>
                  </a:cubicBezTo>
                  <a:cubicBezTo>
                    <a:pt x="20" y="46"/>
                    <a:pt x="20" y="45"/>
                    <a:pt x="20" y="45"/>
                  </a:cubicBezTo>
                  <a:cubicBezTo>
                    <a:pt x="20" y="43"/>
                    <a:pt x="21" y="40"/>
                    <a:pt x="22" y="38"/>
                  </a:cubicBezTo>
                  <a:cubicBezTo>
                    <a:pt x="24" y="35"/>
                    <a:pt x="27" y="31"/>
                    <a:pt x="31" y="28"/>
                  </a:cubicBezTo>
                  <a:cubicBezTo>
                    <a:pt x="36" y="25"/>
                    <a:pt x="41" y="22"/>
                    <a:pt x="48" y="21"/>
                  </a:cubicBezTo>
                  <a:cubicBezTo>
                    <a:pt x="48" y="21"/>
                    <a:pt x="48" y="21"/>
                    <a:pt x="48" y="21"/>
                  </a:cubicBezTo>
                  <a:cubicBezTo>
                    <a:pt x="51" y="21"/>
                    <a:pt x="53" y="20"/>
                    <a:pt x="56" y="20"/>
                  </a:cubicBezTo>
                  <a:cubicBezTo>
                    <a:pt x="63" y="20"/>
                    <a:pt x="70" y="22"/>
                    <a:pt x="74" y="25"/>
                  </a:cubicBezTo>
                  <a:cubicBezTo>
                    <a:pt x="76" y="26"/>
                    <a:pt x="78" y="28"/>
                    <a:pt x="79" y="30"/>
                  </a:cubicBezTo>
                  <a:cubicBezTo>
                    <a:pt x="80" y="31"/>
                    <a:pt x="81" y="33"/>
                    <a:pt x="81" y="35"/>
                  </a:cubicBezTo>
                  <a:cubicBezTo>
                    <a:pt x="91" y="33"/>
                    <a:pt x="91" y="33"/>
                    <a:pt x="91" y="33"/>
                  </a:cubicBezTo>
                  <a:cubicBezTo>
                    <a:pt x="101" y="32"/>
                    <a:pt x="101" y="32"/>
                    <a:pt x="101" y="32"/>
                  </a:cubicBezTo>
                  <a:cubicBezTo>
                    <a:pt x="100" y="27"/>
                    <a:pt x="98" y="22"/>
                    <a:pt x="95" y="18"/>
                  </a:cubicBezTo>
                  <a:cubicBezTo>
                    <a:pt x="91" y="12"/>
                    <a:pt x="85" y="8"/>
                    <a:pt x="78" y="5"/>
                  </a:cubicBezTo>
                  <a:cubicBezTo>
                    <a:pt x="72" y="2"/>
                    <a:pt x="64" y="0"/>
                    <a:pt x="56" y="0"/>
                  </a:cubicBezTo>
                  <a:cubicBezTo>
                    <a:pt x="52" y="0"/>
                    <a:pt x="48" y="0"/>
                    <a:pt x="44" y="1"/>
                  </a:cubicBezTo>
                  <a:cubicBezTo>
                    <a:pt x="44" y="1"/>
                    <a:pt x="44" y="1"/>
                    <a:pt x="44" y="1"/>
                  </a:cubicBezTo>
                  <a:cubicBezTo>
                    <a:pt x="32" y="3"/>
                    <a:pt x="21" y="9"/>
                    <a:pt x="13" y="16"/>
                  </a:cubicBezTo>
                  <a:cubicBezTo>
                    <a:pt x="9" y="20"/>
                    <a:pt x="6" y="24"/>
                    <a:pt x="4" y="29"/>
                  </a:cubicBezTo>
                  <a:cubicBezTo>
                    <a:pt x="1" y="34"/>
                    <a:pt x="0" y="39"/>
                    <a:pt x="0" y="45"/>
                  </a:cubicBezTo>
                  <a:cubicBezTo>
                    <a:pt x="0" y="46"/>
                    <a:pt x="0" y="48"/>
                    <a:pt x="0" y="50"/>
                  </a:cubicBezTo>
                  <a:cubicBezTo>
                    <a:pt x="1" y="55"/>
                    <a:pt x="3" y="60"/>
                    <a:pt x="6" y="64"/>
                  </a:cubicBezTo>
                  <a:cubicBezTo>
                    <a:pt x="10" y="70"/>
                    <a:pt x="16" y="74"/>
                    <a:pt x="23" y="77"/>
                  </a:cubicBezTo>
                  <a:cubicBezTo>
                    <a:pt x="30" y="80"/>
                    <a:pt x="38" y="82"/>
                    <a:pt x="46" y="82"/>
                  </a:cubicBezTo>
                  <a:cubicBezTo>
                    <a:pt x="49" y="82"/>
                    <a:pt x="53" y="81"/>
                    <a:pt x="57" y="81"/>
                  </a:cubicBezTo>
                  <a:cubicBezTo>
                    <a:pt x="70" y="78"/>
                    <a:pt x="80" y="73"/>
                    <a:pt x="88" y="65"/>
                  </a:cubicBezTo>
                  <a:cubicBezTo>
                    <a:pt x="92" y="62"/>
                    <a:pt x="95" y="57"/>
                    <a:pt x="98" y="53"/>
                  </a:cubicBezTo>
                  <a:cubicBezTo>
                    <a:pt x="100" y="48"/>
                    <a:pt x="102" y="43"/>
                    <a:pt x="102" y="37"/>
                  </a:cubicBezTo>
                  <a:cubicBezTo>
                    <a:pt x="102" y="35"/>
                    <a:pt x="101" y="34"/>
                    <a:pt x="101" y="32"/>
                  </a:cubicBezTo>
                  <a:lnTo>
                    <a:pt x="91" y="33"/>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361" name="Freeform 1686">
              <a:extLst>
                <a:ext uri="{FF2B5EF4-FFF2-40B4-BE49-F238E27FC236}">
                  <a16:creationId xmlns:a16="http://schemas.microsoft.com/office/drawing/2014/main" id="{6B6F5536-08A4-429C-AFD6-130EAE182F43}"/>
                </a:ext>
              </a:extLst>
            </p:cNvPr>
            <p:cNvSpPr>
              <a:spLocks/>
            </p:cNvSpPr>
            <p:nvPr userDrawn="1"/>
          </p:nvSpPr>
          <p:spPr bwMode="auto">
            <a:xfrm>
              <a:off x="4965701" y="5718175"/>
              <a:ext cx="266700" cy="323850"/>
            </a:xfrm>
            <a:custGeom>
              <a:avLst/>
              <a:gdLst>
                <a:gd name="T0" fmla="*/ 24 w 168"/>
                <a:gd name="T1" fmla="*/ 204 h 204"/>
                <a:gd name="T2" fmla="*/ 24 w 168"/>
                <a:gd name="T3" fmla="*/ 25 h 204"/>
                <a:gd name="T4" fmla="*/ 142 w 168"/>
                <a:gd name="T5" fmla="*/ 25 h 204"/>
                <a:gd name="T6" fmla="*/ 142 w 168"/>
                <a:gd name="T7" fmla="*/ 204 h 204"/>
                <a:gd name="T8" fmla="*/ 168 w 168"/>
                <a:gd name="T9" fmla="*/ 204 h 204"/>
                <a:gd name="T10" fmla="*/ 168 w 168"/>
                <a:gd name="T11" fmla="*/ 0 h 204"/>
                <a:gd name="T12" fmla="*/ 0 w 168"/>
                <a:gd name="T13" fmla="*/ 0 h 204"/>
                <a:gd name="T14" fmla="*/ 0 w 168"/>
                <a:gd name="T15" fmla="*/ 204 h 204"/>
                <a:gd name="T16" fmla="*/ 24 w 168"/>
                <a:gd name="T17" fmla="*/ 204 h 204"/>
                <a:gd name="T18" fmla="*/ 24 w 168"/>
                <a:gd name="T19" fmla="*/ 204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8" h="204">
                  <a:moveTo>
                    <a:pt x="24" y="204"/>
                  </a:moveTo>
                  <a:lnTo>
                    <a:pt x="24" y="25"/>
                  </a:lnTo>
                  <a:lnTo>
                    <a:pt x="142" y="25"/>
                  </a:lnTo>
                  <a:lnTo>
                    <a:pt x="142" y="204"/>
                  </a:lnTo>
                  <a:lnTo>
                    <a:pt x="168" y="204"/>
                  </a:lnTo>
                  <a:lnTo>
                    <a:pt x="168" y="0"/>
                  </a:lnTo>
                  <a:lnTo>
                    <a:pt x="0" y="0"/>
                  </a:lnTo>
                  <a:lnTo>
                    <a:pt x="0" y="204"/>
                  </a:lnTo>
                  <a:lnTo>
                    <a:pt x="24" y="204"/>
                  </a:lnTo>
                  <a:lnTo>
                    <a:pt x="24" y="204"/>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362" name="Freeform 1687">
              <a:extLst>
                <a:ext uri="{FF2B5EF4-FFF2-40B4-BE49-F238E27FC236}">
                  <a16:creationId xmlns:a16="http://schemas.microsoft.com/office/drawing/2014/main" id="{500A3849-4E38-4473-A8D1-FE44D58D004A}"/>
                </a:ext>
              </a:extLst>
            </p:cNvPr>
            <p:cNvSpPr>
              <a:spLocks/>
            </p:cNvSpPr>
            <p:nvPr userDrawn="1"/>
          </p:nvSpPr>
          <p:spPr bwMode="auto">
            <a:xfrm>
              <a:off x="5905501" y="3783013"/>
              <a:ext cx="319088" cy="268288"/>
            </a:xfrm>
            <a:custGeom>
              <a:avLst/>
              <a:gdLst>
                <a:gd name="T0" fmla="*/ 140 w 161"/>
                <a:gd name="T1" fmla="*/ 0 h 136"/>
                <a:gd name="T2" fmla="*/ 132 w 161"/>
                <a:gd name="T3" fmla="*/ 45 h 136"/>
                <a:gd name="T4" fmla="*/ 109 w 161"/>
                <a:gd name="T5" fmla="*/ 82 h 136"/>
                <a:gd name="T6" fmla="*/ 75 w 161"/>
                <a:gd name="T7" fmla="*/ 107 h 136"/>
                <a:gd name="T8" fmla="*/ 33 w 161"/>
                <a:gd name="T9" fmla="*/ 116 h 136"/>
                <a:gd name="T10" fmla="*/ 6 w 161"/>
                <a:gd name="T11" fmla="*/ 112 h 136"/>
                <a:gd name="T12" fmla="*/ 0 w 161"/>
                <a:gd name="T13" fmla="*/ 131 h 136"/>
                <a:gd name="T14" fmla="*/ 33 w 161"/>
                <a:gd name="T15" fmla="*/ 136 h 136"/>
                <a:gd name="T16" fmla="*/ 83 w 161"/>
                <a:gd name="T17" fmla="*/ 125 h 136"/>
                <a:gd name="T18" fmla="*/ 124 w 161"/>
                <a:gd name="T19" fmla="*/ 96 h 136"/>
                <a:gd name="T20" fmla="*/ 151 w 161"/>
                <a:gd name="T21" fmla="*/ 53 h 136"/>
                <a:gd name="T22" fmla="*/ 161 w 161"/>
                <a:gd name="T23" fmla="*/ 0 h 136"/>
                <a:gd name="T24" fmla="*/ 140 w 161"/>
                <a:gd name="T25" fmla="*/ 0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1" h="136">
                  <a:moveTo>
                    <a:pt x="140" y="0"/>
                  </a:moveTo>
                  <a:cubicBezTo>
                    <a:pt x="140" y="16"/>
                    <a:pt x="137" y="32"/>
                    <a:pt x="132" y="45"/>
                  </a:cubicBezTo>
                  <a:cubicBezTo>
                    <a:pt x="126" y="59"/>
                    <a:pt x="119" y="72"/>
                    <a:pt x="109" y="82"/>
                  </a:cubicBezTo>
                  <a:cubicBezTo>
                    <a:pt x="99" y="92"/>
                    <a:pt x="88" y="101"/>
                    <a:pt x="75" y="107"/>
                  </a:cubicBezTo>
                  <a:cubicBezTo>
                    <a:pt x="62" y="112"/>
                    <a:pt x="48" y="116"/>
                    <a:pt x="33" y="116"/>
                  </a:cubicBezTo>
                  <a:cubicBezTo>
                    <a:pt x="24" y="116"/>
                    <a:pt x="14" y="114"/>
                    <a:pt x="6" y="112"/>
                  </a:cubicBezTo>
                  <a:cubicBezTo>
                    <a:pt x="0" y="131"/>
                    <a:pt x="0" y="131"/>
                    <a:pt x="0" y="131"/>
                  </a:cubicBezTo>
                  <a:cubicBezTo>
                    <a:pt x="11" y="134"/>
                    <a:pt x="22" y="136"/>
                    <a:pt x="33" y="136"/>
                  </a:cubicBezTo>
                  <a:cubicBezTo>
                    <a:pt x="51" y="136"/>
                    <a:pt x="68" y="132"/>
                    <a:pt x="83" y="125"/>
                  </a:cubicBezTo>
                  <a:cubicBezTo>
                    <a:pt x="98" y="118"/>
                    <a:pt x="112" y="108"/>
                    <a:pt x="124" y="96"/>
                  </a:cubicBezTo>
                  <a:cubicBezTo>
                    <a:pt x="135" y="84"/>
                    <a:pt x="144" y="69"/>
                    <a:pt x="151" y="53"/>
                  </a:cubicBezTo>
                  <a:cubicBezTo>
                    <a:pt x="157" y="37"/>
                    <a:pt x="161" y="19"/>
                    <a:pt x="161" y="0"/>
                  </a:cubicBezTo>
                  <a:cubicBezTo>
                    <a:pt x="140" y="0"/>
                    <a:pt x="140" y="0"/>
                    <a:pt x="140"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363" name="Freeform 1688">
              <a:extLst>
                <a:ext uri="{FF2B5EF4-FFF2-40B4-BE49-F238E27FC236}">
                  <a16:creationId xmlns:a16="http://schemas.microsoft.com/office/drawing/2014/main" id="{E3C83EFF-737C-4AF4-9526-A64D116FC735}"/>
                </a:ext>
              </a:extLst>
            </p:cNvPr>
            <p:cNvSpPr>
              <a:spLocks/>
            </p:cNvSpPr>
            <p:nvPr userDrawn="1"/>
          </p:nvSpPr>
          <p:spPr bwMode="auto">
            <a:xfrm>
              <a:off x="5881688" y="3981450"/>
              <a:ext cx="96838" cy="107950"/>
            </a:xfrm>
            <a:custGeom>
              <a:avLst/>
              <a:gdLst>
                <a:gd name="T0" fmla="*/ 61 w 61"/>
                <a:gd name="T1" fmla="*/ 7 h 68"/>
                <a:gd name="T2" fmla="*/ 24 w 61"/>
                <a:gd name="T3" fmla="*/ 28 h 68"/>
                <a:gd name="T4" fmla="*/ 42 w 61"/>
                <a:gd name="T5" fmla="*/ 68 h 68"/>
                <a:gd name="T6" fmla="*/ 19 w 61"/>
                <a:gd name="T7" fmla="*/ 59 h 68"/>
                <a:gd name="T8" fmla="*/ 0 w 61"/>
                <a:gd name="T9" fmla="*/ 20 h 68"/>
                <a:gd name="T10" fmla="*/ 37 w 61"/>
                <a:gd name="T11" fmla="*/ 0 h 68"/>
                <a:gd name="T12" fmla="*/ 61 w 61"/>
                <a:gd name="T13" fmla="*/ 7 h 68"/>
              </a:gdLst>
              <a:ahLst/>
              <a:cxnLst>
                <a:cxn ang="0">
                  <a:pos x="T0" y="T1"/>
                </a:cxn>
                <a:cxn ang="0">
                  <a:pos x="T2" y="T3"/>
                </a:cxn>
                <a:cxn ang="0">
                  <a:pos x="T4" y="T5"/>
                </a:cxn>
                <a:cxn ang="0">
                  <a:pos x="T6" y="T7"/>
                </a:cxn>
                <a:cxn ang="0">
                  <a:pos x="T8" y="T9"/>
                </a:cxn>
                <a:cxn ang="0">
                  <a:pos x="T10" y="T11"/>
                </a:cxn>
                <a:cxn ang="0">
                  <a:pos x="T12" y="T13"/>
                </a:cxn>
              </a:cxnLst>
              <a:rect l="0" t="0" r="r" b="b"/>
              <a:pathLst>
                <a:path w="61" h="68">
                  <a:moveTo>
                    <a:pt x="61" y="7"/>
                  </a:moveTo>
                  <a:lnTo>
                    <a:pt x="24" y="28"/>
                  </a:lnTo>
                  <a:lnTo>
                    <a:pt x="42" y="68"/>
                  </a:lnTo>
                  <a:lnTo>
                    <a:pt x="19" y="59"/>
                  </a:lnTo>
                  <a:lnTo>
                    <a:pt x="0" y="20"/>
                  </a:lnTo>
                  <a:lnTo>
                    <a:pt x="37" y="0"/>
                  </a:lnTo>
                  <a:lnTo>
                    <a:pt x="61" y="7"/>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364" name="Freeform 1689">
              <a:extLst>
                <a:ext uri="{FF2B5EF4-FFF2-40B4-BE49-F238E27FC236}">
                  <a16:creationId xmlns:a16="http://schemas.microsoft.com/office/drawing/2014/main" id="{3FC69CE0-8273-4A0C-9BAA-CA94DFAB0393}"/>
                </a:ext>
              </a:extLst>
            </p:cNvPr>
            <p:cNvSpPr>
              <a:spLocks/>
            </p:cNvSpPr>
            <p:nvPr userDrawn="1"/>
          </p:nvSpPr>
          <p:spPr bwMode="auto">
            <a:xfrm>
              <a:off x="5719763" y="3516313"/>
              <a:ext cx="396875" cy="371475"/>
            </a:xfrm>
            <a:custGeom>
              <a:avLst/>
              <a:gdLst>
                <a:gd name="T0" fmla="*/ 29 w 201"/>
                <a:gd name="T1" fmla="*/ 180 h 188"/>
                <a:gd name="T2" fmla="*/ 20 w 201"/>
                <a:gd name="T3" fmla="*/ 135 h 188"/>
                <a:gd name="T4" fmla="*/ 29 w 201"/>
                <a:gd name="T5" fmla="*/ 90 h 188"/>
                <a:gd name="T6" fmla="*/ 52 w 201"/>
                <a:gd name="T7" fmla="*/ 54 h 188"/>
                <a:gd name="T8" fmla="*/ 86 w 201"/>
                <a:gd name="T9" fmla="*/ 29 h 188"/>
                <a:gd name="T10" fmla="*/ 127 w 201"/>
                <a:gd name="T11" fmla="*/ 20 h 188"/>
                <a:gd name="T12" fmla="*/ 169 w 201"/>
                <a:gd name="T13" fmla="*/ 29 h 188"/>
                <a:gd name="T14" fmla="*/ 189 w 201"/>
                <a:gd name="T15" fmla="*/ 41 h 188"/>
                <a:gd name="T16" fmla="*/ 201 w 201"/>
                <a:gd name="T17" fmla="*/ 25 h 188"/>
                <a:gd name="T18" fmla="*/ 177 w 201"/>
                <a:gd name="T19" fmla="*/ 11 h 188"/>
                <a:gd name="T20" fmla="*/ 127 w 201"/>
                <a:gd name="T21" fmla="*/ 0 h 188"/>
                <a:gd name="T22" fmla="*/ 78 w 201"/>
                <a:gd name="T23" fmla="*/ 11 h 188"/>
                <a:gd name="T24" fmla="*/ 37 w 201"/>
                <a:gd name="T25" fmla="*/ 40 h 188"/>
                <a:gd name="T26" fmla="*/ 10 w 201"/>
                <a:gd name="T27" fmla="*/ 83 h 188"/>
                <a:gd name="T28" fmla="*/ 0 w 201"/>
                <a:gd name="T29" fmla="*/ 135 h 188"/>
                <a:gd name="T30" fmla="*/ 10 w 201"/>
                <a:gd name="T31" fmla="*/ 188 h 188"/>
                <a:gd name="T32" fmla="*/ 29 w 201"/>
                <a:gd name="T33" fmla="*/ 180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1" h="188">
                  <a:moveTo>
                    <a:pt x="29" y="180"/>
                  </a:moveTo>
                  <a:cubicBezTo>
                    <a:pt x="23" y="167"/>
                    <a:pt x="20" y="151"/>
                    <a:pt x="20" y="135"/>
                  </a:cubicBezTo>
                  <a:cubicBezTo>
                    <a:pt x="20" y="119"/>
                    <a:pt x="23" y="104"/>
                    <a:pt x="29" y="90"/>
                  </a:cubicBezTo>
                  <a:cubicBezTo>
                    <a:pt x="34" y="77"/>
                    <a:pt x="42" y="64"/>
                    <a:pt x="52" y="54"/>
                  </a:cubicBezTo>
                  <a:cubicBezTo>
                    <a:pt x="62" y="43"/>
                    <a:pt x="73" y="35"/>
                    <a:pt x="86" y="29"/>
                  </a:cubicBezTo>
                  <a:cubicBezTo>
                    <a:pt x="99" y="23"/>
                    <a:pt x="113" y="20"/>
                    <a:pt x="127" y="20"/>
                  </a:cubicBezTo>
                  <a:cubicBezTo>
                    <a:pt x="142" y="20"/>
                    <a:pt x="156" y="23"/>
                    <a:pt x="169" y="29"/>
                  </a:cubicBezTo>
                  <a:cubicBezTo>
                    <a:pt x="176" y="32"/>
                    <a:pt x="183" y="36"/>
                    <a:pt x="189" y="41"/>
                  </a:cubicBezTo>
                  <a:cubicBezTo>
                    <a:pt x="201" y="25"/>
                    <a:pt x="201" y="25"/>
                    <a:pt x="201" y="25"/>
                  </a:cubicBezTo>
                  <a:cubicBezTo>
                    <a:pt x="194" y="19"/>
                    <a:pt x="186" y="15"/>
                    <a:pt x="177" y="11"/>
                  </a:cubicBezTo>
                  <a:cubicBezTo>
                    <a:pt x="162" y="4"/>
                    <a:pt x="145" y="0"/>
                    <a:pt x="127" y="0"/>
                  </a:cubicBezTo>
                  <a:cubicBezTo>
                    <a:pt x="110" y="0"/>
                    <a:pt x="93" y="4"/>
                    <a:pt x="78" y="11"/>
                  </a:cubicBezTo>
                  <a:cubicBezTo>
                    <a:pt x="62" y="18"/>
                    <a:pt x="49" y="28"/>
                    <a:pt x="37" y="40"/>
                  </a:cubicBezTo>
                  <a:cubicBezTo>
                    <a:pt x="26" y="52"/>
                    <a:pt x="16" y="67"/>
                    <a:pt x="10" y="83"/>
                  </a:cubicBezTo>
                  <a:cubicBezTo>
                    <a:pt x="4" y="99"/>
                    <a:pt x="0" y="117"/>
                    <a:pt x="0" y="135"/>
                  </a:cubicBezTo>
                  <a:cubicBezTo>
                    <a:pt x="0" y="154"/>
                    <a:pt x="4" y="172"/>
                    <a:pt x="10" y="188"/>
                  </a:cubicBezTo>
                  <a:cubicBezTo>
                    <a:pt x="29" y="180"/>
                    <a:pt x="29" y="180"/>
                    <a:pt x="29" y="18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365" name="Freeform 1690">
              <a:extLst>
                <a:ext uri="{FF2B5EF4-FFF2-40B4-BE49-F238E27FC236}">
                  <a16:creationId xmlns:a16="http://schemas.microsoft.com/office/drawing/2014/main" id="{E47C05A3-49E9-4707-98FC-04850314F97E}"/>
                </a:ext>
              </a:extLst>
            </p:cNvPr>
            <p:cNvSpPr>
              <a:spLocks/>
            </p:cNvSpPr>
            <p:nvPr userDrawn="1"/>
          </p:nvSpPr>
          <p:spPr bwMode="auto">
            <a:xfrm>
              <a:off x="6015038" y="3486150"/>
              <a:ext cx="120650" cy="130175"/>
            </a:xfrm>
            <a:custGeom>
              <a:avLst/>
              <a:gdLst>
                <a:gd name="T0" fmla="*/ 0 w 76"/>
                <a:gd name="T1" fmla="*/ 61 h 82"/>
                <a:gd name="T2" fmla="*/ 52 w 76"/>
                <a:gd name="T3" fmla="*/ 56 h 82"/>
                <a:gd name="T4" fmla="*/ 47 w 76"/>
                <a:gd name="T5" fmla="*/ 0 h 82"/>
                <a:gd name="T6" fmla="*/ 71 w 76"/>
                <a:gd name="T7" fmla="*/ 21 h 82"/>
                <a:gd name="T8" fmla="*/ 76 w 76"/>
                <a:gd name="T9" fmla="*/ 77 h 82"/>
                <a:gd name="T10" fmla="*/ 25 w 76"/>
                <a:gd name="T11" fmla="*/ 82 h 82"/>
                <a:gd name="T12" fmla="*/ 0 w 76"/>
                <a:gd name="T13" fmla="*/ 61 h 82"/>
              </a:gdLst>
              <a:ahLst/>
              <a:cxnLst>
                <a:cxn ang="0">
                  <a:pos x="T0" y="T1"/>
                </a:cxn>
                <a:cxn ang="0">
                  <a:pos x="T2" y="T3"/>
                </a:cxn>
                <a:cxn ang="0">
                  <a:pos x="T4" y="T5"/>
                </a:cxn>
                <a:cxn ang="0">
                  <a:pos x="T6" y="T7"/>
                </a:cxn>
                <a:cxn ang="0">
                  <a:pos x="T8" y="T9"/>
                </a:cxn>
                <a:cxn ang="0">
                  <a:pos x="T10" y="T11"/>
                </a:cxn>
                <a:cxn ang="0">
                  <a:pos x="T12" y="T13"/>
                </a:cxn>
              </a:cxnLst>
              <a:rect l="0" t="0" r="r" b="b"/>
              <a:pathLst>
                <a:path w="76" h="82">
                  <a:moveTo>
                    <a:pt x="0" y="61"/>
                  </a:moveTo>
                  <a:lnTo>
                    <a:pt x="52" y="56"/>
                  </a:lnTo>
                  <a:lnTo>
                    <a:pt x="47" y="0"/>
                  </a:lnTo>
                  <a:lnTo>
                    <a:pt x="71" y="21"/>
                  </a:lnTo>
                  <a:lnTo>
                    <a:pt x="76" y="77"/>
                  </a:lnTo>
                  <a:lnTo>
                    <a:pt x="25" y="82"/>
                  </a:lnTo>
                  <a:lnTo>
                    <a:pt x="0" y="61"/>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366" name="Oval 1691">
              <a:extLst>
                <a:ext uri="{FF2B5EF4-FFF2-40B4-BE49-F238E27FC236}">
                  <a16:creationId xmlns:a16="http://schemas.microsoft.com/office/drawing/2014/main" id="{B43E2A6A-DC4F-40F4-A969-73D13187EFFD}"/>
                </a:ext>
              </a:extLst>
            </p:cNvPr>
            <p:cNvSpPr>
              <a:spLocks noChangeArrowheads="1"/>
            </p:cNvSpPr>
            <p:nvPr userDrawn="1"/>
          </p:nvSpPr>
          <p:spPr bwMode="auto">
            <a:xfrm>
              <a:off x="5838826" y="3651250"/>
              <a:ext cx="250825" cy="266700"/>
            </a:xfrm>
            <a:prstGeom prst="ellipse">
              <a:avLst/>
            </a:prstGeom>
            <a:solidFill>
              <a:schemeClr val="accent2">
                <a:lumMod val="60000"/>
                <a:lumOff val="4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367" name="Freeform 1692">
              <a:extLst>
                <a:ext uri="{FF2B5EF4-FFF2-40B4-BE49-F238E27FC236}">
                  <a16:creationId xmlns:a16="http://schemas.microsoft.com/office/drawing/2014/main" id="{30480F48-CED0-42FF-B169-3A4F7C509925}"/>
                </a:ext>
              </a:extLst>
            </p:cNvPr>
            <p:cNvSpPr>
              <a:spLocks/>
            </p:cNvSpPr>
            <p:nvPr userDrawn="1"/>
          </p:nvSpPr>
          <p:spPr bwMode="auto">
            <a:xfrm>
              <a:off x="5816601" y="3629025"/>
              <a:ext cx="292100" cy="307975"/>
            </a:xfrm>
            <a:custGeom>
              <a:avLst/>
              <a:gdLst>
                <a:gd name="T0" fmla="*/ 138 w 148"/>
                <a:gd name="T1" fmla="*/ 78 h 156"/>
                <a:gd name="T2" fmla="*/ 127 w 148"/>
                <a:gd name="T3" fmla="*/ 78 h 156"/>
                <a:gd name="T4" fmla="*/ 112 w 148"/>
                <a:gd name="T5" fmla="*/ 119 h 156"/>
                <a:gd name="T6" fmla="*/ 74 w 148"/>
                <a:gd name="T7" fmla="*/ 136 h 156"/>
                <a:gd name="T8" fmla="*/ 37 w 148"/>
                <a:gd name="T9" fmla="*/ 119 h 156"/>
                <a:gd name="T10" fmla="*/ 21 w 148"/>
                <a:gd name="T11" fmla="*/ 78 h 156"/>
                <a:gd name="T12" fmla="*/ 37 w 148"/>
                <a:gd name="T13" fmla="*/ 37 h 156"/>
                <a:gd name="T14" fmla="*/ 74 w 148"/>
                <a:gd name="T15" fmla="*/ 21 h 156"/>
                <a:gd name="T16" fmla="*/ 112 w 148"/>
                <a:gd name="T17" fmla="*/ 37 h 156"/>
                <a:gd name="T18" fmla="*/ 127 w 148"/>
                <a:gd name="T19" fmla="*/ 78 h 156"/>
                <a:gd name="T20" fmla="*/ 138 w 148"/>
                <a:gd name="T21" fmla="*/ 78 h 156"/>
                <a:gd name="T22" fmla="*/ 148 w 148"/>
                <a:gd name="T23" fmla="*/ 78 h 156"/>
                <a:gd name="T24" fmla="*/ 126 w 148"/>
                <a:gd name="T25" fmla="*/ 23 h 156"/>
                <a:gd name="T26" fmla="*/ 74 w 148"/>
                <a:gd name="T27" fmla="*/ 0 h 156"/>
                <a:gd name="T28" fmla="*/ 22 w 148"/>
                <a:gd name="T29" fmla="*/ 23 h 156"/>
                <a:gd name="T30" fmla="*/ 0 w 148"/>
                <a:gd name="T31" fmla="*/ 78 h 156"/>
                <a:gd name="T32" fmla="*/ 22 w 148"/>
                <a:gd name="T33" fmla="*/ 133 h 156"/>
                <a:gd name="T34" fmla="*/ 74 w 148"/>
                <a:gd name="T35" fmla="*/ 156 h 156"/>
                <a:gd name="T36" fmla="*/ 126 w 148"/>
                <a:gd name="T37" fmla="*/ 133 h 156"/>
                <a:gd name="T38" fmla="*/ 148 w 148"/>
                <a:gd name="T39" fmla="*/ 78 h 156"/>
                <a:gd name="T40" fmla="*/ 138 w 148"/>
                <a:gd name="T41" fmla="*/ 78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8" h="156">
                  <a:moveTo>
                    <a:pt x="138" y="78"/>
                  </a:moveTo>
                  <a:cubicBezTo>
                    <a:pt x="127" y="78"/>
                    <a:pt x="127" y="78"/>
                    <a:pt x="127" y="78"/>
                  </a:cubicBezTo>
                  <a:cubicBezTo>
                    <a:pt x="127" y="95"/>
                    <a:pt x="121" y="109"/>
                    <a:pt x="112" y="119"/>
                  </a:cubicBezTo>
                  <a:cubicBezTo>
                    <a:pt x="102" y="130"/>
                    <a:pt x="89" y="136"/>
                    <a:pt x="74" y="136"/>
                  </a:cubicBezTo>
                  <a:cubicBezTo>
                    <a:pt x="60" y="136"/>
                    <a:pt x="46" y="130"/>
                    <a:pt x="37" y="119"/>
                  </a:cubicBezTo>
                  <a:cubicBezTo>
                    <a:pt x="27" y="109"/>
                    <a:pt x="21" y="95"/>
                    <a:pt x="21" y="78"/>
                  </a:cubicBezTo>
                  <a:cubicBezTo>
                    <a:pt x="21" y="62"/>
                    <a:pt x="27" y="48"/>
                    <a:pt x="37" y="37"/>
                  </a:cubicBezTo>
                  <a:cubicBezTo>
                    <a:pt x="46" y="27"/>
                    <a:pt x="60" y="21"/>
                    <a:pt x="74" y="21"/>
                  </a:cubicBezTo>
                  <a:cubicBezTo>
                    <a:pt x="89" y="21"/>
                    <a:pt x="102" y="27"/>
                    <a:pt x="112" y="37"/>
                  </a:cubicBezTo>
                  <a:cubicBezTo>
                    <a:pt x="121" y="48"/>
                    <a:pt x="127" y="62"/>
                    <a:pt x="127" y="78"/>
                  </a:cubicBezTo>
                  <a:cubicBezTo>
                    <a:pt x="138" y="78"/>
                    <a:pt x="138" y="78"/>
                    <a:pt x="138" y="78"/>
                  </a:cubicBezTo>
                  <a:cubicBezTo>
                    <a:pt x="148" y="78"/>
                    <a:pt x="148" y="78"/>
                    <a:pt x="148" y="78"/>
                  </a:cubicBezTo>
                  <a:cubicBezTo>
                    <a:pt x="148" y="57"/>
                    <a:pt x="140" y="38"/>
                    <a:pt x="126" y="23"/>
                  </a:cubicBezTo>
                  <a:cubicBezTo>
                    <a:pt x="113" y="9"/>
                    <a:pt x="95" y="0"/>
                    <a:pt x="74" y="0"/>
                  </a:cubicBezTo>
                  <a:cubicBezTo>
                    <a:pt x="54" y="0"/>
                    <a:pt x="35" y="9"/>
                    <a:pt x="22" y="23"/>
                  </a:cubicBezTo>
                  <a:cubicBezTo>
                    <a:pt x="9" y="38"/>
                    <a:pt x="1" y="57"/>
                    <a:pt x="0" y="78"/>
                  </a:cubicBezTo>
                  <a:cubicBezTo>
                    <a:pt x="1" y="100"/>
                    <a:pt x="9" y="119"/>
                    <a:pt x="22" y="133"/>
                  </a:cubicBezTo>
                  <a:cubicBezTo>
                    <a:pt x="35" y="147"/>
                    <a:pt x="54" y="156"/>
                    <a:pt x="74" y="156"/>
                  </a:cubicBezTo>
                  <a:cubicBezTo>
                    <a:pt x="95" y="156"/>
                    <a:pt x="113" y="147"/>
                    <a:pt x="126" y="133"/>
                  </a:cubicBezTo>
                  <a:cubicBezTo>
                    <a:pt x="140" y="119"/>
                    <a:pt x="148" y="100"/>
                    <a:pt x="148" y="78"/>
                  </a:cubicBezTo>
                  <a:lnTo>
                    <a:pt x="138" y="78"/>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368" name="Freeform 1693">
              <a:extLst>
                <a:ext uri="{FF2B5EF4-FFF2-40B4-BE49-F238E27FC236}">
                  <a16:creationId xmlns:a16="http://schemas.microsoft.com/office/drawing/2014/main" id="{C1F7E5C3-C0A5-42AD-9655-D5884AC2EE7C}"/>
                </a:ext>
              </a:extLst>
            </p:cNvPr>
            <p:cNvSpPr>
              <a:spLocks/>
            </p:cNvSpPr>
            <p:nvPr userDrawn="1"/>
          </p:nvSpPr>
          <p:spPr bwMode="auto">
            <a:xfrm>
              <a:off x="9523413" y="2384425"/>
              <a:ext cx="447675" cy="182563"/>
            </a:xfrm>
            <a:custGeom>
              <a:avLst/>
              <a:gdLst>
                <a:gd name="T0" fmla="*/ 226 w 226"/>
                <a:gd name="T1" fmla="*/ 82 h 92"/>
                <a:gd name="T2" fmla="*/ 167 w 226"/>
                <a:gd name="T3" fmla="*/ 23 h 92"/>
                <a:gd name="T4" fmla="*/ 85 w 226"/>
                <a:gd name="T5" fmla="*/ 0 h 92"/>
                <a:gd name="T6" fmla="*/ 0 w 226"/>
                <a:gd name="T7" fmla="*/ 25 h 92"/>
                <a:gd name="T8" fmla="*/ 11 w 226"/>
                <a:gd name="T9" fmla="*/ 42 h 92"/>
                <a:gd name="T10" fmla="*/ 85 w 226"/>
                <a:gd name="T11" fmla="*/ 21 h 92"/>
                <a:gd name="T12" fmla="*/ 156 w 226"/>
                <a:gd name="T13" fmla="*/ 40 h 92"/>
                <a:gd name="T14" fmla="*/ 208 w 226"/>
                <a:gd name="T15" fmla="*/ 92 h 92"/>
                <a:gd name="T16" fmla="*/ 226 w 226"/>
                <a:gd name="T17" fmla="*/ 8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 h="92">
                  <a:moveTo>
                    <a:pt x="226" y="82"/>
                  </a:moveTo>
                  <a:cubicBezTo>
                    <a:pt x="211" y="57"/>
                    <a:pt x="190" y="37"/>
                    <a:pt x="167" y="23"/>
                  </a:cubicBezTo>
                  <a:cubicBezTo>
                    <a:pt x="143" y="9"/>
                    <a:pt x="115" y="0"/>
                    <a:pt x="85" y="0"/>
                  </a:cubicBezTo>
                  <a:cubicBezTo>
                    <a:pt x="54" y="0"/>
                    <a:pt x="25" y="9"/>
                    <a:pt x="0" y="25"/>
                  </a:cubicBezTo>
                  <a:cubicBezTo>
                    <a:pt x="11" y="42"/>
                    <a:pt x="11" y="42"/>
                    <a:pt x="11" y="42"/>
                  </a:cubicBezTo>
                  <a:cubicBezTo>
                    <a:pt x="33" y="29"/>
                    <a:pt x="58" y="21"/>
                    <a:pt x="85" y="21"/>
                  </a:cubicBezTo>
                  <a:cubicBezTo>
                    <a:pt x="111" y="21"/>
                    <a:pt x="135" y="28"/>
                    <a:pt x="156" y="40"/>
                  </a:cubicBezTo>
                  <a:cubicBezTo>
                    <a:pt x="177" y="53"/>
                    <a:pt x="195" y="71"/>
                    <a:pt x="208" y="92"/>
                  </a:cubicBezTo>
                  <a:cubicBezTo>
                    <a:pt x="226" y="82"/>
                    <a:pt x="226" y="82"/>
                    <a:pt x="226" y="82"/>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369" name="Freeform 1694">
              <a:extLst>
                <a:ext uri="{FF2B5EF4-FFF2-40B4-BE49-F238E27FC236}">
                  <a16:creationId xmlns:a16="http://schemas.microsoft.com/office/drawing/2014/main" id="{D0F1480F-8817-48A7-BDC7-6145D7D9C70C}"/>
                </a:ext>
              </a:extLst>
            </p:cNvPr>
            <p:cNvSpPr>
              <a:spLocks/>
            </p:cNvSpPr>
            <p:nvPr userDrawn="1"/>
          </p:nvSpPr>
          <p:spPr bwMode="auto">
            <a:xfrm>
              <a:off x="9291638" y="2500313"/>
              <a:ext cx="152400" cy="160338"/>
            </a:xfrm>
            <a:custGeom>
              <a:avLst/>
              <a:gdLst>
                <a:gd name="T0" fmla="*/ 0 w 77"/>
                <a:gd name="T1" fmla="*/ 20 h 81"/>
                <a:gd name="T2" fmla="*/ 40 w 77"/>
                <a:gd name="T3" fmla="*/ 38 h 81"/>
                <a:gd name="T4" fmla="*/ 57 w 77"/>
                <a:gd name="T5" fmla="*/ 81 h 81"/>
                <a:gd name="T6" fmla="*/ 77 w 77"/>
                <a:gd name="T7" fmla="*/ 81 h 81"/>
                <a:gd name="T8" fmla="*/ 55 w 77"/>
                <a:gd name="T9" fmla="*/ 24 h 81"/>
                <a:gd name="T10" fmla="*/ 0 w 77"/>
                <a:gd name="T11" fmla="*/ 0 h 81"/>
                <a:gd name="T12" fmla="*/ 0 w 77"/>
                <a:gd name="T13" fmla="*/ 20 h 81"/>
              </a:gdLst>
              <a:ahLst/>
              <a:cxnLst>
                <a:cxn ang="0">
                  <a:pos x="T0" y="T1"/>
                </a:cxn>
                <a:cxn ang="0">
                  <a:pos x="T2" y="T3"/>
                </a:cxn>
                <a:cxn ang="0">
                  <a:pos x="T4" y="T5"/>
                </a:cxn>
                <a:cxn ang="0">
                  <a:pos x="T6" y="T7"/>
                </a:cxn>
                <a:cxn ang="0">
                  <a:pos x="T8" y="T9"/>
                </a:cxn>
                <a:cxn ang="0">
                  <a:pos x="T10" y="T11"/>
                </a:cxn>
                <a:cxn ang="0">
                  <a:pos x="T12" y="T13"/>
                </a:cxn>
              </a:cxnLst>
              <a:rect l="0" t="0" r="r" b="b"/>
              <a:pathLst>
                <a:path w="77" h="81">
                  <a:moveTo>
                    <a:pt x="0" y="20"/>
                  </a:moveTo>
                  <a:cubicBezTo>
                    <a:pt x="16" y="20"/>
                    <a:pt x="30" y="27"/>
                    <a:pt x="40" y="38"/>
                  </a:cubicBezTo>
                  <a:cubicBezTo>
                    <a:pt x="51" y="49"/>
                    <a:pt x="57" y="64"/>
                    <a:pt x="57" y="81"/>
                  </a:cubicBezTo>
                  <a:cubicBezTo>
                    <a:pt x="77" y="81"/>
                    <a:pt x="77" y="81"/>
                    <a:pt x="77" y="81"/>
                  </a:cubicBezTo>
                  <a:cubicBezTo>
                    <a:pt x="77" y="59"/>
                    <a:pt x="69" y="39"/>
                    <a:pt x="55" y="24"/>
                  </a:cubicBezTo>
                  <a:cubicBezTo>
                    <a:pt x="41" y="9"/>
                    <a:pt x="22" y="0"/>
                    <a:pt x="0" y="0"/>
                  </a:cubicBezTo>
                  <a:cubicBezTo>
                    <a:pt x="0" y="20"/>
                    <a:pt x="0" y="20"/>
                    <a:pt x="0" y="2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370" name="Freeform 1571">
              <a:extLst>
                <a:ext uri="{FF2B5EF4-FFF2-40B4-BE49-F238E27FC236}">
                  <a16:creationId xmlns:a16="http://schemas.microsoft.com/office/drawing/2014/main" id="{A8A0FC27-0B9E-4876-9E31-0775FFBFA71E}"/>
                </a:ext>
              </a:extLst>
            </p:cNvPr>
            <p:cNvSpPr>
              <a:spLocks noEditPoints="1"/>
            </p:cNvSpPr>
            <p:nvPr userDrawn="1"/>
          </p:nvSpPr>
          <p:spPr bwMode="auto">
            <a:xfrm>
              <a:off x="9440863" y="2832100"/>
              <a:ext cx="604838" cy="655639"/>
            </a:xfrm>
            <a:custGeom>
              <a:avLst/>
              <a:gdLst>
                <a:gd name="T0" fmla="*/ 296 w 312"/>
                <a:gd name="T1" fmla="*/ 139 h 333"/>
                <a:gd name="T2" fmla="*/ 270 w 312"/>
                <a:gd name="T3" fmla="*/ 139 h 333"/>
                <a:gd name="T4" fmla="*/ 255 w 312"/>
                <a:gd name="T5" fmla="*/ 100 h 333"/>
                <a:gd name="T6" fmla="*/ 273 w 312"/>
                <a:gd name="T7" fmla="*/ 81 h 333"/>
                <a:gd name="T8" fmla="*/ 273 w 312"/>
                <a:gd name="T9" fmla="*/ 56 h 333"/>
                <a:gd name="T10" fmla="*/ 260 w 312"/>
                <a:gd name="T11" fmla="*/ 42 h 333"/>
                <a:gd name="T12" fmla="*/ 237 w 312"/>
                <a:gd name="T13" fmla="*/ 42 h 333"/>
                <a:gd name="T14" fmla="*/ 219 w 312"/>
                <a:gd name="T15" fmla="*/ 61 h 333"/>
                <a:gd name="T16" fmla="*/ 182 w 312"/>
                <a:gd name="T17" fmla="*/ 45 h 333"/>
                <a:gd name="T18" fmla="*/ 182 w 312"/>
                <a:gd name="T19" fmla="*/ 18 h 333"/>
                <a:gd name="T20" fmla="*/ 166 w 312"/>
                <a:gd name="T21" fmla="*/ 0 h 333"/>
                <a:gd name="T22" fmla="*/ 147 w 312"/>
                <a:gd name="T23" fmla="*/ 0 h 333"/>
                <a:gd name="T24" fmla="*/ 130 w 312"/>
                <a:gd name="T25" fmla="*/ 18 h 333"/>
                <a:gd name="T26" fmla="*/ 130 w 312"/>
                <a:gd name="T27" fmla="*/ 45 h 333"/>
                <a:gd name="T28" fmla="*/ 94 w 312"/>
                <a:gd name="T29" fmla="*/ 61 h 333"/>
                <a:gd name="T30" fmla="*/ 76 w 312"/>
                <a:gd name="T31" fmla="*/ 41 h 333"/>
                <a:gd name="T32" fmla="*/ 53 w 312"/>
                <a:gd name="T33" fmla="*/ 41 h 333"/>
                <a:gd name="T34" fmla="*/ 40 w 312"/>
                <a:gd name="T35" fmla="*/ 55 h 333"/>
                <a:gd name="T36" fmla="*/ 40 w 312"/>
                <a:gd name="T37" fmla="*/ 80 h 333"/>
                <a:gd name="T38" fmla="*/ 58 w 312"/>
                <a:gd name="T39" fmla="*/ 99 h 333"/>
                <a:gd name="T40" fmla="*/ 42 w 312"/>
                <a:gd name="T41" fmla="*/ 138 h 333"/>
                <a:gd name="T42" fmla="*/ 17 w 312"/>
                <a:gd name="T43" fmla="*/ 138 h 333"/>
                <a:gd name="T44" fmla="*/ 0 w 312"/>
                <a:gd name="T45" fmla="*/ 156 h 333"/>
                <a:gd name="T46" fmla="*/ 0 w 312"/>
                <a:gd name="T47" fmla="*/ 176 h 333"/>
                <a:gd name="T48" fmla="*/ 17 w 312"/>
                <a:gd name="T49" fmla="*/ 194 h 333"/>
                <a:gd name="T50" fmla="*/ 42 w 312"/>
                <a:gd name="T51" fmla="*/ 194 h 333"/>
                <a:gd name="T52" fmla="*/ 57 w 312"/>
                <a:gd name="T53" fmla="*/ 233 h 333"/>
                <a:gd name="T54" fmla="*/ 39 w 312"/>
                <a:gd name="T55" fmla="*/ 252 h 333"/>
                <a:gd name="T56" fmla="*/ 39 w 312"/>
                <a:gd name="T57" fmla="*/ 277 h 333"/>
                <a:gd name="T58" fmla="*/ 52 w 312"/>
                <a:gd name="T59" fmla="*/ 291 h 333"/>
                <a:gd name="T60" fmla="*/ 75 w 312"/>
                <a:gd name="T61" fmla="*/ 291 h 333"/>
                <a:gd name="T62" fmla="*/ 93 w 312"/>
                <a:gd name="T63" fmla="*/ 272 h 333"/>
                <a:gd name="T64" fmla="*/ 130 w 312"/>
                <a:gd name="T65" fmla="*/ 289 h 333"/>
                <a:gd name="T66" fmla="*/ 130 w 312"/>
                <a:gd name="T67" fmla="*/ 316 h 333"/>
                <a:gd name="T68" fmla="*/ 146 w 312"/>
                <a:gd name="T69" fmla="*/ 333 h 333"/>
                <a:gd name="T70" fmla="*/ 165 w 312"/>
                <a:gd name="T71" fmla="*/ 333 h 333"/>
                <a:gd name="T72" fmla="*/ 182 w 312"/>
                <a:gd name="T73" fmla="*/ 316 h 333"/>
                <a:gd name="T74" fmla="*/ 182 w 312"/>
                <a:gd name="T75" fmla="*/ 289 h 333"/>
                <a:gd name="T76" fmla="*/ 218 w 312"/>
                <a:gd name="T77" fmla="*/ 273 h 333"/>
                <a:gd name="T78" fmla="*/ 236 w 312"/>
                <a:gd name="T79" fmla="*/ 292 h 333"/>
                <a:gd name="T80" fmla="*/ 259 w 312"/>
                <a:gd name="T81" fmla="*/ 292 h 333"/>
                <a:gd name="T82" fmla="*/ 273 w 312"/>
                <a:gd name="T83" fmla="*/ 278 h 333"/>
                <a:gd name="T84" fmla="*/ 273 w 312"/>
                <a:gd name="T85" fmla="*/ 253 h 333"/>
                <a:gd name="T86" fmla="*/ 255 w 312"/>
                <a:gd name="T87" fmla="*/ 234 h 333"/>
                <a:gd name="T88" fmla="*/ 270 w 312"/>
                <a:gd name="T89" fmla="*/ 195 h 333"/>
                <a:gd name="T90" fmla="*/ 296 w 312"/>
                <a:gd name="T91" fmla="*/ 195 h 333"/>
                <a:gd name="T92" fmla="*/ 312 w 312"/>
                <a:gd name="T93" fmla="*/ 177 h 333"/>
                <a:gd name="T94" fmla="*/ 312 w 312"/>
                <a:gd name="T95" fmla="*/ 157 h 333"/>
                <a:gd name="T96" fmla="*/ 296 w 312"/>
                <a:gd name="T97" fmla="*/ 139 h 333"/>
                <a:gd name="T98" fmla="*/ 156 w 312"/>
                <a:gd name="T99" fmla="*/ 222 h 333"/>
                <a:gd name="T100" fmla="*/ 104 w 312"/>
                <a:gd name="T101" fmla="*/ 167 h 333"/>
                <a:gd name="T102" fmla="*/ 156 w 312"/>
                <a:gd name="T103" fmla="*/ 111 h 333"/>
                <a:gd name="T104" fmla="*/ 208 w 312"/>
                <a:gd name="T105" fmla="*/ 167 h 333"/>
                <a:gd name="T106" fmla="*/ 156 w 312"/>
                <a:gd name="T107" fmla="*/ 222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2" h="333">
                  <a:moveTo>
                    <a:pt x="296" y="139"/>
                  </a:moveTo>
                  <a:cubicBezTo>
                    <a:pt x="270" y="139"/>
                    <a:pt x="270" y="139"/>
                    <a:pt x="270" y="139"/>
                  </a:cubicBezTo>
                  <a:cubicBezTo>
                    <a:pt x="267" y="125"/>
                    <a:pt x="262" y="112"/>
                    <a:pt x="255" y="100"/>
                  </a:cubicBezTo>
                  <a:cubicBezTo>
                    <a:pt x="273" y="81"/>
                    <a:pt x="273" y="81"/>
                    <a:pt x="273" y="81"/>
                  </a:cubicBezTo>
                  <a:cubicBezTo>
                    <a:pt x="280" y="74"/>
                    <a:pt x="280" y="63"/>
                    <a:pt x="273" y="56"/>
                  </a:cubicBezTo>
                  <a:cubicBezTo>
                    <a:pt x="260" y="42"/>
                    <a:pt x="260" y="42"/>
                    <a:pt x="260" y="42"/>
                  </a:cubicBezTo>
                  <a:cubicBezTo>
                    <a:pt x="253" y="35"/>
                    <a:pt x="243" y="35"/>
                    <a:pt x="237" y="42"/>
                  </a:cubicBezTo>
                  <a:cubicBezTo>
                    <a:pt x="219" y="61"/>
                    <a:pt x="219" y="61"/>
                    <a:pt x="219" y="61"/>
                  </a:cubicBezTo>
                  <a:cubicBezTo>
                    <a:pt x="208" y="53"/>
                    <a:pt x="195" y="48"/>
                    <a:pt x="182" y="45"/>
                  </a:cubicBezTo>
                  <a:cubicBezTo>
                    <a:pt x="182" y="18"/>
                    <a:pt x="182" y="18"/>
                    <a:pt x="182" y="18"/>
                  </a:cubicBezTo>
                  <a:cubicBezTo>
                    <a:pt x="182" y="8"/>
                    <a:pt x="175" y="0"/>
                    <a:pt x="166" y="0"/>
                  </a:cubicBezTo>
                  <a:cubicBezTo>
                    <a:pt x="147" y="0"/>
                    <a:pt x="147" y="0"/>
                    <a:pt x="147" y="0"/>
                  </a:cubicBezTo>
                  <a:cubicBezTo>
                    <a:pt x="138" y="0"/>
                    <a:pt x="130" y="8"/>
                    <a:pt x="130" y="18"/>
                  </a:cubicBezTo>
                  <a:cubicBezTo>
                    <a:pt x="130" y="45"/>
                    <a:pt x="130" y="45"/>
                    <a:pt x="130" y="45"/>
                  </a:cubicBezTo>
                  <a:cubicBezTo>
                    <a:pt x="117" y="48"/>
                    <a:pt x="105" y="53"/>
                    <a:pt x="94" y="61"/>
                  </a:cubicBezTo>
                  <a:cubicBezTo>
                    <a:pt x="76" y="41"/>
                    <a:pt x="76" y="41"/>
                    <a:pt x="76" y="41"/>
                  </a:cubicBezTo>
                  <a:cubicBezTo>
                    <a:pt x="70" y="34"/>
                    <a:pt x="60" y="34"/>
                    <a:pt x="53" y="41"/>
                  </a:cubicBezTo>
                  <a:cubicBezTo>
                    <a:pt x="40" y="55"/>
                    <a:pt x="40" y="55"/>
                    <a:pt x="40" y="55"/>
                  </a:cubicBezTo>
                  <a:cubicBezTo>
                    <a:pt x="33" y="62"/>
                    <a:pt x="33" y="73"/>
                    <a:pt x="40" y="80"/>
                  </a:cubicBezTo>
                  <a:cubicBezTo>
                    <a:pt x="58" y="99"/>
                    <a:pt x="58" y="99"/>
                    <a:pt x="58" y="99"/>
                  </a:cubicBezTo>
                  <a:cubicBezTo>
                    <a:pt x="50" y="111"/>
                    <a:pt x="45" y="124"/>
                    <a:pt x="42" y="138"/>
                  </a:cubicBezTo>
                  <a:cubicBezTo>
                    <a:pt x="17" y="138"/>
                    <a:pt x="17" y="138"/>
                    <a:pt x="17" y="138"/>
                  </a:cubicBezTo>
                  <a:cubicBezTo>
                    <a:pt x="8" y="138"/>
                    <a:pt x="0" y="146"/>
                    <a:pt x="0" y="156"/>
                  </a:cubicBezTo>
                  <a:cubicBezTo>
                    <a:pt x="0" y="176"/>
                    <a:pt x="0" y="176"/>
                    <a:pt x="0" y="176"/>
                  </a:cubicBezTo>
                  <a:cubicBezTo>
                    <a:pt x="0" y="186"/>
                    <a:pt x="8" y="194"/>
                    <a:pt x="17" y="194"/>
                  </a:cubicBezTo>
                  <a:cubicBezTo>
                    <a:pt x="42" y="194"/>
                    <a:pt x="42" y="194"/>
                    <a:pt x="42" y="194"/>
                  </a:cubicBezTo>
                  <a:cubicBezTo>
                    <a:pt x="45" y="208"/>
                    <a:pt x="50" y="221"/>
                    <a:pt x="57" y="233"/>
                  </a:cubicBezTo>
                  <a:cubicBezTo>
                    <a:pt x="39" y="252"/>
                    <a:pt x="39" y="252"/>
                    <a:pt x="39" y="252"/>
                  </a:cubicBezTo>
                  <a:cubicBezTo>
                    <a:pt x="33" y="259"/>
                    <a:pt x="33" y="270"/>
                    <a:pt x="39" y="277"/>
                  </a:cubicBezTo>
                  <a:cubicBezTo>
                    <a:pt x="52" y="291"/>
                    <a:pt x="52" y="291"/>
                    <a:pt x="52" y="291"/>
                  </a:cubicBezTo>
                  <a:cubicBezTo>
                    <a:pt x="59" y="298"/>
                    <a:pt x="69" y="298"/>
                    <a:pt x="75" y="291"/>
                  </a:cubicBezTo>
                  <a:cubicBezTo>
                    <a:pt x="93" y="272"/>
                    <a:pt x="93" y="272"/>
                    <a:pt x="93" y="272"/>
                  </a:cubicBezTo>
                  <a:cubicBezTo>
                    <a:pt x="105" y="280"/>
                    <a:pt x="117" y="285"/>
                    <a:pt x="130" y="289"/>
                  </a:cubicBezTo>
                  <a:cubicBezTo>
                    <a:pt x="130" y="316"/>
                    <a:pt x="130" y="316"/>
                    <a:pt x="130" y="316"/>
                  </a:cubicBezTo>
                  <a:cubicBezTo>
                    <a:pt x="130" y="325"/>
                    <a:pt x="137" y="333"/>
                    <a:pt x="146" y="333"/>
                  </a:cubicBezTo>
                  <a:cubicBezTo>
                    <a:pt x="165" y="333"/>
                    <a:pt x="165" y="333"/>
                    <a:pt x="165" y="333"/>
                  </a:cubicBezTo>
                  <a:cubicBezTo>
                    <a:pt x="174" y="333"/>
                    <a:pt x="182" y="326"/>
                    <a:pt x="182" y="316"/>
                  </a:cubicBezTo>
                  <a:cubicBezTo>
                    <a:pt x="182" y="289"/>
                    <a:pt x="182" y="289"/>
                    <a:pt x="182" y="289"/>
                  </a:cubicBezTo>
                  <a:cubicBezTo>
                    <a:pt x="195" y="286"/>
                    <a:pt x="207" y="280"/>
                    <a:pt x="218" y="273"/>
                  </a:cubicBezTo>
                  <a:cubicBezTo>
                    <a:pt x="236" y="292"/>
                    <a:pt x="236" y="292"/>
                    <a:pt x="236" y="292"/>
                  </a:cubicBezTo>
                  <a:cubicBezTo>
                    <a:pt x="243" y="299"/>
                    <a:pt x="253" y="299"/>
                    <a:pt x="259" y="292"/>
                  </a:cubicBezTo>
                  <a:cubicBezTo>
                    <a:pt x="273" y="278"/>
                    <a:pt x="273" y="278"/>
                    <a:pt x="273" y="278"/>
                  </a:cubicBezTo>
                  <a:cubicBezTo>
                    <a:pt x="279" y="271"/>
                    <a:pt x="279" y="260"/>
                    <a:pt x="273" y="253"/>
                  </a:cubicBezTo>
                  <a:cubicBezTo>
                    <a:pt x="255" y="234"/>
                    <a:pt x="255" y="234"/>
                    <a:pt x="255" y="234"/>
                  </a:cubicBezTo>
                  <a:cubicBezTo>
                    <a:pt x="262" y="222"/>
                    <a:pt x="267" y="209"/>
                    <a:pt x="270" y="195"/>
                  </a:cubicBezTo>
                  <a:cubicBezTo>
                    <a:pt x="296" y="195"/>
                    <a:pt x="296" y="195"/>
                    <a:pt x="296" y="195"/>
                  </a:cubicBezTo>
                  <a:cubicBezTo>
                    <a:pt x="305" y="195"/>
                    <a:pt x="312" y="187"/>
                    <a:pt x="312" y="177"/>
                  </a:cubicBezTo>
                  <a:cubicBezTo>
                    <a:pt x="312" y="157"/>
                    <a:pt x="312" y="157"/>
                    <a:pt x="312" y="157"/>
                  </a:cubicBezTo>
                  <a:cubicBezTo>
                    <a:pt x="312" y="147"/>
                    <a:pt x="305" y="139"/>
                    <a:pt x="296" y="139"/>
                  </a:cubicBezTo>
                  <a:close/>
                  <a:moveTo>
                    <a:pt x="156" y="222"/>
                  </a:moveTo>
                  <a:cubicBezTo>
                    <a:pt x="127" y="222"/>
                    <a:pt x="104" y="197"/>
                    <a:pt x="104" y="167"/>
                  </a:cubicBezTo>
                  <a:cubicBezTo>
                    <a:pt x="104" y="136"/>
                    <a:pt x="127" y="111"/>
                    <a:pt x="156" y="111"/>
                  </a:cubicBezTo>
                  <a:cubicBezTo>
                    <a:pt x="185" y="111"/>
                    <a:pt x="208" y="136"/>
                    <a:pt x="208" y="167"/>
                  </a:cubicBezTo>
                  <a:cubicBezTo>
                    <a:pt x="208" y="197"/>
                    <a:pt x="185" y="222"/>
                    <a:pt x="156" y="222"/>
                  </a:cubicBezTo>
                  <a:close/>
                </a:path>
              </a:pathLst>
            </a:custGeom>
            <a:noFill/>
            <a:ln w="3810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zh-CN" altLang="en-US"/>
            </a:p>
          </p:txBody>
        </p:sp>
      </p:grpSp>
      <p:sp>
        <p:nvSpPr>
          <p:cNvPr id="13" name="标题 1"/>
          <p:cNvSpPr>
            <a:spLocks noGrp="1"/>
          </p:cNvSpPr>
          <p:nvPr userDrawn="1">
            <p:ph type="ctrTitle" hasCustomPrompt="1"/>
          </p:nvPr>
        </p:nvSpPr>
        <p:spPr>
          <a:xfrm>
            <a:off x="6619876" y="1631043"/>
            <a:ext cx="4754565" cy="1621509"/>
          </a:xfrm>
        </p:spPr>
        <p:txBody>
          <a:bodyPr anchor="b">
            <a:normAutofit/>
          </a:bodyPr>
          <a:lstStyle>
            <a:lvl1pPr marL="0" indent="0" algn="r">
              <a:buFont typeface="Arial" panose="020B0604020202020204" pitchFamily="34" charset="0"/>
              <a:buNone/>
              <a:defRPr sz="3200">
                <a:solidFill>
                  <a:schemeClr val="tx1"/>
                </a:solidFill>
              </a:defRPr>
            </a:lvl1pPr>
          </a:lstStyle>
          <a:p>
            <a:r>
              <a:rPr lang="en-US" altLang="zh-CN" dirty="0"/>
              <a:t>Conclusion</a:t>
            </a:r>
            <a:endParaRPr lang="zh-CN" altLang="en-US" dirty="0"/>
          </a:p>
        </p:txBody>
      </p:sp>
      <p:sp>
        <p:nvSpPr>
          <p:cNvPr id="15" name="文本占位符 62"/>
          <p:cNvSpPr>
            <a:spLocks noGrp="1"/>
          </p:cNvSpPr>
          <p:nvPr userDrawn="1">
            <p:ph type="body" sz="quarter" idx="18" hasCustomPrompt="1"/>
          </p:nvPr>
        </p:nvSpPr>
        <p:spPr>
          <a:xfrm>
            <a:off x="6619876" y="3937279"/>
            <a:ext cx="4754565" cy="310871"/>
          </a:xfrm>
        </p:spPr>
        <p:txBody>
          <a:bodyPr vert="horz" lIns="91440" tIns="45720" rIns="91440" bIns="45720" rtlCol="0">
            <a:normAutofit/>
          </a:bodyPr>
          <a:lstStyle>
            <a:lvl1pPr marL="0" indent="0" algn="r">
              <a:buNone/>
              <a:defRPr lang="zh-CN" altLang="en-US" sz="1500" smtClean="0">
                <a:solidFill>
                  <a:schemeClr val="tx1"/>
                </a:solidFill>
              </a:defRPr>
            </a:lvl1pPr>
            <a:lvl2pPr>
              <a:defRPr lang="zh-CN" altLang="en-US" sz="2000" smtClean="0"/>
            </a:lvl2pPr>
            <a:lvl3pPr>
              <a:defRPr lang="zh-CN" altLang="en-US" sz="1800" smtClean="0"/>
            </a:lvl3pPr>
            <a:lvl4pPr>
              <a:defRPr lang="zh-CN" altLang="en-US" sz="1600" smtClean="0"/>
            </a:lvl4pPr>
            <a:lvl5pPr>
              <a:defRPr lang="zh-CN" altLang="en-US" sz="1600"/>
            </a:lvl5pPr>
          </a:lstStyle>
          <a:p>
            <a:pPr marL="228589" marR="0" lvl="0" indent="-228589" fontAlgn="auto">
              <a:spcAft>
                <a:spcPts val="0"/>
              </a:spcAft>
              <a:buClrTx/>
              <a:buSzTx/>
              <a:tabLst/>
            </a:pPr>
            <a:r>
              <a:rPr lang="en-US" altLang="zh-CN" dirty="0"/>
              <a:t>Data</a:t>
            </a:r>
          </a:p>
        </p:txBody>
      </p:sp>
      <p:sp>
        <p:nvSpPr>
          <p:cNvPr id="6" name="文本占位符 13">
            <a:extLst>
              <a:ext uri="{FF2B5EF4-FFF2-40B4-BE49-F238E27FC236}">
                <a16:creationId xmlns:a16="http://schemas.microsoft.com/office/drawing/2014/main" id="{05EBDA4F-7210-4CAE-8333-80DB24212E78}"/>
              </a:ext>
            </a:extLst>
          </p:cNvPr>
          <p:cNvSpPr>
            <a:spLocks noGrp="1"/>
          </p:cNvSpPr>
          <p:nvPr>
            <p:ph type="body" sz="quarter" idx="10" hasCustomPrompt="1"/>
          </p:nvPr>
        </p:nvSpPr>
        <p:spPr>
          <a:xfrm>
            <a:off x="6619877" y="3641008"/>
            <a:ext cx="4754565" cy="296271"/>
          </a:xfrm>
        </p:spPr>
        <p:txBody>
          <a:bodyPr vert="horz" anchor="ctr">
            <a:noAutofit/>
          </a:bodyPr>
          <a:lstStyle>
            <a:lvl1pPr marL="0" indent="0" algn="r">
              <a:buNone/>
              <a:defRPr sz="1500" b="0">
                <a:solidFill>
                  <a:schemeClr val="tx1"/>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dirty="0"/>
              <a:t>Signature</a:t>
            </a:r>
          </a:p>
        </p:txBody>
      </p:sp>
    </p:spTree>
    <p:extLst>
      <p:ext uri="{BB962C8B-B14F-4D97-AF65-F5344CB8AC3E}">
        <p14:creationId xmlns:p14="http://schemas.microsoft.com/office/powerpoint/2010/main" val="2378658405"/>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Contents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57532822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669924" y="1"/>
            <a:ext cx="10850563" cy="1028699"/>
          </a:xfrm>
          <a:prstGeom prst="rect">
            <a:avLst/>
          </a:prstGeom>
        </p:spPr>
        <p:txBody>
          <a:bodyPr vert="horz" lIns="91440" tIns="45720" rIns="91440" bIns="45720" rtlCol="0" anchor="b">
            <a:normAutofit/>
          </a:bodyPr>
          <a:lstStyle/>
          <a:p>
            <a:r>
              <a:rPr lang="en-US" altLang="zh-CN" dirty="0"/>
              <a:t>Click to edit Master title style</a:t>
            </a:r>
            <a:endParaRPr lang="zh-CN" altLang="en-US" dirty="0"/>
          </a:p>
        </p:txBody>
      </p:sp>
      <p:sp>
        <p:nvSpPr>
          <p:cNvPr id="3" name="文本占位符 2"/>
          <p:cNvSpPr>
            <a:spLocks noGrp="1"/>
          </p:cNvSpPr>
          <p:nvPr>
            <p:ph type="body" idx="1"/>
          </p:nvPr>
        </p:nvSpPr>
        <p:spPr>
          <a:xfrm>
            <a:off x="669924" y="1123950"/>
            <a:ext cx="10850563" cy="5019675"/>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zh-CN" altLang="en-US" dirty="0"/>
          </a:p>
        </p:txBody>
      </p:sp>
      <p:cxnSp>
        <p:nvCxnSpPr>
          <p:cNvPr id="7" name="直接连接符 6"/>
          <p:cNvCxnSpPr/>
          <p:nvPr userDrawn="1"/>
        </p:nvCxnSpPr>
        <p:spPr>
          <a:xfrm>
            <a:off x="669924" y="1028700"/>
            <a:ext cx="10850563" cy="0"/>
          </a:xfrm>
          <a:prstGeom prst="line">
            <a:avLst/>
          </a:prstGeom>
          <a:ln w="31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8" name="日期占位符 3">
            <a:extLst>
              <a:ext uri="{FF2B5EF4-FFF2-40B4-BE49-F238E27FC236}">
                <a16:creationId xmlns:a16="http://schemas.microsoft.com/office/drawing/2014/main" id="{04388434-9949-479C-A9C3-67A953F6A939}"/>
              </a:ext>
            </a:extLst>
          </p:cNvPr>
          <p:cNvSpPr>
            <a:spLocks noGrp="1"/>
          </p:cNvSpPr>
          <p:nvPr>
            <p:ph type="dt" sz="half" idx="2"/>
          </p:nvPr>
        </p:nvSpPr>
        <p:spPr>
          <a:xfrm>
            <a:off x="5401732" y="6240463"/>
            <a:ext cx="1388536" cy="206381"/>
          </a:xfrm>
          <a:prstGeom prst="rect">
            <a:avLst/>
          </a:prstGeom>
        </p:spPr>
        <p:txBody>
          <a:bodyPr vert="horz" lIns="91440" tIns="45720" rIns="91440" bIns="45720" rtlCol="0" anchor="ctr"/>
          <a:lstStyle>
            <a:lvl1pPr algn="ctr">
              <a:defRPr sz="1000">
                <a:solidFill>
                  <a:schemeClr val="tx1">
                    <a:lumMod val="50000"/>
                    <a:lumOff val="50000"/>
                  </a:schemeClr>
                </a:solidFill>
              </a:defRPr>
            </a:lvl1pPr>
          </a:lstStyle>
          <a:p>
            <a:fld id="{6489D9C7-5DC6-4263-87FF-7C99F6FB63C3}" type="datetime1">
              <a:rPr lang="zh-CN" altLang="en-US" smtClean="0"/>
              <a:pPr/>
              <a:t>2023/4/2</a:t>
            </a:fld>
            <a:endParaRPr lang="zh-CN" altLang="en-US"/>
          </a:p>
        </p:txBody>
      </p:sp>
      <p:sp>
        <p:nvSpPr>
          <p:cNvPr id="9" name="页脚占位符 4">
            <a:extLst>
              <a:ext uri="{FF2B5EF4-FFF2-40B4-BE49-F238E27FC236}">
                <a16:creationId xmlns:a16="http://schemas.microsoft.com/office/drawing/2014/main" id="{50A5656E-7A33-4865-A262-1F96263BAA16}"/>
              </a:ext>
            </a:extLst>
          </p:cNvPr>
          <p:cNvSpPr>
            <a:spLocks noGrp="1"/>
          </p:cNvSpPr>
          <p:nvPr>
            <p:ph type="ftr" sz="quarter" idx="3"/>
          </p:nvPr>
        </p:nvSpPr>
        <p:spPr>
          <a:xfrm>
            <a:off x="669924" y="6240463"/>
            <a:ext cx="4140201" cy="206381"/>
          </a:xfrm>
          <a:prstGeom prst="rect">
            <a:avLst/>
          </a:prstGeom>
        </p:spPr>
        <p:txBody>
          <a:bodyPr vert="horz" lIns="91440" tIns="45720" rIns="91440" bIns="45720" rtlCol="0" anchor="ctr"/>
          <a:lstStyle>
            <a:lvl1pPr algn="l">
              <a:defRPr sz="1000">
                <a:solidFill>
                  <a:schemeClr val="tx1">
                    <a:lumMod val="50000"/>
                    <a:lumOff val="50000"/>
                  </a:schemeClr>
                </a:solidFill>
              </a:defRPr>
            </a:lvl1pPr>
          </a:lstStyle>
          <a:p>
            <a:r>
              <a:rPr lang="en-US" altLang="zh-CN" dirty="0"/>
              <a:t>www.islide.cc</a:t>
            </a:r>
            <a:endParaRPr lang="zh-CN" altLang="en-US" dirty="0"/>
          </a:p>
        </p:txBody>
      </p:sp>
      <p:sp>
        <p:nvSpPr>
          <p:cNvPr id="10" name="灯片编号占位符 5">
            <a:extLst>
              <a:ext uri="{FF2B5EF4-FFF2-40B4-BE49-F238E27FC236}">
                <a16:creationId xmlns:a16="http://schemas.microsoft.com/office/drawing/2014/main" id="{5BF52F79-380E-4278-8B67-588AFE5840F9}"/>
              </a:ext>
            </a:extLst>
          </p:cNvPr>
          <p:cNvSpPr>
            <a:spLocks noGrp="1"/>
          </p:cNvSpPr>
          <p:nvPr>
            <p:ph type="sldNum" sz="quarter" idx="4"/>
          </p:nvPr>
        </p:nvSpPr>
        <p:spPr>
          <a:xfrm>
            <a:off x="8610599" y="6240463"/>
            <a:ext cx="2909888" cy="206381"/>
          </a:xfrm>
          <a:prstGeom prst="rect">
            <a:avLst/>
          </a:prstGeom>
        </p:spPr>
        <p:txBody>
          <a:bodyPr vert="horz" lIns="91440" tIns="45720" rIns="91440" bIns="45720" rtlCol="0" anchor="ctr"/>
          <a:lstStyle>
            <a:lvl1pPr algn="r">
              <a:defRPr sz="1000">
                <a:solidFill>
                  <a:schemeClr val="tx1">
                    <a:lumMod val="50000"/>
                    <a:lumOff val="50000"/>
                  </a:schemeClr>
                </a:solidFill>
              </a:defRPr>
            </a:lvl1pPr>
          </a:lstStyle>
          <a:p>
            <a:fld id="{5DD3DB80-B894-403A-B48E-6FDC1A72010E}" type="slidenum">
              <a:rPr lang="zh-CN" altLang="en-US" smtClean="0"/>
              <a:pPr/>
              <a:t>‹#›</a:t>
            </a:fld>
            <a:endParaRPr lang="zh-CN" altLang="en-US"/>
          </a:p>
        </p:txBody>
      </p:sp>
    </p:spTree>
    <p:extLst>
      <p:ext uri="{BB962C8B-B14F-4D97-AF65-F5344CB8AC3E}">
        <p14:creationId xmlns:p14="http://schemas.microsoft.com/office/powerpoint/2010/main" val="3784027784"/>
      </p:ext>
    </p:extLst>
  </p:cSld>
  <p:clrMap bg1="lt1" tx1="dk1" bg2="lt2" tx2="dk2" accent1="accent1" accent2="accent2" accent3="accent3" accent4="accent4" accent5="accent5" accent6="accent6" hlink="hlink" folHlink="folHlink"/>
  <p:sldLayoutIdLst>
    <p:sldLayoutId id="2147483660" r:id="rId1"/>
    <p:sldLayoutId id="2147483651" r:id="rId2"/>
    <p:sldLayoutId id="2147483669" r:id="rId3"/>
    <p:sldLayoutId id="2147483662" r:id="rId4"/>
    <p:sldLayoutId id="2147483655" r:id="rId5"/>
    <p:sldLayoutId id="2147483661" r:id="rId6"/>
    <p:sldLayoutId id="2147483670" r:id="rId7"/>
  </p:sldLayoutIdLst>
  <p:hf hdr="0" dt="0"/>
  <p:txStyles>
    <p:titleStyle>
      <a:lvl1pPr algn="l" defTabSz="914354"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228589" indent="-228589" algn="l" defTabSz="914354"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766" indent="-228589" algn="l" defTabSz="914354"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2942" indent="-228589" algn="l" defTabSz="914354"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120"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298"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22" userDrawn="1">
          <p15:clr>
            <a:srgbClr val="F26B43"/>
          </p15:clr>
        </p15:guide>
        <p15:guide id="2" pos="7257" userDrawn="1">
          <p15:clr>
            <a:srgbClr val="F26B43"/>
          </p15:clr>
        </p15:guide>
        <p15:guide id="3" orient="horz" pos="648" userDrawn="1">
          <p15:clr>
            <a:srgbClr val="F26B43"/>
          </p15:clr>
        </p15:guide>
        <p15:guide id="4" orient="horz" pos="712" userDrawn="1">
          <p15:clr>
            <a:srgbClr val="F26B43"/>
          </p15:clr>
        </p15:guide>
        <p15:guide id="5" orient="horz" pos="3931" userDrawn="1">
          <p15:clr>
            <a:srgbClr val="F26B43"/>
          </p15:clr>
        </p15:guide>
        <p15:guide id="6" orient="horz" pos="3866"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vmlDrawing" Target="../drawings/vmlDrawing1.vml"/><Relationship Id="rId1" Type="http://schemas.openxmlformats.org/officeDocument/2006/relationships/themeOverride" Target="../theme/themeOverride1.x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Layout" Target="../slideLayouts/slideLayout4.xml"/><Relationship Id="rId1" Type="http://schemas.openxmlformats.org/officeDocument/2006/relationships/tags" Target="../tags/tag11.xml"/></Relationships>
</file>

<file path=ppt/slides/_rels/slide1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Layout" Target="../slideLayouts/slideLayout4.xml"/><Relationship Id="rId1" Type="http://schemas.openxmlformats.org/officeDocument/2006/relationships/tags" Target="../tags/tag12.xml"/></Relationships>
</file>

<file path=ppt/slides/_rels/slide1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Layout" Target="../slideLayouts/slideLayout4.xml"/><Relationship Id="rId1" Type="http://schemas.openxmlformats.org/officeDocument/2006/relationships/tags" Target="../tags/tag13.xml"/><Relationship Id="rId4" Type="http://schemas.openxmlformats.org/officeDocument/2006/relationships/image" Target="../media/image11.png"/></Relationships>
</file>

<file path=ppt/slides/_rels/slide1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slideLayout" Target="../slideLayouts/slideLayout4.xml"/><Relationship Id="rId1" Type="http://schemas.openxmlformats.org/officeDocument/2006/relationships/tags" Target="../tags/tag14.xml"/><Relationship Id="rId5" Type="http://schemas.openxmlformats.org/officeDocument/2006/relationships/image" Target="../media/image14.png"/><Relationship Id="rId4" Type="http://schemas.openxmlformats.org/officeDocument/2006/relationships/image" Target="../media/image13.png"/></Relationships>
</file>

<file path=ppt/slides/_rels/slide1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slideLayout" Target="../slideLayouts/slideLayout4.xml"/><Relationship Id="rId1" Type="http://schemas.openxmlformats.org/officeDocument/2006/relationships/tags" Target="../tags/tag15.xml"/><Relationship Id="rId4" Type="http://schemas.openxmlformats.org/officeDocument/2006/relationships/image" Target="../media/image16.png"/></Relationships>
</file>

<file path=ppt/slides/_rels/slide15.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16.xml"/></Relationships>
</file>

<file path=ppt/slides/_rels/slide16.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17.xml"/></Relationships>
</file>

<file path=ppt/slides/_rels/slide1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slideLayout" Target="../slideLayouts/slideLayout4.xml"/><Relationship Id="rId1" Type="http://schemas.openxmlformats.org/officeDocument/2006/relationships/tags" Target="../tags/tag18.xml"/><Relationship Id="rId4" Type="http://schemas.openxmlformats.org/officeDocument/2006/relationships/image" Target="../media/image18.png"/></Relationships>
</file>

<file path=ppt/slides/_rels/slide1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slideLayout" Target="../slideLayouts/slideLayout4.xml"/><Relationship Id="rId1" Type="http://schemas.openxmlformats.org/officeDocument/2006/relationships/tags" Target="../tags/tag19.xml"/><Relationship Id="rId4" Type="http://schemas.openxmlformats.org/officeDocument/2006/relationships/image" Target="../media/image20.png"/></Relationships>
</file>

<file path=ppt/slides/_rels/slide19.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20.xml"/></Relationships>
</file>

<file path=ppt/slides/_rels/slide2.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tags" Target="../tags/tag3.xml"/></Relationships>
</file>

<file path=ppt/slides/_rels/slide20.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21.xml"/></Relationships>
</file>

<file path=ppt/slides/_rels/slide21.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slideLayout" Target="../slideLayouts/slideLayout4.xml"/><Relationship Id="rId1" Type="http://schemas.openxmlformats.org/officeDocument/2006/relationships/tags" Target="../tags/tag22.xml"/><Relationship Id="rId4" Type="http://schemas.openxmlformats.org/officeDocument/2006/relationships/image" Target="../media/image22.jpeg"/></Relationships>
</file>

<file path=ppt/slides/_rels/slide22.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slideLayout" Target="../slideLayouts/slideLayout4.xml"/><Relationship Id="rId1" Type="http://schemas.openxmlformats.org/officeDocument/2006/relationships/tags" Target="../tags/tag23.xml"/><Relationship Id="rId4" Type="http://schemas.openxmlformats.org/officeDocument/2006/relationships/image" Target="../media/image24.jpeg"/></Relationships>
</file>

<file path=ppt/slides/_rels/slide23.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24.xml"/></Relationships>
</file>

<file path=ppt/slides/_rels/slide24.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25.xml"/></Relationships>
</file>

<file path=ppt/slides/_rels/slide25.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png"/><Relationship Id="rId1" Type="http://schemas.openxmlformats.org/officeDocument/2006/relationships/slideLayout" Target="../slideLayouts/slideLayout3.xml"/><Relationship Id="rId5" Type="http://schemas.openxmlformats.org/officeDocument/2006/relationships/image" Target="../media/image27.png"/><Relationship Id="rId4" Type="http://schemas.openxmlformats.org/officeDocument/2006/relationships/image" Target="../media/image26.png"/></Relationships>
</file>

<file path=ppt/slides/_rels/slide26.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26.xml"/></Relationships>
</file>

<file path=ppt/slides/_rels/slide27.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27.xml"/></Relationships>
</file>

<file path=ppt/slides/_rels/slide28.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slideLayout" Target="../slideLayouts/slideLayout4.xml"/><Relationship Id="rId1" Type="http://schemas.openxmlformats.org/officeDocument/2006/relationships/tags" Target="../tags/tag28.xml"/></Relationships>
</file>

<file path=ppt/slides/_rels/slide29.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slideLayout" Target="../slideLayouts/slideLayout4.xml"/><Relationship Id="rId1" Type="http://schemas.openxmlformats.org/officeDocument/2006/relationships/tags" Target="../tags/tag29.xml"/></Relationships>
</file>

<file path=ppt/slides/_rels/slide3.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4.xml"/></Relationships>
</file>

<file path=ppt/slides/_rels/slide3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0.xml"/><Relationship Id="rId1" Type="http://schemas.openxmlformats.org/officeDocument/2006/relationships/themeOverride" Target="../theme/themeOverride3.xml"/></Relationships>
</file>

<file path=ppt/slides/_rels/slide31.xml.rels><?xml version="1.0" encoding="UTF-8" standalone="yes"?>
<Relationships xmlns="http://schemas.openxmlformats.org/package/2006/relationships"><Relationship Id="rId3" Type="http://schemas.openxmlformats.org/officeDocument/2006/relationships/hyperlink" Target="https://blog.csdn.net/zhaxun?type=blog" TargetMode="External"/><Relationship Id="rId2" Type="http://schemas.openxmlformats.org/officeDocument/2006/relationships/slideLayout" Target="../slideLayouts/slideLayout4.xml"/><Relationship Id="rId1" Type="http://schemas.openxmlformats.org/officeDocument/2006/relationships/tags" Target="../tags/tag31.xml"/></Relationships>
</file>

<file path=ppt/slides/_rels/slide3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2.xml"/><Relationship Id="rId1" Type="http://schemas.openxmlformats.org/officeDocument/2006/relationships/themeOverride" Target="../theme/themeOverride4.xml"/></Relationships>
</file>

<file path=ppt/slides/_rels/slide33.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33.xml"/></Relationships>
</file>

<file path=ppt/slides/_rels/slide34.xml.rels><?xml version="1.0" encoding="UTF-8" standalone="yes"?>
<Relationships xmlns="http://schemas.openxmlformats.org/package/2006/relationships"><Relationship Id="rId3" Type="http://schemas.openxmlformats.org/officeDocument/2006/relationships/tags" Target="../tags/tag34.xml"/><Relationship Id="rId2" Type="http://schemas.openxmlformats.org/officeDocument/2006/relationships/vmlDrawing" Target="../drawings/vmlDrawing2.vml"/><Relationship Id="rId1" Type="http://schemas.openxmlformats.org/officeDocument/2006/relationships/themeOverride" Target="../theme/themeOverride5.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xml"/><Relationship Id="rId1" Type="http://schemas.openxmlformats.org/officeDocument/2006/relationships/themeOverride" Target="../theme/themeOverride2.xml"/></Relationships>
</file>

<file path=ppt/slides/_rels/slide5.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6.xml"/></Relationships>
</file>

<file path=ppt/slides/_rels/slide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Layout" Target="../slideLayouts/slideLayout4.xml"/><Relationship Id="rId1" Type="http://schemas.openxmlformats.org/officeDocument/2006/relationships/tags" Target="../tags/tag7.xml"/><Relationship Id="rId5" Type="http://schemas.openxmlformats.org/officeDocument/2006/relationships/image" Target="../media/image4.png"/><Relationship Id="rId4" Type="http://schemas.openxmlformats.org/officeDocument/2006/relationships/image" Target="../media/image3.png"/></Relationships>
</file>

<file path=ppt/slides/_rels/slide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Layout" Target="../slideLayouts/slideLayout4.xml"/><Relationship Id="rId1" Type="http://schemas.openxmlformats.org/officeDocument/2006/relationships/tags" Target="../tags/tag8.xml"/><Relationship Id="rId5" Type="http://schemas.openxmlformats.org/officeDocument/2006/relationships/image" Target="../media/image7.png"/><Relationship Id="rId4" Type="http://schemas.openxmlformats.org/officeDocument/2006/relationships/image" Target="../media/image6.png"/></Relationships>
</file>

<file path=ppt/slides/_rels/slide8.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9.xml"/></Relationships>
</file>

<file path=ppt/slides/_rels/slide9.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a:extLst>
              <a:ext uri="{FF2B5EF4-FFF2-40B4-BE49-F238E27FC236}">
                <a16:creationId xmlns:a16="http://schemas.microsoft.com/office/drawing/2014/main" id="{3C326D0B-7DAB-41B6-8030-2E4A18CC949B}"/>
              </a:ext>
            </a:extLst>
          </p:cNvPr>
          <p:cNvGraphicFramePr>
            <a:graphicFrameLocks noChangeAspect="1"/>
          </p:cNvGraphicFramePr>
          <p:nvPr>
            <p:extLst>
              <p:ext uri="{D42A27DB-BD31-4B8C-83A1-F6EECF244321}">
                <p14:modId xmlns:p14="http://schemas.microsoft.com/office/powerpoint/2010/main" val="25840861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90" name="think-cell Slide" r:id="rId5" imgW="347" imgH="348" progId="TCLayout.ActiveDocument.1">
                  <p:embed/>
                </p:oleObj>
              </mc:Choice>
              <mc:Fallback>
                <p:oleObj name="think-cell Slide" r:id="rId5" imgW="347" imgH="348" progId="TCLayout.ActiveDocument.1">
                  <p:embed/>
                  <p:pic>
                    <p:nvPicPr>
                      <p:cNvPr id="3" name="对象 2" hidden="1">
                        <a:extLst>
                          <a:ext uri="{FF2B5EF4-FFF2-40B4-BE49-F238E27FC236}">
                            <a16:creationId xmlns:a16="http://schemas.microsoft.com/office/drawing/2014/main" id="{3C326D0B-7DAB-41B6-8030-2E4A18CC949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矩形 1" hidden="1">
            <a:extLst>
              <a:ext uri="{FF2B5EF4-FFF2-40B4-BE49-F238E27FC236}">
                <a16:creationId xmlns:a16="http://schemas.microsoft.com/office/drawing/2014/main" id="{EC933494-1B63-4A32-964F-D05236799BAA}"/>
              </a:ext>
            </a:extLst>
          </p:cNvPr>
          <p:cNvSpPr/>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4000" b="1" dirty="0">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4" name="标题 3"/>
          <p:cNvSpPr>
            <a:spLocks noGrp="1"/>
          </p:cNvSpPr>
          <p:nvPr>
            <p:ph type="ctrTitle"/>
          </p:nvPr>
        </p:nvSpPr>
        <p:spPr/>
        <p:txBody>
          <a:bodyPr>
            <a:normAutofit/>
          </a:bodyPr>
          <a:lstStyle/>
          <a:p>
            <a:r>
              <a:rPr lang="en-US" altLang="zh-CN" dirty="0"/>
              <a:t>UML</a:t>
            </a:r>
            <a:r>
              <a:rPr lang="zh-CN" altLang="en-US" dirty="0"/>
              <a:t>基础</a:t>
            </a:r>
          </a:p>
        </p:txBody>
      </p:sp>
      <p:sp>
        <p:nvSpPr>
          <p:cNvPr id="6" name="文本占位符 5"/>
          <p:cNvSpPr>
            <a:spLocks noGrp="1"/>
          </p:cNvSpPr>
          <p:nvPr>
            <p:ph type="body" sz="quarter" idx="10"/>
          </p:nvPr>
        </p:nvSpPr>
        <p:spPr>
          <a:xfrm>
            <a:off x="821108" y="4447268"/>
            <a:ext cx="3217491" cy="296271"/>
          </a:xfrm>
        </p:spPr>
        <p:txBody>
          <a:bodyPr/>
          <a:lstStyle/>
          <a:p>
            <a:r>
              <a:rPr lang="zh-CN" altLang="en-US" dirty="0"/>
              <a:t>魏秋雨 钟宇迪 王雨豪 吾守铭 张拓</a:t>
            </a:r>
            <a:endParaRPr lang="en-US" altLang="zh-CN" dirty="0"/>
          </a:p>
        </p:txBody>
      </p:sp>
      <p:sp>
        <p:nvSpPr>
          <p:cNvPr id="7" name="文本占位符 6"/>
          <p:cNvSpPr>
            <a:spLocks noGrp="1"/>
          </p:cNvSpPr>
          <p:nvPr>
            <p:ph type="body" sz="quarter" idx="11"/>
          </p:nvPr>
        </p:nvSpPr>
        <p:spPr>
          <a:xfrm>
            <a:off x="821109" y="4855065"/>
            <a:ext cx="1978651" cy="296271"/>
          </a:xfrm>
        </p:spPr>
        <p:txBody>
          <a:bodyPr/>
          <a:lstStyle/>
          <a:p>
            <a:r>
              <a:rPr lang="en-US" altLang="zh-CN" dirty="0"/>
              <a:t>SRA2023G20</a:t>
            </a:r>
            <a:endParaRPr lang="en-US" altLang="en-US" dirty="0"/>
          </a:p>
        </p:txBody>
      </p:sp>
    </p:spTree>
    <p:custDataLst>
      <p:tags r:id="rId3"/>
    </p:custDataLst>
    <p:extLst>
      <p:ext uri="{BB962C8B-B14F-4D97-AF65-F5344CB8AC3E}">
        <p14:creationId xmlns:p14="http://schemas.microsoft.com/office/powerpoint/2010/main" val="2271741893"/>
      </p:ext>
    </p:extLst>
  </p:cSld>
  <p:clrMapOvr>
    <a:masterClrMapping/>
  </p:clrMapOvr>
  <mc:AlternateContent xmlns:mc="http://schemas.openxmlformats.org/markup-compatibility/2006">
    <mc:Choice xmlns:p14="http://schemas.microsoft.com/office/powerpoint/2010/main" Requires="p14">
      <p:transition spd="slow" p14:dur="1250">
        <p:comb/>
      </p:transition>
    </mc:Choice>
    <mc:Fallback>
      <p:transition spd="slow">
        <p:comb/>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灯片编号占位符 3">
            <a:extLst>
              <a:ext uri="{FF2B5EF4-FFF2-40B4-BE49-F238E27FC236}">
                <a16:creationId xmlns:a16="http://schemas.microsoft.com/office/drawing/2014/main" id="{2A5C0DA9-421E-435E-A37F-75EEA4A204CB}"/>
              </a:ext>
            </a:extLst>
          </p:cNvPr>
          <p:cNvSpPr>
            <a:spLocks noGrp="1"/>
          </p:cNvSpPr>
          <p:nvPr>
            <p:ph type="sldNum" sz="quarter" idx="12"/>
          </p:nvPr>
        </p:nvSpPr>
        <p:spPr/>
        <p:txBody>
          <a:bodyPr/>
          <a:lstStyle/>
          <a:p>
            <a:fld id="{5DD3DB80-B894-403A-B48E-6FDC1A72010E}" type="slidenum">
              <a:rPr lang="zh-CN" altLang="en-US" smtClean="0"/>
              <a:pPr/>
              <a:t>10</a:t>
            </a:fld>
            <a:endParaRPr lang="zh-CN" altLang="en-US"/>
          </a:p>
        </p:txBody>
      </p:sp>
      <p:sp>
        <p:nvSpPr>
          <p:cNvPr id="5" name="标题 1">
            <a:extLst>
              <a:ext uri="{FF2B5EF4-FFF2-40B4-BE49-F238E27FC236}">
                <a16:creationId xmlns:a16="http://schemas.microsoft.com/office/drawing/2014/main" id="{A66C21BB-C083-4C2F-A2AE-920B8A20D84E}"/>
              </a:ext>
            </a:extLst>
          </p:cNvPr>
          <p:cNvSpPr>
            <a:spLocks noGrp="1"/>
          </p:cNvSpPr>
          <p:nvPr>
            <p:ph type="title"/>
          </p:nvPr>
        </p:nvSpPr>
        <p:spPr>
          <a:xfrm>
            <a:off x="669924" y="1"/>
            <a:ext cx="10850563" cy="1028699"/>
          </a:xfrm>
        </p:spPr>
        <p:txBody>
          <a:bodyPr/>
          <a:lstStyle/>
          <a:p>
            <a:r>
              <a:rPr lang="en-US" altLang="zh-CN" dirty="0"/>
              <a:t>UML</a:t>
            </a:r>
            <a:r>
              <a:rPr lang="zh-CN" altLang="en-US" dirty="0"/>
              <a:t>类图</a:t>
            </a:r>
          </a:p>
        </p:txBody>
      </p:sp>
      <p:sp>
        <p:nvSpPr>
          <p:cNvPr id="6" name="文本框 5">
            <a:extLst>
              <a:ext uri="{FF2B5EF4-FFF2-40B4-BE49-F238E27FC236}">
                <a16:creationId xmlns:a16="http://schemas.microsoft.com/office/drawing/2014/main" id="{AD4EF72B-B237-4531-96CB-FAD2B6E29EE8}"/>
              </a:ext>
            </a:extLst>
          </p:cNvPr>
          <p:cNvSpPr txBox="1"/>
          <p:nvPr/>
        </p:nvSpPr>
        <p:spPr>
          <a:xfrm>
            <a:off x="669924" y="1238348"/>
            <a:ext cx="7588572" cy="2585323"/>
          </a:xfrm>
          <a:prstGeom prst="rect">
            <a:avLst/>
          </a:prstGeom>
          <a:noFill/>
        </p:spPr>
        <p:txBody>
          <a:bodyPr wrap="square" rtlCol="0">
            <a:spAutoFit/>
          </a:bodyPr>
          <a:lstStyle/>
          <a:p>
            <a:pPr algn="l"/>
            <a:r>
              <a:rPr lang="en-US" altLang="zh-CN" b="1" i="0" dirty="0">
                <a:solidFill>
                  <a:srgbClr val="0D0016"/>
                </a:solidFill>
                <a:effectLst/>
                <a:latin typeface="PingFang SC"/>
              </a:rPr>
              <a:t>1</a:t>
            </a:r>
            <a:r>
              <a:rPr lang="zh-CN" altLang="en-US" b="1" i="0" dirty="0">
                <a:solidFill>
                  <a:srgbClr val="0D0016"/>
                </a:solidFill>
                <a:effectLst/>
                <a:latin typeface="PingFang SC"/>
              </a:rPr>
              <a:t>、类（</a:t>
            </a:r>
            <a:r>
              <a:rPr lang="en-US" altLang="zh-CN" b="1" i="0" dirty="0">
                <a:solidFill>
                  <a:srgbClr val="0D0016"/>
                </a:solidFill>
                <a:effectLst/>
                <a:latin typeface="PingFang SC"/>
              </a:rPr>
              <a:t>Actor</a:t>
            </a:r>
            <a:r>
              <a:rPr lang="zh-CN" altLang="en-US" b="1" i="0" dirty="0">
                <a:solidFill>
                  <a:srgbClr val="0D0016"/>
                </a:solidFill>
                <a:effectLst/>
                <a:latin typeface="PingFang SC"/>
              </a:rPr>
              <a:t>）</a:t>
            </a:r>
            <a:endParaRPr lang="en-US" altLang="zh-CN" b="1" dirty="0">
              <a:solidFill>
                <a:srgbClr val="4F4F4F"/>
              </a:solidFill>
              <a:latin typeface="PingFang SC"/>
            </a:endParaRPr>
          </a:p>
          <a:p>
            <a:pPr algn="l"/>
            <a:r>
              <a:rPr lang="zh-CN" altLang="en-US" b="0" i="0" dirty="0">
                <a:solidFill>
                  <a:srgbClr val="0D0016"/>
                </a:solidFill>
                <a:effectLst/>
                <a:latin typeface="-apple-system"/>
              </a:rPr>
              <a:t>从上到下分为三部分，分别是类名、属性和操作。类名是必须有的</a:t>
            </a:r>
            <a:endParaRPr lang="en-US" altLang="zh-CN" dirty="0">
              <a:solidFill>
                <a:srgbClr val="0D0016"/>
              </a:solidFill>
              <a:latin typeface="-apple-system"/>
            </a:endParaRPr>
          </a:p>
          <a:p>
            <a:pPr algn="l"/>
            <a:endParaRPr lang="en-US" altLang="zh-CN" b="0" i="0" dirty="0">
              <a:effectLst/>
              <a:latin typeface="-apple-system"/>
            </a:endParaRPr>
          </a:p>
          <a:p>
            <a:pPr algn="l"/>
            <a:r>
              <a:rPr lang="zh-CN" altLang="en-US" b="0" i="0" dirty="0">
                <a:effectLst/>
                <a:latin typeface="-apple-system"/>
              </a:rPr>
              <a:t>类如果有属性，则每一个属性必须有一个名字，另外还可以有其他的描述信息，如可见性、数据类型、缺省值等</a:t>
            </a:r>
            <a:endParaRPr lang="en-US" altLang="zh-CN" b="0" i="0" dirty="0">
              <a:effectLst/>
              <a:latin typeface="-apple-system"/>
            </a:endParaRPr>
          </a:p>
          <a:p>
            <a:pPr algn="l"/>
            <a:endParaRPr lang="en-US" altLang="zh-CN" b="0" i="0" dirty="0">
              <a:solidFill>
                <a:srgbClr val="0D0016"/>
              </a:solidFill>
              <a:effectLst/>
              <a:latin typeface="-apple-system"/>
            </a:endParaRPr>
          </a:p>
          <a:p>
            <a:pPr algn="l"/>
            <a:r>
              <a:rPr lang="zh-CN" altLang="en-US" b="0" i="0" dirty="0">
                <a:solidFill>
                  <a:srgbClr val="0D0016"/>
                </a:solidFill>
                <a:effectLst/>
                <a:latin typeface="-apple-system"/>
              </a:rPr>
              <a:t>类如果有操作，则每一个操作也都有一个名字，其他可选的信息包括可见性、参数的名、参数类型、参数缺省值和操作的返回值的类型等</a:t>
            </a:r>
            <a:endParaRPr lang="en-US" altLang="zh-CN" b="0" i="0" dirty="0">
              <a:solidFill>
                <a:srgbClr val="4D4D4D"/>
              </a:solidFill>
              <a:effectLst/>
              <a:latin typeface="-apple-system"/>
            </a:endParaRPr>
          </a:p>
          <a:p>
            <a:pPr algn="l"/>
            <a:endParaRPr lang="zh-CN" altLang="en-US" b="0" i="0" dirty="0">
              <a:solidFill>
                <a:srgbClr val="4D4D4D"/>
              </a:solidFill>
              <a:effectLst/>
              <a:latin typeface="-apple-system"/>
            </a:endParaRPr>
          </a:p>
        </p:txBody>
      </p:sp>
      <p:grpSp>
        <p:nvGrpSpPr>
          <p:cNvPr id="126" name="组合 125">
            <a:extLst>
              <a:ext uri="{FF2B5EF4-FFF2-40B4-BE49-F238E27FC236}">
                <a16:creationId xmlns:a16="http://schemas.microsoft.com/office/drawing/2014/main" id="{1DC0C2F1-9738-41E7-81F6-362198F3177B}"/>
              </a:ext>
            </a:extLst>
          </p:cNvPr>
          <p:cNvGrpSpPr/>
          <p:nvPr/>
        </p:nvGrpSpPr>
        <p:grpSpPr>
          <a:xfrm>
            <a:off x="10440193" y="68734"/>
            <a:ext cx="1080294" cy="1067017"/>
            <a:chOff x="4239419" y="1802606"/>
            <a:chExt cx="3713163" cy="3938588"/>
          </a:xfrm>
        </p:grpSpPr>
        <p:sp>
          <p:nvSpPr>
            <p:cNvPr id="127" name="Freeform 5">
              <a:extLst>
                <a:ext uri="{FF2B5EF4-FFF2-40B4-BE49-F238E27FC236}">
                  <a16:creationId xmlns:a16="http://schemas.microsoft.com/office/drawing/2014/main" id="{EFC19AB8-DD1E-4452-82DE-EF85C5345860}"/>
                </a:ext>
              </a:extLst>
            </p:cNvPr>
            <p:cNvSpPr>
              <a:spLocks/>
            </p:cNvSpPr>
            <p:nvPr/>
          </p:nvSpPr>
          <p:spPr bwMode="auto">
            <a:xfrm>
              <a:off x="4888706" y="1837531"/>
              <a:ext cx="3008313" cy="3455988"/>
            </a:xfrm>
            <a:custGeom>
              <a:avLst/>
              <a:gdLst>
                <a:gd name="T0" fmla="*/ 1061 w 1706"/>
                <a:gd name="T1" fmla="*/ 1952 h 1960"/>
                <a:gd name="T2" fmla="*/ 32 w 1706"/>
                <a:gd name="T3" fmla="*/ 1539 h 1960"/>
                <a:gd name="T4" fmla="*/ 9 w 1706"/>
                <a:gd name="T5" fmla="*/ 1485 h 1960"/>
                <a:gd name="T6" fmla="*/ 592 w 1706"/>
                <a:gd name="T7" fmla="*/ 32 h 1960"/>
                <a:gd name="T8" fmla="*/ 646 w 1706"/>
                <a:gd name="T9" fmla="*/ 9 h 1960"/>
                <a:gd name="T10" fmla="*/ 1674 w 1706"/>
                <a:gd name="T11" fmla="*/ 421 h 1960"/>
                <a:gd name="T12" fmla="*/ 1698 w 1706"/>
                <a:gd name="T13" fmla="*/ 475 h 1960"/>
                <a:gd name="T14" fmla="*/ 1115 w 1706"/>
                <a:gd name="T15" fmla="*/ 1929 h 1960"/>
                <a:gd name="T16" fmla="*/ 1061 w 1706"/>
                <a:gd name="T17" fmla="*/ 1952 h 19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06" h="1960">
                  <a:moveTo>
                    <a:pt x="1061" y="1952"/>
                  </a:moveTo>
                  <a:cubicBezTo>
                    <a:pt x="32" y="1539"/>
                    <a:pt x="32" y="1539"/>
                    <a:pt x="32" y="1539"/>
                  </a:cubicBezTo>
                  <a:cubicBezTo>
                    <a:pt x="11" y="1531"/>
                    <a:pt x="0" y="1507"/>
                    <a:pt x="9" y="1485"/>
                  </a:cubicBezTo>
                  <a:cubicBezTo>
                    <a:pt x="592" y="32"/>
                    <a:pt x="592" y="32"/>
                    <a:pt x="592" y="32"/>
                  </a:cubicBezTo>
                  <a:cubicBezTo>
                    <a:pt x="601" y="11"/>
                    <a:pt x="625" y="0"/>
                    <a:pt x="646" y="9"/>
                  </a:cubicBezTo>
                  <a:cubicBezTo>
                    <a:pt x="1674" y="421"/>
                    <a:pt x="1674" y="421"/>
                    <a:pt x="1674" y="421"/>
                  </a:cubicBezTo>
                  <a:cubicBezTo>
                    <a:pt x="1696" y="430"/>
                    <a:pt x="1706" y="454"/>
                    <a:pt x="1698" y="475"/>
                  </a:cubicBezTo>
                  <a:cubicBezTo>
                    <a:pt x="1115" y="1929"/>
                    <a:pt x="1115" y="1929"/>
                    <a:pt x="1115" y="1929"/>
                  </a:cubicBezTo>
                  <a:cubicBezTo>
                    <a:pt x="1106" y="1950"/>
                    <a:pt x="1082" y="1960"/>
                    <a:pt x="1061" y="1952"/>
                  </a:cubicBezTo>
                  <a:close/>
                </a:path>
              </a:pathLst>
            </a:custGeom>
            <a:solidFill>
              <a:srgbClr val="424242">
                <a:alpha val="20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8" name="Freeform 6">
              <a:extLst>
                <a:ext uri="{FF2B5EF4-FFF2-40B4-BE49-F238E27FC236}">
                  <a16:creationId xmlns:a16="http://schemas.microsoft.com/office/drawing/2014/main" id="{DC027539-F95C-4F53-80F9-00814C589D1A}"/>
                </a:ext>
              </a:extLst>
            </p:cNvPr>
            <p:cNvSpPr>
              <a:spLocks/>
            </p:cNvSpPr>
            <p:nvPr/>
          </p:nvSpPr>
          <p:spPr bwMode="auto">
            <a:xfrm>
              <a:off x="4944269" y="1802606"/>
              <a:ext cx="3008313" cy="3455988"/>
            </a:xfrm>
            <a:custGeom>
              <a:avLst/>
              <a:gdLst>
                <a:gd name="T0" fmla="*/ 1061 w 1706"/>
                <a:gd name="T1" fmla="*/ 1952 h 1960"/>
                <a:gd name="T2" fmla="*/ 32 w 1706"/>
                <a:gd name="T3" fmla="*/ 1539 h 1960"/>
                <a:gd name="T4" fmla="*/ 9 w 1706"/>
                <a:gd name="T5" fmla="*/ 1485 h 1960"/>
                <a:gd name="T6" fmla="*/ 592 w 1706"/>
                <a:gd name="T7" fmla="*/ 32 h 1960"/>
                <a:gd name="T8" fmla="*/ 646 w 1706"/>
                <a:gd name="T9" fmla="*/ 9 h 1960"/>
                <a:gd name="T10" fmla="*/ 1674 w 1706"/>
                <a:gd name="T11" fmla="*/ 421 h 1960"/>
                <a:gd name="T12" fmla="*/ 1698 w 1706"/>
                <a:gd name="T13" fmla="*/ 475 h 1960"/>
                <a:gd name="T14" fmla="*/ 1115 w 1706"/>
                <a:gd name="T15" fmla="*/ 1929 h 1960"/>
                <a:gd name="T16" fmla="*/ 1061 w 1706"/>
                <a:gd name="T17" fmla="*/ 1952 h 19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06" h="1960">
                  <a:moveTo>
                    <a:pt x="1061" y="1952"/>
                  </a:moveTo>
                  <a:cubicBezTo>
                    <a:pt x="32" y="1539"/>
                    <a:pt x="32" y="1539"/>
                    <a:pt x="32" y="1539"/>
                  </a:cubicBezTo>
                  <a:cubicBezTo>
                    <a:pt x="11" y="1531"/>
                    <a:pt x="0" y="1507"/>
                    <a:pt x="9" y="1485"/>
                  </a:cubicBezTo>
                  <a:cubicBezTo>
                    <a:pt x="592" y="32"/>
                    <a:pt x="592" y="32"/>
                    <a:pt x="592" y="32"/>
                  </a:cubicBezTo>
                  <a:cubicBezTo>
                    <a:pt x="601" y="11"/>
                    <a:pt x="625" y="0"/>
                    <a:pt x="646" y="9"/>
                  </a:cubicBezTo>
                  <a:cubicBezTo>
                    <a:pt x="1674" y="421"/>
                    <a:pt x="1674" y="421"/>
                    <a:pt x="1674" y="421"/>
                  </a:cubicBezTo>
                  <a:cubicBezTo>
                    <a:pt x="1696" y="430"/>
                    <a:pt x="1706" y="454"/>
                    <a:pt x="1698" y="475"/>
                  </a:cubicBezTo>
                  <a:cubicBezTo>
                    <a:pt x="1115" y="1929"/>
                    <a:pt x="1115" y="1929"/>
                    <a:pt x="1115" y="1929"/>
                  </a:cubicBezTo>
                  <a:cubicBezTo>
                    <a:pt x="1106" y="1950"/>
                    <a:pt x="1082" y="1960"/>
                    <a:pt x="1061" y="1952"/>
                  </a:cubicBezTo>
                  <a:close/>
                </a:path>
              </a:pathLst>
            </a:custGeom>
            <a:solidFill>
              <a:srgbClr val="E4E4E4"/>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29" name="Freeform 7">
              <a:extLst>
                <a:ext uri="{FF2B5EF4-FFF2-40B4-BE49-F238E27FC236}">
                  <a16:creationId xmlns:a16="http://schemas.microsoft.com/office/drawing/2014/main" id="{86C72124-010E-4EAB-AF5E-A53C0D0B786F}"/>
                </a:ext>
              </a:extLst>
            </p:cNvPr>
            <p:cNvSpPr>
              <a:spLocks/>
            </p:cNvSpPr>
            <p:nvPr/>
          </p:nvSpPr>
          <p:spPr bwMode="auto">
            <a:xfrm>
              <a:off x="4944269" y="1802606"/>
              <a:ext cx="1427163" cy="2827338"/>
            </a:xfrm>
            <a:custGeom>
              <a:avLst/>
              <a:gdLst>
                <a:gd name="T0" fmla="*/ 194 w 809"/>
                <a:gd name="T1" fmla="*/ 1604 h 1604"/>
                <a:gd name="T2" fmla="*/ 32 w 809"/>
                <a:gd name="T3" fmla="*/ 1539 h 1604"/>
                <a:gd name="T4" fmla="*/ 9 w 809"/>
                <a:gd name="T5" fmla="*/ 1486 h 1604"/>
                <a:gd name="T6" fmla="*/ 592 w 809"/>
                <a:gd name="T7" fmla="*/ 32 h 1604"/>
                <a:gd name="T8" fmla="*/ 646 w 809"/>
                <a:gd name="T9" fmla="*/ 9 h 1604"/>
                <a:gd name="T10" fmla="*/ 809 w 809"/>
                <a:gd name="T11" fmla="*/ 74 h 1604"/>
                <a:gd name="T12" fmla="*/ 195 w 809"/>
                <a:gd name="T13" fmla="*/ 1604 h 1604"/>
                <a:gd name="T14" fmla="*/ 194 w 809"/>
                <a:gd name="T15" fmla="*/ 1604 h 16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9" h="1604">
                  <a:moveTo>
                    <a:pt x="194" y="1604"/>
                  </a:moveTo>
                  <a:cubicBezTo>
                    <a:pt x="32" y="1539"/>
                    <a:pt x="32" y="1539"/>
                    <a:pt x="32" y="1539"/>
                  </a:cubicBezTo>
                  <a:cubicBezTo>
                    <a:pt x="11" y="1531"/>
                    <a:pt x="0" y="1507"/>
                    <a:pt x="9" y="1486"/>
                  </a:cubicBezTo>
                  <a:cubicBezTo>
                    <a:pt x="592" y="32"/>
                    <a:pt x="592" y="32"/>
                    <a:pt x="592" y="32"/>
                  </a:cubicBezTo>
                  <a:cubicBezTo>
                    <a:pt x="601" y="10"/>
                    <a:pt x="625" y="0"/>
                    <a:pt x="646" y="9"/>
                  </a:cubicBezTo>
                  <a:cubicBezTo>
                    <a:pt x="809" y="74"/>
                    <a:pt x="809" y="74"/>
                    <a:pt x="809" y="74"/>
                  </a:cubicBezTo>
                  <a:cubicBezTo>
                    <a:pt x="195" y="1604"/>
                    <a:pt x="195" y="1604"/>
                    <a:pt x="195" y="1604"/>
                  </a:cubicBezTo>
                  <a:cubicBezTo>
                    <a:pt x="195" y="1604"/>
                    <a:pt x="194" y="1604"/>
                    <a:pt x="194" y="1604"/>
                  </a:cubicBezTo>
                  <a:close/>
                </a:path>
              </a:pathLst>
            </a:custGeom>
            <a:solidFill>
              <a:srgbClr val="C1C0BF"/>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30" name="Freeform 8">
              <a:extLst>
                <a:ext uri="{FF2B5EF4-FFF2-40B4-BE49-F238E27FC236}">
                  <a16:creationId xmlns:a16="http://schemas.microsoft.com/office/drawing/2014/main" id="{8571DE63-0356-4765-A3E4-5C55AF1CDE96}"/>
                </a:ext>
              </a:extLst>
            </p:cNvPr>
            <p:cNvSpPr>
              <a:spLocks/>
            </p:cNvSpPr>
            <p:nvPr/>
          </p:nvSpPr>
          <p:spPr bwMode="auto">
            <a:xfrm>
              <a:off x="4291806" y="1967706"/>
              <a:ext cx="1431925" cy="2081213"/>
            </a:xfrm>
            <a:custGeom>
              <a:avLst/>
              <a:gdLst>
                <a:gd name="T0" fmla="*/ 775 w 812"/>
                <a:gd name="T1" fmla="*/ 1108 h 1180"/>
                <a:gd name="T2" fmla="*/ 163 w 812"/>
                <a:gd name="T3" fmla="*/ 1178 h 1180"/>
                <a:gd name="T4" fmla="*/ 120 w 812"/>
                <a:gd name="T5" fmla="*/ 1144 h 1180"/>
                <a:gd name="T6" fmla="*/ 2 w 812"/>
                <a:gd name="T7" fmla="*/ 115 h 1180"/>
                <a:gd name="T8" fmla="*/ 36 w 812"/>
                <a:gd name="T9" fmla="*/ 72 h 1180"/>
                <a:gd name="T10" fmla="*/ 649 w 812"/>
                <a:gd name="T11" fmla="*/ 2 h 1180"/>
                <a:gd name="T12" fmla="*/ 692 w 812"/>
                <a:gd name="T13" fmla="*/ 36 h 1180"/>
                <a:gd name="T14" fmla="*/ 809 w 812"/>
                <a:gd name="T15" fmla="*/ 1065 h 1180"/>
                <a:gd name="T16" fmla="*/ 775 w 812"/>
                <a:gd name="T17" fmla="*/ 1108 h 1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2" h="1180">
                  <a:moveTo>
                    <a:pt x="775" y="1108"/>
                  </a:moveTo>
                  <a:cubicBezTo>
                    <a:pt x="163" y="1178"/>
                    <a:pt x="163" y="1178"/>
                    <a:pt x="163" y="1178"/>
                  </a:cubicBezTo>
                  <a:cubicBezTo>
                    <a:pt x="141" y="1180"/>
                    <a:pt x="122" y="1165"/>
                    <a:pt x="120" y="1144"/>
                  </a:cubicBezTo>
                  <a:cubicBezTo>
                    <a:pt x="2" y="115"/>
                    <a:pt x="2" y="115"/>
                    <a:pt x="2" y="115"/>
                  </a:cubicBezTo>
                  <a:cubicBezTo>
                    <a:pt x="0" y="94"/>
                    <a:pt x="15" y="75"/>
                    <a:pt x="36" y="72"/>
                  </a:cubicBezTo>
                  <a:cubicBezTo>
                    <a:pt x="649" y="2"/>
                    <a:pt x="649" y="2"/>
                    <a:pt x="649" y="2"/>
                  </a:cubicBezTo>
                  <a:cubicBezTo>
                    <a:pt x="670" y="0"/>
                    <a:pt x="689" y="15"/>
                    <a:pt x="692" y="36"/>
                  </a:cubicBezTo>
                  <a:cubicBezTo>
                    <a:pt x="809" y="1065"/>
                    <a:pt x="809" y="1065"/>
                    <a:pt x="809" y="1065"/>
                  </a:cubicBezTo>
                  <a:cubicBezTo>
                    <a:pt x="812" y="1086"/>
                    <a:pt x="796" y="1105"/>
                    <a:pt x="775" y="1108"/>
                  </a:cubicBezTo>
                  <a:close/>
                </a:path>
              </a:pathLst>
            </a:custGeom>
            <a:solidFill>
              <a:srgbClr val="424242">
                <a:alpha val="20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31" name="Freeform 9">
              <a:extLst>
                <a:ext uri="{FF2B5EF4-FFF2-40B4-BE49-F238E27FC236}">
                  <a16:creationId xmlns:a16="http://schemas.microsoft.com/office/drawing/2014/main" id="{875D7BCF-A630-497B-8704-AEA1F08B7D18}"/>
                </a:ext>
              </a:extLst>
            </p:cNvPr>
            <p:cNvSpPr>
              <a:spLocks/>
            </p:cNvSpPr>
            <p:nvPr/>
          </p:nvSpPr>
          <p:spPr bwMode="auto">
            <a:xfrm>
              <a:off x="4334669" y="1918494"/>
              <a:ext cx="1431925" cy="2081213"/>
            </a:xfrm>
            <a:custGeom>
              <a:avLst/>
              <a:gdLst>
                <a:gd name="T0" fmla="*/ 775 w 812"/>
                <a:gd name="T1" fmla="*/ 1108 h 1180"/>
                <a:gd name="T2" fmla="*/ 163 w 812"/>
                <a:gd name="T3" fmla="*/ 1178 h 1180"/>
                <a:gd name="T4" fmla="*/ 120 w 812"/>
                <a:gd name="T5" fmla="*/ 1144 h 1180"/>
                <a:gd name="T6" fmla="*/ 2 w 812"/>
                <a:gd name="T7" fmla="*/ 115 h 1180"/>
                <a:gd name="T8" fmla="*/ 36 w 812"/>
                <a:gd name="T9" fmla="*/ 72 h 1180"/>
                <a:gd name="T10" fmla="*/ 649 w 812"/>
                <a:gd name="T11" fmla="*/ 2 h 1180"/>
                <a:gd name="T12" fmla="*/ 692 w 812"/>
                <a:gd name="T13" fmla="*/ 36 h 1180"/>
                <a:gd name="T14" fmla="*/ 809 w 812"/>
                <a:gd name="T15" fmla="*/ 1065 h 1180"/>
                <a:gd name="T16" fmla="*/ 775 w 812"/>
                <a:gd name="T17" fmla="*/ 1108 h 1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2" h="1180">
                  <a:moveTo>
                    <a:pt x="775" y="1108"/>
                  </a:moveTo>
                  <a:cubicBezTo>
                    <a:pt x="163" y="1178"/>
                    <a:pt x="163" y="1178"/>
                    <a:pt x="163" y="1178"/>
                  </a:cubicBezTo>
                  <a:cubicBezTo>
                    <a:pt x="141" y="1180"/>
                    <a:pt x="122" y="1165"/>
                    <a:pt x="120" y="1144"/>
                  </a:cubicBezTo>
                  <a:cubicBezTo>
                    <a:pt x="2" y="115"/>
                    <a:pt x="2" y="115"/>
                    <a:pt x="2" y="115"/>
                  </a:cubicBezTo>
                  <a:cubicBezTo>
                    <a:pt x="0" y="94"/>
                    <a:pt x="15" y="75"/>
                    <a:pt x="36" y="72"/>
                  </a:cubicBezTo>
                  <a:cubicBezTo>
                    <a:pt x="649" y="2"/>
                    <a:pt x="649" y="2"/>
                    <a:pt x="649" y="2"/>
                  </a:cubicBezTo>
                  <a:cubicBezTo>
                    <a:pt x="670" y="0"/>
                    <a:pt x="689" y="15"/>
                    <a:pt x="692" y="36"/>
                  </a:cubicBezTo>
                  <a:cubicBezTo>
                    <a:pt x="809" y="1065"/>
                    <a:pt x="809" y="1065"/>
                    <a:pt x="809" y="1065"/>
                  </a:cubicBezTo>
                  <a:cubicBezTo>
                    <a:pt x="812" y="1086"/>
                    <a:pt x="796" y="1105"/>
                    <a:pt x="775" y="1108"/>
                  </a:cubicBezTo>
                  <a:close/>
                </a:path>
              </a:pathLst>
            </a:custGeom>
            <a:solidFill>
              <a:srgbClr val="1B4771"/>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32" name="Freeform 10">
              <a:extLst>
                <a:ext uri="{FF2B5EF4-FFF2-40B4-BE49-F238E27FC236}">
                  <a16:creationId xmlns:a16="http://schemas.microsoft.com/office/drawing/2014/main" id="{BAA0F5BB-A4A7-4D56-83DE-AC83AF98351B}"/>
                </a:ext>
              </a:extLst>
            </p:cNvPr>
            <p:cNvSpPr>
              <a:spLocks/>
            </p:cNvSpPr>
            <p:nvPr/>
          </p:nvSpPr>
          <p:spPr bwMode="auto">
            <a:xfrm>
              <a:off x="4415631" y="1918494"/>
              <a:ext cx="1350963" cy="2071688"/>
            </a:xfrm>
            <a:custGeom>
              <a:avLst/>
              <a:gdLst>
                <a:gd name="T0" fmla="*/ 730 w 766"/>
                <a:gd name="T1" fmla="*/ 1108 h 1175"/>
                <a:gd name="T2" fmla="*/ 162 w 766"/>
                <a:gd name="T3" fmla="*/ 1173 h 1175"/>
                <a:gd name="T4" fmla="*/ 120 w 766"/>
                <a:gd name="T5" fmla="*/ 1140 h 1175"/>
                <a:gd name="T6" fmla="*/ 2 w 766"/>
                <a:gd name="T7" fmla="*/ 109 h 1175"/>
                <a:gd name="T8" fmla="*/ 35 w 766"/>
                <a:gd name="T9" fmla="*/ 67 h 1175"/>
                <a:gd name="T10" fmla="*/ 604 w 766"/>
                <a:gd name="T11" fmla="*/ 2 h 1175"/>
                <a:gd name="T12" fmla="*/ 646 w 766"/>
                <a:gd name="T13" fmla="*/ 35 h 1175"/>
                <a:gd name="T14" fmla="*/ 763 w 766"/>
                <a:gd name="T15" fmla="*/ 1066 h 1175"/>
                <a:gd name="T16" fmla="*/ 730 w 766"/>
                <a:gd name="T17" fmla="*/ 1108 h 1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6" h="1175">
                  <a:moveTo>
                    <a:pt x="730" y="1108"/>
                  </a:moveTo>
                  <a:cubicBezTo>
                    <a:pt x="162" y="1173"/>
                    <a:pt x="162" y="1173"/>
                    <a:pt x="162" y="1173"/>
                  </a:cubicBezTo>
                  <a:cubicBezTo>
                    <a:pt x="141" y="1175"/>
                    <a:pt x="122" y="1160"/>
                    <a:pt x="120" y="1140"/>
                  </a:cubicBezTo>
                  <a:cubicBezTo>
                    <a:pt x="2" y="109"/>
                    <a:pt x="2" y="109"/>
                    <a:pt x="2" y="109"/>
                  </a:cubicBezTo>
                  <a:cubicBezTo>
                    <a:pt x="0" y="88"/>
                    <a:pt x="15" y="69"/>
                    <a:pt x="35" y="67"/>
                  </a:cubicBezTo>
                  <a:cubicBezTo>
                    <a:pt x="604" y="2"/>
                    <a:pt x="604" y="2"/>
                    <a:pt x="604" y="2"/>
                  </a:cubicBezTo>
                  <a:cubicBezTo>
                    <a:pt x="625" y="0"/>
                    <a:pt x="643" y="14"/>
                    <a:pt x="646" y="35"/>
                  </a:cubicBezTo>
                  <a:cubicBezTo>
                    <a:pt x="763" y="1066"/>
                    <a:pt x="763" y="1066"/>
                    <a:pt x="763" y="1066"/>
                  </a:cubicBezTo>
                  <a:cubicBezTo>
                    <a:pt x="766" y="1087"/>
                    <a:pt x="751" y="1105"/>
                    <a:pt x="730" y="1108"/>
                  </a:cubicBezTo>
                  <a:close/>
                </a:path>
              </a:pathLst>
            </a:custGeom>
            <a:solidFill>
              <a:srgbClr val="417DBB"/>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33" name="Freeform 11">
              <a:extLst>
                <a:ext uri="{FF2B5EF4-FFF2-40B4-BE49-F238E27FC236}">
                  <a16:creationId xmlns:a16="http://schemas.microsoft.com/office/drawing/2014/main" id="{F97D3F5B-4953-4582-B499-512E9B8B9C1D}"/>
                </a:ext>
              </a:extLst>
            </p:cNvPr>
            <p:cNvSpPr>
              <a:spLocks/>
            </p:cNvSpPr>
            <p:nvPr/>
          </p:nvSpPr>
          <p:spPr bwMode="auto">
            <a:xfrm>
              <a:off x="4415631" y="1918494"/>
              <a:ext cx="1209675" cy="819150"/>
            </a:xfrm>
            <a:custGeom>
              <a:avLst/>
              <a:gdLst>
                <a:gd name="T0" fmla="*/ 686 w 686"/>
                <a:gd name="T1" fmla="*/ 391 h 465"/>
                <a:gd name="T2" fmla="*/ 646 w 686"/>
                <a:gd name="T3" fmla="*/ 35 h 465"/>
                <a:gd name="T4" fmla="*/ 604 w 686"/>
                <a:gd name="T5" fmla="*/ 2 h 465"/>
                <a:gd name="T6" fmla="*/ 35 w 686"/>
                <a:gd name="T7" fmla="*/ 67 h 465"/>
                <a:gd name="T8" fmla="*/ 2 w 686"/>
                <a:gd name="T9" fmla="*/ 109 h 465"/>
                <a:gd name="T10" fmla="*/ 43 w 686"/>
                <a:gd name="T11" fmla="*/ 465 h 465"/>
                <a:gd name="T12" fmla="*/ 686 w 686"/>
                <a:gd name="T13" fmla="*/ 391 h 465"/>
              </a:gdLst>
              <a:ahLst/>
              <a:cxnLst>
                <a:cxn ang="0">
                  <a:pos x="T0" y="T1"/>
                </a:cxn>
                <a:cxn ang="0">
                  <a:pos x="T2" y="T3"/>
                </a:cxn>
                <a:cxn ang="0">
                  <a:pos x="T4" y="T5"/>
                </a:cxn>
                <a:cxn ang="0">
                  <a:pos x="T6" y="T7"/>
                </a:cxn>
                <a:cxn ang="0">
                  <a:pos x="T8" y="T9"/>
                </a:cxn>
                <a:cxn ang="0">
                  <a:pos x="T10" y="T11"/>
                </a:cxn>
                <a:cxn ang="0">
                  <a:pos x="T12" y="T13"/>
                </a:cxn>
              </a:cxnLst>
              <a:rect l="0" t="0" r="r" b="b"/>
              <a:pathLst>
                <a:path w="686" h="465">
                  <a:moveTo>
                    <a:pt x="686" y="391"/>
                  </a:moveTo>
                  <a:cubicBezTo>
                    <a:pt x="646" y="35"/>
                    <a:pt x="646" y="35"/>
                    <a:pt x="646" y="35"/>
                  </a:cubicBezTo>
                  <a:cubicBezTo>
                    <a:pt x="643" y="14"/>
                    <a:pt x="625" y="0"/>
                    <a:pt x="604" y="2"/>
                  </a:cubicBezTo>
                  <a:cubicBezTo>
                    <a:pt x="35" y="67"/>
                    <a:pt x="35" y="67"/>
                    <a:pt x="35" y="67"/>
                  </a:cubicBezTo>
                  <a:cubicBezTo>
                    <a:pt x="15" y="69"/>
                    <a:pt x="0" y="88"/>
                    <a:pt x="2" y="109"/>
                  </a:cubicBezTo>
                  <a:cubicBezTo>
                    <a:pt x="43" y="465"/>
                    <a:pt x="43" y="465"/>
                    <a:pt x="43" y="465"/>
                  </a:cubicBezTo>
                  <a:lnTo>
                    <a:pt x="686" y="391"/>
                  </a:lnTo>
                  <a:close/>
                </a:path>
              </a:pathLst>
            </a:custGeom>
            <a:solidFill>
              <a:srgbClr val="336290"/>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34" name="Freeform 12">
              <a:extLst>
                <a:ext uri="{FF2B5EF4-FFF2-40B4-BE49-F238E27FC236}">
                  <a16:creationId xmlns:a16="http://schemas.microsoft.com/office/drawing/2014/main" id="{636A327B-0A95-4CEB-A5AC-3AE3BBD3EF25}"/>
                </a:ext>
              </a:extLst>
            </p:cNvPr>
            <p:cNvSpPr>
              <a:spLocks/>
            </p:cNvSpPr>
            <p:nvPr/>
          </p:nvSpPr>
          <p:spPr bwMode="auto">
            <a:xfrm>
              <a:off x="4542631" y="2067719"/>
              <a:ext cx="957263" cy="555625"/>
            </a:xfrm>
            <a:custGeom>
              <a:avLst/>
              <a:gdLst>
                <a:gd name="T0" fmla="*/ 527 w 543"/>
                <a:gd name="T1" fmla="*/ 259 h 315"/>
                <a:gd name="T2" fmla="*/ 46 w 543"/>
                <a:gd name="T3" fmla="*/ 314 h 315"/>
                <a:gd name="T4" fmla="*/ 27 w 543"/>
                <a:gd name="T5" fmla="*/ 299 h 315"/>
                <a:gd name="T6" fmla="*/ 1 w 543"/>
                <a:gd name="T7" fmla="*/ 75 h 315"/>
                <a:gd name="T8" fmla="*/ 16 w 543"/>
                <a:gd name="T9" fmla="*/ 56 h 315"/>
                <a:gd name="T10" fmla="*/ 498 w 543"/>
                <a:gd name="T11" fmla="*/ 1 h 315"/>
                <a:gd name="T12" fmla="*/ 516 w 543"/>
                <a:gd name="T13" fmla="*/ 16 h 315"/>
                <a:gd name="T14" fmla="*/ 542 w 543"/>
                <a:gd name="T15" fmla="*/ 241 h 315"/>
                <a:gd name="T16" fmla="*/ 527 w 543"/>
                <a:gd name="T17" fmla="*/ 259 h 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3" h="315">
                  <a:moveTo>
                    <a:pt x="527" y="259"/>
                  </a:moveTo>
                  <a:cubicBezTo>
                    <a:pt x="46" y="314"/>
                    <a:pt x="46" y="314"/>
                    <a:pt x="46" y="314"/>
                  </a:cubicBezTo>
                  <a:cubicBezTo>
                    <a:pt x="36" y="315"/>
                    <a:pt x="28" y="309"/>
                    <a:pt x="27" y="299"/>
                  </a:cubicBezTo>
                  <a:cubicBezTo>
                    <a:pt x="1" y="75"/>
                    <a:pt x="1" y="75"/>
                    <a:pt x="1" y="75"/>
                  </a:cubicBezTo>
                  <a:cubicBezTo>
                    <a:pt x="0" y="66"/>
                    <a:pt x="7" y="57"/>
                    <a:pt x="16" y="56"/>
                  </a:cubicBezTo>
                  <a:cubicBezTo>
                    <a:pt x="498" y="1"/>
                    <a:pt x="498" y="1"/>
                    <a:pt x="498" y="1"/>
                  </a:cubicBezTo>
                  <a:cubicBezTo>
                    <a:pt x="507" y="0"/>
                    <a:pt x="515" y="7"/>
                    <a:pt x="516" y="16"/>
                  </a:cubicBezTo>
                  <a:cubicBezTo>
                    <a:pt x="542" y="241"/>
                    <a:pt x="542" y="241"/>
                    <a:pt x="542" y="241"/>
                  </a:cubicBezTo>
                  <a:cubicBezTo>
                    <a:pt x="543" y="250"/>
                    <a:pt x="536" y="258"/>
                    <a:pt x="527" y="259"/>
                  </a:cubicBezTo>
                  <a:close/>
                </a:path>
              </a:pathLst>
            </a:custGeom>
            <a:solidFill>
              <a:srgbClr val="01B1E9"/>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35" name="Freeform 13">
              <a:extLst>
                <a:ext uri="{FF2B5EF4-FFF2-40B4-BE49-F238E27FC236}">
                  <a16:creationId xmlns:a16="http://schemas.microsoft.com/office/drawing/2014/main" id="{A2CD11F0-9BEA-409C-B692-31B8F733EE84}"/>
                </a:ext>
              </a:extLst>
            </p:cNvPr>
            <p:cNvSpPr>
              <a:spLocks/>
            </p:cNvSpPr>
            <p:nvPr/>
          </p:nvSpPr>
          <p:spPr bwMode="auto">
            <a:xfrm>
              <a:off x="5409406" y="2971006"/>
              <a:ext cx="217488" cy="320675"/>
            </a:xfrm>
            <a:custGeom>
              <a:avLst/>
              <a:gdLst>
                <a:gd name="T0" fmla="*/ 95 w 123"/>
                <a:gd name="T1" fmla="*/ 174 h 182"/>
                <a:gd name="T2" fmla="*/ 47 w 123"/>
                <a:gd name="T3" fmla="*/ 180 h 182"/>
                <a:gd name="T4" fmla="*/ 15 w 123"/>
                <a:gd name="T5" fmla="*/ 154 h 182"/>
                <a:gd name="T6" fmla="*/ 2 w 123"/>
                <a:gd name="T7" fmla="*/ 40 h 182"/>
                <a:gd name="T8" fmla="*/ 28 w 123"/>
                <a:gd name="T9" fmla="*/ 7 h 182"/>
                <a:gd name="T10" fmla="*/ 75 w 123"/>
                <a:gd name="T11" fmla="*/ 2 h 182"/>
                <a:gd name="T12" fmla="*/ 108 w 123"/>
                <a:gd name="T13" fmla="*/ 28 h 182"/>
                <a:gd name="T14" fmla="*/ 121 w 123"/>
                <a:gd name="T15" fmla="*/ 142 h 182"/>
                <a:gd name="T16" fmla="*/ 95 w 123"/>
                <a:gd name="T17" fmla="*/ 174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182">
                  <a:moveTo>
                    <a:pt x="95" y="174"/>
                  </a:moveTo>
                  <a:cubicBezTo>
                    <a:pt x="47" y="180"/>
                    <a:pt x="47" y="180"/>
                    <a:pt x="47" y="180"/>
                  </a:cubicBezTo>
                  <a:cubicBezTo>
                    <a:pt x="31" y="182"/>
                    <a:pt x="16" y="170"/>
                    <a:pt x="15" y="154"/>
                  </a:cubicBezTo>
                  <a:cubicBezTo>
                    <a:pt x="2" y="40"/>
                    <a:pt x="2" y="40"/>
                    <a:pt x="2" y="40"/>
                  </a:cubicBezTo>
                  <a:cubicBezTo>
                    <a:pt x="0" y="24"/>
                    <a:pt x="11" y="9"/>
                    <a:pt x="28" y="7"/>
                  </a:cubicBezTo>
                  <a:cubicBezTo>
                    <a:pt x="75" y="2"/>
                    <a:pt x="75" y="2"/>
                    <a:pt x="75" y="2"/>
                  </a:cubicBezTo>
                  <a:cubicBezTo>
                    <a:pt x="91" y="0"/>
                    <a:pt x="106" y="11"/>
                    <a:pt x="108" y="28"/>
                  </a:cubicBezTo>
                  <a:cubicBezTo>
                    <a:pt x="121" y="142"/>
                    <a:pt x="121" y="142"/>
                    <a:pt x="121" y="142"/>
                  </a:cubicBezTo>
                  <a:cubicBezTo>
                    <a:pt x="123" y="158"/>
                    <a:pt x="111" y="172"/>
                    <a:pt x="95" y="174"/>
                  </a:cubicBezTo>
                  <a:close/>
                </a:path>
              </a:pathLst>
            </a:custGeom>
            <a:solidFill>
              <a:srgbClr val="06AEED"/>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36" name="Freeform 14">
              <a:extLst>
                <a:ext uri="{FF2B5EF4-FFF2-40B4-BE49-F238E27FC236}">
                  <a16:creationId xmlns:a16="http://schemas.microsoft.com/office/drawing/2014/main" id="{C8B0A36D-71F5-4D3A-97E1-765AE8611816}"/>
                </a:ext>
              </a:extLst>
            </p:cNvPr>
            <p:cNvSpPr>
              <a:spLocks/>
            </p:cNvSpPr>
            <p:nvPr/>
          </p:nvSpPr>
          <p:spPr bwMode="auto">
            <a:xfrm>
              <a:off x="5447506" y="3309144"/>
              <a:ext cx="200025" cy="168275"/>
            </a:xfrm>
            <a:custGeom>
              <a:avLst/>
              <a:gdLst>
                <a:gd name="T0" fmla="*/ 85 w 114"/>
                <a:gd name="T1" fmla="*/ 1 h 95"/>
                <a:gd name="T2" fmla="*/ 20 w 114"/>
                <a:gd name="T3" fmla="*/ 8 h 95"/>
                <a:gd name="T4" fmla="*/ 2 w 114"/>
                <a:gd name="T5" fmla="*/ 31 h 95"/>
                <a:gd name="T6" fmla="*/ 7 w 114"/>
                <a:gd name="T7" fmla="*/ 75 h 95"/>
                <a:gd name="T8" fmla="*/ 30 w 114"/>
                <a:gd name="T9" fmla="*/ 93 h 95"/>
                <a:gd name="T10" fmla="*/ 94 w 114"/>
                <a:gd name="T11" fmla="*/ 86 h 95"/>
                <a:gd name="T12" fmla="*/ 113 w 114"/>
                <a:gd name="T13" fmla="*/ 63 h 95"/>
                <a:gd name="T14" fmla="*/ 108 w 114"/>
                <a:gd name="T15" fmla="*/ 19 h 95"/>
                <a:gd name="T16" fmla="*/ 85 w 114"/>
                <a:gd name="T17" fmla="*/ 1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4" h="95">
                  <a:moveTo>
                    <a:pt x="85" y="1"/>
                  </a:moveTo>
                  <a:cubicBezTo>
                    <a:pt x="20" y="8"/>
                    <a:pt x="20" y="8"/>
                    <a:pt x="20" y="8"/>
                  </a:cubicBezTo>
                  <a:cubicBezTo>
                    <a:pt x="8" y="10"/>
                    <a:pt x="0" y="20"/>
                    <a:pt x="2" y="31"/>
                  </a:cubicBezTo>
                  <a:cubicBezTo>
                    <a:pt x="7" y="75"/>
                    <a:pt x="7" y="75"/>
                    <a:pt x="7" y="75"/>
                  </a:cubicBezTo>
                  <a:cubicBezTo>
                    <a:pt x="8" y="86"/>
                    <a:pt x="18" y="95"/>
                    <a:pt x="30" y="93"/>
                  </a:cubicBezTo>
                  <a:cubicBezTo>
                    <a:pt x="94" y="86"/>
                    <a:pt x="94" y="86"/>
                    <a:pt x="94" y="86"/>
                  </a:cubicBezTo>
                  <a:cubicBezTo>
                    <a:pt x="106" y="85"/>
                    <a:pt x="114" y="74"/>
                    <a:pt x="113" y="63"/>
                  </a:cubicBezTo>
                  <a:cubicBezTo>
                    <a:pt x="108" y="19"/>
                    <a:pt x="108" y="19"/>
                    <a:pt x="108" y="19"/>
                  </a:cubicBezTo>
                  <a:cubicBezTo>
                    <a:pt x="106" y="8"/>
                    <a:pt x="96" y="0"/>
                    <a:pt x="85" y="1"/>
                  </a:cubicBezTo>
                  <a:close/>
                </a:path>
              </a:pathLst>
            </a:custGeom>
            <a:solidFill>
              <a:srgbClr val="06AEED"/>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37" name="Freeform 15">
              <a:extLst>
                <a:ext uri="{FF2B5EF4-FFF2-40B4-BE49-F238E27FC236}">
                  <a16:creationId xmlns:a16="http://schemas.microsoft.com/office/drawing/2014/main" id="{1AAF0803-2FD3-400E-AC3E-C021C37D151B}"/>
                </a:ext>
              </a:extLst>
            </p:cNvPr>
            <p:cNvSpPr>
              <a:spLocks/>
            </p:cNvSpPr>
            <p:nvPr/>
          </p:nvSpPr>
          <p:spPr bwMode="auto">
            <a:xfrm>
              <a:off x="5469731" y="3505994"/>
              <a:ext cx="201613" cy="166688"/>
            </a:xfrm>
            <a:custGeom>
              <a:avLst/>
              <a:gdLst>
                <a:gd name="T0" fmla="*/ 84 w 114"/>
                <a:gd name="T1" fmla="*/ 1 h 95"/>
                <a:gd name="T2" fmla="*/ 20 w 114"/>
                <a:gd name="T3" fmla="*/ 8 h 95"/>
                <a:gd name="T4" fmla="*/ 1 w 114"/>
                <a:gd name="T5" fmla="*/ 31 h 95"/>
                <a:gd name="T6" fmla="*/ 6 w 114"/>
                <a:gd name="T7" fmla="*/ 75 h 95"/>
                <a:gd name="T8" fmla="*/ 29 w 114"/>
                <a:gd name="T9" fmla="*/ 93 h 95"/>
                <a:gd name="T10" fmla="*/ 94 w 114"/>
                <a:gd name="T11" fmla="*/ 86 h 95"/>
                <a:gd name="T12" fmla="*/ 112 w 114"/>
                <a:gd name="T13" fmla="*/ 63 h 95"/>
                <a:gd name="T14" fmla="*/ 107 w 114"/>
                <a:gd name="T15" fmla="*/ 19 h 95"/>
                <a:gd name="T16" fmla="*/ 84 w 114"/>
                <a:gd name="T17" fmla="*/ 1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4" h="95">
                  <a:moveTo>
                    <a:pt x="84" y="1"/>
                  </a:moveTo>
                  <a:cubicBezTo>
                    <a:pt x="20" y="8"/>
                    <a:pt x="20" y="8"/>
                    <a:pt x="20" y="8"/>
                  </a:cubicBezTo>
                  <a:cubicBezTo>
                    <a:pt x="8" y="10"/>
                    <a:pt x="0" y="20"/>
                    <a:pt x="1" y="31"/>
                  </a:cubicBezTo>
                  <a:cubicBezTo>
                    <a:pt x="6" y="75"/>
                    <a:pt x="6" y="75"/>
                    <a:pt x="6" y="75"/>
                  </a:cubicBezTo>
                  <a:cubicBezTo>
                    <a:pt x="8" y="86"/>
                    <a:pt x="18" y="95"/>
                    <a:pt x="29" y="93"/>
                  </a:cubicBezTo>
                  <a:cubicBezTo>
                    <a:pt x="94" y="86"/>
                    <a:pt x="94" y="86"/>
                    <a:pt x="94" y="86"/>
                  </a:cubicBezTo>
                  <a:cubicBezTo>
                    <a:pt x="106" y="85"/>
                    <a:pt x="114" y="74"/>
                    <a:pt x="112" y="63"/>
                  </a:cubicBezTo>
                  <a:cubicBezTo>
                    <a:pt x="107" y="19"/>
                    <a:pt x="107" y="19"/>
                    <a:pt x="107" y="19"/>
                  </a:cubicBezTo>
                  <a:cubicBezTo>
                    <a:pt x="106" y="8"/>
                    <a:pt x="96" y="0"/>
                    <a:pt x="84" y="1"/>
                  </a:cubicBezTo>
                  <a:close/>
                </a:path>
              </a:pathLst>
            </a:custGeom>
            <a:solidFill>
              <a:srgbClr val="06AEED"/>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38" name="Freeform 16">
              <a:extLst>
                <a:ext uri="{FF2B5EF4-FFF2-40B4-BE49-F238E27FC236}">
                  <a16:creationId xmlns:a16="http://schemas.microsoft.com/office/drawing/2014/main" id="{35961C2F-4A42-40C0-BB13-4FC120B9EC86}"/>
                </a:ext>
              </a:extLst>
            </p:cNvPr>
            <p:cNvSpPr>
              <a:spLocks/>
            </p:cNvSpPr>
            <p:nvPr/>
          </p:nvSpPr>
          <p:spPr bwMode="auto">
            <a:xfrm>
              <a:off x="4669631" y="3053556"/>
              <a:ext cx="196850" cy="133350"/>
            </a:xfrm>
            <a:custGeom>
              <a:avLst/>
              <a:gdLst>
                <a:gd name="T0" fmla="*/ 95 w 112"/>
                <a:gd name="T1" fmla="*/ 66 h 75"/>
                <a:gd name="T2" fmla="*/ 25 w 112"/>
                <a:gd name="T3" fmla="*/ 74 h 75"/>
                <a:gd name="T4" fmla="*/ 5 w 112"/>
                <a:gd name="T5" fmla="*/ 58 h 75"/>
                <a:gd name="T6" fmla="*/ 2 w 112"/>
                <a:gd name="T7" fmla="*/ 29 h 75"/>
                <a:gd name="T8" fmla="*/ 17 w 112"/>
                <a:gd name="T9" fmla="*/ 9 h 75"/>
                <a:gd name="T10" fmla="*/ 88 w 112"/>
                <a:gd name="T11" fmla="*/ 1 h 75"/>
                <a:gd name="T12" fmla="*/ 108 w 112"/>
                <a:gd name="T13" fmla="*/ 17 h 75"/>
                <a:gd name="T14" fmla="*/ 111 w 112"/>
                <a:gd name="T15" fmla="*/ 46 h 75"/>
                <a:gd name="T16" fmla="*/ 95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5" y="66"/>
                  </a:moveTo>
                  <a:cubicBezTo>
                    <a:pt x="25" y="74"/>
                    <a:pt x="25" y="74"/>
                    <a:pt x="25" y="74"/>
                  </a:cubicBezTo>
                  <a:cubicBezTo>
                    <a:pt x="15" y="75"/>
                    <a:pt x="6" y="68"/>
                    <a:pt x="5" y="58"/>
                  </a:cubicBezTo>
                  <a:cubicBezTo>
                    <a:pt x="2" y="29"/>
                    <a:pt x="2" y="29"/>
                    <a:pt x="2" y="29"/>
                  </a:cubicBezTo>
                  <a:cubicBezTo>
                    <a:pt x="0" y="19"/>
                    <a:pt x="7" y="10"/>
                    <a:pt x="17" y="9"/>
                  </a:cubicBezTo>
                  <a:cubicBezTo>
                    <a:pt x="88" y="1"/>
                    <a:pt x="88" y="1"/>
                    <a:pt x="88" y="1"/>
                  </a:cubicBezTo>
                  <a:cubicBezTo>
                    <a:pt x="98" y="0"/>
                    <a:pt x="107" y="7"/>
                    <a:pt x="108" y="17"/>
                  </a:cubicBezTo>
                  <a:cubicBezTo>
                    <a:pt x="111" y="46"/>
                    <a:pt x="111" y="46"/>
                    <a:pt x="111" y="46"/>
                  </a:cubicBezTo>
                  <a:cubicBezTo>
                    <a:pt x="112" y="56"/>
                    <a:pt x="105" y="65"/>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39" name="Freeform 17">
              <a:extLst>
                <a:ext uri="{FF2B5EF4-FFF2-40B4-BE49-F238E27FC236}">
                  <a16:creationId xmlns:a16="http://schemas.microsoft.com/office/drawing/2014/main" id="{FC6B66F9-870B-4EF0-9E56-4EA64F481A5C}"/>
                </a:ext>
              </a:extLst>
            </p:cNvPr>
            <p:cNvSpPr>
              <a:spLocks/>
            </p:cNvSpPr>
            <p:nvPr/>
          </p:nvSpPr>
          <p:spPr bwMode="auto">
            <a:xfrm>
              <a:off x="4923631" y="3024981"/>
              <a:ext cx="196850" cy="133350"/>
            </a:xfrm>
            <a:custGeom>
              <a:avLst/>
              <a:gdLst>
                <a:gd name="T0" fmla="*/ 95 w 112"/>
                <a:gd name="T1" fmla="*/ 66 h 75"/>
                <a:gd name="T2" fmla="*/ 24 w 112"/>
                <a:gd name="T3" fmla="*/ 74 h 75"/>
                <a:gd name="T4" fmla="*/ 4 w 112"/>
                <a:gd name="T5" fmla="*/ 58 h 75"/>
                <a:gd name="T6" fmla="*/ 1 w 112"/>
                <a:gd name="T7" fmla="*/ 29 h 75"/>
                <a:gd name="T8" fmla="*/ 16 w 112"/>
                <a:gd name="T9" fmla="*/ 9 h 75"/>
                <a:gd name="T10" fmla="*/ 87 w 112"/>
                <a:gd name="T11" fmla="*/ 1 h 75"/>
                <a:gd name="T12" fmla="*/ 107 w 112"/>
                <a:gd name="T13" fmla="*/ 16 h 75"/>
                <a:gd name="T14" fmla="*/ 110 w 112"/>
                <a:gd name="T15" fmla="*/ 46 h 75"/>
                <a:gd name="T16" fmla="*/ 95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5" y="66"/>
                  </a:moveTo>
                  <a:cubicBezTo>
                    <a:pt x="24" y="74"/>
                    <a:pt x="24" y="74"/>
                    <a:pt x="24" y="74"/>
                  </a:cubicBezTo>
                  <a:cubicBezTo>
                    <a:pt x="14" y="75"/>
                    <a:pt x="5" y="68"/>
                    <a:pt x="4" y="58"/>
                  </a:cubicBezTo>
                  <a:cubicBezTo>
                    <a:pt x="1" y="29"/>
                    <a:pt x="1" y="29"/>
                    <a:pt x="1" y="29"/>
                  </a:cubicBezTo>
                  <a:cubicBezTo>
                    <a:pt x="0" y="19"/>
                    <a:pt x="7" y="10"/>
                    <a:pt x="16" y="9"/>
                  </a:cubicBezTo>
                  <a:cubicBezTo>
                    <a:pt x="87" y="1"/>
                    <a:pt x="87" y="1"/>
                    <a:pt x="87" y="1"/>
                  </a:cubicBezTo>
                  <a:cubicBezTo>
                    <a:pt x="97" y="0"/>
                    <a:pt x="106" y="7"/>
                    <a:pt x="107" y="16"/>
                  </a:cubicBezTo>
                  <a:cubicBezTo>
                    <a:pt x="110" y="46"/>
                    <a:pt x="110" y="46"/>
                    <a:pt x="110" y="46"/>
                  </a:cubicBezTo>
                  <a:cubicBezTo>
                    <a:pt x="112" y="56"/>
                    <a:pt x="104" y="64"/>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40" name="Freeform 18">
              <a:extLst>
                <a:ext uri="{FF2B5EF4-FFF2-40B4-BE49-F238E27FC236}">
                  <a16:creationId xmlns:a16="http://schemas.microsoft.com/office/drawing/2014/main" id="{02D85F2C-3CB1-4795-990C-DD4BD3BBD223}"/>
                </a:ext>
              </a:extLst>
            </p:cNvPr>
            <p:cNvSpPr>
              <a:spLocks/>
            </p:cNvSpPr>
            <p:nvPr/>
          </p:nvSpPr>
          <p:spPr bwMode="auto">
            <a:xfrm>
              <a:off x="5176044" y="2996406"/>
              <a:ext cx="196850" cy="131763"/>
            </a:xfrm>
            <a:custGeom>
              <a:avLst/>
              <a:gdLst>
                <a:gd name="T0" fmla="*/ 95 w 112"/>
                <a:gd name="T1" fmla="*/ 66 h 75"/>
                <a:gd name="T2" fmla="*/ 24 w 112"/>
                <a:gd name="T3" fmla="*/ 74 h 75"/>
                <a:gd name="T4" fmla="*/ 4 w 112"/>
                <a:gd name="T5" fmla="*/ 59 h 75"/>
                <a:gd name="T6" fmla="*/ 1 w 112"/>
                <a:gd name="T7" fmla="*/ 29 h 75"/>
                <a:gd name="T8" fmla="*/ 17 w 112"/>
                <a:gd name="T9" fmla="*/ 10 h 75"/>
                <a:gd name="T10" fmla="*/ 88 w 112"/>
                <a:gd name="T11" fmla="*/ 1 h 75"/>
                <a:gd name="T12" fmla="*/ 107 w 112"/>
                <a:gd name="T13" fmla="*/ 17 h 75"/>
                <a:gd name="T14" fmla="*/ 111 w 112"/>
                <a:gd name="T15" fmla="*/ 47 h 75"/>
                <a:gd name="T16" fmla="*/ 95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5" y="66"/>
                  </a:moveTo>
                  <a:cubicBezTo>
                    <a:pt x="24" y="74"/>
                    <a:pt x="24" y="74"/>
                    <a:pt x="24" y="74"/>
                  </a:cubicBezTo>
                  <a:cubicBezTo>
                    <a:pt x="14" y="75"/>
                    <a:pt x="6" y="68"/>
                    <a:pt x="4" y="59"/>
                  </a:cubicBezTo>
                  <a:cubicBezTo>
                    <a:pt x="1" y="29"/>
                    <a:pt x="1" y="29"/>
                    <a:pt x="1" y="29"/>
                  </a:cubicBezTo>
                  <a:cubicBezTo>
                    <a:pt x="0" y="19"/>
                    <a:pt x="7" y="11"/>
                    <a:pt x="17" y="10"/>
                  </a:cubicBezTo>
                  <a:cubicBezTo>
                    <a:pt x="88" y="1"/>
                    <a:pt x="88" y="1"/>
                    <a:pt x="88" y="1"/>
                  </a:cubicBezTo>
                  <a:cubicBezTo>
                    <a:pt x="97" y="0"/>
                    <a:pt x="106" y="7"/>
                    <a:pt x="107" y="17"/>
                  </a:cubicBezTo>
                  <a:cubicBezTo>
                    <a:pt x="111" y="47"/>
                    <a:pt x="111" y="47"/>
                    <a:pt x="111" y="47"/>
                  </a:cubicBezTo>
                  <a:cubicBezTo>
                    <a:pt x="112" y="56"/>
                    <a:pt x="105" y="65"/>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41" name="Freeform 19">
              <a:extLst>
                <a:ext uri="{FF2B5EF4-FFF2-40B4-BE49-F238E27FC236}">
                  <a16:creationId xmlns:a16="http://schemas.microsoft.com/office/drawing/2014/main" id="{91487641-3D51-4C1B-B331-6C6FB4BCD232}"/>
                </a:ext>
              </a:extLst>
            </p:cNvPr>
            <p:cNvSpPr>
              <a:spLocks/>
            </p:cNvSpPr>
            <p:nvPr/>
          </p:nvSpPr>
          <p:spPr bwMode="auto">
            <a:xfrm>
              <a:off x="4691856" y="3242469"/>
              <a:ext cx="196850" cy="131763"/>
            </a:xfrm>
            <a:custGeom>
              <a:avLst/>
              <a:gdLst>
                <a:gd name="T0" fmla="*/ 95 w 111"/>
                <a:gd name="T1" fmla="*/ 66 h 75"/>
                <a:gd name="T2" fmla="*/ 24 w 111"/>
                <a:gd name="T3" fmla="*/ 74 h 75"/>
                <a:gd name="T4" fmla="*/ 4 w 111"/>
                <a:gd name="T5" fmla="*/ 59 h 75"/>
                <a:gd name="T6" fmla="*/ 1 w 111"/>
                <a:gd name="T7" fmla="*/ 29 h 75"/>
                <a:gd name="T8" fmla="*/ 16 w 111"/>
                <a:gd name="T9" fmla="*/ 10 h 75"/>
                <a:gd name="T10" fmla="*/ 87 w 111"/>
                <a:gd name="T11" fmla="*/ 2 h 75"/>
                <a:gd name="T12" fmla="*/ 107 w 111"/>
                <a:gd name="T13" fmla="*/ 17 h 75"/>
                <a:gd name="T14" fmla="*/ 110 w 111"/>
                <a:gd name="T15" fmla="*/ 47 h 75"/>
                <a:gd name="T16" fmla="*/ 95 w 111"/>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1" h="75">
                  <a:moveTo>
                    <a:pt x="95" y="66"/>
                  </a:moveTo>
                  <a:cubicBezTo>
                    <a:pt x="24" y="74"/>
                    <a:pt x="24" y="74"/>
                    <a:pt x="24" y="74"/>
                  </a:cubicBezTo>
                  <a:cubicBezTo>
                    <a:pt x="14" y="75"/>
                    <a:pt x="5" y="68"/>
                    <a:pt x="4" y="59"/>
                  </a:cubicBezTo>
                  <a:cubicBezTo>
                    <a:pt x="1" y="29"/>
                    <a:pt x="1" y="29"/>
                    <a:pt x="1" y="29"/>
                  </a:cubicBezTo>
                  <a:cubicBezTo>
                    <a:pt x="0" y="20"/>
                    <a:pt x="7" y="11"/>
                    <a:pt x="16" y="10"/>
                  </a:cubicBezTo>
                  <a:cubicBezTo>
                    <a:pt x="87" y="2"/>
                    <a:pt x="87" y="2"/>
                    <a:pt x="87" y="2"/>
                  </a:cubicBezTo>
                  <a:cubicBezTo>
                    <a:pt x="97" y="0"/>
                    <a:pt x="106" y="7"/>
                    <a:pt x="107" y="17"/>
                  </a:cubicBezTo>
                  <a:cubicBezTo>
                    <a:pt x="110" y="47"/>
                    <a:pt x="110" y="47"/>
                    <a:pt x="110" y="47"/>
                  </a:cubicBezTo>
                  <a:cubicBezTo>
                    <a:pt x="111" y="56"/>
                    <a:pt x="104" y="65"/>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42" name="Freeform 20">
              <a:extLst>
                <a:ext uri="{FF2B5EF4-FFF2-40B4-BE49-F238E27FC236}">
                  <a16:creationId xmlns:a16="http://schemas.microsoft.com/office/drawing/2014/main" id="{11DFDB89-C0EE-46BE-86B9-C7D1F6A9FBFD}"/>
                </a:ext>
              </a:extLst>
            </p:cNvPr>
            <p:cNvSpPr>
              <a:spLocks/>
            </p:cNvSpPr>
            <p:nvPr/>
          </p:nvSpPr>
          <p:spPr bwMode="auto">
            <a:xfrm>
              <a:off x="4944269" y="3213894"/>
              <a:ext cx="198438" cy="133350"/>
            </a:xfrm>
            <a:custGeom>
              <a:avLst/>
              <a:gdLst>
                <a:gd name="T0" fmla="*/ 95 w 112"/>
                <a:gd name="T1" fmla="*/ 66 h 75"/>
                <a:gd name="T2" fmla="*/ 24 w 112"/>
                <a:gd name="T3" fmla="*/ 74 h 75"/>
                <a:gd name="T4" fmla="*/ 4 w 112"/>
                <a:gd name="T5" fmla="*/ 58 h 75"/>
                <a:gd name="T6" fmla="*/ 1 w 112"/>
                <a:gd name="T7" fmla="*/ 29 h 75"/>
                <a:gd name="T8" fmla="*/ 17 w 112"/>
                <a:gd name="T9" fmla="*/ 9 h 75"/>
                <a:gd name="T10" fmla="*/ 88 w 112"/>
                <a:gd name="T11" fmla="*/ 1 h 75"/>
                <a:gd name="T12" fmla="*/ 107 w 112"/>
                <a:gd name="T13" fmla="*/ 17 h 75"/>
                <a:gd name="T14" fmla="*/ 111 w 112"/>
                <a:gd name="T15" fmla="*/ 46 h 75"/>
                <a:gd name="T16" fmla="*/ 95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5" y="66"/>
                  </a:moveTo>
                  <a:cubicBezTo>
                    <a:pt x="24" y="74"/>
                    <a:pt x="24" y="74"/>
                    <a:pt x="24" y="74"/>
                  </a:cubicBezTo>
                  <a:cubicBezTo>
                    <a:pt x="14" y="75"/>
                    <a:pt x="6" y="68"/>
                    <a:pt x="4" y="58"/>
                  </a:cubicBezTo>
                  <a:cubicBezTo>
                    <a:pt x="1" y="29"/>
                    <a:pt x="1" y="29"/>
                    <a:pt x="1" y="29"/>
                  </a:cubicBezTo>
                  <a:cubicBezTo>
                    <a:pt x="0" y="19"/>
                    <a:pt x="7" y="10"/>
                    <a:pt x="17" y="9"/>
                  </a:cubicBezTo>
                  <a:cubicBezTo>
                    <a:pt x="88" y="1"/>
                    <a:pt x="88" y="1"/>
                    <a:pt x="88" y="1"/>
                  </a:cubicBezTo>
                  <a:cubicBezTo>
                    <a:pt x="97" y="0"/>
                    <a:pt x="106" y="7"/>
                    <a:pt x="107" y="17"/>
                  </a:cubicBezTo>
                  <a:cubicBezTo>
                    <a:pt x="111" y="46"/>
                    <a:pt x="111" y="46"/>
                    <a:pt x="111" y="46"/>
                  </a:cubicBezTo>
                  <a:cubicBezTo>
                    <a:pt x="112" y="56"/>
                    <a:pt x="105" y="65"/>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43" name="Freeform 21">
              <a:extLst>
                <a:ext uri="{FF2B5EF4-FFF2-40B4-BE49-F238E27FC236}">
                  <a16:creationId xmlns:a16="http://schemas.microsoft.com/office/drawing/2014/main" id="{1CC49FE5-8864-40E1-9E8A-BFF4988BC072}"/>
                </a:ext>
              </a:extLst>
            </p:cNvPr>
            <p:cNvSpPr>
              <a:spLocks/>
            </p:cNvSpPr>
            <p:nvPr/>
          </p:nvSpPr>
          <p:spPr bwMode="auto">
            <a:xfrm>
              <a:off x="5196681" y="3186906"/>
              <a:ext cx="196850" cy="131763"/>
            </a:xfrm>
            <a:custGeom>
              <a:avLst/>
              <a:gdLst>
                <a:gd name="T0" fmla="*/ 95 w 112"/>
                <a:gd name="T1" fmla="*/ 66 h 75"/>
                <a:gd name="T2" fmla="*/ 24 w 112"/>
                <a:gd name="T3" fmla="*/ 74 h 75"/>
                <a:gd name="T4" fmla="*/ 5 w 112"/>
                <a:gd name="T5" fmla="*/ 58 h 75"/>
                <a:gd name="T6" fmla="*/ 1 w 112"/>
                <a:gd name="T7" fmla="*/ 29 h 75"/>
                <a:gd name="T8" fmla="*/ 17 w 112"/>
                <a:gd name="T9" fmla="*/ 9 h 75"/>
                <a:gd name="T10" fmla="*/ 88 w 112"/>
                <a:gd name="T11" fmla="*/ 1 h 75"/>
                <a:gd name="T12" fmla="*/ 108 w 112"/>
                <a:gd name="T13" fmla="*/ 16 h 75"/>
                <a:gd name="T14" fmla="*/ 111 w 112"/>
                <a:gd name="T15" fmla="*/ 46 h 75"/>
                <a:gd name="T16" fmla="*/ 95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5" y="66"/>
                  </a:moveTo>
                  <a:cubicBezTo>
                    <a:pt x="24" y="74"/>
                    <a:pt x="24" y="74"/>
                    <a:pt x="24" y="74"/>
                  </a:cubicBezTo>
                  <a:cubicBezTo>
                    <a:pt x="15" y="75"/>
                    <a:pt x="6" y="68"/>
                    <a:pt x="5" y="58"/>
                  </a:cubicBezTo>
                  <a:cubicBezTo>
                    <a:pt x="1" y="29"/>
                    <a:pt x="1" y="29"/>
                    <a:pt x="1" y="29"/>
                  </a:cubicBezTo>
                  <a:cubicBezTo>
                    <a:pt x="0" y="19"/>
                    <a:pt x="7" y="10"/>
                    <a:pt x="17" y="9"/>
                  </a:cubicBezTo>
                  <a:cubicBezTo>
                    <a:pt x="88" y="1"/>
                    <a:pt x="88" y="1"/>
                    <a:pt x="88" y="1"/>
                  </a:cubicBezTo>
                  <a:cubicBezTo>
                    <a:pt x="98" y="0"/>
                    <a:pt x="106" y="7"/>
                    <a:pt x="108" y="16"/>
                  </a:cubicBezTo>
                  <a:cubicBezTo>
                    <a:pt x="111" y="46"/>
                    <a:pt x="111" y="46"/>
                    <a:pt x="111" y="46"/>
                  </a:cubicBezTo>
                  <a:cubicBezTo>
                    <a:pt x="112" y="56"/>
                    <a:pt x="105" y="64"/>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44" name="Freeform 22">
              <a:extLst>
                <a:ext uri="{FF2B5EF4-FFF2-40B4-BE49-F238E27FC236}">
                  <a16:creationId xmlns:a16="http://schemas.microsoft.com/office/drawing/2014/main" id="{E7B68CD4-AFAC-4479-8A9E-EA6E26B660FA}"/>
                </a:ext>
              </a:extLst>
            </p:cNvPr>
            <p:cNvSpPr>
              <a:spLocks/>
            </p:cNvSpPr>
            <p:nvPr/>
          </p:nvSpPr>
          <p:spPr bwMode="auto">
            <a:xfrm>
              <a:off x="4714081" y="3432969"/>
              <a:ext cx="196850" cy="131763"/>
            </a:xfrm>
            <a:custGeom>
              <a:avLst/>
              <a:gdLst>
                <a:gd name="T0" fmla="*/ 95 w 112"/>
                <a:gd name="T1" fmla="*/ 66 h 75"/>
                <a:gd name="T2" fmla="*/ 24 w 112"/>
                <a:gd name="T3" fmla="*/ 74 h 75"/>
                <a:gd name="T4" fmla="*/ 4 w 112"/>
                <a:gd name="T5" fmla="*/ 58 h 75"/>
                <a:gd name="T6" fmla="*/ 1 w 112"/>
                <a:gd name="T7" fmla="*/ 29 h 75"/>
                <a:gd name="T8" fmla="*/ 17 w 112"/>
                <a:gd name="T9" fmla="*/ 9 h 75"/>
                <a:gd name="T10" fmla="*/ 88 w 112"/>
                <a:gd name="T11" fmla="*/ 1 h 75"/>
                <a:gd name="T12" fmla="*/ 107 w 112"/>
                <a:gd name="T13" fmla="*/ 17 h 75"/>
                <a:gd name="T14" fmla="*/ 111 w 112"/>
                <a:gd name="T15" fmla="*/ 46 h 75"/>
                <a:gd name="T16" fmla="*/ 95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5" y="66"/>
                  </a:moveTo>
                  <a:cubicBezTo>
                    <a:pt x="24" y="74"/>
                    <a:pt x="24" y="74"/>
                    <a:pt x="24" y="74"/>
                  </a:cubicBezTo>
                  <a:cubicBezTo>
                    <a:pt x="14" y="75"/>
                    <a:pt x="6" y="68"/>
                    <a:pt x="4" y="58"/>
                  </a:cubicBezTo>
                  <a:cubicBezTo>
                    <a:pt x="1" y="29"/>
                    <a:pt x="1" y="29"/>
                    <a:pt x="1" y="29"/>
                  </a:cubicBezTo>
                  <a:cubicBezTo>
                    <a:pt x="0" y="19"/>
                    <a:pt x="7" y="10"/>
                    <a:pt x="17" y="9"/>
                  </a:cubicBezTo>
                  <a:cubicBezTo>
                    <a:pt x="88" y="1"/>
                    <a:pt x="88" y="1"/>
                    <a:pt x="88" y="1"/>
                  </a:cubicBezTo>
                  <a:cubicBezTo>
                    <a:pt x="97" y="0"/>
                    <a:pt x="106" y="7"/>
                    <a:pt x="107" y="17"/>
                  </a:cubicBezTo>
                  <a:cubicBezTo>
                    <a:pt x="111" y="46"/>
                    <a:pt x="111" y="46"/>
                    <a:pt x="111" y="46"/>
                  </a:cubicBezTo>
                  <a:cubicBezTo>
                    <a:pt x="112" y="56"/>
                    <a:pt x="105" y="65"/>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45" name="Freeform 23">
              <a:extLst>
                <a:ext uri="{FF2B5EF4-FFF2-40B4-BE49-F238E27FC236}">
                  <a16:creationId xmlns:a16="http://schemas.microsoft.com/office/drawing/2014/main" id="{4B522A4F-34F8-4233-9239-0479B165DEB3}"/>
                </a:ext>
              </a:extLst>
            </p:cNvPr>
            <p:cNvSpPr>
              <a:spLocks/>
            </p:cNvSpPr>
            <p:nvPr/>
          </p:nvSpPr>
          <p:spPr bwMode="auto">
            <a:xfrm>
              <a:off x="4966494" y="3402806"/>
              <a:ext cx="196850" cy="131763"/>
            </a:xfrm>
            <a:custGeom>
              <a:avLst/>
              <a:gdLst>
                <a:gd name="T0" fmla="*/ 95 w 112"/>
                <a:gd name="T1" fmla="*/ 66 h 75"/>
                <a:gd name="T2" fmla="*/ 24 w 112"/>
                <a:gd name="T3" fmla="*/ 74 h 75"/>
                <a:gd name="T4" fmla="*/ 5 w 112"/>
                <a:gd name="T5" fmla="*/ 59 h 75"/>
                <a:gd name="T6" fmla="*/ 1 w 112"/>
                <a:gd name="T7" fmla="*/ 29 h 75"/>
                <a:gd name="T8" fmla="*/ 17 w 112"/>
                <a:gd name="T9" fmla="*/ 10 h 75"/>
                <a:gd name="T10" fmla="*/ 88 w 112"/>
                <a:gd name="T11" fmla="*/ 2 h 75"/>
                <a:gd name="T12" fmla="*/ 108 w 112"/>
                <a:gd name="T13" fmla="*/ 17 h 75"/>
                <a:gd name="T14" fmla="*/ 111 w 112"/>
                <a:gd name="T15" fmla="*/ 47 h 75"/>
                <a:gd name="T16" fmla="*/ 95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5" y="66"/>
                  </a:moveTo>
                  <a:cubicBezTo>
                    <a:pt x="24" y="74"/>
                    <a:pt x="24" y="74"/>
                    <a:pt x="24" y="74"/>
                  </a:cubicBezTo>
                  <a:cubicBezTo>
                    <a:pt x="15" y="75"/>
                    <a:pt x="6" y="68"/>
                    <a:pt x="5" y="59"/>
                  </a:cubicBezTo>
                  <a:cubicBezTo>
                    <a:pt x="1" y="29"/>
                    <a:pt x="1" y="29"/>
                    <a:pt x="1" y="29"/>
                  </a:cubicBezTo>
                  <a:cubicBezTo>
                    <a:pt x="0" y="20"/>
                    <a:pt x="7" y="11"/>
                    <a:pt x="17" y="10"/>
                  </a:cubicBezTo>
                  <a:cubicBezTo>
                    <a:pt x="88" y="2"/>
                    <a:pt x="88" y="2"/>
                    <a:pt x="88" y="2"/>
                  </a:cubicBezTo>
                  <a:cubicBezTo>
                    <a:pt x="98" y="0"/>
                    <a:pt x="106" y="7"/>
                    <a:pt x="108" y="17"/>
                  </a:cubicBezTo>
                  <a:cubicBezTo>
                    <a:pt x="111" y="47"/>
                    <a:pt x="111" y="47"/>
                    <a:pt x="111" y="47"/>
                  </a:cubicBezTo>
                  <a:cubicBezTo>
                    <a:pt x="112" y="56"/>
                    <a:pt x="105" y="65"/>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46" name="Freeform 24">
              <a:extLst>
                <a:ext uri="{FF2B5EF4-FFF2-40B4-BE49-F238E27FC236}">
                  <a16:creationId xmlns:a16="http://schemas.microsoft.com/office/drawing/2014/main" id="{ED862C7D-08D2-492D-B1F3-E4C7C11ED2DB}"/>
                </a:ext>
              </a:extLst>
            </p:cNvPr>
            <p:cNvSpPr>
              <a:spLocks/>
            </p:cNvSpPr>
            <p:nvPr/>
          </p:nvSpPr>
          <p:spPr bwMode="auto">
            <a:xfrm>
              <a:off x="5220494" y="3374231"/>
              <a:ext cx="195263" cy="133350"/>
            </a:xfrm>
            <a:custGeom>
              <a:avLst/>
              <a:gdLst>
                <a:gd name="T0" fmla="*/ 95 w 111"/>
                <a:gd name="T1" fmla="*/ 66 h 75"/>
                <a:gd name="T2" fmla="*/ 24 w 111"/>
                <a:gd name="T3" fmla="*/ 74 h 75"/>
                <a:gd name="T4" fmla="*/ 4 w 111"/>
                <a:gd name="T5" fmla="*/ 58 h 75"/>
                <a:gd name="T6" fmla="*/ 1 w 111"/>
                <a:gd name="T7" fmla="*/ 29 h 75"/>
                <a:gd name="T8" fmla="*/ 16 w 111"/>
                <a:gd name="T9" fmla="*/ 9 h 75"/>
                <a:gd name="T10" fmla="*/ 87 w 111"/>
                <a:gd name="T11" fmla="*/ 1 h 75"/>
                <a:gd name="T12" fmla="*/ 107 w 111"/>
                <a:gd name="T13" fmla="*/ 17 h 75"/>
                <a:gd name="T14" fmla="*/ 110 w 111"/>
                <a:gd name="T15" fmla="*/ 46 h 75"/>
                <a:gd name="T16" fmla="*/ 95 w 111"/>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1" h="75">
                  <a:moveTo>
                    <a:pt x="95" y="66"/>
                  </a:moveTo>
                  <a:cubicBezTo>
                    <a:pt x="24" y="74"/>
                    <a:pt x="24" y="74"/>
                    <a:pt x="24" y="74"/>
                  </a:cubicBezTo>
                  <a:cubicBezTo>
                    <a:pt x="14" y="75"/>
                    <a:pt x="5" y="68"/>
                    <a:pt x="4" y="58"/>
                  </a:cubicBezTo>
                  <a:cubicBezTo>
                    <a:pt x="1" y="29"/>
                    <a:pt x="1" y="29"/>
                    <a:pt x="1" y="29"/>
                  </a:cubicBezTo>
                  <a:cubicBezTo>
                    <a:pt x="0" y="19"/>
                    <a:pt x="7" y="10"/>
                    <a:pt x="16" y="9"/>
                  </a:cubicBezTo>
                  <a:cubicBezTo>
                    <a:pt x="87" y="1"/>
                    <a:pt x="87" y="1"/>
                    <a:pt x="87" y="1"/>
                  </a:cubicBezTo>
                  <a:cubicBezTo>
                    <a:pt x="97" y="0"/>
                    <a:pt x="106" y="7"/>
                    <a:pt x="107" y="17"/>
                  </a:cubicBezTo>
                  <a:cubicBezTo>
                    <a:pt x="110" y="46"/>
                    <a:pt x="110" y="46"/>
                    <a:pt x="110" y="46"/>
                  </a:cubicBezTo>
                  <a:cubicBezTo>
                    <a:pt x="111" y="56"/>
                    <a:pt x="104" y="65"/>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47" name="Freeform 25">
              <a:extLst>
                <a:ext uri="{FF2B5EF4-FFF2-40B4-BE49-F238E27FC236}">
                  <a16:creationId xmlns:a16="http://schemas.microsoft.com/office/drawing/2014/main" id="{55307F43-A12C-4428-AFA2-B5B77B77F107}"/>
                </a:ext>
              </a:extLst>
            </p:cNvPr>
            <p:cNvSpPr>
              <a:spLocks/>
            </p:cNvSpPr>
            <p:nvPr/>
          </p:nvSpPr>
          <p:spPr bwMode="auto">
            <a:xfrm>
              <a:off x="4734719" y="3621881"/>
              <a:ext cx="196850" cy="131763"/>
            </a:xfrm>
            <a:custGeom>
              <a:avLst/>
              <a:gdLst>
                <a:gd name="T0" fmla="*/ 95 w 112"/>
                <a:gd name="T1" fmla="*/ 66 h 75"/>
                <a:gd name="T2" fmla="*/ 24 w 112"/>
                <a:gd name="T3" fmla="*/ 74 h 75"/>
                <a:gd name="T4" fmla="*/ 5 w 112"/>
                <a:gd name="T5" fmla="*/ 58 h 75"/>
                <a:gd name="T6" fmla="*/ 1 w 112"/>
                <a:gd name="T7" fmla="*/ 29 h 75"/>
                <a:gd name="T8" fmla="*/ 17 w 112"/>
                <a:gd name="T9" fmla="*/ 9 h 75"/>
                <a:gd name="T10" fmla="*/ 88 w 112"/>
                <a:gd name="T11" fmla="*/ 1 h 75"/>
                <a:gd name="T12" fmla="*/ 108 w 112"/>
                <a:gd name="T13" fmla="*/ 17 h 75"/>
                <a:gd name="T14" fmla="*/ 111 w 112"/>
                <a:gd name="T15" fmla="*/ 46 h 75"/>
                <a:gd name="T16" fmla="*/ 95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5" y="66"/>
                  </a:moveTo>
                  <a:cubicBezTo>
                    <a:pt x="24" y="74"/>
                    <a:pt x="24" y="74"/>
                    <a:pt x="24" y="74"/>
                  </a:cubicBezTo>
                  <a:cubicBezTo>
                    <a:pt x="15" y="75"/>
                    <a:pt x="6" y="68"/>
                    <a:pt x="5" y="58"/>
                  </a:cubicBezTo>
                  <a:cubicBezTo>
                    <a:pt x="1" y="29"/>
                    <a:pt x="1" y="29"/>
                    <a:pt x="1" y="29"/>
                  </a:cubicBezTo>
                  <a:cubicBezTo>
                    <a:pt x="0" y="19"/>
                    <a:pt x="7" y="10"/>
                    <a:pt x="17" y="9"/>
                  </a:cubicBezTo>
                  <a:cubicBezTo>
                    <a:pt x="88" y="1"/>
                    <a:pt x="88" y="1"/>
                    <a:pt x="88" y="1"/>
                  </a:cubicBezTo>
                  <a:cubicBezTo>
                    <a:pt x="98" y="0"/>
                    <a:pt x="106" y="7"/>
                    <a:pt x="108" y="17"/>
                  </a:cubicBezTo>
                  <a:cubicBezTo>
                    <a:pt x="111" y="46"/>
                    <a:pt x="111" y="46"/>
                    <a:pt x="111" y="46"/>
                  </a:cubicBezTo>
                  <a:cubicBezTo>
                    <a:pt x="112" y="56"/>
                    <a:pt x="105" y="65"/>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48" name="Freeform 26">
              <a:extLst>
                <a:ext uri="{FF2B5EF4-FFF2-40B4-BE49-F238E27FC236}">
                  <a16:creationId xmlns:a16="http://schemas.microsoft.com/office/drawing/2014/main" id="{AC31A7FF-D4E9-4B66-B0A5-4482D3E29EA0}"/>
                </a:ext>
              </a:extLst>
            </p:cNvPr>
            <p:cNvSpPr>
              <a:spLocks/>
            </p:cNvSpPr>
            <p:nvPr/>
          </p:nvSpPr>
          <p:spPr bwMode="auto">
            <a:xfrm>
              <a:off x="4987131" y="3593306"/>
              <a:ext cx="196850" cy="131763"/>
            </a:xfrm>
            <a:custGeom>
              <a:avLst/>
              <a:gdLst>
                <a:gd name="T0" fmla="*/ 96 w 112"/>
                <a:gd name="T1" fmla="*/ 66 h 75"/>
                <a:gd name="T2" fmla="*/ 25 w 112"/>
                <a:gd name="T3" fmla="*/ 74 h 75"/>
                <a:gd name="T4" fmla="*/ 5 w 112"/>
                <a:gd name="T5" fmla="*/ 58 h 75"/>
                <a:gd name="T6" fmla="*/ 2 w 112"/>
                <a:gd name="T7" fmla="*/ 29 h 75"/>
                <a:gd name="T8" fmla="*/ 17 w 112"/>
                <a:gd name="T9" fmla="*/ 9 h 75"/>
                <a:gd name="T10" fmla="*/ 88 w 112"/>
                <a:gd name="T11" fmla="*/ 1 h 75"/>
                <a:gd name="T12" fmla="*/ 108 w 112"/>
                <a:gd name="T13" fmla="*/ 16 h 75"/>
                <a:gd name="T14" fmla="*/ 111 w 112"/>
                <a:gd name="T15" fmla="*/ 46 h 75"/>
                <a:gd name="T16" fmla="*/ 96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6" y="66"/>
                  </a:moveTo>
                  <a:cubicBezTo>
                    <a:pt x="25" y="74"/>
                    <a:pt x="25" y="74"/>
                    <a:pt x="25" y="74"/>
                  </a:cubicBezTo>
                  <a:cubicBezTo>
                    <a:pt x="15" y="75"/>
                    <a:pt x="6" y="68"/>
                    <a:pt x="5" y="58"/>
                  </a:cubicBezTo>
                  <a:cubicBezTo>
                    <a:pt x="2" y="29"/>
                    <a:pt x="2" y="29"/>
                    <a:pt x="2" y="29"/>
                  </a:cubicBezTo>
                  <a:cubicBezTo>
                    <a:pt x="0" y="19"/>
                    <a:pt x="7" y="10"/>
                    <a:pt x="17" y="9"/>
                  </a:cubicBezTo>
                  <a:cubicBezTo>
                    <a:pt x="88" y="1"/>
                    <a:pt x="88" y="1"/>
                    <a:pt x="88" y="1"/>
                  </a:cubicBezTo>
                  <a:cubicBezTo>
                    <a:pt x="98" y="0"/>
                    <a:pt x="107" y="7"/>
                    <a:pt x="108" y="16"/>
                  </a:cubicBezTo>
                  <a:cubicBezTo>
                    <a:pt x="111" y="46"/>
                    <a:pt x="111" y="46"/>
                    <a:pt x="111" y="46"/>
                  </a:cubicBezTo>
                  <a:cubicBezTo>
                    <a:pt x="112" y="56"/>
                    <a:pt x="105" y="64"/>
                    <a:pt x="96"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49" name="Freeform 27">
              <a:extLst>
                <a:ext uri="{FF2B5EF4-FFF2-40B4-BE49-F238E27FC236}">
                  <a16:creationId xmlns:a16="http://schemas.microsoft.com/office/drawing/2014/main" id="{47D7A0A4-25D0-4C24-BE0A-90C54A0E2C88}"/>
                </a:ext>
              </a:extLst>
            </p:cNvPr>
            <p:cNvSpPr>
              <a:spLocks/>
            </p:cNvSpPr>
            <p:nvPr/>
          </p:nvSpPr>
          <p:spPr bwMode="auto">
            <a:xfrm>
              <a:off x="5241131" y="3563144"/>
              <a:ext cx="196850" cy="133350"/>
            </a:xfrm>
            <a:custGeom>
              <a:avLst/>
              <a:gdLst>
                <a:gd name="T0" fmla="*/ 95 w 112"/>
                <a:gd name="T1" fmla="*/ 66 h 75"/>
                <a:gd name="T2" fmla="*/ 24 w 112"/>
                <a:gd name="T3" fmla="*/ 74 h 75"/>
                <a:gd name="T4" fmla="*/ 4 w 112"/>
                <a:gd name="T5" fmla="*/ 59 h 75"/>
                <a:gd name="T6" fmla="*/ 1 w 112"/>
                <a:gd name="T7" fmla="*/ 29 h 75"/>
                <a:gd name="T8" fmla="*/ 17 w 112"/>
                <a:gd name="T9" fmla="*/ 10 h 75"/>
                <a:gd name="T10" fmla="*/ 87 w 112"/>
                <a:gd name="T11" fmla="*/ 1 h 75"/>
                <a:gd name="T12" fmla="*/ 107 w 112"/>
                <a:gd name="T13" fmla="*/ 17 h 75"/>
                <a:gd name="T14" fmla="*/ 110 w 112"/>
                <a:gd name="T15" fmla="*/ 47 h 75"/>
                <a:gd name="T16" fmla="*/ 95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5" y="66"/>
                  </a:moveTo>
                  <a:cubicBezTo>
                    <a:pt x="24" y="74"/>
                    <a:pt x="24" y="74"/>
                    <a:pt x="24" y="74"/>
                  </a:cubicBezTo>
                  <a:cubicBezTo>
                    <a:pt x="14" y="75"/>
                    <a:pt x="5" y="68"/>
                    <a:pt x="4" y="59"/>
                  </a:cubicBezTo>
                  <a:cubicBezTo>
                    <a:pt x="1" y="29"/>
                    <a:pt x="1" y="29"/>
                    <a:pt x="1" y="29"/>
                  </a:cubicBezTo>
                  <a:cubicBezTo>
                    <a:pt x="0" y="20"/>
                    <a:pt x="7" y="11"/>
                    <a:pt x="17" y="10"/>
                  </a:cubicBezTo>
                  <a:cubicBezTo>
                    <a:pt x="87" y="1"/>
                    <a:pt x="87" y="1"/>
                    <a:pt x="87" y="1"/>
                  </a:cubicBezTo>
                  <a:cubicBezTo>
                    <a:pt x="97" y="0"/>
                    <a:pt x="106" y="7"/>
                    <a:pt x="107" y="17"/>
                  </a:cubicBezTo>
                  <a:cubicBezTo>
                    <a:pt x="110" y="47"/>
                    <a:pt x="110" y="47"/>
                    <a:pt x="110" y="47"/>
                  </a:cubicBezTo>
                  <a:cubicBezTo>
                    <a:pt x="112" y="56"/>
                    <a:pt x="105" y="65"/>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50" name="Freeform 28">
              <a:extLst>
                <a:ext uri="{FF2B5EF4-FFF2-40B4-BE49-F238E27FC236}">
                  <a16:creationId xmlns:a16="http://schemas.microsoft.com/office/drawing/2014/main" id="{2B7B555B-AF6C-4643-86CD-5C85C8C903AA}"/>
                </a:ext>
              </a:extLst>
            </p:cNvPr>
            <p:cNvSpPr>
              <a:spLocks/>
            </p:cNvSpPr>
            <p:nvPr/>
          </p:nvSpPr>
          <p:spPr bwMode="auto">
            <a:xfrm>
              <a:off x="5865019" y="3144044"/>
              <a:ext cx="652463" cy="684213"/>
            </a:xfrm>
            <a:custGeom>
              <a:avLst/>
              <a:gdLst>
                <a:gd name="T0" fmla="*/ 363 w 370"/>
                <a:gd name="T1" fmla="*/ 265 h 388"/>
                <a:gd name="T2" fmla="*/ 355 w 370"/>
                <a:gd name="T3" fmla="*/ 256 h 388"/>
                <a:gd name="T4" fmla="*/ 355 w 370"/>
                <a:gd name="T5" fmla="*/ 256 h 388"/>
                <a:gd name="T6" fmla="*/ 148 w 370"/>
                <a:gd name="T7" fmla="*/ 21 h 388"/>
                <a:gd name="T8" fmla="*/ 137 w 370"/>
                <a:gd name="T9" fmla="*/ 9 h 388"/>
                <a:gd name="T10" fmla="*/ 110 w 370"/>
                <a:gd name="T11" fmla="*/ 7 h 388"/>
                <a:gd name="T12" fmla="*/ 12 w 370"/>
                <a:gd name="T13" fmla="*/ 93 h 388"/>
                <a:gd name="T14" fmla="*/ 12 w 370"/>
                <a:gd name="T15" fmla="*/ 93 h 388"/>
                <a:gd name="T16" fmla="*/ 10 w 370"/>
                <a:gd name="T17" fmla="*/ 95 h 388"/>
                <a:gd name="T18" fmla="*/ 8 w 370"/>
                <a:gd name="T19" fmla="*/ 125 h 388"/>
                <a:gd name="T20" fmla="*/ 18 w 370"/>
                <a:gd name="T21" fmla="*/ 136 h 388"/>
                <a:gd name="T22" fmla="*/ 18 w 370"/>
                <a:gd name="T23" fmla="*/ 136 h 388"/>
                <a:gd name="T24" fmla="*/ 224 w 370"/>
                <a:gd name="T25" fmla="*/ 371 h 388"/>
                <a:gd name="T26" fmla="*/ 224 w 370"/>
                <a:gd name="T27" fmla="*/ 371 h 388"/>
                <a:gd name="T28" fmla="*/ 231 w 370"/>
                <a:gd name="T29" fmla="*/ 379 h 388"/>
                <a:gd name="T30" fmla="*/ 261 w 370"/>
                <a:gd name="T31" fmla="*/ 380 h 388"/>
                <a:gd name="T32" fmla="*/ 263 w 370"/>
                <a:gd name="T33" fmla="*/ 379 h 388"/>
                <a:gd name="T34" fmla="*/ 263 w 370"/>
                <a:gd name="T35" fmla="*/ 379 h 388"/>
                <a:gd name="T36" fmla="*/ 361 w 370"/>
                <a:gd name="T37" fmla="*/ 292 h 388"/>
                <a:gd name="T38" fmla="*/ 363 w 370"/>
                <a:gd name="T39" fmla="*/ 265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70" h="388">
                  <a:moveTo>
                    <a:pt x="363" y="265"/>
                  </a:moveTo>
                  <a:cubicBezTo>
                    <a:pt x="355" y="256"/>
                    <a:pt x="355" y="256"/>
                    <a:pt x="355" y="256"/>
                  </a:cubicBezTo>
                  <a:cubicBezTo>
                    <a:pt x="355" y="256"/>
                    <a:pt x="355" y="256"/>
                    <a:pt x="355" y="256"/>
                  </a:cubicBezTo>
                  <a:cubicBezTo>
                    <a:pt x="148" y="21"/>
                    <a:pt x="148" y="21"/>
                    <a:pt x="148" y="21"/>
                  </a:cubicBezTo>
                  <a:cubicBezTo>
                    <a:pt x="137" y="9"/>
                    <a:pt x="137" y="9"/>
                    <a:pt x="137" y="9"/>
                  </a:cubicBezTo>
                  <a:cubicBezTo>
                    <a:pt x="130" y="1"/>
                    <a:pt x="118" y="0"/>
                    <a:pt x="110" y="7"/>
                  </a:cubicBezTo>
                  <a:cubicBezTo>
                    <a:pt x="12" y="93"/>
                    <a:pt x="12" y="93"/>
                    <a:pt x="12" y="93"/>
                  </a:cubicBezTo>
                  <a:cubicBezTo>
                    <a:pt x="12" y="93"/>
                    <a:pt x="12" y="93"/>
                    <a:pt x="12" y="93"/>
                  </a:cubicBezTo>
                  <a:cubicBezTo>
                    <a:pt x="10" y="95"/>
                    <a:pt x="10" y="95"/>
                    <a:pt x="10" y="95"/>
                  </a:cubicBezTo>
                  <a:cubicBezTo>
                    <a:pt x="1" y="103"/>
                    <a:pt x="0" y="116"/>
                    <a:pt x="8" y="125"/>
                  </a:cubicBezTo>
                  <a:cubicBezTo>
                    <a:pt x="18" y="136"/>
                    <a:pt x="18" y="136"/>
                    <a:pt x="18" y="136"/>
                  </a:cubicBezTo>
                  <a:cubicBezTo>
                    <a:pt x="18" y="136"/>
                    <a:pt x="18" y="136"/>
                    <a:pt x="18" y="136"/>
                  </a:cubicBezTo>
                  <a:cubicBezTo>
                    <a:pt x="224" y="371"/>
                    <a:pt x="224" y="371"/>
                    <a:pt x="224" y="371"/>
                  </a:cubicBezTo>
                  <a:cubicBezTo>
                    <a:pt x="224" y="371"/>
                    <a:pt x="224" y="371"/>
                    <a:pt x="224" y="371"/>
                  </a:cubicBezTo>
                  <a:cubicBezTo>
                    <a:pt x="231" y="379"/>
                    <a:pt x="231" y="379"/>
                    <a:pt x="231" y="379"/>
                  </a:cubicBezTo>
                  <a:cubicBezTo>
                    <a:pt x="239" y="387"/>
                    <a:pt x="252" y="388"/>
                    <a:pt x="261" y="380"/>
                  </a:cubicBezTo>
                  <a:cubicBezTo>
                    <a:pt x="263" y="379"/>
                    <a:pt x="263" y="379"/>
                    <a:pt x="263" y="379"/>
                  </a:cubicBezTo>
                  <a:cubicBezTo>
                    <a:pt x="263" y="379"/>
                    <a:pt x="263" y="379"/>
                    <a:pt x="263" y="379"/>
                  </a:cubicBezTo>
                  <a:cubicBezTo>
                    <a:pt x="361" y="292"/>
                    <a:pt x="361" y="292"/>
                    <a:pt x="361" y="292"/>
                  </a:cubicBezTo>
                  <a:cubicBezTo>
                    <a:pt x="369" y="285"/>
                    <a:pt x="370" y="273"/>
                    <a:pt x="363" y="265"/>
                  </a:cubicBezTo>
                  <a:close/>
                </a:path>
              </a:pathLst>
            </a:custGeom>
            <a:solidFill>
              <a:srgbClr val="424242">
                <a:alpha val="20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51" name="Freeform 29">
              <a:extLst>
                <a:ext uri="{FF2B5EF4-FFF2-40B4-BE49-F238E27FC236}">
                  <a16:creationId xmlns:a16="http://schemas.microsoft.com/office/drawing/2014/main" id="{B7E2F6E1-FD53-415D-A818-54C56265C04A}"/>
                </a:ext>
              </a:extLst>
            </p:cNvPr>
            <p:cNvSpPr>
              <a:spLocks/>
            </p:cNvSpPr>
            <p:nvPr/>
          </p:nvSpPr>
          <p:spPr bwMode="auto">
            <a:xfrm>
              <a:off x="5879306" y="3101181"/>
              <a:ext cx="650875" cy="684213"/>
            </a:xfrm>
            <a:custGeom>
              <a:avLst/>
              <a:gdLst>
                <a:gd name="T0" fmla="*/ 360 w 369"/>
                <a:gd name="T1" fmla="*/ 293 h 388"/>
                <a:gd name="T2" fmla="*/ 261 w 369"/>
                <a:gd name="T3" fmla="*/ 380 h 388"/>
                <a:gd name="T4" fmla="*/ 231 w 369"/>
                <a:gd name="T5" fmla="*/ 379 h 388"/>
                <a:gd name="T6" fmla="*/ 8 w 369"/>
                <a:gd name="T7" fmla="*/ 125 h 388"/>
                <a:gd name="T8" fmla="*/ 10 w 369"/>
                <a:gd name="T9" fmla="*/ 95 h 388"/>
                <a:gd name="T10" fmla="*/ 109 w 369"/>
                <a:gd name="T11" fmla="*/ 8 h 388"/>
                <a:gd name="T12" fmla="*/ 138 w 369"/>
                <a:gd name="T13" fmla="*/ 10 h 388"/>
                <a:gd name="T14" fmla="*/ 361 w 369"/>
                <a:gd name="T15" fmla="*/ 264 h 388"/>
                <a:gd name="T16" fmla="*/ 360 w 369"/>
                <a:gd name="T17" fmla="*/ 293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9" h="388">
                  <a:moveTo>
                    <a:pt x="360" y="293"/>
                  </a:moveTo>
                  <a:cubicBezTo>
                    <a:pt x="261" y="380"/>
                    <a:pt x="261" y="380"/>
                    <a:pt x="261" y="380"/>
                  </a:cubicBezTo>
                  <a:cubicBezTo>
                    <a:pt x="252" y="388"/>
                    <a:pt x="239" y="387"/>
                    <a:pt x="231" y="379"/>
                  </a:cubicBezTo>
                  <a:cubicBezTo>
                    <a:pt x="8" y="125"/>
                    <a:pt x="8" y="125"/>
                    <a:pt x="8" y="125"/>
                  </a:cubicBezTo>
                  <a:cubicBezTo>
                    <a:pt x="0" y="116"/>
                    <a:pt x="1" y="103"/>
                    <a:pt x="10" y="95"/>
                  </a:cubicBezTo>
                  <a:cubicBezTo>
                    <a:pt x="109" y="8"/>
                    <a:pt x="109" y="8"/>
                    <a:pt x="109" y="8"/>
                  </a:cubicBezTo>
                  <a:cubicBezTo>
                    <a:pt x="117" y="0"/>
                    <a:pt x="131" y="1"/>
                    <a:pt x="138" y="10"/>
                  </a:cubicBezTo>
                  <a:cubicBezTo>
                    <a:pt x="361" y="264"/>
                    <a:pt x="361" y="264"/>
                    <a:pt x="361" y="264"/>
                  </a:cubicBezTo>
                  <a:cubicBezTo>
                    <a:pt x="369" y="272"/>
                    <a:pt x="368" y="286"/>
                    <a:pt x="360" y="293"/>
                  </a:cubicBezTo>
                  <a:close/>
                </a:path>
              </a:pathLst>
            </a:custGeom>
            <a:solidFill>
              <a:srgbClr val="376790"/>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52" name="Freeform 30">
              <a:extLst>
                <a:ext uri="{FF2B5EF4-FFF2-40B4-BE49-F238E27FC236}">
                  <a16:creationId xmlns:a16="http://schemas.microsoft.com/office/drawing/2014/main" id="{5D71CB71-3825-497F-AB26-8782BED9031A}"/>
                </a:ext>
              </a:extLst>
            </p:cNvPr>
            <p:cNvSpPr>
              <a:spLocks/>
            </p:cNvSpPr>
            <p:nvPr/>
          </p:nvSpPr>
          <p:spPr bwMode="auto">
            <a:xfrm>
              <a:off x="5911056" y="3139281"/>
              <a:ext cx="593725" cy="615950"/>
            </a:xfrm>
            <a:custGeom>
              <a:avLst/>
              <a:gdLst>
                <a:gd name="T0" fmla="*/ 374 w 374"/>
                <a:gd name="T1" fmla="*/ 261 h 388"/>
                <a:gd name="T2" fmla="*/ 229 w 374"/>
                <a:gd name="T3" fmla="*/ 388 h 388"/>
                <a:gd name="T4" fmla="*/ 0 w 374"/>
                <a:gd name="T5" fmla="*/ 127 h 388"/>
                <a:gd name="T6" fmla="*/ 144 w 374"/>
                <a:gd name="T7" fmla="*/ 0 h 388"/>
                <a:gd name="T8" fmla="*/ 374 w 374"/>
                <a:gd name="T9" fmla="*/ 261 h 388"/>
              </a:gdLst>
              <a:ahLst/>
              <a:cxnLst>
                <a:cxn ang="0">
                  <a:pos x="T0" y="T1"/>
                </a:cxn>
                <a:cxn ang="0">
                  <a:pos x="T2" y="T3"/>
                </a:cxn>
                <a:cxn ang="0">
                  <a:pos x="T4" y="T5"/>
                </a:cxn>
                <a:cxn ang="0">
                  <a:pos x="T6" y="T7"/>
                </a:cxn>
                <a:cxn ang="0">
                  <a:pos x="T8" y="T9"/>
                </a:cxn>
              </a:cxnLst>
              <a:rect l="0" t="0" r="r" b="b"/>
              <a:pathLst>
                <a:path w="374" h="388">
                  <a:moveTo>
                    <a:pt x="374" y="261"/>
                  </a:moveTo>
                  <a:lnTo>
                    <a:pt x="229" y="388"/>
                  </a:lnTo>
                  <a:lnTo>
                    <a:pt x="0" y="127"/>
                  </a:lnTo>
                  <a:lnTo>
                    <a:pt x="144" y="0"/>
                  </a:lnTo>
                  <a:lnTo>
                    <a:pt x="374" y="261"/>
                  </a:lnTo>
                  <a:close/>
                </a:path>
              </a:pathLst>
            </a:custGeom>
            <a:solidFill>
              <a:srgbClr val="353B61"/>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53" name="Freeform 31">
              <a:extLst>
                <a:ext uri="{FF2B5EF4-FFF2-40B4-BE49-F238E27FC236}">
                  <a16:creationId xmlns:a16="http://schemas.microsoft.com/office/drawing/2014/main" id="{FEEB0F9D-EA0F-480D-98F8-522C59F9F8C1}"/>
                </a:ext>
              </a:extLst>
            </p:cNvPr>
            <p:cNvSpPr>
              <a:spLocks/>
            </p:cNvSpPr>
            <p:nvPr/>
          </p:nvSpPr>
          <p:spPr bwMode="auto">
            <a:xfrm>
              <a:off x="5911056" y="3139281"/>
              <a:ext cx="495300" cy="504825"/>
            </a:xfrm>
            <a:custGeom>
              <a:avLst/>
              <a:gdLst>
                <a:gd name="T0" fmla="*/ 312 w 312"/>
                <a:gd name="T1" fmla="*/ 191 h 318"/>
                <a:gd name="T2" fmla="*/ 168 w 312"/>
                <a:gd name="T3" fmla="*/ 318 h 318"/>
                <a:gd name="T4" fmla="*/ 0 w 312"/>
                <a:gd name="T5" fmla="*/ 127 h 318"/>
                <a:gd name="T6" fmla="*/ 144 w 312"/>
                <a:gd name="T7" fmla="*/ 0 h 318"/>
                <a:gd name="T8" fmla="*/ 312 w 312"/>
                <a:gd name="T9" fmla="*/ 191 h 318"/>
              </a:gdLst>
              <a:ahLst/>
              <a:cxnLst>
                <a:cxn ang="0">
                  <a:pos x="T0" y="T1"/>
                </a:cxn>
                <a:cxn ang="0">
                  <a:pos x="T2" y="T3"/>
                </a:cxn>
                <a:cxn ang="0">
                  <a:pos x="T4" y="T5"/>
                </a:cxn>
                <a:cxn ang="0">
                  <a:pos x="T6" y="T7"/>
                </a:cxn>
                <a:cxn ang="0">
                  <a:pos x="T8" y="T9"/>
                </a:cxn>
              </a:cxnLst>
              <a:rect l="0" t="0" r="r" b="b"/>
              <a:pathLst>
                <a:path w="312" h="318">
                  <a:moveTo>
                    <a:pt x="312" y="191"/>
                  </a:moveTo>
                  <a:lnTo>
                    <a:pt x="168" y="318"/>
                  </a:lnTo>
                  <a:lnTo>
                    <a:pt x="0" y="127"/>
                  </a:lnTo>
                  <a:lnTo>
                    <a:pt x="144" y="0"/>
                  </a:lnTo>
                  <a:lnTo>
                    <a:pt x="312" y="191"/>
                  </a:lnTo>
                  <a:close/>
                </a:path>
              </a:pathLst>
            </a:custGeom>
            <a:solidFill>
              <a:srgbClr val="92406C"/>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54" name="Freeform 32">
              <a:extLst>
                <a:ext uri="{FF2B5EF4-FFF2-40B4-BE49-F238E27FC236}">
                  <a16:creationId xmlns:a16="http://schemas.microsoft.com/office/drawing/2014/main" id="{6EB897AF-0BCA-4DAF-934D-44A4930A79A8}"/>
                </a:ext>
              </a:extLst>
            </p:cNvPr>
            <p:cNvSpPr>
              <a:spLocks/>
            </p:cNvSpPr>
            <p:nvPr/>
          </p:nvSpPr>
          <p:spPr bwMode="auto">
            <a:xfrm>
              <a:off x="5899944" y="3101181"/>
              <a:ext cx="631825" cy="668338"/>
            </a:xfrm>
            <a:custGeom>
              <a:avLst/>
              <a:gdLst>
                <a:gd name="T0" fmla="*/ 349 w 358"/>
                <a:gd name="T1" fmla="*/ 292 h 379"/>
                <a:gd name="T2" fmla="*/ 251 w 358"/>
                <a:gd name="T3" fmla="*/ 379 h 379"/>
                <a:gd name="T4" fmla="*/ 0 w 358"/>
                <a:gd name="T5" fmla="*/ 93 h 379"/>
                <a:gd name="T6" fmla="*/ 98 w 358"/>
                <a:gd name="T7" fmla="*/ 7 h 379"/>
                <a:gd name="T8" fmla="*/ 125 w 358"/>
                <a:gd name="T9" fmla="*/ 9 h 379"/>
                <a:gd name="T10" fmla="*/ 351 w 358"/>
                <a:gd name="T11" fmla="*/ 265 h 379"/>
                <a:gd name="T12" fmla="*/ 349 w 358"/>
                <a:gd name="T13" fmla="*/ 292 h 379"/>
              </a:gdLst>
              <a:ahLst/>
              <a:cxnLst>
                <a:cxn ang="0">
                  <a:pos x="T0" y="T1"/>
                </a:cxn>
                <a:cxn ang="0">
                  <a:pos x="T2" y="T3"/>
                </a:cxn>
                <a:cxn ang="0">
                  <a:pos x="T4" y="T5"/>
                </a:cxn>
                <a:cxn ang="0">
                  <a:pos x="T6" y="T7"/>
                </a:cxn>
                <a:cxn ang="0">
                  <a:pos x="T8" y="T9"/>
                </a:cxn>
                <a:cxn ang="0">
                  <a:pos x="T10" y="T11"/>
                </a:cxn>
                <a:cxn ang="0">
                  <a:pos x="T12" y="T13"/>
                </a:cxn>
              </a:cxnLst>
              <a:rect l="0" t="0" r="r" b="b"/>
              <a:pathLst>
                <a:path w="358" h="379">
                  <a:moveTo>
                    <a:pt x="349" y="292"/>
                  </a:moveTo>
                  <a:cubicBezTo>
                    <a:pt x="251" y="379"/>
                    <a:pt x="251" y="379"/>
                    <a:pt x="251" y="379"/>
                  </a:cubicBezTo>
                  <a:cubicBezTo>
                    <a:pt x="0" y="93"/>
                    <a:pt x="0" y="93"/>
                    <a:pt x="0" y="93"/>
                  </a:cubicBezTo>
                  <a:cubicBezTo>
                    <a:pt x="98" y="7"/>
                    <a:pt x="98" y="7"/>
                    <a:pt x="98" y="7"/>
                  </a:cubicBezTo>
                  <a:cubicBezTo>
                    <a:pt x="106" y="0"/>
                    <a:pt x="118" y="1"/>
                    <a:pt x="125" y="9"/>
                  </a:cubicBezTo>
                  <a:cubicBezTo>
                    <a:pt x="351" y="265"/>
                    <a:pt x="351" y="265"/>
                    <a:pt x="351" y="265"/>
                  </a:cubicBezTo>
                  <a:cubicBezTo>
                    <a:pt x="358" y="273"/>
                    <a:pt x="357" y="285"/>
                    <a:pt x="349" y="292"/>
                  </a:cubicBezTo>
                  <a:close/>
                </a:path>
              </a:pathLst>
            </a:custGeom>
            <a:noFill/>
            <a:ln w="6350" cap="flat">
              <a:solidFill>
                <a:srgbClr val="1E1D1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155" name="Freeform 33">
              <a:extLst>
                <a:ext uri="{FF2B5EF4-FFF2-40B4-BE49-F238E27FC236}">
                  <a16:creationId xmlns:a16="http://schemas.microsoft.com/office/drawing/2014/main" id="{D38452C9-FB85-4882-A589-FBFE5F5CF974}"/>
                </a:ext>
              </a:extLst>
            </p:cNvPr>
            <p:cNvSpPr>
              <a:spLocks/>
            </p:cNvSpPr>
            <p:nvPr/>
          </p:nvSpPr>
          <p:spPr bwMode="auto">
            <a:xfrm>
              <a:off x="5899944" y="3101181"/>
              <a:ext cx="239713" cy="212725"/>
            </a:xfrm>
            <a:custGeom>
              <a:avLst/>
              <a:gdLst>
                <a:gd name="T0" fmla="*/ 136 w 136"/>
                <a:gd name="T1" fmla="*/ 21 h 120"/>
                <a:gd name="T2" fmla="*/ 24 w 136"/>
                <a:gd name="T3" fmla="*/ 120 h 120"/>
                <a:gd name="T4" fmla="*/ 0 w 136"/>
                <a:gd name="T5" fmla="*/ 93 h 120"/>
                <a:gd name="T6" fmla="*/ 98 w 136"/>
                <a:gd name="T7" fmla="*/ 7 h 120"/>
                <a:gd name="T8" fmla="*/ 125 w 136"/>
                <a:gd name="T9" fmla="*/ 9 h 120"/>
                <a:gd name="T10" fmla="*/ 136 w 136"/>
                <a:gd name="T11" fmla="*/ 21 h 120"/>
              </a:gdLst>
              <a:ahLst/>
              <a:cxnLst>
                <a:cxn ang="0">
                  <a:pos x="T0" y="T1"/>
                </a:cxn>
                <a:cxn ang="0">
                  <a:pos x="T2" y="T3"/>
                </a:cxn>
                <a:cxn ang="0">
                  <a:pos x="T4" y="T5"/>
                </a:cxn>
                <a:cxn ang="0">
                  <a:pos x="T6" y="T7"/>
                </a:cxn>
                <a:cxn ang="0">
                  <a:pos x="T8" y="T9"/>
                </a:cxn>
                <a:cxn ang="0">
                  <a:pos x="T10" y="T11"/>
                </a:cxn>
              </a:cxnLst>
              <a:rect l="0" t="0" r="r" b="b"/>
              <a:pathLst>
                <a:path w="136" h="120">
                  <a:moveTo>
                    <a:pt x="136" y="21"/>
                  </a:moveTo>
                  <a:cubicBezTo>
                    <a:pt x="24" y="120"/>
                    <a:pt x="24" y="120"/>
                    <a:pt x="24" y="120"/>
                  </a:cubicBezTo>
                  <a:cubicBezTo>
                    <a:pt x="0" y="93"/>
                    <a:pt x="0" y="93"/>
                    <a:pt x="0" y="93"/>
                  </a:cubicBezTo>
                  <a:cubicBezTo>
                    <a:pt x="98" y="7"/>
                    <a:pt x="98" y="7"/>
                    <a:pt x="98" y="7"/>
                  </a:cubicBezTo>
                  <a:cubicBezTo>
                    <a:pt x="106" y="0"/>
                    <a:pt x="118" y="1"/>
                    <a:pt x="125" y="9"/>
                  </a:cubicBezTo>
                  <a:lnTo>
                    <a:pt x="136" y="21"/>
                  </a:lnTo>
                  <a:close/>
                </a:path>
              </a:pathLst>
            </a:custGeom>
            <a:solidFill>
              <a:srgbClr val="D0598C"/>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56" name="Freeform 34">
              <a:extLst>
                <a:ext uri="{FF2B5EF4-FFF2-40B4-BE49-F238E27FC236}">
                  <a16:creationId xmlns:a16="http://schemas.microsoft.com/office/drawing/2014/main" id="{FCB983BE-46AB-4479-90B0-F7BC8E249815}"/>
                </a:ext>
              </a:extLst>
            </p:cNvPr>
            <p:cNvSpPr>
              <a:spLocks/>
            </p:cNvSpPr>
            <p:nvPr/>
          </p:nvSpPr>
          <p:spPr bwMode="auto">
            <a:xfrm>
              <a:off x="5942806" y="3139281"/>
              <a:ext cx="463550" cy="477838"/>
            </a:xfrm>
            <a:custGeom>
              <a:avLst/>
              <a:gdLst>
                <a:gd name="T0" fmla="*/ 124 w 292"/>
                <a:gd name="T1" fmla="*/ 0 h 301"/>
                <a:gd name="T2" fmla="*/ 0 w 292"/>
                <a:gd name="T3" fmla="*/ 110 h 301"/>
                <a:gd name="T4" fmla="*/ 168 w 292"/>
                <a:gd name="T5" fmla="*/ 301 h 301"/>
                <a:gd name="T6" fmla="*/ 292 w 292"/>
                <a:gd name="T7" fmla="*/ 191 h 301"/>
                <a:gd name="T8" fmla="*/ 124 w 292"/>
                <a:gd name="T9" fmla="*/ 0 h 301"/>
              </a:gdLst>
              <a:ahLst/>
              <a:cxnLst>
                <a:cxn ang="0">
                  <a:pos x="T0" y="T1"/>
                </a:cxn>
                <a:cxn ang="0">
                  <a:pos x="T2" y="T3"/>
                </a:cxn>
                <a:cxn ang="0">
                  <a:pos x="T4" y="T5"/>
                </a:cxn>
                <a:cxn ang="0">
                  <a:pos x="T6" y="T7"/>
                </a:cxn>
                <a:cxn ang="0">
                  <a:pos x="T8" y="T9"/>
                </a:cxn>
              </a:cxnLst>
              <a:rect l="0" t="0" r="r" b="b"/>
              <a:pathLst>
                <a:path w="292" h="301">
                  <a:moveTo>
                    <a:pt x="124" y="0"/>
                  </a:moveTo>
                  <a:lnTo>
                    <a:pt x="0" y="110"/>
                  </a:lnTo>
                  <a:lnTo>
                    <a:pt x="168" y="301"/>
                  </a:lnTo>
                  <a:lnTo>
                    <a:pt x="292" y="191"/>
                  </a:lnTo>
                  <a:lnTo>
                    <a:pt x="124" y="0"/>
                  </a:lnTo>
                  <a:close/>
                </a:path>
              </a:pathLst>
            </a:custGeom>
            <a:solidFill>
              <a:srgbClr val="D86D91"/>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57" name="Freeform 35">
              <a:extLst>
                <a:ext uri="{FF2B5EF4-FFF2-40B4-BE49-F238E27FC236}">
                  <a16:creationId xmlns:a16="http://schemas.microsoft.com/office/drawing/2014/main" id="{A0175249-EE24-469E-87DC-8FC803FDAA25}"/>
                </a:ext>
              </a:extLst>
            </p:cNvPr>
            <p:cNvSpPr>
              <a:spLocks/>
            </p:cNvSpPr>
            <p:nvPr/>
          </p:nvSpPr>
          <p:spPr bwMode="auto">
            <a:xfrm>
              <a:off x="6209506" y="3442494"/>
              <a:ext cx="295275" cy="285750"/>
            </a:xfrm>
            <a:custGeom>
              <a:avLst/>
              <a:gdLst>
                <a:gd name="T0" fmla="*/ 186 w 186"/>
                <a:gd name="T1" fmla="*/ 70 h 180"/>
                <a:gd name="T2" fmla="*/ 61 w 186"/>
                <a:gd name="T3" fmla="*/ 180 h 180"/>
                <a:gd name="T4" fmla="*/ 0 w 186"/>
                <a:gd name="T5" fmla="*/ 110 h 180"/>
                <a:gd name="T6" fmla="*/ 124 w 186"/>
                <a:gd name="T7" fmla="*/ 0 h 180"/>
                <a:gd name="T8" fmla="*/ 186 w 186"/>
                <a:gd name="T9" fmla="*/ 70 h 180"/>
              </a:gdLst>
              <a:ahLst/>
              <a:cxnLst>
                <a:cxn ang="0">
                  <a:pos x="T0" y="T1"/>
                </a:cxn>
                <a:cxn ang="0">
                  <a:pos x="T2" y="T3"/>
                </a:cxn>
                <a:cxn ang="0">
                  <a:pos x="T4" y="T5"/>
                </a:cxn>
                <a:cxn ang="0">
                  <a:pos x="T6" y="T7"/>
                </a:cxn>
                <a:cxn ang="0">
                  <a:pos x="T8" y="T9"/>
                </a:cxn>
              </a:cxnLst>
              <a:rect l="0" t="0" r="r" b="b"/>
              <a:pathLst>
                <a:path w="186" h="180">
                  <a:moveTo>
                    <a:pt x="186" y="70"/>
                  </a:moveTo>
                  <a:lnTo>
                    <a:pt x="61" y="180"/>
                  </a:lnTo>
                  <a:lnTo>
                    <a:pt x="0" y="110"/>
                  </a:lnTo>
                  <a:lnTo>
                    <a:pt x="124" y="0"/>
                  </a:lnTo>
                  <a:lnTo>
                    <a:pt x="186" y="70"/>
                  </a:lnTo>
                  <a:close/>
                </a:path>
              </a:pathLst>
            </a:custGeom>
            <a:solidFill>
              <a:srgbClr val="437BBF"/>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58" name="Freeform 36">
              <a:extLst>
                <a:ext uri="{FF2B5EF4-FFF2-40B4-BE49-F238E27FC236}">
                  <a16:creationId xmlns:a16="http://schemas.microsoft.com/office/drawing/2014/main" id="{25155317-2FBB-41EE-BC02-7650BB8A9D1D}"/>
                </a:ext>
              </a:extLst>
            </p:cNvPr>
            <p:cNvSpPr>
              <a:spLocks noEditPoints="1"/>
            </p:cNvSpPr>
            <p:nvPr/>
          </p:nvSpPr>
          <p:spPr bwMode="auto">
            <a:xfrm>
              <a:off x="4239419" y="4534694"/>
              <a:ext cx="3562350" cy="585788"/>
            </a:xfrm>
            <a:custGeom>
              <a:avLst/>
              <a:gdLst>
                <a:gd name="T0" fmla="*/ 1970 w 2020"/>
                <a:gd name="T1" fmla="*/ 0 h 332"/>
                <a:gd name="T2" fmla="*/ 0 w 2020"/>
                <a:gd name="T3" fmla="*/ 0 h 332"/>
                <a:gd name="T4" fmla="*/ 0 w 2020"/>
                <a:gd name="T5" fmla="*/ 332 h 332"/>
                <a:gd name="T6" fmla="*/ 1970 w 2020"/>
                <a:gd name="T7" fmla="*/ 332 h 332"/>
                <a:gd name="T8" fmla="*/ 2020 w 2020"/>
                <a:gd name="T9" fmla="*/ 166 h 332"/>
                <a:gd name="T10" fmla="*/ 1970 w 2020"/>
                <a:gd name="T11" fmla="*/ 0 h 332"/>
                <a:gd name="T12" fmla="*/ 1879 w 2020"/>
                <a:gd name="T13" fmla="*/ 226 h 332"/>
                <a:gd name="T14" fmla="*/ 1819 w 2020"/>
                <a:gd name="T15" fmla="*/ 166 h 332"/>
                <a:gd name="T16" fmla="*/ 1879 w 2020"/>
                <a:gd name="T17" fmla="*/ 106 h 332"/>
                <a:gd name="T18" fmla="*/ 1939 w 2020"/>
                <a:gd name="T19" fmla="*/ 166 h 332"/>
                <a:gd name="T20" fmla="*/ 1879 w 2020"/>
                <a:gd name="T21" fmla="*/ 226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20" h="332">
                  <a:moveTo>
                    <a:pt x="1970" y="0"/>
                  </a:moveTo>
                  <a:cubicBezTo>
                    <a:pt x="0" y="0"/>
                    <a:pt x="0" y="0"/>
                    <a:pt x="0" y="0"/>
                  </a:cubicBezTo>
                  <a:cubicBezTo>
                    <a:pt x="0" y="332"/>
                    <a:pt x="0" y="332"/>
                    <a:pt x="0" y="332"/>
                  </a:cubicBezTo>
                  <a:cubicBezTo>
                    <a:pt x="1970" y="332"/>
                    <a:pt x="1970" y="332"/>
                    <a:pt x="1970" y="332"/>
                  </a:cubicBezTo>
                  <a:cubicBezTo>
                    <a:pt x="1997" y="332"/>
                    <a:pt x="2020" y="258"/>
                    <a:pt x="2020" y="166"/>
                  </a:cubicBezTo>
                  <a:cubicBezTo>
                    <a:pt x="2020" y="75"/>
                    <a:pt x="1997" y="0"/>
                    <a:pt x="1970" y="0"/>
                  </a:cubicBezTo>
                  <a:close/>
                  <a:moveTo>
                    <a:pt x="1879" y="226"/>
                  </a:moveTo>
                  <a:cubicBezTo>
                    <a:pt x="1846" y="226"/>
                    <a:pt x="1819" y="199"/>
                    <a:pt x="1819" y="166"/>
                  </a:cubicBezTo>
                  <a:cubicBezTo>
                    <a:pt x="1819" y="133"/>
                    <a:pt x="1846" y="106"/>
                    <a:pt x="1879" y="106"/>
                  </a:cubicBezTo>
                  <a:cubicBezTo>
                    <a:pt x="1912" y="106"/>
                    <a:pt x="1939" y="133"/>
                    <a:pt x="1939" y="166"/>
                  </a:cubicBezTo>
                  <a:cubicBezTo>
                    <a:pt x="1939" y="199"/>
                    <a:pt x="1912" y="226"/>
                    <a:pt x="1879" y="226"/>
                  </a:cubicBezTo>
                  <a:close/>
                </a:path>
              </a:pathLst>
            </a:custGeom>
            <a:solidFill>
              <a:srgbClr val="424242">
                <a:alpha val="20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59" name="Freeform 37">
              <a:extLst>
                <a:ext uri="{FF2B5EF4-FFF2-40B4-BE49-F238E27FC236}">
                  <a16:creationId xmlns:a16="http://schemas.microsoft.com/office/drawing/2014/main" id="{E465FC26-18BE-432B-A8A6-157C76D4C7D7}"/>
                </a:ext>
              </a:extLst>
            </p:cNvPr>
            <p:cNvSpPr>
              <a:spLocks noEditPoints="1"/>
            </p:cNvSpPr>
            <p:nvPr/>
          </p:nvSpPr>
          <p:spPr bwMode="auto">
            <a:xfrm>
              <a:off x="4274344" y="4479131"/>
              <a:ext cx="3562350" cy="585788"/>
            </a:xfrm>
            <a:custGeom>
              <a:avLst/>
              <a:gdLst>
                <a:gd name="T0" fmla="*/ 1970 w 2020"/>
                <a:gd name="T1" fmla="*/ 0 h 332"/>
                <a:gd name="T2" fmla="*/ 0 w 2020"/>
                <a:gd name="T3" fmla="*/ 0 h 332"/>
                <a:gd name="T4" fmla="*/ 0 w 2020"/>
                <a:gd name="T5" fmla="*/ 332 h 332"/>
                <a:gd name="T6" fmla="*/ 1970 w 2020"/>
                <a:gd name="T7" fmla="*/ 332 h 332"/>
                <a:gd name="T8" fmla="*/ 2020 w 2020"/>
                <a:gd name="T9" fmla="*/ 166 h 332"/>
                <a:gd name="T10" fmla="*/ 1970 w 2020"/>
                <a:gd name="T11" fmla="*/ 0 h 332"/>
                <a:gd name="T12" fmla="*/ 1879 w 2020"/>
                <a:gd name="T13" fmla="*/ 226 h 332"/>
                <a:gd name="T14" fmla="*/ 1819 w 2020"/>
                <a:gd name="T15" fmla="*/ 166 h 332"/>
                <a:gd name="T16" fmla="*/ 1879 w 2020"/>
                <a:gd name="T17" fmla="*/ 106 h 332"/>
                <a:gd name="T18" fmla="*/ 1939 w 2020"/>
                <a:gd name="T19" fmla="*/ 166 h 332"/>
                <a:gd name="T20" fmla="*/ 1879 w 2020"/>
                <a:gd name="T21" fmla="*/ 226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20" h="332">
                  <a:moveTo>
                    <a:pt x="1970" y="0"/>
                  </a:moveTo>
                  <a:cubicBezTo>
                    <a:pt x="0" y="0"/>
                    <a:pt x="0" y="0"/>
                    <a:pt x="0" y="0"/>
                  </a:cubicBezTo>
                  <a:cubicBezTo>
                    <a:pt x="0" y="332"/>
                    <a:pt x="0" y="332"/>
                    <a:pt x="0" y="332"/>
                  </a:cubicBezTo>
                  <a:cubicBezTo>
                    <a:pt x="1970" y="332"/>
                    <a:pt x="1970" y="332"/>
                    <a:pt x="1970" y="332"/>
                  </a:cubicBezTo>
                  <a:cubicBezTo>
                    <a:pt x="1997" y="332"/>
                    <a:pt x="2020" y="258"/>
                    <a:pt x="2020" y="166"/>
                  </a:cubicBezTo>
                  <a:cubicBezTo>
                    <a:pt x="2020" y="75"/>
                    <a:pt x="1997" y="0"/>
                    <a:pt x="1970" y="0"/>
                  </a:cubicBezTo>
                  <a:close/>
                  <a:moveTo>
                    <a:pt x="1879" y="226"/>
                  </a:moveTo>
                  <a:cubicBezTo>
                    <a:pt x="1846" y="226"/>
                    <a:pt x="1819" y="199"/>
                    <a:pt x="1819" y="166"/>
                  </a:cubicBezTo>
                  <a:cubicBezTo>
                    <a:pt x="1819" y="133"/>
                    <a:pt x="1846" y="106"/>
                    <a:pt x="1879" y="106"/>
                  </a:cubicBezTo>
                  <a:cubicBezTo>
                    <a:pt x="1912" y="106"/>
                    <a:pt x="1939" y="133"/>
                    <a:pt x="1939" y="166"/>
                  </a:cubicBezTo>
                  <a:cubicBezTo>
                    <a:pt x="1939" y="199"/>
                    <a:pt x="1912" y="226"/>
                    <a:pt x="1879" y="226"/>
                  </a:cubicBezTo>
                  <a:close/>
                </a:path>
              </a:pathLst>
            </a:custGeom>
            <a:solidFill>
              <a:srgbClr val="00B3E7"/>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60" name="Freeform 38">
              <a:extLst>
                <a:ext uri="{FF2B5EF4-FFF2-40B4-BE49-F238E27FC236}">
                  <a16:creationId xmlns:a16="http://schemas.microsoft.com/office/drawing/2014/main" id="{BA7E7289-13AB-456D-924C-0FFDC23C701D}"/>
                </a:ext>
              </a:extLst>
            </p:cNvPr>
            <p:cNvSpPr>
              <a:spLocks/>
            </p:cNvSpPr>
            <p:nvPr/>
          </p:nvSpPr>
          <p:spPr bwMode="auto">
            <a:xfrm>
              <a:off x="4274344" y="4771231"/>
              <a:ext cx="3562350" cy="293688"/>
            </a:xfrm>
            <a:custGeom>
              <a:avLst/>
              <a:gdLst>
                <a:gd name="T0" fmla="*/ 1939 w 2020"/>
                <a:gd name="T1" fmla="*/ 0 h 166"/>
                <a:gd name="T2" fmla="*/ 1879 w 2020"/>
                <a:gd name="T3" fmla="*/ 60 h 166"/>
                <a:gd name="T4" fmla="*/ 1819 w 2020"/>
                <a:gd name="T5" fmla="*/ 0 h 166"/>
                <a:gd name="T6" fmla="*/ 0 w 2020"/>
                <a:gd name="T7" fmla="*/ 0 h 166"/>
                <a:gd name="T8" fmla="*/ 0 w 2020"/>
                <a:gd name="T9" fmla="*/ 166 h 166"/>
                <a:gd name="T10" fmla="*/ 1970 w 2020"/>
                <a:gd name="T11" fmla="*/ 166 h 166"/>
                <a:gd name="T12" fmla="*/ 2020 w 2020"/>
                <a:gd name="T13" fmla="*/ 0 h 166"/>
                <a:gd name="T14" fmla="*/ 1939 w 2020"/>
                <a:gd name="T15" fmla="*/ 0 h 1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20" h="166">
                  <a:moveTo>
                    <a:pt x="1939" y="0"/>
                  </a:moveTo>
                  <a:cubicBezTo>
                    <a:pt x="1939" y="33"/>
                    <a:pt x="1912" y="60"/>
                    <a:pt x="1879" y="60"/>
                  </a:cubicBezTo>
                  <a:cubicBezTo>
                    <a:pt x="1846" y="60"/>
                    <a:pt x="1819" y="33"/>
                    <a:pt x="1819" y="0"/>
                  </a:cubicBezTo>
                  <a:cubicBezTo>
                    <a:pt x="0" y="0"/>
                    <a:pt x="0" y="0"/>
                    <a:pt x="0" y="0"/>
                  </a:cubicBezTo>
                  <a:cubicBezTo>
                    <a:pt x="0" y="166"/>
                    <a:pt x="0" y="166"/>
                    <a:pt x="0" y="166"/>
                  </a:cubicBezTo>
                  <a:cubicBezTo>
                    <a:pt x="1970" y="166"/>
                    <a:pt x="1970" y="166"/>
                    <a:pt x="1970" y="166"/>
                  </a:cubicBezTo>
                  <a:cubicBezTo>
                    <a:pt x="1997" y="166"/>
                    <a:pt x="2020" y="92"/>
                    <a:pt x="2020" y="0"/>
                  </a:cubicBezTo>
                  <a:lnTo>
                    <a:pt x="1939" y="0"/>
                  </a:lnTo>
                  <a:close/>
                </a:path>
              </a:pathLst>
            </a:custGeom>
            <a:solidFill>
              <a:srgbClr val="316296"/>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61" name="Freeform 39">
              <a:extLst>
                <a:ext uri="{FF2B5EF4-FFF2-40B4-BE49-F238E27FC236}">
                  <a16:creationId xmlns:a16="http://schemas.microsoft.com/office/drawing/2014/main" id="{B868C8DB-8C92-4431-9063-13AB3EABB8C7}"/>
                </a:ext>
              </a:extLst>
            </p:cNvPr>
            <p:cNvSpPr>
              <a:spLocks/>
            </p:cNvSpPr>
            <p:nvPr/>
          </p:nvSpPr>
          <p:spPr bwMode="auto">
            <a:xfrm>
              <a:off x="4506119" y="4152106"/>
              <a:ext cx="1322388" cy="1589088"/>
            </a:xfrm>
            <a:custGeom>
              <a:avLst/>
              <a:gdLst>
                <a:gd name="T0" fmla="*/ 141 w 750"/>
                <a:gd name="T1" fmla="*/ 87 h 901"/>
                <a:gd name="T2" fmla="*/ 35 w 750"/>
                <a:gd name="T3" fmla="*/ 20 h 901"/>
                <a:gd name="T4" fmla="*/ 35 w 750"/>
                <a:gd name="T5" fmla="*/ 20 h 901"/>
                <a:gd name="T6" fmla="*/ 6 w 750"/>
                <a:gd name="T7" fmla="*/ 1 h 901"/>
                <a:gd name="T8" fmla="*/ 2 w 750"/>
                <a:gd name="T9" fmla="*/ 5 h 901"/>
                <a:gd name="T10" fmla="*/ 62 w 750"/>
                <a:gd name="T11" fmla="*/ 151 h 901"/>
                <a:gd name="T12" fmla="*/ 671 w 750"/>
                <a:gd name="T13" fmla="*/ 901 h 901"/>
                <a:gd name="T14" fmla="*/ 750 w 750"/>
                <a:gd name="T15" fmla="*/ 837 h 901"/>
                <a:gd name="T16" fmla="*/ 141 w 750"/>
                <a:gd name="T17" fmla="*/ 87 h 9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0" h="901">
                  <a:moveTo>
                    <a:pt x="141" y="87"/>
                  </a:moveTo>
                  <a:cubicBezTo>
                    <a:pt x="35" y="20"/>
                    <a:pt x="35" y="20"/>
                    <a:pt x="35" y="20"/>
                  </a:cubicBezTo>
                  <a:cubicBezTo>
                    <a:pt x="35" y="20"/>
                    <a:pt x="35" y="20"/>
                    <a:pt x="35" y="20"/>
                  </a:cubicBezTo>
                  <a:cubicBezTo>
                    <a:pt x="6" y="1"/>
                    <a:pt x="6" y="1"/>
                    <a:pt x="6" y="1"/>
                  </a:cubicBezTo>
                  <a:cubicBezTo>
                    <a:pt x="4" y="0"/>
                    <a:pt x="0" y="2"/>
                    <a:pt x="2" y="5"/>
                  </a:cubicBezTo>
                  <a:cubicBezTo>
                    <a:pt x="62" y="151"/>
                    <a:pt x="62" y="151"/>
                    <a:pt x="62" y="151"/>
                  </a:cubicBezTo>
                  <a:cubicBezTo>
                    <a:pt x="671" y="901"/>
                    <a:pt x="671" y="901"/>
                    <a:pt x="671" y="901"/>
                  </a:cubicBezTo>
                  <a:cubicBezTo>
                    <a:pt x="750" y="837"/>
                    <a:pt x="750" y="837"/>
                    <a:pt x="750" y="837"/>
                  </a:cubicBezTo>
                  <a:lnTo>
                    <a:pt x="141" y="87"/>
                  </a:lnTo>
                  <a:close/>
                </a:path>
              </a:pathLst>
            </a:custGeom>
            <a:solidFill>
              <a:srgbClr val="424242">
                <a:alpha val="20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62" name="Freeform 40">
              <a:extLst>
                <a:ext uri="{FF2B5EF4-FFF2-40B4-BE49-F238E27FC236}">
                  <a16:creationId xmlns:a16="http://schemas.microsoft.com/office/drawing/2014/main" id="{E645C0B1-F81B-4E8A-85E2-98265F8B724A}"/>
                </a:ext>
              </a:extLst>
            </p:cNvPr>
            <p:cNvSpPr>
              <a:spLocks/>
            </p:cNvSpPr>
            <p:nvPr/>
          </p:nvSpPr>
          <p:spPr bwMode="auto">
            <a:xfrm>
              <a:off x="4615656" y="4256881"/>
              <a:ext cx="1212850" cy="1435100"/>
            </a:xfrm>
            <a:custGeom>
              <a:avLst/>
              <a:gdLst>
                <a:gd name="T0" fmla="*/ 764 w 764"/>
                <a:gd name="T1" fmla="*/ 833 h 904"/>
                <a:gd name="T2" fmla="*/ 676 w 764"/>
                <a:gd name="T3" fmla="*/ 904 h 904"/>
                <a:gd name="T4" fmla="*/ 0 w 764"/>
                <a:gd name="T5" fmla="*/ 71 h 904"/>
                <a:gd name="T6" fmla="*/ 87 w 764"/>
                <a:gd name="T7" fmla="*/ 0 h 904"/>
                <a:gd name="T8" fmla="*/ 764 w 764"/>
                <a:gd name="T9" fmla="*/ 833 h 904"/>
              </a:gdLst>
              <a:ahLst/>
              <a:cxnLst>
                <a:cxn ang="0">
                  <a:pos x="T0" y="T1"/>
                </a:cxn>
                <a:cxn ang="0">
                  <a:pos x="T2" y="T3"/>
                </a:cxn>
                <a:cxn ang="0">
                  <a:pos x="T4" y="T5"/>
                </a:cxn>
                <a:cxn ang="0">
                  <a:pos x="T6" y="T7"/>
                </a:cxn>
                <a:cxn ang="0">
                  <a:pos x="T8" y="T9"/>
                </a:cxn>
              </a:cxnLst>
              <a:rect l="0" t="0" r="r" b="b"/>
              <a:pathLst>
                <a:path w="764" h="904">
                  <a:moveTo>
                    <a:pt x="764" y="833"/>
                  </a:moveTo>
                  <a:lnTo>
                    <a:pt x="676" y="904"/>
                  </a:lnTo>
                  <a:lnTo>
                    <a:pt x="0" y="71"/>
                  </a:lnTo>
                  <a:lnTo>
                    <a:pt x="87" y="0"/>
                  </a:lnTo>
                  <a:lnTo>
                    <a:pt x="764" y="833"/>
                  </a:lnTo>
                  <a:close/>
                </a:path>
              </a:pathLst>
            </a:custGeom>
            <a:solidFill>
              <a:srgbClr val="3D5D91"/>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63" name="Freeform 41">
              <a:extLst>
                <a:ext uri="{FF2B5EF4-FFF2-40B4-BE49-F238E27FC236}">
                  <a16:creationId xmlns:a16="http://schemas.microsoft.com/office/drawing/2014/main" id="{5AF757D5-CBDB-4F6E-B920-990A6E27C70E}"/>
                </a:ext>
              </a:extLst>
            </p:cNvPr>
            <p:cNvSpPr>
              <a:spLocks/>
            </p:cNvSpPr>
            <p:nvPr/>
          </p:nvSpPr>
          <p:spPr bwMode="auto">
            <a:xfrm>
              <a:off x="4656931" y="4291806"/>
              <a:ext cx="1127125" cy="1365250"/>
            </a:xfrm>
            <a:custGeom>
              <a:avLst/>
              <a:gdLst>
                <a:gd name="T0" fmla="*/ 710 w 710"/>
                <a:gd name="T1" fmla="*/ 833 h 860"/>
                <a:gd name="T2" fmla="*/ 677 w 710"/>
                <a:gd name="T3" fmla="*/ 860 h 860"/>
                <a:gd name="T4" fmla="*/ 0 w 710"/>
                <a:gd name="T5" fmla="*/ 27 h 860"/>
                <a:gd name="T6" fmla="*/ 34 w 710"/>
                <a:gd name="T7" fmla="*/ 0 h 860"/>
                <a:gd name="T8" fmla="*/ 710 w 710"/>
                <a:gd name="T9" fmla="*/ 833 h 860"/>
              </a:gdLst>
              <a:ahLst/>
              <a:cxnLst>
                <a:cxn ang="0">
                  <a:pos x="T0" y="T1"/>
                </a:cxn>
                <a:cxn ang="0">
                  <a:pos x="T2" y="T3"/>
                </a:cxn>
                <a:cxn ang="0">
                  <a:pos x="T4" y="T5"/>
                </a:cxn>
                <a:cxn ang="0">
                  <a:pos x="T6" y="T7"/>
                </a:cxn>
                <a:cxn ang="0">
                  <a:pos x="T8" y="T9"/>
                </a:cxn>
              </a:cxnLst>
              <a:rect l="0" t="0" r="r" b="b"/>
              <a:pathLst>
                <a:path w="710" h="860">
                  <a:moveTo>
                    <a:pt x="710" y="833"/>
                  </a:moveTo>
                  <a:lnTo>
                    <a:pt x="677" y="860"/>
                  </a:lnTo>
                  <a:lnTo>
                    <a:pt x="0" y="27"/>
                  </a:lnTo>
                  <a:lnTo>
                    <a:pt x="34" y="0"/>
                  </a:lnTo>
                  <a:lnTo>
                    <a:pt x="710" y="833"/>
                  </a:lnTo>
                  <a:close/>
                </a:path>
              </a:pathLst>
            </a:custGeom>
            <a:solidFill>
              <a:srgbClr val="00B3E7"/>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64" name="Freeform 42">
              <a:extLst>
                <a:ext uri="{FF2B5EF4-FFF2-40B4-BE49-F238E27FC236}">
                  <a16:creationId xmlns:a16="http://schemas.microsoft.com/office/drawing/2014/main" id="{14A9096D-4798-43B3-B1AF-F92DEFA757B8}"/>
                </a:ext>
              </a:extLst>
            </p:cNvPr>
            <p:cNvSpPr>
              <a:spLocks/>
            </p:cNvSpPr>
            <p:nvPr/>
          </p:nvSpPr>
          <p:spPr bwMode="auto">
            <a:xfrm>
              <a:off x="4506119" y="4102894"/>
              <a:ext cx="247650" cy="266700"/>
            </a:xfrm>
            <a:custGeom>
              <a:avLst/>
              <a:gdLst>
                <a:gd name="T0" fmla="*/ 2 w 141"/>
                <a:gd name="T1" fmla="*/ 5 h 151"/>
                <a:gd name="T2" fmla="*/ 62 w 141"/>
                <a:gd name="T3" fmla="*/ 151 h 151"/>
                <a:gd name="T4" fmla="*/ 141 w 141"/>
                <a:gd name="T5" fmla="*/ 87 h 151"/>
                <a:gd name="T6" fmla="*/ 6 w 141"/>
                <a:gd name="T7" fmla="*/ 1 h 151"/>
                <a:gd name="T8" fmla="*/ 2 w 141"/>
                <a:gd name="T9" fmla="*/ 5 h 151"/>
              </a:gdLst>
              <a:ahLst/>
              <a:cxnLst>
                <a:cxn ang="0">
                  <a:pos x="T0" y="T1"/>
                </a:cxn>
                <a:cxn ang="0">
                  <a:pos x="T2" y="T3"/>
                </a:cxn>
                <a:cxn ang="0">
                  <a:pos x="T4" y="T5"/>
                </a:cxn>
                <a:cxn ang="0">
                  <a:pos x="T6" y="T7"/>
                </a:cxn>
                <a:cxn ang="0">
                  <a:pos x="T8" y="T9"/>
                </a:cxn>
              </a:cxnLst>
              <a:rect l="0" t="0" r="r" b="b"/>
              <a:pathLst>
                <a:path w="141" h="151">
                  <a:moveTo>
                    <a:pt x="2" y="5"/>
                  </a:moveTo>
                  <a:cubicBezTo>
                    <a:pt x="62" y="151"/>
                    <a:pt x="62" y="151"/>
                    <a:pt x="62" y="151"/>
                  </a:cubicBezTo>
                  <a:cubicBezTo>
                    <a:pt x="141" y="87"/>
                    <a:pt x="141" y="87"/>
                    <a:pt x="141" y="87"/>
                  </a:cubicBezTo>
                  <a:cubicBezTo>
                    <a:pt x="6" y="1"/>
                    <a:pt x="6" y="1"/>
                    <a:pt x="6" y="1"/>
                  </a:cubicBezTo>
                  <a:cubicBezTo>
                    <a:pt x="4" y="0"/>
                    <a:pt x="0" y="2"/>
                    <a:pt x="2" y="5"/>
                  </a:cubicBezTo>
                  <a:close/>
                </a:path>
              </a:pathLst>
            </a:custGeom>
            <a:solidFill>
              <a:srgbClr val="D37187"/>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65" name="Freeform 43">
              <a:extLst>
                <a:ext uri="{FF2B5EF4-FFF2-40B4-BE49-F238E27FC236}">
                  <a16:creationId xmlns:a16="http://schemas.microsoft.com/office/drawing/2014/main" id="{4C4FB20B-DDE7-4E75-9E9B-A548D91B8C43}"/>
                </a:ext>
              </a:extLst>
            </p:cNvPr>
            <p:cNvSpPr>
              <a:spLocks/>
            </p:cNvSpPr>
            <p:nvPr/>
          </p:nvSpPr>
          <p:spPr bwMode="auto">
            <a:xfrm>
              <a:off x="4506119" y="4102894"/>
              <a:ext cx="61913" cy="66675"/>
            </a:xfrm>
            <a:custGeom>
              <a:avLst/>
              <a:gdLst>
                <a:gd name="T0" fmla="*/ 35 w 35"/>
                <a:gd name="T1" fmla="*/ 20 h 38"/>
                <a:gd name="T2" fmla="*/ 6 w 35"/>
                <a:gd name="T3" fmla="*/ 1 h 38"/>
                <a:gd name="T4" fmla="*/ 2 w 35"/>
                <a:gd name="T5" fmla="*/ 5 h 38"/>
                <a:gd name="T6" fmla="*/ 15 w 35"/>
                <a:gd name="T7" fmla="*/ 38 h 38"/>
                <a:gd name="T8" fmla="*/ 35 w 35"/>
                <a:gd name="T9" fmla="*/ 20 h 38"/>
              </a:gdLst>
              <a:ahLst/>
              <a:cxnLst>
                <a:cxn ang="0">
                  <a:pos x="T0" y="T1"/>
                </a:cxn>
                <a:cxn ang="0">
                  <a:pos x="T2" y="T3"/>
                </a:cxn>
                <a:cxn ang="0">
                  <a:pos x="T4" y="T5"/>
                </a:cxn>
                <a:cxn ang="0">
                  <a:pos x="T6" y="T7"/>
                </a:cxn>
                <a:cxn ang="0">
                  <a:pos x="T8" y="T9"/>
                </a:cxn>
              </a:cxnLst>
              <a:rect l="0" t="0" r="r" b="b"/>
              <a:pathLst>
                <a:path w="35" h="38">
                  <a:moveTo>
                    <a:pt x="35" y="20"/>
                  </a:moveTo>
                  <a:cubicBezTo>
                    <a:pt x="6" y="1"/>
                    <a:pt x="6" y="1"/>
                    <a:pt x="6" y="1"/>
                  </a:cubicBezTo>
                  <a:cubicBezTo>
                    <a:pt x="4" y="0"/>
                    <a:pt x="0" y="2"/>
                    <a:pt x="2" y="5"/>
                  </a:cubicBezTo>
                  <a:cubicBezTo>
                    <a:pt x="15" y="38"/>
                    <a:pt x="15" y="38"/>
                    <a:pt x="15" y="38"/>
                  </a:cubicBezTo>
                  <a:lnTo>
                    <a:pt x="35" y="20"/>
                  </a:lnTo>
                  <a:close/>
                </a:path>
              </a:pathLst>
            </a:custGeom>
            <a:solidFill>
              <a:srgbClr val="3D5D91"/>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66" name="Freeform 44">
              <a:extLst>
                <a:ext uri="{FF2B5EF4-FFF2-40B4-BE49-F238E27FC236}">
                  <a16:creationId xmlns:a16="http://schemas.microsoft.com/office/drawing/2014/main" id="{A9C444C7-6D1B-47C7-A781-EDAC61DD9836}"/>
                </a:ext>
              </a:extLst>
            </p:cNvPr>
            <p:cNvSpPr>
              <a:spLocks/>
            </p:cNvSpPr>
            <p:nvPr/>
          </p:nvSpPr>
          <p:spPr bwMode="auto">
            <a:xfrm>
              <a:off x="6315869" y="3950494"/>
              <a:ext cx="604838" cy="1592263"/>
            </a:xfrm>
            <a:custGeom>
              <a:avLst/>
              <a:gdLst>
                <a:gd name="T0" fmla="*/ 285 w 343"/>
                <a:gd name="T1" fmla="*/ 14 h 903"/>
                <a:gd name="T2" fmla="*/ 252 w 343"/>
                <a:gd name="T3" fmla="*/ 129 h 903"/>
                <a:gd name="T4" fmla="*/ 292 w 343"/>
                <a:gd name="T5" fmla="*/ 141 h 903"/>
                <a:gd name="T6" fmla="*/ 330 w 343"/>
                <a:gd name="T7" fmla="*/ 221 h 903"/>
                <a:gd name="T8" fmla="*/ 75 w 343"/>
                <a:gd name="T9" fmla="*/ 865 h 903"/>
                <a:gd name="T10" fmla="*/ 16 w 343"/>
                <a:gd name="T11" fmla="*/ 900 h 903"/>
                <a:gd name="T12" fmla="*/ 0 w 343"/>
                <a:gd name="T13" fmla="*/ 898 h 903"/>
                <a:gd name="T14" fmla="*/ 224 w 343"/>
                <a:gd name="T15" fmla="*/ 0 h 903"/>
                <a:gd name="T16" fmla="*/ 285 w 343"/>
                <a:gd name="T17" fmla="*/ 14 h 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3" h="903">
                  <a:moveTo>
                    <a:pt x="285" y="14"/>
                  </a:moveTo>
                  <a:cubicBezTo>
                    <a:pt x="252" y="129"/>
                    <a:pt x="252" y="129"/>
                    <a:pt x="252" y="129"/>
                  </a:cubicBezTo>
                  <a:cubicBezTo>
                    <a:pt x="292" y="141"/>
                    <a:pt x="292" y="141"/>
                    <a:pt x="292" y="141"/>
                  </a:cubicBezTo>
                  <a:cubicBezTo>
                    <a:pt x="326" y="152"/>
                    <a:pt x="343" y="188"/>
                    <a:pt x="330" y="221"/>
                  </a:cubicBezTo>
                  <a:cubicBezTo>
                    <a:pt x="75" y="865"/>
                    <a:pt x="75" y="865"/>
                    <a:pt x="75" y="865"/>
                  </a:cubicBezTo>
                  <a:cubicBezTo>
                    <a:pt x="65" y="889"/>
                    <a:pt x="41" y="903"/>
                    <a:pt x="16" y="900"/>
                  </a:cubicBezTo>
                  <a:cubicBezTo>
                    <a:pt x="0" y="898"/>
                    <a:pt x="0" y="898"/>
                    <a:pt x="0" y="898"/>
                  </a:cubicBezTo>
                  <a:cubicBezTo>
                    <a:pt x="224" y="0"/>
                    <a:pt x="224" y="0"/>
                    <a:pt x="224" y="0"/>
                  </a:cubicBezTo>
                  <a:lnTo>
                    <a:pt x="285" y="14"/>
                  </a:lnTo>
                  <a:close/>
                </a:path>
              </a:pathLst>
            </a:custGeom>
            <a:solidFill>
              <a:srgbClr val="424242">
                <a:alpha val="20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67" name="Freeform 45">
              <a:extLst>
                <a:ext uri="{FF2B5EF4-FFF2-40B4-BE49-F238E27FC236}">
                  <a16:creationId xmlns:a16="http://schemas.microsoft.com/office/drawing/2014/main" id="{06F436F2-8642-44F3-BAC5-592561B00DBD}"/>
                </a:ext>
              </a:extLst>
            </p:cNvPr>
            <p:cNvSpPr>
              <a:spLocks noEditPoints="1"/>
            </p:cNvSpPr>
            <p:nvPr/>
          </p:nvSpPr>
          <p:spPr bwMode="auto">
            <a:xfrm>
              <a:off x="6611144" y="3237706"/>
              <a:ext cx="538163" cy="747713"/>
            </a:xfrm>
            <a:custGeom>
              <a:avLst/>
              <a:gdLst>
                <a:gd name="T0" fmla="*/ 305 w 305"/>
                <a:gd name="T1" fmla="*/ 153 h 424"/>
                <a:gd name="T2" fmla="*/ 152 w 305"/>
                <a:gd name="T3" fmla="*/ 0 h 424"/>
                <a:gd name="T4" fmla="*/ 0 w 305"/>
                <a:gd name="T5" fmla="*/ 153 h 424"/>
                <a:gd name="T6" fmla="*/ 74 w 305"/>
                <a:gd name="T7" fmla="*/ 284 h 424"/>
                <a:gd name="T8" fmla="*/ 50 w 305"/>
                <a:gd name="T9" fmla="*/ 395 h 424"/>
                <a:gd name="T10" fmla="*/ 50 w 305"/>
                <a:gd name="T11" fmla="*/ 395 h 424"/>
                <a:gd name="T12" fmla="*/ 50 w 305"/>
                <a:gd name="T13" fmla="*/ 395 h 424"/>
                <a:gd name="T14" fmla="*/ 88 w 305"/>
                <a:gd name="T15" fmla="*/ 419 h 424"/>
                <a:gd name="T16" fmla="*/ 132 w 305"/>
                <a:gd name="T17" fmla="*/ 413 h 424"/>
                <a:gd name="T18" fmla="*/ 132 w 305"/>
                <a:gd name="T19" fmla="*/ 413 h 424"/>
                <a:gd name="T20" fmla="*/ 132 w 305"/>
                <a:gd name="T21" fmla="*/ 413 h 424"/>
                <a:gd name="T22" fmla="*/ 156 w 305"/>
                <a:gd name="T23" fmla="*/ 305 h 424"/>
                <a:gd name="T24" fmla="*/ 305 w 305"/>
                <a:gd name="T25" fmla="*/ 153 h 424"/>
                <a:gd name="T26" fmla="*/ 152 w 305"/>
                <a:gd name="T27" fmla="*/ 229 h 424"/>
                <a:gd name="T28" fmla="*/ 76 w 305"/>
                <a:gd name="T29" fmla="*/ 153 h 424"/>
                <a:gd name="T30" fmla="*/ 152 w 305"/>
                <a:gd name="T31" fmla="*/ 77 h 424"/>
                <a:gd name="T32" fmla="*/ 228 w 305"/>
                <a:gd name="T33" fmla="*/ 153 h 424"/>
                <a:gd name="T34" fmla="*/ 152 w 305"/>
                <a:gd name="T35" fmla="*/ 229 h 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5" h="424">
                  <a:moveTo>
                    <a:pt x="305" y="153"/>
                  </a:moveTo>
                  <a:cubicBezTo>
                    <a:pt x="305" y="68"/>
                    <a:pt x="237" y="0"/>
                    <a:pt x="152" y="0"/>
                  </a:cubicBezTo>
                  <a:cubicBezTo>
                    <a:pt x="68" y="0"/>
                    <a:pt x="0" y="68"/>
                    <a:pt x="0" y="153"/>
                  </a:cubicBezTo>
                  <a:cubicBezTo>
                    <a:pt x="0" y="208"/>
                    <a:pt x="30" y="257"/>
                    <a:pt x="74" y="284"/>
                  </a:cubicBezTo>
                  <a:cubicBezTo>
                    <a:pt x="50" y="395"/>
                    <a:pt x="50" y="395"/>
                    <a:pt x="50" y="395"/>
                  </a:cubicBezTo>
                  <a:cubicBezTo>
                    <a:pt x="50" y="395"/>
                    <a:pt x="50" y="395"/>
                    <a:pt x="50" y="395"/>
                  </a:cubicBezTo>
                  <a:cubicBezTo>
                    <a:pt x="50" y="395"/>
                    <a:pt x="50" y="395"/>
                    <a:pt x="50" y="395"/>
                  </a:cubicBezTo>
                  <a:cubicBezTo>
                    <a:pt x="48" y="403"/>
                    <a:pt x="65" y="414"/>
                    <a:pt x="88" y="419"/>
                  </a:cubicBezTo>
                  <a:cubicBezTo>
                    <a:pt x="111" y="424"/>
                    <a:pt x="131" y="421"/>
                    <a:pt x="132" y="413"/>
                  </a:cubicBezTo>
                  <a:cubicBezTo>
                    <a:pt x="132" y="413"/>
                    <a:pt x="132" y="413"/>
                    <a:pt x="132" y="413"/>
                  </a:cubicBezTo>
                  <a:cubicBezTo>
                    <a:pt x="132" y="413"/>
                    <a:pt x="132" y="413"/>
                    <a:pt x="132" y="413"/>
                  </a:cubicBezTo>
                  <a:cubicBezTo>
                    <a:pt x="156" y="305"/>
                    <a:pt x="156" y="305"/>
                    <a:pt x="156" y="305"/>
                  </a:cubicBezTo>
                  <a:cubicBezTo>
                    <a:pt x="239" y="303"/>
                    <a:pt x="305" y="235"/>
                    <a:pt x="305" y="153"/>
                  </a:cubicBezTo>
                  <a:close/>
                  <a:moveTo>
                    <a:pt x="152" y="229"/>
                  </a:moveTo>
                  <a:cubicBezTo>
                    <a:pt x="110" y="229"/>
                    <a:pt x="76" y="195"/>
                    <a:pt x="76" y="153"/>
                  </a:cubicBezTo>
                  <a:cubicBezTo>
                    <a:pt x="76" y="111"/>
                    <a:pt x="110" y="77"/>
                    <a:pt x="152" y="77"/>
                  </a:cubicBezTo>
                  <a:cubicBezTo>
                    <a:pt x="194" y="77"/>
                    <a:pt x="228" y="111"/>
                    <a:pt x="228" y="153"/>
                  </a:cubicBezTo>
                  <a:cubicBezTo>
                    <a:pt x="228" y="195"/>
                    <a:pt x="194" y="229"/>
                    <a:pt x="152" y="229"/>
                  </a:cubicBezTo>
                  <a:close/>
                </a:path>
              </a:pathLst>
            </a:custGeom>
            <a:solidFill>
              <a:srgbClr val="424242">
                <a:alpha val="20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68" name="Freeform 46">
              <a:extLst>
                <a:ext uri="{FF2B5EF4-FFF2-40B4-BE49-F238E27FC236}">
                  <a16:creationId xmlns:a16="http://schemas.microsoft.com/office/drawing/2014/main" id="{7DB2F2FE-56F6-4713-8705-CDD85199EB72}"/>
                </a:ext>
              </a:extLst>
            </p:cNvPr>
            <p:cNvSpPr>
              <a:spLocks/>
            </p:cNvSpPr>
            <p:nvPr/>
          </p:nvSpPr>
          <p:spPr bwMode="auto">
            <a:xfrm>
              <a:off x="5634831" y="4144169"/>
              <a:ext cx="1497013" cy="842963"/>
            </a:xfrm>
            <a:custGeom>
              <a:avLst/>
              <a:gdLst>
                <a:gd name="T0" fmla="*/ 823 w 849"/>
                <a:gd name="T1" fmla="*/ 22 h 478"/>
                <a:gd name="T2" fmla="*/ 717 w 849"/>
                <a:gd name="T3" fmla="*/ 77 h 478"/>
                <a:gd name="T4" fmla="*/ 697 w 849"/>
                <a:gd name="T5" fmla="*/ 40 h 478"/>
                <a:gd name="T6" fmla="*/ 611 w 849"/>
                <a:gd name="T7" fmla="*/ 19 h 478"/>
                <a:gd name="T8" fmla="*/ 31 w 849"/>
                <a:gd name="T9" fmla="*/ 398 h 478"/>
                <a:gd name="T10" fmla="*/ 9 w 849"/>
                <a:gd name="T11" fmla="*/ 463 h 478"/>
                <a:gd name="T12" fmla="*/ 14 w 849"/>
                <a:gd name="T13" fmla="*/ 478 h 478"/>
                <a:gd name="T14" fmla="*/ 849 w 849"/>
                <a:gd name="T15" fmla="*/ 79 h 478"/>
                <a:gd name="T16" fmla="*/ 823 w 849"/>
                <a:gd name="T17" fmla="*/ 22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9" h="478">
                  <a:moveTo>
                    <a:pt x="823" y="22"/>
                  </a:moveTo>
                  <a:cubicBezTo>
                    <a:pt x="717" y="77"/>
                    <a:pt x="717" y="77"/>
                    <a:pt x="717" y="77"/>
                  </a:cubicBezTo>
                  <a:cubicBezTo>
                    <a:pt x="697" y="40"/>
                    <a:pt x="697" y="40"/>
                    <a:pt x="697" y="40"/>
                  </a:cubicBezTo>
                  <a:cubicBezTo>
                    <a:pt x="680" y="10"/>
                    <a:pt x="641" y="0"/>
                    <a:pt x="611" y="19"/>
                  </a:cubicBezTo>
                  <a:cubicBezTo>
                    <a:pt x="31" y="398"/>
                    <a:pt x="31" y="398"/>
                    <a:pt x="31" y="398"/>
                  </a:cubicBezTo>
                  <a:cubicBezTo>
                    <a:pt x="10" y="412"/>
                    <a:pt x="0" y="438"/>
                    <a:pt x="9" y="463"/>
                  </a:cubicBezTo>
                  <a:cubicBezTo>
                    <a:pt x="14" y="478"/>
                    <a:pt x="14" y="478"/>
                    <a:pt x="14" y="478"/>
                  </a:cubicBezTo>
                  <a:cubicBezTo>
                    <a:pt x="849" y="79"/>
                    <a:pt x="849" y="79"/>
                    <a:pt x="849" y="79"/>
                  </a:cubicBezTo>
                  <a:lnTo>
                    <a:pt x="823" y="22"/>
                  </a:lnTo>
                  <a:close/>
                </a:path>
              </a:pathLst>
            </a:custGeom>
            <a:solidFill>
              <a:srgbClr val="4242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69" name="Oval 47">
              <a:extLst>
                <a:ext uri="{FF2B5EF4-FFF2-40B4-BE49-F238E27FC236}">
                  <a16:creationId xmlns:a16="http://schemas.microsoft.com/office/drawing/2014/main" id="{19718902-5D53-4FF1-B8E8-04EAB413AEE3}"/>
                </a:ext>
              </a:extLst>
            </p:cNvPr>
            <p:cNvSpPr>
              <a:spLocks noChangeArrowheads="1"/>
            </p:cNvSpPr>
            <p:nvPr/>
          </p:nvSpPr>
          <p:spPr bwMode="auto">
            <a:xfrm>
              <a:off x="6711156" y="4255294"/>
              <a:ext cx="119063" cy="119063"/>
            </a:xfrm>
            <a:prstGeom prst="ellipse">
              <a:avLst/>
            </a:prstGeom>
            <a:solidFill>
              <a:srgbClr val="4242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70" name="Freeform 48">
              <a:extLst>
                <a:ext uri="{FF2B5EF4-FFF2-40B4-BE49-F238E27FC236}">
                  <a16:creationId xmlns:a16="http://schemas.microsoft.com/office/drawing/2014/main" id="{D60DE2E3-411C-4FB0-A100-3CDF0CC1B7AC}"/>
                </a:ext>
              </a:extLst>
            </p:cNvPr>
            <p:cNvSpPr>
              <a:spLocks noEditPoints="1"/>
            </p:cNvSpPr>
            <p:nvPr/>
          </p:nvSpPr>
          <p:spPr bwMode="auto">
            <a:xfrm>
              <a:off x="7079456" y="3734594"/>
              <a:ext cx="762000" cy="603250"/>
            </a:xfrm>
            <a:custGeom>
              <a:avLst/>
              <a:gdLst>
                <a:gd name="T0" fmla="*/ 356 w 432"/>
                <a:gd name="T1" fmla="*/ 291 h 342"/>
                <a:gd name="T2" fmla="*/ 380 w 432"/>
                <a:gd name="T3" fmla="*/ 76 h 342"/>
                <a:gd name="T4" fmla="*/ 166 w 432"/>
                <a:gd name="T5" fmla="*/ 52 h 342"/>
                <a:gd name="T6" fmla="*/ 110 w 432"/>
                <a:gd name="T7" fmla="*/ 192 h 342"/>
                <a:gd name="T8" fmla="*/ 8 w 432"/>
                <a:gd name="T9" fmla="*/ 241 h 342"/>
                <a:gd name="T10" fmla="*/ 8 w 432"/>
                <a:gd name="T11" fmla="*/ 241 h 342"/>
                <a:gd name="T12" fmla="*/ 7 w 432"/>
                <a:gd name="T13" fmla="*/ 242 h 342"/>
                <a:gd name="T14" fmla="*/ 12 w 432"/>
                <a:gd name="T15" fmla="*/ 286 h 342"/>
                <a:gd name="T16" fmla="*/ 44 w 432"/>
                <a:gd name="T17" fmla="*/ 318 h 342"/>
                <a:gd name="T18" fmla="*/ 45 w 432"/>
                <a:gd name="T19" fmla="*/ 317 h 342"/>
                <a:gd name="T20" fmla="*/ 45 w 432"/>
                <a:gd name="T21" fmla="*/ 317 h 342"/>
                <a:gd name="T22" fmla="*/ 144 w 432"/>
                <a:gd name="T23" fmla="*/ 269 h 342"/>
                <a:gd name="T24" fmla="*/ 356 w 432"/>
                <a:gd name="T25" fmla="*/ 291 h 342"/>
                <a:gd name="T26" fmla="*/ 201 w 432"/>
                <a:gd name="T27" fmla="*/ 219 h 342"/>
                <a:gd name="T28" fmla="*/ 213 w 432"/>
                <a:gd name="T29" fmla="*/ 112 h 342"/>
                <a:gd name="T30" fmla="*/ 320 w 432"/>
                <a:gd name="T31" fmla="*/ 124 h 342"/>
                <a:gd name="T32" fmla="*/ 308 w 432"/>
                <a:gd name="T33" fmla="*/ 231 h 342"/>
                <a:gd name="T34" fmla="*/ 201 w 432"/>
                <a:gd name="T35" fmla="*/ 21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32" h="342">
                  <a:moveTo>
                    <a:pt x="356" y="291"/>
                  </a:moveTo>
                  <a:cubicBezTo>
                    <a:pt x="421" y="238"/>
                    <a:pt x="432" y="142"/>
                    <a:pt x="380" y="76"/>
                  </a:cubicBezTo>
                  <a:cubicBezTo>
                    <a:pt x="328" y="11"/>
                    <a:pt x="232" y="0"/>
                    <a:pt x="166" y="52"/>
                  </a:cubicBezTo>
                  <a:cubicBezTo>
                    <a:pt x="122" y="87"/>
                    <a:pt x="103" y="140"/>
                    <a:pt x="110" y="192"/>
                  </a:cubicBezTo>
                  <a:cubicBezTo>
                    <a:pt x="8" y="241"/>
                    <a:pt x="8" y="241"/>
                    <a:pt x="8" y="241"/>
                  </a:cubicBezTo>
                  <a:cubicBezTo>
                    <a:pt x="8" y="241"/>
                    <a:pt x="8" y="241"/>
                    <a:pt x="8" y="241"/>
                  </a:cubicBezTo>
                  <a:cubicBezTo>
                    <a:pt x="8" y="242"/>
                    <a:pt x="7" y="242"/>
                    <a:pt x="7" y="242"/>
                  </a:cubicBezTo>
                  <a:cubicBezTo>
                    <a:pt x="0" y="245"/>
                    <a:pt x="2" y="265"/>
                    <a:pt x="12" y="286"/>
                  </a:cubicBezTo>
                  <a:cubicBezTo>
                    <a:pt x="22" y="307"/>
                    <a:pt x="37" y="321"/>
                    <a:pt x="44" y="318"/>
                  </a:cubicBezTo>
                  <a:cubicBezTo>
                    <a:pt x="45" y="318"/>
                    <a:pt x="45" y="317"/>
                    <a:pt x="45" y="317"/>
                  </a:cubicBezTo>
                  <a:cubicBezTo>
                    <a:pt x="45" y="317"/>
                    <a:pt x="45" y="317"/>
                    <a:pt x="45" y="317"/>
                  </a:cubicBezTo>
                  <a:cubicBezTo>
                    <a:pt x="144" y="269"/>
                    <a:pt x="144" y="269"/>
                    <a:pt x="144" y="269"/>
                  </a:cubicBezTo>
                  <a:cubicBezTo>
                    <a:pt x="197" y="332"/>
                    <a:pt x="291" y="342"/>
                    <a:pt x="356" y="291"/>
                  </a:cubicBezTo>
                  <a:close/>
                  <a:moveTo>
                    <a:pt x="201" y="219"/>
                  </a:moveTo>
                  <a:cubicBezTo>
                    <a:pt x="175" y="186"/>
                    <a:pt x="181" y="138"/>
                    <a:pt x="213" y="112"/>
                  </a:cubicBezTo>
                  <a:cubicBezTo>
                    <a:pt x="246" y="86"/>
                    <a:pt x="294" y="91"/>
                    <a:pt x="320" y="124"/>
                  </a:cubicBezTo>
                  <a:cubicBezTo>
                    <a:pt x="346" y="157"/>
                    <a:pt x="341" y="205"/>
                    <a:pt x="308" y="231"/>
                  </a:cubicBezTo>
                  <a:cubicBezTo>
                    <a:pt x="275" y="257"/>
                    <a:pt x="227" y="251"/>
                    <a:pt x="201" y="219"/>
                  </a:cubicBezTo>
                  <a:close/>
                </a:path>
              </a:pathLst>
            </a:custGeom>
            <a:solidFill>
              <a:srgbClr val="424242">
                <a:alpha val="20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71" name="Freeform 49">
              <a:extLst>
                <a:ext uri="{FF2B5EF4-FFF2-40B4-BE49-F238E27FC236}">
                  <a16:creationId xmlns:a16="http://schemas.microsoft.com/office/drawing/2014/main" id="{A3A42B01-FA46-404F-98CA-8194965B0D31}"/>
                </a:ext>
              </a:extLst>
            </p:cNvPr>
            <p:cNvSpPr>
              <a:spLocks/>
            </p:cNvSpPr>
            <p:nvPr/>
          </p:nvSpPr>
          <p:spPr bwMode="auto">
            <a:xfrm>
              <a:off x="6352381" y="3913981"/>
              <a:ext cx="604838" cy="1592263"/>
            </a:xfrm>
            <a:custGeom>
              <a:avLst/>
              <a:gdLst>
                <a:gd name="T0" fmla="*/ 285 w 343"/>
                <a:gd name="T1" fmla="*/ 14 h 903"/>
                <a:gd name="T2" fmla="*/ 252 w 343"/>
                <a:gd name="T3" fmla="*/ 129 h 903"/>
                <a:gd name="T4" fmla="*/ 292 w 343"/>
                <a:gd name="T5" fmla="*/ 141 h 903"/>
                <a:gd name="T6" fmla="*/ 330 w 343"/>
                <a:gd name="T7" fmla="*/ 221 h 903"/>
                <a:gd name="T8" fmla="*/ 75 w 343"/>
                <a:gd name="T9" fmla="*/ 865 h 903"/>
                <a:gd name="T10" fmla="*/ 16 w 343"/>
                <a:gd name="T11" fmla="*/ 900 h 903"/>
                <a:gd name="T12" fmla="*/ 0 w 343"/>
                <a:gd name="T13" fmla="*/ 898 h 903"/>
                <a:gd name="T14" fmla="*/ 224 w 343"/>
                <a:gd name="T15" fmla="*/ 0 h 903"/>
                <a:gd name="T16" fmla="*/ 285 w 343"/>
                <a:gd name="T17" fmla="*/ 14 h 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3" h="903">
                  <a:moveTo>
                    <a:pt x="285" y="14"/>
                  </a:moveTo>
                  <a:cubicBezTo>
                    <a:pt x="252" y="129"/>
                    <a:pt x="252" y="129"/>
                    <a:pt x="252" y="129"/>
                  </a:cubicBezTo>
                  <a:cubicBezTo>
                    <a:pt x="292" y="141"/>
                    <a:pt x="292" y="141"/>
                    <a:pt x="292" y="141"/>
                  </a:cubicBezTo>
                  <a:cubicBezTo>
                    <a:pt x="326" y="152"/>
                    <a:pt x="343" y="188"/>
                    <a:pt x="330" y="221"/>
                  </a:cubicBezTo>
                  <a:cubicBezTo>
                    <a:pt x="75" y="865"/>
                    <a:pt x="75" y="865"/>
                    <a:pt x="75" y="865"/>
                  </a:cubicBezTo>
                  <a:cubicBezTo>
                    <a:pt x="65" y="889"/>
                    <a:pt x="41" y="903"/>
                    <a:pt x="16" y="900"/>
                  </a:cubicBezTo>
                  <a:cubicBezTo>
                    <a:pt x="0" y="898"/>
                    <a:pt x="0" y="898"/>
                    <a:pt x="0" y="898"/>
                  </a:cubicBezTo>
                  <a:cubicBezTo>
                    <a:pt x="224" y="0"/>
                    <a:pt x="224" y="0"/>
                    <a:pt x="224" y="0"/>
                  </a:cubicBezTo>
                  <a:lnTo>
                    <a:pt x="285" y="14"/>
                  </a:lnTo>
                  <a:close/>
                </a:path>
              </a:pathLst>
            </a:custGeom>
            <a:solidFill>
              <a:srgbClr val="ACA5A5"/>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72" name="Freeform 50">
              <a:extLst>
                <a:ext uri="{FF2B5EF4-FFF2-40B4-BE49-F238E27FC236}">
                  <a16:creationId xmlns:a16="http://schemas.microsoft.com/office/drawing/2014/main" id="{0BF1A98E-1AC7-48CD-9C66-2E3393D49E30}"/>
                </a:ext>
              </a:extLst>
            </p:cNvPr>
            <p:cNvSpPr>
              <a:spLocks noEditPoints="1"/>
            </p:cNvSpPr>
            <p:nvPr/>
          </p:nvSpPr>
          <p:spPr bwMode="auto">
            <a:xfrm>
              <a:off x="6646069" y="3202781"/>
              <a:ext cx="538163" cy="747713"/>
            </a:xfrm>
            <a:custGeom>
              <a:avLst/>
              <a:gdLst>
                <a:gd name="T0" fmla="*/ 305 w 305"/>
                <a:gd name="T1" fmla="*/ 153 h 424"/>
                <a:gd name="T2" fmla="*/ 152 w 305"/>
                <a:gd name="T3" fmla="*/ 0 h 424"/>
                <a:gd name="T4" fmla="*/ 0 w 305"/>
                <a:gd name="T5" fmla="*/ 153 h 424"/>
                <a:gd name="T6" fmla="*/ 74 w 305"/>
                <a:gd name="T7" fmla="*/ 284 h 424"/>
                <a:gd name="T8" fmla="*/ 50 w 305"/>
                <a:gd name="T9" fmla="*/ 395 h 424"/>
                <a:gd name="T10" fmla="*/ 50 w 305"/>
                <a:gd name="T11" fmla="*/ 395 h 424"/>
                <a:gd name="T12" fmla="*/ 50 w 305"/>
                <a:gd name="T13" fmla="*/ 395 h 424"/>
                <a:gd name="T14" fmla="*/ 88 w 305"/>
                <a:gd name="T15" fmla="*/ 419 h 424"/>
                <a:gd name="T16" fmla="*/ 132 w 305"/>
                <a:gd name="T17" fmla="*/ 413 h 424"/>
                <a:gd name="T18" fmla="*/ 132 w 305"/>
                <a:gd name="T19" fmla="*/ 413 h 424"/>
                <a:gd name="T20" fmla="*/ 132 w 305"/>
                <a:gd name="T21" fmla="*/ 413 h 424"/>
                <a:gd name="T22" fmla="*/ 156 w 305"/>
                <a:gd name="T23" fmla="*/ 305 h 424"/>
                <a:gd name="T24" fmla="*/ 305 w 305"/>
                <a:gd name="T25" fmla="*/ 153 h 424"/>
                <a:gd name="T26" fmla="*/ 152 w 305"/>
                <a:gd name="T27" fmla="*/ 229 h 424"/>
                <a:gd name="T28" fmla="*/ 76 w 305"/>
                <a:gd name="T29" fmla="*/ 153 h 424"/>
                <a:gd name="T30" fmla="*/ 152 w 305"/>
                <a:gd name="T31" fmla="*/ 77 h 424"/>
                <a:gd name="T32" fmla="*/ 228 w 305"/>
                <a:gd name="T33" fmla="*/ 153 h 424"/>
                <a:gd name="T34" fmla="*/ 152 w 305"/>
                <a:gd name="T35" fmla="*/ 229 h 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5" h="424">
                  <a:moveTo>
                    <a:pt x="305" y="153"/>
                  </a:moveTo>
                  <a:cubicBezTo>
                    <a:pt x="305" y="68"/>
                    <a:pt x="237" y="0"/>
                    <a:pt x="152" y="0"/>
                  </a:cubicBezTo>
                  <a:cubicBezTo>
                    <a:pt x="68" y="0"/>
                    <a:pt x="0" y="68"/>
                    <a:pt x="0" y="153"/>
                  </a:cubicBezTo>
                  <a:cubicBezTo>
                    <a:pt x="0" y="208"/>
                    <a:pt x="30" y="257"/>
                    <a:pt x="74" y="284"/>
                  </a:cubicBezTo>
                  <a:cubicBezTo>
                    <a:pt x="50" y="395"/>
                    <a:pt x="50" y="395"/>
                    <a:pt x="50" y="395"/>
                  </a:cubicBezTo>
                  <a:cubicBezTo>
                    <a:pt x="50" y="395"/>
                    <a:pt x="50" y="395"/>
                    <a:pt x="50" y="395"/>
                  </a:cubicBezTo>
                  <a:cubicBezTo>
                    <a:pt x="50" y="395"/>
                    <a:pt x="50" y="395"/>
                    <a:pt x="50" y="395"/>
                  </a:cubicBezTo>
                  <a:cubicBezTo>
                    <a:pt x="48" y="403"/>
                    <a:pt x="65" y="414"/>
                    <a:pt x="88" y="419"/>
                  </a:cubicBezTo>
                  <a:cubicBezTo>
                    <a:pt x="111" y="424"/>
                    <a:pt x="131" y="421"/>
                    <a:pt x="132" y="413"/>
                  </a:cubicBezTo>
                  <a:cubicBezTo>
                    <a:pt x="132" y="413"/>
                    <a:pt x="132" y="413"/>
                    <a:pt x="132" y="413"/>
                  </a:cubicBezTo>
                  <a:cubicBezTo>
                    <a:pt x="132" y="413"/>
                    <a:pt x="132" y="413"/>
                    <a:pt x="132" y="413"/>
                  </a:cubicBezTo>
                  <a:cubicBezTo>
                    <a:pt x="156" y="305"/>
                    <a:pt x="156" y="305"/>
                    <a:pt x="156" y="305"/>
                  </a:cubicBezTo>
                  <a:cubicBezTo>
                    <a:pt x="239" y="303"/>
                    <a:pt x="305" y="235"/>
                    <a:pt x="305" y="153"/>
                  </a:cubicBezTo>
                  <a:close/>
                  <a:moveTo>
                    <a:pt x="152" y="229"/>
                  </a:moveTo>
                  <a:cubicBezTo>
                    <a:pt x="110" y="229"/>
                    <a:pt x="76" y="195"/>
                    <a:pt x="76" y="153"/>
                  </a:cubicBezTo>
                  <a:cubicBezTo>
                    <a:pt x="76" y="111"/>
                    <a:pt x="110" y="77"/>
                    <a:pt x="152" y="77"/>
                  </a:cubicBezTo>
                  <a:cubicBezTo>
                    <a:pt x="194" y="77"/>
                    <a:pt x="228" y="111"/>
                    <a:pt x="228" y="153"/>
                  </a:cubicBezTo>
                  <a:cubicBezTo>
                    <a:pt x="228" y="195"/>
                    <a:pt x="194" y="229"/>
                    <a:pt x="152" y="229"/>
                  </a:cubicBezTo>
                  <a:close/>
                </a:path>
              </a:pathLst>
            </a:custGeom>
            <a:solidFill>
              <a:srgbClr val="194A76"/>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73" name="Freeform 51">
              <a:extLst>
                <a:ext uri="{FF2B5EF4-FFF2-40B4-BE49-F238E27FC236}">
                  <a16:creationId xmlns:a16="http://schemas.microsoft.com/office/drawing/2014/main" id="{B2B566EB-8C81-417D-8B61-B470A3B01C34}"/>
                </a:ext>
              </a:extLst>
            </p:cNvPr>
            <p:cNvSpPr>
              <a:spLocks/>
            </p:cNvSpPr>
            <p:nvPr/>
          </p:nvSpPr>
          <p:spPr bwMode="auto">
            <a:xfrm>
              <a:off x="5669756" y="4107656"/>
              <a:ext cx="1497013" cy="842963"/>
            </a:xfrm>
            <a:custGeom>
              <a:avLst/>
              <a:gdLst>
                <a:gd name="T0" fmla="*/ 823 w 849"/>
                <a:gd name="T1" fmla="*/ 22 h 478"/>
                <a:gd name="T2" fmla="*/ 717 w 849"/>
                <a:gd name="T3" fmla="*/ 77 h 478"/>
                <a:gd name="T4" fmla="*/ 697 w 849"/>
                <a:gd name="T5" fmla="*/ 40 h 478"/>
                <a:gd name="T6" fmla="*/ 611 w 849"/>
                <a:gd name="T7" fmla="*/ 19 h 478"/>
                <a:gd name="T8" fmla="*/ 31 w 849"/>
                <a:gd name="T9" fmla="*/ 398 h 478"/>
                <a:gd name="T10" fmla="*/ 9 w 849"/>
                <a:gd name="T11" fmla="*/ 463 h 478"/>
                <a:gd name="T12" fmla="*/ 14 w 849"/>
                <a:gd name="T13" fmla="*/ 478 h 478"/>
                <a:gd name="T14" fmla="*/ 849 w 849"/>
                <a:gd name="T15" fmla="*/ 79 h 478"/>
                <a:gd name="T16" fmla="*/ 823 w 849"/>
                <a:gd name="T17" fmla="*/ 22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9" h="478">
                  <a:moveTo>
                    <a:pt x="823" y="22"/>
                  </a:moveTo>
                  <a:cubicBezTo>
                    <a:pt x="717" y="77"/>
                    <a:pt x="717" y="77"/>
                    <a:pt x="717" y="77"/>
                  </a:cubicBezTo>
                  <a:cubicBezTo>
                    <a:pt x="697" y="40"/>
                    <a:pt x="697" y="40"/>
                    <a:pt x="697" y="40"/>
                  </a:cubicBezTo>
                  <a:cubicBezTo>
                    <a:pt x="680" y="10"/>
                    <a:pt x="641" y="0"/>
                    <a:pt x="611" y="19"/>
                  </a:cubicBezTo>
                  <a:cubicBezTo>
                    <a:pt x="31" y="398"/>
                    <a:pt x="31" y="398"/>
                    <a:pt x="31" y="398"/>
                  </a:cubicBezTo>
                  <a:cubicBezTo>
                    <a:pt x="10" y="412"/>
                    <a:pt x="0" y="438"/>
                    <a:pt x="9" y="463"/>
                  </a:cubicBezTo>
                  <a:cubicBezTo>
                    <a:pt x="14" y="478"/>
                    <a:pt x="14" y="478"/>
                    <a:pt x="14" y="478"/>
                  </a:cubicBezTo>
                  <a:cubicBezTo>
                    <a:pt x="849" y="79"/>
                    <a:pt x="849" y="79"/>
                    <a:pt x="849" y="79"/>
                  </a:cubicBezTo>
                  <a:lnTo>
                    <a:pt x="823" y="22"/>
                  </a:lnTo>
                  <a:close/>
                </a:path>
              </a:pathLst>
            </a:custGeom>
            <a:solidFill>
              <a:srgbClr val="DDD0D5"/>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74" name="Oval 52">
              <a:extLst>
                <a:ext uri="{FF2B5EF4-FFF2-40B4-BE49-F238E27FC236}">
                  <a16:creationId xmlns:a16="http://schemas.microsoft.com/office/drawing/2014/main" id="{CF8A5320-AFC6-4E3B-9A79-F71F5510B86E}"/>
                </a:ext>
              </a:extLst>
            </p:cNvPr>
            <p:cNvSpPr>
              <a:spLocks noChangeArrowheads="1"/>
            </p:cNvSpPr>
            <p:nvPr/>
          </p:nvSpPr>
          <p:spPr bwMode="auto">
            <a:xfrm>
              <a:off x="6746081" y="4218781"/>
              <a:ext cx="119063" cy="120650"/>
            </a:xfrm>
            <a:prstGeom prst="ellipse">
              <a:avLst/>
            </a:prstGeom>
            <a:solidFill>
              <a:srgbClr val="AC9FA9"/>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75" name="Freeform 53">
              <a:extLst>
                <a:ext uri="{FF2B5EF4-FFF2-40B4-BE49-F238E27FC236}">
                  <a16:creationId xmlns:a16="http://schemas.microsoft.com/office/drawing/2014/main" id="{B7FBDDF1-2BD7-4051-ACB3-742A38413A18}"/>
                </a:ext>
              </a:extLst>
            </p:cNvPr>
            <p:cNvSpPr>
              <a:spLocks noEditPoints="1"/>
            </p:cNvSpPr>
            <p:nvPr/>
          </p:nvSpPr>
          <p:spPr bwMode="auto">
            <a:xfrm>
              <a:off x="7115969" y="3699669"/>
              <a:ext cx="760413" cy="603250"/>
            </a:xfrm>
            <a:custGeom>
              <a:avLst/>
              <a:gdLst>
                <a:gd name="T0" fmla="*/ 356 w 432"/>
                <a:gd name="T1" fmla="*/ 291 h 342"/>
                <a:gd name="T2" fmla="*/ 380 w 432"/>
                <a:gd name="T3" fmla="*/ 76 h 342"/>
                <a:gd name="T4" fmla="*/ 166 w 432"/>
                <a:gd name="T5" fmla="*/ 52 h 342"/>
                <a:gd name="T6" fmla="*/ 110 w 432"/>
                <a:gd name="T7" fmla="*/ 192 h 342"/>
                <a:gd name="T8" fmla="*/ 8 w 432"/>
                <a:gd name="T9" fmla="*/ 241 h 342"/>
                <a:gd name="T10" fmla="*/ 8 w 432"/>
                <a:gd name="T11" fmla="*/ 241 h 342"/>
                <a:gd name="T12" fmla="*/ 7 w 432"/>
                <a:gd name="T13" fmla="*/ 242 h 342"/>
                <a:gd name="T14" fmla="*/ 12 w 432"/>
                <a:gd name="T15" fmla="*/ 286 h 342"/>
                <a:gd name="T16" fmla="*/ 44 w 432"/>
                <a:gd name="T17" fmla="*/ 318 h 342"/>
                <a:gd name="T18" fmla="*/ 45 w 432"/>
                <a:gd name="T19" fmla="*/ 317 h 342"/>
                <a:gd name="T20" fmla="*/ 45 w 432"/>
                <a:gd name="T21" fmla="*/ 317 h 342"/>
                <a:gd name="T22" fmla="*/ 144 w 432"/>
                <a:gd name="T23" fmla="*/ 269 h 342"/>
                <a:gd name="T24" fmla="*/ 356 w 432"/>
                <a:gd name="T25" fmla="*/ 291 h 342"/>
                <a:gd name="T26" fmla="*/ 201 w 432"/>
                <a:gd name="T27" fmla="*/ 219 h 342"/>
                <a:gd name="T28" fmla="*/ 213 w 432"/>
                <a:gd name="T29" fmla="*/ 112 h 342"/>
                <a:gd name="T30" fmla="*/ 320 w 432"/>
                <a:gd name="T31" fmla="*/ 124 h 342"/>
                <a:gd name="T32" fmla="*/ 308 w 432"/>
                <a:gd name="T33" fmla="*/ 231 h 342"/>
                <a:gd name="T34" fmla="*/ 201 w 432"/>
                <a:gd name="T35" fmla="*/ 21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32" h="342">
                  <a:moveTo>
                    <a:pt x="356" y="291"/>
                  </a:moveTo>
                  <a:cubicBezTo>
                    <a:pt x="421" y="238"/>
                    <a:pt x="432" y="142"/>
                    <a:pt x="380" y="76"/>
                  </a:cubicBezTo>
                  <a:cubicBezTo>
                    <a:pt x="328" y="11"/>
                    <a:pt x="232" y="0"/>
                    <a:pt x="166" y="52"/>
                  </a:cubicBezTo>
                  <a:cubicBezTo>
                    <a:pt x="122" y="87"/>
                    <a:pt x="103" y="140"/>
                    <a:pt x="110" y="192"/>
                  </a:cubicBezTo>
                  <a:cubicBezTo>
                    <a:pt x="8" y="241"/>
                    <a:pt x="8" y="241"/>
                    <a:pt x="8" y="241"/>
                  </a:cubicBezTo>
                  <a:cubicBezTo>
                    <a:pt x="8" y="241"/>
                    <a:pt x="8" y="241"/>
                    <a:pt x="8" y="241"/>
                  </a:cubicBezTo>
                  <a:cubicBezTo>
                    <a:pt x="8" y="242"/>
                    <a:pt x="7" y="242"/>
                    <a:pt x="7" y="242"/>
                  </a:cubicBezTo>
                  <a:cubicBezTo>
                    <a:pt x="0" y="245"/>
                    <a:pt x="2" y="265"/>
                    <a:pt x="12" y="286"/>
                  </a:cubicBezTo>
                  <a:cubicBezTo>
                    <a:pt x="22" y="307"/>
                    <a:pt x="37" y="321"/>
                    <a:pt x="44" y="318"/>
                  </a:cubicBezTo>
                  <a:cubicBezTo>
                    <a:pt x="45" y="318"/>
                    <a:pt x="45" y="317"/>
                    <a:pt x="45" y="317"/>
                  </a:cubicBezTo>
                  <a:cubicBezTo>
                    <a:pt x="45" y="317"/>
                    <a:pt x="45" y="317"/>
                    <a:pt x="45" y="317"/>
                  </a:cubicBezTo>
                  <a:cubicBezTo>
                    <a:pt x="144" y="269"/>
                    <a:pt x="144" y="269"/>
                    <a:pt x="144" y="269"/>
                  </a:cubicBezTo>
                  <a:cubicBezTo>
                    <a:pt x="197" y="332"/>
                    <a:pt x="291" y="342"/>
                    <a:pt x="356" y="291"/>
                  </a:cubicBezTo>
                  <a:close/>
                  <a:moveTo>
                    <a:pt x="201" y="219"/>
                  </a:moveTo>
                  <a:cubicBezTo>
                    <a:pt x="175" y="186"/>
                    <a:pt x="181" y="138"/>
                    <a:pt x="213" y="112"/>
                  </a:cubicBezTo>
                  <a:cubicBezTo>
                    <a:pt x="246" y="86"/>
                    <a:pt x="294" y="91"/>
                    <a:pt x="320" y="124"/>
                  </a:cubicBezTo>
                  <a:cubicBezTo>
                    <a:pt x="346" y="157"/>
                    <a:pt x="341" y="205"/>
                    <a:pt x="308" y="231"/>
                  </a:cubicBezTo>
                  <a:cubicBezTo>
                    <a:pt x="275" y="257"/>
                    <a:pt x="227" y="251"/>
                    <a:pt x="201" y="219"/>
                  </a:cubicBezTo>
                  <a:close/>
                </a:path>
              </a:pathLst>
            </a:custGeom>
            <a:solidFill>
              <a:srgbClr val="3461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grpSp>
      <p:pic>
        <p:nvPicPr>
          <p:cNvPr id="6146" name="Picture 2">
            <a:extLst>
              <a:ext uri="{FF2B5EF4-FFF2-40B4-BE49-F238E27FC236}">
                <a16:creationId xmlns:a16="http://schemas.microsoft.com/office/drawing/2014/main" id="{9AE2C6C6-8F69-45C7-B3C7-C4233FEB13F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69924" y="3823671"/>
            <a:ext cx="7588572" cy="2153852"/>
          </a:xfrm>
          <a:prstGeom prst="rect">
            <a:avLst/>
          </a:prstGeom>
          <a:noFill/>
          <a:extLst>
            <a:ext uri="{909E8E84-426E-40DD-AFC4-6F175D3DCCD1}">
              <a14:hiddenFill xmlns:a14="http://schemas.microsoft.com/office/drawing/2010/main">
                <a:solidFill>
                  <a:srgbClr val="FFFFFF"/>
                </a:solidFill>
              </a14:hiddenFill>
            </a:ext>
          </a:extLst>
        </p:spPr>
      </p:pic>
      <p:grpSp>
        <p:nvGrpSpPr>
          <p:cNvPr id="177" name="组合 176">
            <a:extLst>
              <a:ext uri="{FF2B5EF4-FFF2-40B4-BE49-F238E27FC236}">
                <a16:creationId xmlns:a16="http://schemas.microsoft.com/office/drawing/2014/main" id="{981576BA-3EF2-4923-A2B6-7F5C9C00D5AB}"/>
              </a:ext>
            </a:extLst>
          </p:cNvPr>
          <p:cNvGrpSpPr/>
          <p:nvPr/>
        </p:nvGrpSpPr>
        <p:grpSpPr>
          <a:xfrm>
            <a:off x="8635062" y="1600251"/>
            <a:ext cx="2661884" cy="3969810"/>
            <a:chOff x="4874988" y="1859559"/>
            <a:chExt cx="2661884" cy="3969810"/>
          </a:xfrm>
        </p:grpSpPr>
        <p:grpSp>
          <p:nvGrpSpPr>
            <p:cNvPr id="178" name="íŝḻïḑè">
              <a:extLst>
                <a:ext uri="{FF2B5EF4-FFF2-40B4-BE49-F238E27FC236}">
                  <a16:creationId xmlns:a16="http://schemas.microsoft.com/office/drawing/2014/main" id="{CA924EC1-E776-4FF5-8478-E34C970BCDBF}"/>
                </a:ext>
              </a:extLst>
            </p:cNvPr>
            <p:cNvGrpSpPr/>
            <p:nvPr/>
          </p:nvGrpSpPr>
          <p:grpSpPr>
            <a:xfrm>
              <a:off x="6480535" y="5493164"/>
              <a:ext cx="520250" cy="336205"/>
              <a:chOff x="6185308" y="3970463"/>
              <a:chExt cx="170914" cy="110451"/>
            </a:xfrm>
          </p:grpSpPr>
          <p:sp>
            <p:nvSpPr>
              <p:cNvPr id="559" name="ïSľidè">
                <a:extLst>
                  <a:ext uri="{FF2B5EF4-FFF2-40B4-BE49-F238E27FC236}">
                    <a16:creationId xmlns:a16="http://schemas.microsoft.com/office/drawing/2014/main" id="{A02E79D5-BB64-4E9D-8891-A9C714C198FE}"/>
                  </a:ext>
                </a:extLst>
              </p:cNvPr>
              <p:cNvSpPr/>
              <p:nvPr/>
            </p:nvSpPr>
            <p:spPr>
              <a:xfrm>
                <a:off x="6241161" y="3970463"/>
                <a:ext cx="78771" cy="21749"/>
              </a:xfrm>
              <a:custGeom>
                <a:avLst/>
                <a:gdLst>
                  <a:gd name="connsiteX0" fmla="*/ -336 w 78771"/>
                  <a:gd name="connsiteY0" fmla="*/ 13014 h 21749"/>
                  <a:gd name="connsiteX1" fmla="*/ 807 w 78771"/>
                  <a:gd name="connsiteY1" fmla="*/ 13014 h 21749"/>
                  <a:gd name="connsiteX2" fmla="*/ 5188 w 78771"/>
                  <a:gd name="connsiteY2" fmla="*/ 13014 h 21749"/>
                  <a:gd name="connsiteX3" fmla="*/ 5188 w 78771"/>
                  <a:gd name="connsiteY3" fmla="*/ 13014 h 21749"/>
                  <a:gd name="connsiteX4" fmla="*/ 8808 w 78771"/>
                  <a:gd name="connsiteY4" fmla="*/ 13966 h 21749"/>
                  <a:gd name="connsiteX5" fmla="*/ 13189 w 78771"/>
                  <a:gd name="connsiteY5" fmla="*/ 15586 h 21749"/>
                  <a:gd name="connsiteX6" fmla="*/ 16427 w 78771"/>
                  <a:gd name="connsiteY6" fmla="*/ 17014 h 21749"/>
                  <a:gd name="connsiteX7" fmla="*/ 18142 w 78771"/>
                  <a:gd name="connsiteY7" fmla="*/ 17776 h 21749"/>
                  <a:gd name="connsiteX8" fmla="*/ 21666 w 78771"/>
                  <a:gd name="connsiteY8" fmla="*/ 19586 h 21749"/>
                  <a:gd name="connsiteX9" fmla="*/ 25286 w 78771"/>
                  <a:gd name="connsiteY9" fmla="*/ 21586 h 21749"/>
                  <a:gd name="connsiteX10" fmla="*/ 78435 w 78771"/>
                  <a:gd name="connsiteY10" fmla="*/ 12061 h 21749"/>
                  <a:gd name="connsiteX11" fmla="*/ 57957 w 78771"/>
                  <a:gd name="connsiteY11" fmla="*/ 2536 h 21749"/>
                  <a:gd name="connsiteX12" fmla="*/ 40050 w 78771"/>
                  <a:gd name="connsiteY12" fmla="*/ -131 h 21749"/>
                  <a:gd name="connsiteX13" fmla="*/ 21000 w 78771"/>
                  <a:gd name="connsiteY13" fmla="*/ 3584 h 21749"/>
                  <a:gd name="connsiteX14" fmla="*/ -336 w 78771"/>
                  <a:gd name="connsiteY14" fmla="*/ 13014 h 217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8771" h="21749">
                    <a:moveTo>
                      <a:pt x="-336" y="13014"/>
                    </a:moveTo>
                    <a:cubicBezTo>
                      <a:pt x="35" y="12899"/>
                      <a:pt x="435" y="12899"/>
                      <a:pt x="807" y="13014"/>
                    </a:cubicBezTo>
                    <a:cubicBezTo>
                      <a:pt x="2255" y="12728"/>
                      <a:pt x="3740" y="12728"/>
                      <a:pt x="5188" y="13014"/>
                    </a:cubicBezTo>
                    <a:lnTo>
                      <a:pt x="5188" y="13014"/>
                    </a:lnTo>
                    <a:cubicBezTo>
                      <a:pt x="6407" y="13261"/>
                      <a:pt x="7617" y="13585"/>
                      <a:pt x="8808" y="13966"/>
                    </a:cubicBezTo>
                    <a:cubicBezTo>
                      <a:pt x="10303" y="14414"/>
                      <a:pt x="11770" y="14947"/>
                      <a:pt x="13189" y="15586"/>
                    </a:cubicBezTo>
                    <a:lnTo>
                      <a:pt x="16427" y="17014"/>
                    </a:lnTo>
                    <a:lnTo>
                      <a:pt x="18142" y="17776"/>
                    </a:lnTo>
                    <a:lnTo>
                      <a:pt x="21666" y="19586"/>
                    </a:lnTo>
                    <a:lnTo>
                      <a:pt x="25286" y="21586"/>
                    </a:lnTo>
                    <a:cubicBezTo>
                      <a:pt x="47860" y="8537"/>
                      <a:pt x="67672" y="5489"/>
                      <a:pt x="78435" y="12061"/>
                    </a:cubicBezTo>
                    <a:cubicBezTo>
                      <a:pt x="71949" y="8204"/>
                      <a:pt x="65091" y="5003"/>
                      <a:pt x="57957" y="2536"/>
                    </a:cubicBezTo>
                    <a:cubicBezTo>
                      <a:pt x="52203" y="555"/>
                      <a:pt x="46136" y="-350"/>
                      <a:pt x="40050" y="-131"/>
                    </a:cubicBezTo>
                    <a:cubicBezTo>
                      <a:pt x="33553" y="193"/>
                      <a:pt x="27143" y="1450"/>
                      <a:pt x="21000" y="3584"/>
                    </a:cubicBezTo>
                    <a:cubicBezTo>
                      <a:pt x="13580" y="5975"/>
                      <a:pt x="6426" y="9137"/>
                      <a:pt x="-336" y="13014"/>
                    </a:cubicBezTo>
                    <a:close/>
                  </a:path>
                </a:pathLst>
              </a:custGeom>
              <a:solidFill>
                <a:srgbClr val="FF7D33"/>
              </a:solidFill>
              <a:ln w="9525" cap="flat">
                <a:noFill/>
                <a:prstDash val="solid"/>
                <a:miter/>
              </a:ln>
            </p:spPr>
            <p:txBody>
              <a:bodyPr rtlCol="0" anchor="ctr"/>
              <a:lstStyle/>
              <a:p>
                <a:endParaRPr lang="zh-CN" altLang="en-US"/>
              </a:p>
            </p:txBody>
          </p:sp>
          <p:sp>
            <p:nvSpPr>
              <p:cNvPr id="560" name="ïślíde">
                <a:extLst>
                  <a:ext uri="{FF2B5EF4-FFF2-40B4-BE49-F238E27FC236}">
                    <a16:creationId xmlns:a16="http://schemas.microsoft.com/office/drawing/2014/main" id="{DB9CAF45-0841-473A-A451-0EFEE79D851E}"/>
                  </a:ext>
                </a:extLst>
              </p:cNvPr>
              <p:cNvSpPr/>
              <p:nvPr/>
            </p:nvSpPr>
            <p:spPr>
              <a:xfrm>
                <a:off x="6267164" y="3979144"/>
                <a:ext cx="60007" cy="16878"/>
              </a:xfrm>
              <a:custGeom>
                <a:avLst/>
                <a:gdLst>
                  <a:gd name="connsiteX0" fmla="*/ -336 w 60007"/>
                  <a:gd name="connsiteY0" fmla="*/ 12715 h 16878"/>
                  <a:gd name="connsiteX1" fmla="*/ 6427 w 60007"/>
                  <a:gd name="connsiteY1" fmla="*/ 16715 h 16878"/>
                  <a:gd name="connsiteX2" fmla="*/ 59671 w 60007"/>
                  <a:gd name="connsiteY2" fmla="*/ 7190 h 16878"/>
                  <a:gd name="connsiteX3" fmla="*/ 52813 w 60007"/>
                  <a:gd name="connsiteY3" fmla="*/ 3190 h 16878"/>
                  <a:gd name="connsiteX4" fmla="*/ -336 w 60007"/>
                  <a:gd name="connsiteY4" fmla="*/ 12715 h 168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16878">
                    <a:moveTo>
                      <a:pt x="-336" y="12715"/>
                    </a:moveTo>
                    <a:lnTo>
                      <a:pt x="6427" y="16715"/>
                    </a:lnTo>
                    <a:cubicBezTo>
                      <a:pt x="29096" y="3666"/>
                      <a:pt x="48908" y="618"/>
                      <a:pt x="59671" y="7190"/>
                    </a:cubicBezTo>
                    <a:lnTo>
                      <a:pt x="52813" y="3190"/>
                    </a:lnTo>
                    <a:cubicBezTo>
                      <a:pt x="42050" y="-3382"/>
                      <a:pt x="22238" y="-334"/>
                      <a:pt x="-336" y="12715"/>
                    </a:cubicBezTo>
                    <a:close/>
                  </a:path>
                </a:pathLst>
              </a:custGeom>
              <a:solidFill>
                <a:srgbClr val="D1D9E8"/>
              </a:solidFill>
              <a:ln w="9525" cap="flat">
                <a:noFill/>
                <a:prstDash val="solid"/>
                <a:miter/>
              </a:ln>
            </p:spPr>
            <p:txBody>
              <a:bodyPr rtlCol="0" anchor="ctr"/>
              <a:lstStyle/>
              <a:p>
                <a:endParaRPr lang="zh-CN" altLang="en-US"/>
              </a:p>
            </p:txBody>
          </p:sp>
          <p:sp>
            <p:nvSpPr>
              <p:cNvPr id="561" name="îṧ1îdê">
                <a:extLst>
                  <a:ext uri="{FF2B5EF4-FFF2-40B4-BE49-F238E27FC236}">
                    <a16:creationId xmlns:a16="http://schemas.microsoft.com/office/drawing/2014/main" id="{83385C43-0360-4222-85D1-2972BEFC39A1}"/>
                  </a:ext>
                </a:extLst>
              </p:cNvPr>
              <p:cNvSpPr/>
              <p:nvPr/>
            </p:nvSpPr>
            <p:spPr>
              <a:xfrm>
                <a:off x="6273831" y="3983188"/>
                <a:ext cx="82105" cy="38075"/>
              </a:xfrm>
              <a:custGeom>
                <a:avLst/>
                <a:gdLst>
                  <a:gd name="connsiteX0" fmla="*/ -336 w 82105"/>
                  <a:gd name="connsiteY0" fmla="*/ 12671 h 38075"/>
                  <a:gd name="connsiteX1" fmla="*/ 27000 w 82105"/>
                  <a:gd name="connsiteY1" fmla="*/ 37913 h 38075"/>
                  <a:gd name="connsiteX2" fmla="*/ 80531 w 82105"/>
                  <a:gd name="connsiteY2" fmla="*/ 30578 h 38075"/>
                  <a:gd name="connsiteX3" fmla="*/ 81769 w 82105"/>
                  <a:gd name="connsiteY3" fmla="*/ 31340 h 38075"/>
                  <a:gd name="connsiteX4" fmla="*/ 80055 w 82105"/>
                  <a:gd name="connsiteY4" fmla="*/ 25816 h 38075"/>
                  <a:gd name="connsiteX5" fmla="*/ 73482 w 82105"/>
                  <a:gd name="connsiteY5" fmla="*/ 18005 h 38075"/>
                  <a:gd name="connsiteX6" fmla="*/ 52908 w 82105"/>
                  <a:gd name="connsiteY6" fmla="*/ 2861 h 38075"/>
                  <a:gd name="connsiteX7" fmla="*/ -336 w 82105"/>
                  <a:gd name="connsiteY7" fmla="*/ 12671 h 38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2105" h="38075">
                    <a:moveTo>
                      <a:pt x="-336" y="12671"/>
                    </a:moveTo>
                    <a:cubicBezTo>
                      <a:pt x="14713" y="21339"/>
                      <a:pt x="27000" y="32674"/>
                      <a:pt x="27000" y="37913"/>
                    </a:cubicBezTo>
                    <a:cubicBezTo>
                      <a:pt x="57957" y="20101"/>
                      <a:pt x="80817" y="23530"/>
                      <a:pt x="80531" y="30578"/>
                    </a:cubicBezTo>
                    <a:lnTo>
                      <a:pt x="81769" y="31340"/>
                    </a:lnTo>
                    <a:cubicBezTo>
                      <a:pt x="81703" y="29378"/>
                      <a:pt x="81112" y="27473"/>
                      <a:pt x="80055" y="25816"/>
                    </a:cubicBezTo>
                    <a:cubicBezTo>
                      <a:pt x="78169" y="22968"/>
                      <a:pt x="75968" y="20349"/>
                      <a:pt x="73482" y="18005"/>
                    </a:cubicBezTo>
                    <a:cubicBezTo>
                      <a:pt x="67253" y="12148"/>
                      <a:pt x="60347" y="7061"/>
                      <a:pt x="52908" y="2861"/>
                    </a:cubicBezTo>
                    <a:cubicBezTo>
                      <a:pt x="42240" y="-3140"/>
                      <a:pt x="22429" y="-378"/>
                      <a:pt x="-336" y="12671"/>
                    </a:cubicBezTo>
                    <a:close/>
                  </a:path>
                </a:pathLst>
              </a:custGeom>
              <a:solidFill>
                <a:srgbClr val="FF7D33"/>
              </a:solidFill>
              <a:ln w="9525" cap="flat">
                <a:noFill/>
                <a:prstDash val="solid"/>
                <a:miter/>
              </a:ln>
            </p:spPr>
            <p:txBody>
              <a:bodyPr rtlCol="0" anchor="ctr"/>
              <a:lstStyle/>
              <a:p>
                <a:endParaRPr lang="zh-CN" altLang="en-US"/>
              </a:p>
            </p:txBody>
          </p:sp>
          <p:sp>
            <p:nvSpPr>
              <p:cNvPr id="562" name="íšļîḍê">
                <a:extLst>
                  <a:ext uri="{FF2B5EF4-FFF2-40B4-BE49-F238E27FC236}">
                    <a16:creationId xmlns:a16="http://schemas.microsoft.com/office/drawing/2014/main" id="{051FD2CC-9AC6-4478-B0AC-26465B8D3751}"/>
                  </a:ext>
                </a:extLst>
              </p:cNvPr>
              <p:cNvSpPr/>
              <p:nvPr/>
            </p:nvSpPr>
            <p:spPr>
              <a:xfrm>
                <a:off x="6245256" y="4013929"/>
                <a:ext cx="110966" cy="64769"/>
              </a:xfrm>
              <a:custGeom>
                <a:avLst/>
                <a:gdLst>
                  <a:gd name="connsiteX0" fmla="*/ -336 w 110966"/>
                  <a:gd name="connsiteY0" fmla="*/ 64607 h 64769"/>
                  <a:gd name="connsiteX1" fmla="*/ 110630 w 110966"/>
                  <a:gd name="connsiteY1" fmla="*/ 599 h 64769"/>
                  <a:gd name="connsiteX2" fmla="*/ 109392 w 110966"/>
                  <a:gd name="connsiteY2" fmla="*/ -163 h 64769"/>
                  <a:gd name="connsiteX3" fmla="*/ 2235 w 110966"/>
                  <a:gd name="connsiteY3" fmla="*/ 61369 h 64769"/>
                  <a:gd name="connsiteX4" fmla="*/ 1283 w 110966"/>
                  <a:gd name="connsiteY4" fmla="*/ 62607 h 64769"/>
                  <a:gd name="connsiteX5" fmla="*/ 426 w 110966"/>
                  <a:gd name="connsiteY5" fmla="*/ 63560 h 64769"/>
                  <a:gd name="connsiteX6" fmla="*/ -51 w 110966"/>
                  <a:gd name="connsiteY6" fmla="*/ 63560 h 64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0966" h="64769">
                    <a:moveTo>
                      <a:pt x="-336" y="64607"/>
                    </a:moveTo>
                    <a:lnTo>
                      <a:pt x="110630" y="599"/>
                    </a:lnTo>
                    <a:lnTo>
                      <a:pt x="109392" y="-163"/>
                    </a:lnTo>
                    <a:lnTo>
                      <a:pt x="2235" y="61369"/>
                    </a:lnTo>
                    <a:cubicBezTo>
                      <a:pt x="1969" y="61816"/>
                      <a:pt x="1655" y="62236"/>
                      <a:pt x="1283" y="62607"/>
                    </a:cubicBezTo>
                    <a:lnTo>
                      <a:pt x="426" y="63560"/>
                    </a:lnTo>
                    <a:lnTo>
                      <a:pt x="-51" y="63560"/>
                    </a:lnTo>
                    <a:close/>
                  </a:path>
                </a:pathLst>
              </a:custGeom>
              <a:solidFill>
                <a:srgbClr val="BF4200"/>
              </a:solidFill>
              <a:ln w="9525" cap="flat">
                <a:noFill/>
                <a:prstDash val="solid"/>
                <a:miter/>
              </a:ln>
            </p:spPr>
            <p:txBody>
              <a:bodyPr rtlCol="0" anchor="ctr"/>
              <a:lstStyle/>
              <a:p>
                <a:endParaRPr lang="zh-CN" altLang="en-US"/>
              </a:p>
            </p:txBody>
          </p:sp>
          <p:sp>
            <p:nvSpPr>
              <p:cNvPr id="563" name="íşľîḍè">
                <a:extLst>
                  <a:ext uri="{FF2B5EF4-FFF2-40B4-BE49-F238E27FC236}">
                    <a16:creationId xmlns:a16="http://schemas.microsoft.com/office/drawing/2014/main" id="{11FCDAE2-98D2-4171-9751-635374F54025}"/>
                  </a:ext>
                </a:extLst>
              </p:cNvPr>
              <p:cNvSpPr/>
              <p:nvPr/>
            </p:nvSpPr>
            <p:spPr>
              <a:xfrm>
                <a:off x="6247823" y="4007929"/>
                <a:ext cx="106970" cy="67531"/>
              </a:xfrm>
              <a:custGeom>
                <a:avLst/>
                <a:gdLst>
                  <a:gd name="connsiteX0" fmla="*/ -332 w 106970"/>
                  <a:gd name="connsiteY0" fmla="*/ 67369 h 67531"/>
                  <a:gd name="connsiteX1" fmla="*/ 106634 w 106970"/>
                  <a:gd name="connsiteY1" fmla="*/ 5552 h 67531"/>
                  <a:gd name="connsiteX2" fmla="*/ 53104 w 106970"/>
                  <a:gd name="connsiteY2" fmla="*/ 12886 h 67531"/>
                  <a:gd name="connsiteX3" fmla="*/ -332 w 106970"/>
                  <a:gd name="connsiteY3" fmla="*/ 67369 h 67531"/>
                </a:gdLst>
                <a:ahLst/>
                <a:cxnLst>
                  <a:cxn ang="0">
                    <a:pos x="connsiteX0" y="connsiteY0"/>
                  </a:cxn>
                  <a:cxn ang="0">
                    <a:pos x="connsiteX1" y="connsiteY1"/>
                  </a:cxn>
                  <a:cxn ang="0">
                    <a:pos x="connsiteX2" y="connsiteY2"/>
                  </a:cxn>
                  <a:cxn ang="0">
                    <a:pos x="connsiteX3" y="connsiteY3"/>
                  </a:cxn>
                </a:cxnLst>
                <a:rect l="l" t="t" r="r" b="b"/>
                <a:pathLst>
                  <a:path w="106970" h="67531">
                    <a:moveTo>
                      <a:pt x="-332" y="67369"/>
                    </a:moveTo>
                    <a:lnTo>
                      <a:pt x="106634" y="5552"/>
                    </a:lnTo>
                    <a:cubicBezTo>
                      <a:pt x="106634" y="-1497"/>
                      <a:pt x="84060" y="-4926"/>
                      <a:pt x="53104" y="12886"/>
                    </a:cubicBezTo>
                    <a:cubicBezTo>
                      <a:pt x="22148" y="30697"/>
                      <a:pt x="-712" y="60987"/>
                      <a:pt x="-332" y="67369"/>
                    </a:cubicBezTo>
                    <a:close/>
                  </a:path>
                </a:pathLst>
              </a:custGeom>
              <a:solidFill>
                <a:srgbClr val="BF4200"/>
              </a:solidFill>
              <a:ln w="9525" cap="flat">
                <a:noFill/>
                <a:prstDash val="solid"/>
                <a:miter/>
              </a:ln>
            </p:spPr>
            <p:txBody>
              <a:bodyPr rtlCol="0" anchor="ctr"/>
              <a:lstStyle/>
              <a:p>
                <a:endParaRPr lang="zh-CN" altLang="en-US"/>
              </a:p>
            </p:txBody>
          </p:sp>
          <p:sp>
            <p:nvSpPr>
              <p:cNvPr id="564" name="íṩľidé">
                <a:extLst>
                  <a:ext uri="{FF2B5EF4-FFF2-40B4-BE49-F238E27FC236}">
                    <a16:creationId xmlns:a16="http://schemas.microsoft.com/office/drawing/2014/main" id="{610DA44A-D3FC-4052-BC34-CDCF4A312C3F}"/>
                  </a:ext>
                </a:extLst>
              </p:cNvPr>
              <p:cNvSpPr/>
              <p:nvPr/>
            </p:nvSpPr>
            <p:spPr>
              <a:xfrm>
                <a:off x="6185308" y="3984473"/>
                <a:ext cx="115192" cy="96441"/>
              </a:xfrm>
              <a:custGeom>
                <a:avLst/>
                <a:gdLst>
                  <a:gd name="connsiteX0" fmla="*/ -301 w 115192"/>
                  <a:gd name="connsiteY0" fmla="*/ 60535 h 96441"/>
                  <a:gd name="connsiteX1" fmla="*/ 19987 w 115192"/>
                  <a:gd name="connsiteY1" fmla="*/ 85491 h 96441"/>
                  <a:gd name="connsiteX2" fmla="*/ 26750 w 115192"/>
                  <a:gd name="connsiteY2" fmla="*/ 89491 h 96441"/>
                  <a:gd name="connsiteX3" fmla="*/ 58659 w 115192"/>
                  <a:gd name="connsiteY3" fmla="*/ 94540 h 96441"/>
                  <a:gd name="connsiteX4" fmla="*/ 58659 w 115192"/>
                  <a:gd name="connsiteY4" fmla="*/ 94540 h 96441"/>
                  <a:gd name="connsiteX5" fmla="*/ 59135 w 115192"/>
                  <a:gd name="connsiteY5" fmla="*/ 94540 h 96441"/>
                  <a:gd name="connsiteX6" fmla="*/ 59135 w 115192"/>
                  <a:gd name="connsiteY6" fmla="*/ 94540 h 96441"/>
                  <a:gd name="connsiteX7" fmla="*/ 59612 w 115192"/>
                  <a:gd name="connsiteY7" fmla="*/ 94540 h 96441"/>
                  <a:gd name="connsiteX8" fmla="*/ 60469 w 115192"/>
                  <a:gd name="connsiteY8" fmla="*/ 93587 h 96441"/>
                  <a:gd name="connsiteX9" fmla="*/ 61421 w 115192"/>
                  <a:gd name="connsiteY9" fmla="*/ 92349 h 96441"/>
                  <a:gd name="connsiteX10" fmla="*/ 114856 w 115192"/>
                  <a:gd name="connsiteY10" fmla="*/ 37866 h 96441"/>
                  <a:gd name="connsiteX11" fmla="*/ 87520 w 115192"/>
                  <a:gd name="connsiteY11" fmla="*/ 12625 h 96441"/>
                  <a:gd name="connsiteX12" fmla="*/ 80757 w 115192"/>
                  <a:gd name="connsiteY12" fmla="*/ 8624 h 96441"/>
                  <a:gd name="connsiteX13" fmla="*/ 77137 w 115192"/>
                  <a:gd name="connsiteY13" fmla="*/ 6624 h 96441"/>
                  <a:gd name="connsiteX14" fmla="*/ 73613 w 115192"/>
                  <a:gd name="connsiteY14" fmla="*/ 4814 h 96441"/>
                  <a:gd name="connsiteX15" fmla="*/ 71899 w 115192"/>
                  <a:gd name="connsiteY15" fmla="*/ 4052 h 96441"/>
                  <a:gd name="connsiteX16" fmla="*/ 68660 w 115192"/>
                  <a:gd name="connsiteY16" fmla="*/ 2623 h 96441"/>
                  <a:gd name="connsiteX17" fmla="*/ 64279 w 115192"/>
                  <a:gd name="connsiteY17" fmla="*/ 1004 h 96441"/>
                  <a:gd name="connsiteX18" fmla="*/ 60659 w 115192"/>
                  <a:gd name="connsiteY18" fmla="*/ 52 h 96441"/>
                  <a:gd name="connsiteX19" fmla="*/ 60659 w 115192"/>
                  <a:gd name="connsiteY19" fmla="*/ 52 h 96441"/>
                  <a:gd name="connsiteX20" fmla="*/ 56278 w 115192"/>
                  <a:gd name="connsiteY20" fmla="*/ 52 h 96441"/>
                  <a:gd name="connsiteX21" fmla="*/ 55135 w 115192"/>
                  <a:gd name="connsiteY21" fmla="*/ 52 h 96441"/>
                  <a:gd name="connsiteX22" fmla="*/ 45610 w 115192"/>
                  <a:gd name="connsiteY22" fmla="*/ 5957 h 96441"/>
                  <a:gd name="connsiteX23" fmla="*/ 36752 w 115192"/>
                  <a:gd name="connsiteY23" fmla="*/ 12529 h 96441"/>
                  <a:gd name="connsiteX24" fmla="*/ 28655 w 115192"/>
                  <a:gd name="connsiteY24" fmla="*/ 19387 h 96441"/>
                  <a:gd name="connsiteX25" fmla="*/ 17987 w 115192"/>
                  <a:gd name="connsiteY25" fmla="*/ 29770 h 96441"/>
                  <a:gd name="connsiteX26" fmla="*/ 9605 w 115192"/>
                  <a:gd name="connsiteY26" fmla="*/ 39295 h 96441"/>
                  <a:gd name="connsiteX27" fmla="*/ 3509 w 115192"/>
                  <a:gd name="connsiteY27" fmla="*/ 48058 h 96441"/>
                  <a:gd name="connsiteX28" fmla="*/ 176 w 115192"/>
                  <a:gd name="connsiteY28" fmla="*/ 55106 h 96441"/>
                  <a:gd name="connsiteX29" fmla="*/ -301 w 115192"/>
                  <a:gd name="connsiteY29" fmla="*/ 60535 h 96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15192" h="96441">
                    <a:moveTo>
                      <a:pt x="-301" y="60535"/>
                    </a:moveTo>
                    <a:cubicBezTo>
                      <a:pt x="2223" y="71556"/>
                      <a:pt x="9720" y="80776"/>
                      <a:pt x="19987" y="85491"/>
                    </a:cubicBezTo>
                    <a:lnTo>
                      <a:pt x="26750" y="89491"/>
                    </a:lnTo>
                    <a:cubicBezTo>
                      <a:pt x="35971" y="96178"/>
                      <a:pt x="47829" y="98054"/>
                      <a:pt x="58659" y="94540"/>
                    </a:cubicBezTo>
                    <a:lnTo>
                      <a:pt x="58659" y="94540"/>
                    </a:lnTo>
                    <a:lnTo>
                      <a:pt x="59135" y="94540"/>
                    </a:lnTo>
                    <a:lnTo>
                      <a:pt x="59135" y="94540"/>
                    </a:lnTo>
                    <a:lnTo>
                      <a:pt x="59612" y="94540"/>
                    </a:lnTo>
                    <a:lnTo>
                      <a:pt x="60469" y="93587"/>
                    </a:lnTo>
                    <a:cubicBezTo>
                      <a:pt x="60840" y="93216"/>
                      <a:pt x="61154" y="92797"/>
                      <a:pt x="61421" y="92349"/>
                    </a:cubicBezTo>
                    <a:cubicBezTo>
                      <a:pt x="61421" y="85681"/>
                      <a:pt x="83805" y="55868"/>
                      <a:pt x="114856" y="37866"/>
                    </a:cubicBezTo>
                    <a:cubicBezTo>
                      <a:pt x="114856" y="32627"/>
                      <a:pt x="102569" y="21293"/>
                      <a:pt x="87520" y="12625"/>
                    </a:cubicBezTo>
                    <a:lnTo>
                      <a:pt x="80757" y="8624"/>
                    </a:lnTo>
                    <a:lnTo>
                      <a:pt x="77137" y="6624"/>
                    </a:lnTo>
                    <a:lnTo>
                      <a:pt x="73613" y="4814"/>
                    </a:lnTo>
                    <a:lnTo>
                      <a:pt x="71899" y="4052"/>
                    </a:lnTo>
                    <a:lnTo>
                      <a:pt x="68660" y="2623"/>
                    </a:lnTo>
                    <a:cubicBezTo>
                      <a:pt x="67241" y="1985"/>
                      <a:pt x="65774" y="1452"/>
                      <a:pt x="64279" y="1004"/>
                    </a:cubicBezTo>
                    <a:cubicBezTo>
                      <a:pt x="63088" y="623"/>
                      <a:pt x="61879" y="299"/>
                      <a:pt x="60659" y="52"/>
                    </a:cubicBezTo>
                    <a:lnTo>
                      <a:pt x="60659" y="52"/>
                    </a:lnTo>
                    <a:cubicBezTo>
                      <a:pt x="59212" y="-234"/>
                      <a:pt x="57726" y="-234"/>
                      <a:pt x="56278" y="52"/>
                    </a:cubicBezTo>
                    <a:cubicBezTo>
                      <a:pt x="55897" y="-15"/>
                      <a:pt x="55516" y="-15"/>
                      <a:pt x="55135" y="52"/>
                    </a:cubicBezTo>
                    <a:cubicBezTo>
                      <a:pt x="52182" y="1766"/>
                      <a:pt x="48467" y="4147"/>
                      <a:pt x="45610" y="5957"/>
                    </a:cubicBezTo>
                    <a:cubicBezTo>
                      <a:pt x="40752" y="9291"/>
                      <a:pt x="36847" y="12434"/>
                      <a:pt x="36752" y="12529"/>
                    </a:cubicBezTo>
                    <a:cubicBezTo>
                      <a:pt x="33932" y="14663"/>
                      <a:pt x="31227" y="16958"/>
                      <a:pt x="28655" y="19387"/>
                    </a:cubicBezTo>
                    <a:cubicBezTo>
                      <a:pt x="25798" y="22054"/>
                      <a:pt x="21512" y="25960"/>
                      <a:pt x="17987" y="29770"/>
                    </a:cubicBezTo>
                    <a:cubicBezTo>
                      <a:pt x="14463" y="33580"/>
                      <a:pt x="12844" y="35580"/>
                      <a:pt x="9605" y="39295"/>
                    </a:cubicBezTo>
                    <a:cubicBezTo>
                      <a:pt x="7424" y="42105"/>
                      <a:pt x="5386" y="45029"/>
                      <a:pt x="3509" y="48058"/>
                    </a:cubicBezTo>
                    <a:cubicBezTo>
                      <a:pt x="2157" y="50286"/>
                      <a:pt x="1042" y="52649"/>
                      <a:pt x="176" y="55106"/>
                    </a:cubicBezTo>
                    <a:cubicBezTo>
                      <a:pt x="-253" y="56878"/>
                      <a:pt x="-415" y="58716"/>
                      <a:pt x="-301" y="60535"/>
                    </a:cubicBezTo>
                    <a:close/>
                  </a:path>
                </a:pathLst>
              </a:custGeom>
              <a:solidFill>
                <a:srgbClr val="D9530B"/>
              </a:solidFill>
              <a:ln w="9525" cap="flat">
                <a:noFill/>
                <a:prstDash val="solid"/>
                <a:miter/>
              </a:ln>
            </p:spPr>
            <p:txBody>
              <a:bodyPr rtlCol="0" anchor="ctr"/>
              <a:lstStyle/>
              <a:p>
                <a:endParaRPr lang="zh-CN" altLang="en-US"/>
              </a:p>
            </p:txBody>
          </p:sp>
        </p:grpSp>
        <p:sp>
          <p:nvSpPr>
            <p:cNvPr id="179" name="í$ḷiḍé">
              <a:extLst>
                <a:ext uri="{FF2B5EF4-FFF2-40B4-BE49-F238E27FC236}">
                  <a16:creationId xmlns:a16="http://schemas.microsoft.com/office/drawing/2014/main" id="{C3742C6D-6704-4734-A137-5E009FD31087}"/>
                </a:ext>
              </a:extLst>
            </p:cNvPr>
            <p:cNvSpPr/>
            <p:nvPr/>
          </p:nvSpPr>
          <p:spPr>
            <a:xfrm>
              <a:off x="4874988" y="4873963"/>
              <a:ext cx="1716699" cy="724850"/>
            </a:xfrm>
            <a:custGeom>
              <a:avLst/>
              <a:gdLst>
                <a:gd name="connsiteX0" fmla="*/ -336 w 563975"/>
                <a:gd name="connsiteY0" fmla="*/ -163 h 238130"/>
                <a:gd name="connsiteX1" fmla="*/ -336 w 563975"/>
                <a:gd name="connsiteY1" fmla="*/ 7553 h 238130"/>
                <a:gd name="connsiteX2" fmla="*/ 5188 w 563975"/>
                <a:gd name="connsiteY2" fmla="*/ 15839 h 238130"/>
                <a:gd name="connsiteX3" fmla="*/ 6046 w 563975"/>
                <a:gd name="connsiteY3" fmla="*/ 16506 h 238130"/>
                <a:gd name="connsiteX4" fmla="*/ 383236 w 563975"/>
                <a:gd name="connsiteY4" fmla="*/ 234248 h 238130"/>
                <a:gd name="connsiteX5" fmla="*/ 398856 w 563975"/>
                <a:gd name="connsiteY5" fmla="*/ 237962 h 238130"/>
                <a:gd name="connsiteX6" fmla="*/ 414382 w 563975"/>
                <a:gd name="connsiteY6" fmla="*/ 234248 h 238130"/>
                <a:gd name="connsiteX7" fmla="*/ 557257 w 563975"/>
                <a:gd name="connsiteY7" fmla="*/ 151666 h 238130"/>
                <a:gd name="connsiteX8" fmla="*/ 558210 w 563975"/>
                <a:gd name="connsiteY8" fmla="*/ 151094 h 238130"/>
                <a:gd name="connsiteX9" fmla="*/ 563639 w 563975"/>
                <a:gd name="connsiteY9" fmla="*/ 142712 h 238130"/>
                <a:gd name="connsiteX10" fmla="*/ 563639 w 563975"/>
                <a:gd name="connsiteY10" fmla="*/ 134997 h 238130"/>
                <a:gd name="connsiteX11" fmla="*/ 562591 w 563975"/>
                <a:gd name="connsiteY11" fmla="*/ 138807 h 238130"/>
                <a:gd name="connsiteX12" fmla="*/ 558210 w 563975"/>
                <a:gd name="connsiteY12" fmla="*/ 143379 h 238130"/>
                <a:gd name="connsiteX13" fmla="*/ 557257 w 563975"/>
                <a:gd name="connsiteY13" fmla="*/ 144046 h 238130"/>
                <a:gd name="connsiteX14" fmla="*/ 414382 w 563975"/>
                <a:gd name="connsiteY14" fmla="*/ 226533 h 238130"/>
                <a:gd name="connsiteX15" fmla="*/ 398856 w 563975"/>
                <a:gd name="connsiteY15" fmla="*/ 230247 h 238130"/>
                <a:gd name="connsiteX16" fmla="*/ 383236 w 563975"/>
                <a:gd name="connsiteY16" fmla="*/ 226533 h 238130"/>
                <a:gd name="connsiteX17" fmla="*/ 6046 w 563975"/>
                <a:gd name="connsiteY17" fmla="*/ 8791 h 238130"/>
                <a:gd name="connsiteX18" fmla="*/ 5188 w 563975"/>
                <a:gd name="connsiteY18" fmla="*/ 8219 h 238130"/>
                <a:gd name="connsiteX19" fmla="*/ 712 w 563975"/>
                <a:gd name="connsiteY19" fmla="*/ 3647 h 238130"/>
                <a:gd name="connsiteX20" fmla="*/ -336 w 563975"/>
                <a:gd name="connsiteY20" fmla="*/ -163 h 238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63975" h="238130">
                  <a:moveTo>
                    <a:pt x="-336" y="-163"/>
                  </a:moveTo>
                  <a:lnTo>
                    <a:pt x="-336" y="7553"/>
                  </a:lnTo>
                  <a:cubicBezTo>
                    <a:pt x="-41" y="11077"/>
                    <a:pt x="2045" y="14211"/>
                    <a:pt x="5188" y="15839"/>
                  </a:cubicBezTo>
                  <a:lnTo>
                    <a:pt x="6046" y="16506"/>
                  </a:lnTo>
                  <a:lnTo>
                    <a:pt x="383236" y="234248"/>
                  </a:lnTo>
                  <a:cubicBezTo>
                    <a:pt x="388046" y="236781"/>
                    <a:pt x="393418" y="238058"/>
                    <a:pt x="398856" y="237962"/>
                  </a:cubicBezTo>
                  <a:cubicBezTo>
                    <a:pt x="404267" y="238067"/>
                    <a:pt x="409610" y="236791"/>
                    <a:pt x="414382" y="234248"/>
                  </a:cubicBezTo>
                  <a:lnTo>
                    <a:pt x="557257" y="151666"/>
                  </a:lnTo>
                  <a:lnTo>
                    <a:pt x="558210" y="151094"/>
                  </a:lnTo>
                  <a:cubicBezTo>
                    <a:pt x="561306" y="149390"/>
                    <a:pt x="563344" y="146237"/>
                    <a:pt x="563639" y="142712"/>
                  </a:cubicBezTo>
                  <a:lnTo>
                    <a:pt x="563639" y="134997"/>
                  </a:lnTo>
                  <a:cubicBezTo>
                    <a:pt x="563630" y="136340"/>
                    <a:pt x="563268" y="137655"/>
                    <a:pt x="562591" y="138807"/>
                  </a:cubicBezTo>
                  <a:cubicBezTo>
                    <a:pt x="561553" y="140684"/>
                    <a:pt x="560039" y="142255"/>
                    <a:pt x="558210" y="143379"/>
                  </a:cubicBezTo>
                  <a:lnTo>
                    <a:pt x="557257" y="144046"/>
                  </a:lnTo>
                  <a:lnTo>
                    <a:pt x="414382" y="226533"/>
                  </a:lnTo>
                  <a:cubicBezTo>
                    <a:pt x="409629" y="229123"/>
                    <a:pt x="404267" y="230399"/>
                    <a:pt x="398856" y="230247"/>
                  </a:cubicBezTo>
                  <a:cubicBezTo>
                    <a:pt x="393418" y="230390"/>
                    <a:pt x="388036" y="229104"/>
                    <a:pt x="383236" y="226533"/>
                  </a:cubicBezTo>
                  <a:lnTo>
                    <a:pt x="6046" y="8791"/>
                  </a:lnTo>
                  <a:lnTo>
                    <a:pt x="5188" y="8219"/>
                  </a:lnTo>
                  <a:cubicBezTo>
                    <a:pt x="3331" y="7105"/>
                    <a:pt x="1788" y="5533"/>
                    <a:pt x="712" y="3647"/>
                  </a:cubicBezTo>
                  <a:cubicBezTo>
                    <a:pt x="45" y="2485"/>
                    <a:pt x="-317" y="1171"/>
                    <a:pt x="-336" y="-163"/>
                  </a:cubicBezTo>
                  <a:close/>
                </a:path>
              </a:pathLst>
            </a:custGeom>
            <a:solidFill>
              <a:srgbClr val="BF4200"/>
            </a:solidFill>
            <a:ln w="9525" cap="flat">
              <a:noFill/>
              <a:prstDash val="solid"/>
              <a:miter/>
            </a:ln>
          </p:spPr>
          <p:txBody>
            <a:bodyPr rtlCol="0" anchor="ctr"/>
            <a:lstStyle/>
            <a:p>
              <a:endParaRPr lang="zh-CN" altLang="en-US"/>
            </a:p>
          </p:txBody>
        </p:sp>
        <p:sp>
          <p:nvSpPr>
            <p:cNvPr id="180" name="îŝļiďè">
              <a:extLst>
                <a:ext uri="{FF2B5EF4-FFF2-40B4-BE49-F238E27FC236}">
                  <a16:creationId xmlns:a16="http://schemas.microsoft.com/office/drawing/2014/main" id="{56C52FDF-4E6C-47A2-B90F-F5C276F2E5CE}"/>
                </a:ext>
              </a:extLst>
            </p:cNvPr>
            <p:cNvSpPr/>
            <p:nvPr/>
          </p:nvSpPr>
          <p:spPr>
            <a:xfrm>
              <a:off x="4874988" y="4583739"/>
              <a:ext cx="1716699" cy="991611"/>
            </a:xfrm>
            <a:custGeom>
              <a:avLst/>
              <a:gdLst>
                <a:gd name="connsiteX0" fmla="*/ -336 w 563975"/>
                <a:gd name="connsiteY0" fmla="*/ 95182 h 325767"/>
                <a:gd name="connsiteX1" fmla="*/ 712 w 563975"/>
                <a:gd name="connsiteY1" fmla="*/ 98992 h 325767"/>
                <a:gd name="connsiteX2" fmla="*/ 5188 w 563975"/>
                <a:gd name="connsiteY2" fmla="*/ 103565 h 325767"/>
                <a:gd name="connsiteX3" fmla="*/ 6046 w 563975"/>
                <a:gd name="connsiteY3" fmla="*/ 104136 h 325767"/>
                <a:gd name="connsiteX4" fmla="*/ 383236 w 563975"/>
                <a:gd name="connsiteY4" fmla="*/ 321878 h 325767"/>
                <a:gd name="connsiteX5" fmla="*/ 398856 w 563975"/>
                <a:gd name="connsiteY5" fmla="*/ 325592 h 325767"/>
                <a:gd name="connsiteX6" fmla="*/ 414382 w 563975"/>
                <a:gd name="connsiteY6" fmla="*/ 321878 h 325767"/>
                <a:gd name="connsiteX7" fmla="*/ 557257 w 563975"/>
                <a:gd name="connsiteY7" fmla="*/ 239391 h 325767"/>
                <a:gd name="connsiteX8" fmla="*/ 558210 w 563975"/>
                <a:gd name="connsiteY8" fmla="*/ 238724 h 325767"/>
                <a:gd name="connsiteX9" fmla="*/ 562591 w 563975"/>
                <a:gd name="connsiteY9" fmla="*/ 234152 h 325767"/>
                <a:gd name="connsiteX10" fmla="*/ 563639 w 563975"/>
                <a:gd name="connsiteY10" fmla="*/ 230342 h 325767"/>
                <a:gd name="connsiteX11" fmla="*/ 557257 w 563975"/>
                <a:gd name="connsiteY11" fmla="*/ 221389 h 325767"/>
                <a:gd name="connsiteX12" fmla="*/ 180163 w 563975"/>
                <a:gd name="connsiteY12" fmla="*/ 3552 h 325767"/>
                <a:gd name="connsiteX13" fmla="*/ 149111 w 563975"/>
                <a:gd name="connsiteY13" fmla="*/ 3552 h 325767"/>
                <a:gd name="connsiteX14" fmla="*/ 6236 w 563975"/>
                <a:gd name="connsiteY14" fmla="*/ 86134 h 325767"/>
                <a:gd name="connsiteX15" fmla="*/ -336 w 563975"/>
                <a:gd name="connsiteY15" fmla="*/ 95182 h 325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63975" h="325767">
                  <a:moveTo>
                    <a:pt x="-336" y="95182"/>
                  </a:moveTo>
                  <a:cubicBezTo>
                    <a:pt x="-317" y="96516"/>
                    <a:pt x="45" y="97831"/>
                    <a:pt x="712" y="98992"/>
                  </a:cubicBezTo>
                  <a:cubicBezTo>
                    <a:pt x="1788" y="100878"/>
                    <a:pt x="3331" y="102450"/>
                    <a:pt x="5188" y="103565"/>
                  </a:cubicBezTo>
                  <a:lnTo>
                    <a:pt x="6046" y="104136"/>
                  </a:lnTo>
                  <a:lnTo>
                    <a:pt x="383236" y="321878"/>
                  </a:lnTo>
                  <a:cubicBezTo>
                    <a:pt x="388036" y="324449"/>
                    <a:pt x="393418" y="325735"/>
                    <a:pt x="398856" y="325592"/>
                  </a:cubicBezTo>
                  <a:cubicBezTo>
                    <a:pt x="404267" y="325745"/>
                    <a:pt x="409629" y="324468"/>
                    <a:pt x="414382" y="321878"/>
                  </a:cubicBezTo>
                  <a:lnTo>
                    <a:pt x="557257" y="239391"/>
                  </a:lnTo>
                  <a:lnTo>
                    <a:pt x="558210" y="238724"/>
                  </a:lnTo>
                  <a:cubicBezTo>
                    <a:pt x="560039" y="237600"/>
                    <a:pt x="561544" y="236029"/>
                    <a:pt x="562591" y="234152"/>
                  </a:cubicBezTo>
                  <a:cubicBezTo>
                    <a:pt x="563268" y="233000"/>
                    <a:pt x="563630" y="231685"/>
                    <a:pt x="563639" y="230342"/>
                  </a:cubicBezTo>
                  <a:cubicBezTo>
                    <a:pt x="563268" y="226427"/>
                    <a:pt x="560839" y="223008"/>
                    <a:pt x="557257" y="221389"/>
                  </a:cubicBezTo>
                  <a:lnTo>
                    <a:pt x="180163" y="3552"/>
                  </a:lnTo>
                  <a:cubicBezTo>
                    <a:pt x="170409" y="-1401"/>
                    <a:pt x="158865" y="-1401"/>
                    <a:pt x="149111" y="3552"/>
                  </a:cubicBezTo>
                  <a:lnTo>
                    <a:pt x="6236" y="86134"/>
                  </a:lnTo>
                  <a:cubicBezTo>
                    <a:pt x="2540" y="87705"/>
                    <a:pt x="16" y="91182"/>
                    <a:pt x="-336" y="95182"/>
                  </a:cubicBezTo>
                  <a:close/>
                </a:path>
              </a:pathLst>
            </a:custGeom>
            <a:solidFill>
              <a:srgbClr val="D9530B"/>
            </a:solidFill>
            <a:ln w="9525" cap="flat">
              <a:noFill/>
              <a:prstDash val="solid"/>
              <a:miter/>
            </a:ln>
          </p:spPr>
          <p:txBody>
            <a:bodyPr rtlCol="0" anchor="ctr"/>
            <a:lstStyle/>
            <a:p>
              <a:endParaRPr lang="zh-CN" altLang="en-US"/>
            </a:p>
          </p:txBody>
        </p:sp>
        <p:sp>
          <p:nvSpPr>
            <p:cNvPr id="181" name="îṧļïḑé">
              <a:extLst>
                <a:ext uri="{FF2B5EF4-FFF2-40B4-BE49-F238E27FC236}">
                  <a16:creationId xmlns:a16="http://schemas.microsoft.com/office/drawing/2014/main" id="{3D81B263-F86B-4B19-BD20-7D12BFE66BE6}"/>
                </a:ext>
              </a:extLst>
            </p:cNvPr>
            <p:cNvSpPr/>
            <p:nvPr/>
          </p:nvSpPr>
          <p:spPr>
            <a:xfrm>
              <a:off x="4888905" y="4592004"/>
              <a:ext cx="1690603" cy="975408"/>
            </a:xfrm>
            <a:custGeom>
              <a:avLst/>
              <a:gdLst>
                <a:gd name="connsiteX0" fmla="*/ -336 w 555402"/>
                <a:gd name="connsiteY0" fmla="*/ 92468 h 320444"/>
                <a:gd name="connsiteX1" fmla="*/ 4045 w 555402"/>
                <a:gd name="connsiteY1" fmla="*/ 99040 h 320444"/>
                <a:gd name="connsiteX2" fmla="*/ 4807 w 555402"/>
                <a:gd name="connsiteY2" fmla="*/ 99516 h 320444"/>
                <a:gd name="connsiteX3" fmla="*/ 382473 w 555402"/>
                <a:gd name="connsiteY3" fmla="*/ 317353 h 320444"/>
                <a:gd name="connsiteX4" fmla="*/ 407048 w 555402"/>
                <a:gd name="connsiteY4" fmla="*/ 317353 h 320444"/>
                <a:gd name="connsiteX5" fmla="*/ 549923 w 555402"/>
                <a:gd name="connsiteY5" fmla="*/ 234771 h 320444"/>
                <a:gd name="connsiteX6" fmla="*/ 550685 w 555402"/>
                <a:gd name="connsiteY6" fmla="*/ 234295 h 320444"/>
                <a:gd name="connsiteX7" fmla="*/ 555066 w 555402"/>
                <a:gd name="connsiteY7" fmla="*/ 227628 h 320444"/>
                <a:gd name="connsiteX8" fmla="*/ 549923 w 555402"/>
                <a:gd name="connsiteY8" fmla="*/ 220579 h 320444"/>
                <a:gd name="connsiteX9" fmla="*/ 172733 w 555402"/>
                <a:gd name="connsiteY9" fmla="*/ 2838 h 320444"/>
                <a:gd name="connsiteX10" fmla="*/ 148158 w 555402"/>
                <a:gd name="connsiteY10" fmla="*/ 2838 h 320444"/>
                <a:gd name="connsiteX11" fmla="*/ 5283 w 555402"/>
                <a:gd name="connsiteY11" fmla="*/ 85324 h 320444"/>
                <a:gd name="connsiteX12" fmla="*/ -336 w 555402"/>
                <a:gd name="connsiteY12" fmla="*/ 92468 h 320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55402" h="320444">
                  <a:moveTo>
                    <a:pt x="-336" y="92468"/>
                  </a:moveTo>
                  <a:cubicBezTo>
                    <a:pt x="-155" y="95287"/>
                    <a:pt x="1521" y="97792"/>
                    <a:pt x="4045" y="99040"/>
                  </a:cubicBezTo>
                  <a:lnTo>
                    <a:pt x="4807" y="99516"/>
                  </a:lnTo>
                  <a:lnTo>
                    <a:pt x="382473" y="317353"/>
                  </a:lnTo>
                  <a:cubicBezTo>
                    <a:pt x="390198" y="321259"/>
                    <a:pt x="399323" y="321259"/>
                    <a:pt x="407048" y="317353"/>
                  </a:cubicBezTo>
                  <a:lnTo>
                    <a:pt x="549923" y="234771"/>
                  </a:lnTo>
                  <a:lnTo>
                    <a:pt x="550685" y="234295"/>
                  </a:lnTo>
                  <a:cubicBezTo>
                    <a:pt x="553180" y="232952"/>
                    <a:pt x="554828" y="230447"/>
                    <a:pt x="555066" y="227628"/>
                  </a:cubicBezTo>
                  <a:cubicBezTo>
                    <a:pt x="554790" y="224513"/>
                    <a:pt x="552809" y="221798"/>
                    <a:pt x="549923" y="220579"/>
                  </a:cubicBezTo>
                  <a:lnTo>
                    <a:pt x="172733" y="2838"/>
                  </a:lnTo>
                  <a:cubicBezTo>
                    <a:pt x="165027" y="-1163"/>
                    <a:pt x="155864" y="-1163"/>
                    <a:pt x="148158" y="2838"/>
                  </a:cubicBezTo>
                  <a:lnTo>
                    <a:pt x="5283" y="85324"/>
                  </a:lnTo>
                  <a:cubicBezTo>
                    <a:pt x="2226" y="86467"/>
                    <a:pt x="64" y="89229"/>
                    <a:pt x="-336" y="92468"/>
                  </a:cubicBezTo>
                  <a:close/>
                </a:path>
              </a:pathLst>
            </a:custGeom>
            <a:solidFill>
              <a:srgbClr val="FF7D33"/>
            </a:solidFill>
            <a:ln w="9525" cap="flat">
              <a:noFill/>
              <a:prstDash val="solid"/>
              <a:miter/>
            </a:ln>
          </p:spPr>
          <p:txBody>
            <a:bodyPr rtlCol="0" anchor="ctr"/>
            <a:lstStyle/>
            <a:p>
              <a:endParaRPr lang="zh-CN" altLang="en-US"/>
            </a:p>
          </p:txBody>
        </p:sp>
        <p:sp>
          <p:nvSpPr>
            <p:cNvPr id="182" name="îsļîďe">
              <a:extLst>
                <a:ext uri="{FF2B5EF4-FFF2-40B4-BE49-F238E27FC236}">
                  <a16:creationId xmlns:a16="http://schemas.microsoft.com/office/drawing/2014/main" id="{44B0C30E-8E54-436F-B3FD-E9632B048B2A}"/>
                </a:ext>
              </a:extLst>
            </p:cNvPr>
            <p:cNvSpPr/>
            <p:nvPr/>
          </p:nvSpPr>
          <p:spPr>
            <a:xfrm>
              <a:off x="5313079" y="4592220"/>
              <a:ext cx="146416" cy="84804"/>
            </a:xfrm>
            <a:custGeom>
              <a:avLst/>
              <a:gdLst>
                <a:gd name="connsiteX0" fmla="*/ -336 w 48101"/>
                <a:gd name="connsiteY0" fmla="*/ 10291 h 27860"/>
                <a:gd name="connsiteX1" fmla="*/ 1188 w 48101"/>
                <a:gd name="connsiteY1" fmla="*/ 12577 h 27860"/>
                <a:gd name="connsiteX2" fmla="*/ 3569 w 48101"/>
                <a:gd name="connsiteY2" fmla="*/ 13911 h 27860"/>
                <a:gd name="connsiteX3" fmla="*/ 25857 w 48101"/>
                <a:gd name="connsiteY3" fmla="*/ 26769 h 27860"/>
                <a:gd name="connsiteX4" fmla="*/ 33668 w 48101"/>
                <a:gd name="connsiteY4" fmla="*/ 26769 h 27860"/>
                <a:gd name="connsiteX5" fmla="*/ 43860 w 48101"/>
                <a:gd name="connsiteY5" fmla="*/ 20864 h 27860"/>
                <a:gd name="connsiteX6" fmla="*/ 46241 w 48101"/>
                <a:gd name="connsiteY6" fmla="*/ 19530 h 27860"/>
                <a:gd name="connsiteX7" fmla="*/ 47765 w 48101"/>
                <a:gd name="connsiteY7" fmla="*/ 17816 h 27860"/>
                <a:gd name="connsiteX8" fmla="*/ 47765 w 48101"/>
                <a:gd name="connsiteY8" fmla="*/ 16768 h 27860"/>
                <a:gd name="connsiteX9" fmla="*/ 46241 w 48101"/>
                <a:gd name="connsiteY9" fmla="*/ 15054 h 27860"/>
                <a:gd name="connsiteX10" fmla="*/ 21476 w 48101"/>
                <a:gd name="connsiteY10" fmla="*/ 766 h 27860"/>
                <a:gd name="connsiteX11" fmla="*/ 13856 w 48101"/>
                <a:gd name="connsiteY11" fmla="*/ 766 h 27860"/>
                <a:gd name="connsiteX12" fmla="*/ 1188 w 48101"/>
                <a:gd name="connsiteY12" fmla="*/ 8100 h 27860"/>
                <a:gd name="connsiteX13" fmla="*/ -336 w 48101"/>
                <a:gd name="connsiteY13" fmla="*/ 10291 h 27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8101" h="27860">
                  <a:moveTo>
                    <a:pt x="-336" y="10291"/>
                  </a:moveTo>
                  <a:cubicBezTo>
                    <a:pt x="-270" y="11272"/>
                    <a:pt x="311" y="12139"/>
                    <a:pt x="1188" y="12577"/>
                  </a:cubicBezTo>
                  <a:lnTo>
                    <a:pt x="3569" y="13911"/>
                  </a:lnTo>
                  <a:lnTo>
                    <a:pt x="25857" y="26769"/>
                  </a:lnTo>
                  <a:cubicBezTo>
                    <a:pt x="28315" y="28007"/>
                    <a:pt x="31211" y="28007"/>
                    <a:pt x="33668" y="26769"/>
                  </a:cubicBezTo>
                  <a:lnTo>
                    <a:pt x="43860" y="20864"/>
                  </a:lnTo>
                  <a:lnTo>
                    <a:pt x="46241" y="19530"/>
                  </a:lnTo>
                  <a:cubicBezTo>
                    <a:pt x="46946" y="19168"/>
                    <a:pt x="47479" y="18559"/>
                    <a:pt x="47765" y="17816"/>
                  </a:cubicBezTo>
                  <a:lnTo>
                    <a:pt x="47765" y="16768"/>
                  </a:lnTo>
                  <a:cubicBezTo>
                    <a:pt x="47479" y="16025"/>
                    <a:pt x="46946" y="15415"/>
                    <a:pt x="46241" y="15054"/>
                  </a:cubicBezTo>
                  <a:lnTo>
                    <a:pt x="21476" y="766"/>
                  </a:lnTo>
                  <a:cubicBezTo>
                    <a:pt x="19085" y="-472"/>
                    <a:pt x="16247" y="-472"/>
                    <a:pt x="13856" y="766"/>
                  </a:cubicBezTo>
                  <a:lnTo>
                    <a:pt x="1188" y="8100"/>
                  </a:lnTo>
                  <a:cubicBezTo>
                    <a:pt x="311" y="8491"/>
                    <a:pt x="-279"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183" name="ïṡḷïḓé">
              <a:extLst>
                <a:ext uri="{FF2B5EF4-FFF2-40B4-BE49-F238E27FC236}">
                  <a16:creationId xmlns:a16="http://schemas.microsoft.com/office/drawing/2014/main" id="{2F748660-87E8-480B-B09F-C5BB1EA85BB5}"/>
                </a:ext>
              </a:extLst>
            </p:cNvPr>
            <p:cNvSpPr/>
            <p:nvPr/>
          </p:nvSpPr>
          <p:spPr>
            <a:xfrm>
              <a:off x="5314963" y="4594539"/>
              <a:ext cx="142718" cy="82484"/>
            </a:xfrm>
            <a:custGeom>
              <a:avLst/>
              <a:gdLst>
                <a:gd name="connsiteX0" fmla="*/ 25429 w 46886"/>
                <a:gd name="connsiteY0" fmla="*/ 26007 h 27098"/>
                <a:gd name="connsiteX1" fmla="*/ 1235 w 46886"/>
                <a:gd name="connsiteY1" fmla="*/ 12006 h 27098"/>
                <a:gd name="connsiteX2" fmla="*/ 1235 w 46886"/>
                <a:gd name="connsiteY2" fmla="*/ 7719 h 27098"/>
                <a:gd name="connsiteX3" fmla="*/ 13332 w 46886"/>
                <a:gd name="connsiteY3" fmla="*/ 766 h 27098"/>
                <a:gd name="connsiteX4" fmla="*/ 20761 w 46886"/>
                <a:gd name="connsiteY4" fmla="*/ 766 h 27098"/>
                <a:gd name="connsiteX5" fmla="*/ 45050 w 46886"/>
                <a:gd name="connsiteY5" fmla="*/ 14768 h 27098"/>
                <a:gd name="connsiteX6" fmla="*/ 45050 w 46886"/>
                <a:gd name="connsiteY6" fmla="*/ 19054 h 27098"/>
                <a:gd name="connsiteX7" fmla="*/ 32858 w 46886"/>
                <a:gd name="connsiteY7" fmla="*/ 26007 h 27098"/>
                <a:gd name="connsiteX8" fmla="*/ 25429 w 46886"/>
                <a:gd name="connsiteY8" fmla="*/ 26007 h 270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886" h="27098">
                  <a:moveTo>
                    <a:pt x="25429" y="26007"/>
                  </a:moveTo>
                  <a:lnTo>
                    <a:pt x="1235" y="12006"/>
                  </a:lnTo>
                  <a:cubicBezTo>
                    <a:pt x="-860" y="10863"/>
                    <a:pt x="-860" y="8958"/>
                    <a:pt x="1235" y="7719"/>
                  </a:cubicBezTo>
                  <a:lnTo>
                    <a:pt x="13332" y="766"/>
                  </a:lnTo>
                  <a:cubicBezTo>
                    <a:pt x="15656" y="-472"/>
                    <a:pt x="18437" y="-472"/>
                    <a:pt x="20761" y="766"/>
                  </a:cubicBezTo>
                  <a:lnTo>
                    <a:pt x="45050" y="14768"/>
                  </a:lnTo>
                  <a:cubicBezTo>
                    <a:pt x="47051" y="15911"/>
                    <a:pt x="47051" y="17816"/>
                    <a:pt x="45050" y="19054"/>
                  </a:cubicBezTo>
                  <a:lnTo>
                    <a:pt x="32858" y="26007"/>
                  </a:lnTo>
                  <a:cubicBezTo>
                    <a:pt x="30534" y="27245"/>
                    <a:pt x="27753" y="27245"/>
                    <a:pt x="25429" y="26007"/>
                  </a:cubicBezTo>
                  <a:close/>
                </a:path>
              </a:pathLst>
            </a:custGeom>
            <a:solidFill>
              <a:srgbClr val="D1D9E8"/>
            </a:solidFill>
            <a:ln w="9525" cap="flat">
              <a:noFill/>
              <a:prstDash val="solid"/>
              <a:miter/>
            </a:ln>
          </p:spPr>
          <p:txBody>
            <a:bodyPr rtlCol="0" anchor="ctr"/>
            <a:lstStyle/>
            <a:p>
              <a:endParaRPr lang="zh-CN" altLang="en-US"/>
            </a:p>
          </p:txBody>
        </p:sp>
        <p:sp>
          <p:nvSpPr>
            <p:cNvPr id="184" name="îṩḷíḋê">
              <a:extLst>
                <a:ext uri="{FF2B5EF4-FFF2-40B4-BE49-F238E27FC236}">
                  <a16:creationId xmlns:a16="http://schemas.microsoft.com/office/drawing/2014/main" id="{8027ECAA-F5AA-45D1-9C40-F8B16790BF5E}"/>
                </a:ext>
              </a:extLst>
            </p:cNvPr>
            <p:cNvSpPr/>
            <p:nvPr/>
          </p:nvSpPr>
          <p:spPr>
            <a:xfrm>
              <a:off x="5313079" y="4624041"/>
              <a:ext cx="146416" cy="74728"/>
            </a:xfrm>
            <a:custGeom>
              <a:avLst/>
              <a:gdLst>
                <a:gd name="connsiteX0" fmla="*/ -336 w 48101"/>
                <a:gd name="connsiteY0" fmla="*/ -163 h 24550"/>
                <a:gd name="connsiteX1" fmla="*/ -336 w 48101"/>
                <a:gd name="connsiteY1" fmla="*/ 6981 h 24550"/>
                <a:gd name="connsiteX2" fmla="*/ 1188 w 48101"/>
                <a:gd name="connsiteY2" fmla="*/ 9267 h 24550"/>
                <a:gd name="connsiteX3" fmla="*/ 25857 w 48101"/>
                <a:gd name="connsiteY3" fmla="*/ 23459 h 24550"/>
                <a:gd name="connsiteX4" fmla="*/ 33668 w 48101"/>
                <a:gd name="connsiteY4" fmla="*/ 23459 h 24550"/>
                <a:gd name="connsiteX5" fmla="*/ 46241 w 48101"/>
                <a:gd name="connsiteY5" fmla="*/ 16220 h 24550"/>
                <a:gd name="connsiteX6" fmla="*/ 47765 w 48101"/>
                <a:gd name="connsiteY6" fmla="*/ 14601 h 24550"/>
                <a:gd name="connsiteX7" fmla="*/ 47765 w 48101"/>
                <a:gd name="connsiteY7" fmla="*/ 7362 h 24550"/>
                <a:gd name="connsiteX8" fmla="*/ 46241 w 48101"/>
                <a:gd name="connsiteY8" fmla="*/ 9077 h 24550"/>
                <a:gd name="connsiteX9" fmla="*/ 43860 w 48101"/>
                <a:gd name="connsiteY9" fmla="*/ 10410 h 24550"/>
                <a:gd name="connsiteX10" fmla="*/ 33668 w 48101"/>
                <a:gd name="connsiteY10" fmla="*/ 16316 h 24550"/>
                <a:gd name="connsiteX11" fmla="*/ 25857 w 48101"/>
                <a:gd name="connsiteY11" fmla="*/ 16316 h 24550"/>
                <a:gd name="connsiteX12" fmla="*/ 3569 w 48101"/>
                <a:gd name="connsiteY12" fmla="*/ 3457 h 24550"/>
                <a:gd name="connsiteX13" fmla="*/ 1188 w 48101"/>
                <a:gd name="connsiteY13" fmla="*/ 2123 h 24550"/>
                <a:gd name="connsiteX14" fmla="*/ -336 w 48101"/>
                <a:gd name="connsiteY14" fmla="*/ -163 h 24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8101" h="24550">
                  <a:moveTo>
                    <a:pt x="-336" y="-163"/>
                  </a:moveTo>
                  <a:lnTo>
                    <a:pt x="-336" y="6981"/>
                  </a:lnTo>
                  <a:cubicBezTo>
                    <a:pt x="-251" y="7953"/>
                    <a:pt x="321" y="8819"/>
                    <a:pt x="1188" y="9267"/>
                  </a:cubicBezTo>
                  <a:lnTo>
                    <a:pt x="25857" y="23459"/>
                  </a:lnTo>
                  <a:cubicBezTo>
                    <a:pt x="28315" y="24697"/>
                    <a:pt x="31211" y="24697"/>
                    <a:pt x="33668" y="23459"/>
                  </a:cubicBezTo>
                  <a:lnTo>
                    <a:pt x="46241" y="16220"/>
                  </a:lnTo>
                  <a:cubicBezTo>
                    <a:pt x="46917" y="15868"/>
                    <a:pt x="47451" y="15296"/>
                    <a:pt x="47765" y="14601"/>
                  </a:cubicBezTo>
                  <a:lnTo>
                    <a:pt x="47765" y="7362"/>
                  </a:lnTo>
                  <a:cubicBezTo>
                    <a:pt x="47479" y="8105"/>
                    <a:pt x="46946" y="8715"/>
                    <a:pt x="46241" y="9077"/>
                  </a:cubicBezTo>
                  <a:lnTo>
                    <a:pt x="43860" y="10410"/>
                  </a:lnTo>
                  <a:lnTo>
                    <a:pt x="33668" y="16316"/>
                  </a:lnTo>
                  <a:cubicBezTo>
                    <a:pt x="31211" y="17554"/>
                    <a:pt x="28315" y="17554"/>
                    <a:pt x="25857" y="16316"/>
                  </a:cubicBezTo>
                  <a:lnTo>
                    <a:pt x="3569" y="3457"/>
                  </a:lnTo>
                  <a:lnTo>
                    <a:pt x="1188"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185" name="iṡľidé">
              <a:extLst>
                <a:ext uri="{FF2B5EF4-FFF2-40B4-BE49-F238E27FC236}">
                  <a16:creationId xmlns:a16="http://schemas.microsoft.com/office/drawing/2014/main" id="{5325BB8B-FA4D-4680-BED1-5DF83652046D}"/>
                </a:ext>
              </a:extLst>
            </p:cNvPr>
            <p:cNvSpPr/>
            <p:nvPr/>
          </p:nvSpPr>
          <p:spPr>
            <a:xfrm>
              <a:off x="5429923" y="4660839"/>
              <a:ext cx="109740" cy="63442"/>
            </a:xfrm>
            <a:custGeom>
              <a:avLst/>
              <a:gdLst>
                <a:gd name="connsiteX0" fmla="*/ -336 w 36052"/>
                <a:gd name="connsiteY0" fmla="*/ 10227 h 20842"/>
                <a:gd name="connsiteX1" fmla="*/ 1188 w 36052"/>
                <a:gd name="connsiteY1" fmla="*/ 12513 h 20842"/>
                <a:gd name="connsiteX2" fmla="*/ 3569 w 36052"/>
                <a:gd name="connsiteY2" fmla="*/ 13846 h 20842"/>
                <a:gd name="connsiteX3" fmla="*/ 13856 w 36052"/>
                <a:gd name="connsiteY3" fmla="*/ 19752 h 20842"/>
                <a:gd name="connsiteX4" fmla="*/ 21476 w 36052"/>
                <a:gd name="connsiteY4" fmla="*/ 19752 h 20842"/>
                <a:gd name="connsiteX5" fmla="*/ 31763 w 36052"/>
                <a:gd name="connsiteY5" fmla="*/ 13846 h 20842"/>
                <a:gd name="connsiteX6" fmla="*/ 34144 w 36052"/>
                <a:gd name="connsiteY6" fmla="*/ 12513 h 20842"/>
                <a:gd name="connsiteX7" fmla="*/ 35573 w 36052"/>
                <a:gd name="connsiteY7" fmla="*/ 9465 h 20842"/>
                <a:gd name="connsiteX8" fmla="*/ 34144 w 36052"/>
                <a:gd name="connsiteY8" fmla="*/ 8036 h 20842"/>
                <a:gd name="connsiteX9" fmla="*/ 21476 w 36052"/>
                <a:gd name="connsiteY9" fmla="*/ 702 h 20842"/>
                <a:gd name="connsiteX10" fmla="*/ 13856 w 36052"/>
                <a:gd name="connsiteY10" fmla="*/ 702 h 20842"/>
                <a:gd name="connsiteX11" fmla="*/ 1188 w 36052"/>
                <a:gd name="connsiteY11" fmla="*/ 8036 h 20842"/>
                <a:gd name="connsiteX12" fmla="*/ -336 w 36052"/>
                <a:gd name="connsiteY12" fmla="*/ 10227 h 20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2">
                  <a:moveTo>
                    <a:pt x="-336" y="10227"/>
                  </a:moveTo>
                  <a:cubicBezTo>
                    <a:pt x="-270" y="11208"/>
                    <a:pt x="311" y="12074"/>
                    <a:pt x="1188" y="12513"/>
                  </a:cubicBezTo>
                  <a:lnTo>
                    <a:pt x="3569" y="13846"/>
                  </a:lnTo>
                  <a:lnTo>
                    <a:pt x="13856" y="19752"/>
                  </a:lnTo>
                  <a:cubicBezTo>
                    <a:pt x="16247" y="20990"/>
                    <a:pt x="19085" y="20990"/>
                    <a:pt x="21476" y="19752"/>
                  </a:cubicBezTo>
                  <a:lnTo>
                    <a:pt x="31763" y="13846"/>
                  </a:lnTo>
                  <a:lnTo>
                    <a:pt x="34144" y="12513"/>
                  </a:lnTo>
                  <a:cubicBezTo>
                    <a:pt x="35382" y="12065"/>
                    <a:pt x="36020" y="10693"/>
                    <a:pt x="35573" y="9465"/>
                  </a:cubicBezTo>
                  <a:cubicBezTo>
                    <a:pt x="35325" y="8798"/>
                    <a:pt x="34811" y="8274"/>
                    <a:pt x="34144"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186" name="iś1ïḓé">
              <a:extLst>
                <a:ext uri="{FF2B5EF4-FFF2-40B4-BE49-F238E27FC236}">
                  <a16:creationId xmlns:a16="http://schemas.microsoft.com/office/drawing/2014/main" id="{49D73A6D-5719-462C-BFF0-1AAAB5DD5C3E}"/>
                </a:ext>
              </a:extLst>
            </p:cNvPr>
            <p:cNvSpPr/>
            <p:nvPr/>
          </p:nvSpPr>
          <p:spPr>
            <a:xfrm>
              <a:off x="5431808" y="4662020"/>
              <a:ext cx="105895" cy="61104"/>
            </a:xfrm>
            <a:custGeom>
              <a:avLst/>
              <a:gdLst>
                <a:gd name="connsiteX0" fmla="*/ 1235 w 34789"/>
                <a:gd name="connsiteY0" fmla="*/ 12029 h 20074"/>
                <a:gd name="connsiteX1" fmla="*/ 13332 w 34789"/>
                <a:gd name="connsiteY1" fmla="*/ 18983 h 20074"/>
                <a:gd name="connsiteX2" fmla="*/ 20761 w 34789"/>
                <a:gd name="connsiteY2" fmla="*/ 18983 h 20074"/>
                <a:gd name="connsiteX3" fmla="*/ 32953 w 34789"/>
                <a:gd name="connsiteY3" fmla="*/ 12029 h 20074"/>
                <a:gd name="connsiteX4" fmla="*/ 32953 w 34789"/>
                <a:gd name="connsiteY4" fmla="*/ 7743 h 20074"/>
                <a:gd name="connsiteX5" fmla="*/ 20761 w 34789"/>
                <a:gd name="connsiteY5" fmla="*/ 695 h 20074"/>
                <a:gd name="connsiteX6" fmla="*/ 13332 w 34789"/>
                <a:gd name="connsiteY6" fmla="*/ 695 h 20074"/>
                <a:gd name="connsiteX7" fmla="*/ 1235 w 34789"/>
                <a:gd name="connsiteY7" fmla="*/ 7743 h 20074"/>
                <a:gd name="connsiteX8" fmla="*/ 1235 w 34789"/>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89" h="20074">
                  <a:moveTo>
                    <a:pt x="1235" y="12029"/>
                  </a:moveTo>
                  <a:lnTo>
                    <a:pt x="13332" y="18983"/>
                  </a:lnTo>
                  <a:cubicBezTo>
                    <a:pt x="15656" y="20221"/>
                    <a:pt x="18437" y="20221"/>
                    <a:pt x="20761" y="18983"/>
                  </a:cubicBezTo>
                  <a:lnTo>
                    <a:pt x="32953" y="12029"/>
                  </a:lnTo>
                  <a:cubicBezTo>
                    <a:pt x="34954" y="10791"/>
                    <a:pt x="34954" y="8886"/>
                    <a:pt x="32953" y="7743"/>
                  </a:cubicBezTo>
                  <a:lnTo>
                    <a:pt x="20761" y="695"/>
                  </a:lnTo>
                  <a:cubicBezTo>
                    <a:pt x="18418" y="-448"/>
                    <a:pt x="15675" y="-448"/>
                    <a:pt x="13332" y="695"/>
                  </a:cubicBezTo>
                  <a:lnTo>
                    <a:pt x="1235" y="7743"/>
                  </a:lnTo>
                  <a:cubicBezTo>
                    <a:pt x="-860" y="8886"/>
                    <a:pt x="-860" y="10791"/>
                    <a:pt x="1235" y="12029"/>
                  </a:cubicBezTo>
                  <a:close/>
                </a:path>
              </a:pathLst>
            </a:custGeom>
            <a:solidFill>
              <a:srgbClr val="D1D9E8"/>
            </a:solidFill>
            <a:ln w="9525" cap="flat">
              <a:noFill/>
              <a:prstDash val="solid"/>
              <a:miter/>
            </a:ln>
          </p:spPr>
          <p:txBody>
            <a:bodyPr rtlCol="0" anchor="ctr"/>
            <a:lstStyle/>
            <a:p>
              <a:endParaRPr lang="zh-CN" altLang="en-US"/>
            </a:p>
          </p:txBody>
        </p:sp>
        <p:sp>
          <p:nvSpPr>
            <p:cNvPr id="187" name="ïṩḻîḍê">
              <a:extLst>
                <a:ext uri="{FF2B5EF4-FFF2-40B4-BE49-F238E27FC236}">
                  <a16:creationId xmlns:a16="http://schemas.microsoft.com/office/drawing/2014/main" id="{E331F050-47E4-4E9C-B54C-CB0A871ABE18}"/>
                </a:ext>
              </a:extLst>
            </p:cNvPr>
            <p:cNvSpPr/>
            <p:nvPr/>
          </p:nvSpPr>
          <p:spPr>
            <a:xfrm>
              <a:off x="5429923" y="4692465"/>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4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4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20"/>
                    <a:pt x="35582" y="7953"/>
                    <a:pt x="35668" y="6981"/>
                  </a:cubicBezTo>
                  <a:lnTo>
                    <a:pt x="35668" y="-163"/>
                  </a:lnTo>
                  <a:cubicBezTo>
                    <a:pt x="35602" y="819"/>
                    <a:pt x="35021" y="1685"/>
                    <a:pt x="34144" y="2124"/>
                  </a:cubicBezTo>
                  <a:lnTo>
                    <a:pt x="31763" y="3457"/>
                  </a:lnTo>
                  <a:lnTo>
                    <a:pt x="21476" y="9362"/>
                  </a:lnTo>
                  <a:cubicBezTo>
                    <a:pt x="19085" y="10601"/>
                    <a:pt x="16247" y="10601"/>
                    <a:pt x="13856" y="9362"/>
                  </a:cubicBezTo>
                  <a:lnTo>
                    <a:pt x="3569" y="3457"/>
                  </a:lnTo>
                  <a:lnTo>
                    <a:pt x="1188" y="2124"/>
                  </a:lnTo>
                  <a:cubicBezTo>
                    <a:pt x="311" y="1685"/>
                    <a:pt x="-270" y="819"/>
                    <a:pt x="-336" y="-163"/>
                  </a:cubicBezTo>
                  <a:close/>
                </a:path>
              </a:pathLst>
            </a:custGeom>
            <a:solidFill>
              <a:srgbClr val="BF4200"/>
            </a:solidFill>
            <a:ln w="9525" cap="flat">
              <a:noFill/>
              <a:prstDash val="solid"/>
              <a:miter/>
            </a:ln>
          </p:spPr>
          <p:txBody>
            <a:bodyPr rtlCol="0" anchor="ctr"/>
            <a:lstStyle/>
            <a:p>
              <a:endParaRPr lang="zh-CN" altLang="en-US"/>
            </a:p>
          </p:txBody>
        </p:sp>
        <p:sp>
          <p:nvSpPr>
            <p:cNvPr id="188" name="ïṣlîde">
              <a:extLst>
                <a:ext uri="{FF2B5EF4-FFF2-40B4-BE49-F238E27FC236}">
                  <a16:creationId xmlns:a16="http://schemas.microsoft.com/office/drawing/2014/main" id="{15C2AA8D-75F0-4B28-B11D-7495849FA88F}"/>
                </a:ext>
              </a:extLst>
            </p:cNvPr>
            <p:cNvSpPr/>
            <p:nvPr/>
          </p:nvSpPr>
          <p:spPr>
            <a:xfrm>
              <a:off x="5507337" y="4705293"/>
              <a:ext cx="109740" cy="63639"/>
            </a:xfrm>
            <a:custGeom>
              <a:avLst/>
              <a:gdLst>
                <a:gd name="connsiteX0" fmla="*/ -336 w 36052"/>
                <a:gd name="connsiteY0" fmla="*/ 10291 h 20907"/>
                <a:gd name="connsiteX1" fmla="*/ 1187 w 36052"/>
                <a:gd name="connsiteY1" fmla="*/ 12577 h 20907"/>
                <a:gd name="connsiteX2" fmla="*/ 3569 w 36052"/>
                <a:gd name="connsiteY2" fmla="*/ 13911 h 20907"/>
                <a:gd name="connsiteX3" fmla="*/ 13856 w 36052"/>
                <a:gd name="connsiteY3" fmla="*/ 19816 h 20907"/>
                <a:gd name="connsiteX4" fmla="*/ 21476 w 36052"/>
                <a:gd name="connsiteY4" fmla="*/ 19816 h 20907"/>
                <a:gd name="connsiteX5" fmla="*/ 31763 w 36052"/>
                <a:gd name="connsiteY5" fmla="*/ 13911 h 20907"/>
                <a:gd name="connsiteX6" fmla="*/ 34144 w 36052"/>
                <a:gd name="connsiteY6" fmla="*/ 12577 h 20907"/>
                <a:gd name="connsiteX7" fmla="*/ 35573 w 36052"/>
                <a:gd name="connsiteY7" fmla="*/ 9529 h 20907"/>
                <a:gd name="connsiteX8" fmla="*/ 34144 w 36052"/>
                <a:gd name="connsiteY8" fmla="*/ 8101 h 20907"/>
                <a:gd name="connsiteX9" fmla="*/ 21476 w 36052"/>
                <a:gd name="connsiteY9" fmla="*/ 766 h 20907"/>
                <a:gd name="connsiteX10" fmla="*/ 13856 w 36052"/>
                <a:gd name="connsiteY10" fmla="*/ 766 h 20907"/>
                <a:gd name="connsiteX11" fmla="*/ 1187 w 36052"/>
                <a:gd name="connsiteY11" fmla="*/ 8101 h 20907"/>
                <a:gd name="connsiteX12" fmla="*/ -336 w 36052"/>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907">
                  <a:moveTo>
                    <a:pt x="-336" y="10291"/>
                  </a:moveTo>
                  <a:cubicBezTo>
                    <a:pt x="-270" y="11272"/>
                    <a:pt x="311" y="12139"/>
                    <a:pt x="1187" y="12577"/>
                  </a:cubicBezTo>
                  <a:lnTo>
                    <a:pt x="3569" y="13911"/>
                  </a:lnTo>
                  <a:lnTo>
                    <a:pt x="13856" y="19816"/>
                  </a:lnTo>
                  <a:cubicBezTo>
                    <a:pt x="16247" y="21054"/>
                    <a:pt x="19085" y="21054"/>
                    <a:pt x="21476" y="19816"/>
                  </a:cubicBezTo>
                  <a:lnTo>
                    <a:pt x="31763" y="13911"/>
                  </a:lnTo>
                  <a:lnTo>
                    <a:pt x="34144" y="12577"/>
                  </a:lnTo>
                  <a:cubicBezTo>
                    <a:pt x="35382" y="12129"/>
                    <a:pt x="36020" y="10758"/>
                    <a:pt x="35573" y="9529"/>
                  </a:cubicBezTo>
                  <a:cubicBezTo>
                    <a:pt x="35325" y="8862"/>
                    <a:pt x="34811" y="8339"/>
                    <a:pt x="34144" y="8101"/>
                  </a:cubicBezTo>
                  <a:lnTo>
                    <a:pt x="21476" y="766"/>
                  </a:lnTo>
                  <a:cubicBezTo>
                    <a:pt x="19085" y="-472"/>
                    <a:pt x="16247" y="-472"/>
                    <a:pt x="13856" y="766"/>
                  </a:cubicBezTo>
                  <a:lnTo>
                    <a:pt x="1187" y="8101"/>
                  </a:lnTo>
                  <a:cubicBezTo>
                    <a:pt x="340" y="8519"/>
                    <a:pt x="-241" y="9348"/>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189" name="ïšḻïḍé">
              <a:extLst>
                <a:ext uri="{FF2B5EF4-FFF2-40B4-BE49-F238E27FC236}">
                  <a16:creationId xmlns:a16="http://schemas.microsoft.com/office/drawing/2014/main" id="{4A74B805-DD85-4469-8547-76D835CE5DFD}"/>
                </a:ext>
              </a:extLst>
            </p:cNvPr>
            <p:cNvSpPr/>
            <p:nvPr/>
          </p:nvSpPr>
          <p:spPr>
            <a:xfrm>
              <a:off x="5509148" y="4706671"/>
              <a:ext cx="105898" cy="61101"/>
            </a:xfrm>
            <a:custGeom>
              <a:avLst/>
              <a:gdLst>
                <a:gd name="connsiteX0" fmla="*/ 1164 w 34790"/>
                <a:gd name="connsiteY0" fmla="*/ 12029 h 20073"/>
                <a:gd name="connsiteX1" fmla="*/ 13356 w 34790"/>
                <a:gd name="connsiteY1" fmla="*/ 18982 h 20073"/>
                <a:gd name="connsiteX2" fmla="*/ 20786 w 34790"/>
                <a:gd name="connsiteY2" fmla="*/ 18982 h 20073"/>
                <a:gd name="connsiteX3" fmla="*/ 32882 w 34790"/>
                <a:gd name="connsiteY3" fmla="*/ 12029 h 20073"/>
                <a:gd name="connsiteX4" fmla="*/ 32882 w 34790"/>
                <a:gd name="connsiteY4" fmla="*/ 7743 h 20073"/>
                <a:gd name="connsiteX5" fmla="*/ 20786 w 34790"/>
                <a:gd name="connsiteY5" fmla="*/ 695 h 20073"/>
                <a:gd name="connsiteX6" fmla="*/ 13356 w 34790"/>
                <a:gd name="connsiteY6" fmla="*/ 695 h 20073"/>
                <a:gd name="connsiteX7" fmla="*/ 1164 w 34790"/>
                <a:gd name="connsiteY7" fmla="*/ 7743 h 20073"/>
                <a:gd name="connsiteX8" fmla="*/ 1164 w 34790"/>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3">
                  <a:moveTo>
                    <a:pt x="1164" y="12029"/>
                  </a:moveTo>
                  <a:lnTo>
                    <a:pt x="13356" y="18982"/>
                  </a:lnTo>
                  <a:cubicBezTo>
                    <a:pt x="15680" y="20221"/>
                    <a:pt x="18461" y="20221"/>
                    <a:pt x="20786" y="18982"/>
                  </a:cubicBezTo>
                  <a:lnTo>
                    <a:pt x="32882" y="12029"/>
                  </a:lnTo>
                  <a:cubicBezTo>
                    <a:pt x="34978" y="10791"/>
                    <a:pt x="34978" y="8886"/>
                    <a:pt x="32882" y="7743"/>
                  </a:cubicBezTo>
                  <a:lnTo>
                    <a:pt x="20786" y="695"/>
                  </a:lnTo>
                  <a:cubicBezTo>
                    <a:pt x="18442" y="-448"/>
                    <a:pt x="15699" y="-448"/>
                    <a:pt x="13356" y="695"/>
                  </a:cubicBezTo>
                  <a:lnTo>
                    <a:pt x="1164" y="7743"/>
                  </a:lnTo>
                  <a:cubicBezTo>
                    <a:pt x="-836" y="8886"/>
                    <a:pt x="-836" y="10791"/>
                    <a:pt x="1164" y="12029"/>
                  </a:cubicBezTo>
                  <a:close/>
                </a:path>
              </a:pathLst>
            </a:custGeom>
            <a:solidFill>
              <a:srgbClr val="D1D9E8"/>
            </a:solidFill>
            <a:ln w="9525" cap="flat">
              <a:noFill/>
              <a:prstDash val="solid"/>
              <a:miter/>
            </a:ln>
          </p:spPr>
          <p:txBody>
            <a:bodyPr rtlCol="0" anchor="ctr"/>
            <a:lstStyle/>
            <a:p>
              <a:endParaRPr lang="zh-CN" altLang="en-US"/>
            </a:p>
          </p:txBody>
        </p:sp>
        <p:sp>
          <p:nvSpPr>
            <p:cNvPr id="190" name="ïśľîḓe">
              <a:extLst>
                <a:ext uri="{FF2B5EF4-FFF2-40B4-BE49-F238E27FC236}">
                  <a16:creationId xmlns:a16="http://schemas.microsoft.com/office/drawing/2014/main" id="{DD7C22A3-BA7F-4C2B-8FCF-0582C11A1D4E}"/>
                </a:ext>
              </a:extLst>
            </p:cNvPr>
            <p:cNvSpPr/>
            <p:nvPr/>
          </p:nvSpPr>
          <p:spPr>
            <a:xfrm>
              <a:off x="5507337" y="4737114"/>
              <a:ext cx="109594" cy="53564"/>
            </a:xfrm>
            <a:custGeom>
              <a:avLst/>
              <a:gdLst>
                <a:gd name="connsiteX0" fmla="*/ -336 w 36004"/>
                <a:gd name="connsiteY0" fmla="*/ -163 h 17597"/>
                <a:gd name="connsiteX1" fmla="*/ -336 w 36004"/>
                <a:gd name="connsiteY1" fmla="*/ 7076 h 17597"/>
                <a:gd name="connsiteX2" fmla="*/ 1187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4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7 w 36004"/>
                <a:gd name="connsiteY13" fmla="*/ 2124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7" y="9267"/>
                  </a:cubicBezTo>
                  <a:lnTo>
                    <a:pt x="13856" y="16506"/>
                  </a:lnTo>
                  <a:cubicBezTo>
                    <a:pt x="16247" y="17744"/>
                    <a:pt x="19085" y="17744"/>
                    <a:pt x="21476" y="16506"/>
                  </a:cubicBezTo>
                  <a:lnTo>
                    <a:pt x="34144" y="9267"/>
                  </a:lnTo>
                  <a:cubicBezTo>
                    <a:pt x="35011" y="8819"/>
                    <a:pt x="35582" y="7953"/>
                    <a:pt x="35668" y="6981"/>
                  </a:cubicBezTo>
                  <a:lnTo>
                    <a:pt x="35668" y="-163"/>
                  </a:lnTo>
                  <a:cubicBezTo>
                    <a:pt x="35601" y="818"/>
                    <a:pt x="35020" y="1685"/>
                    <a:pt x="34144" y="2124"/>
                  </a:cubicBezTo>
                  <a:lnTo>
                    <a:pt x="31763" y="3457"/>
                  </a:lnTo>
                  <a:lnTo>
                    <a:pt x="21476" y="9362"/>
                  </a:lnTo>
                  <a:cubicBezTo>
                    <a:pt x="19085" y="10601"/>
                    <a:pt x="16247" y="10601"/>
                    <a:pt x="13856" y="9362"/>
                  </a:cubicBezTo>
                  <a:lnTo>
                    <a:pt x="3569" y="3457"/>
                  </a:lnTo>
                  <a:lnTo>
                    <a:pt x="1187" y="2124"/>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191" name="íŝ1ïḑé">
              <a:extLst>
                <a:ext uri="{FF2B5EF4-FFF2-40B4-BE49-F238E27FC236}">
                  <a16:creationId xmlns:a16="http://schemas.microsoft.com/office/drawing/2014/main" id="{5EF6DCEB-FD02-425B-B53A-09D9F7DA0F26}"/>
                </a:ext>
              </a:extLst>
            </p:cNvPr>
            <p:cNvSpPr/>
            <p:nvPr/>
          </p:nvSpPr>
          <p:spPr>
            <a:xfrm>
              <a:off x="5584457" y="4749944"/>
              <a:ext cx="109883" cy="63639"/>
            </a:xfrm>
            <a:custGeom>
              <a:avLst/>
              <a:gdLst>
                <a:gd name="connsiteX0" fmla="*/ -336 w 36099"/>
                <a:gd name="connsiteY0" fmla="*/ 10291 h 20907"/>
                <a:gd name="connsiteX1" fmla="*/ 1283 w 36099"/>
                <a:gd name="connsiteY1" fmla="*/ 12577 h 20907"/>
                <a:gd name="connsiteX2" fmla="*/ 3569 w 36099"/>
                <a:gd name="connsiteY2" fmla="*/ 13911 h 20907"/>
                <a:gd name="connsiteX3" fmla="*/ 13856 w 36099"/>
                <a:gd name="connsiteY3" fmla="*/ 19816 h 20907"/>
                <a:gd name="connsiteX4" fmla="*/ 21571 w 36099"/>
                <a:gd name="connsiteY4" fmla="*/ 19816 h 20907"/>
                <a:gd name="connsiteX5" fmla="*/ 31858 w 36099"/>
                <a:gd name="connsiteY5" fmla="*/ 13911 h 20907"/>
                <a:gd name="connsiteX6" fmla="*/ 34144 w 36099"/>
                <a:gd name="connsiteY6" fmla="*/ 12577 h 20907"/>
                <a:gd name="connsiteX7" fmla="*/ 35764 w 36099"/>
                <a:gd name="connsiteY7" fmla="*/ 10291 h 20907"/>
                <a:gd name="connsiteX8" fmla="*/ 34144 w 36099"/>
                <a:gd name="connsiteY8" fmla="*/ 8100 h 20907"/>
                <a:gd name="connsiteX9" fmla="*/ 21571 w 36099"/>
                <a:gd name="connsiteY9" fmla="*/ 766 h 20907"/>
                <a:gd name="connsiteX10" fmla="*/ 13856 w 36099"/>
                <a:gd name="connsiteY10" fmla="*/ 766 h 20907"/>
                <a:gd name="connsiteX11" fmla="*/ 1283 w 36099"/>
                <a:gd name="connsiteY11" fmla="*/ 8100 h 20907"/>
                <a:gd name="connsiteX12" fmla="*/ -336 w 36099"/>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99" h="20907">
                  <a:moveTo>
                    <a:pt x="-336" y="10291"/>
                  </a:moveTo>
                  <a:cubicBezTo>
                    <a:pt x="-269" y="11301"/>
                    <a:pt x="350" y="12187"/>
                    <a:pt x="1283" y="12577"/>
                  </a:cubicBezTo>
                  <a:lnTo>
                    <a:pt x="3569" y="13911"/>
                  </a:lnTo>
                  <a:lnTo>
                    <a:pt x="13856" y="19816"/>
                  </a:lnTo>
                  <a:cubicBezTo>
                    <a:pt x="16275" y="21054"/>
                    <a:pt x="19152" y="21054"/>
                    <a:pt x="21571" y="19816"/>
                  </a:cubicBezTo>
                  <a:lnTo>
                    <a:pt x="31858" y="13911"/>
                  </a:lnTo>
                  <a:lnTo>
                    <a:pt x="34144" y="12577"/>
                  </a:lnTo>
                  <a:cubicBezTo>
                    <a:pt x="35049" y="12149"/>
                    <a:pt x="35659" y="11282"/>
                    <a:pt x="35764" y="10291"/>
                  </a:cubicBezTo>
                  <a:cubicBezTo>
                    <a:pt x="35649" y="9329"/>
                    <a:pt x="35030" y="8491"/>
                    <a:pt x="34144" y="8100"/>
                  </a:cubicBezTo>
                  <a:lnTo>
                    <a:pt x="21571" y="766"/>
                  </a:lnTo>
                  <a:cubicBezTo>
                    <a:pt x="19152" y="-472"/>
                    <a:pt x="16275" y="-472"/>
                    <a:pt x="13856" y="766"/>
                  </a:cubicBezTo>
                  <a:lnTo>
                    <a:pt x="1283" y="8100"/>
                  </a:lnTo>
                  <a:cubicBezTo>
                    <a:pt x="369" y="8462"/>
                    <a:pt x="-260" y="9310"/>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192" name="iSļiďè">
              <a:extLst>
                <a:ext uri="{FF2B5EF4-FFF2-40B4-BE49-F238E27FC236}">
                  <a16:creationId xmlns:a16="http://schemas.microsoft.com/office/drawing/2014/main" id="{774A82DE-43FF-4253-8081-9F41DBF4EFF7}"/>
                </a:ext>
              </a:extLst>
            </p:cNvPr>
            <p:cNvSpPr/>
            <p:nvPr/>
          </p:nvSpPr>
          <p:spPr>
            <a:xfrm>
              <a:off x="5586126" y="4751104"/>
              <a:ext cx="105244" cy="61101"/>
            </a:xfrm>
            <a:custGeom>
              <a:avLst/>
              <a:gdLst>
                <a:gd name="connsiteX0" fmla="*/ 1021 w 34575"/>
                <a:gd name="connsiteY0" fmla="*/ 12006 h 20073"/>
                <a:gd name="connsiteX1" fmla="*/ 13118 w 34575"/>
                <a:gd name="connsiteY1" fmla="*/ 19054 h 20073"/>
                <a:gd name="connsiteX2" fmla="*/ 20547 w 34575"/>
                <a:gd name="connsiteY2" fmla="*/ 19054 h 20073"/>
                <a:gd name="connsiteX3" fmla="*/ 32739 w 34575"/>
                <a:gd name="connsiteY3" fmla="*/ 12006 h 20073"/>
                <a:gd name="connsiteX4" fmla="*/ 32739 w 34575"/>
                <a:gd name="connsiteY4" fmla="*/ 7719 h 20073"/>
                <a:gd name="connsiteX5" fmla="*/ 20547 w 34575"/>
                <a:gd name="connsiteY5" fmla="*/ 766 h 20073"/>
                <a:gd name="connsiteX6" fmla="*/ 13118 w 34575"/>
                <a:gd name="connsiteY6" fmla="*/ 766 h 20073"/>
                <a:gd name="connsiteX7" fmla="*/ 1021 w 34575"/>
                <a:gd name="connsiteY7" fmla="*/ 7719 h 20073"/>
                <a:gd name="connsiteX8" fmla="*/ 1021 w 34575"/>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575" h="20073">
                  <a:moveTo>
                    <a:pt x="1021" y="12006"/>
                  </a:moveTo>
                  <a:lnTo>
                    <a:pt x="13118" y="19054"/>
                  </a:lnTo>
                  <a:cubicBezTo>
                    <a:pt x="15461" y="20197"/>
                    <a:pt x="18204" y="20197"/>
                    <a:pt x="20547" y="19054"/>
                  </a:cubicBezTo>
                  <a:lnTo>
                    <a:pt x="32739" y="12006"/>
                  </a:lnTo>
                  <a:cubicBezTo>
                    <a:pt x="34740" y="10863"/>
                    <a:pt x="34740" y="8957"/>
                    <a:pt x="32739" y="7719"/>
                  </a:cubicBezTo>
                  <a:lnTo>
                    <a:pt x="20547" y="766"/>
                  </a:lnTo>
                  <a:cubicBezTo>
                    <a:pt x="18223" y="-472"/>
                    <a:pt x="15442" y="-472"/>
                    <a:pt x="13118" y="766"/>
                  </a:cubicBezTo>
                  <a:lnTo>
                    <a:pt x="1021" y="7719"/>
                  </a:lnTo>
                  <a:cubicBezTo>
                    <a:pt x="-789" y="8957"/>
                    <a:pt x="-789" y="10863"/>
                    <a:pt x="1021" y="12006"/>
                  </a:cubicBezTo>
                  <a:close/>
                </a:path>
              </a:pathLst>
            </a:custGeom>
            <a:solidFill>
              <a:srgbClr val="D1D9E8"/>
            </a:solidFill>
            <a:ln w="9525" cap="flat">
              <a:noFill/>
              <a:prstDash val="solid"/>
              <a:miter/>
            </a:ln>
          </p:spPr>
          <p:txBody>
            <a:bodyPr rtlCol="0" anchor="ctr"/>
            <a:lstStyle/>
            <a:p>
              <a:endParaRPr lang="zh-CN" altLang="en-US"/>
            </a:p>
          </p:txBody>
        </p:sp>
        <p:sp>
          <p:nvSpPr>
            <p:cNvPr id="193" name="îşḻîḑé">
              <a:extLst>
                <a:ext uri="{FF2B5EF4-FFF2-40B4-BE49-F238E27FC236}">
                  <a16:creationId xmlns:a16="http://schemas.microsoft.com/office/drawing/2014/main" id="{8F55E42D-F1E4-4D38-86F5-06F5DD7A2CE6}"/>
                </a:ext>
              </a:extLst>
            </p:cNvPr>
            <p:cNvSpPr/>
            <p:nvPr/>
          </p:nvSpPr>
          <p:spPr>
            <a:xfrm>
              <a:off x="5584457" y="4781765"/>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4 w 36099"/>
                <a:gd name="connsiteY6" fmla="*/ 6981 h 17597"/>
                <a:gd name="connsiteX7" fmla="*/ 35764 w 36099"/>
                <a:gd name="connsiteY7" fmla="*/ -163 h 17597"/>
                <a:gd name="connsiteX8" fmla="*/ 34144 w 36099"/>
                <a:gd name="connsiteY8" fmla="*/ 2123 h 17597"/>
                <a:gd name="connsiteX9" fmla="*/ 31858 w 36099"/>
                <a:gd name="connsiteY9" fmla="*/ 3457 h 17597"/>
                <a:gd name="connsiteX10" fmla="*/ 21571 w 36099"/>
                <a:gd name="connsiteY10" fmla="*/ 9362 h 17597"/>
                <a:gd name="connsiteX11" fmla="*/ 13856 w 36099"/>
                <a:gd name="connsiteY11" fmla="*/ 9362 h 17597"/>
                <a:gd name="connsiteX12" fmla="*/ 3569 w 36099"/>
                <a:gd name="connsiteY12" fmla="*/ 3457 h 17597"/>
                <a:gd name="connsiteX13" fmla="*/ 1283 w 36099"/>
                <a:gd name="connsiteY13" fmla="*/ 2123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41" y="8048"/>
                    <a:pt x="378" y="8886"/>
                    <a:pt x="1283" y="9267"/>
                  </a:cubicBezTo>
                  <a:lnTo>
                    <a:pt x="13856" y="16506"/>
                  </a:lnTo>
                  <a:cubicBezTo>
                    <a:pt x="16275" y="17744"/>
                    <a:pt x="19152" y="17744"/>
                    <a:pt x="21571" y="16506"/>
                  </a:cubicBezTo>
                  <a:lnTo>
                    <a:pt x="34144" y="9267"/>
                  </a:lnTo>
                  <a:cubicBezTo>
                    <a:pt x="35030" y="8829"/>
                    <a:pt x="35640" y="7962"/>
                    <a:pt x="35764" y="6981"/>
                  </a:cubicBezTo>
                  <a:lnTo>
                    <a:pt x="35764" y="-163"/>
                  </a:lnTo>
                  <a:cubicBezTo>
                    <a:pt x="35659" y="828"/>
                    <a:pt x="35049" y="1695"/>
                    <a:pt x="34144" y="2123"/>
                  </a:cubicBezTo>
                  <a:lnTo>
                    <a:pt x="31858" y="3457"/>
                  </a:lnTo>
                  <a:lnTo>
                    <a:pt x="21571" y="9362"/>
                  </a:lnTo>
                  <a:cubicBezTo>
                    <a:pt x="19152" y="10601"/>
                    <a:pt x="16275" y="10601"/>
                    <a:pt x="13856" y="9362"/>
                  </a:cubicBezTo>
                  <a:lnTo>
                    <a:pt x="3569" y="3457"/>
                  </a:lnTo>
                  <a:lnTo>
                    <a:pt x="1283" y="2123"/>
                  </a:lnTo>
                  <a:cubicBezTo>
                    <a:pt x="350" y="1733"/>
                    <a:pt x="-269" y="847"/>
                    <a:pt x="-336" y="-163"/>
                  </a:cubicBezTo>
                  <a:close/>
                </a:path>
              </a:pathLst>
            </a:custGeom>
            <a:solidFill>
              <a:srgbClr val="BF4200"/>
            </a:solidFill>
            <a:ln w="9525" cap="flat">
              <a:noFill/>
              <a:prstDash val="solid"/>
              <a:miter/>
            </a:ln>
          </p:spPr>
          <p:txBody>
            <a:bodyPr rtlCol="0" anchor="ctr"/>
            <a:lstStyle/>
            <a:p>
              <a:endParaRPr lang="zh-CN" altLang="en-US"/>
            </a:p>
          </p:txBody>
        </p:sp>
        <p:sp>
          <p:nvSpPr>
            <p:cNvPr id="194" name="îṣlíḋe">
              <a:extLst>
                <a:ext uri="{FF2B5EF4-FFF2-40B4-BE49-F238E27FC236}">
                  <a16:creationId xmlns:a16="http://schemas.microsoft.com/office/drawing/2014/main" id="{E063089A-017C-479E-ABFC-79AF3D5B1ADE}"/>
                </a:ext>
              </a:extLst>
            </p:cNvPr>
            <p:cNvSpPr/>
            <p:nvPr/>
          </p:nvSpPr>
          <p:spPr>
            <a:xfrm>
              <a:off x="5661871" y="4795463"/>
              <a:ext cx="110753" cy="63588"/>
            </a:xfrm>
            <a:custGeom>
              <a:avLst/>
              <a:gdLst>
                <a:gd name="connsiteX0" fmla="*/ -336 w 36385"/>
                <a:gd name="connsiteY0" fmla="*/ 10196 h 20890"/>
                <a:gd name="connsiteX1" fmla="*/ 1188 w 36385"/>
                <a:gd name="connsiteY1" fmla="*/ 12482 h 20890"/>
                <a:gd name="connsiteX2" fmla="*/ 3569 w 36385"/>
                <a:gd name="connsiteY2" fmla="*/ 13815 h 20890"/>
                <a:gd name="connsiteX3" fmla="*/ 14237 w 36385"/>
                <a:gd name="connsiteY3" fmla="*/ 19721 h 20890"/>
                <a:gd name="connsiteX4" fmla="*/ 21857 w 36385"/>
                <a:gd name="connsiteY4" fmla="*/ 19721 h 20890"/>
                <a:gd name="connsiteX5" fmla="*/ 32144 w 36385"/>
                <a:gd name="connsiteY5" fmla="*/ 13911 h 20890"/>
                <a:gd name="connsiteX6" fmla="*/ 34525 w 36385"/>
                <a:gd name="connsiteY6" fmla="*/ 12577 h 20890"/>
                <a:gd name="connsiteX7" fmla="*/ 36049 w 36385"/>
                <a:gd name="connsiteY7" fmla="*/ 10291 h 20890"/>
                <a:gd name="connsiteX8" fmla="*/ 34525 w 36385"/>
                <a:gd name="connsiteY8" fmla="*/ 8100 h 20890"/>
                <a:gd name="connsiteX9" fmla="*/ 21857 w 36385"/>
                <a:gd name="connsiteY9" fmla="*/ 766 h 20890"/>
                <a:gd name="connsiteX10" fmla="*/ 14237 w 36385"/>
                <a:gd name="connsiteY10" fmla="*/ 766 h 20890"/>
                <a:gd name="connsiteX11" fmla="*/ 1569 w 36385"/>
                <a:gd name="connsiteY11" fmla="*/ 8100 h 20890"/>
                <a:gd name="connsiteX12" fmla="*/ -336 w 36385"/>
                <a:gd name="connsiteY12" fmla="*/ 10196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385" h="20890">
                  <a:moveTo>
                    <a:pt x="-336" y="10196"/>
                  </a:moveTo>
                  <a:cubicBezTo>
                    <a:pt x="-270" y="11177"/>
                    <a:pt x="311" y="12044"/>
                    <a:pt x="1188" y="12482"/>
                  </a:cubicBezTo>
                  <a:lnTo>
                    <a:pt x="3569" y="13815"/>
                  </a:lnTo>
                  <a:lnTo>
                    <a:pt x="14237" y="19721"/>
                  </a:lnTo>
                  <a:cubicBezTo>
                    <a:pt x="16599" y="21064"/>
                    <a:pt x="19495" y="21064"/>
                    <a:pt x="21857" y="19721"/>
                  </a:cubicBezTo>
                  <a:lnTo>
                    <a:pt x="32144" y="13911"/>
                  </a:lnTo>
                  <a:lnTo>
                    <a:pt x="34525" y="12577"/>
                  </a:lnTo>
                  <a:cubicBezTo>
                    <a:pt x="35401" y="12139"/>
                    <a:pt x="35982" y="11272"/>
                    <a:pt x="36049" y="10291"/>
                  </a:cubicBezTo>
                  <a:cubicBezTo>
                    <a:pt x="35992" y="9339"/>
                    <a:pt x="35401" y="8491"/>
                    <a:pt x="34525" y="8100"/>
                  </a:cubicBezTo>
                  <a:lnTo>
                    <a:pt x="21857" y="766"/>
                  </a:lnTo>
                  <a:cubicBezTo>
                    <a:pt x="19466" y="-472"/>
                    <a:pt x="16628" y="-472"/>
                    <a:pt x="14237" y="766"/>
                  </a:cubicBezTo>
                  <a:lnTo>
                    <a:pt x="1569" y="8100"/>
                  </a:lnTo>
                  <a:cubicBezTo>
                    <a:pt x="569" y="8357"/>
                    <a:pt x="-174" y="9177"/>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195" name="î$ḻîdè">
              <a:extLst>
                <a:ext uri="{FF2B5EF4-FFF2-40B4-BE49-F238E27FC236}">
                  <a16:creationId xmlns:a16="http://schemas.microsoft.com/office/drawing/2014/main" id="{7C84951A-B1E5-4AA5-808E-C554D14E98DF}"/>
                </a:ext>
              </a:extLst>
            </p:cNvPr>
            <p:cNvSpPr/>
            <p:nvPr/>
          </p:nvSpPr>
          <p:spPr>
            <a:xfrm>
              <a:off x="5663755" y="4795755"/>
              <a:ext cx="105825" cy="61101"/>
            </a:xfrm>
            <a:custGeom>
              <a:avLst/>
              <a:gdLst>
                <a:gd name="connsiteX0" fmla="*/ 1235 w 34766"/>
                <a:gd name="connsiteY0" fmla="*/ 12006 h 20073"/>
                <a:gd name="connsiteX1" fmla="*/ 13332 w 34766"/>
                <a:gd name="connsiteY1" fmla="*/ 19054 h 20073"/>
                <a:gd name="connsiteX2" fmla="*/ 20761 w 34766"/>
                <a:gd name="connsiteY2" fmla="*/ 19054 h 20073"/>
                <a:gd name="connsiteX3" fmla="*/ 32858 w 34766"/>
                <a:gd name="connsiteY3" fmla="*/ 12006 h 20073"/>
                <a:gd name="connsiteX4" fmla="*/ 32858 w 34766"/>
                <a:gd name="connsiteY4" fmla="*/ 7719 h 20073"/>
                <a:gd name="connsiteX5" fmla="*/ 20761 w 34766"/>
                <a:gd name="connsiteY5" fmla="*/ 766 h 20073"/>
                <a:gd name="connsiteX6" fmla="*/ 13332 w 34766"/>
                <a:gd name="connsiteY6" fmla="*/ 766 h 20073"/>
                <a:gd name="connsiteX7" fmla="*/ 1235 w 34766"/>
                <a:gd name="connsiteY7" fmla="*/ 7719 h 20073"/>
                <a:gd name="connsiteX8" fmla="*/ 1235 w 34766"/>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6" h="20073">
                  <a:moveTo>
                    <a:pt x="1235" y="12006"/>
                  </a:moveTo>
                  <a:lnTo>
                    <a:pt x="13332" y="19054"/>
                  </a:lnTo>
                  <a:cubicBezTo>
                    <a:pt x="15675" y="20197"/>
                    <a:pt x="18418" y="20197"/>
                    <a:pt x="20761" y="19054"/>
                  </a:cubicBezTo>
                  <a:lnTo>
                    <a:pt x="32858" y="12006"/>
                  </a:lnTo>
                  <a:cubicBezTo>
                    <a:pt x="34954" y="10862"/>
                    <a:pt x="34954" y="8958"/>
                    <a:pt x="32858" y="7719"/>
                  </a:cubicBezTo>
                  <a:lnTo>
                    <a:pt x="20761" y="766"/>
                  </a:lnTo>
                  <a:cubicBezTo>
                    <a:pt x="18437" y="-472"/>
                    <a:pt x="15656" y="-472"/>
                    <a:pt x="13332" y="766"/>
                  </a:cubicBezTo>
                  <a:lnTo>
                    <a:pt x="1235" y="7719"/>
                  </a:lnTo>
                  <a:cubicBezTo>
                    <a:pt x="-860" y="8958"/>
                    <a:pt x="-860" y="10862"/>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196" name="i$ḷïḍê">
              <a:extLst>
                <a:ext uri="{FF2B5EF4-FFF2-40B4-BE49-F238E27FC236}">
                  <a16:creationId xmlns:a16="http://schemas.microsoft.com/office/drawing/2014/main" id="{FD613938-004E-47A0-A7D6-34E5C1EEEC5F}"/>
                </a:ext>
              </a:extLst>
            </p:cNvPr>
            <p:cNvSpPr/>
            <p:nvPr/>
          </p:nvSpPr>
          <p:spPr>
            <a:xfrm>
              <a:off x="5661871" y="4826995"/>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3 h 17597"/>
                <a:gd name="connsiteX9" fmla="*/ 31763 w 36004"/>
                <a:gd name="connsiteY9" fmla="*/ 3457 h 17597"/>
                <a:gd name="connsiteX10" fmla="*/ 21476 w 36004"/>
                <a:gd name="connsiteY10" fmla="*/ 9267 h 17597"/>
                <a:gd name="connsiteX11" fmla="*/ 13856 w 36004"/>
                <a:gd name="connsiteY11" fmla="*/ 9267 h 17597"/>
                <a:gd name="connsiteX12" fmla="*/ 3569 w 36004"/>
                <a:gd name="connsiteY12" fmla="*/ 3457 h 17597"/>
                <a:gd name="connsiteX13" fmla="*/ 1188 w 36004"/>
                <a:gd name="connsiteY13" fmla="*/ 2123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2" y="7953"/>
                    <a:pt x="35668" y="6981"/>
                  </a:cubicBezTo>
                  <a:lnTo>
                    <a:pt x="35668" y="-163"/>
                  </a:lnTo>
                  <a:cubicBezTo>
                    <a:pt x="35602" y="818"/>
                    <a:pt x="35021" y="1685"/>
                    <a:pt x="34144" y="2123"/>
                  </a:cubicBezTo>
                  <a:lnTo>
                    <a:pt x="31763" y="3457"/>
                  </a:lnTo>
                  <a:lnTo>
                    <a:pt x="21476" y="9267"/>
                  </a:lnTo>
                  <a:cubicBezTo>
                    <a:pt x="19114" y="10610"/>
                    <a:pt x="16218" y="10610"/>
                    <a:pt x="13856" y="9267"/>
                  </a:cubicBezTo>
                  <a:lnTo>
                    <a:pt x="3569" y="3457"/>
                  </a:lnTo>
                  <a:lnTo>
                    <a:pt x="1188"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197" name="ïş1îḍe">
              <a:extLst>
                <a:ext uri="{FF2B5EF4-FFF2-40B4-BE49-F238E27FC236}">
                  <a16:creationId xmlns:a16="http://schemas.microsoft.com/office/drawing/2014/main" id="{1B7BBD2C-E907-483D-BCF4-4E33A93A0EBF}"/>
                </a:ext>
              </a:extLst>
            </p:cNvPr>
            <p:cNvSpPr/>
            <p:nvPr/>
          </p:nvSpPr>
          <p:spPr>
            <a:xfrm>
              <a:off x="5738995" y="4839244"/>
              <a:ext cx="109916" cy="63588"/>
            </a:xfrm>
            <a:custGeom>
              <a:avLst/>
              <a:gdLst>
                <a:gd name="connsiteX0" fmla="*/ -336 w 36110"/>
                <a:gd name="connsiteY0" fmla="*/ 10291 h 20890"/>
                <a:gd name="connsiteX1" fmla="*/ 1283 w 36110"/>
                <a:gd name="connsiteY1" fmla="*/ 12482 h 20890"/>
                <a:gd name="connsiteX2" fmla="*/ 3569 w 36110"/>
                <a:gd name="connsiteY2" fmla="*/ 13910 h 20890"/>
                <a:gd name="connsiteX3" fmla="*/ 13856 w 36110"/>
                <a:gd name="connsiteY3" fmla="*/ 19721 h 20890"/>
                <a:gd name="connsiteX4" fmla="*/ 21571 w 36110"/>
                <a:gd name="connsiteY4" fmla="*/ 19721 h 20890"/>
                <a:gd name="connsiteX5" fmla="*/ 31858 w 36110"/>
                <a:gd name="connsiteY5" fmla="*/ 13910 h 20890"/>
                <a:gd name="connsiteX6" fmla="*/ 34144 w 36110"/>
                <a:gd name="connsiteY6" fmla="*/ 12482 h 20890"/>
                <a:gd name="connsiteX7" fmla="*/ 35678 w 36110"/>
                <a:gd name="connsiteY7" fmla="*/ 9634 h 20890"/>
                <a:gd name="connsiteX8" fmla="*/ 34144 w 36110"/>
                <a:gd name="connsiteY8" fmla="*/ 8100 h 20890"/>
                <a:gd name="connsiteX9" fmla="*/ 21571 w 36110"/>
                <a:gd name="connsiteY9" fmla="*/ 766 h 20890"/>
                <a:gd name="connsiteX10" fmla="*/ 13856 w 36110"/>
                <a:gd name="connsiteY10" fmla="*/ 766 h 20890"/>
                <a:gd name="connsiteX11" fmla="*/ 1283 w 36110"/>
                <a:gd name="connsiteY11" fmla="*/ 8100 h 20890"/>
                <a:gd name="connsiteX12" fmla="*/ -336 w 36110"/>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110" h="20890">
                  <a:moveTo>
                    <a:pt x="-336" y="10291"/>
                  </a:moveTo>
                  <a:cubicBezTo>
                    <a:pt x="-260" y="11272"/>
                    <a:pt x="369" y="12120"/>
                    <a:pt x="1283" y="12482"/>
                  </a:cubicBezTo>
                  <a:lnTo>
                    <a:pt x="3569" y="13910"/>
                  </a:lnTo>
                  <a:lnTo>
                    <a:pt x="13856" y="19721"/>
                  </a:lnTo>
                  <a:cubicBezTo>
                    <a:pt x="16256" y="21064"/>
                    <a:pt x="19171" y="21064"/>
                    <a:pt x="21571" y="19721"/>
                  </a:cubicBezTo>
                  <a:lnTo>
                    <a:pt x="31858" y="13910"/>
                  </a:lnTo>
                  <a:lnTo>
                    <a:pt x="34144" y="12482"/>
                  </a:lnTo>
                  <a:cubicBezTo>
                    <a:pt x="35354" y="12120"/>
                    <a:pt x="36040" y="10843"/>
                    <a:pt x="35678" y="9634"/>
                  </a:cubicBezTo>
                  <a:cubicBezTo>
                    <a:pt x="35459" y="8900"/>
                    <a:pt x="34887" y="8319"/>
                    <a:pt x="34144" y="8100"/>
                  </a:cubicBezTo>
                  <a:lnTo>
                    <a:pt x="21571" y="766"/>
                  </a:lnTo>
                  <a:cubicBezTo>
                    <a:pt x="19152" y="-472"/>
                    <a:pt x="16275" y="-472"/>
                    <a:pt x="13856" y="766"/>
                  </a:cubicBezTo>
                  <a:lnTo>
                    <a:pt x="1283" y="8100"/>
                  </a:lnTo>
                  <a:cubicBezTo>
                    <a:pt x="369" y="8462"/>
                    <a:pt x="-260" y="9310"/>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198" name="îṥḻîḋè">
              <a:extLst>
                <a:ext uri="{FF2B5EF4-FFF2-40B4-BE49-F238E27FC236}">
                  <a16:creationId xmlns:a16="http://schemas.microsoft.com/office/drawing/2014/main" id="{FBC6E227-7A0C-41FF-9E64-56C731AC7176}"/>
                </a:ext>
              </a:extLst>
            </p:cNvPr>
            <p:cNvSpPr/>
            <p:nvPr/>
          </p:nvSpPr>
          <p:spPr>
            <a:xfrm>
              <a:off x="5741095" y="4840403"/>
              <a:ext cx="105679" cy="61104"/>
            </a:xfrm>
            <a:custGeom>
              <a:avLst/>
              <a:gdLst>
                <a:gd name="connsiteX0" fmla="*/ 1164 w 34718"/>
                <a:gd name="connsiteY0" fmla="*/ 12006 h 20074"/>
                <a:gd name="connsiteX1" fmla="*/ 13261 w 34718"/>
                <a:gd name="connsiteY1" fmla="*/ 19054 h 20074"/>
                <a:gd name="connsiteX2" fmla="*/ 20690 w 34718"/>
                <a:gd name="connsiteY2" fmla="*/ 19054 h 20074"/>
                <a:gd name="connsiteX3" fmla="*/ 32882 w 34718"/>
                <a:gd name="connsiteY3" fmla="*/ 12006 h 20074"/>
                <a:gd name="connsiteX4" fmla="*/ 32882 w 34718"/>
                <a:gd name="connsiteY4" fmla="*/ 7719 h 20074"/>
                <a:gd name="connsiteX5" fmla="*/ 20690 w 34718"/>
                <a:gd name="connsiteY5" fmla="*/ 766 h 20074"/>
                <a:gd name="connsiteX6" fmla="*/ 13261 w 34718"/>
                <a:gd name="connsiteY6" fmla="*/ 766 h 20074"/>
                <a:gd name="connsiteX7" fmla="*/ 1164 w 34718"/>
                <a:gd name="connsiteY7" fmla="*/ 7719 h 20074"/>
                <a:gd name="connsiteX8" fmla="*/ 1164 w 34718"/>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18" h="20074">
                  <a:moveTo>
                    <a:pt x="1164" y="12006"/>
                  </a:moveTo>
                  <a:lnTo>
                    <a:pt x="13261" y="19054"/>
                  </a:lnTo>
                  <a:cubicBezTo>
                    <a:pt x="15604" y="20197"/>
                    <a:pt x="18347" y="20197"/>
                    <a:pt x="20690" y="19054"/>
                  </a:cubicBezTo>
                  <a:lnTo>
                    <a:pt x="32882" y="12006"/>
                  </a:lnTo>
                  <a:cubicBezTo>
                    <a:pt x="34882" y="10863"/>
                    <a:pt x="34882" y="8958"/>
                    <a:pt x="32882" y="7719"/>
                  </a:cubicBezTo>
                  <a:lnTo>
                    <a:pt x="20690" y="766"/>
                  </a:lnTo>
                  <a:cubicBezTo>
                    <a:pt x="18366" y="-472"/>
                    <a:pt x="15585" y="-472"/>
                    <a:pt x="13261" y="766"/>
                  </a:cubicBezTo>
                  <a:lnTo>
                    <a:pt x="1164" y="7719"/>
                  </a:lnTo>
                  <a:cubicBezTo>
                    <a:pt x="-836" y="8958"/>
                    <a:pt x="-836" y="10863"/>
                    <a:pt x="1164" y="12006"/>
                  </a:cubicBezTo>
                  <a:close/>
                </a:path>
              </a:pathLst>
            </a:custGeom>
            <a:solidFill>
              <a:srgbClr val="D1D9E8"/>
            </a:solidFill>
            <a:ln w="9525" cap="flat">
              <a:noFill/>
              <a:prstDash val="solid"/>
              <a:miter/>
            </a:ln>
          </p:spPr>
          <p:txBody>
            <a:bodyPr rtlCol="0" anchor="ctr"/>
            <a:lstStyle/>
            <a:p>
              <a:endParaRPr lang="zh-CN" altLang="en-US"/>
            </a:p>
          </p:txBody>
        </p:sp>
        <p:sp>
          <p:nvSpPr>
            <p:cNvPr id="199" name="îsḷïde">
              <a:extLst>
                <a:ext uri="{FF2B5EF4-FFF2-40B4-BE49-F238E27FC236}">
                  <a16:creationId xmlns:a16="http://schemas.microsoft.com/office/drawing/2014/main" id="{42325E54-CF99-4338-AD43-C3D6C4CFBB72}"/>
                </a:ext>
              </a:extLst>
            </p:cNvPr>
            <p:cNvSpPr/>
            <p:nvPr/>
          </p:nvSpPr>
          <p:spPr>
            <a:xfrm>
              <a:off x="5738995" y="4871065"/>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4 w 36099"/>
                <a:gd name="connsiteY6" fmla="*/ 6981 h 17597"/>
                <a:gd name="connsiteX7" fmla="*/ 35764 w 36099"/>
                <a:gd name="connsiteY7" fmla="*/ -163 h 17597"/>
                <a:gd name="connsiteX8" fmla="*/ 34144 w 36099"/>
                <a:gd name="connsiteY8" fmla="*/ 2028 h 17597"/>
                <a:gd name="connsiteX9" fmla="*/ 31858 w 36099"/>
                <a:gd name="connsiteY9" fmla="*/ 3457 h 17597"/>
                <a:gd name="connsiteX10" fmla="*/ 21571 w 36099"/>
                <a:gd name="connsiteY10" fmla="*/ 9267 h 17597"/>
                <a:gd name="connsiteX11" fmla="*/ 13856 w 36099"/>
                <a:gd name="connsiteY11" fmla="*/ 9267 h 17597"/>
                <a:gd name="connsiteX12" fmla="*/ 3569 w 36099"/>
                <a:gd name="connsiteY12" fmla="*/ 3457 h 17597"/>
                <a:gd name="connsiteX13" fmla="*/ 1283 w 36099"/>
                <a:gd name="connsiteY13" fmla="*/ 2028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03" y="8029"/>
                    <a:pt x="407" y="8858"/>
                    <a:pt x="1283" y="9267"/>
                  </a:cubicBezTo>
                  <a:lnTo>
                    <a:pt x="13856" y="16506"/>
                  </a:lnTo>
                  <a:cubicBezTo>
                    <a:pt x="16275" y="17744"/>
                    <a:pt x="19152" y="17744"/>
                    <a:pt x="21571" y="16506"/>
                  </a:cubicBezTo>
                  <a:lnTo>
                    <a:pt x="34144" y="9267"/>
                  </a:lnTo>
                  <a:cubicBezTo>
                    <a:pt x="35030" y="8829"/>
                    <a:pt x="35640" y="7972"/>
                    <a:pt x="35764" y="6981"/>
                  </a:cubicBezTo>
                  <a:lnTo>
                    <a:pt x="35764" y="-163"/>
                  </a:lnTo>
                  <a:cubicBezTo>
                    <a:pt x="35687" y="818"/>
                    <a:pt x="35059" y="1666"/>
                    <a:pt x="34144" y="2028"/>
                  </a:cubicBezTo>
                  <a:lnTo>
                    <a:pt x="31858" y="3457"/>
                  </a:lnTo>
                  <a:lnTo>
                    <a:pt x="21571" y="9267"/>
                  </a:lnTo>
                  <a:cubicBezTo>
                    <a:pt x="19171" y="10610"/>
                    <a:pt x="16256" y="10610"/>
                    <a:pt x="13856" y="9267"/>
                  </a:cubicBezTo>
                  <a:lnTo>
                    <a:pt x="3569" y="3457"/>
                  </a:lnTo>
                  <a:lnTo>
                    <a:pt x="1283" y="2028"/>
                  </a:lnTo>
                  <a:cubicBezTo>
                    <a:pt x="369" y="1666"/>
                    <a:pt x="-26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200" name="ïşľïḋè">
              <a:extLst>
                <a:ext uri="{FF2B5EF4-FFF2-40B4-BE49-F238E27FC236}">
                  <a16:creationId xmlns:a16="http://schemas.microsoft.com/office/drawing/2014/main" id="{FAE8BE3C-8C17-4F7A-97FA-A323AC93E74C}"/>
                </a:ext>
              </a:extLst>
            </p:cNvPr>
            <p:cNvSpPr/>
            <p:nvPr/>
          </p:nvSpPr>
          <p:spPr>
            <a:xfrm>
              <a:off x="5816405" y="4883895"/>
              <a:ext cx="109594" cy="63588"/>
            </a:xfrm>
            <a:custGeom>
              <a:avLst/>
              <a:gdLst>
                <a:gd name="connsiteX0" fmla="*/ -336 w 36004"/>
                <a:gd name="connsiteY0" fmla="*/ 10291 h 20890"/>
                <a:gd name="connsiteX1" fmla="*/ 1188 w 36004"/>
                <a:gd name="connsiteY1" fmla="*/ 12482 h 20890"/>
                <a:gd name="connsiteX2" fmla="*/ 3569 w 36004"/>
                <a:gd name="connsiteY2" fmla="*/ 13815 h 20890"/>
                <a:gd name="connsiteX3" fmla="*/ 13856 w 36004"/>
                <a:gd name="connsiteY3" fmla="*/ 19721 h 20890"/>
                <a:gd name="connsiteX4" fmla="*/ 21476 w 36004"/>
                <a:gd name="connsiteY4" fmla="*/ 19721 h 20890"/>
                <a:gd name="connsiteX5" fmla="*/ 31763 w 36004"/>
                <a:gd name="connsiteY5" fmla="*/ 13815 h 20890"/>
                <a:gd name="connsiteX6" fmla="*/ 34144 w 36004"/>
                <a:gd name="connsiteY6" fmla="*/ 12482 h 20890"/>
                <a:gd name="connsiteX7" fmla="*/ 35668 w 36004"/>
                <a:gd name="connsiteY7" fmla="*/ 10291 h 20890"/>
                <a:gd name="connsiteX8" fmla="*/ 34144 w 36004"/>
                <a:gd name="connsiteY8" fmla="*/ 8005 h 20890"/>
                <a:gd name="connsiteX9" fmla="*/ 21476 w 36004"/>
                <a:gd name="connsiteY9" fmla="*/ 766 h 20890"/>
                <a:gd name="connsiteX10" fmla="*/ 13856 w 36004"/>
                <a:gd name="connsiteY10" fmla="*/ 766 h 20890"/>
                <a:gd name="connsiteX11" fmla="*/ 1188 w 36004"/>
                <a:gd name="connsiteY11" fmla="*/ 8005 h 20890"/>
                <a:gd name="connsiteX12" fmla="*/ -336 w 36004"/>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291"/>
                  </a:moveTo>
                  <a:cubicBezTo>
                    <a:pt x="-279" y="11244"/>
                    <a:pt x="312" y="12091"/>
                    <a:pt x="1188" y="12482"/>
                  </a:cubicBezTo>
                  <a:lnTo>
                    <a:pt x="3569" y="13815"/>
                  </a:lnTo>
                  <a:lnTo>
                    <a:pt x="13856" y="19721"/>
                  </a:lnTo>
                  <a:cubicBezTo>
                    <a:pt x="16218" y="21064"/>
                    <a:pt x="19114" y="21064"/>
                    <a:pt x="21476" y="19721"/>
                  </a:cubicBezTo>
                  <a:lnTo>
                    <a:pt x="31763" y="13815"/>
                  </a:lnTo>
                  <a:lnTo>
                    <a:pt x="34144" y="12482"/>
                  </a:lnTo>
                  <a:cubicBezTo>
                    <a:pt x="35021" y="12091"/>
                    <a:pt x="35611" y="11253"/>
                    <a:pt x="35668" y="10291"/>
                  </a:cubicBezTo>
                  <a:cubicBezTo>
                    <a:pt x="35602" y="9310"/>
                    <a:pt x="35021" y="8443"/>
                    <a:pt x="34144" y="8005"/>
                  </a:cubicBezTo>
                  <a:lnTo>
                    <a:pt x="21476" y="766"/>
                  </a:lnTo>
                  <a:cubicBezTo>
                    <a:pt x="19085" y="-472"/>
                    <a:pt x="16247" y="-472"/>
                    <a:pt x="13856" y="766"/>
                  </a:cubicBezTo>
                  <a:lnTo>
                    <a:pt x="1188" y="8005"/>
                  </a:lnTo>
                  <a:cubicBezTo>
                    <a:pt x="312" y="8443"/>
                    <a:pt x="-269" y="9310"/>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201" name="îṣḻidê">
              <a:extLst>
                <a:ext uri="{FF2B5EF4-FFF2-40B4-BE49-F238E27FC236}">
                  <a16:creationId xmlns:a16="http://schemas.microsoft.com/office/drawing/2014/main" id="{7DF0791A-E9AD-49B8-902C-4EA4E549C200}"/>
                </a:ext>
              </a:extLst>
            </p:cNvPr>
            <p:cNvSpPr/>
            <p:nvPr/>
          </p:nvSpPr>
          <p:spPr>
            <a:xfrm>
              <a:off x="5818073" y="4885055"/>
              <a:ext cx="105174" cy="61101"/>
            </a:xfrm>
            <a:custGeom>
              <a:avLst/>
              <a:gdLst>
                <a:gd name="connsiteX0" fmla="*/ 1021 w 34552"/>
                <a:gd name="connsiteY0" fmla="*/ 12006 h 20073"/>
                <a:gd name="connsiteX1" fmla="*/ 13118 w 34552"/>
                <a:gd name="connsiteY1" fmla="*/ 19054 h 20073"/>
                <a:gd name="connsiteX2" fmla="*/ 20547 w 34552"/>
                <a:gd name="connsiteY2" fmla="*/ 19054 h 20073"/>
                <a:gd name="connsiteX3" fmla="*/ 32644 w 34552"/>
                <a:gd name="connsiteY3" fmla="*/ 12006 h 20073"/>
                <a:gd name="connsiteX4" fmla="*/ 32644 w 34552"/>
                <a:gd name="connsiteY4" fmla="*/ 7719 h 20073"/>
                <a:gd name="connsiteX5" fmla="*/ 20547 w 34552"/>
                <a:gd name="connsiteY5" fmla="*/ 766 h 20073"/>
                <a:gd name="connsiteX6" fmla="*/ 13118 w 34552"/>
                <a:gd name="connsiteY6" fmla="*/ 766 h 20073"/>
                <a:gd name="connsiteX7" fmla="*/ 1021 w 34552"/>
                <a:gd name="connsiteY7" fmla="*/ 7719 h 20073"/>
                <a:gd name="connsiteX8" fmla="*/ 1021 w 34552"/>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552" h="20073">
                  <a:moveTo>
                    <a:pt x="1021" y="12006"/>
                  </a:moveTo>
                  <a:lnTo>
                    <a:pt x="13118" y="19054"/>
                  </a:lnTo>
                  <a:cubicBezTo>
                    <a:pt x="15461" y="20197"/>
                    <a:pt x="18204" y="20197"/>
                    <a:pt x="20547" y="19054"/>
                  </a:cubicBezTo>
                  <a:lnTo>
                    <a:pt x="32644" y="12006"/>
                  </a:lnTo>
                  <a:cubicBezTo>
                    <a:pt x="34740" y="10863"/>
                    <a:pt x="34740" y="8957"/>
                    <a:pt x="32644" y="7719"/>
                  </a:cubicBezTo>
                  <a:lnTo>
                    <a:pt x="20547" y="766"/>
                  </a:lnTo>
                  <a:cubicBezTo>
                    <a:pt x="18223" y="-472"/>
                    <a:pt x="15442" y="-472"/>
                    <a:pt x="13118" y="766"/>
                  </a:cubicBezTo>
                  <a:lnTo>
                    <a:pt x="1021" y="7719"/>
                  </a:lnTo>
                  <a:cubicBezTo>
                    <a:pt x="-789" y="9339"/>
                    <a:pt x="-789" y="10863"/>
                    <a:pt x="1021" y="12006"/>
                  </a:cubicBezTo>
                  <a:close/>
                </a:path>
              </a:pathLst>
            </a:custGeom>
            <a:solidFill>
              <a:srgbClr val="D1D9E8"/>
            </a:solidFill>
            <a:ln w="9525" cap="flat">
              <a:noFill/>
              <a:prstDash val="solid"/>
              <a:miter/>
            </a:ln>
          </p:spPr>
          <p:txBody>
            <a:bodyPr rtlCol="0" anchor="ctr"/>
            <a:lstStyle/>
            <a:p>
              <a:endParaRPr lang="zh-CN" altLang="en-US"/>
            </a:p>
          </p:txBody>
        </p:sp>
        <p:sp>
          <p:nvSpPr>
            <p:cNvPr id="202" name="îṧļiḓé">
              <a:extLst>
                <a:ext uri="{FF2B5EF4-FFF2-40B4-BE49-F238E27FC236}">
                  <a16:creationId xmlns:a16="http://schemas.microsoft.com/office/drawing/2014/main" id="{D3607DC6-735A-4B22-9670-8A0EAD090BDC}"/>
                </a:ext>
              </a:extLst>
            </p:cNvPr>
            <p:cNvSpPr/>
            <p:nvPr/>
          </p:nvSpPr>
          <p:spPr>
            <a:xfrm>
              <a:off x="5816405" y="4915713"/>
              <a:ext cx="109594" cy="53564"/>
            </a:xfrm>
            <a:custGeom>
              <a:avLst/>
              <a:gdLst>
                <a:gd name="connsiteX0" fmla="*/ -336 w 36004"/>
                <a:gd name="connsiteY0" fmla="*/ -163 h 17597"/>
                <a:gd name="connsiteX1" fmla="*/ -336 w 36004"/>
                <a:gd name="connsiteY1" fmla="*/ 6981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028 h 17597"/>
                <a:gd name="connsiteX9" fmla="*/ 31763 w 36004"/>
                <a:gd name="connsiteY9" fmla="*/ 3362 h 17597"/>
                <a:gd name="connsiteX10" fmla="*/ 21476 w 36004"/>
                <a:gd name="connsiteY10" fmla="*/ 9267 h 17597"/>
                <a:gd name="connsiteX11" fmla="*/ 13856 w 36004"/>
                <a:gd name="connsiteY11" fmla="*/ 9267 h 17597"/>
                <a:gd name="connsiteX12" fmla="*/ 3569 w 36004"/>
                <a:gd name="connsiteY12" fmla="*/ 3362 h 17597"/>
                <a:gd name="connsiteX13" fmla="*/ 1188 w 36004"/>
                <a:gd name="connsiteY13" fmla="*/ 2028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6981"/>
                  </a:lnTo>
                  <a:cubicBezTo>
                    <a:pt x="-269" y="7962"/>
                    <a:pt x="312" y="8829"/>
                    <a:pt x="1188" y="9267"/>
                  </a:cubicBezTo>
                  <a:lnTo>
                    <a:pt x="13856" y="16506"/>
                  </a:lnTo>
                  <a:cubicBezTo>
                    <a:pt x="16247" y="17744"/>
                    <a:pt x="19085" y="17744"/>
                    <a:pt x="21476" y="16506"/>
                  </a:cubicBezTo>
                  <a:lnTo>
                    <a:pt x="34144" y="9267"/>
                  </a:lnTo>
                  <a:cubicBezTo>
                    <a:pt x="35011" y="8819"/>
                    <a:pt x="35583" y="7953"/>
                    <a:pt x="35668" y="6981"/>
                  </a:cubicBezTo>
                  <a:lnTo>
                    <a:pt x="35668" y="-163"/>
                  </a:lnTo>
                  <a:cubicBezTo>
                    <a:pt x="35611" y="790"/>
                    <a:pt x="35021" y="1638"/>
                    <a:pt x="34144" y="2028"/>
                  </a:cubicBezTo>
                  <a:lnTo>
                    <a:pt x="31763" y="3362"/>
                  </a:lnTo>
                  <a:lnTo>
                    <a:pt x="21476" y="9267"/>
                  </a:lnTo>
                  <a:cubicBezTo>
                    <a:pt x="19114" y="10610"/>
                    <a:pt x="16218" y="10610"/>
                    <a:pt x="13856" y="9267"/>
                  </a:cubicBezTo>
                  <a:lnTo>
                    <a:pt x="3569" y="3362"/>
                  </a:lnTo>
                  <a:lnTo>
                    <a:pt x="1188" y="2028"/>
                  </a:lnTo>
                  <a:cubicBezTo>
                    <a:pt x="312" y="1638"/>
                    <a:pt x="-279" y="800"/>
                    <a:pt x="-336" y="-163"/>
                  </a:cubicBezTo>
                  <a:close/>
                </a:path>
              </a:pathLst>
            </a:custGeom>
            <a:solidFill>
              <a:srgbClr val="BF4200"/>
            </a:solidFill>
            <a:ln w="9525" cap="flat">
              <a:noFill/>
              <a:prstDash val="solid"/>
              <a:miter/>
            </a:ln>
          </p:spPr>
          <p:txBody>
            <a:bodyPr rtlCol="0" anchor="ctr"/>
            <a:lstStyle/>
            <a:p>
              <a:endParaRPr lang="zh-CN" altLang="en-US"/>
            </a:p>
          </p:txBody>
        </p:sp>
        <p:sp>
          <p:nvSpPr>
            <p:cNvPr id="203" name="îş1iḓé">
              <a:extLst>
                <a:ext uri="{FF2B5EF4-FFF2-40B4-BE49-F238E27FC236}">
                  <a16:creationId xmlns:a16="http://schemas.microsoft.com/office/drawing/2014/main" id="{35B6B63B-9348-4296-886D-24F91DFBA79C}"/>
                </a:ext>
              </a:extLst>
            </p:cNvPr>
            <p:cNvSpPr/>
            <p:nvPr/>
          </p:nvSpPr>
          <p:spPr>
            <a:xfrm>
              <a:off x="5893818" y="4928543"/>
              <a:ext cx="109594" cy="63588"/>
            </a:xfrm>
            <a:custGeom>
              <a:avLst/>
              <a:gdLst>
                <a:gd name="connsiteX0" fmla="*/ -336 w 36004"/>
                <a:gd name="connsiteY0" fmla="*/ 10196 h 20890"/>
                <a:gd name="connsiteX1" fmla="*/ 1188 w 36004"/>
                <a:gd name="connsiteY1" fmla="*/ 12482 h 20890"/>
                <a:gd name="connsiteX2" fmla="*/ 3474 w 36004"/>
                <a:gd name="connsiteY2" fmla="*/ 13815 h 20890"/>
                <a:gd name="connsiteX3" fmla="*/ 13761 w 36004"/>
                <a:gd name="connsiteY3" fmla="*/ 19721 h 20890"/>
                <a:gd name="connsiteX4" fmla="*/ 21476 w 36004"/>
                <a:gd name="connsiteY4" fmla="*/ 19721 h 20890"/>
                <a:gd name="connsiteX5" fmla="*/ 31763 w 36004"/>
                <a:gd name="connsiteY5" fmla="*/ 13815 h 20890"/>
                <a:gd name="connsiteX6" fmla="*/ 34049 w 36004"/>
                <a:gd name="connsiteY6" fmla="*/ 12482 h 20890"/>
                <a:gd name="connsiteX7" fmla="*/ 35668 w 36004"/>
                <a:gd name="connsiteY7" fmla="*/ 10196 h 20890"/>
                <a:gd name="connsiteX8" fmla="*/ 34049 w 36004"/>
                <a:gd name="connsiteY8" fmla="*/ 8005 h 20890"/>
                <a:gd name="connsiteX9" fmla="*/ 21476 w 36004"/>
                <a:gd name="connsiteY9" fmla="*/ 766 h 20890"/>
                <a:gd name="connsiteX10" fmla="*/ 13761 w 36004"/>
                <a:gd name="connsiteY10" fmla="*/ 766 h 20890"/>
                <a:gd name="connsiteX11" fmla="*/ 1188 w 36004"/>
                <a:gd name="connsiteY11" fmla="*/ 8005 h 20890"/>
                <a:gd name="connsiteX12" fmla="*/ -336 w 36004"/>
                <a:gd name="connsiteY12" fmla="*/ 10196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196"/>
                  </a:moveTo>
                  <a:cubicBezTo>
                    <a:pt x="-308" y="11186"/>
                    <a:pt x="283" y="12082"/>
                    <a:pt x="1188" y="12482"/>
                  </a:cubicBezTo>
                  <a:lnTo>
                    <a:pt x="3474" y="13815"/>
                  </a:lnTo>
                  <a:lnTo>
                    <a:pt x="13761" y="19721"/>
                  </a:lnTo>
                  <a:cubicBezTo>
                    <a:pt x="16161" y="21064"/>
                    <a:pt x="19076" y="21064"/>
                    <a:pt x="21476" y="19721"/>
                  </a:cubicBezTo>
                  <a:lnTo>
                    <a:pt x="31763" y="13815"/>
                  </a:lnTo>
                  <a:lnTo>
                    <a:pt x="34049" y="12482"/>
                  </a:lnTo>
                  <a:cubicBezTo>
                    <a:pt x="34992" y="12110"/>
                    <a:pt x="35630" y="11215"/>
                    <a:pt x="35668" y="10196"/>
                  </a:cubicBezTo>
                  <a:cubicBezTo>
                    <a:pt x="35573" y="9224"/>
                    <a:pt x="34944" y="8386"/>
                    <a:pt x="34049" y="8005"/>
                  </a:cubicBezTo>
                  <a:lnTo>
                    <a:pt x="21476" y="766"/>
                  </a:lnTo>
                  <a:cubicBezTo>
                    <a:pt x="19057" y="-472"/>
                    <a:pt x="16180" y="-472"/>
                    <a:pt x="13761" y="766"/>
                  </a:cubicBezTo>
                  <a:lnTo>
                    <a:pt x="1188" y="8005"/>
                  </a:lnTo>
                  <a:cubicBezTo>
                    <a:pt x="340" y="8424"/>
                    <a:pt x="-241" y="925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204" name="isḻîďe">
              <a:extLst>
                <a:ext uri="{FF2B5EF4-FFF2-40B4-BE49-F238E27FC236}">
                  <a16:creationId xmlns:a16="http://schemas.microsoft.com/office/drawing/2014/main" id="{0E759E33-B3C7-4FB2-BAC4-FE0C7CAD2E1D}"/>
                </a:ext>
              </a:extLst>
            </p:cNvPr>
            <p:cNvSpPr/>
            <p:nvPr/>
          </p:nvSpPr>
          <p:spPr>
            <a:xfrm>
              <a:off x="5895659" y="4929703"/>
              <a:ext cx="105618" cy="61101"/>
            </a:xfrm>
            <a:custGeom>
              <a:avLst/>
              <a:gdLst>
                <a:gd name="connsiteX0" fmla="*/ 1154 w 34698"/>
                <a:gd name="connsiteY0" fmla="*/ 12006 h 20073"/>
                <a:gd name="connsiteX1" fmla="*/ 13346 w 34698"/>
                <a:gd name="connsiteY1" fmla="*/ 19054 h 20073"/>
                <a:gd name="connsiteX2" fmla="*/ 20775 w 34698"/>
                <a:gd name="connsiteY2" fmla="*/ 19054 h 20073"/>
                <a:gd name="connsiteX3" fmla="*/ 32872 w 34698"/>
                <a:gd name="connsiteY3" fmla="*/ 12006 h 20073"/>
                <a:gd name="connsiteX4" fmla="*/ 34215 w 34698"/>
                <a:gd name="connsiteY4" fmla="*/ 9072 h 20073"/>
                <a:gd name="connsiteX5" fmla="*/ 32872 w 34698"/>
                <a:gd name="connsiteY5" fmla="*/ 7719 h 20073"/>
                <a:gd name="connsiteX6" fmla="*/ 20775 w 34698"/>
                <a:gd name="connsiteY6" fmla="*/ 766 h 20073"/>
                <a:gd name="connsiteX7" fmla="*/ 13346 w 34698"/>
                <a:gd name="connsiteY7" fmla="*/ 766 h 20073"/>
                <a:gd name="connsiteX8" fmla="*/ 1154 w 34698"/>
                <a:gd name="connsiteY8" fmla="*/ 7719 h 20073"/>
                <a:gd name="connsiteX9" fmla="*/ -189 w 34698"/>
                <a:gd name="connsiteY9" fmla="*/ 10653 h 20073"/>
                <a:gd name="connsiteX10" fmla="*/ 1154 w 34698"/>
                <a:gd name="connsiteY10"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698" h="20073">
                  <a:moveTo>
                    <a:pt x="1154" y="12006"/>
                  </a:moveTo>
                  <a:lnTo>
                    <a:pt x="13346" y="19054"/>
                  </a:lnTo>
                  <a:cubicBezTo>
                    <a:pt x="15689" y="20197"/>
                    <a:pt x="18432" y="20197"/>
                    <a:pt x="20775" y="19054"/>
                  </a:cubicBezTo>
                  <a:lnTo>
                    <a:pt x="32872" y="12006"/>
                  </a:lnTo>
                  <a:cubicBezTo>
                    <a:pt x="34053" y="11567"/>
                    <a:pt x="34663" y="10253"/>
                    <a:pt x="34215" y="9072"/>
                  </a:cubicBezTo>
                  <a:cubicBezTo>
                    <a:pt x="33986" y="8443"/>
                    <a:pt x="33491" y="7948"/>
                    <a:pt x="32872" y="7719"/>
                  </a:cubicBezTo>
                  <a:lnTo>
                    <a:pt x="20775" y="766"/>
                  </a:lnTo>
                  <a:cubicBezTo>
                    <a:pt x="18451" y="-472"/>
                    <a:pt x="15670" y="-472"/>
                    <a:pt x="13346" y="766"/>
                  </a:cubicBezTo>
                  <a:lnTo>
                    <a:pt x="1154" y="7719"/>
                  </a:lnTo>
                  <a:cubicBezTo>
                    <a:pt x="-27" y="8157"/>
                    <a:pt x="-637" y="9472"/>
                    <a:pt x="-189" y="10653"/>
                  </a:cubicBezTo>
                  <a:cubicBezTo>
                    <a:pt x="39" y="11281"/>
                    <a:pt x="535" y="11777"/>
                    <a:pt x="1154" y="12006"/>
                  </a:cubicBezTo>
                  <a:close/>
                </a:path>
              </a:pathLst>
            </a:custGeom>
            <a:solidFill>
              <a:srgbClr val="D1D9E8"/>
            </a:solidFill>
            <a:ln w="9525" cap="flat">
              <a:noFill/>
              <a:prstDash val="solid"/>
              <a:miter/>
            </a:ln>
          </p:spPr>
          <p:txBody>
            <a:bodyPr rtlCol="0" anchor="ctr"/>
            <a:lstStyle/>
            <a:p>
              <a:endParaRPr lang="zh-CN" altLang="en-US"/>
            </a:p>
          </p:txBody>
        </p:sp>
        <p:sp>
          <p:nvSpPr>
            <p:cNvPr id="205" name="îṡ1îdè">
              <a:extLst>
                <a:ext uri="{FF2B5EF4-FFF2-40B4-BE49-F238E27FC236}">
                  <a16:creationId xmlns:a16="http://schemas.microsoft.com/office/drawing/2014/main" id="{5724B3FF-BD12-4B80-8C16-FAB5D6C0545A}"/>
                </a:ext>
              </a:extLst>
            </p:cNvPr>
            <p:cNvSpPr/>
            <p:nvPr/>
          </p:nvSpPr>
          <p:spPr>
            <a:xfrm>
              <a:off x="5893818" y="4960072"/>
              <a:ext cx="109594" cy="53801"/>
            </a:xfrm>
            <a:custGeom>
              <a:avLst/>
              <a:gdLst>
                <a:gd name="connsiteX0" fmla="*/ -336 w 36004"/>
                <a:gd name="connsiteY0" fmla="*/ -163 h 17675"/>
                <a:gd name="connsiteX1" fmla="*/ -336 w 36004"/>
                <a:gd name="connsiteY1" fmla="*/ 7076 h 17675"/>
                <a:gd name="connsiteX2" fmla="*/ 1188 w 36004"/>
                <a:gd name="connsiteY2" fmla="*/ 9267 h 17675"/>
                <a:gd name="connsiteX3" fmla="*/ 13761 w 36004"/>
                <a:gd name="connsiteY3" fmla="*/ 16506 h 17675"/>
                <a:gd name="connsiteX4" fmla="*/ 21476 w 36004"/>
                <a:gd name="connsiteY4" fmla="*/ 16506 h 17675"/>
                <a:gd name="connsiteX5" fmla="*/ 34049 w 36004"/>
                <a:gd name="connsiteY5" fmla="*/ 9267 h 17675"/>
                <a:gd name="connsiteX6" fmla="*/ 35668 w 36004"/>
                <a:gd name="connsiteY6" fmla="*/ 7076 h 17675"/>
                <a:gd name="connsiteX7" fmla="*/ 35668 w 36004"/>
                <a:gd name="connsiteY7" fmla="*/ -163 h 17675"/>
                <a:gd name="connsiteX8" fmla="*/ 34049 w 36004"/>
                <a:gd name="connsiteY8" fmla="*/ 2123 h 17675"/>
                <a:gd name="connsiteX9" fmla="*/ 31763 w 36004"/>
                <a:gd name="connsiteY9" fmla="*/ 3457 h 17675"/>
                <a:gd name="connsiteX10" fmla="*/ 21476 w 36004"/>
                <a:gd name="connsiteY10" fmla="*/ 9362 h 17675"/>
                <a:gd name="connsiteX11" fmla="*/ 13761 w 36004"/>
                <a:gd name="connsiteY11" fmla="*/ 9362 h 17675"/>
                <a:gd name="connsiteX12" fmla="*/ 3474 w 36004"/>
                <a:gd name="connsiteY12" fmla="*/ 3457 h 17675"/>
                <a:gd name="connsiteX13" fmla="*/ 1188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98" y="8038"/>
                    <a:pt x="292" y="8896"/>
                    <a:pt x="1188" y="9267"/>
                  </a:cubicBezTo>
                  <a:lnTo>
                    <a:pt x="13761" y="16506"/>
                  </a:lnTo>
                  <a:cubicBezTo>
                    <a:pt x="16161" y="17849"/>
                    <a:pt x="19076" y="17849"/>
                    <a:pt x="21476" y="16506"/>
                  </a:cubicBezTo>
                  <a:lnTo>
                    <a:pt x="34049" y="9267"/>
                  </a:lnTo>
                  <a:cubicBezTo>
                    <a:pt x="34963" y="8905"/>
                    <a:pt x="35592" y="8058"/>
                    <a:pt x="35668" y="7076"/>
                  </a:cubicBezTo>
                  <a:lnTo>
                    <a:pt x="35668" y="-163"/>
                  </a:lnTo>
                  <a:cubicBezTo>
                    <a:pt x="35630" y="856"/>
                    <a:pt x="34992" y="1752"/>
                    <a:pt x="34049" y="2123"/>
                  </a:cubicBezTo>
                  <a:lnTo>
                    <a:pt x="31763" y="3457"/>
                  </a:lnTo>
                  <a:lnTo>
                    <a:pt x="21476" y="9362"/>
                  </a:lnTo>
                  <a:cubicBezTo>
                    <a:pt x="19076" y="10705"/>
                    <a:pt x="16161" y="10705"/>
                    <a:pt x="13761" y="9362"/>
                  </a:cubicBezTo>
                  <a:lnTo>
                    <a:pt x="3474" y="3457"/>
                  </a:lnTo>
                  <a:lnTo>
                    <a:pt x="1188" y="2123"/>
                  </a:lnTo>
                  <a:cubicBezTo>
                    <a:pt x="283" y="1723"/>
                    <a:pt x="-308"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206" name="íšḷïďê">
              <a:extLst>
                <a:ext uri="{FF2B5EF4-FFF2-40B4-BE49-F238E27FC236}">
                  <a16:creationId xmlns:a16="http://schemas.microsoft.com/office/drawing/2014/main" id="{5EF43579-380D-4C25-8164-A049BE7999CC}"/>
                </a:ext>
              </a:extLst>
            </p:cNvPr>
            <p:cNvSpPr/>
            <p:nvPr/>
          </p:nvSpPr>
          <p:spPr>
            <a:xfrm>
              <a:off x="5970942" y="4973195"/>
              <a:ext cx="109740" cy="63350"/>
            </a:xfrm>
            <a:custGeom>
              <a:avLst/>
              <a:gdLst>
                <a:gd name="connsiteX0" fmla="*/ -336 w 36052"/>
                <a:gd name="connsiteY0" fmla="*/ 10196 h 20812"/>
                <a:gd name="connsiteX1" fmla="*/ 1188 w 36052"/>
                <a:gd name="connsiteY1" fmla="*/ 12482 h 20812"/>
                <a:gd name="connsiteX2" fmla="*/ 3569 w 36052"/>
                <a:gd name="connsiteY2" fmla="*/ 13815 h 20812"/>
                <a:gd name="connsiteX3" fmla="*/ 13856 w 36052"/>
                <a:gd name="connsiteY3" fmla="*/ 19721 h 20812"/>
                <a:gd name="connsiteX4" fmla="*/ 21476 w 36052"/>
                <a:gd name="connsiteY4" fmla="*/ 19721 h 20812"/>
                <a:gd name="connsiteX5" fmla="*/ 31763 w 36052"/>
                <a:gd name="connsiteY5" fmla="*/ 13815 h 20812"/>
                <a:gd name="connsiteX6" fmla="*/ 34144 w 36052"/>
                <a:gd name="connsiteY6" fmla="*/ 12482 h 20812"/>
                <a:gd name="connsiteX7" fmla="*/ 35573 w 36052"/>
                <a:gd name="connsiteY7" fmla="*/ 9434 h 20812"/>
                <a:gd name="connsiteX8" fmla="*/ 34144 w 36052"/>
                <a:gd name="connsiteY8" fmla="*/ 8005 h 20812"/>
                <a:gd name="connsiteX9" fmla="*/ 21476 w 36052"/>
                <a:gd name="connsiteY9" fmla="*/ 766 h 20812"/>
                <a:gd name="connsiteX10" fmla="*/ 13856 w 36052"/>
                <a:gd name="connsiteY10" fmla="*/ 766 h 20812"/>
                <a:gd name="connsiteX11" fmla="*/ 1188 w 36052"/>
                <a:gd name="connsiteY11" fmla="*/ 8005 h 20812"/>
                <a:gd name="connsiteX12" fmla="*/ -336 w 36052"/>
                <a:gd name="connsiteY12" fmla="*/ 10196 h 20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12">
                  <a:moveTo>
                    <a:pt x="-336" y="10196"/>
                  </a:moveTo>
                  <a:cubicBezTo>
                    <a:pt x="-270" y="11177"/>
                    <a:pt x="311" y="12044"/>
                    <a:pt x="1188" y="12482"/>
                  </a:cubicBezTo>
                  <a:lnTo>
                    <a:pt x="3569" y="13815"/>
                  </a:lnTo>
                  <a:lnTo>
                    <a:pt x="13856" y="19721"/>
                  </a:lnTo>
                  <a:cubicBezTo>
                    <a:pt x="16247" y="20959"/>
                    <a:pt x="19085" y="20959"/>
                    <a:pt x="21476" y="19721"/>
                  </a:cubicBezTo>
                  <a:lnTo>
                    <a:pt x="31763" y="13815"/>
                  </a:lnTo>
                  <a:lnTo>
                    <a:pt x="34144" y="12482"/>
                  </a:lnTo>
                  <a:cubicBezTo>
                    <a:pt x="35382" y="12034"/>
                    <a:pt x="36020" y="10662"/>
                    <a:pt x="35573" y="9434"/>
                  </a:cubicBezTo>
                  <a:cubicBezTo>
                    <a:pt x="35325" y="8767"/>
                    <a:pt x="34811" y="8243"/>
                    <a:pt x="34144" y="8005"/>
                  </a:cubicBezTo>
                  <a:lnTo>
                    <a:pt x="21476" y="766"/>
                  </a:lnTo>
                  <a:cubicBezTo>
                    <a:pt x="19085" y="-472"/>
                    <a:pt x="16247" y="-472"/>
                    <a:pt x="13856" y="766"/>
                  </a:cubicBezTo>
                  <a:lnTo>
                    <a:pt x="1188" y="8005"/>
                  </a:lnTo>
                  <a:cubicBezTo>
                    <a:pt x="340" y="8424"/>
                    <a:pt x="-241" y="925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207" name="iṥļidé">
              <a:extLst>
                <a:ext uri="{FF2B5EF4-FFF2-40B4-BE49-F238E27FC236}">
                  <a16:creationId xmlns:a16="http://schemas.microsoft.com/office/drawing/2014/main" id="{A54BB9BF-30CF-4E40-9B94-CB517AD4A311}"/>
                </a:ext>
              </a:extLst>
            </p:cNvPr>
            <p:cNvSpPr/>
            <p:nvPr/>
          </p:nvSpPr>
          <p:spPr>
            <a:xfrm>
              <a:off x="5973073" y="4974281"/>
              <a:ext cx="105618" cy="61174"/>
            </a:xfrm>
            <a:custGeom>
              <a:avLst/>
              <a:gdLst>
                <a:gd name="connsiteX0" fmla="*/ 1154 w 34698"/>
                <a:gd name="connsiteY0" fmla="*/ 12029 h 20097"/>
                <a:gd name="connsiteX1" fmla="*/ 13251 w 34698"/>
                <a:gd name="connsiteY1" fmla="*/ 19078 h 20097"/>
                <a:gd name="connsiteX2" fmla="*/ 20680 w 34698"/>
                <a:gd name="connsiteY2" fmla="*/ 19078 h 20097"/>
                <a:gd name="connsiteX3" fmla="*/ 32872 w 34698"/>
                <a:gd name="connsiteY3" fmla="*/ 12029 h 20097"/>
                <a:gd name="connsiteX4" fmla="*/ 34215 w 34698"/>
                <a:gd name="connsiteY4" fmla="*/ 9086 h 20097"/>
                <a:gd name="connsiteX5" fmla="*/ 32872 w 34698"/>
                <a:gd name="connsiteY5" fmla="*/ 7743 h 20097"/>
                <a:gd name="connsiteX6" fmla="*/ 20680 w 34698"/>
                <a:gd name="connsiteY6" fmla="*/ 695 h 20097"/>
                <a:gd name="connsiteX7" fmla="*/ 13251 w 34698"/>
                <a:gd name="connsiteY7" fmla="*/ 695 h 20097"/>
                <a:gd name="connsiteX8" fmla="*/ 1154 w 34698"/>
                <a:gd name="connsiteY8" fmla="*/ 7743 h 20097"/>
                <a:gd name="connsiteX9" fmla="*/ -189 w 34698"/>
                <a:gd name="connsiteY9" fmla="*/ 10686 h 20097"/>
                <a:gd name="connsiteX10" fmla="*/ 1154 w 34698"/>
                <a:gd name="connsiteY10" fmla="*/ 12029 h 20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698" h="20097">
                  <a:moveTo>
                    <a:pt x="1154" y="12029"/>
                  </a:moveTo>
                  <a:lnTo>
                    <a:pt x="13251" y="19078"/>
                  </a:lnTo>
                  <a:cubicBezTo>
                    <a:pt x="15594" y="20221"/>
                    <a:pt x="18337" y="20221"/>
                    <a:pt x="20680" y="19078"/>
                  </a:cubicBezTo>
                  <a:lnTo>
                    <a:pt x="32872" y="12029"/>
                  </a:lnTo>
                  <a:cubicBezTo>
                    <a:pt x="34053" y="11591"/>
                    <a:pt x="34663" y="10277"/>
                    <a:pt x="34215" y="9086"/>
                  </a:cubicBezTo>
                  <a:cubicBezTo>
                    <a:pt x="33987" y="8467"/>
                    <a:pt x="33491" y="7972"/>
                    <a:pt x="32872" y="7743"/>
                  </a:cubicBezTo>
                  <a:lnTo>
                    <a:pt x="20680" y="695"/>
                  </a:lnTo>
                  <a:cubicBezTo>
                    <a:pt x="18337" y="-448"/>
                    <a:pt x="15594" y="-448"/>
                    <a:pt x="13251" y="695"/>
                  </a:cubicBezTo>
                  <a:lnTo>
                    <a:pt x="1154" y="7743"/>
                  </a:lnTo>
                  <a:cubicBezTo>
                    <a:pt x="-27" y="8181"/>
                    <a:pt x="-637" y="9496"/>
                    <a:pt x="-189" y="10686"/>
                  </a:cubicBezTo>
                  <a:cubicBezTo>
                    <a:pt x="40" y="11305"/>
                    <a:pt x="525" y="11801"/>
                    <a:pt x="1154" y="12029"/>
                  </a:cubicBezTo>
                  <a:close/>
                </a:path>
              </a:pathLst>
            </a:custGeom>
            <a:solidFill>
              <a:srgbClr val="D1D9E8"/>
            </a:solidFill>
            <a:ln w="9525" cap="flat">
              <a:noFill/>
              <a:prstDash val="solid"/>
              <a:miter/>
            </a:ln>
          </p:spPr>
          <p:txBody>
            <a:bodyPr rtlCol="0" anchor="ctr"/>
            <a:lstStyle/>
            <a:p>
              <a:endParaRPr lang="zh-CN" altLang="en-US"/>
            </a:p>
          </p:txBody>
        </p:sp>
        <p:sp>
          <p:nvSpPr>
            <p:cNvPr id="208" name="ïślíḋe">
              <a:extLst>
                <a:ext uri="{FF2B5EF4-FFF2-40B4-BE49-F238E27FC236}">
                  <a16:creationId xmlns:a16="http://schemas.microsoft.com/office/drawing/2014/main" id="{9C880347-9DF1-456D-A3C1-17690AB53BB2}"/>
                </a:ext>
              </a:extLst>
            </p:cNvPr>
            <p:cNvSpPr/>
            <p:nvPr/>
          </p:nvSpPr>
          <p:spPr>
            <a:xfrm>
              <a:off x="5970942" y="5004724"/>
              <a:ext cx="109594" cy="53801"/>
            </a:xfrm>
            <a:custGeom>
              <a:avLst/>
              <a:gdLst>
                <a:gd name="connsiteX0" fmla="*/ -336 w 36004"/>
                <a:gd name="connsiteY0" fmla="*/ -163 h 17675"/>
                <a:gd name="connsiteX1" fmla="*/ -336 w 36004"/>
                <a:gd name="connsiteY1" fmla="*/ 7076 h 17675"/>
                <a:gd name="connsiteX2" fmla="*/ 1188 w 36004"/>
                <a:gd name="connsiteY2" fmla="*/ 9267 h 17675"/>
                <a:gd name="connsiteX3" fmla="*/ 13856 w 36004"/>
                <a:gd name="connsiteY3" fmla="*/ 16506 h 17675"/>
                <a:gd name="connsiteX4" fmla="*/ 21476 w 36004"/>
                <a:gd name="connsiteY4" fmla="*/ 16506 h 17675"/>
                <a:gd name="connsiteX5" fmla="*/ 34144 w 36004"/>
                <a:gd name="connsiteY5" fmla="*/ 9267 h 17675"/>
                <a:gd name="connsiteX6" fmla="*/ 35668 w 36004"/>
                <a:gd name="connsiteY6" fmla="*/ 7076 h 17675"/>
                <a:gd name="connsiteX7" fmla="*/ 35668 w 36004"/>
                <a:gd name="connsiteY7" fmla="*/ -163 h 17675"/>
                <a:gd name="connsiteX8" fmla="*/ 34144 w 36004"/>
                <a:gd name="connsiteY8" fmla="*/ 2123 h 17675"/>
                <a:gd name="connsiteX9" fmla="*/ 31763 w 36004"/>
                <a:gd name="connsiteY9" fmla="*/ 3457 h 17675"/>
                <a:gd name="connsiteX10" fmla="*/ 21476 w 36004"/>
                <a:gd name="connsiteY10" fmla="*/ 9362 h 17675"/>
                <a:gd name="connsiteX11" fmla="*/ 13856 w 36004"/>
                <a:gd name="connsiteY11" fmla="*/ 9362 h 17675"/>
                <a:gd name="connsiteX12" fmla="*/ 3569 w 36004"/>
                <a:gd name="connsiteY12" fmla="*/ 3457 h 17675"/>
                <a:gd name="connsiteX13" fmla="*/ 1188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79" y="8038"/>
                    <a:pt x="311" y="8877"/>
                    <a:pt x="1188" y="9267"/>
                  </a:cubicBezTo>
                  <a:lnTo>
                    <a:pt x="13856" y="16506"/>
                  </a:lnTo>
                  <a:cubicBezTo>
                    <a:pt x="16218" y="17849"/>
                    <a:pt x="19114" y="17849"/>
                    <a:pt x="21476" y="16506"/>
                  </a:cubicBezTo>
                  <a:lnTo>
                    <a:pt x="34144" y="9267"/>
                  </a:lnTo>
                  <a:cubicBezTo>
                    <a:pt x="35021" y="8877"/>
                    <a:pt x="35611" y="8038"/>
                    <a:pt x="35668" y="7076"/>
                  </a:cubicBezTo>
                  <a:lnTo>
                    <a:pt x="35668" y="-163"/>
                  </a:lnTo>
                  <a:cubicBezTo>
                    <a:pt x="35602" y="818"/>
                    <a:pt x="35021" y="1685"/>
                    <a:pt x="34144" y="2123"/>
                  </a:cubicBezTo>
                  <a:lnTo>
                    <a:pt x="31763" y="3457"/>
                  </a:lnTo>
                  <a:lnTo>
                    <a:pt x="21476" y="9362"/>
                  </a:lnTo>
                  <a:cubicBezTo>
                    <a:pt x="19085" y="10601"/>
                    <a:pt x="16247" y="10601"/>
                    <a:pt x="13856" y="9362"/>
                  </a:cubicBezTo>
                  <a:lnTo>
                    <a:pt x="3569" y="3457"/>
                  </a:lnTo>
                  <a:lnTo>
                    <a:pt x="1188"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209" name="iṥlîḓe">
              <a:extLst>
                <a:ext uri="{FF2B5EF4-FFF2-40B4-BE49-F238E27FC236}">
                  <a16:creationId xmlns:a16="http://schemas.microsoft.com/office/drawing/2014/main" id="{F0D0B48E-4A53-43D3-B2B3-30F0AA7FEA86}"/>
                </a:ext>
              </a:extLst>
            </p:cNvPr>
            <p:cNvSpPr/>
            <p:nvPr/>
          </p:nvSpPr>
          <p:spPr>
            <a:xfrm>
              <a:off x="6048352" y="5017749"/>
              <a:ext cx="109740" cy="63442"/>
            </a:xfrm>
            <a:custGeom>
              <a:avLst/>
              <a:gdLst>
                <a:gd name="connsiteX0" fmla="*/ -336 w 36052"/>
                <a:gd name="connsiteY0" fmla="*/ 10227 h 20842"/>
                <a:gd name="connsiteX1" fmla="*/ 1188 w 36052"/>
                <a:gd name="connsiteY1" fmla="*/ 12513 h 20842"/>
                <a:gd name="connsiteX2" fmla="*/ 3569 w 36052"/>
                <a:gd name="connsiteY2" fmla="*/ 13846 h 20842"/>
                <a:gd name="connsiteX3" fmla="*/ 13856 w 36052"/>
                <a:gd name="connsiteY3" fmla="*/ 19752 h 20842"/>
                <a:gd name="connsiteX4" fmla="*/ 21476 w 36052"/>
                <a:gd name="connsiteY4" fmla="*/ 19752 h 20842"/>
                <a:gd name="connsiteX5" fmla="*/ 31763 w 36052"/>
                <a:gd name="connsiteY5" fmla="*/ 13846 h 20842"/>
                <a:gd name="connsiteX6" fmla="*/ 34144 w 36052"/>
                <a:gd name="connsiteY6" fmla="*/ 12513 h 20842"/>
                <a:gd name="connsiteX7" fmla="*/ 35573 w 36052"/>
                <a:gd name="connsiteY7" fmla="*/ 9465 h 20842"/>
                <a:gd name="connsiteX8" fmla="*/ 34144 w 36052"/>
                <a:gd name="connsiteY8" fmla="*/ 8036 h 20842"/>
                <a:gd name="connsiteX9" fmla="*/ 21476 w 36052"/>
                <a:gd name="connsiteY9" fmla="*/ 702 h 20842"/>
                <a:gd name="connsiteX10" fmla="*/ 13856 w 36052"/>
                <a:gd name="connsiteY10" fmla="*/ 702 h 20842"/>
                <a:gd name="connsiteX11" fmla="*/ 1188 w 36052"/>
                <a:gd name="connsiteY11" fmla="*/ 8036 h 20842"/>
                <a:gd name="connsiteX12" fmla="*/ -336 w 36052"/>
                <a:gd name="connsiteY12" fmla="*/ 10227 h 20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2">
                  <a:moveTo>
                    <a:pt x="-336" y="10227"/>
                  </a:moveTo>
                  <a:cubicBezTo>
                    <a:pt x="-269" y="11208"/>
                    <a:pt x="312" y="12075"/>
                    <a:pt x="1188" y="12513"/>
                  </a:cubicBezTo>
                  <a:lnTo>
                    <a:pt x="3569" y="13846"/>
                  </a:lnTo>
                  <a:lnTo>
                    <a:pt x="13856" y="19752"/>
                  </a:lnTo>
                  <a:cubicBezTo>
                    <a:pt x="16247" y="20990"/>
                    <a:pt x="19085" y="20990"/>
                    <a:pt x="21476" y="19752"/>
                  </a:cubicBezTo>
                  <a:lnTo>
                    <a:pt x="31763" y="13846"/>
                  </a:lnTo>
                  <a:lnTo>
                    <a:pt x="34144" y="12513"/>
                  </a:lnTo>
                  <a:cubicBezTo>
                    <a:pt x="35382" y="12065"/>
                    <a:pt x="36021" y="10693"/>
                    <a:pt x="35573" y="9465"/>
                  </a:cubicBezTo>
                  <a:cubicBezTo>
                    <a:pt x="35325" y="8798"/>
                    <a:pt x="34811" y="8274"/>
                    <a:pt x="34144"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210" name="ísļïḍé">
              <a:extLst>
                <a:ext uri="{FF2B5EF4-FFF2-40B4-BE49-F238E27FC236}">
                  <a16:creationId xmlns:a16="http://schemas.microsoft.com/office/drawing/2014/main" id="{4CD5F810-9849-4AA7-9081-C9FD8CC662A7}"/>
                </a:ext>
              </a:extLst>
            </p:cNvPr>
            <p:cNvSpPr/>
            <p:nvPr/>
          </p:nvSpPr>
          <p:spPr>
            <a:xfrm>
              <a:off x="6050020" y="5018930"/>
              <a:ext cx="105463" cy="61104"/>
            </a:xfrm>
            <a:custGeom>
              <a:avLst/>
              <a:gdLst>
                <a:gd name="connsiteX0" fmla="*/ 1021 w 34647"/>
                <a:gd name="connsiteY0" fmla="*/ 12029 h 20074"/>
                <a:gd name="connsiteX1" fmla="*/ 13213 w 34647"/>
                <a:gd name="connsiteY1" fmla="*/ 18983 h 20074"/>
                <a:gd name="connsiteX2" fmla="*/ 20642 w 34647"/>
                <a:gd name="connsiteY2" fmla="*/ 18983 h 20074"/>
                <a:gd name="connsiteX3" fmla="*/ 32739 w 34647"/>
                <a:gd name="connsiteY3" fmla="*/ 12029 h 20074"/>
                <a:gd name="connsiteX4" fmla="*/ 32739 w 34647"/>
                <a:gd name="connsiteY4" fmla="*/ 7743 h 20074"/>
                <a:gd name="connsiteX5" fmla="*/ 20642 w 34647"/>
                <a:gd name="connsiteY5" fmla="*/ 695 h 20074"/>
                <a:gd name="connsiteX6" fmla="*/ 13213 w 34647"/>
                <a:gd name="connsiteY6" fmla="*/ 695 h 20074"/>
                <a:gd name="connsiteX7" fmla="*/ 1021 w 34647"/>
                <a:gd name="connsiteY7" fmla="*/ 7743 h 20074"/>
                <a:gd name="connsiteX8" fmla="*/ 1021 w 34647"/>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647" h="20074">
                  <a:moveTo>
                    <a:pt x="1021" y="12029"/>
                  </a:moveTo>
                  <a:lnTo>
                    <a:pt x="13213" y="18983"/>
                  </a:lnTo>
                  <a:cubicBezTo>
                    <a:pt x="15537" y="20221"/>
                    <a:pt x="18318" y="20221"/>
                    <a:pt x="20642" y="18983"/>
                  </a:cubicBezTo>
                  <a:lnTo>
                    <a:pt x="32739" y="12029"/>
                  </a:lnTo>
                  <a:cubicBezTo>
                    <a:pt x="34835" y="10791"/>
                    <a:pt x="34835" y="8886"/>
                    <a:pt x="32739" y="7743"/>
                  </a:cubicBezTo>
                  <a:lnTo>
                    <a:pt x="20642" y="695"/>
                  </a:lnTo>
                  <a:cubicBezTo>
                    <a:pt x="18299" y="-448"/>
                    <a:pt x="15556" y="-448"/>
                    <a:pt x="13213" y="695"/>
                  </a:cubicBezTo>
                  <a:lnTo>
                    <a:pt x="1021" y="7743"/>
                  </a:lnTo>
                  <a:cubicBezTo>
                    <a:pt x="-789" y="8886"/>
                    <a:pt x="-789" y="10791"/>
                    <a:pt x="1021" y="12029"/>
                  </a:cubicBezTo>
                  <a:close/>
                </a:path>
              </a:pathLst>
            </a:custGeom>
            <a:solidFill>
              <a:srgbClr val="D1D9E8"/>
            </a:solidFill>
            <a:ln w="9525" cap="flat">
              <a:noFill/>
              <a:prstDash val="solid"/>
              <a:miter/>
            </a:ln>
          </p:spPr>
          <p:txBody>
            <a:bodyPr rtlCol="0" anchor="ctr"/>
            <a:lstStyle/>
            <a:p>
              <a:endParaRPr lang="zh-CN" altLang="en-US"/>
            </a:p>
          </p:txBody>
        </p:sp>
        <p:sp>
          <p:nvSpPr>
            <p:cNvPr id="211" name="îşḷiďê">
              <a:extLst>
                <a:ext uri="{FF2B5EF4-FFF2-40B4-BE49-F238E27FC236}">
                  <a16:creationId xmlns:a16="http://schemas.microsoft.com/office/drawing/2014/main" id="{8739D635-90F7-4AD2-BC4A-991878A36CEA}"/>
                </a:ext>
              </a:extLst>
            </p:cNvPr>
            <p:cNvSpPr/>
            <p:nvPr/>
          </p:nvSpPr>
          <p:spPr>
            <a:xfrm>
              <a:off x="6048352" y="5049375"/>
              <a:ext cx="109594" cy="53801"/>
            </a:xfrm>
            <a:custGeom>
              <a:avLst/>
              <a:gdLst>
                <a:gd name="connsiteX0" fmla="*/ -336 w 36004"/>
                <a:gd name="connsiteY0" fmla="*/ -163 h 17675"/>
                <a:gd name="connsiteX1" fmla="*/ -336 w 36004"/>
                <a:gd name="connsiteY1" fmla="*/ 7076 h 17675"/>
                <a:gd name="connsiteX2" fmla="*/ 1188 w 36004"/>
                <a:gd name="connsiteY2" fmla="*/ 9267 h 17675"/>
                <a:gd name="connsiteX3" fmla="*/ 13856 w 36004"/>
                <a:gd name="connsiteY3" fmla="*/ 16506 h 17675"/>
                <a:gd name="connsiteX4" fmla="*/ 21476 w 36004"/>
                <a:gd name="connsiteY4" fmla="*/ 16506 h 17675"/>
                <a:gd name="connsiteX5" fmla="*/ 34144 w 36004"/>
                <a:gd name="connsiteY5" fmla="*/ 9267 h 17675"/>
                <a:gd name="connsiteX6" fmla="*/ 35668 w 36004"/>
                <a:gd name="connsiteY6" fmla="*/ 6981 h 17675"/>
                <a:gd name="connsiteX7" fmla="*/ 35668 w 36004"/>
                <a:gd name="connsiteY7" fmla="*/ -163 h 17675"/>
                <a:gd name="connsiteX8" fmla="*/ 34144 w 36004"/>
                <a:gd name="connsiteY8" fmla="*/ 2123 h 17675"/>
                <a:gd name="connsiteX9" fmla="*/ 31763 w 36004"/>
                <a:gd name="connsiteY9" fmla="*/ 3457 h 17675"/>
                <a:gd name="connsiteX10" fmla="*/ 21476 w 36004"/>
                <a:gd name="connsiteY10" fmla="*/ 9362 h 17675"/>
                <a:gd name="connsiteX11" fmla="*/ 13856 w 36004"/>
                <a:gd name="connsiteY11" fmla="*/ 9362 h 17675"/>
                <a:gd name="connsiteX12" fmla="*/ 3569 w 36004"/>
                <a:gd name="connsiteY12" fmla="*/ 3457 h 17675"/>
                <a:gd name="connsiteX13" fmla="*/ 1188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79" y="8029"/>
                    <a:pt x="312" y="8876"/>
                    <a:pt x="1188" y="9267"/>
                  </a:cubicBezTo>
                  <a:lnTo>
                    <a:pt x="13856" y="16506"/>
                  </a:lnTo>
                  <a:cubicBezTo>
                    <a:pt x="16218" y="17849"/>
                    <a:pt x="19114" y="17849"/>
                    <a:pt x="21476" y="16506"/>
                  </a:cubicBezTo>
                  <a:lnTo>
                    <a:pt x="34144" y="9267"/>
                  </a:lnTo>
                  <a:cubicBezTo>
                    <a:pt x="35049" y="8867"/>
                    <a:pt x="35640" y="7971"/>
                    <a:pt x="35668" y="6981"/>
                  </a:cubicBezTo>
                  <a:lnTo>
                    <a:pt x="35668" y="-163"/>
                  </a:lnTo>
                  <a:cubicBezTo>
                    <a:pt x="35602" y="818"/>
                    <a:pt x="35021" y="1685"/>
                    <a:pt x="34144" y="2123"/>
                  </a:cubicBezTo>
                  <a:lnTo>
                    <a:pt x="31763" y="3457"/>
                  </a:lnTo>
                  <a:lnTo>
                    <a:pt x="21476" y="9362"/>
                  </a:lnTo>
                  <a:cubicBezTo>
                    <a:pt x="19085" y="10600"/>
                    <a:pt x="16247" y="10600"/>
                    <a:pt x="13856" y="9362"/>
                  </a:cubicBezTo>
                  <a:lnTo>
                    <a:pt x="3569" y="3457"/>
                  </a:lnTo>
                  <a:lnTo>
                    <a:pt x="1188" y="2123"/>
                  </a:lnTo>
                  <a:cubicBezTo>
                    <a:pt x="312"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212" name="ïṧḻíde">
              <a:extLst>
                <a:ext uri="{FF2B5EF4-FFF2-40B4-BE49-F238E27FC236}">
                  <a16:creationId xmlns:a16="http://schemas.microsoft.com/office/drawing/2014/main" id="{461841BA-1006-4629-941F-8BF25FF4D293}"/>
                </a:ext>
              </a:extLst>
            </p:cNvPr>
            <p:cNvSpPr/>
            <p:nvPr/>
          </p:nvSpPr>
          <p:spPr>
            <a:xfrm>
              <a:off x="6125476" y="5062202"/>
              <a:ext cx="109362" cy="63588"/>
            </a:xfrm>
            <a:custGeom>
              <a:avLst/>
              <a:gdLst>
                <a:gd name="connsiteX0" fmla="*/ -336 w 35928"/>
                <a:gd name="connsiteY0" fmla="*/ 10291 h 20890"/>
                <a:gd name="connsiteX1" fmla="*/ 1283 w 35928"/>
                <a:gd name="connsiteY1" fmla="*/ 12482 h 20890"/>
                <a:gd name="connsiteX2" fmla="*/ 3569 w 35928"/>
                <a:gd name="connsiteY2" fmla="*/ 13911 h 20890"/>
                <a:gd name="connsiteX3" fmla="*/ 13856 w 35928"/>
                <a:gd name="connsiteY3" fmla="*/ 19721 h 20890"/>
                <a:gd name="connsiteX4" fmla="*/ 21571 w 35928"/>
                <a:gd name="connsiteY4" fmla="*/ 19721 h 20890"/>
                <a:gd name="connsiteX5" fmla="*/ 31858 w 35928"/>
                <a:gd name="connsiteY5" fmla="*/ 13911 h 20890"/>
                <a:gd name="connsiteX6" fmla="*/ 34144 w 35928"/>
                <a:gd name="connsiteY6" fmla="*/ 12482 h 20890"/>
                <a:gd name="connsiteX7" fmla="*/ 35402 w 35928"/>
                <a:gd name="connsiteY7" fmla="*/ 9358 h 20890"/>
                <a:gd name="connsiteX8" fmla="*/ 34144 w 35928"/>
                <a:gd name="connsiteY8" fmla="*/ 8101 h 20890"/>
                <a:gd name="connsiteX9" fmla="*/ 21571 w 35928"/>
                <a:gd name="connsiteY9" fmla="*/ 766 h 20890"/>
                <a:gd name="connsiteX10" fmla="*/ 13856 w 35928"/>
                <a:gd name="connsiteY10" fmla="*/ 766 h 20890"/>
                <a:gd name="connsiteX11" fmla="*/ 1283 w 35928"/>
                <a:gd name="connsiteY11" fmla="*/ 8101 h 20890"/>
                <a:gd name="connsiteX12" fmla="*/ -336 w 35928"/>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928" h="20890">
                  <a:moveTo>
                    <a:pt x="-336" y="10291"/>
                  </a:moveTo>
                  <a:cubicBezTo>
                    <a:pt x="-279" y="11282"/>
                    <a:pt x="350" y="12139"/>
                    <a:pt x="1283" y="12482"/>
                  </a:cubicBezTo>
                  <a:lnTo>
                    <a:pt x="3569" y="13911"/>
                  </a:lnTo>
                  <a:lnTo>
                    <a:pt x="13856" y="19721"/>
                  </a:lnTo>
                  <a:cubicBezTo>
                    <a:pt x="16256" y="21064"/>
                    <a:pt x="19171" y="21064"/>
                    <a:pt x="21571" y="19721"/>
                  </a:cubicBezTo>
                  <a:lnTo>
                    <a:pt x="31858" y="13911"/>
                  </a:lnTo>
                  <a:lnTo>
                    <a:pt x="34144" y="12482"/>
                  </a:lnTo>
                  <a:cubicBezTo>
                    <a:pt x="35354" y="11967"/>
                    <a:pt x="35916" y="10568"/>
                    <a:pt x="35402" y="9358"/>
                  </a:cubicBezTo>
                  <a:cubicBezTo>
                    <a:pt x="35164" y="8796"/>
                    <a:pt x="34706" y="8339"/>
                    <a:pt x="34144" y="8101"/>
                  </a:cubicBezTo>
                  <a:lnTo>
                    <a:pt x="21571" y="766"/>
                  </a:lnTo>
                  <a:cubicBezTo>
                    <a:pt x="19152" y="-472"/>
                    <a:pt x="16275" y="-472"/>
                    <a:pt x="13856" y="766"/>
                  </a:cubicBezTo>
                  <a:lnTo>
                    <a:pt x="1283" y="8101"/>
                  </a:lnTo>
                  <a:cubicBezTo>
                    <a:pt x="350" y="8443"/>
                    <a:pt x="-279" y="9300"/>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213" name="iS1íḓé">
              <a:extLst>
                <a:ext uri="{FF2B5EF4-FFF2-40B4-BE49-F238E27FC236}">
                  <a16:creationId xmlns:a16="http://schemas.microsoft.com/office/drawing/2014/main" id="{A0AEE950-D8DB-42B9-8E68-D478BF87F63B}"/>
                </a:ext>
              </a:extLst>
            </p:cNvPr>
            <p:cNvSpPr/>
            <p:nvPr/>
          </p:nvSpPr>
          <p:spPr>
            <a:xfrm>
              <a:off x="6127360" y="5063362"/>
              <a:ext cx="105898" cy="61104"/>
            </a:xfrm>
            <a:custGeom>
              <a:avLst/>
              <a:gdLst>
                <a:gd name="connsiteX0" fmla="*/ 1235 w 34790"/>
                <a:gd name="connsiteY0" fmla="*/ 12006 h 20074"/>
                <a:gd name="connsiteX1" fmla="*/ 13332 w 34790"/>
                <a:gd name="connsiteY1" fmla="*/ 19054 h 20074"/>
                <a:gd name="connsiteX2" fmla="*/ 20761 w 34790"/>
                <a:gd name="connsiteY2" fmla="*/ 19054 h 20074"/>
                <a:gd name="connsiteX3" fmla="*/ 32953 w 34790"/>
                <a:gd name="connsiteY3" fmla="*/ 12006 h 20074"/>
                <a:gd name="connsiteX4" fmla="*/ 32953 w 34790"/>
                <a:gd name="connsiteY4" fmla="*/ 7719 h 20074"/>
                <a:gd name="connsiteX5" fmla="*/ 20761 w 34790"/>
                <a:gd name="connsiteY5" fmla="*/ 766 h 20074"/>
                <a:gd name="connsiteX6" fmla="*/ 13332 w 34790"/>
                <a:gd name="connsiteY6" fmla="*/ 766 h 20074"/>
                <a:gd name="connsiteX7" fmla="*/ 1235 w 34790"/>
                <a:gd name="connsiteY7" fmla="*/ 7719 h 20074"/>
                <a:gd name="connsiteX8" fmla="*/ 1235 w 34790"/>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4">
                  <a:moveTo>
                    <a:pt x="1235" y="12006"/>
                  </a:moveTo>
                  <a:lnTo>
                    <a:pt x="13332" y="19054"/>
                  </a:lnTo>
                  <a:cubicBezTo>
                    <a:pt x="15675" y="20197"/>
                    <a:pt x="18418" y="20197"/>
                    <a:pt x="20761" y="19054"/>
                  </a:cubicBezTo>
                  <a:lnTo>
                    <a:pt x="32953" y="12006"/>
                  </a:lnTo>
                  <a:cubicBezTo>
                    <a:pt x="34954" y="10863"/>
                    <a:pt x="34954" y="8957"/>
                    <a:pt x="32953" y="7719"/>
                  </a:cubicBezTo>
                  <a:lnTo>
                    <a:pt x="20761" y="766"/>
                  </a:lnTo>
                  <a:cubicBezTo>
                    <a:pt x="18437" y="-472"/>
                    <a:pt x="15656" y="-472"/>
                    <a:pt x="13332" y="766"/>
                  </a:cubicBezTo>
                  <a:lnTo>
                    <a:pt x="1235" y="7719"/>
                  </a:lnTo>
                  <a:cubicBezTo>
                    <a:pt x="-860" y="8957"/>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214" name="îṩliḑè">
              <a:extLst>
                <a:ext uri="{FF2B5EF4-FFF2-40B4-BE49-F238E27FC236}">
                  <a16:creationId xmlns:a16="http://schemas.microsoft.com/office/drawing/2014/main" id="{D0154DFA-F19B-4F40-8472-5F6584293E1F}"/>
                </a:ext>
              </a:extLst>
            </p:cNvPr>
            <p:cNvSpPr/>
            <p:nvPr/>
          </p:nvSpPr>
          <p:spPr>
            <a:xfrm>
              <a:off x="6125464" y="5094023"/>
              <a:ext cx="111055" cy="54724"/>
            </a:xfrm>
            <a:custGeom>
              <a:avLst/>
              <a:gdLst>
                <a:gd name="connsiteX0" fmla="*/ -333 w 36484"/>
                <a:gd name="connsiteY0" fmla="*/ -163 h 17978"/>
                <a:gd name="connsiteX1" fmla="*/ -333 w 36484"/>
                <a:gd name="connsiteY1" fmla="*/ 7362 h 17978"/>
                <a:gd name="connsiteX2" fmla="*/ 1286 w 36484"/>
                <a:gd name="connsiteY2" fmla="*/ 9553 h 17978"/>
                <a:gd name="connsiteX3" fmla="*/ 14336 w 36484"/>
                <a:gd name="connsiteY3" fmla="*/ 16887 h 17978"/>
                <a:gd name="connsiteX4" fmla="*/ 22051 w 36484"/>
                <a:gd name="connsiteY4" fmla="*/ 16887 h 17978"/>
                <a:gd name="connsiteX5" fmla="*/ 34624 w 36484"/>
                <a:gd name="connsiteY5" fmla="*/ 9648 h 17978"/>
                <a:gd name="connsiteX6" fmla="*/ 36148 w 36484"/>
                <a:gd name="connsiteY6" fmla="*/ 7362 h 17978"/>
                <a:gd name="connsiteX7" fmla="*/ 36148 w 36484"/>
                <a:gd name="connsiteY7" fmla="*/ 218 h 17978"/>
                <a:gd name="connsiteX8" fmla="*/ 34624 w 36484"/>
                <a:gd name="connsiteY8" fmla="*/ 2409 h 17978"/>
                <a:gd name="connsiteX9" fmla="*/ 32338 w 36484"/>
                <a:gd name="connsiteY9" fmla="*/ 3838 h 17978"/>
                <a:gd name="connsiteX10" fmla="*/ 22051 w 36484"/>
                <a:gd name="connsiteY10" fmla="*/ 9648 h 17978"/>
                <a:gd name="connsiteX11" fmla="*/ 14336 w 36484"/>
                <a:gd name="connsiteY11" fmla="*/ 9648 h 17978"/>
                <a:gd name="connsiteX12" fmla="*/ 4049 w 36484"/>
                <a:gd name="connsiteY12" fmla="*/ 3838 h 17978"/>
                <a:gd name="connsiteX13" fmla="*/ 1763 w 36484"/>
                <a:gd name="connsiteY13" fmla="*/ 2409 h 17978"/>
                <a:gd name="connsiteX14" fmla="*/ -333 w 36484"/>
                <a:gd name="connsiteY14" fmla="*/ -163 h 17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484" h="17978">
                  <a:moveTo>
                    <a:pt x="-333" y="-163"/>
                  </a:moveTo>
                  <a:lnTo>
                    <a:pt x="-333" y="7362"/>
                  </a:lnTo>
                  <a:cubicBezTo>
                    <a:pt x="-238" y="8334"/>
                    <a:pt x="382" y="9172"/>
                    <a:pt x="1286" y="9553"/>
                  </a:cubicBezTo>
                  <a:lnTo>
                    <a:pt x="14336" y="16887"/>
                  </a:lnTo>
                  <a:cubicBezTo>
                    <a:pt x="16755" y="18125"/>
                    <a:pt x="19632" y="18125"/>
                    <a:pt x="22051" y="16887"/>
                  </a:cubicBezTo>
                  <a:lnTo>
                    <a:pt x="34624" y="9648"/>
                  </a:lnTo>
                  <a:cubicBezTo>
                    <a:pt x="35491" y="9200"/>
                    <a:pt x="36062" y="8334"/>
                    <a:pt x="36148" y="7362"/>
                  </a:cubicBezTo>
                  <a:lnTo>
                    <a:pt x="36148" y="218"/>
                  </a:lnTo>
                  <a:cubicBezTo>
                    <a:pt x="36110" y="1181"/>
                    <a:pt x="35519" y="2038"/>
                    <a:pt x="34624" y="2409"/>
                  </a:cubicBezTo>
                  <a:lnTo>
                    <a:pt x="32338" y="3838"/>
                  </a:lnTo>
                  <a:lnTo>
                    <a:pt x="22051" y="9648"/>
                  </a:lnTo>
                  <a:cubicBezTo>
                    <a:pt x="19651" y="10991"/>
                    <a:pt x="16736" y="10991"/>
                    <a:pt x="14336" y="9648"/>
                  </a:cubicBezTo>
                  <a:lnTo>
                    <a:pt x="4049" y="3838"/>
                  </a:lnTo>
                  <a:lnTo>
                    <a:pt x="1763" y="2409"/>
                  </a:lnTo>
                  <a:cubicBezTo>
                    <a:pt x="505" y="2219"/>
                    <a:pt x="-399" y="1104"/>
                    <a:pt x="-333" y="-163"/>
                  </a:cubicBezTo>
                  <a:close/>
                </a:path>
              </a:pathLst>
            </a:custGeom>
            <a:solidFill>
              <a:srgbClr val="BF4200"/>
            </a:solidFill>
            <a:ln w="9525" cap="flat">
              <a:noFill/>
              <a:prstDash val="solid"/>
              <a:miter/>
            </a:ln>
          </p:spPr>
          <p:txBody>
            <a:bodyPr rtlCol="0" anchor="ctr"/>
            <a:lstStyle/>
            <a:p>
              <a:endParaRPr lang="zh-CN" altLang="en-US"/>
            </a:p>
          </p:txBody>
        </p:sp>
        <p:sp>
          <p:nvSpPr>
            <p:cNvPr id="215" name="iṣ1îḍê">
              <a:extLst>
                <a:ext uri="{FF2B5EF4-FFF2-40B4-BE49-F238E27FC236}">
                  <a16:creationId xmlns:a16="http://schemas.microsoft.com/office/drawing/2014/main" id="{EAAB215C-11A3-4FCC-9C57-8BE7EC3E81B2}"/>
                </a:ext>
              </a:extLst>
            </p:cNvPr>
            <p:cNvSpPr/>
            <p:nvPr/>
          </p:nvSpPr>
          <p:spPr>
            <a:xfrm>
              <a:off x="6202889" y="5107048"/>
              <a:ext cx="109740" cy="63445"/>
            </a:xfrm>
            <a:custGeom>
              <a:avLst/>
              <a:gdLst>
                <a:gd name="connsiteX0" fmla="*/ -336 w 36052"/>
                <a:gd name="connsiteY0" fmla="*/ 10227 h 20843"/>
                <a:gd name="connsiteX1" fmla="*/ 1188 w 36052"/>
                <a:gd name="connsiteY1" fmla="*/ 12513 h 20843"/>
                <a:gd name="connsiteX2" fmla="*/ 3569 w 36052"/>
                <a:gd name="connsiteY2" fmla="*/ 13846 h 20843"/>
                <a:gd name="connsiteX3" fmla="*/ 13856 w 36052"/>
                <a:gd name="connsiteY3" fmla="*/ 19752 h 20843"/>
                <a:gd name="connsiteX4" fmla="*/ 21476 w 36052"/>
                <a:gd name="connsiteY4" fmla="*/ 19752 h 20843"/>
                <a:gd name="connsiteX5" fmla="*/ 31763 w 36052"/>
                <a:gd name="connsiteY5" fmla="*/ 13846 h 20843"/>
                <a:gd name="connsiteX6" fmla="*/ 34144 w 36052"/>
                <a:gd name="connsiteY6" fmla="*/ 12513 h 20843"/>
                <a:gd name="connsiteX7" fmla="*/ 35573 w 36052"/>
                <a:gd name="connsiteY7" fmla="*/ 9465 h 20843"/>
                <a:gd name="connsiteX8" fmla="*/ 34144 w 36052"/>
                <a:gd name="connsiteY8" fmla="*/ 8036 h 20843"/>
                <a:gd name="connsiteX9" fmla="*/ 21476 w 36052"/>
                <a:gd name="connsiteY9" fmla="*/ 702 h 20843"/>
                <a:gd name="connsiteX10" fmla="*/ 13856 w 36052"/>
                <a:gd name="connsiteY10" fmla="*/ 702 h 20843"/>
                <a:gd name="connsiteX11" fmla="*/ 1188 w 36052"/>
                <a:gd name="connsiteY11" fmla="*/ 8036 h 20843"/>
                <a:gd name="connsiteX12" fmla="*/ -336 w 36052"/>
                <a:gd name="connsiteY12" fmla="*/ 10227 h 20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3">
                  <a:moveTo>
                    <a:pt x="-336" y="10227"/>
                  </a:moveTo>
                  <a:cubicBezTo>
                    <a:pt x="-270" y="11208"/>
                    <a:pt x="311" y="12075"/>
                    <a:pt x="1188" y="12513"/>
                  </a:cubicBezTo>
                  <a:lnTo>
                    <a:pt x="3569" y="13846"/>
                  </a:lnTo>
                  <a:lnTo>
                    <a:pt x="13856" y="19752"/>
                  </a:lnTo>
                  <a:cubicBezTo>
                    <a:pt x="16247" y="20990"/>
                    <a:pt x="19085" y="20990"/>
                    <a:pt x="21476" y="19752"/>
                  </a:cubicBezTo>
                  <a:lnTo>
                    <a:pt x="31763" y="13846"/>
                  </a:lnTo>
                  <a:lnTo>
                    <a:pt x="34144" y="12513"/>
                  </a:lnTo>
                  <a:cubicBezTo>
                    <a:pt x="35382" y="12065"/>
                    <a:pt x="36020" y="10694"/>
                    <a:pt x="35573" y="9465"/>
                  </a:cubicBezTo>
                  <a:cubicBezTo>
                    <a:pt x="35325" y="8798"/>
                    <a:pt x="34811" y="8274"/>
                    <a:pt x="34144"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216" name="islïḑe">
              <a:extLst>
                <a:ext uri="{FF2B5EF4-FFF2-40B4-BE49-F238E27FC236}">
                  <a16:creationId xmlns:a16="http://schemas.microsoft.com/office/drawing/2014/main" id="{C93E70BB-02D7-4E86-9940-9871743D3417}"/>
                </a:ext>
              </a:extLst>
            </p:cNvPr>
            <p:cNvSpPr/>
            <p:nvPr/>
          </p:nvSpPr>
          <p:spPr>
            <a:xfrm>
              <a:off x="6204700" y="5108811"/>
              <a:ext cx="105895" cy="61101"/>
            </a:xfrm>
            <a:custGeom>
              <a:avLst/>
              <a:gdLst>
                <a:gd name="connsiteX0" fmla="*/ 1164 w 34789"/>
                <a:gd name="connsiteY0" fmla="*/ 12029 h 20073"/>
                <a:gd name="connsiteX1" fmla="*/ 13356 w 34789"/>
                <a:gd name="connsiteY1" fmla="*/ 18983 h 20073"/>
                <a:gd name="connsiteX2" fmla="*/ 20785 w 34789"/>
                <a:gd name="connsiteY2" fmla="*/ 18983 h 20073"/>
                <a:gd name="connsiteX3" fmla="*/ 32882 w 34789"/>
                <a:gd name="connsiteY3" fmla="*/ 12029 h 20073"/>
                <a:gd name="connsiteX4" fmla="*/ 32882 w 34789"/>
                <a:gd name="connsiteY4" fmla="*/ 7743 h 20073"/>
                <a:gd name="connsiteX5" fmla="*/ 20785 w 34789"/>
                <a:gd name="connsiteY5" fmla="*/ 695 h 20073"/>
                <a:gd name="connsiteX6" fmla="*/ 13356 w 34789"/>
                <a:gd name="connsiteY6" fmla="*/ 695 h 20073"/>
                <a:gd name="connsiteX7" fmla="*/ 1164 w 34789"/>
                <a:gd name="connsiteY7" fmla="*/ 7743 h 20073"/>
                <a:gd name="connsiteX8" fmla="*/ 1164 w 34789"/>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89" h="20073">
                  <a:moveTo>
                    <a:pt x="1164" y="12029"/>
                  </a:moveTo>
                  <a:lnTo>
                    <a:pt x="13356" y="18983"/>
                  </a:lnTo>
                  <a:cubicBezTo>
                    <a:pt x="15680" y="20221"/>
                    <a:pt x="18461" y="20221"/>
                    <a:pt x="20785" y="18983"/>
                  </a:cubicBezTo>
                  <a:lnTo>
                    <a:pt x="32882" y="12029"/>
                  </a:lnTo>
                  <a:cubicBezTo>
                    <a:pt x="34977" y="10791"/>
                    <a:pt x="34977" y="8886"/>
                    <a:pt x="32882" y="7743"/>
                  </a:cubicBezTo>
                  <a:lnTo>
                    <a:pt x="20785" y="695"/>
                  </a:lnTo>
                  <a:cubicBezTo>
                    <a:pt x="18442" y="-448"/>
                    <a:pt x="15699" y="-448"/>
                    <a:pt x="13356" y="695"/>
                  </a:cubicBezTo>
                  <a:lnTo>
                    <a:pt x="1164" y="7743"/>
                  </a:lnTo>
                  <a:cubicBezTo>
                    <a:pt x="-836" y="8696"/>
                    <a:pt x="-836" y="10601"/>
                    <a:pt x="1164" y="12029"/>
                  </a:cubicBezTo>
                  <a:close/>
                </a:path>
              </a:pathLst>
            </a:custGeom>
            <a:solidFill>
              <a:srgbClr val="D1D9E8"/>
            </a:solidFill>
            <a:ln w="9525" cap="flat">
              <a:noFill/>
              <a:prstDash val="solid"/>
              <a:miter/>
            </a:ln>
          </p:spPr>
          <p:txBody>
            <a:bodyPr rtlCol="0" anchor="ctr"/>
            <a:lstStyle/>
            <a:p>
              <a:endParaRPr lang="zh-CN" altLang="en-US"/>
            </a:p>
          </p:txBody>
        </p:sp>
        <p:sp>
          <p:nvSpPr>
            <p:cNvPr id="217" name="ïṧľíḍè">
              <a:extLst>
                <a:ext uri="{FF2B5EF4-FFF2-40B4-BE49-F238E27FC236}">
                  <a16:creationId xmlns:a16="http://schemas.microsoft.com/office/drawing/2014/main" id="{86AA19DF-4CC5-4C42-9C17-249739C81C5A}"/>
                </a:ext>
              </a:extLst>
            </p:cNvPr>
            <p:cNvSpPr/>
            <p:nvPr/>
          </p:nvSpPr>
          <p:spPr>
            <a:xfrm>
              <a:off x="6202889" y="5138675"/>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3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3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2" y="7953"/>
                    <a:pt x="35668" y="6981"/>
                  </a:cubicBezTo>
                  <a:lnTo>
                    <a:pt x="35668" y="-163"/>
                  </a:lnTo>
                  <a:cubicBezTo>
                    <a:pt x="35602" y="818"/>
                    <a:pt x="35021" y="1685"/>
                    <a:pt x="34144" y="2123"/>
                  </a:cubicBezTo>
                  <a:lnTo>
                    <a:pt x="31763" y="3457"/>
                  </a:lnTo>
                  <a:lnTo>
                    <a:pt x="21476" y="9362"/>
                  </a:lnTo>
                  <a:cubicBezTo>
                    <a:pt x="19085" y="10601"/>
                    <a:pt x="16247" y="10601"/>
                    <a:pt x="13856" y="9362"/>
                  </a:cubicBezTo>
                  <a:lnTo>
                    <a:pt x="3569" y="3457"/>
                  </a:lnTo>
                  <a:lnTo>
                    <a:pt x="1188"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218" name="iṧľiḑé">
              <a:extLst>
                <a:ext uri="{FF2B5EF4-FFF2-40B4-BE49-F238E27FC236}">
                  <a16:creationId xmlns:a16="http://schemas.microsoft.com/office/drawing/2014/main" id="{04A0FB90-67C0-4C8C-A475-EE891B380741}"/>
                </a:ext>
              </a:extLst>
            </p:cNvPr>
            <p:cNvSpPr/>
            <p:nvPr/>
          </p:nvSpPr>
          <p:spPr>
            <a:xfrm>
              <a:off x="6280010" y="5151502"/>
              <a:ext cx="109740" cy="63639"/>
            </a:xfrm>
            <a:custGeom>
              <a:avLst/>
              <a:gdLst>
                <a:gd name="connsiteX0" fmla="*/ -336 w 36052"/>
                <a:gd name="connsiteY0" fmla="*/ 10291 h 20907"/>
                <a:gd name="connsiteX1" fmla="*/ 1283 w 36052"/>
                <a:gd name="connsiteY1" fmla="*/ 12577 h 20907"/>
                <a:gd name="connsiteX2" fmla="*/ 3569 w 36052"/>
                <a:gd name="connsiteY2" fmla="*/ 13911 h 20907"/>
                <a:gd name="connsiteX3" fmla="*/ 13856 w 36052"/>
                <a:gd name="connsiteY3" fmla="*/ 19816 h 20907"/>
                <a:gd name="connsiteX4" fmla="*/ 21571 w 36052"/>
                <a:gd name="connsiteY4" fmla="*/ 19816 h 20907"/>
                <a:gd name="connsiteX5" fmla="*/ 31858 w 36052"/>
                <a:gd name="connsiteY5" fmla="*/ 13911 h 20907"/>
                <a:gd name="connsiteX6" fmla="*/ 34144 w 36052"/>
                <a:gd name="connsiteY6" fmla="*/ 12577 h 20907"/>
                <a:gd name="connsiteX7" fmla="*/ 35573 w 36052"/>
                <a:gd name="connsiteY7" fmla="*/ 9529 h 20907"/>
                <a:gd name="connsiteX8" fmla="*/ 34144 w 36052"/>
                <a:gd name="connsiteY8" fmla="*/ 8100 h 20907"/>
                <a:gd name="connsiteX9" fmla="*/ 21571 w 36052"/>
                <a:gd name="connsiteY9" fmla="*/ 766 h 20907"/>
                <a:gd name="connsiteX10" fmla="*/ 13856 w 36052"/>
                <a:gd name="connsiteY10" fmla="*/ 766 h 20907"/>
                <a:gd name="connsiteX11" fmla="*/ 1283 w 36052"/>
                <a:gd name="connsiteY11" fmla="*/ 8100 h 20907"/>
                <a:gd name="connsiteX12" fmla="*/ -336 w 36052"/>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907">
                  <a:moveTo>
                    <a:pt x="-336" y="10291"/>
                  </a:moveTo>
                  <a:cubicBezTo>
                    <a:pt x="-232" y="11282"/>
                    <a:pt x="378" y="12148"/>
                    <a:pt x="1283" y="12577"/>
                  </a:cubicBezTo>
                  <a:lnTo>
                    <a:pt x="3569" y="13911"/>
                  </a:lnTo>
                  <a:lnTo>
                    <a:pt x="13856" y="19816"/>
                  </a:lnTo>
                  <a:cubicBezTo>
                    <a:pt x="16275" y="21054"/>
                    <a:pt x="19152" y="21054"/>
                    <a:pt x="21571" y="19816"/>
                  </a:cubicBezTo>
                  <a:lnTo>
                    <a:pt x="31858" y="13911"/>
                  </a:lnTo>
                  <a:lnTo>
                    <a:pt x="34144" y="12577"/>
                  </a:lnTo>
                  <a:cubicBezTo>
                    <a:pt x="35382" y="12129"/>
                    <a:pt x="36020" y="10758"/>
                    <a:pt x="35573" y="9529"/>
                  </a:cubicBezTo>
                  <a:cubicBezTo>
                    <a:pt x="35325" y="8862"/>
                    <a:pt x="34811" y="8338"/>
                    <a:pt x="34144" y="8100"/>
                  </a:cubicBezTo>
                  <a:lnTo>
                    <a:pt x="21571" y="766"/>
                  </a:lnTo>
                  <a:cubicBezTo>
                    <a:pt x="19152" y="-472"/>
                    <a:pt x="16275" y="-472"/>
                    <a:pt x="13856" y="766"/>
                  </a:cubicBezTo>
                  <a:lnTo>
                    <a:pt x="1283" y="8100"/>
                  </a:lnTo>
                  <a:cubicBezTo>
                    <a:pt x="407" y="8510"/>
                    <a:pt x="-203" y="933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219" name="ïsľïḋê">
              <a:extLst>
                <a:ext uri="{FF2B5EF4-FFF2-40B4-BE49-F238E27FC236}">
                  <a16:creationId xmlns:a16="http://schemas.microsoft.com/office/drawing/2014/main" id="{B5ACD04F-CA16-4A5F-9D21-6808A32207E6}"/>
                </a:ext>
              </a:extLst>
            </p:cNvPr>
            <p:cNvSpPr/>
            <p:nvPr/>
          </p:nvSpPr>
          <p:spPr>
            <a:xfrm>
              <a:off x="6281967" y="5152881"/>
              <a:ext cx="105244" cy="61104"/>
            </a:xfrm>
            <a:custGeom>
              <a:avLst/>
              <a:gdLst>
                <a:gd name="connsiteX0" fmla="*/ 1021 w 34575"/>
                <a:gd name="connsiteY0" fmla="*/ 12029 h 20074"/>
                <a:gd name="connsiteX1" fmla="*/ 13118 w 34575"/>
                <a:gd name="connsiteY1" fmla="*/ 18983 h 20074"/>
                <a:gd name="connsiteX2" fmla="*/ 20547 w 34575"/>
                <a:gd name="connsiteY2" fmla="*/ 18983 h 20074"/>
                <a:gd name="connsiteX3" fmla="*/ 32739 w 34575"/>
                <a:gd name="connsiteY3" fmla="*/ 12029 h 20074"/>
                <a:gd name="connsiteX4" fmla="*/ 32739 w 34575"/>
                <a:gd name="connsiteY4" fmla="*/ 7743 h 20074"/>
                <a:gd name="connsiteX5" fmla="*/ 20547 w 34575"/>
                <a:gd name="connsiteY5" fmla="*/ 695 h 20074"/>
                <a:gd name="connsiteX6" fmla="*/ 13118 w 34575"/>
                <a:gd name="connsiteY6" fmla="*/ 695 h 20074"/>
                <a:gd name="connsiteX7" fmla="*/ 1021 w 34575"/>
                <a:gd name="connsiteY7" fmla="*/ 7743 h 20074"/>
                <a:gd name="connsiteX8" fmla="*/ 1021 w 34575"/>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575" h="20074">
                  <a:moveTo>
                    <a:pt x="1021" y="12029"/>
                  </a:moveTo>
                  <a:lnTo>
                    <a:pt x="13118" y="18983"/>
                  </a:lnTo>
                  <a:cubicBezTo>
                    <a:pt x="15442" y="20221"/>
                    <a:pt x="18223" y="20221"/>
                    <a:pt x="20547" y="18983"/>
                  </a:cubicBezTo>
                  <a:lnTo>
                    <a:pt x="32739" y="12029"/>
                  </a:lnTo>
                  <a:cubicBezTo>
                    <a:pt x="34740" y="10791"/>
                    <a:pt x="34740" y="8886"/>
                    <a:pt x="32739" y="7743"/>
                  </a:cubicBezTo>
                  <a:lnTo>
                    <a:pt x="20547" y="695"/>
                  </a:lnTo>
                  <a:cubicBezTo>
                    <a:pt x="18204" y="-448"/>
                    <a:pt x="15461" y="-448"/>
                    <a:pt x="13118" y="695"/>
                  </a:cubicBezTo>
                  <a:lnTo>
                    <a:pt x="1021" y="7743"/>
                  </a:lnTo>
                  <a:cubicBezTo>
                    <a:pt x="-789" y="8886"/>
                    <a:pt x="-789" y="10791"/>
                    <a:pt x="1021" y="12029"/>
                  </a:cubicBezTo>
                  <a:close/>
                </a:path>
              </a:pathLst>
            </a:custGeom>
            <a:solidFill>
              <a:srgbClr val="D1D9E8"/>
            </a:solidFill>
            <a:ln w="9525" cap="flat">
              <a:noFill/>
              <a:prstDash val="solid"/>
              <a:miter/>
            </a:ln>
          </p:spPr>
          <p:txBody>
            <a:bodyPr rtlCol="0" anchor="ctr"/>
            <a:lstStyle/>
            <a:p>
              <a:endParaRPr lang="zh-CN" altLang="en-US"/>
            </a:p>
          </p:txBody>
        </p:sp>
        <p:sp>
          <p:nvSpPr>
            <p:cNvPr id="220" name="íṥľíḓè">
              <a:extLst>
                <a:ext uri="{FF2B5EF4-FFF2-40B4-BE49-F238E27FC236}">
                  <a16:creationId xmlns:a16="http://schemas.microsoft.com/office/drawing/2014/main" id="{E486DF49-31CB-450C-8E5E-D20BA014139C}"/>
                </a:ext>
              </a:extLst>
            </p:cNvPr>
            <p:cNvSpPr/>
            <p:nvPr/>
          </p:nvSpPr>
          <p:spPr>
            <a:xfrm>
              <a:off x="6280010" y="5183323"/>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3 w 36099"/>
                <a:gd name="connsiteY6" fmla="*/ 6981 h 17597"/>
                <a:gd name="connsiteX7" fmla="*/ 35763 w 36099"/>
                <a:gd name="connsiteY7" fmla="*/ -163 h 17597"/>
                <a:gd name="connsiteX8" fmla="*/ 34144 w 36099"/>
                <a:gd name="connsiteY8" fmla="*/ 2123 h 17597"/>
                <a:gd name="connsiteX9" fmla="*/ 31858 w 36099"/>
                <a:gd name="connsiteY9" fmla="*/ 3457 h 17597"/>
                <a:gd name="connsiteX10" fmla="*/ 21571 w 36099"/>
                <a:gd name="connsiteY10" fmla="*/ 9362 h 17597"/>
                <a:gd name="connsiteX11" fmla="*/ 13856 w 36099"/>
                <a:gd name="connsiteY11" fmla="*/ 9362 h 17597"/>
                <a:gd name="connsiteX12" fmla="*/ 3569 w 36099"/>
                <a:gd name="connsiteY12" fmla="*/ 3457 h 17597"/>
                <a:gd name="connsiteX13" fmla="*/ 1283 w 36099"/>
                <a:gd name="connsiteY13" fmla="*/ 2123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03" y="8029"/>
                    <a:pt x="407" y="8857"/>
                    <a:pt x="1283" y="9267"/>
                  </a:cubicBezTo>
                  <a:lnTo>
                    <a:pt x="13856" y="16506"/>
                  </a:lnTo>
                  <a:cubicBezTo>
                    <a:pt x="16275" y="17744"/>
                    <a:pt x="19152" y="17744"/>
                    <a:pt x="21571" y="16506"/>
                  </a:cubicBezTo>
                  <a:lnTo>
                    <a:pt x="34144" y="9267"/>
                  </a:lnTo>
                  <a:cubicBezTo>
                    <a:pt x="35030" y="8829"/>
                    <a:pt x="35639" y="7962"/>
                    <a:pt x="35763" y="6981"/>
                  </a:cubicBezTo>
                  <a:lnTo>
                    <a:pt x="35763" y="-163"/>
                  </a:lnTo>
                  <a:cubicBezTo>
                    <a:pt x="35659" y="828"/>
                    <a:pt x="35049" y="1695"/>
                    <a:pt x="34144" y="2123"/>
                  </a:cubicBezTo>
                  <a:lnTo>
                    <a:pt x="31858" y="3457"/>
                  </a:lnTo>
                  <a:lnTo>
                    <a:pt x="21571" y="9362"/>
                  </a:lnTo>
                  <a:cubicBezTo>
                    <a:pt x="19152" y="10601"/>
                    <a:pt x="16275" y="10601"/>
                    <a:pt x="13856" y="9362"/>
                  </a:cubicBezTo>
                  <a:lnTo>
                    <a:pt x="3569" y="3457"/>
                  </a:lnTo>
                  <a:lnTo>
                    <a:pt x="1283" y="2123"/>
                  </a:lnTo>
                  <a:cubicBezTo>
                    <a:pt x="378" y="1695"/>
                    <a:pt x="-232"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221" name="ïsľide">
              <a:extLst>
                <a:ext uri="{FF2B5EF4-FFF2-40B4-BE49-F238E27FC236}">
                  <a16:creationId xmlns:a16="http://schemas.microsoft.com/office/drawing/2014/main" id="{0E8D3A8F-4B2B-410C-BD03-2E080BB1CFE3}"/>
                </a:ext>
              </a:extLst>
            </p:cNvPr>
            <p:cNvSpPr/>
            <p:nvPr/>
          </p:nvSpPr>
          <p:spPr>
            <a:xfrm>
              <a:off x="6357423" y="5196153"/>
              <a:ext cx="109594" cy="63639"/>
            </a:xfrm>
            <a:custGeom>
              <a:avLst/>
              <a:gdLst>
                <a:gd name="connsiteX0" fmla="*/ -336 w 36004"/>
                <a:gd name="connsiteY0" fmla="*/ 10291 h 20907"/>
                <a:gd name="connsiteX1" fmla="*/ 1188 w 36004"/>
                <a:gd name="connsiteY1" fmla="*/ 12577 h 20907"/>
                <a:gd name="connsiteX2" fmla="*/ 3569 w 36004"/>
                <a:gd name="connsiteY2" fmla="*/ 13910 h 20907"/>
                <a:gd name="connsiteX3" fmla="*/ 13856 w 36004"/>
                <a:gd name="connsiteY3" fmla="*/ 19816 h 20907"/>
                <a:gd name="connsiteX4" fmla="*/ 21476 w 36004"/>
                <a:gd name="connsiteY4" fmla="*/ 19816 h 20907"/>
                <a:gd name="connsiteX5" fmla="*/ 31763 w 36004"/>
                <a:gd name="connsiteY5" fmla="*/ 13910 h 20907"/>
                <a:gd name="connsiteX6" fmla="*/ 34144 w 36004"/>
                <a:gd name="connsiteY6" fmla="*/ 12577 h 20907"/>
                <a:gd name="connsiteX7" fmla="*/ 35668 w 36004"/>
                <a:gd name="connsiteY7" fmla="*/ 10291 h 20907"/>
                <a:gd name="connsiteX8" fmla="*/ 34144 w 36004"/>
                <a:gd name="connsiteY8" fmla="*/ 8100 h 20907"/>
                <a:gd name="connsiteX9" fmla="*/ 21476 w 36004"/>
                <a:gd name="connsiteY9" fmla="*/ 766 h 20907"/>
                <a:gd name="connsiteX10" fmla="*/ 13856 w 36004"/>
                <a:gd name="connsiteY10" fmla="*/ 766 h 20907"/>
                <a:gd name="connsiteX11" fmla="*/ 1188 w 36004"/>
                <a:gd name="connsiteY11" fmla="*/ 8100 h 20907"/>
                <a:gd name="connsiteX12" fmla="*/ -336 w 36004"/>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907">
                  <a:moveTo>
                    <a:pt x="-336" y="10291"/>
                  </a:moveTo>
                  <a:cubicBezTo>
                    <a:pt x="-269" y="11272"/>
                    <a:pt x="312" y="12139"/>
                    <a:pt x="1188" y="12577"/>
                  </a:cubicBezTo>
                  <a:lnTo>
                    <a:pt x="3569" y="13910"/>
                  </a:lnTo>
                  <a:lnTo>
                    <a:pt x="13856" y="19816"/>
                  </a:lnTo>
                  <a:cubicBezTo>
                    <a:pt x="16247" y="21054"/>
                    <a:pt x="19085" y="21054"/>
                    <a:pt x="21476" y="19816"/>
                  </a:cubicBezTo>
                  <a:lnTo>
                    <a:pt x="31763" y="13910"/>
                  </a:lnTo>
                  <a:lnTo>
                    <a:pt x="34144" y="12577"/>
                  </a:lnTo>
                  <a:cubicBezTo>
                    <a:pt x="35021" y="12139"/>
                    <a:pt x="35602" y="11272"/>
                    <a:pt x="35668" y="10291"/>
                  </a:cubicBezTo>
                  <a:cubicBezTo>
                    <a:pt x="35611" y="9339"/>
                    <a:pt x="35021" y="8491"/>
                    <a:pt x="34144" y="8100"/>
                  </a:cubicBezTo>
                  <a:lnTo>
                    <a:pt x="21476" y="766"/>
                  </a:lnTo>
                  <a:cubicBezTo>
                    <a:pt x="19085" y="-472"/>
                    <a:pt x="16247" y="-472"/>
                    <a:pt x="13856" y="766"/>
                  </a:cubicBezTo>
                  <a:lnTo>
                    <a:pt x="1188" y="8100"/>
                  </a:lnTo>
                  <a:cubicBezTo>
                    <a:pt x="312" y="8491"/>
                    <a:pt x="-279"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222" name="i$ļiḑê">
              <a:extLst>
                <a:ext uri="{FF2B5EF4-FFF2-40B4-BE49-F238E27FC236}">
                  <a16:creationId xmlns:a16="http://schemas.microsoft.com/office/drawing/2014/main" id="{5BD6D675-D3BF-4F11-B0E5-796C93EF6565}"/>
                </a:ext>
              </a:extLst>
            </p:cNvPr>
            <p:cNvSpPr/>
            <p:nvPr/>
          </p:nvSpPr>
          <p:spPr>
            <a:xfrm>
              <a:off x="6359234" y="5197313"/>
              <a:ext cx="105898" cy="61104"/>
            </a:xfrm>
            <a:custGeom>
              <a:avLst/>
              <a:gdLst>
                <a:gd name="connsiteX0" fmla="*/ 1164 w 34790"/>
                <a:gd name="connsiteY0" fmla="*/ 12006 h 20074"/>
                <a:gd name="connsiteX1" fmla="*/ 13356 w 34790"/>
                <a:gd name="connsiteY1" fmla="*/ 19054 h 20074"/>
                <a:gd name="connsiteX2" fmla="*/ 20785 w 34790"/>
                <a:gd name="connsiteY2" fmla="*/ 19054 h 20074"/>
                <a:gd name="connsiteX3" fmla="*/ 32882 w 34790"/>
                <a:gd name="connsiteY3" fmla="*/ 12006 h 20074"/>
                <a:gd name="connsiteX4" fmla="*/ 32882 w 34790"/>
                <a:gd name="connsiteY4" fmla="*/ 7719 h 20074"/>
                <a:gd name="connsiteX5" fmla="*/ 20785 w 34790"/>
                <a:gd name="connsiteY5" fmla="*/ 766 h 20074"/>
                <a:gd name="connsiteX6" fmla="*/ 13356 w 34790"/>
                <a:gd name="connsiteY6" fmla="*/ 766 h 20074"/>
                <a:gd name="connsiteX7" fmla="*/ 1164 w 34790"/>
                <a:gd name="connsiteY7" fmla="*/ 7719 h 20074"/>
                <a:gd name="connsiteX8" fmla="*/ 1164 w 34790"/>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4">
                  <a:moveTo>
                    <a:pt x="1164" y="12006"/>
                  </a:moveTo>
                  <a:lnTo>
                    <a:pt x="13356" y="19054"/>
                  </a:lnTo>
                  <a:cubicBezTo>
                    <a:pt x="15699" y="20197"/>
                    <a:pt x="18442" y="20197"/>
                    <a:pt x="20785" y="19054"/>
                  </a:cubicBezTo>
                  <a:lnTo>
                    <a:pt x="32882" y="12006"/>
                  </a:lnTo>
                  <a:cubicBezTo>
                    <a:pt x="34978" y="10863"/>
                    <a:pt x="34978" y="8958"/>
                    <a:pt x="32882" y="7719"/>
                  </a:cubicBezTo>
                  <a:lnTo>
                    <a:pt x="20785" y="766"/>
                  </a:lnTo>
                  <a:cubicBezTo>
                    <a:pt x="18461" y="-472"/>
                    <a:pt x="15680" y="-472"/>
                    <a:pt x="13356" y="766"/>
                  </a:cubicBezTo>
                  <a:lnTo>
                    <a:pt x="1164" y="7719"/>
                  </a:lnTo>
                  <a:cubicBezTo>
                    <a:pt x="-836" y="8958"/>
                    <a:pt x="-836" y="10863"/>
                    <a:pt x="1164" y="12006"/>
                  </a:cubicBezTo>
                  <a:close/>
                </a:path>
              </a:pathLst>
            </a:custGeom>
            <a:solidFill>
              <a:srgbClr val="D1D9E8"/>
            </a:solidFill>
            <a:ln w="9525" cap="flat">
              <a:noFill/>
              <a:prstDash val="solid"/>
              <a:miter/>
            </a:ln>
          </p:spPr>
          <p:txBody>
            <a:bodyPr rtlCol="0" anchor="ctr"/>
            <a:lstStyle/>
            <a:p>
              <a:endParaRPr lang="zh-CN" altLang="en-US"/>
            </a:p>
          </p:txBody>
        </p:sp>
        <p:sp>
          <p:nvSpPr>
            <p:cNvPr id="223" name="íṡḻïďê">
              <a:extLst>
                <a:ext uri="{FF2B5EF4-FFF2-40B4-BE49-F238E27FC236}">
                  <a16:creationId xmlns:a16="http://schemas.microsoft.com/office/drawing/2014/main" id="{829157CB-832F-4E57-8B55-D54AEFA558F4}"/>
                </a:ext>
              </a:extLst>
            </p:cNvPr>
            <p:cNvSpPr/>
            <p:nvPr/>
          </p:nvSpPr>
          <p:spPr>
            <a:xfrm>
              <a:off x="6357423" y="5227971"/>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4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4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20"/>
                    <a:pt x="35582" y="7953"/>
                    <a:pt x="35668" y="6981"/>
                  </a:cubicBezTo>
                  <a:lnTo>
                    <a:pt x="35668" y="-163"/>
                  </a:lnTo>
                  <a:cubicBezTo>
                    <a:pt x="35602" y="819"/>
                    <a:pt x="35021" y="1685"/>
                    <a:pt x="34144" y="2124"/>
                  </a:cubicBezTo>
                  <a:lnTo>
                    <a:pt x="31763" y="3457"/>
                  </a:lnTo>
                  <a:lnTo>
                    <a:pt x="21476" y="9362"/>
                  </a:lnTo>
                  <a:cubicBezTo>
                    <a:pt x="19085" y="10601"/>
                    <a:pt x="16247" y="10601"/>
                    <a:pt x="13856" y="9362"/>
                  </a:cubicBezTo>
                  <a:lnTo>
                    <a:pt x="3569" y="3457"/>
                  </a:lnTo>
                  <a:lnTo>
                    <a:pt x="1188" y="2124"/>
                  </a:lnTo>
                  <a:cubicBezTo>
                    <a:pt x="312" y="1685"/>
                    <a:pt x="-269" y="819"/>
                    <a:pt x="-336" y="-163"/>
                  </a:cubicBezTo>
                  <a:close/>
                </a:path>
              </a:pathLst>
            </a:custGeom>
            <a:solidFill>
              <a:srgbClr val="BF4200"/>
            </a:solidFill>
            <a:ln w="9525" cap="flat">
              <a:noFill/>
              <a:prstDash val="solid"/>
              <a:miter/>
            </a:ln>
          </p:spPr>
          <p:txBody>
            <a:bodyPr rtlCol="0" anchor="ctr"/>
            <a:lstStyle/>
            <a:p>
              <a:endParaRPr lang="zh-CN" altLang="en-US"/>
            </a:p>
          </p:txBody>
        </p:sp>
        <p:sp>
          <p:nvSpPr>
            <p:cNvPr id="224" name="i$ḻíḓè">
              <a:extLst>
                <a:ext uri="{FF2B5EF4-FFF2-40B4-BE49-F238E27FC236}">
                  <a16:creationId xmlns:a16="http://schemas.microsoft.com/office/drawing/2014/main" id="{B4DFA4A1-FB6F-484A-A768-4889FBD7F3BB}"/>
                </a:ext>
              </a:extLst>
            </p:cNvPr>
            <p:cNvSpPr/>
            <p:nvPr/>
          </p:nvSpPr>
          <p:spPr>
            <a:xfrm>
              <a:off x="6434544" y="5240801"/>
              <a:ext cx="109883" cy="63588"/>
            </a:xfrm>
            <a:custGeom>
              <a:avLst/>
              <a:gdLst>
                <a:gd name="connsiteX0" fmla="*/ -336 w 36099"/>
                <a:gd name="connsiteY0" fmla="*/ 10291 h 20890"/>
                <a:gd name="connsiteX1" fmla="*/ 1283 w 36099"/>
                <a:gd name="connsiteY1" fmla="*/ 12577 h 20890"/>
                <a:gd name="connsiteX2" fmla="*/ 3569 w 36099"/>
                <a:gd name="connsiteY2" fmla="*/ 13911 h 20890"/>
                <a:gd name="connsiteX3" fmla="*/ 13856 w 36099"/>
                <a:gd name="connsiteY3" fmla="*/ 19721 h 20890"/>
                <a:gd name="connsiteX4" fmla="*/ 21571 w 36099"/>
                <a:gd name="connsiteY4" fmla="*/ 19721 h 20890"/>
                <a:gd name="connsiteX5" fmla="*/ 31858 w 36099"/>
                <a:gd name="connsiteY5" fmla="*/ 13911 h 20890"/>
                <a:gd name="connsiteX6" fmla="*/ 34144 w 36099"/>
                <a:gd name="connsiteY6" fmla="*/ 12577 h 20890"/>
                <a:gd name="connsiteX7" fmla="*/ 35764 w 36099"/>
                <a:gd name="connsiteY7" fmla="*/ 10291 h 20890"/>
                <a:gd name="connsiteX8" fmla="*/ 34144 w 36099"/>
                <a:gd name="connsiteY8" fmla="*/ 8101 h 20890"/>
                <a:gd name="connsiteX9" fmla="*/ 21571 w 36099"/>
                <a:gd name="connsiteY9" fmla="*/ 766 h 20890"/>
                <a:gd name="connsiteX10" fmla="*/ 13856 w 36099"/>
                <a:gd name="connsiteY10" fmla="*/ 766 h 20890"/>
                <a:gd name="connsiteX11" fmla="*/ 1283 w 36099"/>
                <a:gd name="connsiteY11" fmla="*/ 8101 h 20890"/>
                <a:gd name="connsiteX12" fmla="*/ -336 w 36099"/>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99" h="20890">
                  <a:moveTo>
                    <a:pt x="-336" y="10291"/>
                  </a:moveTo>
                  <a:cubicBezTo>
                    <a:pt x="-269" y="11301"/>
                    <a:pt x="359" y="12187"/>
                    <a:pt x="1283" y="12577"/>
                  </a:cubicBezTo>
                  <a:lnTo>
                    <a:pt x="3569" y="13911"/>
                  </a:lnTo>
                  <a:lnTo>
                    <a:pt x="13856" y="19721"/>
                  </a:lnTo>
                  <a:cubicBezTo>
                    <a:pt x="16256" y="21064"/>
                    <a:pt x="19171" y="21064"/>
                    <a:pt x="21571" y="19721"/>
                  </a:cubicBezTo>
                  <a:lnTo>
                    <a:pt x="31858" y="13911"/>
                  </a:lnTo>
                  <a:lnTo>
                    <a:pt x="34144" y="12577"/>
                  </a:lnTo>
                  <a:cubicBezTo>
                    <a:pt x="35049" y="12149"/>
                    <a:pt x="35659" y="11282"/>
                    <a:pt x="35764" y="10291"/>
                  </a:cubicBezTo>
                  <a:cubicBezTo>
                    <a:pt x="35649" y="9329"/>
                    <a:pt x="35030" y="8491"/>
                    <a:pt x="34144" y="8101"/>
                  </a:cubicBezTo>
                  <a:lnTo>
                    <a:pt x="21571" y="766"/>
                  </a:lnTo>
                  <a:cubicBezTo>
                    <a:pt x="19152" y="-472"/>
                    <a:pt x="16275" y="-472"/>
                    <a:pt x="13856" y="766"/>
                  </a:cubicBezTo>
                  <a:lnTo>
                    <a:pt x="1283" y="8101"/>
                  </a:lnTo>
                  <a:cubicBezTo>
                    <a:pt x="369" y="8462"/>
                    <a:pt x="-260" y="9310"/>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225" name="íśḻíḑe">
              <a:extLst>
                <a:ext uri="{FF2B5EF4-FFF2-40B4-BE49-F238E27FC236}">
                  <a16:creationId xmlns:a16="http://schemas.microsoft.com/office/drawing/2014/main" id="{29F185F6-81EC-4BAE-A6B9-A47C90BB9020}"/>
                </a:ext>
              </a:extLst>
            </p:cNvPr>
            <p:cNvSpPr/>
            <p:nvPr/>
          </p:nvSpPr>
          <p:spPr>
            <a:xfrm>
              <a:off x="6436428" y="5241961"/>
              <a:ext cx="105898" cy="61101"/>
            </a:xfrm>
            <a:custGeom>
              <a:avLst/>
              <a:gdLst>
                <a:gd name="connsiteX0" fmla="*/ 1235 w 34790"/>
                <a:gd name="connsiteY0" fmla="*/ 12006 h 20073"/>
                <a:gd name="connsiteX1" fmla="*/ 13332 w 34790"/>
                <a:gd name="connsiteY1" fmla="*/ 19054 h 20073"/>
                <a:gd name="connsiteX2" fmla="*/ 20761 w 34790"/>
                <a:gd name="connsiteY2" fmla="*/ 19054 h 20073"/>
                <a:gd name="connsiteX3" fmla="*/ 32953 w 34790"/>
                <a:gd name="connsiteY3" fmla="*/ 12006 h 20073"/>
                <a:gd name="connsiteX4" fmla="*/ 32953 w 34790"/>
                <a:gd name="connsiteY4" fmla="*/ 7719 h 20073"/>
                <a:gd name="connsiteX5" fmla="*/ 20761 w 34790"/>
                <a:gd name="connsiteY5" fmla="*/ 766 h 20073"/>
                <a:gd name="connsiteX6" fmla="*/ 13332 w 34790"/>
                <a:gd name="connsiteY6" fmla="*/ 766 h 20073"/>
                <a:gd name="connsiteX7" fmla="*/ 1235 w 34790"/>
                <a:gd name="connsiteY7" fmla="*/ 7719 h 20073"/>
                <a:gd name="connsiteX8" fmla="*/ 1235 w 34790"/>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3">
                  <a:moveTo>
                    <a:pt x="1235" y="12006"/>
                  </a:moveTo>
                  <a:lnTo>
                    <a:pt x="13332" y="19054"/>
                  </a:lnTo>
                  <a:cubicBezTo>
                    <a:pt x="15675" y="20197"/>
                    <a:pt x="18418" y="20197"/>
                    <a:pt x="20761" y="19054"/>
                  </a:cubicBezTo>
                  <a:lnTo>
                    <a:pt x="32953" y="12006"/>
                  </a:lnTo>
                  <a:cubicBezTo>
                    <a:pt x="34954" y="10863"/>
                    <a:pt x="34954" y="8957"/>
                    <a:pt x="32953" y="7719"/>
                  </a:cubicBezTo>
                  <a:lnTo>
                    <a:pt x="20761" y="766"/>
                  </a:lnTo>
                  <a:cubicBezTo>
                    <a:pt x="18437" y="-472"/>
                    <a:pt x="15656" y="-472"/>
                    <a:pt x="13332" y="766"/>
                  </a:cubicBezTo>
                  <a:lnTo>
                    <a:pt x="1235" y="7719"/>
                  </a:lnTo>
                  <a:cubicBezTo>
                    <a:pt x="-860" y="8957"/>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226" name="îṩ1iḑè">
              <a:extLst>
                <a:ext uri="{FF2B5EF4-FFF2-40B4-BE49-F238E27FC236}">
                  <a16:creationId xmlns:a16="http://schemas.microsoft.com/office/drawing/2014/main" id="{007750FB-BCC9-48B9-AC83-314A6A8E7D4E}"/>
                </a:ext>
              </a:extLst>
            </p:cNvPr>
            <p:cNvSpPr/>
            <p:nvPr/>
          </p:nvSpPr>
          <p:spPr>
            <a:xfrm>
              <a:off x="6434544" y="5272623"/>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4 w 36099"/>
                <a:gd name="connsiteY6" fmla="*/ 6981 h 17597"/>
                <a:gd name="connsiteX7" fmla="*/ 35764 w 36099"/>
                <a:gd name="connsiteY7" fmla="*/ -163 h 17597"/>
                <a:gd name="connsiteX8" fmla="*/ 34144 w 36099"/>
                <a:gd name="connsiteY8" fmla="*/ 2123 h 17597"/>
                <a:gd name="connsiteX9" fmla="*/ 31858 w 36099"/>
                <a:gd name="connsiteY9" fmla="*/ 3457 h 17597"/>
                <a:gd name="connsiteX10" fmla="*/ 21571 w 36099"/>
                <a:gd name="connsiteY10" fmla="*/ 9267 h 17597"/>
                <a:gd name="connsiteX11" fmla="*/ 13856 w 36099"/>
                <a:gd name="connsiteY11" fmla="*/ 9267 h 17597"/>
                <a:gd name="connsiteX12" fmla="*/ 3569 w 36099"/>
                <a:gd name="connsiteY12" fmla="*/ 3457 h 17597"/>
                <a:gd name="connsiteX13" fmla="*/ 1283 w 36099"/>
                <a:gd name="connsiteY13" fmla="*/ 2123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41" y="8048"/>
                    <a:pt x="378" y="8886"/>
                    <a:pt x="1283" y="9267"/>
                  </a:cubicBezTo>
                  <a:lnTo>
                    <a:pt x="13856" y="16506"/>
                  </a:lnTo>
                  <a:cubicBezTo>
                    <a:pt x="16275" y="17744"/>
                    <a:pt x="19152" y="17744"/>
                    <a:pt x="21571" y="16506"/>
                  </a:cubicBezTo>
                  <a:lnTo>
                    <a:pt x="34144" y="9267"/>
                  </a:lnTo>
                  <a:cubicBezTo>
                    <a:pt x="35030" y="8829"/>
                    <a:pt x="35640" y="7962"/>
                    <a:pt x="35764" y="6981"/>
                  </a:cubicBezTo>
                  <a:lnTo>
                    <a:pt x="35764" y="-163"/>
                  </a:lnTo>
                  <a:cubicBezTo>
                    <a:pt x="35659" y="828"/>
                    <a:pt x="35049" y="1695"/>
                    <a:pt x="34144" y="2123"/>
                  </a:cubicBezTo>
                  <a:lnTo>
                    <a:pt x="31858" y="3457"/>
                  </a:lnTo>
                  <a:lnTo>
                    <a:pt x="21571" y="9267"/>
                  </a:lnTo>
                  <a:cubicBezTo>
                    <a:pt x="19171" y="10610"/>
                    <a:pt x="16256" y="10610"/>
                    <a:pt x="13856" y="9267"/>
                  </a:cubicBezTo>
                  <a:lnTo>
                    <a:pt x="3569" y="3457"/>
                  </a:lnTo>
                  <a:lnTo>
                    <a:pt x="1283" y="2123"/>
                  </a:lnTo>
                  <a:cubicBezTo>
                    <a:pt x="359" y="1733"/>
                    <a:pt x="-269" y="847"/>
                    <a:pt x="-336" y="-163"/>
                  </a:cubicBezTo>
                  <a:close/>
                </a:path>
              </a:pathLst>
            </a:custGeom>
            <a:solidFill>
              <a:srgbClr val="BF4200"/>
            </a:solidFill>
            <a:ln w="9525" cap="flat">
              <a:noFill/>
              <a:prstDash val="solid"/>
              <a:miter/>
            </a:ln>
          </p:spPr>
          <p:txBody>
            <a:bodyPr rtlCol="0" anchor="ctr"/>
            <a:lstStyle/>
            <a:p>
              <a:endParaRPr lang="zh-CN" altLang="en-US"/>
            </a:p>
          </p:txBody>
        </p:sp>
        <p:sp>
          <p:nvSpPr>
            <p:cNvPr id="227" name="ïSḷídè">
              <a:extLst>
                <a:ext uri="{FF2B5EF4-FFF2-40B4-BE49-F238E27FC236}">
                  <a16:creationId xmlns:a16="http://schemas.microsoft.com/office/drawing/2014/main" id="{754F70CE-B492-493E-B547-92AB5AEEDAF7}"/>
                </a:ext>
              </a:extLst>
            </p:cNvPr>
            <p:cNvSpPr/>
            <p:nvPr/>
          </p:nvSpPr>
          <p:spPr>
            <a:xfrm>
              <a:off x="5235377" y="4638898"/>
              <a:ext cx="109594" cy="63639"/>
            </a:xfrm>
            <a:custGeom>
              <a:avLst/>
              <a:gdLst>
                <a:gd name="connsiteX0" fmla="*/ -336 w 36004"/>
                <a:gd name="connsiteY0" fmla="*/ 10291 h 20907"/>
                <a:gd name="connsiteX1" fmla="*/ 1188 w 36004"/>
                <a:gd name="connsiteY1" fmla="*/ 12577 h 20907"/>
                <a:gd name="connsiteX2" fmla="*/ 3569 w 36004"/>
                <a:gd name="connsiteY2" fmla="*/ 13910 h 20907"/>
                <a:gd name="connsiteX3" fmla="*/ 13856 w 36004"/>
                <a:gd name="connsiteY3" fmla="*/ 19816 h 20907"/>
                <a:gd name="connsiteX4" fmla="*/ 21476 w 36004"/>
                <a:gd name="connsiteY4" fmla="*/ 19816 h 20907"/>
                <a:gd name="connsiteX5" fmla="*/ 31763 w 36004"/>
                <a:gd name="connsiteY5" fmla="*/ 13910 h 20907"/>
                <a:gd name="connsiteX6" fmla="*/ 34144 w 36004"/>
                <a:gd name="connsiteY6" fmla="*/ 12577 h 20907"/>
                <a:gd name="connsiteX7" fmla="*/ 35668 w 36004"/>
                <a:gd name="connsiteY7" fmla="*/ 10291 h 20907"/>
                <a:gd name="connsiteX8" fmla="*/ 34144 w 36004"/>
                <a:gd name="connsiteY8" fmla="*/ 8100 h 20907"/>
                <a:gd name="connsiteX9" fmla="*/ 21476 w 36004"/>
                <a:gd name="connsiteY9" fmla="*/ 766 h 20907"/>
                <a:gd name="connsiteX10" fmla="*/ 13856 w 36004"/>
                <a:gd name="connsiteY10" fmla="*/ 766 h 20907"/>
                <a:gd name="connsiteX11" fmla="*/ 1188 w 36004"/>
                <a:gd name="connsiteY11" fmla="*/ 8100 h 20907"/>
                <a:gd name="connsiteX12" fmla="*/ -336 w 36004"/>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907">
                  <a:moveTo>
                    <a:pt x="-336" y="10291"/>
                  </a:moveTo>
                  <a:cubicBezTo>
                    <a:pt x="-270" y="11272"/>
                    <a:pt x="311" y="12139"/>
                    <a:pt x="1188" y="12577"/>
                  </a:cubicBezTo>
                  <a:lnTo>
                    <a:pt x="3569" y="13910"/>
                  </a:lnTo>
                  <a:lnTo>
                    <a:pt x="13856" y="19816"/>
                  </a:lnTo>
                  <a:cubicBezTo>
                    <a:pt x="16247" y="21054"/>
                    <a:pt x="19085" y="21054"/>
                    <a:pt x="21476" y="19816"/>
                  </a:cubicBezTo>
                  <a:lnTo>
                    <a:pt x="31763" y="13910"/>
                  </a:lnTo>
                  <a:lnTo>
                    <a:pt x="34144" y="12577"/>
                  </a:lnTo>
                  <a:cubicBezTo>
                    <a:pt x="35020" y="12139"/>
                    <a:pt x="35601" y="11272"/>
                    <a:pt x="35668" y="10291"/>
                  </a:cubicBezTo>
                  <a:cubicBezTo>
                    <a:pt x="35611" y="9339"/>
                    <a:pt x="35020" y="8491"/>
                    <a:pt x="34144" y="8100"/>
                  </a:cubicBezTo>
                  <a:lnTo>
                    <a:pt x="21476" y="766"/>
                  </a:lnTo>
                  <a:cubicBezTo>
                    <a:pt x="19085" y="-472"/>
                    <a:pt x="16247" y="-472"/>
                    <a:pt x="13856" y="766"/>
                  </a:cubicBezTo>
                  <a:lnTo>
                    <a:pt x="1188" y="8100"/>
                  </a:lnTo>
                  <a:cubicBezTo>
                    <a:pt x="311" y="8491"/>
                    <a:pt x="-279"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228" name="iṧļîḓê">
              <a:extLst>
                <a:ext uri="{FF2B5EF4-FFF2-40B4-BE49-F238E27FC236}">
                  <a16:creationId xmlns:a16="http://schemas.microsoft.com/office/drawing/2014/main" id="{CB9346D8-752C-421C-B36A-199E1AC0E3B7}"/>
                </a:ext>
              </a:extLst>
            </p:cNvPr>
            <p:cNvSpPr/>
            <p:nvPr/>
          </p:nvSpPr>
          <p:spPr>
            <a:xfrm>
              <a:off x="5237334" y="4640058"/>
              <a:ext cx="106330" cy="61104"/>
            </a:xfrm>
            <a:custGeom>
              <a:avLst/>
              <a:gdLst>
                <a:gd name="connsiteX0" fmla="*/ 1307 w 34932"/>
                <a:gd name="connsiteY0" fmla="*/ 12006 h 20074"/>
                <a:gd name="connsiteX1" fmla="*/ 13499 w 34932"/>
                <a:gd name="connsiteY1" fmla="*/ 19054 h 20074"/>
                <a:gd name="connsiteX2" fmla="*/ 20928 w 34932"/>
                <a:gd name="connsiteY2" fmla="*/ 19054 h 20074"/>
                <a:gd name="connsiteX3" fmla="*/ 33025 w 34932"/>
                <a:gd name="connsiteY3" fmla="*/ 12006 h 20074"/>
                <a:gd name="connsiteX4" fmla="*/ 33025 w 34932"/>
                <a:gd name="connsiteY4" fmla="*/ 7719 h 20074"/>
                <a:gd name="connsiteX5" fmla="*/ 20928 w 34932"/>
                <a:gd name="connsiteY5" fmla="*/ 766 h 20074"/>
                <a:gd name="connsiteX6" fmla="*/ 13499 w 34932"/>
                <a:gd name="connsiteY6" fmla="*/ 766 h 20074"/>
                <a:gd name="connsiteX7" fmla="*/ 1307 w 34932"/>
                <a:gd name="connsiteY7" fmla="*/ 7719 h 20074"/>
                <a:gd name="connsiteX8" fmla="*/ 1307 w 34932"/>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932" h="20074">
                  <a:moveTo>
                    <a:pt x="1307" y="12006"/>
                  </a:moveTo>
                  <a:lnTo>
                    <a:pt x="13499" y="19054"/>
                  </a:lnTo>
                  <a:cubicBezTo>
                    <a:pt x="15842" y="20197"/>
                    <a:pt x="18585" y="20197"/>
                    <a:pt x="20928" y="19054"/>
                  </a:cubicBezTo>
                  <a:lnTo>
                    <a:pt x="33025" y="12006"/>
                  </a:lnTo>
                  <a:cubicBezTo>
                    <a:pt x="35120" y="10863"/>
                    <a:pt x="35120" y="8958"/>
                    <a:pt x="33025" y="7719"/>
                  </a:cubicBezTo>
                  <a:lnTo>
                    <a:pt x="20928" y="766"/>
                  </a:lnTo>
                  <a:cubicBezTo>
                    <a:pt x="18604" y="-472"/>
                    <a:pt x="15823" y="-472"/>
                    <a:pt x="13499" y="766"/>
                  </a:cubicBezTo>
                  <a:lnTo>
                    <a:pt x="1307" y="7719"/>
                  </a:lnTo>
                  <a:cubicBezTo>
                    <a:pt x="-884" y="8958"/>
                    <a:pt x="-884" y="10863"/>
                    <a:pt x="1307" y="12006"/>
                  </a:cubicBezTo>
                  <a:close/>
                </a:path>
              </a:pathLst>
            </a:custGeom>
            <a:solidFill>
              <a:srgbClr val="D1D9E8"/>
            </a:solidFill>
            <a:ln w="9525" cap="flat">
              <a:noFill/>
              <a:prstDash val="solid"/>
              <a:miter/>
            </a:ln>
          </p:spPr>
          <p:txBody>
            <a:bodyPr rtlCol="0" anchor="ctr"/>
            <a:lstStyle/>
            <a:p>
              <a:endParaRPr lang="zh-CN" altLang="en-US"/>
            </a:p>
          </p:txBody>
        </p:sp>
        <p:sp>
          <p:nvSpPr>
            <p:cNvPr id="229" name="ïṣļîḋé">
              <a:extLst>
                <a:ext uri="{FF2B5EF4-FFF2-40B4-BE49-F238E27FC236}">
                  <a16:creationId xmlns:a16="http://schemas.microsoft.com/office/drawing/2014/main" id="{4EF7BB32-D9D1-427A-9D31-A111267C93FB}"/>
                </a:ext>
              </a:extLst>
            </p:cNvPr>
            <p:cNvSpPr/>
            <p:nvPr/>
          </p:nvSpPr>
          <p:spPr>
            <a:xfrm>
              <a:off x="5235377" y="4670720"/>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4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4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20"/>
                    <a:pt x="35582" y="7953"/>
                    <a:pt x="35668" y="6981"/>
                  </a:cubicBezTo>
                  <a:lnTo>
                    <a:pt x="35668" y="-163"/>
                  </a:lnTo>
                  <a:cubicBezTo>
                    <a:pt x="35601" y="819"/>
                    <a:pt x="35020" y="1685"/>
                    <a:pt x="34144" y="2124"/>
                  </a:cubicBezTo>
                  <a:lnTo>
                    <a:pt x="31763" y="3457"/>
                  </a:lnTo>
                  <a:lnTo>
                    <a:pt x="21476" y="9362"/>
                  </a:lnTo>
                  <a:cubicBezTo>
                    <a:pt x="19085" y="10601"/>
                    <a:pt x="16247" y="10601"/>
                    <a:pt x="13856" y="9362"/>
                  </a:cubicBezTo>
                  <a:lnTo>
                    <a:pt x="3569" y="3457"/>
                  </a:lnTo>
                  <a:lnTo>
                    <a:pt x="1188" y="2124"/>
                  </a:lnTo>
                  <a:cubicBezTo>
                    <a:pt x="311" y="1685"/>
                    <a:pt x="-270" y="819"/>
                    <a:pt x="-336" y="-163"/>
                  </a:cubicBezTo>
                  <a:close/>
                </a:path>
              </a:pathLst>
            </a:custGeom>
            <a:solidFill>
              <a:srgbClr val="BF4200"/>
            </a:solidFill>
            <a:ln w="9525" cap="flat">
              <a:noFill/>
              <a:prstDash val="solid"/>
              <a:miter/>
            </a:ln>
          </p:spPr>
          <p:txBody>
            <a:bodyPr rtlCol="0" anchor="ctr"/>
            <a:lstStyle/>
            <a:p>
              <a:endParaRPr lang="zh-CN" altLang="en-US"/>
            </a:p>
          </p:txBody>
        </p:sp>
        <p:sp>
          <p:nvSpPr>
            <p:cNvPr id="230" name="íṡľiḓê">
              <a:extLst>
                <a:ext uri="{FF2B5EF4-FFF2-40B4-BE49-F238E27FC236}">
                  <a16:creationId xmlns:a16="http://schemas.microsoft.com/office/drawing/2014/main" id="{4DF23103-6862-49BD-8660-50F38EE0FF87}"/>
                </a:ext>
              </a:extLst>
            </p:cNvPr>
            <p:cNvSpPr/>
            <p:nvPr/>
          </p:nvSpPr>
          <p:spPr>
            <a:xfrm>
              <a:off x="5312501" y="4683550"/>
              <a:ext cx="109362" cy="63588"/>
            </a:xfrm>
            <a:custGeom>
              <a:avLst/>
              <a:gdLst>
                <a:gd name="connsiteX0" fmla="*/ -336 w 35928"/>
                <a:gd name="connsiteY0" fmla="*/ 10291 h 20890"/>
                <a:gd name="connsiteX1" fmla="*/ 1283 w 35928"/>
                <a:gd name="connsiteY1" fmla="*/ 12482 h 20890"/>
                <a:gd name="connsiteX2" fmla="*/ 3569 w 35928"/>
                <a:gd name="connsiteY2" fmla="*/ 13911 h 20890"/>
                <a:gd name="connsiteX3" fmla="*/ 13856 w 35928"/>
                <a:gd name="connsiteY3" fmla="*/ 19721 h 20890"/>
                <a:gd name="connsiteX4" fmla="*/ 21571 w 35928"/>
                <a:gd name="connsiteY4" fmla="*/ 19721 h 20890"/>
                <a:gd name="connsiteX5" fmla="*/ 31858 w 35928"/>
                <a:gd name="connsiteY5" fmla="*/ 13911 h 20890"/>
                <a:gd name="connsiteX6" fmla="*/ 34144 w 35928"/>
                <a:gd name="connsiteY6" fmla="*/ 12482 h 20890"/>
                <a:gd name="connsiteX7" fmla="*/ 35401 w 35928"/>
                <a:gd name="connsiteY7" fmla="*/ 9358 h 20890"/>
                <a:gd name="connsiteX8" fmla="*/ 34144 w 35928"/>
                <a:gd name="connsiteY8" fmla="*/ 8101 h 20890"/>
                <a:gd name="connsiteX9" fmla="*/ 21571 w 35928"/>
                <a:gd name="connsiteY9" fmla="*/ 766 h 20890"/>
                <a:gd name="connsiteX10" fmla="*/ 13856 w 35928"/>
                <a:gd name="connsiteY10" fmla="*/ 766 h 20890"/>
                <a:gd name="connsiteX11" fmla="*/ 1283 w 35928"/>
                <a:gd name="connsiteY11" fmla="*/ 8101 h 20890"/>
                <a:gd name="connsiteX12" fmla="*/ -336 w 35928"/>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928" h="20890">
                  <a:moveTo>
                    <a:pt x="-336" y="10291"/>
                  </a:moveTo>
                  <a:cubicBezTo>
                    <a:pt x="-279" y="11282"/>
                    <a:pt x="349" y="12139"/>
                    <a:pt x="1283" y="12482"/>
                  </a:cubicBezTo>
                  <a:lnTo>
                    <a:pt x="3569" y="13911"/>
                  </a:lnTo>
                  <a:lnTo>
                    <a:pt x="13856" y="19721"/>
                  </a:lnTo>
                  <a:cubicBezTo>
                    <a:pt x="16256" y="21064"/>
                    <a:pt x="19171" y="21064"/>
                    <a:pt x="21571" y="19721"/>
                  </a:cubicBezTo>
                  <a:lnTo>
                    <a:pt x="31858" y="13911"/>
                  </a:lnTo>
                  <a:lnTo>
                    <a:pt x="34144" y="12482"/>
                  </a:lnTo>
                  <a:cubicBezTo>
                    <a:pt x="35354" y="11967"/>
                    <a:pt x="35916" y="10567"/>
                    <a:pt x="35401" y="9358"/>
                  </a:cubicBezTo>
                  <a:cubicBezTo>
                    <a:pt x="35163" y="8796"/>
                    <a:pt x="34706" y="8339"/>
                    <a:pt x="34144" y="8101"/>
                  </a:cubicBezTo>
                  <a:lnTo>
                    <a:pt x="21571" y="766"/>
                  </a:lnTo>
                  <a:cubicBezTo>
                    <a:pt x="19152" y="-472"/>
                    <a:pt x="16275" y="-472"/>
                    <a:pt x="13856" y="766"/>
                  </a:cubicBezTo>
                  <a:lnTo>
                    <a:pt x="1283" y="8101"/>
                  </a:lnTo>
                  <a:cubicBezTo>
                    <a:pt x="349" y="8443"/>
                    <a:pt x="-279" y="9300"/>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231" name="iŝḷíḑe">
              <a:extLst>
                <a:ext uri="{FF2B5EF4-FFF2-40B4-BE49-F238E27FC236}">
                  <a16:creationId xmlns:a16="http://schemas.microsoft.com/office/drawing/2014/main" id="{9FBE57A8-3497-4897-9065-E73193432CAB}"/>
                </a:ext>
              </a:extLst>
            </p:cNvPr>
            <p:cNvSpPr/>
            <p:nvPr/>
          </p:nvSpPr>
          <p:spPr>
            <a:xfrm>
              <a:off x="5314385" y="4684710"/>
              <a:ext cx="105898" cy="61101"/>
            </a:xfrm>
            <a:custGeom>
              <a:avLst/>
              <a:gdLst>
                <a:gd name="connsiteX0" fmla="*/ 1235 w 34790"/>
                <a:gd name="connsiteY0" fmla="*/ 12006 h 20073"/>
                <a:gd name="connsiteX1" fmla="*/ 13332 w 34790"/>
                <a:gd name="connsiteY1" fmla="*/ 19054 h 20073"/>
                <a:gd name="connsiteX2" fmla="*/ 20762 w 34790"/>
                <a:gd name="connsiteY2" fmla="*/ 19054 h 20073"/>
                <a:gd name="connsiteX3" fmla="*/ 32954 w 34790"/>
                <a:gd name="connsiteY3" fmla="*/ 12006 h 20073"/>
                <a:gd name="connsiteX4" fmla="*/ 32954 w 34790"/>
                <a:gd name="connsiteY4" fmla="*/ 7719 h 20073"/>
                <a:gd name="connsiteX5" fmla="*/ 20762 w 34790"/>
                <a:gd name="connsiteY5" fmla="*/ 766 h 20073"/>
                <a:gd name="connsiteX6" fmla="*/ 13332 w 34790"/>
                <a:gd name="connsiteY6" fmla="*/ 766 h 20073"/>
                <a:gd name="connsiteX7" fmla="*/ 1235 w 34790"/>
                <a:gd name="connsiteY7" fmla="*/ 7719 h 20073"/>
                <a:gd name="connsiteX8" fmla="*/ 1235 w 34790"/>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3">
                  <a:moveTo>
                    <a:pt x="1235" y="12006"/>
                  </a:moveTo>
                  <a:lnTo>
                    <a:pt x="13332" y="19054"/>
                  </a:lnTo>
                  <a:cubicBezTo>
                    <a:pt x="15675" y="20197"/>
                    <a:pt x="18419" y="20197"/>
                    <a:pt x="20762" y="19054"/>
                  </a:cubicBezTo>
                  <a:lnTo>
                    <a:pt x="32954" y="12006"/>
                  </a:lnTo>
                  <a:cubicBezTo>
                    <a:pt x="34954" y="10863"/>
                    <a:pt x="34954" y="8957"/>
                    <a:pt x="32954" y="7719"/>
                  </a:cubicBezTo>
                  <a:lnTo>
                    <a:pt x="20762" y="766"/>
                  </a:lnTo>
                  <a:cubicBezTo>
                    <a:pt x="18437" y="-472"/>
                    <a:pt x="15656" y="-472"/>
                    <a:pt x="13332" y="766"/>
                  </a:cubicBezTo>
                  <a:lnTo>
                    <a:pt x="1235" y="7719"/>
                  </a:lnTo>
                  <a:cubicBezTo>
                    <a:pt x="-860" y="8957"/>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232" name="ï$ḻîďê">
              <a:extLst>
                <a:ext uri="{FF2B5EF4-FFF2-40B4-BE49-F238E27FC236}">
                  <a16:creationId xmlns:a16="http://schemas.microsoft.com/office/drawing/2014/main" id="{370415FE-2B34-4031-8330-86EB8E371761}"/>
                </a:ext>
              </a:extLst>
            </p:cNvPr>
            <p:cNvSpPr/>
            <p:nvPr/>
          </p:nvSpPr>
          <p:spPr>
            <a:xfrm>
              <a:off x="5312501" y="4715368"/>
              <a:ext cx="109594" cy="53564"/>
            </a:xfrm>
            <a:custGeom>
              <a:avLst/>
              <a:gdLst>
                <a:gd name="connsiteX0" fmla="*/ -336 w 36004"/>
                <a:gd name="connsiteY0" fmla="*/ -163 h 17597"/>
                <a:gd name="connsiteX1" fmla="*/ -336 w 36004"/>
                <a:gd name="connsiteY1" fmla="*/ 7076 h 17597"/>
                <a:gd name="connsiteX2" fmla="*/ 1283 w 36004"/>
                <a:gd name="connsiteY2" fmla="*/ 9267 h 17597"/>
                <a:gd name="connsiteX3" fmla="*/ 13856 w 36004"/>
                <a:gd name="connsiteY3" fmla="*/ 16506 h 17597"/>
                <a:gd name="connsiteX4" fmla="*/ 21571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028 h 17597"/>
                <a:gd name="connsiteX9" fmla="*/ 31858 w 36004"/>
                <a:gd name="connsiteY9" fmla="*/ 3457 h 17597"/>
                <a:gd name="connsiteX10" fmla="*/ 21571 w 36004"/>
                <a:gd name="connsiteY10" fmla="*/ 9267 h 17597"/>
                <a:gd name="connsiteX11" fmla="*/ 13856 w 36004"/>
                <a:gd name="connsiteY11" fmla="*/ 9267 h 17597"/>
                <a:gd name="connsiteX12" fmla="*/ 3569 w 36004"/>
                <a:gd name="connsiteY12" fmla="*/ 3457 h 17597"/>
                <a:gd name="connsiteX13" fmla="*/ 1283 w 36004"/>
                <a:gd name="connsiteY13" fmla="*/ 2028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48"/>
                    <a:pt x="387" y="8886"/>
                    <a:pt x="1283" y="9267"/>
                  </a:cubicBezTo>
                  <a:lnTo>
                    <a:pt x="13856" y="16506"/>
                  </a:lnTo>
                  <a:cubicBezTo>
                    <a:pt x="16275" y="17744"/>
                    <a:pt x="19152" y="17744"/>
                    <a:pt x="21571" y="16506"/>
                  </a:cubicBezTo>
                  <a:lnTo>
                    <a:pt x="34144" y="9267"/>
                  </a:lnTo>
                  <a:cubicBezTo>
                    <a:pt x="35011" y="8819"/>
                    <a:pt x="35582" y="7953"/>
                    <a:pt x="35668" y="6981"/>
                  </a:cubicBezTo>
                  <a:lnTo>
                    <a:pt x="35668" y="-163"/>
                  </a:lnTo>
                  <a:cubicBezTo>
                    <a:pt x="35630" y="800"/>
                    <a:pt x="35039" y="1657"/>
                    <a:pt x="34144" y="2028"/>
                  </a:cubicBezTo>
                  <a:lnTo>
                    <a:pt x="31858" y="3457"/>
                  </a:lnTo>
                  <a:lnTo>
                    <a:pt x="21571" y="9267"/>
                  </a:lnTo>
                  <a:cubicBezTo>
                    <a:pt x="19171" y="10610"/>
                    <a:pt x="16256" y="10610"/>
                    <a:pt x="13856" y="9267"/>
                  </a:cubicBezTo>
                  <a:lnTo>
                    <a:pt x="3569" y="3457"/>
                  </a:lnTo>
                  <a:lnTo>
                    <a:pt x="1283" y="2028"/>
                  </a:lnTo>
                  <a:cubicBezTo>
                    <a:pt x="349" y="1685"/>
                    <a:pt x="-279"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233" name="iṣlîḋê">
              <a:extLst>
                <a:ext uri="{FF2B5EF4-FFF2-40B4-BE49-F238E27FC236}">
                  <a16:creationId xmlns:a16="http://schemas.microsoft.com/office/drawing/2014/main" id="{EF92CB51-8F31-4CEC-B298-9EFD5AEE33F1}"/>
                </a:ext>
              </a:extLst>
            </p:cNvPr>
            <p:cNvSpPr/>
            <p:nvPr/>
          </p:nvSpPr>
          <p:spPr>
            <a:xfrm>
              <a:off x="5389911" y="4728198"/>
              <a:ext cx="109594" cy="63588"/>
            </a:xfrm>
            <a:custGeom>
              <a:avLst/>
              <a:gdLst>
                <a:gd name="connsiteX0" fmla="*/ -336 w 36004"/>
                <a:gd name="connsiteY0" fmla="*/ 10291 h 20890"/>
                <a:gd name="connsiteX1" fmla="*/ 1188 w 36004"/>
                <a:gd name="connsiteY1" fmla="*/ 12482 h 20890"/>
                <a:gd name="connsiteX2" fmla="*/ 3569 w 36004"/>
                <a:gd name="connsiteY2" fmla="*/ 13911 h 20890"/>
                <a:gd name="connsiteX3" fmla="*/ 13856 w 36004"/>
                <a:gd name="connsiteY3" fmla="*/ 19721 h 20890"/>
                <a:gd name="connsiteX4" fmla="*/ 21476 w 36004"/>
                <a:gd name="connsiteY4" fmla="*/ 19721 h 20890"/>
                <a:gd name="connsiteX5" fmla="*/ 31763 w 36004"/>
                <a:gd name="connsiteY5" fmla="*/ 13911 h 20890"/>
                <a:gd name="connsiteX6" fmla="*/ 34144 w 36004"/>
                <a:gd name="connsiteY6" fmla="*/ 12482 h 20890"/>
                <a:gd name="connsiteX7" fmla="*/ 35668 w 36004"/>
                <a:gd name="connsiteY7" fmla="*/ 10291 h 20890"/>
                <a:gd name="connsiteX8" fmla="*/ 34144 w 36004"/>
                <a:gd name="connsiteY8" fmla="*/ 8005 h 20890"/>
                <a:gd name="connsiteX9" fmla="*/ 21476 w 36004"/>
                <a:gd name="connsiteY9" fmla="*/ 766 h 20890"/>
                <a:gd name="connsiteX10" fmla="*/ 13856 w 36004"/>
                <a:gd name="connsiteY10" fmla="*/ 766 h 20890"/>
                <a:gd name="connsiteX11" fmla="*/ 1188 w 36004"/>
                <a:gd name="connsiteY11" fmla="*/ 8005 h 20890"/>
                <a:gd name="connsiteX12" fmla="*/ -336 w 36004"/>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291"/>
                  </a:moveTo>
                  <a:cubicBezTo>
                    <a:pt x="-279" y="11244"/>
                    <a:pt x="311" y="12091"/>
                    <a:pt x="1188" y="12482"/>
                  </a:cubicBezTo>
                  <a:lnTo>
                    <a:pt x="3569" y="13911"/>
                  </a:lnTo>
                  <a:lnTo>
                    <a:pt x="13856" y="19721"/>
                  </a:lnTo>
                  <a:cubicBezTo>
                    <a:pt x="16218" y="21064"/>
                    <a:pt x="19114" y="21064"/>
                    <a:pt x="21476" y="19721"/>
                  </a:cubicBezTo>
                  <a:lnTo>
                    <a:pt x="31763" y="13911"/>
                  </a:lnTo>
                  <a:lnTo>
                    <a:pt x="34144" y="12482"/>
                  </a:lnTo>
                  <a:cubicBezTo>
                    <a:pt x="35021" y="12091"/>
                    <a:pt x="35611" y="11253"/>
                    <a:pt x="35668" y="10291"/>
                  </a:cubicBezTo>
                  <a:cubicBezTo>
                    <a:pt x="35602" y="9310"/>
                    <a:pt x="35021" y="8443"/>
                    <a:pt x="34144" y="8005"/>
                  </a:cubicBezTo>
                  <a:lnTo>
                    <a:pt x="21476" y="766"/>
                  </a:lnTo>
                  <a:cubicBezTo>
                    <a:pt x="19085" y="-472"/>
                    <a:pt x="16247" y="-472"/>
                    <a:pt x="13856" y="766"/>
                  </a:cubicBezTo>
                  <a:lnTo>
                    <a:pt x="1188" y="8005"/>
                  </a:lnTo>
                  <a:cubicBezTo>
                    <a:pt x="311" y="8443"/>
                    <a:pt x="-270" y="9310"/>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234" name="îšļiḍê">
              <a:extLst>
                <a:ext uri="{FF2B5EF4-FFF2-40B4-BE49-F238E27FC236}">
                  <a16:creationId xmlns:a16="http://schemas.microsoft.com/office/drawing/2014/main" id="{69B84C87-8489-471D-878E-6925233F26F8}"/>
                </a:ext>
              </a:extLst>
            </p:cNvPr>
            <p:cNvSpPr/>
            <p:nvPr/>
          </p:nvSpPr>
          <p:spPr>
            <a:xfrm>
              <a:off x="5391725" y="4729358"/>
              <a:ext cx="105895" cy="61101"/>
            </a:xfrm>
            <a:custGeom>
              <a:avLst/>
              <a:gdLst>
                <a:gd name="connsiteX0" fmla="*/ 1164 w 34789"/>
                <a:gd name="connsiteY0" fmla="*/ 12006 h 20073"/>
                <a:gd name="connsiteX1" fmla="*/ 13356 w 34789"/>
                <a:gd name="connsiteY1" fmla="*/ 19054 h 20073"/>
                <a:gd name="connsiteX2" fmla="*/ 20785 w 34789"/>
                <a:gd name="connsiteY2" fmla="*/ 19054 h 20073"/>
                <a:gd name="connsiteX3" fmla="*/ 32882 w 34789"/>
                <a:gd name="connsiteY3" fmla="*/ 12006 h 20073"/>
                <a:gd name="connsiteX4" fmla="*/ 32882 w 34789"/>
                <a:gd name="connsiteY4" fmla="*/ 7719 h 20073"/>
                <a:gd name="connsiteX5" fmla="*/ 20785 w 34789"/>
                <a:gd name="connsiteY5" fmla="*/ 766 h 20073"/>
                <a:gd name="connsiteX6" fmla="*/ 13356 w 34789"/>
                <a:gd name="connsiteY6" fmla="*/ 766 h 20073"/>
                <a:gd name="connsiteX7" fmla="*/ 1164 w 34789"/>
                <a:gd name="connsiteY7" fmla="*/ 7719 h 20073"/>
                <a:gd name="connsiteX8" fmla="*/ 1164 w 34789"/>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89" h="20073">
                  <a:moveTo>
                    <a:pt x="1164" y="12006"/>
                  </a:moveTo>
                  <a:lnTo>
                    <a:pt x="13356" y="19054"/>
                  </a:lnTo>
                  <a:cubicBezTo>
                    <a:pt x="15699" y="20197"/>
                    <a:pt x="18442" y="20197"/>
                    <a:pt x="20785" y="19054"/>
                  </a:cubicBezTo>
                  <a:lnTo>
                    <a:pt x="32882" y="12006"/>
                  </a:lnTo>
                  <a:cubicBezTo>
                    <a:pt x="34977" y="10863"/>
                    <a:pt x="34977" y="8957"/>
                    <a:pt x="32882" y="7719"/>
                  </a:cubicBezTo>
                  <a:lnTo>
                    <a:pt x="20785" y="766"/>
                  </a:lnTo>
                  <a:cubicBezTo>
                    <a:pt x="18461" y="-472"/>
                    <a:pt x="15680" y="-472"/>
                    <a:pt x="13356" y="766"/>
                  </a:cubicBezTo>
                  <a:lnTo>
                    <a:pt x="1164" y="7719"/>
                  </a:lnTo>
                  <a:cubicBezTo>
                    <a:pt x="-836" y="8957"/>
                    <a:pt x="-836" y="10863"/>
                    <a:pt x="1164" y="12006"/>
                  </a:cubicBezTo>
                  <a:close/>
                </a:path>
              </a:pathLst>
            </a:custGeom>
            <a:solidFill>
              <a:srgbClr val="D1D9E8"/>
            </a:solidFill>
            <a:ln w="9525" cap="flat">
              <a:noFill/>
              <a:prstDash val="solid"/>
              <a:miter/>
            </a:ln>
          </p:spPr>
          <p:txBody>
            <a:bodyPr rtlCol="0" anchor="ctr"/>
            <a:lstStyle/>
            <a:p>
              <a:endParaRPr lang="zh-CN" altLang="en-US"/>
            </a:p>
          </p:txBody>
        </p:sp>
        <p:sp>
          <p:nvSpPr>
            <p:cNvPr id="235" name="íşlíḓe">
              <a:extLst>
                <a:ext uri="{FF2B5EF4-FFF2-40B4-BE49-F238E27FC236}">
                  <a16:creationId xmlns:a16="http://schemas.microsoft.com/office/drawing/2014/main" id="{264403CF-7D11-4798-947F-C434A5AAA35C}"/>
                </a:ext>
              </a:extLst>
            </p:cNvPr>
            <p:cNvSpPr/>
            <p:nvPr/>
          </p:nvSpPr>
          <p:spPr>
            <a:xfrm>
              <a:off x="5389911" y="4760019"/>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028 h 17597"/>
                <a:gd name="connsiteX9" fmla="*/ 31763 w 36004"/>
                <a:gd name="connsiteY9" fmla="*/ 3457 h 17597"/>
                <a:gd name="connsiteX10" fmla="*/ 21476 w 36004"/>
                <a:gd name="connsiteY10" fmla="*/ 9267 h 17597"/>
                <a:gd name="connsiteX11" fmla="*/ 13856 w 36004"/>
                <a:gd name="connsiteY11" fmla="*/ 9267 h 17597"/>
                <a:gd name="connsiteX12" fmla="*/ 3569 w 36004"/>
                <a:gd name="connsiteY12" fmla="*/ 3457 h 17597"/>
                <a:gd name="connsiteX13" fmla="*/ 1188 w 36004"/>
                <a:gd name="connsiteY13" fmla="*/ 2028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2" y="7953"/>
                    <a:pt x="35668" y="6981"/>
                  </a:cubicBezTo>
                  <a:lnTo>
                    <a:pt x="35668" y="-163"/>
                  </a:lnTo>
                  <a:cubicBezTo>
                    <a:pt x="35611" y="790"/>
                    <a:pt x="35021" y="1638"/>
                    <a:pt x="34144" y="2028"/>
                  </a:cubicBezTo>
                  <a:lnTo>
                    <a:pt x="31763" y="3457"/>
                  </a:lnTo>
                  <a:lnTo>
                    <a:pt x="21476" y="9267"/>
                  </a:lnTo>
                  <a:cubicBezTo>
                    <a:pt x="19114" y="10610"/>
                    <a:pt x="16218" y="10610"/>
                    <a:pt x="13856" y="9267"/>
                  </a:cubicBezTo>
                  <a:lnTo>
                    <a:pt x="3569" y="3457"/>
                  </a:lnTo>
                  <a:lnTo>
                    <a:pt x="1188" y="2028"/>
                  </a:lnTo>
                  <a:cubicBezTo>
                    <a:pt x="311" y="1638"/>
                    <a:pt x="-279" y="799"/>
                    <a:pt x="-336" y="-163"/>
                  </a:cubicBezTo>
                  <a:close/>
                </a:path>
              </a:pathLst>
            </a:custGeom>
            <a:solidFill>
              <a:srgbClr val="BF4200"/>
            </a:solidFill>
            <a:ln w="9525" cap="flat">
              <a:noFill/>
              <a:prstDash val="solid"/>
              <a:miter/>
            </a:ln>
          </p:spPr>
          <p:txBody>
            <a:bodyPr rtlCol="0" anchor="ctr"/>
            <a:lstStyle/>
            <a:p>
              <a:endParaRPr lang="zh-CN" altLang="en-US"/>
            </a:p>
          </p:txBody>
        </p:sp>
        <p:sp>
          <p:nvSpPr>
            <p:cNvPr id="236" name="ïṧľïḋè">
              <a:extLst>
                <a:ext uri="{FF2B5EF4-FFF2-40B4-BE49-F238E27FC236}">
                  <a16:creationId xmlns:a16="http://schemas.microsoft.com/office/drawing/2014/main" id="{E26B9BA7-FE0E-451A-8B64-C1E2426B0D92}"/>
                </a:ext>
              </a:extLst>
            </p:cNvPr>
            <p:cNvSpPr/>
            <p:nvPr/>
          </p:nvSpPr>
          <p:spPr>
            <a:xfrm>
              <a:off x="5467035" y="4772849"/>
              <a:ext cx="109883" cy="63588"/>
            </a:xfrm>
            <a:custGeom>
              <a:avLst/>
              <a:gdLst>
                <a:gd name="connsiteX0" fmla="*/ -336 w 36099"/>
                <a:gd name="connsiteY0" fmla="*/ 10196 h 20890"/>
                <a:gd name="connsiteX1" fmla="*/ 1283 w 36099"/>
                <a:gd name="connsiteY1" fmla="*/ 12482 h 20890"/>
                <a:gd name="connsiteX2" fmla="*/ 3569 w 36099"/>
                <a:gd name="connsiteY2" fmla="*/ 13815 h 20890"/>
                <a:gd name="connsiteX3" fmla="*/ 13856 w 36099"/>
                <a:gd name="connsiteY3" fmla="*/ 19721 h 20890"/>
                <a:gd name="connsiteX4" fmla="*/ 21571 w 36099"/>
                <a:gd name="connsiteY4" fmla="*/ 19721 h 20890"/>
                <a:gd name="connsiteX5" fmla="*/ 31858 w 36099"/>
                <a:gd name="connsiteY5" fmla="*/ 13815 h 20890"/>
                <a:gd name="connsiteX6" fmla="*/ 34144 w 36099"/>
                <a:gd name="connsiteY6" fmla="*/ 12482 h 20890"/>
                <a:gd name="connsiteX7" fmla="*/ 35764 w 36099"/>
                <a:gd name="connsiteY7" fmla="*/ 10196 h 20890"/>
                <a:gd name="connsiteX8" fmla="*/ 34144 w 36099"/>
                <a:gd name="connsiteY8" fmla="*/ 8005 h 20890"/>
                <a:gd name="connsiteX9" fmla="*/ 21571 w 36099"/>
                <a:gd name="connsiteY9" fmla="*/ 766 h 20890"/>
                <a:gd name="connsiteX10" fmla="*/ 13856 w 36099"/>
                <a:gd name="connsiteY10" fmla="*/ 766 h 20890"/>
                <a:gd name="connsiteX11" fmla="*/ 1283 w 36099"/>
                <a:gd name="connsiteY11" fmla="*/ 8005 h 20890"/>
                <a:gd name="connsiteX12" fmla="*/ -336 w 36099"/>
                <a:gd name="connsiteY12" fmla="*/ 10196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99" h="20890">
                  <a:moveTo>
                    <a:pt x="-336" y="10196"/>
                  </a:moveTo>
                  <a:cubicBezTo>
                    <a:pt x="-251" y="11196"/>
                    <a:pt x="369" y="12072"/>
                    <a:pt x="1283" y="12482"/>
                  </a:cubicBezTo>
                  <a:lnTo>
                    <a:pt x="3569" y="13815"/>
                  </a:lnTo>
                  <a:lnTo>
                    <a:pt x="13856" y="19721"/>
                  </a:lnTo>
                  <a:cubicBezTo>
                    <a:pt x="16256" y="21064"/>
                    <a:pt x="19171" y="21064"/>
                    <a:pt x="21571" y="19721"/>
                  </a:cubicBezTo>
                  <a:lnTo>
                    <a:pt x="31858" y="13815"/>
                  </a:lnTo>
                  <a:lnTo>
                    <a:pt x="34144" y="12482"/>
                  </a:lnTo>
                  <a:cubicBezTo>
                    <a:pt x="35059" y="12072"/>
                    <a:pt x="35678" y="11196"/>
                    <a:pt x="35764" y="10196"/>
                  </a:cubicBezTo>
                  <a:cubicBezTo>
                    <a:pt x="35630" y="9243"/>
                    <a:pt x="35021" y="8414"/>
                    <a:pt x="34144" y="8005"/>
                  </a:cubicBezTo>
                  <a:lnTo>
                    <a:pt x="21571" y="766"/>
                  </a:lnTo>
                  <a:cubicBezTo>
                    <a:pt x="19152" y="-472"/>
                    <a:pt x="16275" y="-472"/>
                    <a:pt x="13856" y="766"/>
                  </a:cubicBezTo>
                  <a:lnTo>
                    <a:pt x="1283" y="8005"/>
                  </a:lnTo>
                  <a:cubicBezTo>
                    <a:pt x="407" y="8414"/>
                    <a:pt x="-203" y="924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237" name="ïŝlíḑé">
              <a:extLst>
                <a:ext uri="{FF2B5EF4-FFF2-40B4-BE49-F238E27FC236}">
                  <a16:creationId xmlns:a16="http://schemas.microsoft.com/office/drawing/2014/main" id="{4C832CE3-4A54-4116-A8DE-625B2D3CB1B5}"/>
                </a:ext>
              </a:extLst>
            </p:cNvPr>
            <p:cNvSpPr/>
            <p:nvPr/>
          </p:nvSpPr>
          <p:spPr>
            <a:xfrm>
              <a:off x="5469281" y="4774009"/>
              <a:ext cx="106114" cy="61101"/>
            </a:xfrm>
            <a:custGeom>
              <a:avLst/>
              <a:gdLst>
                <a:gd name="connsiteX0" fmla="*/ 1307 w 34861"/>
                <a:gd name="connsiteY0" fmla="*/ 12006 h 20073"/>
                <a:gd name="connsiteX1" fmla="*/ 13403 w 34861"/>
                <a:gd name="connsiteY1" fmla="*/ 19054 h 20073"/>
                <a:gd name="connsiteX2" fmla="*/ 20833 w 34861"/>
                <a:gd name="connsiteY2" fmla="*/ 19054 h 20073"/>
                <a:gd name="connsiteX3" fmla="*/ 33025 w 34861"/>
                <a:gd name="connsiteY3" fmla="*/ 12006 h 20073"/>
                <a:gd name="connsiteX4" fmla="*/ 33025 w 34861"/>
                <a:gd name="connsiteY4" fmla="*/ 7719 h 20073"/>
                <a:gd name="connsiteX5" fmla="*/ 20833 w 34861"/>
                <a:gd name="connsiteY5" fmla="*/ 766 h 20073"/>
                <a:gd name="connsiteX6" fmla="*/ 13403 w 34861"/>
                <a:gd name="connsiteY6" fmla="*/ 766 h 20073"/>
                <a:gd name="connsiteX7" fmla="*/ 1307 w 34861"/>
                <a:gd name="connsiteY7" fmla="*/ 7719 h 20073"/>
                <a:gd name="connsiteX8" fmla="*/ 1307 w 34861"/>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861" h="20073">
                  <a:moveTo>
                    <a:pt x="1307" y="12006"/>
                  </a:moveTo>
                  <a:lnTo>
                    <a:pt x="13403" y="19054"/>
                  </a:lnTo>
                  <a:cubicBezTo>
                    <a:pt x="15747" y="20197"/>
                    <a:pt x="18490" y="20197"/>
                    <a:pt x="20833" y="19054"/>
                  </a:cubicBezTo>
                  <a:lnTo>
                    <a:pt x="33025" y="12006"/>
                  </a:lnTo>
                  <a:cubicBezTo>
                    <a:pt x="35025" y="10862"/>
                    <a:pt x="35025" y="8958"/>
                    <a:pt x="33025" y="7719"/>
                  </a:cubicBezTo>
                  <a:lnTo>
                    <a:pt x="20833" y="766"/>
                  </a:lnTo>
                  <a:cubicBezTo>
                    <a:pt x="18509" y="-472"/>
                    <a:pt x="15728" y="-472"/>
                    <a:pt x="13403" y="766"/>
                  </a:cubicBezTo>
                  <a:lnTo>
                    <a:pt x="1307" y="7719"/>
                  </a:lnTo>
                  <a:cubicBezTo>
                    <a:pt x="-884" y="8958"/>
                    <a:pt x="-884" y="10862"/>
                    <a:pt x="1307" y="12006"/>
                  </a:cubicBezTo>
                  <a:close/>
                </a:path>
              </a:pathLst>
            </a:custGeom>
            <a:solidFill>
              <a:srgbClr val="D1D9E8"/>
            </a:solidFill>
            <a:ln w="9525" cap="flat">
              <a:noFill/>
              <a:prstDash val="solid"/>
              <a:miter/>
            </a:ln>
          </p:spPr>
          <p:txBody>
            <a:bodyPr rtlCol="0" anchor="ctr"/>
            <a:lstStyle/>
            <a:p>
              <a:endParaRPr lang="zh-CN" altLang="en-US"/>
            </a:p>
          </p:txBody>
        </p:sp>
        <p:sp>
          <p:nvSpPr>
            <p:cNvPr id="238" name="ïśḷïḑé">
              <a:extLst>
                <a:ext uri="{FF2B5EF4-FFF2-40B4-BE49-F238E27FC236}">
                  <a16:creationId xmlns:a16="http://schemas.microsoft.com/office/drawing/2014/main" id="{0ABB434A-F190-4A7B-AF39-D4DC16818149}"/>
                </a:ext>
              </a:extLst>
            </p:cNvPr>
            <p:cNvSpPr/>
            <p:nvPr/>
          </p:nvSpPr>
          <p:spPr>
            <a:xfrm>
              <a:off x="5467035" y="4804378"/>
              <a:ext cx="109883" cy="54383"/>
            </a:xfrm>
            <a:custGeom>
              <a:avLst/>
              <a:gdLst>
                <a:gd name="connsiteX0" fmla="*/ -336 w 36099"/>
                <a:gd name="connsiteY0" fmla="*/ -163 h 17866"/>
                <a:gd name="connsiteX1" fmla="*/ -336 w 36099"/>
                <a:gd name="connsiteY1" fmla="*/ 7267 h 17866"/>
                <a:gd name="connsiteX2" fmla="*/ 1283 w 36099"/>
                <a:gd name="connsiteY2" fmla="*/ 9553 h 17866"/>
                <a:gd name="connsiteX3" fmla="*/ 13856 w 36099"/>
                <a:gd name="connsiteY3" fmla="*/ 16697 h 17866"/>
                <a:gd name="connsiteX4" fmla="*/ 21571 w 36099"/>
                <a:gd name="connsiteY4" fmla="*/ 16697 h 17866"/>
                <a:gd name="connsiteX5" fmla="*/ 34144 w 36099"/>
                <a:gd name="connsiteY5" fmla="*/ 9553 h 17866"/>
                <a:gd name="connsiteX6" fmla="*/ 35764 w 36099"/>
                <a:gd name="connsiteY6" fmla="*/ 7267 h 17866"/>
                <a:gd name="connsiteX7" fmla="*/ 35764 w 36099"/>
                <a:gd name="connsiteY7" fmla="*/ 28 h 17866"/>
                <a:gd name="connsiteX8" fmla="*/ 34144 w 36099"/>
                <a:gd name="connsiteY8" fmla="*/ 2314 h 17866"/>
                <a:gd name="connsiteX9" fmla="*/ 31858 w 36099"/>
                <a:gd name="connsiteY9" fmla="*/ 3647 h 17866"/>
                <a:gd name="connsiteX10" fmla="*/ 21571 w 36099"/>
                <a:gd name="connsiteY10" fmla="*/ 9553 h 17866"/>
                <a:gd name="connsiteX11" fmla="*/ 13856 w 36099"/>
                <a:gd name="connsiteY11" fmla="*/ 9553 h 17866"/>
                <a:gd name="connsiteX12" fmla="*/ 3569 w 36099"/>
                <a:gd name="connsiteY12" fmla="*/ 3647 h 17866"/>
                <a:gd name="connsiteX13" fmla="*/ 1283 w 36099"/>
                <a:gd name="connsiteY13" fmla="*/ 2314 h 17866"/>
                <a:gd name="connsiteX14" fmla="*/ -336 w 36099"/>
                <a:gd name="connsiteY14" fmla="*/ -163 h 178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866">
                  <a:moveTo>
                    <a:pt x="-336" y="-163"/>
                  </a:moveTo>
                  <a:lnTo>
                    <a:pt x="-336" y="7267"/>
                  </a:lnTo>
                  <a:cubicBezTo>
                    <a:pt x="-232" y="8257"/>
                    <a:pt x="378" y="9124"/>
                    <a:pt x="1283" y="9553"/>
                  </a:cubicBezTo>
                  <a:lnTo>
                    <a:pt x="13856" y="16697"/>
                  </a:lnTo>
                  <a:cubicBezTo>
                    <a:pt x="16256" y="18040"/>
                    <a:pt x="19171" y="18040"/>
                    <a:pt x="21571" y="16697"/>
                  </a:cubicBezTo>
                  <a:lnTo>
                    <a:pt x="34144" y="9553"/>
                  </a:lnTo>
                  <a:cubicBezTo>
                    <a:pt x="35030" y="9115"/>
                    <a:pt x="35640" y="8248"/>
                    <a:pt x="35764" y="7267"/>
                  </a:cubicBezTo>
                  <a:lnTo>
                    <a:pt x="35764" y="28"/>
                  </a:lnTo>
                  <a:cubicBezTo>
                    <a:pt x="35678" y="1028"/>
                    <a:pt x="35059" y="1904"/>
                    <a:pt x="34144" y="2314"/>
                  </a:cubicBezTo>
                  <a:lnTo>
                    <a:pt x="31858" y="3647"/>
                  </a:lnTo>
                  <a:lnTo>
                    <a:pt x="21571" y="9553"/>
                  </a:lnTo>
                  <a:cubicBezTo>
                    <a:pt x="19171" y="10896"/>
                    <a:pt x="16256" y="10896"/>
                    <a:pt x="13856" y="9553"/>
                  </a:cubicBezTo>
                  <a:lnTo>
                    <a:pt x="3569" y="3647"/>
                  </a:lnTo>
                  <a:lnTo>
                    <a:pt x="1283" y="2314"/>
                  </a:lnTo>
                  <a:cubicBezTo>
                    <a:pt x="311" y="1876"/>
                    <a:pt x="-317" y="904"/>
                    <a:pt x="-336" y="-163"/>
                  </a:cubicBezTo>
                  <a:close/>
                </a:path>
              </a:pathLst>
            </a:custGeom>
            <a:solidFill>
              <a:srgbClr val="BF4200"/>
            </a:solidFill>
            <a:ln w="9525" cap="flat">
              <a:noFill/>
              <a:prstDash val="solid"/>
              <a:miter/>
            </a:ln>
          </p:spPr>
          <p:txBody>
            <a:bodyPr rtlCol="0" anchor="ctr"/>
            <a:lstStyle/>
            <a:p>
              <a:endParaRPr lang="zh-CN" altLang="en-US"/>
            </a:p>
          </p:txBody>
        </p:sp>
        <p:sp>
          <p:nvSpPr>
            <p:cNvPr id="239" name="íš1îḍê">
              <a:extLst>
                <a:ext uri="{FF2B5EF4-FFF2-40B4-BE49-F238E27FC236}">
                  <a16:creationId xmlns:a16="http://schemas.microsoft.com/office/drawing/2014/main" id="{D14C7800-2589-4E68-A20C-A7792ED702E9}"/>
                </a:ext>
              </a:extLst>
            </p:cNvPr>
            <p:cNvSpPr/>
            <p:nvPr/>
          </p:nvSpPr>
          <p:spPr>
            <a:xfrm>
              <a:off x="5544448" y="4817498"/>
              <a:ext cx="108580" cy="63588"/>
            </a:xfrm>
            <a:custGeom>
              <a:avLst/>
              <a:gdLst>
                <a:gd name="connsiteX0" fmla="*/ -336 w 35671"/>
                <a:gd name="connsiteY0" fmla="*/ 10196 h 20890"/>
                <a:gd name="connsiteX1" fmla="*/ 1187 w 35671"/>
                <a:gd name="connsiteY1" fmla="*/ 12482 h 20890"/>
                <a:gd name="connsiteX2" fmla="*/ 3569 w 35671"/>
                <a:gd name="connsiteY2" fmla="*/ 13815 h 20890"/>
                <a:gd name="connsiteX3" fmla="*/ 13856 w 35671"/>
                <a:gd name="connsiteY3" fmla="*/ 19721 h 20890"/>
                <a:gd name="connsiteX4" fmla="*/ 21476 w 35671"/>
                <a:gd name="connsiteY4" fmla="*/ 19721 h 20890"/>
                <a:gd name="connsiteX5" fmla="*/ 31763 w 35671"/>
                <a:gd name="connsiteY5" fmla="*/ 13815 h 20890"/>
                <a:gd name="connsiteX6" fmla="*/ 33763 w 35671"/>
                <a:gd name="connsiteY6" fmla="*/ 12482 h 20890"/>
                <a:gd name="connsiteX7" fmla="*/ 35192 w 35671"/>
                <a:gd name="connsiteY7" fmla="*/ 9434 h 20890"/>
                <a:gd name="connsiteX8" fmla="*/ 33763 w 35671"/>
                <a:gd name="connsiteY8" fmla="*/ 8005 h 20890"/>
                <a:gd name="connsiteX9" fmla="*/ 21095 w 35671"/>
                <a:gd name="connsiteY9" fmla="*/ 766 h 20890"/>
                <a:gd name="connsiteX10" fmla="*/ 13475 w 35671"/>
                <a:gd name="connsiteY10" fmla="*/ 766 h 20890"/>
                <a:gd name="connsiteX11" fmla="*/ 807 w 35671"/>
                <a:gd name="connsiteY11" fmla="*/ 8005 h 20890"/>
                <a:gd name="connsiteX12" fmla="*/ -336 w 35671"/>
                <a:gd name="connsiteY12" fmla="*/ 10196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671" h="20890">
                  <a:moveTo>
                    <a:pt x="-336" y="10196"/>
                  </a:moveTo>
                  <a:cubicBezTo>
                    <a:pt x="-270" y="11177"/>
                    <a:pt x="311" y="12044"/>
                    <a:pt x="1187" y="12482"/>
                  </a:cubicBezTo>
                  <a:lnTo>
                    <a:pt x="3569" y="13815"/>
                  </a:lnTo>
                  <a:lnTo>
                    <a:pt x="13856" y="19721"/>
                  </a:lnTo>
                  <a:cubicBezTo>
                    <a:pt x="16218" y="21064"/>
                    <a:pt x="19114" y="21064"/>
                    <a:pt x="21476" y="19721"/>
                  </a:cubicBezTo>
                  <a:lnTo>
                    <a:pt x="31763" y="13815"/>
                  </a:lnTo>
                  <a:lnTo>
                    <a:pt x="33763" y="12482"/>
                  </a:lnTo>
                  <a:cubicBezTo>
                    <a:pt x="35001" y="12034"/>
                    <a:pt x="35639" y="10662"/>
                    <a:pt x="35192" y="9434"/>
                  </a:cubicBezTo>
                  <a:cubicBezTo>
                    <a:pt x="34944" y="8767"/>
                    <a:pt x="34430" y="8243"/>
                    <a:pt x="33763" y="8005"/>
                  </a:cubicBezTo>
                  <a:lnTo>
                    <a:pt x="21095" y="766"/>
                  </a:lnTo>
                  <a:cubicBezTo>
                    <a:pt x="18704" y="-472"/>
                    <a:pt x="15866" y="-472"/>
                    <a:pt x="13475" y="766"/>
                  </a:cubicBezTo>
                  <a:lnTo>
                    <a:pt x="807" y="8005"/>
                  </a:lnTo>
                  <a:cubicBezTo>
                    <a:pt x="102" y="8510"/>
                    <a:pt x="-317" y="9329"/>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240" name="işlïdé">
              <a:extLst>
                <a:ext uri="{FF2B5EF4-FFF2-40B4-BE49-F238E27FC236}">
                  <a16:creationId xmlns:a16="http://schemas.microsoft.com/office/drawing/2014/main" id="{EDB61B69-C167-45D6-ACDA-7C7188F725DE}"/>
                </a:ext>
              </a:extLst>
            </p:cNvPr>
            <p:cNvSpPr/>
            <p:nvPr/>
          </p:nvSpPr>
          <p:spPr>
            <a:xfrm>
              <a:off x="5546981" y="4818877"/>
              <a:ext cx="105798" cy="61174"/>
            </a:xfrm>
            <a:custGeom>
              <a:avLst/>
              <a:gdLst>
                <a:gd name="connsiteX0" fmla="*/ 1022 w 34757"/>
                <a:gd name="connsiteY0" fmla="*/ 12029 h 20097"/>
                <a:gd name="connsiteX1" fmla="*/ 13119 w 34757"/>
                <a:gd name="connsiteY1" fmla="*/ 19078 h 20097"/>
                <a:gd name="connsiteX2" fmla="*/ 20548 w 34757"/>
                <a:gd name="connsiteY2" fmla="*/ 19078 h 20097"/>
                <a:gd name="connsiteX3" fmla="*/ 32931 w 34757"/>
                <a:gd name="connsiteY3" fmla="*/ 12029 h 20097"/>
                <a:gd name="connsiteX4" fmla="*/ 34274 w 34757"/>
                <a:gd name="connsiteY4" fmla="*/ 9086 h 20097"/>
                <a:gd name="connsiteX5" fmla="*/ 32931 w 34757"/>
                <a:gd name="connsiteY5" fmla="*/ 7743 h 20097"/>
                <a:gd name="connsiteX6" fmla="*/ 20834 w 34757"/>
                <a:gd name="connsiteY6" fmla="*/ 695 h 20097"/>
                <a:gd name="connsiteX7" fmla="*/ 13405 w 34757"/>
                <a:gd name="connsiteY7" fmla="*/ 695 h 20097"/>
                <a:gd name="connsiteX8" fmla="*/ 1308 w 34757"/>
                <a:gd name="connsiteY8" fmla="*/ 7743 h 20097"/>
                <a:gd name="connsiteX9" fmla="*/ -245 w 34757"/>
                <a:gd name="connsiteY9" fmla="*/ 10572 h 20097"/>
                <a:gd name="connsiteX10" fmla="*/ 1022 w 34757"/>
                <a:gd name="connsiteY10" fmla="*/ 12029 h 20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757" h="20097">
                  <a:moveTo>
                    <a:pt x="1022" y="12029"/>
                  </a:moveTo>
                  <a:lnTo>
                    <a:pt x="13119" y="19078"/>
                  </a:lnTo>
                  <a:cubicBezTo>
                    <a:pt x="15462" y="20221"/>
                    <a:pt x="18205" y="20221"/>
                    <a:pt x="20548" y="19078"/>
                  </a:cubicBezTo>
                  <a:lnTo>
                    <a:pt x="32931" y="12029"/>
                  </a:lnTo>
                  <a:cubicBezTo>
                    <a:pt x="34112" y="11591"/>
                    <a:pt x="34721" y="10277"/>
                    <a:pt x="34274" y="9086"/>
                  </a:cubicBezTo>
                  <a:cubicBezTo>
                    <a:pt x="34045" y="8467"/>
                    <a:pt x="33550" y="7972"/>
                    <a:pt x="32931" y="7743"/>
                  </a:cubicBezTo>
                  <a:lnTo>
                    <a:pt x="20834" y="695"/>
                  </a:lnTo>
                  <a:cubicBezTo>
                    <a:pt x="18491" y="-448"/>
                    <a:pt x="15748" y="-448"/>
                    <a:pt x="13405" y="695"/>
                  </a:cubicBezTo>
                  <a:lnTo>
                    <a:pt x="1308" y="7743"/>
                  </a:lnTo>
                  <a:cubicBezTo>
                    <a:pt x="98" y="8096"/>
                    <a:pt x="-597" y="9362"/>
                    <a:pt x="-245" y="10572"/>
                  </a:cubicBezTo>
                  <a:cubicBezTo>
                    <a:pt x="-64" y="11229"/>
                    <a:pt x="403" y="11753"/>
                    <a:pt x="1022" y="12029"/>
                  </a:cubicBezTo>
                  <a:close/>
                </a:path>
              </a:pathLst>
            </a:custGeom>
            <a:solidFill>
              <a:srgbClr val="D1D9E8"/>
            </a:solidFill>
            <a:ln w="9525" cap="flat">
              <a:noFill/>
              <a:prstDash val="solid"/>
              <a:miter/>
            </a:ln>
          </p:spPr>
          <p:txBody>
            <a:bodyPr rtlCol="0" anchor="ctr"/>
            <a:lstStyle/>
            <a:p>
              <a:endParaRPr lang="zh-CN" altLang="en-US"/>
            </a:p>
          </p:txBody>
        </p:sp>
        <p:sp>
          <p:nvSpPr>
            <p:cNvPr id="241" name="ïṡľïḓe">
              <a:extLst>
                <a:ext uri="{FF2B5EF4-FFF2-40B4-BE49-F238E27FC236}">
                  <a16:creationId xmlns:a16="http://schemas.microsoft.com/office/drawing/2014/main" id="{1F3FFAF5-3C11-4E87-933A-9F5E1FCABAFC}"/>
                </a:ext>
              </a:extLst>
            </p:cNvPr>
            <p:cNvSpPr/>
            <p:nvPr/>
          </p:nvSpPr>
          <p:spPr>
            <a:xfrm>
              <a:off x="5544448" y="4849030"/>
              <a:ext cx="109594" cy="53801"/>
            </a:xfrm>
            <a:custGeom>
              <a:avLst/>
              <a:gdLst>
                <a:gd name="connsiteX0" fmla="*/ -336 w 36004"/>
                <a:gd name="connsiteY0" fmla="*/ -163 h 17675"/>
                <a:gd name="connsiteX1" fmla="*/ -336 w 36004"/>
                <a:gd name="connsiteY1" fmla="*/ 7076 h 17675"/>
                <a:gd name="connsiteX2" fmla="*/ 1187 w 36004"/>
                <a:gd name="connsiteY2" fmla="*/ 9267 h 17675"/>
                <a:gd name="connsiteX3" fmla="*/ 13856 w 36004"/>
                <a:gd name="connsiteY3" fmla="*/ 16506 h 17675"/>
                <a:gd name="connsiteX4" fmla="*/ 21476 w 36004"/>
                <a:gd name="connsiteY4" fmla="*/ 16506 h 17675"/>
                <a:gd name="connsiteX5" fmla="*/ 34144 w 36004"/>
                <a:gd name="connsiteY5" fmla="*/ 9267 h 17675"/>
                <a:gd name="connsiteX6" fmla="*/ 35668 w 36004"/>
                <a:gd name="connsiteY6" fmla="*/ 7076 h 17675"/>
                <a:gd name="connsiteX7" fmla="*/ 35668 w 36004"/>
                <a:gd name="connsiteY7" fmla="*/ -163 h 17675"/>
                <a:gd name="connsiteX8" fmla="*/ 34144 w 36004"/>
                <a:gd name="connsiteY8" fmla="*/ 2123 h 17675"/>
                <a:gd name="connsiteX9" fmla="*/ 31763 w 36004"/>
                <a:gd name="connsiteY9" fmla="*/ 3457 h 17675"/>
                <a:gd name="connsiteX10" fmla="*/ 21476 w 36004"/>
                <a:gd name="connsiteY10" fmla="*/ 9362 h 17675"/>
                <a:gd name="connsiteX11" fmla="*/ 13856 w 36004"/>
                <a:gd name="connsiteY11" fmla="*/ 9362 h 17675"/>
                <a:gd name="connsiteX12" fmla="*/ 3569 w 36004"/>
                <a:gd name="connsiteY12" fmla="*/ 3457 h 17675"/>
                <a:gd name="connsiteX13" fmla="*/ 1187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98" y="8038"/>
                    <a:pt x="292" y="8896"/>
                    <a:pt x="1187" y="9267"/>
                  </a:cubicBezTo>
                  <a:lnTo>
                    <a:pt x="13856" y="16506"/>
                  </a:lnTo>
                  <a:cubicBezTo>
                    <a:pt x="16218" y="17849"/>
                    <a:pt x="19114" y="17849"/>
                    <a:pt x="21476" y="16506"/>
                  </a:cubicBezTo>
                  <a:lnTo>
                    <a:pt x="34144" y="9267"/>
                  </a:lnTo>
                  <a:cubicBezTo>
                    <a:pt x="35020" y="8877"/>
                    <a:pt x="35611" y="8038"/>
                    <a:pt x="35668" y="7076"/>
                  </a:cubicBezTo>
                  <a:lnTo>
                    <a:pt x="35668" y="-163"/>
                  </a:lnTo>
                  <a:cubicBezTo>
                    <a:pt x="35601" y="818"/>
                    <a:pt x="35020" y="1685"/>
                    <a:pt x="34144" y="2123"/>
                  </a:cubicBezTo>
                  <a:lnTo>
                    <a:pt x="31763" y="3457"/>
                  </a:lnTo>
                  <a:lnTo>
                    <a:pt x="21476" y="9362"/>
                  </a:lnTo>
                  <a:cubicBezTo>
                    <a:pt x="19114" y="10705"/>
                    <a:pt x="16218" y="10705"/>
                    <a:pt x="13856" y="9362"/>
                  </a:cubicBezTo>
                  <a:lnTo>
                    <a:pt x="3569" y="3457"/>
                  </a:lnTo>
                  <a:lnTo>
                    <a:pt x="1187"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242" name="îSľïḓé">
              <a:extLst>
                <a:ext uri="{FF2B5EF4-FFF2-40B4-BE49-F238E27FC236}">
                  <a16:creationId xmlns:a16="http://schemas.microsoft.com/office/drawing/2014/main" id="{325F47D8-7EE0-457A-B266-AF4F7234F52D}"/>
                </a:ext>
              </a:extLst>
            </p:cNvPr>
            <p:cNvSpPr/>
            <p:nvPr/>
          </p:nvSpPr>
          <p:spPr>
            <a:xfrm>
              <a:off x="5621569" y="4862207"/>
              <a:ext cx="109740" cy="63289"/>
            </a:xfrm>
            <a:custGeom>
              <a:avLst/>
              <a:gdLst>
                <a:gd name="connsiteX0" fmla="*/ -336 w 36052"/>
                <a:gd name="connsiteY0" fmla="*/ 10177 h 20792"/>
                <a:gd name="connsiteX1" fmla="*/ 1283 w 36052"/>
                <a:gd name="connsiteY1" fmla="*/ 12463 h 20792"/>
                <a:gd name="connsiteX2" fmla="*/ 3569 w 36052"/>
                <a:gd name="connsiteY2" fmla="*/ 13796 h 20792"/>
                <a:gd name="connsiteX3" fmla="*/ 13856 w 36052"/>
                <a:gd name="connsiteY3" fmla="*/ 19702 h 20792"/>
                <a:gd name="connsiteX4" fmla="*/ 21571 w 36052"/>
                <a:gd name="connsiteY4" fmla="*/ 19702 h 20792"/>
                <a:gd name="connsiteX5" fmla="*/ 31858 w 36052"/>
                <a:gd name="connsiteY5" fmla="*/ 13796 h 20792"/>
                <a:gd name="connsiteX6" fmla="*/ 34144 w 36052"/>
                <a:gd name="connsiteY6" fmla="*/ 12463 h 20792"/>
                <a:gd name="connsiteX7" fmla="*/ 35573 w 36052"/>
                <a:gd name="connsiteY7" fmla="*/ 9415 h 20792"/>
                <a:gd name="connsiteX8" fmla="*/ 34144 w 36052"/>
                <a:gd name="connsiteY8" fmla="*/ 7986 h 20792"/>
                <a:gd name="connsiteX9" fmla="*/ 21571 w 36052"/>
                <a:gd name="connsiteY9" fmla="*/ 652 h 20792"/>
                <a:gd name="connsiteX10" fmla="*/ 13856 w 36052"/>
                <a:gd name="connsiteY10" fmla="*/ 652 h 20792"/>
                <a:gd name="connsiteX11" fmla="*/ 1283 w 36052"/>
                <a:gd name="connsiteY11" fmla="*/ 7986 h 20792"/>
                <a:gd name="connsiteX12" fmla="*/ -336 w 36052"/>
                <a:gd name="connsiteY12" fmla="*/ 10177 h 20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792">
                  <a:moveTo>
                    <a:pt x="-336" y="10177"/>
                  </a:moveTo>
                  <a:cubicBezTo>
                    <a:pt x="-231" y="11167"/>
                    <a:pt x="378" y="12034"/>
                    <a:pt x="1283" y="12463"/>
                  </a:cubicBezTo>
                  <a:lnTo>
                    <a:pt x="3569" y="13796"/>
                  </a:lnTo>
                  <a:lnTo>
                    <a:pt x="13856" y="19702"/>
                  </a:lnTo>
                  <a:cubicBezTo>
                    <a:pt x="16275" y="20940"/>
                    <a:pt x="19152" y="20940"/>
                    <a:pt x="21571" y="19702"/>
                  </a:cubicBezTo>
                  <a:lnTo>
                    <a:pt x="31858" y="13796"/>
                  </a:lnTo>
                  <a:lnTo>
                    <a:pt x="34144" y="12463"/>
                  </a:lnTo>
                  <a:cubicBezTo>
                    <a:pt x="35382" y="12015"/>
                    <a:pt x="36021" y="10643"/>
                    <a:pt x="35573" y="9415"/>
                  </a:cubicBezTo>
                  <a:cubicBezTo>
                    <a:pt x="35325" y="8748"/>
                    <a:pt x="34811" y="8224"/>
                    <a:pt x="34144" y="7986"/>
                  </a:cubicBezTo>
                  <a:lnTo>
                    <a:pt x="21571" y="652"/>
                  </a:lnTo>
                  <a:cubicBezTo>
                    <a:pt x="19114" y="-434"/>
                    <a:pt x="16314" y="-434"/>
                    <a:pt x="13856" y="652"/>
                  </a:cubicBezTo>
                  <a:lnTo>
                    <a:pt x="1283" y="7986"/>
                  </a:lnTo>
                  <a:cubicBezTo>
                    <a:pt x="407" y="8396"/>
                    <a:pt x="-203" y="9224"/>
                    <a:pt x="-336" y="10177"/>
                  </a:cubicBezTo>
                  <a:close/>
                </a:path>
              </a:pathLst>
            </a:custGeom>
            <a:solidFill>
              <a:srgbClr val="FFFFFF"/>
            </a:solidFill>
            <a:ln w="9525" cap="flat">
              <a:noFill/>
              <a:prstDash val="solid"/>
              <a:miter/>
            </a:ln>
          </p:spPr>
          <p:txBody>
            <a:bodyPr rtlCol="0" anchor="ctr"/>
            <a:lstStyle/>
            <a:p>
              <a:endParaRPr lang="zh-CN" altLang="en-US"/>
            </a:p>
          </p:txBody>
        </p:sp>
        <p:sp>
          <p:nvSpPr>
            <p:cNvPr id="243" name="îṡliḋe">
              <a:extLst>
                <a:ext uri="{FF2B5EF4-FFF2-40B4-BE49-F238E27FC236}">
                  <a16:creationId xmlns:a16="http://schemas.microsoft.com/office/drawing/2014/main" id="{79D83694-B013-4F63-B8E8-B9BCE27FBFA5}"/>
                </a:ext>
              </a:extLst>
            </p:cNvPr>
            <p:cNvSpPr/>
            <p:nvPr/>
          </p:nvSpPr>
          <p:spPr>
            <a:xfrm>
              <a:off x="5623672" y="4863236"/>
              <a:ext cx="105679" cy="61104"/>
            </a:xfrm>
            <a:custGeom>
              <a:avLst/>
              <a:gdLst>
                <a:gd name="connsiteX0" fmla="*/ 1164 w 34718"/>
                <a:gd name="connsiteY0" fmla="*/ 12029 h 20074"/>
                <a:gd name="connsiteX1" fmla="*/ 13356 w 34718"/>
                <a:gd name="connsiteY1" fmla="*/ 18983 h 20074"/>
                <a:gd name="connsiteX2" fmla="*/ 20785 w 34718"/>
                <a:gd name="connsiteY2" fmla="*/ 18983 h 20074"/>
                <a:gd name="connsiteX3" fmla="*/ 32882 w 34718"/>
                <a:gd name="connsiteY3" fmla="*/ 12029 h 20074"/>
                <a:gd name="connsiteX4" fmla="*/ 32882 w 34718"/>
                <a:gd name="connsiteY4" fmla="*/ 7743 h 20074"/>
                <a:gd name="connsiteX5" fmla="*/ 20785 w 34718"/>
                <a:gd name="connsiteY5" fmla="*/ 695 h 20074"/>
                <a:gd name="connsiteX6" fmla="*/ 13356 w 34718"/>
                <a:gd name="connsiteY6" fmla="*/ 695 h 20074"/>
                <a:gd name="connsiteX7" fmla="*/ 1164 w 34718"/>
                <a:gd name="connsiteY7" fmla="*/ 7743 h 20074"/>
                <a:gd name="connsiteX8" fmla="*/ 1164 w 34718"/>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18" h="20074">
                  <a:moveTo>
                    <a:pt x="1164" y="12029"/>
                  </a:moveTo>
                  <a:lnTo>
                    <a:pt x="13356" y="18983"/>
                  </a:lnTo>
                  <a:cubicBezTo>
                    <a:pt x="15680" y="20221"/>
                    <a:pt x="18461" y="20221"/>
                    <a:pt x="20785" y="18983"/>
                  </a:cubicBezTo>
                  <a:lnTo>
                    <a:pt x="32882" y="12029"/>
                  </a:lnTo>
                  <a:cubicBezTo>
                    <a:pt x="34882" y="10791"/>
                    <a:pt x="34882" y="8886"/>
                    <a:pt x="32882" y="7743"/>
                  </a:cubicBezTo>
                  <a:lnTo>
                    <a:pt x="20785" y="695"/>
                  </a:lnTo>
                  <a:cubicBezTo>
                    <a:pt x="18442" y="-448"/>
                    <a:pt x="15699" y="-448"/>
                    <a:pt x="13356" y="695"/>
                  </a:cubicBezTo>
                  <a:lnTo>
                    <a:pt x="1164" y="7743"/>
                  </a:lnTo>
                  <a:cubicBezTo>
                    <a:pt x="-836" y="8886"/>
                    <a:pt x="-836" y="10791"/>
                    <a:pt x="1164" y="12029"/>
                  </a:cubicBezTo>
                  <a:close/>
                </a:path>
              </a:pathLst>
            </a:custGeom>
            <a:solidFill>
              <a:srgbClr val="D1D9E8"/>
            </a:solidFill>
            <a:ln w="9525" cap="flat">
              <a:noFill/>
              <a:prstDash val="solid"/>
              <a:miter/>
            </a:ln>
          </p:spPr>
          <p:txBody>
            <a:bodyPr rtlCol="0" anchor="ctr"/>
            <a:lstStyle/>
            <a:p>
              <a:endParaRPr lang="zh-CN" altLang="en-US"/>
            </a:p>
          </p:txBody>
        </p:sp>
        <p:sp>
          <p:nvSpPr>
            <p:cNvPr id="244" name="iṣlîdê">
              <a:extLst>
                <a:ext uri="{FF2B5EF4-FFF2-40B4-BE49-F238E27FC236}">
                  <a16:creationId xmlns:a16="http://schemas.microsoft.com/office/drawing/2014/main" id="{28A6AAD3-74DD-4F66-8950-EADD19C9C809}"/>
                </a:ext>
              </a:extLst>
            </p:cNvPr>
            <p:cNvSpPr/>
            <p:nvPr/>
          </p:nvSpPr>
          <p:spPr>
            <a:xfrm>
              <a:off x="5621569" y="4893678"/>
              <a:ext cx="109883" cy="53804"/>
            </a:xfrm>
            <a:custGeom>
              <a:avLst/>
              <a:gdLst>
                <a:gd name="connsiteX0" fmla="*/ -336 w 36099"/>
                <a:gd name="connsiteY0" fmla="*/ -163 h 17676"/>
                <a:gd name="connsiteX1" fmla="*/ -336 w 36099"/>
                <a:gd name="connsiteY1" fmla="*/ 7076 h 17676"/>
                <a:gd name="connsiteX2" fmla="*/ 1283 w 36099"/>
                <a:gd name="connsiteY2" fmla="*/ 9267 h 17676"/>
                <a:gd name="connsiteX3" fmla="*/ 13856 w 36099"/>
                <a:gd name="connsiteY3" fmla="*/ 16506 h 17676"/>
                <a:gd name="connsiteX4" fmla="*/ 21571 w 36099"/>
                <a:gd name="connsiteY4" fmla="*/ 16506 h 17676"/>
                <a:gd name="connsiteX5" fmla="*/ 34144 w 36099"/>
                <a:gd name="connsiteY5" fmla="*/ 9267 h 17676"/>
                <a:gd name="connsiteX6" fmla="*/ 35764 w 36099"/>
                <a:gd name="connsiteY6" fmla="*/ 6981 h 17676"/>
                <a:gd name="connsiteX7" fmla="*/ 35764 w 36099"/>
                <a:gd name="connsiteY7" fmla="*/ -163 h 17676"/>
                <a:gd name="connsiteX8" fmla="*/ 34144 w 36099"/>
                <a:gd name="connsiteY8" fmla="*/ 2124 h 17676"/>
                <a:gd name="connsiteX9" fmla="*/ 31858 w 36099"/>
                <a:gd name="connsiteY9" fmla="*/ 3457 h 17676"/>
                <a:gd name="connsiteX10" fmla="*/ 21571 w 36099"/>
                <a:gd name="connsiteY10" fmla="*/ 9362 h 17676"/>
                <a:gd name="connsiteX11" fmla="*/ 13856 w 36099"/>
                <a:gd name="connsiteY11" fmla="*/ 9362 h 17676"/>
                <a:gd name="connsiteX12" fmla="*/ 3569 w 36099"/>
                <a:gd name="connsiteY12" fmla="*/ 3457 h 17676"/>
                <a:gd name="connsiteX13" fmla="*/ 1283 w 36099"/>
                <a:gd name="connsiteY13" fmla="*/ 2124 h 17676"/>
                <a:gd name="connsiteX14" fmla="*/ -336 w 36099"/>
                <a:gd name="connsiteY14" fmla="*/ -163 h 17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676">
                  <a:moveTo>
                    <a:pt x="-336" y="-163"/>
                  </a:moveTo>
                  <a:lnTo>
                    <a:pt x="-336" y="7076"/>
                  </a:lnTo>
                  <a:cubicBezTo>
                    <a:pt x="-222" y="8039"/>
                    <a:pt x="397" y="8877"/>
                    <a:pt x="1283" y="9267"/>
                  </a:cubicBezTo>
                  <a:lnTo>
                    <a:pt x="13856" y="16506"/>
                  </a:lnTo>
                  <a:cubicBezTo>
                    <a:pt x="16256" y="17849"/>
                    <a:pt x="19171" y="17849"/>
                    <a:pt x="21571" y="16506"/>
                  </a:cubicBezTo>
                  <a:lnTo>
                    <a:pt x="34144" y="9267"/>
                  </a:lnTo>
                  <a:cubicBezTo>
                    <a:pt x="35087" y="8896"/>
                    <a:pt x="35725" y="8001"/>
                    <a:pt x="35764" y="6981"/>
                  </a:cubicBezTo>
                  <a:lnTo>
                    <a:pt x="35764" y="-163"/>
                  </a:lnTo>
                  <a:cubicBezTo>
                    <a:pt x="35697" y="847"/>
                    <a:pt x="35068" y="1733"/>
                    <a:pt x="34144" y="2124"/>
                  </a:cubicBezTo>
                  <a:lnTo>
                    <a:pt x="31858" y="3457"/>
                  </a:lnTo>
                  <a:lnTo>
                    <a:pt x="21571" y="9362"/>
                  </a:lnTo>
                  <a:cubicBezTo>
                    <a:pt x="19152" y="10601"/>
                    <a:pt x="16275" y="10601"/>
                    <a:pt x="13856" y="9362"/>
                  </a:cubicBezTo>
                  <a:lnTo>
                    <a:pt x="3569" y="3457"/>
                  </a:lnTo>
                  <a:lnTo>
                    <a:pt x="1283" y="2124"/>
                  </a:lnTo>
                  <a:cubicBezTo>
                    <a:pt x="378" y="1695"/>
                    <a:pt x="-231"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245" name="ïṩľîḓè">
              <a:extLst>
                <a:ext uri="{FF2B5EF4-FFF2-40B4-BE49-F238E27FC236}">
                  <a16:creationId xmlns:a16="http://schemas.microsoft.com/office/drawing/2014/main" id="{55750701-70F0-45AD-8008-294C3FA5C02E}"/>
                </a:ext>
              </a:extLst>
            </p:cNvPr>
            <p:cNvSpPr/>
            <p:nvPr/>
          </p:nvSpPr>
          <p:spPr>
            <a:xfrm>
              <a:off x="5698982" y="4906703"/>
              <a:ext cx="109740" cy="63445"/>
            </a:xfrm>
            <a:custGeom>
              <a:avLst/>
              <a:gdLst>
                <a:gd name="connsiteX0" fmla="*/ -336 w 36052"/>
                <a:gd name="connsiteY0" fmla="*/ 10227 h 20843"/>
                <a:gd name="connsiteX1" fmla="*/ 1188 w 36052"/>
                <a:gd name="connsiteY1" fmla="*/ 12513 h 20843"/>
                <a:gd name="connsiteX2" fmla="*/ 3569 w 36052"/>
                <a:gd name="connsiteY2" fmla="*/ 13846 h 20843"/>
                <a:gd name="connsiteX3" fmla="*/ 13856 w 36052"/>
                <a:gd name="connsiteY3" fmla="*/ 19752 h 20843"/>
                <a:gd name="connsiteX4" fmla="*/ 21476 w 36052"/>
                <a:gd name="connsiteY4" fmla="*/ 19752 h 20843"/>
                <a:gd name="connsiteX5" fmla="*/ 31763 w 36052"/>
                <a:gd name="connsiteY5" fmla="*/ 13846 h 20843"/>
                <a:gd name="connsiteX6" fmla="*/ 34144 w 36052"/>
                <a:gd name="connsiteY6" fmla="*/ 12513 h 20843"/>
                <a:gd name="connsiteX7" fmla="*/ 35573 w 36052"/>
                <a:gd name="connsiteY7" fmla="*/ 9465 h 20843"/>
                <a:gd name="connsiteX8" fmla="*/ 34144 w 36052"/>
                <a:gd name="connsiteY8" fmla="*/ 8036 h 20843"/>
                <a:gd name="connsiteX9" fmla="*/ 21476 w 36052"/>
                <a:gd name="connsiteY9" fmla="*/ 702 h 20843"/>
                <a:gd name="connsiteX10" fmla="*/ 13856 w 36052"/>
                <a:gd name="connsiteY10" fmla="*/ 702 h 20843"/>
                <a:gd name="connsiteX11" fmla="*/ 1188 w 36052"/>
                <a:gd name="connsiteY11" fmla="*/ 8036 h 20843"/>
                <a:gd name="connsiteX12" fmla="*/ -336 w 36052"/>
                <a:gd name="connsiteY12" fmla="*/ 10227 h 20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3">
                  <a:moveTo>
                    <a:pt x="-336" y="10227"/>
                  </a:moveTo>
                  <a:cubicBezTo>
                    <a:pt x="-270" y="11208"/>
                    <a:pt x="311" y="12075"/>
                    <a:pt x="1188" y="12513"/>
                  </a:cubicBezTo>
                  <a:lnTo>
                    <a:pt x="3569" y="13846"/>
                  </a:lnTo>
                  <a:lnTo>
                    <a:pt x="13856" y="19752"/>
                  </a:lnTo>
                  <a:cubicBezTo>
                    <a:pt x="16247" y="20990"/>
                    <a:pt x="19085" y="20990"/>
                    <a:pt x="21476" y="19752"/>
                  </a:cubicBezTo>
                  <a:lnTo>
                    <a:pt x="31763" y="13846"/>
                  </a:lnTo>
                  <a:lnTo>
                    <a:pt x="34144" y="12513"/>
                  </a:lnTo>
                  <a:cubicBezTo>
                    <a:pt x="35382" y="12065"/>
                    <a:pt x="36020" y="10694"/>
                    <a:pt x="35573" y="9465"/>
                  </a:cubicBezTo>
                  <a:cubicBezTo>
                    <a:pt x="35325" y="8798"/>
                    <a:pt x="34811" y="8274"/>
                    <a:pt x="34144"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246" name="ïşļîḍe">
              <a:extLst>
                <a:ext uri="{FF2B5EF4-FFF2-40B4-BE49-F238E27FC236}">
                  <a16:creationId xmlns:a16="http://schemas.microsoft.com/office/drawing/2014/main" id="{02D9B9A8-B8CC-4F98-8FA0-61C0E2686DB1}"/>
                </a:ext>
              </a:extLst>
            </p:cNvPr>
            <p:cNvSpPr/>
            <p:nvPr/>
          </p:nvSpPr>
          <p:spPr>
            <a:xfrm>
              <a:off x="5701012" y="4907887"/>
              <a:ext cx="106260" cy="61101"/>
            </a:xfrm>
            <a:custGeom>
              <a:avLst/>
              <a:gdLst>
                <a:gd name="connsiteX0" fmla="*/ 1378 w 34909"/>
                <a:gd name="connsiteY0" fmla="*/ 12029 h 20073"/>
                <a:gd name="connsiteX1" fmla="*/ 13475 w 34909"/>
                <a:gd name="connsiteY1" fmla="*/ 18982 h 20073"/>
                <a:gd name="connsiteX2" fmla="*/ 20904 w 34909"/>
                <a:gd name="connsiteY2" fmla="*/ 18982 h 20073"/>
                <a:gd name="connsiteX3" fmla="*/ 33001 w 34909"/>
                <a:gd name="connsiteY3" fmla="*/ 12029 h 20073"/>
                <a:gd name="connsiteX4" fmla="*/ 33001 w 34909"/>
                <a:gd name="connsiteY4" fmla="*/ 7743 h 20073"/>
                <a:gd name="connsiteX5" fmla="*/ 20904 w 34909"/>
                <a:gd name="connsiteY5" fmla="*/ 695 h 20073"/>
                <a:gd name="connsiteX6" fmla="*/ 13475 w 34909"/>
                <a:gd name="connsiteY6" fmla="*/ 695 h 20073"/>
                <a:gd name="connsiteX7" fmla="*/ 1378 w 34909"/>
                <a:gd name="connsiteY7" fmla="*/ 7743 h 20073"/>
                <a:gd name="connsiteX8" fmla="*/ 1378 w 34909"/>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909" h="20073">
                  <a:moveTo>
                    <a:pt x="1378" y="12029"/>
                  </a:moveTo>
                  <a:lnTo>
                    <a:pt x="13475" y="18982"/>
                  </a:lnTo>
                  <a:cubicBezTo>
                    <a:pt x="15799" y="20221"/>
                    <a:pt x="18580" y="20221"/>
                    <a:pt x="20904" y="18982"/>
                  </a:cubicBezTo>
                  <a:lnTo>
                    <a:pt x="33001" y="12029"/>
                  </a:lnTo>
                  <a:cubicBezTo>
                    <a:pt x="35097" y="10791"/>
                    <a:pt x="35097" y="8886"/>
                    <a:pt x="33001" y="7743"/>
                  </a:cubicBezTo>
                  <a:lnTo>
                    <a:pt x="20904" y="695"/>
                  </a:lnTo>
                  <a:cubicBezTo>
                    <a:pt x="18561" y="-448"/>
                    <a:pt x="15818" y="-448"/>
                    <a:pt x="13475" y="695"/>
                  </a:cubicBezTo>
                  <a:lnTo>
                    <a:pt x="1378" y="7743"/>
                  </a:lnTo>
                  <a:cubicBezTo>
                    <a:pt x="-908" y="8886"/>
                    <a:pt x="-908" y="10791"/>
                    <a:pt x="1378" y="12029"/>
                  </a:cubicBezTo>
                  <a:close/>
                </a:path>
              </a:pathLst>
            </a:custGeom>
            <a:solidFill>
              <a:srgbClr val="D1D9E8"/>
            </a:solidFill>
            <a:ln w="9525" cap="flat">
              <a:noFill/>
              <a:prstDash val="solid"/>
              <a:miter/>
            </a:ln>
          </p:spPr>
          <p:txBody>
            <a:bodyPr rtlCol="0" anchor="ctr"/>
            <a:lstStyle/>
            <a:p>
              <a:endParaRPr lang="zh-CN" altLang="en-US"/>
            </a:p>
          </p:txBody>
        </p:sp>
        <p:sp>
          <p:nvSpPr>
            <p:cNvPr id="247" name="isļîḋé">
              <a:extLst>
                <a:ext uri="{FF2B5EF4-FFF2-40B4-BE49-F238E27FC236}">
                  <a16:creationId xmlns:a16="http://schemas.microsoft.com/office/drawing/2014/main" id="{7F87F0CE-F1FE-420C-B198-7E457F1434B8}"/>
                </a:ext>
              </a:extLst>
            </p:cNvPr>
            <p:cNvSpPr/>
            <p:nvPr/>
          </p:nvSpPr>
          <p:spPr>
            <a:xfrm>
              <a:off x="5698982" y="4938329"/>
              <a:ext cx="109594" cy="53801"/>
            </a:xfrm>
            <a:custGeom>
              <a:avLst/>
              <a:gdLst>
                <a:gd name="connsiteX0" fmla="*/ -336 w 36004"/>
                <a:gd name="connsiteY0" fmla="*/ -163 h 17675"/>
                <a:gd name="connsiteX1" fmla="*/ -336 w 36004"/>
                <a:gd name="connsiteY1" fmla="*/ 7076 h 17675"/>
                <a:gd name="connsiteX2" fmla="*/ 1188 w 36004"/>
                <a:gd name="connsiteY2" fmla="*/ 9267 h 17675"/>
                <a:gd name="connsiteX3" fmla="*/ 13856 w 36004"/>
                <a:gd name="connsiteY3" fmla="*/ 16506 h 17675"/>
                <a:gd name="connsiteX4" fmla="*/ 21476 w 36004"/>
                <a:gd name="connsiteY4" fmla="*/ 16506 h 17675"/>
                <a:gd name="connsiteX5" fmla="*/ 34144 w 36004"/>
                <a:gd name="connsiteY5" fmla="*/ 9267 h 17675"/>
                <a:gd name="connsiteX6" fmla="*/ 35668 w 36004"/>
                <a:gd name="connsiteY6" fmla="*/ 6981 h 17675"/>
                <a:gd name="connsiteX7" fmla="*/ 35668 w 36004"/>
                <a:gd name="connsiteY7" fmla="*/ -163 h 17675"/>
                <a:gd name="connsiteX8" fmla="*/ 34144 w 36004"/>
                <a:gd name="connsiteY8" fmla="*/ 2123 h 17675"/>
                <a:gd name="connsiteX9" fmla="*/ 31763 w 36004"/>
                <a:gd name="connsiteY9" fmla="*/ 3457 h 17675"/>
                <a:gd name="connsiteX10" fmla="*/ 21476 w 36004"/>
                <a:gd name="connsiteY10" fmla="*/ 9362 h 17675"/>
                <a:gd name="connsiteX11" fmla="*/ 13856 w 36004"/>
                <a:gd name="connsiteY11" fmla="*/ 9362 h 17675"/>
                <a:gd name="connsiteX12" fmla="*/ 3569 w 36004"/>
                <a:gd name="connsiteY12" fmla="*/ 3457 h 17675"/>
                <a:gd name="connsiteX13" fmla="*/ 1188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41" y="8019"/>
                    <a:pt x="340" y="8848"/>
                    <a:pt x="1188" y="9267"/>
                  </a:cubicBezTo>
                  <a:lnTo>
                    <a:pt x="13856" y="16506"/>
                  </a:lnTo>
                  <a:cubicBezTo>
                    <a:pt x="16218" y="17849"/>
                    <a:pt x="19114" y="17849"/>
                    <a:pt x="21476" y="16506"/>
                  </a:cubicBezTo>
                  <a:lnTo>
                    <a:pt x="34144" y="9267"/>
                  </a:lnTo>
                  <a:cubicBezTo>
                    <a:pt x="35021" y="8829"/>
                    <a:pt x="35602" y="7962"/>
                    <a:pt x="35668" y="6981"/>
                  </a:cubicBezTo>
                  <a:lnTo>
                    <a:pt x="35668" y="-163"/>
                  </a:lnTo>
                  <a:cubicBezTo>
                    <a:pt x="35602" y="818"/>
                    <a:pt x="35021" y="1685"/>
                    <a:pt x="34144" y="2123"/>
                  </a:cubicBezTo>
                  <a:lnTo>
                    <a:pt x="31763" y="3457"/>
                  </a:lnTo>
                  <a:lnTo>
                    <a:pt x="21476" y="9362"/>
                  </a:lnTo>
                  <a:cubicBezTo>
                    <a:pt x="19085" y="10601"/>
                    <a:pt x="16247" y="10601"/>
                    <a:pt x="13856" y="9362"/>
                  </a:cubicBezTo>
                  <a:lnTo>
                    <a:pt x="3569" y="3457"/>
                  </a:lnTo>
                  <a:lnTo>
                    <a:pt x="1188"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248" name="íṥ1îďe">
              <a:extLst>
                <a:ext uri="{FF2B5EF4-FFF2-40B4-BE49-F238E27FC236}">
                  <a16:creationId xmlns:a16="http://schemas.microsoft.com/office/drawing/2014/main" id="{A114EA82-4E41-47B0-AF81-DFFA345FBAF8}"/>
                </a:ext>
              </a:extLst>
            </p:cNvPr>
            <p:cNvSpPr/>
            <p:nvPr/>
          </p:nvSpPr>
          <p:spPr>
            <a:xfrm>
              <a:off x="5776395" y="4951354"/>
              <a:ext cx="109447" cy="63445"/>
            </a:xfrm>
            <a:custGeom>
              <a:avLst/>
              <a:gdLst>
                <a:gd name="connsiteX0" fmla="*/ -336 w 35956"/>
                <a:gd name="connsiteY0" fmla="*/ 10227 h 20843"/>
                <a:gd name="connsiteX1" fmla="*/ 1187 w 35956"/>
                <a:gd name="connsiteY1" fmla="*/ 12513 h 20843"/>
                <a:gd name="connsiteX2" fmla="*/ 3569 w 35956"/>
                <a:gd name="connsiteY2" fmla="*/ 13846 h 20843"/>
                <a:gd name="connsiteX3" fmla="*/ 13856 w 35956"/>
                <a:gd name="connsiteY3" fmla="*/ 19752 h 20843"/>
                <a:gd name="connsiteX4" fmla="*/ 21476 w 35956"/>
                <a:gd name="connsiteY4" fmla="*/ 19752 h 20843"/>
                <a:gd name="connsiteX5" fmla="*/ 31763 w 35956"/>
                <a:gd name="connsiteY5" fmla="*/ 13846 h 20843"/>
                <a:gd name="connsiteX6" fmla="*/ 34049 w 35956"/>
                <a:gd name="connsiteY6" fmla="*/ 12513 h 20843"/>
                <a:gd name="connsiteX7" fmla="*/ 35477 w 35956"/>
                <a:gd name="connsiteY7" fmla="*/ 9465 h 20843"/>
                <a:gd name="connsiteX8" fmla="*/ 34049 w 35956"/>
                <a:gd name="connsiteY8" fmla="*/ 8036 h 20843"/>
                <a:gd name="connsiteX9" fmla="*/ 21476 w 35956"/>
                <a:gd name="connsiteY9" fmla="*/ 702 h 20843"/>
                <a:gd name="connsiteX10" fmla="*/ 13856 w 35956"/>
                <a:gd name="connsiteY10" fmla="*/ 702 h 20843"/>
                <a:gd name="connsiteX11" fmla="*/ 1187 w 35956"/>
                <a:gd name="connsiteY11" fmla="*/ 8036 h 20843"/>
                <a:gd name="connsiteX12" fmla="*/ -336 w 35956"/>
                <a:gd name="connsiteY12" fmla="*/ 10227 h 20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956" h="20843">
                  <a:moveTo>
                    <a:pt x="-336" y="10227"/>
                  </a:moveTo>
                  <a:cubicBezTo>
                    <a:pt x="-270" y="11208"/>
                    <a:pt x="311" y="12075"/>
                    <a:pt x="1187" y="12513"/>
                  </a:cubicBezTo>
                  <a:lnTo>
                    <a:pt x="3569" y="13846"/>
                  </a:lnTo>
                  <a:lnTo>
                    <a:pt x="13856" y="19752"/>
                  </a:lnTo>
                  <a:cubicBezTo>
                    <a:pt x="16247" y="20990"/>
                    <a:pt x="19085" y="20990"/>
                    <a:pt x="21476" y="19752"/>
                  </a:cubicBezTo>
                  <a:lnTo>
                    <a:pt x="31763" y="13846"/>
                  </a:lnTo>
                  <a:lnTo>
                    <a:pt x="34049" y="12513"/>
                  </a:lnTo>
                  <a:cubicBezTo>
                    <a:pt x="35287" y="12065"/>
                    <a:pt x="35925" y="10693"/>
                    <a:pt x="35477" y="9465"/>
                  </a:cubicBezTo>
                  <a:cubicBezTo>
                    <a:pt x="35230" y="8798"/>
                    <a:pt x="34716" y="8274"/>
                    <a:pt x="34049" y="8036"/>
                  </a:cubicBezTo>
                  <a:lnTo>
                    <a:pt x="21476" y="702"/>
                  </a:lnTo>
                  <a:cubicBezTo>
                    <a:pt x="19066" y="-451"/>
                    <a:pt x="16266" y="-451"/>
                    <a:pt x="13856" y="702"/>
                  </a:cubicBezTo>
                  <a:lnTo>
                    <a:pt x="1187"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249" name="î$ļiḑè">
              <a:extLst>
                <a:ext uri="{FF2B5EF4-FFF2-40B4-BE49-F238E27FC236}">
                  <a16:creationId xmlns:a16="http://schemas.microsoft.com/office/drawing/2014/main" id="{28DD7512-64F5-42B3-86A1-89285087C8E6}"/>
                </a:ext>
              </a:extLst>
            </p:cNvPr>
            <p:cNvSpPr/>
            <p:nvPr/>
          </p:nvSpPr>
          <p:spPr>
            <a:xfrm>
              <a:off x="5778206" y="4952535"/>
              <a:ext cx="105898" cy="61101"/>
            </a:xfrm>
            <a:custGeom>
              <a:avLst/>
              <a:gdLst>
                <a:gd name="connsiteX0" fmla="*/ 1164 w 34790"/>
                <a:gd name="connsiteY0" fmla="*/ 12029 h 20073"/>
                <a:gd name="connsiteX1" fmla="*/ 13356 w 34790"/>
                <a:gd name="connsiteY1" fmla="*/ 18983 h 20073"/>
                <a:gd name="connsiteX2" fmla="*/ 20785 w 34790"/>
                <a:gd name="connsiteY2" fmla="*/ 18983 h 20073"/>
                <a:gd name="connsiteX3" fmla="*/ 32882 w 34790"/>
                <a:gd name="connsiteY3" fmla="*/ 12029 h 20073"/>
                <a:gd name="connsiteX4" fmla="*/ 32882 w 34790"/>
                <a:gd name="connsiteY4" fmla="*/ 7743 h 20073"/>
                <a:gd name="connsiteX5" fmla="*/ 20785 w 34790"/>
                <a:gd name="connsiteY5" fmla="*/ 695 h 20073"/>
                <a:gd name="connsiteX6" fmla="*/ 13356 w 34790"/>
                <a:gd name="connsiteY6" fmla="*/ 695 h 20073"/>
                <a:gd name="connsiteX7" fmla="*/ 1164 w 34790"/>
                <a:gd name="connsiteY7" fmla="*/ 7743 h 20073"/>
                <a:gd name="connsiteX8" fmla="*/ 1164 w 34790"/>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3">
                  <a:moveTo>
                    <a:pt x="1164" y="12029"/>
                  </a:moveTo>
                  <a:lnTo>
                    <a:pt x="13356" y="18983"/>
                  </a:lnTo>
                  <a:cubicBezTo>
                    <a:pt x="15680" y="20221"/>
                    <a:pt x="18461" y="20221"/>
                    <a:pt x="20785" y="18983"/>
                  </a:cubicBezTo>
                  <a:lnTo>
                    <a:pt x="32882" y="12029"/>
                  </a:lnTo>
                  <a:cubicBezTo>
                    <a:pt x="34978" y="10791"/>
                    <a:pt x="34978" y="8886"/>
                    <a:pt x="32882" y="7743"/>
                  </a:cubicBezTo>
                  <a:lnTo>
                    <a:pt x="20785" y="695"/>
                  </a:lnTo>
                  <a:cubicBezTo>
                    <a:pt x="18442" y="-448"/>
                    <a:pt x="15699" y="-448"/>
                    <a:pt x="13356" y="695"/>
                  </a:cubicBezTo>
                  <a:lnTo>
                    <a:pt x="1164" y="7743"/>
                  </a:lnTo>
                  <a:cubicBezTo>
                    <a:pt x="-836" y="8886"/>
                    <a:pt x="-836" y="10791"/>
                    <a:pt x="1164" y="12029"/>
                  </a:cubicBezTo>
                  <a:close/>
                </a:path>
              </a:pathLst>
            </a:custGeom>
            <a:solidFill>
              <a:srgbClr val="D1D9E8"/>
            </a:solidFill>
            <a:ln w="9525" cap="flat">
              <a:noFill/>
              <a:prstDash val="solid"/>
              <a:miter/>
            </a:ln>
          </p:spPr>
          <p:txBody>
            <a:bodyPr rtlCol="0" anchor="ctr"/>
            <a:lstStyle/>
            <a:p>
              <a:endParaRPr lang="zh-CN" altLang="en-US"/>
            </a:p>
          </p:txBody>
        </p:sp>
        <p:sp>
          <p:nvSpPr>
            <p:cNvPr id="250" name="íṡľîďe">
              <a:extLst>
                <a:ext uri="{FF2B5EF4-FFF2-40B4-BE49-F238E27FC236}">
                  <a16:creationId xmlns:a16="http://schemas.microsoft.com/office/drawing/2014/main" id="{028932BE-8550-4FFD-834C-526ADF8F0A93}"/>
                </a:ext>
              </a:extLst>
            </p:cNvPr>
            <p:cNvSpPr/>
            <p:nvPr/>
          </p:nvSpPr>
          <p:spPr>
            <a:xfrm>
              <a:off x="5776395" y="4982978"/>
              <a:ext cx="109594" cy="53564"/>
            </a:xfrm>
            <a:custGeom>
              <a:avLst/>
              <a:gdLst>
                <a:gd name="connsiteX0" fmla="*/ -336 w 36004"/>
                <a:gd name="connsiteY0" fmla="*/ -163 h 17597"/>
                <a:gd name="connsiteX1" fmla="*/ -336 w 36004"/>
                <a:gd name="connsiteY1" fmla="*/ 7076 h 17597"/>
                <a:gd name="connsiteX2" fmla="*/ 1187 w 36004"/>
                <a:gd name="connsiteY2" fmla="*/ 9267 h 17597"/>
                <a:gd name="connsiteX3" fmla="*/ 13856 w 36004"/>
                <a:gd name="connsiteY3" fmla="*/ 16506 h 17597"/>
                <a:gd name="connsiteX4" fmla="*/ 21476 w 36004"/>
                <a:gd name="connsiteY4" fmla="*/ 16506 h 17597"/>
                <a:gd name="connsiteX5" fmla="*/ 34049 w 36004"/>
                <a:gd name="connsiteY5" fmla="*/ 9267 h 17597"/>
                <a:gd name="connsiteX6" fmla="*/ 35668 w 36004"/>
                <a:gd name="connsiteY6" fmla="*/ 6981 h 17597"/>
                <a:gd name="connsiteX7" fmla="*/ 35668 w 36004"/>
                <a:gd name="connsiteY7" fmla="*/ -163 h 17597"/>
                <a:gd name="connsiteX8" fmla="*/ 34049 w 36004"/>
                <a:gd name="connsiteY8" fmla="*/ 2123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7 w 36004"/>
                <a:gd name="connsiteY13" fmla="*/ 2123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7" y="9267"/>
                  </a:cubicBezTo>
                  <a:lnTo>
                    <a:pt x="13856" y="16506"/>
                  </a:lnTo>
                  <a:cubicBezTo>
                    <a:pt x="16247" y="17744"/>
                    <a:pt x="19085" y="17744"/>
                    <a:pt x="21476" y="16506"/>
                  </a:cubicBezTo>
                  <a:lnTo>
                    <a:pt x="34049" y="9267"/>
                  </a:lnTo>
                  <a:cubicBezTo>
                    <a:pt x="34963" y="8857"/>
                    <a:pt x="35582" y="7981"/>
                    <a:pt x="35668" y="6981"/>
                  </a:cubicBezTo>
                  <a:lnTo>
                    <a:pt x="35668" y="-163"/>
                  </a:lnTo>
                  <a:cubicBezTo>
                    <a:pt x="35601" y="847"/>
                    <a:pt x="34982" y="1733"/>
                    <a:pt x="34049" y="2123"/>
                  </a:cubicBezTo>
                  <a:lnTo>
                    <a:pt x="31763" y="3457"/>
                  </a:lnTo>
                  <a:lnTo>
                    <a:pt x="21476" y="9362"/>
                  </a:lnTo>
                  <a:cubicBezTo>
                    <a:pt x="19085" y="10601"/>
                    <a:pt x="16247" y="10601"/>
                    <a:pt x="13856" y="9362"/>
                  </a:cubicBezTo>
                  <a:lnTo>
                    <a:pt x="3569" y="3457"/>
                  </a:lnTo>
                  <a:lnTo>
                    <a:pt x="1187"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251" name="îşlïďê">
              <a:extLst>
                <a:ext uri="{FF2B5EF4-FFF2-40B4-BE49-F238E27FC236}">
                  <a16:creationId xmlns:a16="http://schemas.microsoft.com/office/drawing/2014/main" id="{F0E950BE-2D0B-482C-9D1E-6C23B2AE73B9}"/>
                </a:ext>
              </a:extLst>
            </p:cNvPr>
            <p:cNvSpPr/>
            <p:nvPr/>
          </p:nvSpPr>
          <p:spPr>
            <a:xfrm>
              <a:off x="5853516" y="4996003"/>
              <a:ext cx="109740" cy="63442"/>
            </a:xfrm>
            <a:custGeom>
              <a:avLst/>
              <a:gdLst>
                <a:gd name="connsiteX0" fmla="*/ -336 w 36052"/>
                <a:gd name="connsiteY0" fmla="*/ 10227 h 20842"/>
                <a:gd name="connsiteX1" fmla="*/ 1283 w 36052"/>
                <a:gd name="connsiteY1" fmla="*/ 12513 h 20842"/>
                <a:gd name="connsiteX2" fmla="*/ 3569 w 36052"/>
                <a:gd name="connsiteY2" fmla="*/ 13846 h 20842"/>
                <a:gd name="connsiteX3" fmla="*/ 13856 w 36052"/>
                <a:gd name="connsiteY3" fmla="*/ 19752 h 20842"/>
                <a:gd name="connsiteX4" fmla="*/ 21476 w 36052"/>
                <a:gd name="connsiteY4" fmla="*/ 19752 h 20842"/>
                <a:gd name="connsiteX5" fmla="*/ 31763 w 36052"/>
                <a:gd name="connsiteY5" fmla="*/ 13846 h 20842"/>
                <a:gd name="connsiteX6" fmla="*/ 34144 w 36052"/>
                <a:gd name="connsiteY6" fmla="*/ 12513 h 20842"/>
                <a:gd name="connsiteX7" fmla="*/ 35573 w 36052"/>
                <a:gd name="connsiteY7" fmla="*/ 9465 h 20842"/>
                <a:gd name="connsiteX8" fmla="*/ 34144 w 36052"/>
                <a:gd name="connsiteY8" fmla="*/ 8036 h 20842"/>
                <a:gd name="connsiteX9" fmla="*/ 21476 w 36052"/>
                <a:gd name="connsiteY9" fmla="*/ 702 h 20842"/>
                <a:gd name="connsiteX10" fmla="*/ 13856 w 36052"/>
                <a:gd name="connsiteY10" fmla="*/ 702 h 20842"/>
                <a:gd name="connsiteX11" fmla="*/ 1283 w 36052"/>
                <a:gd name="connsiteY11" fmla="*/ 8036 h 20842"/>
                <a:gd name="connsiteX12" fmla="*/ -336 w 36052"/>
                <a:gd name="connsiteY12" fmla="*/ 10227 h 20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2">
                  <a:moveTo>
                    <a:pt x="-336" y="10227"/>
                  </a:moveTo>
                  <a:cubicBezTo>
                    <a:pt x="-269" y="11236"/>
                    <a:pt x="350" y="12122"/>
                    <a:pt x="1283" y="12513"/>
                  </a:cubicBezTo>
                  <a:lnTo>
                    <a:pt x="3569" y="13846"/>
                  </a:lnTo>
                  <a:lnTo>
                    <a:pt x="13856" y="19752"/>
                  </a:lnTo>
                  <a:cubicBezTo>
                    <a:pt x="16247" y="20990"/>
                    <a:pt x="19085" y="20990"/>
                    <a:pt x="21476" y="19752"/>
                  </a:cubicBezTo>
                  <a:lnTo>
                    <a:pt x="31763" y="13846"/>
                  </a:lnTo>
                  <a:lnTo>
                    <a:pt x="34144" y="12513"/>
                  </a:lnTo>
                  <a:cubicBezTo>
                    <a:pt x="35382" y="12065"/>
                    <a:pt x="36021" y="10693"/>
                    <a:pt x="35573" y="9465"/>
                  </a:cubicBezTo>
                  <a:cubicBezTo>
                    <a:pt x="35325" y="8798"/>
                    <a:pt x="34811" y="8274"/>
                    <a:pt x="34144" y="8036"/>
                  </a:cubicBezTo>
                  <a:lnTo>
                    <a:pt x="21476" y="702"/>
                  </a:lnTo>
                  <a:cubicBezTo>
                    <a:pt x="19066" y="-451"/>
                    <a:pt x="16266" y="-451"/>
                    <a:pt x="13856" y="702"/>
                  </a:cubicBezTo>
                  <a:lnTo>
                    <a:pt x="1283" y="8036"/>
                  </a:lnTo>
                  <a:cubicBezTo>
                    <a:pt x="378" y="8417"/>
                    <a:pt x="-241" y="9255"/>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252" name="ïSḻiďe">
              <a:extLst>
                <a:ext uri="{FF2B5EF4-FFF2-40B4-BE49-F238E27FC236}">
                  <a16:creationId xmlns:a16="http://schemas.microsoft.com/office/drawing/2014/main" id="{641B0374-064C-492B-9DAA-9D298C67780B}"/>
                </a:ext>
              </a:extLst>
            </p:cNvPr>
            <p:cNvSpPr/>
            <p:nvPr/>
          </p:nvSpPr>
          <p:spPr>
            <a:xfrm>
              <a:off x="5855400" y="4997184"/>
              <a:ext cx="105898" cy="61104"/>
            </a:xfrm>
            <a:custGeom>
              <a:avLst/>
              <a:gdLst>
                <a:gd name="connsiteX0" fmla="*/ 1235 w 34790"/>
                <a:gd name="connsiteY0" fmla="*/ 12029 h 20074"/>
                <a:gd name="connsiteX1" fmla="*/ 13332 w 34790"/>
                <a:gd name="connsiteY1" fmla="*/ 18983 h 20074"/>
                <a:gd name="connsiteX2" fmla="*/ 20761 w 34790"/>
                <a:gd name="connsiteY2" fmla="*/ 18983 h 20074"/>
                <a:gd name="connsiteX3" fmla="*/ 32954 w 34790"/>
                <a:gd name="connsiteY3" fmla="*/ 12029 h 20074"/>
                <a:gd name="connsiteX4" fmla="*/ 32954 w 34790"/>
                <a:gd name="connsiteY4" fmla="*/ 7743 h 20074"/>
                <a:gd name="connsiteX5" fmla="*/ 20761 w 34790"/>
                <a:gd name="connsiteY5" fmla="*/ 695 h 20074"/>
                <a:gd name="connsiteX6" fmla="*/ 13332 w 34790"/>
                <a:gd name="connsiteY6" fmla="*/ 695 h 20074"/>
                <a:gd name="connsiteX7" fmla="*/ 1235 w 34790"/>
                <a:gd name="connsiteY7" fmla="*/ 7743 h 20074"/>
                <a:gd name="connsiteX8" fmla="*/ 1235 w 34790"/>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4">
                  <a:moveTo>
                    <a:pt x="1235" y="12029"/>
                  </a:moveTo>
                  <a:lnTo>
                    <a:pt x="13332" y="18983"/>
                  </a:lnTo>
                  <a:cubicBezTo>
                    <a:pt x="15656" y="20221"/>
                    <a:pt x="18437" y="20221"/>
                    <a:pt x="20761" y="18983"/>
                  </a:cubicBezTo>
                  <a:lnTo>
                    <a:pt x="32954" y="12029"/>
                  </a:lnTo>
                  <a:cubicBezTo>
                    <a:pt x="34954" y="10791"/>
                    <a:pt x="34954" y="8886"/>
                    <a:pt x="32954" y="7743"/>
                  </a:cubicBezTo>
                  <a:lnTo>
                    <a:pt x="20761" y="695"/>
                  </a:lnTo>
                  <a:cubicBezTo>
                    <a:pt x="18419" y="-448"/>
                    <a:pt x="15675" y="-448"/>
                    <a:pt x="13332" y="695"/>
                  </a:cubicBezTo>
                  <a:lnTo>
                    <a:pt x="1235" y="7743"/>
                  </a:lnTo>
                  <a:cubicBezTo>
                    <a:pt x="-860" y="8886"/>
                    <a:pt x="-860" y="10601"/>
                    <a:pt x="1235" y="12029"/>
                  </a:cubicBezTo>
                  <a:close/>
                </a:path>
              </a:pathLst>
            </a:custGeom>
            <a:solidFill>
              <a:srgbClr val="D1D9E8"/>
            </a:solidFill>
            <a:ln w="9525" cap="flat">
              <a:noFill/>
              <a:prstDash val="solid"/>
              <a:miter/>
            </a:ln>
          </p:spPr>
          <p:txBody>
            <a:bodyPr rtlCol="0" anchor="ctr"/>
            <a:lstStyle/>
            <a:p>
              <a:endParaRPr lang="zh-CN" altLang="en-US"/>
            </a:p>
          </p:txBody>
        </p:sp>
        <p:sp>
          <p:nvSpPr>
            <p:cNvPr id="253" name="îṩľïḋè">
              <a:extLst>
                <a:ext uri="{FF2B5EF4-FFF2-40B4-BE49-F238E27FC236}">
                  <a16:creationId xmlns:a16="http://schemas.microsoft.com/office/drawing/2014/main" id="{D60BFE7C-42B7-4051-A33B-82C45062184C}"/>
                </a:ext>
              </a:extLst>
            </p:cNvPr>
            <p:cNvSpPr/>
            <p:nvPr/>
          </p:nvSpPr>
          <p:spPr>
            <a:xfrm>
              <a:off x="5853516" y="5027629"/>
              <a:ext cx="109594" cy="53564"/>
            </a:xfrm>
            <a:custGeom>
              <a:avLst/>
              <a:gdLst>
                <a:gd name="connsiteX0" fmla="*/ -336 w 36004"/>
                <a:gd name="connsiteY0" fmla="*/ -163 h 17597"/>
                <a:gd name="connsiteX1" fmla="*/ -336 w 36004"/>
                <a:gd name="connsiteY1" fmla="*/ 7076 h 17597"/>
                <a:gd name="connsiteX2" fmla="*/ 1283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3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283 w 36004"/>
                <a:gd name="connsiteY13" fmla="*/ 2123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48"/>
                    <a:pt x="378" y="8886"/>
                    <a:pt x="1283" y="9267"/>
                  </a:cubicBezTo>
                  <a:lnTo>
                    <a:pt x="13856" y="16506"/>
                  </a:lnTo>
                  <a:cubicBezTo>
                    <a:pt x="16247" y="17744"/>
                    <a:pt x="19085" y="17744"/>
                    <a:pt x="21476" y="16506"/>
                  </a:cubicBezTo>
                  <a:lnTo>
                    <a:pt x="34144" y="9267"/>
                  </a:lnTo>
                  <a:cubicBezTo>
                    <a:pt x="35011" y="8819"/>
                    <a:pt x="35583" y="7953"/>
                    <a:pt x="35668" y="6981"/>
                  </a:cubicBezTo>
                  <a:lnTo>
                    <a:pt x="35668" y="-163"/>
                  </a:lnTo>
                  <a:cubicBezTo>
                    <a:pt x="35602" y="818"/>
                    <a:pt x="35021" y="1685"/>
                    <a:pt x="34144" y="2123"/>
                  </a:cubicBezTo>
                  <a:lnTo>
                    <a:pt x="31763" y="3457"/>
                  </a:lnTo>
                  <a:lnTo>
                    <a:pt x="21476" y="9362"/>
                  </a:lnTo>
                  <a:cubicBezTo>
                    <a:pt x="19085" y="10600"/>
                    <a:pt x="16247" y="10600"/>
                    <a:pt x="13856" y="9362"/>
                  </a:cubicBezTo>
                  <a:lnTo>
                    <a:pt x="3569" y="3457"/>
                  </a:lnTo>
                  <a:lnTo>
                    <a:pt x="1283" y="2123"/>
                  </a:lnTo>
                  <a:cubicBezTo>
                    <a:pt x="350" y="1733"/>
                    <a:pt x="-269" y="847"/>
                    <a:pt x="-336" y="-163"/>
                  </a:cubicBezTo>
                  <a:close/>
                </a:path>
              </a:pathLst>
            </a:custGeom>
            <a:solidFill>
              <a:srgbClr val="BF4200"/>
            </a:solidFill>
            <a:ln w="9525" cap="flat">
              <a:noFill/>
              <a:prstDash val="solid"/>
              <a:miter/>
            </a:ln>
          </p:spPr>
          <p:txBody>
            <a:bodyPr rtlCol="0" anchor="ctr"/>
            <a:lstStyle/>
            <a:p>
              <a:endParaRPr lang="zh-CN" altLang="en-US"/>
            </a:p>
          </p:txBody>
        </p:sp>
        <p:sp>
          <p:nvSpPr>
            <p:cNvPr id="254" name="ïṡļídé">
              <a:extLst>
                <a:ext uri="{FF2B5EF4-FFF2-40B4-BE49-F238E27FC236}">
                  <a16:creationId xmlns:a16="http://schemas.microsoft.com/office/drawing/2014/main" id="{1FBD88A2-8C4B-41C8-9644-A67F0E2C7682}"/>
                </a:ext>
              </a:extLst>
            </p:cNvPr>
            <p:cNvSpPr/>
            <p:nvPr/>
          </p:nvSpPr>
          <p:spPr>
            <a:xfrm>
              <a:off x="5930929" y="5040456"/>
              <a:ext cx="109594" cy="63639"/>
            </a:xfrm>
            <a:custGeom>
              <a:avLst/>
              <a:gdLst>
                <a:gd name="connsiteX0" fmla="*/ -336 w 36004"/>
                <a:gd name="connsiteY0" fmla="*/ 10291 h 20907"/>
                <a:gd name="connsiteX1" fmla="*/ 1188 w 36004"/>
                <a:gd name="connsiteY1" fmla="*/ 12577 h 20907"/>
                <a:gd name="connsiteX2" fmla="*/ 3569 w 36004"/>
                <a:gd name="connsiteY2" fmla="*/ 13911 h 20907"/>
                <a:gd name="connsiteX3" fmla="*/ 13856 w 36004"/>
                <a:gd name="connsiteY3" fmla="*/ 19816 h 20907"/>
                <a:gd name="connsiteX4" fmla="*/ 21476 w 36004"/>
                <a:gd name="connsiteY4" fmla="*/ 19816 h 20907"/>
                <a:gd name="connsiteX5" fmla="*/ 31763 w 36004"/>
                <a:gd name="connsiteY5" fmla="*/ 13911 h 20907"/>
                <a:gd name="connsiteX6" fmla="*/ 34144 w 36004"/>
                <a:gd name="connsiteY6" fmla="*/ 12577 h 20907"/>
                <a:gd name="connsiteX7" fmla="*/ 35668 w 36004"/>
                <a:gd name="connsiteY7" fmla="*/ 10291 h 20907"/>
                <a:gd name="connsiteX8" fmla="*/ 34144 w 36004"/>
                <a:gd name="connsiteY8" fmla="*/ 8101 h 20907"/>
                <a:gd name="connsiteX9" fmla="*/ 21476 w 36004"/>
                <a:gd name="connsiteY9" fmla="*/ 766 h 20907"/>
                <a:gd name="connsiteX10" fmla="*/ 13856 w 36004"/>
                <a:gd name="connsiteY10" fmla="*/ 766 h 20907"/>
                <a:gd name="connsiteX11" fmla="*/ 1188 w 36004"/>
                <a:gd name="connsiteY11" fmla="*/ 8101 h 20907"/>
                <a:gd name="connsiteX12" fmla="*/ -336 w 36004"/>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907">
                  <a:moveTo>
                    <a:pt x="-336" y="10291"/>
                  </a:moveTo>
                  <a:cubicBezTo>
                    <a:pt x="-270" y="11272"/>
                    <a:pt x="311" y="12139"/>
                    <a:pt x="1188" y="12577"/>
                  </a:cubicBezTo>
                  <a:lnTo>
                    <a:pt x="3569" y="13911"/>
                  </a:lnTo>
                  <a:lnTo>
                    <a:pt x="13856" y="19816"/>
                  </a:lnTo>
                  <a:cubicBezTo>
                    <a:pt x="16247" y="21054"/>
                    <a:pt x="19085" y="21054"/>
                    <a:pt x="21476" y="19816"/>
                  </a:cubicBezTo>
                  <a:lnTo>
                    <a:pt x="31763" y="13911"/>
                  </a:lnTo>
                  <a:lnTo>
                    <a:pt x="34144" y="12577"/>
                  </a:lnTo>
                  <a:cubicBezTo>
                    <a:pt x="35021" y="12139"/>
                    <a:pt x="35602" y="11272"/>
                    <a:pt x="35668" y="10291"/>
                  </a:cubicBezTo>
                  <a:cubicBezTo>
                    <a:pt x="35611" y="9339"/>
                    <a:pt x="35021" y="8491"/>
                    <a:pt x="34144" y="8101"/>
                  </a:cubicBezTo>
                  <a:lnTo>
                    <a:pt x="21476" y="766"/>
                  </a:lnTo>
                  <a:cubicBezTo>
                    <a:pt x="19085" y="-472"/>
                    <a:pt x="16247" y="-472"/>
                    <a:pt x="13856" y="766"/>
                  </a:cubicBezTo>
                  <a:lnTo>
                    <a:pt x="1188" y="8101"/>
                  </a:lnTo>
                  <a:cubicBezTo>
                    <a:pt x="311" y="8491"/>
                    <a:pt x="-279"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255" name="îṧliḋe">
              <a:extLst>
                <a:ext uri="{FF2B5EF4-FFF2-40B4-BE49-F238E27FC236}">
                  <a16:creationId xmlns:a16="http://schemas.microsoft.com/office/drawing/2014/main" id="{942B171A-F47B-428E-A8E8-97478861E00D}"/>
                </a:ext>
              </a:extLst>
            </p:cNvPr>
            <p:cNvSpPr/>
            <p:nvPr/>
          </p:nvSpPr>
          <p:spPr>
            <a:xfrm>
              <a:off x="5932747" y="5041835"/>
              <a:ext cx="106760" cy="61101"/>
            </a:xfrm>
            <a:custGeom>
              <a:avLst/>
              <a:gdLst>
                <a:gd name="connsiteX0" fmla="*/ 1448 w 35073"/>
                <a:gd name="connsiteY0" fmla="*/ 12029 h 20073"/>
                <a:gd name="connsiteX1" fmla="*/ 13640 w 35073"/>
                <a:gd name="connsiteY1" fmla="*/ 18983 h 20073"/>
                <a:gd name="connsiteX2" fmla="*/ 21069 w 35073"/>
                <a:gd name="connsiteY2" fmla="*/ 18983 h 20073"/>
                <a:gd name="connsiteX3" fmla="*/ 33166 w 35073"/>
                <a:gd name="connsiteY3" fmla="*/ 12029 h 20073"/>
                <a:gd name="connsiteX4" fmla="*/ 33166 w 35073"/>
                <a:gd name="connsiteY4" fmla="*/ 7648 h 20073"/>
                <a:gd name="connsiteX5" fmla="*/ 20498 w 35073"/>
                <a:gd name="connsiteY5" fmla="*/ 695 h 20073"/>
                <a:gd name="connsiteX6" fmla="*/ 13068 w 35073"/>
                <a:gd name="connsiteY6" fmla="*/ 695 h 20073"/>
                <a:gd name="connsiteX7" fmla="*/ 876 w 35073"/>
                <a:gd name="connsiteY7" fmla="*/ 7648 h 20073"/>
                <a:gd name="connsiteX8" fmla="*/ -29 w 35073"/>
                <a:gd name="connsiteY8" fmla="*/ 10886 h 20073"/>
                <a:gd name="connsiteX9" fmla="*/ 1448 w 35073"/>
                <a:gd name="connsiteY9"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5073" h="20073">
                  <a:moveTo>
                    <a:pt x="1448" y="12029"/>
                  </a:moveTo>
                  <a:lnTo>
                    <a:pt x="13640" y="18983"/>
                  </a:lnTo>
                  <a:cubicBezTo>
                    <a:pt x="15964" y="20221"/>
                    <a:pt x="18745" y="20221"/>
                    <a:pt x="21069" y="18983"/>
                  </a:cubicBezTo>
                  <a:lnTo>
                    <a:pt x="33166" y="12029"/>
                  </a:lnTo>
                  <a:cubicBezTo>
                    <a:pt x="35261" y="10791"/>
                    <a:pt x="35261" y="8886"/>
                    <a:pt x="33166" y="7648"/>
                  </a:cubicBezTo>
                  <a:lnTo>
                    <a:pt x="20498" y="695"/>
                  </a:lnTo>
                  <a:cubicBezTo>
                    <a:pt x="18154" y="-448"/>
                    <a:pt x="15411" y="-448"/>
                    <a:pt x="13068" y="695"/>
                  </a:cubicBezTo>
                  <a:lnTo>
                    <a:pt x="876" y="7648"/>
                  </a:lnTo>
                  <a:cubicBezTo>
                    <a:pt x="-267" y="8296"/>
                    <a:pt x="-676" y="9743"/>
                    <a:pt x="-29" y="10886"/>
                  </a:cubicBezTo>
                  <a:cubicBezTo>
                    <a:pt x="285" y="11458"/>
                    <a:pt x="819" y="11867"/>
                    <a:pt x="1448" y="12029"/>
                  </a:cubicBezTo>
                  <a:close/>
                </a:path>
              </a:pathLst>
            </a:custGeom>
            <a:solidFill>
              <a:srgbClr val="D1D9E8"/>
            </a:solidFill>
            <a:ln w="9525" cap="flat">
              <a:noFill/>
              <a:prstDash val="solid"/>
              <a:miter/>
            </a:ln>
          </p:spPr>
          <p:txBody>
            <a:bodyPr rtlCol="0" anchor="ctr"/>
            <a:lstStyle/>
            <a:p>
              <a:endParaRPr lang="zh-CN" altLang="en-US"/>
            </a:p>
          </p:txBody>
        </p:sp>
        <p:sp>
          <p:nvSpPr>
            <p:cNvPr id="256" name="ïṩlídè">
              <a:extLst>
                <a:ext uri="{FF2B5EF4-FFF2-40B4-BE49-F238E27FC236}">
                  <a16:creationId xmlns:a16="http://schemas.microsoft.com/office/drawing/2014/main" id="{D4DBFC7A-D382-4806-BEF6-3F4EAE14DB34}"/>
                </a:ext>
              </a:extLst>
            </p:cNvPr>
            <p:cNvSpPr/>
            <p:nvPr/>
          </p:nvSpPr>
          <p:spPr>
            <a:xfrm>
              <a:off x="5930929" y="5072277"/>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4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4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20"/>
                    <a:pt x="35582" y="7953"/>
                    <a:pt x="35668" y="6981"/>
                  </a:cubicBezTo>
                  <a:lnTo>
                    <a:pt x="35668" y="-163"/>
                  </a:lnTo>
                  <a:cubicBezTo>
                    <a:pt x="35602" y="818"/>
                    <a:pt x="35021" y="1685"/>
                    <a:pt x="34144" y="2124"/>
                  </a:cubicBezTo>
                  <a:lnTo>
                    <a:pt x="31763" y="3457"/>
                  </a:lnTo>
                  <a:lnTo>
                    <a:pt x="21476" y="9362"/>
                  </a:lnTo>
                  <a:cubicBezTo>
                    <a:pt x="19085" y="10601"/>
                    <a:pt x="16247" y="10601"/>
                    <a:pt x="13856" y="9362"/>
                  </a:cubicBezTo>
                  <a:lnTo>
                    <a:pt x="3569" y="3457"/>
                  </a:lnTo>
                  <a:lnTo>
                    <a:pt x="1188" y="2124"/>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257" name="iśļíḓê">
              <a:extLst>
                <a:ext uri="{FF2B5EF4-FFF2-40B4-BE49-F238E27FC236}">
                  <a16:creationId xmlns:a16="http://schemas.microsoft.com/office/drawing/2014/main" id="{3BEFE341-B623-418B-AD40-1E0144BF5E92}"/>
                </a:ext>
              </a:extLst>
            </p:cNvPr>
            <p:cNvSpPr/>
            <p:nvPr/>
          </p:nvSpPr>
          <p:spPr>
            <a:xfrm>
              <a:off x="6008053" y="5085108"/>
              <a:ext cx="109883" cy="63639"/>
            </a:xfrm>
            <a:custGeom>
              <a:avLst/>
              <a:gdLst>
                <a:gd name="connsiteX0" fmla="*/ -336 w 36099"/>
                <a:gd name="connsiteY0" fmla="*/ 10291 h 20907"/>
                <a:gd name="connsiteX1" fmla="*/ 1283 w 36099"/>
                <a:gd name="connsiteY1" fmla="*/ 12577 h 20907"/>
                <a:gd name="connsiteX2" fmla="*/ 3569 w 36099"/>
                <a:gd name="connsiteY2" fmla="*/ 13911 h 20907"/>
                <a:gd name="connsiteX3" fmla="*/ 13856 w 36099"/>
                <a:gd name="connsiteY3" fmla="*/ 19816 h 20907"/>
                <a:gd name="connsiteX4" fmla="*/ 21571 w 36099"/>
                <a:gd name="connsiteY4" fmla="*/ 19816 h 20907"/>
                <a:gd name="connsiteX5" fmla="*/ 31858 w 36099"/>
                <a:gd name="connsiteY5" fmla="*/ 13911 h 20907"/>
                <a:gd name="connsiteX6" fmla="*/ 34144 w 36099"/>
                <a:gd name="connsiteY6" fmla="*/ 12577 h 20907"/>
                <a:gd name="connsiteX7" fmla="*/ 35764 w 36099"/>
                <a:gd name="connsiteY7" fmla="*/ 10291 h 20907"/>
                <a:gd name="connsiteX8" fmla="*/ 34144 w 36099"/>
                <a:gd name="connsiteY8" fmla="*/ 8100 h 20907"/>
                <a:gd name="connsiteX9" fmla="*/ 21571 w 36099"/>
                <a:gd name="connsiteY9" fmla="*/ 766 h 20907"/>
                <a:gd name="connsiteX10" fmla="*/ 13856 w 36099"/>
                <a:gd name="connsiteY10" fmla="*/ 766 h 20907"/>
                <a:gd name="connsiteX11" fmla="*/ 1283 w 36099"/>
                <a:gd name="connsiteY11" fmla="*/ 8100 h 20907"/>
                <a:gd name="connsiteX12" fmla="*/ -336 w 36099"/>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99" h="20907">
                  <a:moveTo>
                    <a:pt x="-336" y="10291"/>
                  </a:moveTo>
                  <a:cubicBezTo>
                    <a:pt x="-270" y="11301"/>
                    <a:pt x="359" y="12187"/>
                    <a:pt x="1283" y="12577"/>
                  </a:cubicBezTo>
                  <a:lnTo>
                    <a:pt x="3569" y="13911"/>
                  </a:lnTo>
                  <a:lnTo>
                    <a:pt x="13856" y="19816"/>
                  </a:lnTo>
                  <a:cubicBezTo>
                    <a:pt x="16275" y="21054"/>
                    <a:pt x="19152" y="21054"/>
                    <a:pt x="21571" y="19816"/>
                  </a:cubicBezTo>
                  <a:lnTo>
                    <a:pt x="31858" y="13911"/>
                  </a:lnTo>
                  <a:lnTo>
                    <a:pt x="34144" y="12577"/>
                  </a:lnTo>
                  <a:cubicBezTo>
                    <a:pt x="35049" y="12149"/>
                    <a:pt x="35659" y="11282"/>
                    <a:pt x="35764" y="10291"/>
                  </a:cubicBezTo>
                  <a:cubicBezTo>
                    <a:pt x="35649" y="9329"/>
                    <a:pt x="35030" y="8491"/>
                    <a:pt x="34144" y="8100"/>
                  </a:cubicBezTo>
                  <a:lnTo>
                    <a:pt x="21571" y="766"/>
                  </a:lnTo>
                  <a:cubicBezTo>
                    <a:pt x="19152" y="-472"/>
                    <a:pt x="16275" y="-472"/>
                    <a:pt x="13856" y="766"/>
                  </a:cubicBezTo>
                  <a:lnTo>
                    <a:pt x="1283" y="8100"/>
                  </a:lnTo>
                  <a:cubicBezTo>
                    <a:pt x="369" y="8462"/>
                    <a:pt x="-260" y="9310"/>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258" name="iṥlíḑe">
              <a:extLst>
                <a:ext uri="{FF2B5EF4-FFF2-40B4-BE49-F238E27FC236}">
                  <a16:creationId xmlns:a16="http://schemas.microsoft.com/office/drawing/2014/main" id="{2C60348B-E4DF-4E24-A4AB-431824717659}"/>
                </a:ext>
              </a:extLst>
            </p:cNvPr>
            <p:cNvSpPr/>
            <p:nvPr/>
          </p:nvSpPr>
          <p:spPr>
            <a:xfrm>
              <a:off x="6009938" y="5086267"/>
              <a:ext cx="105895" cy="61101"/>
            </a:xfrm>
            <a:custGeom>
              <a:avLst/>
              <a:gdLst>
                <a:gd name="connsiteX0" fmla="*/ 1235 w 34789"/>
                <a:gd name="connsiteY0" fmla="*/ 12006 h 20073"/>
                <a:gd name="connsiteX1" fmla="*/ 13332 w 34789"/>
                <a:gd name="connsiteY1" fmla="*/ 19054 h 20073"/>
                <a:gd name="connsiteX2" fmla="*/ 20761 w 34789"/>
                <a:gd name="connsiteY2" fmla="*/ 19054 h 20073"/>
                <a:gd name="connsiteX3" fmla="*/ 32953 w 34789"/>
                <a:gd name="connsiteY3" fmla="*/ 12006 h 20073"/>
                <a:gd name="connsiteX4" fmla="*/ 32953 w 34789"/>
                <a:gd name="connsiteY4" fmla="*/ 7719 h 20073"/>
                <a:gd name="connsiteX5" fmla="*/ 20761 w 34789"/>
                <a:gd name="connsiteY5" fmla="*/ 766 h 20073"/>
                <a:gd name="connsiteX6" fmla="*/ 13332 w 34789"/>
                <a:gd name="connsiteY6" fmla="*/ 766 h 20073"/>
                <a:gd name="connsiteX7" fmla="*/ 1235 w 34789"/>
                <a:gd name="connsiteY7" fmla="*/ 7719 h 20073"/>
                <a:gd name="connsiteX8" fmla="*/ 1235 w 34789"/>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89" h="20073">
                  <a:moveTo>
                    <a:pt x="1235" y="12006"/>
                  </a:moveTo>
                  <a:lnTo>
                    <a:pt x="13332" y="19054"/>
                  </a:lnTo>
                  <a:cubicBezTo>
                    <a:pt x="15675" y="20197"/>
                    <a:pt x="18418" y="20197"/>
                    <a:pt x="20761" y="19054"/>
                  </a:cubicBezTo>
                  <a:lnTo>
                    <a:pt x="32953" y="12006"/>
                  </a:lnTo>
                  <a:cubicBezTo>
                    <a:pt x="34954" y="10863"/>
                    <a:pt x="34954" y="8957"/>
                    <a:pt x="32953" y="7719"/>
                  </a:cubicBezTo>
                  <a:lnTo>
                    <a:pt x="20761" y="766"/>
                  </a:lnTo>
                  <a:cubicBezTo>
                    <a:pt x="18437" y="-472"/>
                    <a:pt x="15656" y="-472"/>
                    <a:pt x="13332" y="766"/>
                  </a:cubicBezTo>
                  <a:lnTo>
                    <a:pt x="1235" y="7719"/>
                  </a:lnTo>
                  <a:cubicBezTo>
                    <a:pt x="-860" y="8957"/>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259" name="iṥ1ïḓé">
              <a:extLst>
                <a:ext uri="{FF2B5EF4-FFF2-40B4-BE49-F238E27FC236}">
                  <a16:creationId xmlns:a16="http://schemas.microsoft.com/office/drawing/2014/main" id="{65A50A81-E935-4AE8-84EF-D431F10CED2C}"/>
                </a:ext>
              </a:extLst>
            </p:cNvPr>
            <p:cNvSpPr/>
            <p:nvPr/>
          </p:nvSpPr>
          <p:spPr>
            <a:xfrm>
              <a:off x="6008053" y="5116929"/>
              <a:ext cx="109015" cy="53564"/>
            </a:xfrm>
            <a:custGeom>
              <a:avLst/>
              <a:gdLst>
                <a:gd name="connsiteX0" fmla="*/ -336 w 35814"/>
                <a:gd name="connsiteY0" fmla="*/ -163 h 17597"/>
                <a:gd name="connsiteX1" fmla="*/ -336 w 35814"/>
                <a:gd name="connsiteY1" fmla="*/ 7076 h 17597"/>
                <a:gd name="connsiteX2" fmla="*/ 1283 w 35814"/>
                <a:gd name="connsiteY2" fmla="*/ 9267 h 17597"/>
                <a:gd name="connsiteX3" fmla="*/ 13856 w 35814"/>
                <a:gd name="connsiteY3" fmla="*/ 16506 h 17597"/>
                <a:gd name="connsiteX4" fmla="*/ 21571 w 35814"/>
                <a:gd name="connsiteY4" fmla="*/ 16506 h 17597"/>
                <a:gd name="connsiteX5" fmla="*/ 33858 w 35814"/>
                <a:gd name="connsiteY5" fmla="*/ 9362 h 17597"/>
                <a:gd name="connsiteX6" fmla="*/ 35478 w 35814"/>
                <a:gd name="connsiteY6" fmla="*/ 7076 h 17597"/>
                <a:gd name="connsiteX7" fmla="*/ 35478 w 35814"/>
                <a:gd name="connsiteY7" fmla="*/ -163 h 17597"/>
                <a:gd name="connsiteX8" fmla="*/ 33858 w 35814"/>
                <a:gd name="connsiteY8" fmla="*/ 2123 h 17597"/>
                <a:gd name="connsiteX9" fmla="*/ 31572 w 35814"/>
                <a:gd name="connsiteY9" fmla="*/ 3457 h 17597"/>
                <a:gd name="connsiteX10" fmla="*/ 21285 w 35814"/>
                <a:gd name="connsiteY10" fmla="*/ 9362 h 17597"/>
                <a:gd name="connsiteX11" fmla="*/ 13570 w 35814"/>
                <a:gd name="connsiteY11" fmla="*/ 9362 h 17597"/>
                <a:gd name="connsiteX12" fmla="*/ 3283 w 35814"/>
                <a:gd name="connsiteY12" fmla="*/ 3457 h 17597"/>
                <a:gd name="connsiteX13" fmla="*/ 997 w 35814"/>
                <a:gd name="connsiteY13" fmla="*/ 2123 h 17597"/>
                <a:gd name="connsiteX14" fmla="*/ -336 w 3581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5814" h="17597">
                  <a:moveTo>
                    <a:pt x="-336" y="-163"/>
                  </a:moveTo>
                  <a:lnTo>
                    <a:pt x="-336" y="7076"/>
                  </a:lnTo>
                  <a:cubicBezTo>
                    <a:pt x="-241" y="8048"/>
                    <a:pt x="387" y="8886"/>
                    <a:pt x="1283" y="9267"/>
                  </a:cubicBezTo>
                  <a:lnTo>
                    <a:pt x="13856" y="16506"/>
                  </a:lnTo>
                  <a:cubicBezTo>
                    <a:pt x="16275" y="17744"/>
                    <a:pt x="19152" y="17744"/>
                    <a:pt x="21571" y="16506"/>
                  </a:cubicBezTo>
                  <a:lnTo>
                    <a:pt x="33858" y="9362"/>
                  </a:lnTo>
                  <a:cubicBezTo>
                    <a:pt x="34744" y="8924"/>
                    <a:pt x="35354" y="8058"/>
                    <a:pt x="35478" y="7076"/>
                  </a:cubicBezTo>
                  <a:lnTo>
                    <a:pt x="35478" y="-163"/>
                  </a:lnTo>
                  <a:cubicBezTo>
                    <a:pt x="35373" y="828"/>
                    <a:pt x="34763" y="1695"/>
                    <a:pt x="33858" y="2123"/>
                  </a:cubicBezTo>
                  <a:lnTo>
                    <a:pt x="31572" y="3457"/>
                  </a:lnTo>
                  <a:lnTo>
                    <a:pt x="21285" y="9362"/>
                  </a:lnTo>
                  <a:cubicBezTo>
                    <a:pt x="18866" y="10601"/>
                    <a:pt x="15989" y="10601"/>
                    <a:pt x="13570" y="9362"/>
                  </a:cubicBezTo>
                  <a:lnTo>
                    <a:pt x="3283" y="3457"/>
                  </a:lnTo>
                  <a:lnTo>
                    <a:pt x="997" y="2123"/>
                  </a:lnTo>
                  <a:cubicBezTo>
                    <a:pt x="178" y="1647"/>
                    <a:pt x="-327" y="780"/>
                    <a:pt x="-336" y="-163"/>
                  </a:cubicBezTo>
                  <a:close/>
                </a:path>
              </a:pathLst>
            </a:custGeom>
            <a:solidFill>
              <a:srgbClr val="BF4200"/>
            </a:solidFill>
            <a:ln w="9525" cap="flat">
              <a:noFill/>
              <a:prstDash val="solid"/>
              <a:miter/>
            </a:ln>
          </p:spPr>
          <p:txBody>
            <a:bodyPr rtlCol="0" anchor="ctr"/>
            <a:lstStyle/>
            <a:p>
              <a:endParaRPr lang="zh-CN" altLang="en-US"/>
            </a:p>
          </p:txBody>
        </p:sp>
        <p:sp>
          <p:nvSpPr>
            <p:cNvPr id="260" name="îṡḻïḋe">
              <a:extLst>
                <a:ext uri="{FF2B5EF4-FFF2-40B4-BE49-F238E27FC236}">
                  <a16:creationId xmlns:a16="http://schemas.microsoft.com/office/drawing/2014/main" id="{161FEA68-3E3F-4803-827F-0E6599D188FC}"/>
                </a:ext>
              </a:extLst>
            </p:cNvPr>
            <p:cNvSpPr/>
            <p:nvPr/>
          </p:nvSpPr>
          <p:spPr>
            <a:xfrm>
              <a:off x="6085464" y="5129759"/>
              <a:ext cx="109362" cy="63588"/>
            </a:xfrm>
            <a:custGeom>
              <a:avLst/>
              <a:gdLst>
                <a:gd name="connsiteX0" fmla="*/ -336 w 35928"/>
                <a:gd name="connsiteY0" fmla="*/ 10291 h 20890"/>
                <a:gd name="connsiteX1" fmla="*/ 1188 w 35928"/>
                <a:gd name="connsiteY1" fmla="*/ 12482 h 20890"/>
                <a:gd name="connsiteX2" fmla="*/ 3569 w 35928"/>
                <a:gd name="connsiteY2" fmla="*/ 13911 h 20890"/>
                <a:gd name="connsiteX3" fmla="*/ 13856 w 35928"/>
                <a:gd name="connsiteY3" fmla="*/ 19721 h 20890"/>
                <a:gd name="connsiteX4" fmla="*/ 21476 w 35928"/>
                <a:gd name="connsiteY4" fmla="*/ 19721 h 20890"/>
                <a:gd name="connsiteX5" fmla="*/ 31763 w 35928"/>
                <a:gd name="connsiteY5" fmla="*/ 13911 h 20890"/>
                <a:gd name="connsiteX6" fmla="*/ 34144 w 35928"/>
                <a:gd name="connsiteY6" fmla="*/ 12482 h 20890"/>
                <a:gd name="connsiteX7" fmla="*/ 35402 w 35928"/>
                <a:gd name="connsiteY7" fmla="*/ 9357 h 20890"/>
                <a:gd name="connsiteX8" fmla="*/ 34144 w 35928"/>
                <a:gd name="connsiteY8" fmla="*/ 8100 h 20890"/>
                <a:gd name="connsiteX9" fmla="*/ 21476 w 35928"/>
                <a:gd name="connsiteY9" fmla="*/ 766 h 20890"/>
                <a:gd name="connsiteX10" fmla="*/ 13856 w 35928"/>
                <a:gd name="connsiteY10" fmla="*/ 766 h 20890"/>
                <a:gd name="connsiteX11" fmla="*/ 1188 w 35928"/>
                <a:gd name="connsiteY11" fmla="*/ 8100 h 20890"/>
                <a:gd name="connsiteX12" fmla="*/ -336 w 35928"/>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928" h="20890">
                  <a:moveTo>
                    <a:pt x="-336" y="10291"/>
                  </a:moveTo>
                  <a:cubicBezTo>
                    <a:pt x="-298" y="11253"/>
                    <a:pt x="292" y="12110"/>
                    <a:pt x="1188" y="12482"/>
                  </a:cubicBezTo>
                  <a:lnTo>
                    <a:pt x="3569" y="13911"/>
                  </a:lnTo>
                  <a:lnTo>
                    <a:pt x="13856" y="19721"/>
                  </a:lnTo>
                  <a:cubicBezTo>
                    <a:pt x="16218" y="21064"/>
                    <a:pt x="19114" y="21064"/>
                    <a:pt x="21476" y="19721"/>
                  </a:cubicBezTo>
                  <a:lnTo>
                    <a:pt x="31763" y="13911"/>
                  </a:lnTo>
                  <a:lnTo>
                    <a:pt x="34144" y="12482"/>
                  </a:lnTo>
                  <a:cubicBezTo>
                    <a:pt x="35354" y="11967"/>
                    <a:pt x="35916" y="10567"/>
                    <a:pt x="35402" y="9357"/>
                  </a:cubicBezTo>
                  <a:cubicBezTo>
                    <a:pt x="35164" y="8796"/>
                    <a:pt x="34706" y="8338"/>
                    <a:pt x="34144" y="8100"/>
                  </a:cubicBezTo>
                  <a:lnTo>
                    <a:pt x="21476" y="766"/>
                  </a:lnTo>
                  <a:cubicBezTo>
                    <a:pt x="19085" y="-472"/>
                    <a:pt x="16247" y="-472"/>
                    <a:pt x="13856" y="766"/>
                  </a:cubicBezTo>
                  <a:lnTo>
                    <a:pt x="1188" y="8100"/>
                  </a:lnTo>
                  <a:cubicBezTo>
                    <a:pt x="292" y="8472"/>
                    <a:pt x="-298"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261" name="îṧḷîḋé">
              <a:extLst>
                <a:ext uri="{FF2B5EF4-FFF2-40B4-BE49-F238E27FC236}">
                  <a16:creationId xmlns:a16="http://schemas.microsoft.com/office/drawing/2014/main" id="{83298C3E-DE3A-4CCC-B7A3-796B76AB2A56}"/>
                </a:ext>
              </a:extLst>
            </p:cNvPr>
            <p:cNvSpPr/>
            <p:nvPr/>
          </p:nvSpPr>
          <p:spPr>
            <a:xfrm>
              <a:off x="6087348" y="5130919"/>
              <a:ext cx="105825" cy="61101"/>
            </a:xfrm>
            <a:custGeom>
              <a:avLst/>
              <a:gdLst>
                <a:gd name="connsiteX0" fmla="*/ 1235 w 34766"/>
                <a:gd name="connsiteY0" fmla="*/ 12006 h 20073"/>
                <a:gd name="connsiteX1" fmla="*/ 13332 w 34766"/>
                <a:gd name="connsiteY1" fmla="*/ 19054 h 20073"/>
                <a:gd name="connsiteX2" fmla="*/ 20761 w 34766"/>
                <a:gd name="connsiteY2" fmla="*/ 19054 h 20073"/>
                <a:gd name="connsiteX3" fmla="*/ 32858 w 34766"/>
                <a:gd name="connsiteY3" fmla="*/ 12006 h 20073"/>
                <a:gd name="connsiteX4" fmla="*/ 32858 w 34766"/>
                <a:gd name="connsiteY4" fmla="*/ 7719 h 20073"/>
                <a:gd name="connsiteX5" fmla="*/ 20761 w 34766"/>
                <a:gd name="connsiteY5" fmla="*/ 766 h 20073"/>
                <a:gd name="connsiteX6" fmla="*/ 13332 w 34766"/>
                <a:gd name="connsiteY6" fmla="*/ 766 h 20073"/>
                <a:gd name="connsiteX7" fmla="*/ 1235 w 34766"/>
                <a:gd name="connsiteY7" fmla="*/ 7719 h 20073"/>
                <a:gd name="connsiteX8" fmla="*/ 1235 w 34766"/>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6" h="20073">
                  <a:moveTo>
                    <a:pt x="1235" y="12006"/>
                  </a:moveTo>
                  <a:lnTo>
                    <a:pt x="13332" y="19054"/>
                  </a:lnTo>
                  <a:cubicBezTo>
                    <a:pt x="15675" y="20197"/>
                    <a:pt x="18419" y="20197"/>
                    <a:pt x="20761" y="19054"/>
                  </a:cubicBezTo>
                  <a:lnTo>
                    <a:pt x="32858" y="12006"/>
                  </a:lnTo>
                  <a:cubicBezTo>
                    <a:pt x="34954" y="10863"/>
                    <a:pt x="34954" y="8958"/>
                    <a:pt x="32858" y="7719"/>
                  </a:cubicBezTo>
                  <a:lnTo>
                    <a:pt x="20761" y="766"/>
                  </a:lnTo>
                  <a:cubicBezTo>
                    <a:pt x="18437" y="-472"/>
                    <a:pt x="15656" y="-472"/>
                    <a:pt x="13332" y="766"/>
                  </a:cubicBezTo>
                  <a:lnTo>
                    <a:pt x="1235" y="7719"/>
                  </a:lnTo>
                  <a:cubicBezTo>
                    <a:pt x="-860" y="8958"/>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262" name="ï$ľiḑê">
              <a:extLst>
                <a:ext uri="{FF2B5EF4-FFF2-40B4-BE49-F238E27FC236}">
                  <a16:creationId xmlns:a16="http://schemas.microsoft.com/office/drawing/2014/main" id="{A42B8C26-58C0-4AB1-A8B3-8C0A171916C8}"/>
                </a:ext>
              </a:extLst>
            </p:cNvPr>
            <p:cNvSpPr/>
            <p:nvPr/>
          </p:nvSpPr>
          <p:spPr>
            <a:xfrm>
              <a:off x="6085464" y="5161577"/>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028 h 17597"/>
                <a:gd name="connsiteX9" fmla="*/ 31763 w 36004"/>
                <a:gd name="connsiteY9" fmla="*/ 3457 h 17597"/>
                <a:gd name="connsiteX10" fmla="*/ 21476 w 36004"/>
                <a:gd name="connsiteY10" fmla="*/ 9267 h 17597"/>
                <a:gd name="connsiteX11" fmla="*/ 13856 w 36004"/>
                <a:gd name="connsiteY11" fmla="*/ 9267 h 17597"/>
                <a:gd name="connsiteX12" fmla="*/ 3569 w 36004"/>
                <a:gd name="connsiteY12" fmla="*/ 3457 h 17597"/>
                <a:gd name="connsiteX13" fmla="*/ 1188 w 36004"/>
                <a:gd name="connsiteY13" fmla="*/ 2028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3" y="7953"/>
                    <a:pt x="35668" y="6981"/>
                  </a:cubicBezTo>
                  <a:lnTo>
                    <a:pt x="35668" y="-163"/>
                  </a:lnTo>
                  <a:cubicBezTo>
                    <a:pt x="35630" y="799"/>
                    <a:pt x="35040" y="1656"/>
                    <a:pt x="34144" y="2028"/>
                  </a:cubicBezTo>
                  <a:lnTo>
                    <a:pt x="31763" y="3457"/>
                  </a:lnTo>
                  <a:lnTo>
                    <a:pt x="21476" y="9267"/>
                  </a:lnTo>
                  <a:cubicBezTo>
                    <a:pt x="19114" y="10610"/>
                    <a:pt x="16218" y="10610"/>
                    <a:pt x="13856" y="9267"/>
                  </a:cubicBezTo>
                  <a:lnTo>
                    <a:pt x="3569" y="3457"/>
                  </a:lnTo>
                  <a:lnTo>
                    <a:pt x="1188" y="2028"/>
                  </a:lnTo>
                  <a:cubicBezTo>
                    <a:pt x="292" y="1656"/>
                    <a:pt x="-298" y="799"/>
                    <a:pt x="-336" y="-163"/>
                  </a:cubicBezTo>
                  <a:close/>
                </a:path>
              </a:pathLst>
            </a:custGeom>
            <a:solidFill>
              <a:srgbClr val="BF4200"/>
            </a:solidFill>
            <a:ln w="9525" cap="flat">
              <a:noFill/>
              <a:prstDash val="solid"/>
              <a:miter/>
            </a:ln>
          </p:spPr>
          <p:txBody>
            <a:bodyPr rtlCol="0" anchor="ctr"/>
            <a:lstStyle/>
            <a:p>
              <a:endParaRPr lang="zh-CN" altLang="en-US"/>
            </a:p>
          </p:txBody>
        </p:sp>
        <p:sp>
          <p:nvSpPr>
            <p:cNvPr id="263" name="ïṥḷïdé">
              <a:extLst>
                <a:ext uri="{FF2B5EF4-FFF2-40B4-BE49-F238E27FC236}">
                  <a16:creationId xmlns:a16="http://schemas.microsoft.com/office/drawing/2014/main" id="{BAB483DE-2EFB-468D-A884-2D8FC6DC3416}"/>
                </a:ext>
              </a:extLst>
            </p:cNvPr>
            <p:cNvSpPr/>
            <p:nvPr/>
          </p:nvSpPr>
          <p:spPr>
            <a:xfrm>
              <a:off x="6162588" y="5174407"/>
              <a:ext cx="109883" cy="63639"/>
            </a:xfrm>
            <a:custGeom>
              <a:avLst/>
              <a:gdLst>
                <a:gd name="connsiteX0" fmla="*/ -336 w 36099"/>
                <a:gd name="connsiteY0" fmla="*/ 10291 h 20907"/>
                <a:gd name="connsiteX1" fmla="*/ 1283 w 36099"/>
                <a:gd name="connsiteY1" fmla="*/ 12577 h 20907"/>
                <a:gd name="connsiteX2" fmla="*/ 3569 w 36099"/>
                <a:gd name="connsiteY2" fmla="*/ 13910 h 20907"/>
                <a:gd name="connsiteX3" fmla="*/ 13856 w 36099"/>
                <a:gd name="connsiteY3" fmla="*/ 19816 h 20907"/>
                <a:gd name="connsiteX4" fmla="*/ 21571 w 36099"/>
                <a:gd name="connsiteY4" fmla="*/ 19816 h 20907"/>
                <a:gd name="connsiteX5" fmla="*/ 31858 w 36099"/>
                <a:gd name="connsiteY5" fmla="*/ 13910 h 20907"/>
                <a:gd name="connsiteX6" fmla="*/ 34144 w 36099"/>
                <a:gd name="connsiteY6" fmla="*/ 12577 h 20907"/>
                <a:gd name="connsiteX7" fmla="*/ 35764 w 36099"/>
                <a:gd name="connsiteY7" fmla="*/ 10291 h 20907"/>
                <a:gd name="connsiteX8" fmla="*/ 34144 w 36099"/>
                <a:gd name="connsiteY8" fmla="*/ 8100 h 20907"/>
                <a:gd name="connsiteX9" fmla="*/ 21571 w 36099"/>
                <a:gd name="connsiteY9" fmla="*/ 766 h 20907"/>
                <a:gd name="connsiteX10" fmla="*/ 13856 w 36099"/>
                <a:gd name="connsiteY10" fmla="*/ 766 h 20907"/>
                <a:gd name="connsiteX11" fmla="*/ 1283 w 36099"/>
                <a:gd name="connsiteY11" fmla="*/ 8100 h 20907"/>
                <a:gd name="connsiteX12" fmla="*/ -336 w 36099"/>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99" h="20907">
                  <a:moveTo>
                    <a:pt x="-336" y="10291"/>
                  </a:moveTo>
                  <a:cubicBezTo>
                    <a:pt x="-231" y="11282"/>
                    <a:pt x="378" y="12148"/>
                    <a:pt x="1283" y="12577"/>
                  </a:cubicBezTo>
                  <a:lnTo>
                    <a:pt x="3569" y="13910"/>
                  </a:lnTo>
                  <a:lnTo>
                    <a:pt x="13856" y="19816"/>
                  </a:lnTo>
                  <a:cubicBezTo>
                    <a:pt x="16275" y="21054"/>
                    <a:pt x="19152" y="21054"/>
                    <a:pt x="21571" y="19816"/>
                  </a:cubicBezTo>
                  <a:lnTo>
                    <a:pt x="31858" y="13910"/>
                  </a:lnTo>
                  <a:lnTo>
                    <a:pt x="34144" y="12577"/>
                  </a:lnTo>
                  <a:cubicBezTo>
                    <a:pt x="35049" y="12148"/>
                    <a:pt x="35659" y="11282"/>
                    <a:pt x="35764" y="10291"/>
                  </a:cubicBezTo>
                  <a:cubicBezTo>
                    <a:pt x="35649" y="9329"/>
                    <a:pt x="35030" y="8491"/>
                    <a:pt x="34144" y="8100"/>
                  </a:cubicBezTo>
                  <a:lnTo>
                    <a:pt x="21571" y="766"/>
                  </a:lnTo>
                  <a:cubicBezTo>
                    <a:pt x="19152" y="-472"/>
                    <a:pt x="16275" y="-472"/>
                    <a:pt x="13856" y="766"/>
                  </a:cubicBezTo>
                  <a:lnTo>
                    <a:pt x="1283" y="8100"/>
                  </a:lnTo>
                  <a:cubicBezTo>
                    <a:pt x="397" y="8491"/>
                    <a:pt x="-222"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264" name="í$1idê">
              <a:extLst>
                <a:ext uri="{FF2B5EF4-FFF2-40B4-BE49-F238E27FC236}">
                  <a16:creationId xmlns:a16="http://schemas.microsoft.com/office/drawing/2014/main" id="{7455EFFD-4F19-4CC3-932E-419CD7F71482}"/>
                </a:ext>
              </a:extLst>
            </p:cNvPr>
            <p:cNvSpPr/>
            <p:nvPr/>
          </p:nvSpPr>
          <p:spPr>
            <a:xfrm>
              <a:off x="6164907" y="5175567"/>
              <a:ext cx="106330" cy="61104"/>
            </a:xfrm>
            <a:custGeom>
              <a:avLst/>
              <a:gdLst>
                <a:gd name="connsiteX0" fmla="*/ 1378 w 34932"/>
                <a:gd name="connsiteY0" fmla="*/ 12006 h 20074"/>
                <a:gd name="connsiteX1" fmla="*/ 13475 w 34932"/>
                <a:gd name="connsiteY1" fmla="*/ 19054 h 20074"/>
                <a:gd name="connsiteX2" fmla="*/ 21000 w 34932"/>
                <a:gd name="connsiteY2" fmla="*/ 19054 h 20074"/>
                <a:gd name="connsiteX3" fmla="*/ 33096 w 34932"/>
                <a:gd name="connsiteY3" fmla="*/ 12006 h 20074"/>
                <a:gd name="connsiteX4" fmla="*/ 33096 w 34932"/>
                <a:gd name="connsiteY4" fmla="*/ 7719 h 20074"/>
                <a:gd name="connsiteX5" fmla="*/ 21000 w 34932"/>
                <a:gd name="connsiteY5" fmla="*/ 766 h 20074"/>
                <a:gd name="connsiteX6" fmla="*/ 13475 w 34932"/>
                <a:gd name="connsiteY6" fmla="*/ 766 h 20074"/>
                <a:gd name="connsiteX7" fmla="*/ 1378 w 34932"/>
                <a:gd name="connsiteY7" fmla="*/ 7719 h 20074"/>
                <a:gd name="connsiteX8" fmla="*/ 1378 w 34932"/>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932" h="20074">
                  <a:moveTo>
                    <a:pt x="1378" y="12006"/>
                  </a:moveTo>
                  <a:lnTo>
                    <a:pt x="13475" y="19054"/>
                  </a:lnTo>
                  <a:cubicBezTo>
                    <a:pt x="15856" y="20197"/>
                    <a:pt x="18618" y="20197"/>
                    <a:pt x="21000" y="19054"/>
                  </a:cubicBezTo>
                  <a:lnTo>
                    <a:pt x="33096" y="12006"/>
                  </a:lnTo>
                  <a:cubicBezTo>
                    <a:pt x="35097" y="10863"/>
                    <a:pt x="35097" y="8958"/>
                    <a:pt x="33096" y="7719"/>
                  </a:cubicBezTo>
                  <a:lnTo>
                    <a:pt x="21000" y="766"/>
                  </a:lnTo>
                  <a:cubicBezTo>
                    <a:pt x="18647" y="-472"/>
                    <a:pt x="15828" y="-472"/>
                    <a:pt x="13475" y="766"/>
                  </a:cubicBezTo>
                  <a:lnTo>
                    <a:pt x="1378" y="7719"/>
                  </a:lnTo>
                  <a:cubicBezTo>
                    <a:pt x="-908" y="9148"/>
                    <a:pt x="-908" y="10863"/>
                    <a:pt x="1378" y="12006"/>
                  </a:cubicBezTo>
                  <a:close/>
                </a:path>
              </a:pathLst>
            </a:custGeom>
            <a:solidFill>
              <a:srgbClr val="D1D9E8"/>
            </a:solidFill>
            <a:ln w="9525" cap="flat">
              <a:noFill/>
              <a:prstDash val="solid"/>
              <a:miter/>
            </a:ln>
          </p:spPr>
          <p:txBody>
            <a:bodyPr rtlCol="0" anchor="ctr"/>
            <a:lstStyle/>
            <a:p>
              <a:endParaRPr lang="zh-CN" altLang="en-US"/>
            </a:p>
          </p:txBody>
        </p:sp>
        <p:sp>
          <p:nvSpPr>
            <p:cNvPr id="265" name="išļîḓé">
              <a:extLst>
                <a:ext uri="{FF2B5EF4-FFF2-40B4-BE49-F238E27FC236}">
                  <a16:creationId xmlns:a16="http://schemas.microsoft.com/office/drawing/2014/main" id="{60710787-7069-4EB3-8423-F15F3ADBD13C}"/>
                </a:ext>
              </a:extLst>
            </p:cNvPr>
            <p:cNvSpPr/>
            <p:nvPr/>
          </p:nvSpPr>
          <p:spPr>
            <a:xfrm>
              <a:off x="6162588" y="5206229"/>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4 w 36099"/>
                <a:gd name="connsiteY6" fmla="*/ 6981 h 17597"/>
                <a:gd name="connsiteX7" fmla="*/ 35764 w 36099"/>
                <a:gd name="connsiteY7" fmla="*/ -163 h 17597"/>
                <a:gd name="connsiteX8" fmla="*/ 34144 w 36099"/>
                <a:gd name="connsiteY8" fmla="*/ 2124 h 17597"/>
                <a:gd name="connsiteX9" fmla="*/ 31858 w 36099"/>
                <a:gd name="connsiteY9" fmla="*/ 3457 h 17597"/>
                <a:gd name="connsiteX10" fmla="*/ 21571 w 36099"/>
                <a:gd name="connsiteY10" fmla="*/ 9362 h 17597"/>
                <a:gd name="connsiteX11" fmla="*/ 13856 w 36099"/>
                <a:gd name="connsiteY11" fmla="*/ 9362 h 17597"/>
                <a:gd name="connsiteX12" fmla="*/ 3569 w 36099"/>
                <a:gd name="connsiteY12" fmla="*/ 3457 h 17597"/>
                <a:gd name="connsiteX13" fmla="*/ 1283 w 36099"/>
                <a:gd name="connsiteY13" fmla="*/ 2124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03" y="8029"/>
                    <a:pt x="407" y="8858"/>
                    <a:pt x="1283" y="9267"/>
                  </a:cubicBezTo>
                  <a:lnTo>
                    <a:pt x="13856" y="16506"/>
                  </a:lnTo>
                  <a:cubicBezTo>
                    <a:pt x="16275" y="17744"/>
                    <a:pt x="19152" y="17744"/>
                    <a:pt x="21571" y="16506"/>
                  </a:cubicBezTo>
                  <a:lnTo>
                    <a:pt x="34144" y="9267"/>
                  </a:lnTo>
                  <a:cubicBezTo>
                    <a:pt x="35030" y="8829"/>
                    <a:pt x="35640" y="7972"/>
                    <a:pt x="35764" y="6981"/>
                  </a:cubicBezTo>
                  <a:lnTo>
                    <a:pt x="35764" y="-163"/>
                  </a:lnTo>
                  <a:cubicBezTo>
                    <a:pt x="35659" y="828"/>
                    <a:pt x="35049" y="1695"/>
                    <a:pt x="34144" y="2124"/>
                  </a:cubicBezTo>
                  <a:lnTo>
                    <a:pt x="31858" y="3457"/>
                  </a:lnTo>
                  <a:lnTo>
                    <a:pt x="21571" y="9362"/>
                  </a:lnTo>
                  <a:cubicBezTo>
                    <a:pt x="19152" y="10601"/>
                    <a:pt x="16275" y="10601"/>
                    <a:pt x="13856" y="9362"/>
                  </a:cubicBezTo>
                  <a:lnTo>
                    <a:pt x="3569" y="3457"/>
                  </a:lnTo>
                  <a:lnTo>
                    <a:pt x="1283" y="2124"/>
                  </a:lnTo>
                  <a:cubicBezTo>
                    <a:pt x="378" y="1695"/>
                    <a:pt x="-231"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266" name="íṡ1íḓê">
              <a:extLst>
                <a:ext uri="{FF2B5EF4-FFF2-40B4-BE49-F238E27FC236}">
                  <a16:creationId xmlns:a16="http://schemas.microsoft.com/office/drawing/2014/main" id="{3729E96C-71B5-45C2-9CBF-058D90C76885}"/>
                </a:ext>
              </a:extLst>
            </p:cNvPr>
            <p:cNvSpPr/>
            <p:nvPr/>
          </p:nvSpPr>
          <p:spPr>
            <a:xfrm>
              <a:off x="6240001" y="5219056"/>
              <a:ext cx="109594" cy="63588"/>
            </a:xfrm>
            <a:custGeom>
              <a:avLst/>
              <a:gdLst>
                <a:gd name="connsiteX0" fmla="*/ -336 w 36004"/>
                <a:gd name="connsiteY0" fmla="*/ 10291 h 20890"/>
                <a:gd name="connsiteX1" fmla="*/ 1188 w 36004"/>
                <a:gd name="connsiteY1" fmla="*/ 12482 h 20890"/>
                <a:gd name="connsiteX2" fmla="*/ 3569 w 36004"/>
                <a:gd name="connsiteY2" fmla="*/ 13911 h 20890"/>
                <a:gd name="connsiteX3" fmla="*/ 13856 w 36004"/>
                <a:gd name="connsiteY3" fmla="*/ 19721 h 20890"/>
                <a:gd name="connsiteX4" fmla="*/ 21476 w 36004"/>
                <a:gd name="connsiteY4" fmla="*/ 19721 h 20890"/>
                <a:gd name="connsiteX5" fmla="*/ 31763 w 36004"/>
                <a:gd name="connsiteY5" fmla="*/ 13911 h 20890"/>
                <a:gd name="connsiteX6" fmla="*/ 34144 w 36004"/>
                <a:gd name="connsiteY6" fmla="*/ 12482 h 20890"/>
                <a:gd name="connsiteX7" fmla="*/ 35668 w 36004"/>
                <a:gd name="connsiteY7" fmla="*/ 10291 h 20890"/>
                <a:gd name="connsiteX8" fmla="*/ 34144 w 36004"/>
                <a:gd name="connsiteY8" fmla="*/ 8005 h 20890"/>
                <a:gd name="connsiteX9" fmla="*/ 21476 w 36004"/>
                <a:gd name="connsiteY9" fmla="*/ 766 h 20890"/>
                <a:gd name="connsiteX10" fmla="*/ 13856 w 36004"/>
                <a:gd name="connsiteY10" fmla="*/ 766 h 20890"/>
                <a:gd name="connsiteX11" fmla="*/ 1188 w 36004"/>
                <a:gd name="connsiteY11" fmla="*/ 8005 h 20890"/>
                <a:gd name="connsiteX12" fmla="*/ -336 w 36004"/>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291"/>
                  </a:moveTo>
                  <a:cubicBezTo>
                    <a:pt x="-279" y="11244"/>
                    <a:pt x="311" y="12091"/>
                    <a:pt x="1188" y="12482"/>
                  </a:cubicBezTo>
                  <a:lnTo>
                    <a:pt x="3569" y="13911"/>
                  </a:lnTo>
                  <a:lnTo>
                    <a:pt x="13856" y="19721"/>
                  </a:lnTo>
                  <a:cubicBezTo>
                    <a:pt x="16218" y="21064"/>
                    <a:pt x="19114" y="21064"/>
                    <a:pt x="21476" y="19721"/>
                  </a:cubicBezTo>
                  <a:lnTo>
                    <a:pt x="31763" y="13911"/>
                  </a:lnTo>
                  <a:lnTo>
                    <a:pt x="34144" y="12482"/>
                  </a:lnTo>
                  <a:cubicBezTo>
                    <a:pt x="35021" y="12091"/>
                    <a:pt x="35611" y="11253"/>
                    <a:pt x="35668" y="10291"/>
                  </a:cubicBezTo>
                  <a:cubicBezTo>
                    <a:pt x="35602" y="9310"/>
                    <a:pt x="35021" y="8443"/>
                    <a:pt x="34144" y="8005"/>
                  </a:cubicBezTo>
                  <a:lnTo>
                    <a:pt x="21476" y="766"/>
                  </a:lnTo>
                  <a:cubicBezTo>
                    <a:pt x="19085" y="-472"/>
                    <a:pt x="16247" y="-472"/>
                    <a:pt x="13856" y="766"/>
                  </a:cubicBezTo>
                  <a:lnTo>
                    <a:pt x="1188" y="8005"/>
                  </a:lnTo>
                  <a:cubicBezTo>
                    <a:pt x="311" y="8443"/>
                    <a:pt x="-270" y="9310"/>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267" name="iṥľîḑè">
              <a:extLst>
                <a:ext uri="{FF2B5EF4-FFF2-40B4-BE49-F238E27FC236}">
                  <a16:creationId xmlns:a16="http://schemas.microsoft.com/office/drawing/2014/main" id="{93673B16-2659-4485-BAFB-8383D2E75023}"/>
                </a:ext>
              </a:extLst>
            </p:cNvPr>
            <p:cNvSpPr/>
            <p:nvPr/>
          </p:nvSpPr>
          <p:spPr>
            <a:xfrm>
              <a:off x="6241885" y="5220218"/>
              <a:ext cx="105825" cy="61101"/>
            </a:xfrm>
            <a:custGeom>
              <a:avLst/>
              <a:gdLst>
                <a:gd name="connsiteX0" fmla="*/ 1235 w 34766"/>
                <a:gd name="connsiteY0" fmla="*/ 12006 h 20073"/>
                <a:gd name="connsiteX1" fmla="*/ 13332 w 34766"/>
                <a:gd name="connsiteY1" fmla="*/ 19054 h 20073"/>
                <a:gd name="connsiteX2" fmla="*/ 20761 w 34766"/>
                <a:gd name="connsiteY2" fmla="*/ 19054 h 20073"/>
                <a:gd name="connsiteX3" fmla="*/ 32858 w 34766"/>
                <a:gd name="connsiteY3" fmla="*/ 12006 h 20073"/>
                <a:gd name="connsiteX4" fmla="*/ 32858 w 34766"/>
                <a:gd name="connsiteY4" fmla="*/ 7719 h 20073"/>
                <a:gd name="connsiteX5" fmla="*/ 20761 w 34766"/>
                <a:gd name="connsiteY5" fmla="*/ 766 h 20073"/>
                <a:gd name="connsiteX6" fmla="*/ 13332 w 34766"/>
                <a:gd name="connsiteY6" fmla="*/ 766 h 20073"/>
                <a:gd name="connsiteX7" fmla="*/ 1235 w 34766"/>
                <a:gd name="connsiteY7" fmla="*/ 7719 h 20073"/>
                <a:gd name="connsiteX8" fmla="*/ 1235 w 34766"/>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6" h="20073">
                  <a:moveTo>
                    <a:pt x="1235" y="12006"/>
                  </a:moveTo>
                  <a:lnTo>
                    <a:pt x="13332" y="19054"/>
                  </a:lnTo>
                  <a:cubicBezTo>
                    <a:pt x="15675" y="20197"/>
                    <a:pt x="18418" y="20197"/>
                    <a:pt x="20761" y="19054"/>
                  </a:cubicBezTo>
                  <a:lnTo>
                    <a:pt x="32858" y="12006"/>
                  </a:lnTo>
                  <a:cubicBezTo>
                    <a:pt x="34954" y="10863"/>
                    <a:pt x="34954" y="8957"/>
                    <a:pt x="32858" y="7719"/>
                  </a:cubicBezTo>
                  <a:lnTo>
                    <a:pt x="20761" y="766"/>
                  </a:lnTo>
                  <a:cubicBezTo>
                    <a:pt x="18437" y="-472"/>
                    <a:pt x="15656" y="-472"/>
                    <a:pt x="13332" y="766"/>
                  </a:cubicBezTo>
                  <a:lnTo>
                    <a:pt x="1235" y="7719"/>
                  </a:lnTo>
                  <a:cubicBezTo>
                    <a:pt x="-860" y="8957"/>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268" name="ïšḻidè">
              <a:extLst>
                <a:ext uri="{FF2B5EF4-FFF2-40B4-BE49-F238E27FC236}">
                  <a16:creationId xmlns:a16="http://schemas.microsoft.com/office/drawing/2014/main" id="{8CA78C40-2B7D-49D2-8CD2-4CBB227F68D2}"/>
                </a:ext>
              </a:extLst>
            </p:cNvPr>
            <p:cNvSpPr/>
            <p:nvPr/>
          </p:nvSpPr>
          <p:spPr>
            <a:xfrm>
              <a:off x="6240001" y="5250877"/>
              <a:ext cx="109594" cy="53564"/>
            </a:xfrm>
            <a:custGeom>
              <a:avLst/>
              <a:gdLst>
                <a:gd name="connsiteX0" fmla="*/ -336 w 36004"/>
                <a:gd name="connsiteY0" fmla="*/ -163 h 17597"/>
                <a:gd name="connsiteX1" fmla="*/ -336 w 36004"/>
                <a:gd name="connsiteY1" fmla="*/ 6981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028 h 17597"/>
                <a:gd name="connsiteX9" fmla="*/ 31763 w 36004"/>
                <a:gd name="connsiteY9" fmla="*/ 3457 h 17597"/>
                <a:gd name="connsiteX10" fmla="*/ 21476 w 36004"/>
                <a:gd name="connsiteY10" fmla="*/ 9267 h 17597"/>
                <a:gd name="connsiteX11" fmla="*/ 13856 w 36004"/>
                <a:gd name="connsiteY11" fmla="*/ 9267 h 17597"/>
                <a:gd name="connsiteX12" fmla="*/ 3569 w 36004"/>
                <a:gd name="connsiteY12" fmla="*/ 3457 h 17597"/>
                <a:gd name="connsiteX13" fmla="*/ 1188 w 36004"/>
                <a:gd name="connsiteY13" fmla="*/ 2028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6981"/>
                  </a:lnTo>
                  <a:cubicBezTo>
                    <a:pt x="-270" y="7962"/>
                    <a:pt x="311" y="8829"/>
                    <a:pt x="1188" y="9267"/>
                  </a:cubicBezTo>
                  <a:lnTo>
                    <a:pt x="13856" y="16506"/>
                  </a:lnTo>
                  <a:cubicBezTo>
                    <a:pt x="16247" y="17744"/>
                    <a:pt x="19085" y="17744"/>
                    <a:pt x="21476" y="16506"/>
                  </a:cubicBezTo>
                  <a:lnTo>
                    <a:pt x="34144" y="9267"/>
                  </a:lnTo>
                  <a:cubicBezTo>
                    <a:pt x="35011" y="8819"/>
                    <a:pt x="35582" y="7953"/>
                    <a:pt x="35668" y="6981"/>
                  </a:cubicBezTo>
                  <a:lnTo>
                    <a:pt x="35668" y="-163"/>
                  </a:lnTo>
                  <a:cubicBezTo>
                    <a:pt x="35611" y="790"/>
                    <a:pt x="35021" y="1638"/>
                    <a:pt x="34144" y="2028"/>
                  </a:cubicBezTo>
                  <a:lnTo>
                    <a:pt x="31763" y="3457"/>
                  </a:lnTo>
                  <a:lnTo>
                    <a:pt x="21476" y="9267"/>
                  </a:lnTo>
                  <a:cubicBezTo>
                    <a:pt x="19114" y="10610"/>
                    <a:pt x="16218" y="10610"/>
                    <a:pt x="13856" y="9267"/>
                  </a:cubicBezTo>
                  <a:lnTo>
                    <a:pt x="3569" y="3457"/>
                  </a:lnTo>
                  <a:lnTo>
                    <a:pt x="1188" y="2028"/>
                  </a:lnTo>
                  <a:cubicBezTo>
                    <a:pt x="311" y="1638"/>
                    <a:pt x="-279" y="800"/>
                    <a:pt x="-336" y="-163"/>
                  </a:cubicBezTo>
                  <a:close/>
                </a:path>
              </a:pathLst>
            </a:custGeom>
            <a:solidFill>
              <a:srgbClr val="BF4200"/>
            </a:solidFill>
            <a:ln w="9525" cap="flat">
              <a:noFill/>
              <a:prstDash val="solid"/>
              <a:miter/>
            </a:ln>
          </p:spPr>
          <p:txBody>
            <a:bodyPr rtlCol="0" anchor="ctr"/>
            <a:lstStyle/>
            <a:p>
              <a:endParaRPr lang="zh-CN" altLang="en-US"/>
            </a:p>
          </p:txBody>
        </p:sp>
        <p:sp>
          <p:nvSpPr>
            <p:cNvPr id="269" name="ïṧlíḍe">
              <a:extLst>
                <a:ext uri="{FF2B5EF4-FFF2-40B4-BE49-F238E27FC236}">
                  <a16:creationId xmlns:a16="http://schemas.microsoft.com/office/drawing/2014/main" id="{187B2E70-C606-4E78-9DAF-24AB9F8A13E1}"/>
                </a:ext>
              </a:extLst>
            </p:cNvPr>
            <p:cNvSpPr/>
            <p:nvPr/>
          </p:nvSpPr>
          <p:spPr>
            <a:xfrm>
              <a:off x="6319441" y="5266803"/>
              <a:ext cx="146416" cy="84551"/>
            </a:xfrm>
            <a:custGeom>
              <a:avLst/>
              <a:gdLst>
                <a:gd name="connsiteX0" fmla="*/ -336 w 48101"/>
                <a:gd name="connsiteY0" fmla="*/ 9941 h 27777"/>
                <a:gd name="connsiteX1" fmla="*/ 1188 w 48101"/>
                <a:gd name="connsiteY1" fmla="*/ 12227 h 27777"/>
                <a:gd name="connsiteX2" fmla="*/ 3569 w 48101"/>
                <a:gd name="connsiteY2" fmla="*/ 13560 h 27777"/>
                <a:gd name="connsiteX3" fmla="*/ 25857 w 48101"/>
                <a:gd name="connsiteY3" fmla="*/ 26800 h 27777"/>
                <a:gd name="connsiteX4" fmla="*/ 33573 w 48101"/>
                <a:gd name="connsiteY4" fmla="*/ 26800 h 27777"/>
                <a:gd name="connsiteX5" fmla="*/ 43860 w 48101"/>
                <a:gd name="connsiteY5" fmla="*/ 20799 h 27777"/>
                <a:gd name="connsiteX6" fmla="*/ 46241 w 48101"/>
                <a:gd name="connsiteY6" fmla="*/ 19466 h 27777"/>
                <a:gd name="connsiteX7" fmla="*/ 47765 w 48101"/>
                <a:gd name="connsiteY7" fmla="*/ 17847 h 27777"/>
                <a:gd name="connsiteX8" fmla="*/ 47765 w 48101"/>
                <a:gd name="connsiteY8" fmla="*/ 16704 h 27777"/>
                <a:gd name="connsiteX9" fmla="*/ 46241 w 48101"/>
                <a:gd name="connsiteY9" fmla="*/ 14989 h 27777"/>
                <a:gd name="connsiteX10" fmla="*/ 21476 w 48101"/>
                <a:gd name="connsiteY10" fmla="*/ 702 h 27777"/>
                <a:gd name="connsiteX11" fmla="*/ 13856 w 48101"/>
                <a:gd name="connsiteY11" fmla="*/ 702 h 27777"/>
                <a:gd name="connsiteX12" fmla="*/ 1188 w 48101"/>
                <a:gd name="connsiteY12" fmla="*/ 8036 h 27777"/>
                <a:gd name="connsiteX13" fmla="*/ -336 w 48101"/>
                <a:gd name="connsiteY13" fmla="*/ 9941 h 27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8101" h="27777">
                  <a:moveTo>
                    <a:pt x="-336" y="9941"/>
                  </a:moveTo>
                  <a:cubicBezTo>
                    <a:pt x="-269" y="10922"/>
                    <a:pt x="311" y="11789"/>
                    <a:pt x="1188" y="12227"/>
                  </a:cubicBezTo>
                  <a:lnTo>
                    <a:pt x="3569" y="13560"/>
                  </a:lnTo>
                  <a:lnTo>
                    <a:pt x="25857" y="26800"/>
                  </a:lnTo>
                  <a:cubicBezTo>
                    <a:pt x="28315" y="27886"/>
                    <a:pt x="31115" y="27886"/>
                    <a:pt x="33573" y="26800"/>
                  </a:cubicBezTo>
                  <a:lnTo>
                    <a:pt x="43860" y="20799"/>
                  </a:lnTo>
                  <a:lnTo>
                    <a:pt x="46241" y="19466"/>
                  </a:lnTo>
                  <a:cubicBezTo>
                    <a:pt x="46955" y="19161"/>
                    <a:pt x="47508" y="18580"/>
                    <a:pt x="47765" y="17847"/>
                  </a:cubicBezTo>
                  <a:lnTo>
                    <a:pt x="47765" y="16704"/>
                  </a:lnTo>
                  <a:cubicBezTo>
                    <a:pt x="47479" y="15961"/>
                    <a:pt x="46946" y="15351"/>
                    <a:pt x="46241" y="14989"/>
                  </a:cubicBezTo>
                  <a:lnTo>
                    <a:pt x="21476" y="702"/>
                  </a:lnTo>
                  <a:cubicBezTo>
                    <a:pt x="19066" y="-451"/>
                    <a:pt x="16266" y="-451"/>
                    <a:pt x="13856" y="702"/>
                  </a:cubicBezTo>
                  <a:lnTo>
                    <a:pt x="1188" y="8036"/>
                  </a:lnTo>
                  <a:cubicBezTo>
                    <a:pt x="416" y="8398"/>
                    <a:pt x="-155" y="9103"/>
                    <a:pt x="-336" y="9941"/>
                  </a:cubicBezTo>
                  <a:close/>
                </a:path>
              </a:pathLst>
            </a:custGeom>
            <a:solidFill>
              <a:srgbClr val="FFFFFF"/>
            </a:solidFill>
            <a:ln w="9525" cap="flat">
              <a:noFill/>
              <a:prstDash val="solid"/>
              <a:miter/>
            </a:ln>
          </p:spPr>
          <p:txBody>
            <a:bodyPr rtlCol="0" anchor="ctr"/>
            <a:lstStyle/>
            <a:p>
              <a:endParaRPr lang="zh-CN" altLang="en-US"/>
            </a:p>
          </p:txBody>
        </p:sp>
        <p:sp>
          <p:nvSpPr>
            <p:cNvPr id="270" name="ïṩḷiḑè">
              <a:extLst>
                <a:ext uri="{FF2B5EF4-FFF2-40B4-BE49-F238E27FC236}">
                  <a16:creationId xmlns:a16="http://schemas.microsoft.com/office/drawing/2014/main" id="{8D557E99-D792-4BED-A00D-ACA4FE2C46F8}"/>
                </a:ext>
              </a:extLst>
            </p:cNvPr>
            <p:cNvSpPr/>
            <p:nvPr/>
          </p:nvSpPr>
          <p:spPr>
            <a:xfrm>
              <a:off x="6321325" y="5267113"/>
              <a:ext cx="142645" cy="82338"/>
            </a:xfrm>
            <a:custGeom>
              <a:avLst/>
              <a:gdLst>
                <a:gd name="connsiteX0" fmla="*/ 25429 w 46862"/>
                <a:gd name="connsiteY0" fmla="*/ 26031 h 27050"/>
                <a:gd name="connsiteX1" fmla="*/ 1235 w 46862"/>
                <a:gd name="connsiteY1" fmla="*/ 12029 h 27050"/>
                <a:gd name="connsiteX2" fmla="*/ 1235 w 46862"/>
                <a:gd name="connsiteY2" fmla="*/ 7743 h 27050"/>
                <a:gd name="connsiteX3" fmla="*/ 13332 w 46862"/>
                <a:gd name="connsiteY3" fmla="*/ 695 h 27050"/>
                <a:gd name="connsiteX4" fmla="*/ 20761 w 46862"/>
                <a:gd name="connsiteY4" fmla="*/ 695 h 27050"/>
                <a:gd name="connsiteX5" fmla="*/ 44955 w 46862"/>
                <a:gd name="connsiteY5" fmla="*/ 14696 h 27050"/>
                <a:gd name="connsiteX6" fmla="*/ 44955 w 46862"/>
                <a:gd name="connsiteY6" fmla="*/ 18983 h 27050"/>
                <a:gd name="connsiteX7" fmla="*/ 32858 w 46862"/>
                <a:gd name="connsiteY7" fmla="*/ 26031 h 27050"/>
                <a:gd name="connsiteX8" fmla="*/ 25429 w 46862"/>
                <a:gd name="connsiteY8" fmla="*/ 26031 h 27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862" h="27050">
                  <a:moveTo>
                    <a:pt x="25429" y="26031"/>
                  </a:moveTo>
                  <a:lnTo>
                    <a:pt x="1235" y="12029"/>
                  </a:lnTo>
                  <a:cubicBezTo>
                    <a:pt x="-860" y="10791"/>
                    <a:pt x="-860" y="8886"/>
                    <a:pt x="1235" y="7743"/>
                  </a:cubicBezTo>
                  <a:lnTo>
                    <a:pt x="13332" y="695"/>
                  </a:lnTo>
                  <a:cubicBezTo>
                    <a:pt x="15675" y="-448"/>
                    <a:pt x="18418" y="-448"/>
                    <a:pt x="20761" y="695"/>
                  </a:cubicBezTo>
                  <a:lnTo>
                    <a:pt x="44955" y="14696"/>
                  </a:lnTo>
                  <a:cubicBezTo>
                    <a:pt x="47051" y="15935"/>
                    <a:pt x="47051" y="17840"/>
                    <a:pt x="44955" y="18983"/>
                  </a:cubicBezTo>
                  <a:lnTo>
                    <a:pt x="32858" y="26031"/>
                  </a:lnTo>
                  <a:cubicBezTo>
                    <a:pt x="30515" y="27174"/>
                    <a:pt x="27772" y="27174"/>
                    <a:pt x="25429" y="26031"/>
                  </a:cubicBezTo>
                  <a:close/>
                </a:path>
              </a:pathLst>
            </a:custGeom>
            <a:solidFill>
              <a:srgbClr val="D1D9E8"/>
            </a:solidFill>
            <a:ln w="9525" cap="flat">
              <a:noFill/>
              <a:prstDash val="solid"/>
              <a:miter/>
            </a:ln>
          </p:spPr>
          <p:txBody>
            <a:bodyPr rtlCol="0" anchor="ctr"/>
            <a:lstStyle/>
            <a:p>
              <a:endParaRPr lang="zh-CN" altLang="en-US"/>
            </a:p>
          </p:txBody>
        </p:sp>
        <p:sp>
          <p:nvSpPr>
            <p:cNvPr id="271" name="ï$ľïḓe">
              <a:extLst>
                <a:ext uri="{FF2B5EF4-FFF2-40B4-BE49-F238E27FC236}">
                  <a16:creationId xmlns:a16="http://schemas.microsoft.com/office/drawing/2014/main" id="{8454EF1A-9AAA-425C-AB5A-129F9A1827A6}"/>
                </a:ext>
              </a:extLst>
            </p:cNvPr>
            <p:cNvSpPr/>
            <p:nvPr/>
          </p:nvSpPr>
          <p:spPr>
            <a:xfrm>
              <a:off x="6319441" y="5297558"/>
              <a:ext cx="145256" cy="75599"/>
            </a:xfrm>
            <a:custGeom>
              <a:avLst/>
              <a:gdLst>
                <a:gd name="connsiteX0" fmla="*/ -336 w 47720"/>
                <a:gd name="connsiteY0" fmla="*/ -163 h 24836"/>
                <a:gd name="connsiteX1" fmla="*/ -336 w 47720"/>
                <a:gd name="connsiteY1" fmla="*/ 7172 h 24836"/>
                <a:gd name="connsiteX2" fmla="*/ 1188 w 47720"/>
                <a:gd name="connsiteY2" fmla="*/ 9457 h 24836"/>
                <a:gd name="connsiteX3" fmla="*/ 25857 w 47720"/>
                <a:gd name="connsiteY3" fmla="*/ 23745 h 24836"/>
                <a:gd name="connsiteX4" fmla="*/ 33573 w 47720"/>
                <a:gd name="connsiteY4" fmla="*/ 23745 h 24836"/>
                <a:gd name="connsiteX5" fmla="*/ 45860 w 47720"/>
                <a:gd name="connsiteY5" fmla="*/ 16697 h 24836"/>
                <a:gd name="connsiteX6" fmla="*/ 47384 w 47720"/>
                <a:gd name="connsiteY6" fmla="*/ 15077 h 24836"/>
                <a:gd name="connsiteX7" fmla="*/ 47384 w 47720"/>
                <a:gd name="connsiteY7" fmla="*/ 7172 h 24836"/>
                <a:gd name="connsiteX8" fmla="*/ 45860 w 47720"/>
                <a:gd name="connsiteY8" fmla="*/ 8791 h 24836"/>
                <a:gd name="connsiteX9" fmla="*/ 43479 w 47720"/>
                <a:gd name="connsiteY9" fmla="*/ 10124 h 24836"/>
                <a:gd name="connsiteX10" fmla="*/ 33192 w 47720"/>
                <a:gd name="connsiteY10" fmla="*/ 16125 h 24836"/>
                <a:gd name="connsiteX11" fmla="*/ 25476 w 47720"/>
                <a:gd name="connsiteY11" fmla="*/ 16125 h 24836"/>
                <a:gd name="connsiteX12" fmla="*/ 3188 w 47720"/>
                <a:gd name="connsiteY12" fmla="*/ 3171 h 24836"/>
                <a:gd name="connsiteX13" fmla="*/ 807 w 47720"/>
                <a:gd name="connsiteY13" fmla="*/ 1838 h 24836"/>
                <a:gd name="connsiteX14" fmla="*/ -336 w 47720"/>
                <a:gd name="connsiteY14" fmla="*/ -163 h 24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7720" h="24836">
                  <a:moveTo>
                    <a:pt x="-336" y="-163"/>
                  </a:moveTo>
                  <a:lnTo>
                    <a:pt x="-336" y="7172"/>
                  </a:lnTo>
                  <a:cubicBezTo>
                    <a:pt x="-308" y="8162"/>
                    <a:pt x="283" y="9057"/>
                    <a:pt x="1188" y="9457"/>
                  </a:cubicBezTo>
                  <a:lnTo>
                    <a:pt x="25857" y="23745"/>
                  </a:lnTo>
                  <a:cubicBezTo>
                    <a:pt x="28277" y="24983"/>
                    <a:pt x="31153" y="24983"/>
                    <a:pt x="33573" y="23745"/>
                  </a:cubicBezTo>
                  <a:lnTo>
                    <a:pt x="45860" y="16697"/>
                  </a:lnTo>
                  <a:cubicBezTo>
                    <a:pt x="46536" y="16344"/>
                    <a:pt x="47070" y="15773"/>
                    <a:pt x="47384" y="15077"/>
                  </a:cubicBezTo>
                  <a:lnTo>
                    <a:pt x="47384" y="7172"/>
                  </a:lnTo>
                  <a:cubicBezTo>
                    <a:pt x="47127" y="7905"/>
                    <a:pt x="46574" y="8486"/>
                    <a:pt x="45860" y="8791"/>
                  </a:cubicBezTo>
                  <a:lnTo>
                    <a:pt x="43479" y="10124"/>
                  </a:lnTo>
                  <a:lnTo>
                    <a:pt x="33192" y="16125"/>
                  </a:lnTo>
                  <a:cubicBezTo>
                    <a:pt x="30734" y="17211"/>
                    <a:pt x="27934" y="17211"/>
                    <a:pt x="25476" y="16125"/>
                  </a:cubicBezTo>
                  <a:lnTo>
                    <a:pt x="3188" y="3171"/>
                  </a:lnTo>
                  <a:lnTo>
                    <a:pt x="807" y="1838"/>
                  </a:lnTo>
                  <a:cubicBezTo>
                    <a:pt x="149" y="1371"/>
                    <a:pt x="-260" y="637"/>
                    <a:pt x="-336" y="-163"/>
                  </a:cubicBezTo>
                  <a:close/>
                </a:path>
              </a:pathLst>
            </a:custGeom>
            <a:solidFill>
              <a:srgbClr val="BF4200"/>
            </a:solidFill>
            <a:ln w="9525" cap="flat">
              <a:noFill/>
              <a:prstDash val="solid"/>
              <a:miter/>
            </a:ln>
          </p:spPr>
          <p:txBody>
            <a:bodyPr rtlCol="0" anchor="ctr"/>
            <a:lstStyle/>
            <a:p>
              <a:endParaRPr lang="zh-CN" altLang="en-US"/>
            </a:p>
          </p:txBody>
        </p:sp>
        <p:sp>
          <p:nvSpPr>
            <p:cNvPr id="272" name="ïśḷïḓé">
              <a:extLst>
                <a:ext uri="{FF2B5EF4-FFF2-40B4-BE49-F238E27FC236}">
                  <a16:creationId xmlns:a16="http://schemas.microsoft.com/office/drawing/2014/main" id="{B9A2DCE9-97D5-48F2-9DBF-FD0D8233B9B5}"/>
                </a:ext>
              </a:extLst>
            </p:cNvPr>
            <p:cNvSpPr/>
            <p:nvPr/>
          </p:nvSpPr>
          <p:spPr>
            <a:xfrm>
              <a:off x="5155355" y="4683839"/>
              <a:ext cx="140036" cy="81035"/>
            </a:xfrm>
            <a:custGeom>
              <a:avLst/>
              <a:gdLst>
                <a:gd name="connsiteX0" fmla="*/ -336 w 46005"/>
                <a:gd name="connsiteY0" fmla="*/ 10196 h 26622"/>
                <a:gd name="connsiteX1" fmla="*/ 1188 w 46005"/>
                <a:gd name="connsiteY1" fmla="*/ 12482 h 26622"/>
                <a:gd name="connsiteX2" fmla="*/ 3569 w 46005"/>
                <a:gd name="connsiteY2" fmla="*/ 13815 h 26622"/>
                <a:gd name="connsiteX3" fmla="*/ 23762 w 46005"/>
                <a:gd name="connsiteY3" fmla="*/ 25531 h 26622"/>
                <a:gd name="connsiteX4" fmla="*/ 31477 w 46005"/>
                <a:gd name="connsiteY4" fmla="*/ 25531 h 26622"/>
                <a:gd name="connsiteX5" fmla="*/ 41669 w 46005"/>
                <a:gd name="connsiteY5" fmla="*/ 19530 h 26622"/>
                <a:gd name="connsiteX6" fmla="*/ 44146 w 46005"/>
                <a:gd name="connsiteY6" fmla="*/ 18197 h 26622"/>
                <a:gd name="connsiteX7" fmla="*/ 45669 w 46005"/>
                <a:gd name="connsiteY7" fmla="*/ 16578 h 26622"/>
                <a:gd name="connsiteX8" fmla="*/ 45669 w 46005"/>
                <a:gd name="connsiteY8" fmla="*/ 15435 h 26622"/>
                <a:gd name="connsiteX9" fmla="*/ 44146 w 46005"/>
                <a:gd name="connsiteY9" fmla="*/ 13720 h 26622"/>
                <a:gd name="connsiteX10" fmla="*/ 21476 w 46005"/>
                <a:gd name="connsiteY10" fmla="*/ 766 h 26622"/>
                <a:gd name="connsiteX11" fmla="*/ 13856 w 46005"/>
                <a:gd name="connsiteY11" fmla="*/ 766 h 26622"/>
                <a:gd name="connsiteX12" fmla="*/ 1188 w 46005"/>
                <a:gd name="connsiteY12" fmla="*/ 8005 h 26622"/>
                <a:gd name="connsiteX13" fmla="*/ -336 w 46005"/>
                <a:gd name="connsiteY13" fmla="*/ 10196 h 26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005" h="26622">
                  <a:moveTo>
                    <a:pt x="-336" y="10196"/>
                  </a:moveTo>
                  <a:cubicBezTo>
                    <a:pt x="-308" y="11186"/>
                    <a:pt x="283" y="12082"/>
                    <a:pt x="1188" y="12482"/>
                  </a:cubicBezTo>
                  <a:lnTo>
                    <a:pt x="3569" y="13815"/>
                  </a:lnTo>
                  <a:lnTo>
                    <a:pt x="23762" y="25531"/>
                  </a:lnTo>
                  <a:cubicBezTo>
                    <a:pt x="26181" y="26769"/>
                    <a:pt x="29058" y="26769"/>
                    <a:pt x="31477" y="25531"/>
                  </a:cubicBezTo>
                  <a:lnTo>
                    <a:pt x="41669" y="19530"/>
                  </a:lnTo>
                  <a:lnTo>
                    <a:pt x="44146" y="18197"/>
                  </a:lnTo>
                  <a:cubicBezTo>
                    <a:pt x="44860" y="17892"/>
                    <a:pt x="45412" y="17311"/>
                    <a:pt x="45669" y="16578"/>
                  </a:cubicBezTo>
                  <a:lnTo>
                    <a:pt x="45669" y="15435"/>
                  </a:lnTo>
                  <a:cubicBezTo>
                    <a:pt x="45365" y="14711"/>
                    <a:pt x="44822" y="14111"/>
                    <a:pt x="44146" y="13720"/>
                  </a:cubicBezTo>
                  <a:lnTo>
                    <a:pt x="21476" y="766"/>
                  </a:lnTo>
                  <a:cubicBezTo>
                    <a:pt x="19085" y="-472"/>
                    <a:pt x="16247" y="-472"/>
                    <a:pt x="13856" y="766"/>
                  </a:cubicBezTo>
                  <a:lnTo>
                    <a:pt x="1188" y="8005"/>
                  </a:lnTo>
                  <a:cubicBezTo>
                    <a:pt x="340" y="8424"/>
                    <a:pt x="-241" y="925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273" name="iṣḷîḋe">
              <a:extLst>
                <a:ext uri="{FF2B5EF4-FFF2-40B4-BE49-F238E27FC236}">
                  <a16:creationId xmlns:a16="http://schemas.microsoft.com/office/drawing/2014/main" id="{A7217BBC-9F2C-4A44-A0B3-3C2F2428D2EE}"/>
                </a:ext>
              </a:extLst>
            </p:cNvPr>
            <p:cNvSpPr/>
            <p:nvPr/>
          </p:nvSpPr>
          <p:spPr>
            <a:xfrm>
              <a:off x="5158067" y="4684926"/>
              <a:ext cx="136018" cy="78570"/>
            </a:xfrm>
            <a:custGeom>
              <a:avLst/>
              <a:gdLst>
                <a:gd name="connsiteX0" fmla="*/ 23252 w 44685"/>
                <a:gd name="connsiteY0" fmla="*/ 24793 h 25812"/>
                <a:gd name="connsiteX1" fmla="*/ 1154 w 44685"/>
                <a:gd name="connsiteY1" fmla="*/ 12029 h 25812"/>
                <a:gd name="connsiteX2" fmla="*/ -189 w 44685"/>
                <a:gd name="connsiteY2" fmla="*/ 9096 h 25812"/>
                <a:gd name="connsiteX3" fmla="*/ 1154 w 44685"/>
                <a:gd name="connsiteY3" fmla="*/ 7743 h 25812"/>
                <a:gd name="connsiteX4" fmla="*/ 13250 w 44685"/>
                <a:gd name="connsiteY4" fmla="*/ 695 h 25812"/>
                <a:gd name="connsiteX5" fmla="*/ 20680 w 44685"/>
                <a:gd name="connsiteY5" fmla="*/ 695 h 25812"/>
                <a:gd name="connsiteX6" fmla="*/ 42778 w 44685"/>
                <a:gd name="connsiteY6" fmla="*/ 13458 h 25812"/>
                <a:gd name="connsiteX7" fmla="*/ 42778 w 44685"/>
                <a:gd name="connsiteY7" fmla="*/ 17744 h 25812"/>
                <a:gd name="connsiteX8" fmla="*/ 30681 w 44685"/>
                <a:gd name="connsiteY8" fmla="*/ 24793 h 25812"/>
                <a:gd name="connsiteX9" fmla="*/ 23252 w 44685"/>
                <a:gd name="connsiteY9" fmla="*/ 24793 h 25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4685" h="25812">
                  <a:moveTo>
                    <a:pt x="23252" y="24793"/>
                  </a:moveTo>
                  <a:lnTo>
                    <a:pt x="1154" y="12029"/>
                  </a:lnTo>
                  <a:cubicBezTo>
                    <a:pt x="-27" y="11591"/>
                    <a:pt x="-637" y="10277"/>
                    <a:pt x="-189" y="9096"/>
                  </a:cubicBezTo>
                  <a:cubicBezTo>
                    <a:pt x="39" y="8467"/>
                    <a:pt x="535" y="7972"/>
                    <a:pt x="1154" y="7743"/>
                  </a:cubicBezTo>
                  <a:lnTo>
                    <a:pt x="13250" y="695"/>
                  </a:lnTo>
                  <a:cubicBezTo>
                    <a:pt x="15594" y="-448"/>
                    <a:pt x="18337" y="-448"/>
                    <a:pt x="20680" y="695"/>
                  </a:cubicBezTo>
                  <a:lnTo>
                    <a:pt x="42778" y="13458"/>
                  </a:lnTo>
                  <a:cubicBezTo>
                    <a:pt x="44873" y="14696"/>
                    <a:pt x="44873" y="16601"/>
                    <a:pt x="42778" y="17744"/>
                  </a:cubicBezTo>
                  <a:lnTo>
                    <a:pt x="30681" y="24793"/>
                  </a:lnTo>
                  <a:cubicBezTo>
                    <a:pt x="28338" y="25936"/>
                    <a:pt x="25595" y="25936"/>
                    <a:pt x="23252" y="24793"/>
                  </a:cubicBezTo>
                  <a:close/>
                </a:path>
              </a:pathLst>
            </a:custGeom>
            <a:solidFill>
              <a:srgbClr val="D1D9E8"/>
            </a:solidFill>
            <a:ln w="9525" cap="flat">
              <a:noFill/>
              <a:prstDash val="solid"/>
              <a:miter/>
            </a:ln>
          </p:spPr>
          <p:txBody>
            <a:bodyPr rtlCol="0" anchor="ctr"/>
            <a:lstStyle/>
            <a:p>
              <a:endParaRPr lang="zh-CN" altLang="en-US"/>
            </a:p>
          </p:txBody>
        </p:sp>
        <p:sp>
          <p:nvSpPr>
            <p:cNvPr id="274" name="ïSḷíďê">
              <a:extLst>
                <a:ext uri="{FF2B5EF4-FFF2-40B4-BE49-F238E27FC236}">
                  <a16:creationId xmlns:a16="http://schemas.microsoft.com/office/drawing/2014/main" id="{6C3CEE34-9F7F-4FAF-95D7-F636E3D58B8B}"/>
                </a:ext>
              </a:extLst>
            </p:cNvPr>
            <p:cNvSpPr/>
            <p:nvPr/>
          </p:nvSpPr>
          <p:spPr>
            <a:xfrm>
              <a:off x="5155355" y="4715368"/>
              <a:ext cx="140036" cy="71249"/>
            </a:xfrm>
            <a:custGeom>
              <a:avLst/>
              <a:gdLst>
                <a:gd name="connsiteX0" fmla="*/ -336 w 46005"/>
                <a:gd name="connsiteY0" fmla="*/ -163 h 23407"/>
                <a:gd name="connsiteX1" fmla="*/ -336 w 46005"/>
                <a:gd name="connsiteY1" fmla="*/ 7076 h 23407"/>
                <a:gd name="connsiteX2" fmla="*/ 1188 w 46005"/>
                <a:gd name="connsiteY2" fmla="*/ 9267 h 23407"/>
                <a:gd name="connsiteX3" fmla="*/ 23762 w 46005"/>
                <a:gd name="connsiteY3" fmla="*/ 22317 h 23407"/>
                <a:gd name="connsiteX4" fmla="*/ 31477 w 46005"/>
                <a:gd name="connsiteY4" fmla="*/ 22317 h 23407"/>
                <a:gd name="connsiteX5" fmla="*/ 44146 w 46005"/>
                <a:gd name="connsiteY5" fmla="*/ 14982 h 23407"/>
                <a:gd name="connsiteX6" fmla="*/ 45669 w 46005"/>
                <a:gd name="connsiteY6" fmla="*/ 13363 h 23407"/>
                <a:gd name="connsiteX7" fmla="*/ 45669 w 46005"/>
                <a:gd name="connsiteY7" fmla="*/ 6219 h 23407"/>
                <a:gd name="connsiteX8" fmla="*/ 44146 w 46005"/>
                <a:gd name="connsiteY8" fmla="*/ 7838 h 23407"/>
                <a:gd name="connsiteX9" fmla="*/ 41669 w 46005"/>
                <a:gd name="connsiteY9" fmla="*/ 9172 h 23407"/>
                <a:gd name="connsiteX10" fmla="*/ 31477 w 46005"/>
                <a:gd name="connsiteY10" fmla="*/ 15173 h 23407"/>
                <a:gd name="connsiteX11" fmla="*/ 23762 w 46005"/>
                <a:gd name="connsiteY11" fmla="*/ 15173 h 23407"/>
                <a:gd name="connsiteX12" fmla="*/ 3569 w 46005"/>
                <a:gd name="connsiteY12" fmla="*/ 3457 h 23407"/>
                <a:gd name="connsiteX13" fmla="*/ 1188 w 46005"/>
                <a:gd name="connsiteY13" fmla="*/ 2124 h 23407"/>
                <a:gd name="connsiteX14" fmla="*/ -336 w 46005"/>
                <a:gd name="connsiteY14" fmla="*/ -163 h 234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6005" h="23407">
                  <a:moveTo>
                    <a:pt x="-336" y="-163"/>
                  </a:moveTo>
                  <a:lnTo>
                    <a:pt x="-336" y="7076"/>
                  </a:lnTo>
                  <a:cubicBezTo>
                    <a:pt x="-279" y="8029"/>
                    <a:pt x="311" y="8877"/>
                    <a:pt x="1188" y="9267"/>
                  </a:cubicBezTo>
                  <a:lnTo>
                    <a:pt x="23762" y="22317"/>
                  </a:lnTo>
                  <a:cubicBezTo>
                    <a:pt x="26181" y="23555"/>
                    <a:pt x="29058" y="23555"/>
                    <a:pt x="31477" y="22317"/>
                  </a:cubicBezTo>
                  <a:lnTo>
                    <a:pt x="44146" y="14982"/>
                  </a:lnTo>
                  <a:cubicBezTo>
                    <a:pt x="44822" y="14630"/>
                    <a:pt x="45355" y="14058"/>
                    <a:pt x="45669" y="13363"/>
                  </a:cubicBezTo>
                  <a:lnTo>
                    <a:pt x="45669" y="6219"/>
                  </a:lnTo>
                  <a:cubicBezTo>
                    <a:pt x="45412" y="6953"/>
                    <a:pt x="44860" y="7534"/>
                    <a:pt x="44146" y="7838"/>
                  </a:cubicBezTo>
                  <a:lnTo>
                    <a:pt x="41669" y="9172"/>
                  </a:lnTo>
                  <a:lnTo>
                    <a:pt x="31477" y="15173"/>
                  </a:lnTo>
                  <a:cubicBezTo>
                    <a:pt x="29058" y="16411"/>
                    <a:pt x="26181" y="16411"/>
                    <a:pt x="23762" y="15173"/>
                  </a:cubicBezTo>
                  <a:lnTo>
                    <a:pt x="3569" y="3457"/>
                  </a:lnTo>
                  <a:lnTo>
                    <a:pt x="1188" y="2124"/>
                  </a:lnTo>
                  <a:cubicBezTo>
                    <a:pt x="283" y="1723"/>
                    <a:pt x="-308"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275" name="íšḻiḍè">
              <a:extLst>
                <a:ext uri="{FF2B5EF4-FFF2-40B4-BE49-F238E27FC236}">
                  <a16:creationId xmlns:a16="http://schemas.microsoft.com/office/drawing/2014/main" id="{46A8669B-CD11-4B1A-9AB6-80BDE928FDDC}"/>
                </a:ext>
              </a:extLst>
            </p:cNvPr>
            <p:cNvSpPr/>
            <p:nvPr/>
          </p:nvSpPr>
          <p:spPr>
            <a:xfrm>
              <a:off x="5264952" y="4746465"/>
              <a:ext cx="109594" cy="63639"/>
            </a:xfrm>
            <a:custGeom>
              <a:avLst/>
              <a:gdLst>
                <a:gd name="connsiteX0" fmla="*/ -336 w 36004"/>
                <a:gd name="connsiteY0" fmla="*/ 10291 h 20907"/>
                <a:gd name="connsiteX1" fmla="*/ 1188 w 36004"/>
                <a:gd name="connsiteY1" fmla="*/ 12577 h 20907"/>
                <a:gd name="connsiteX2" fmla="*/ 3569 w 36004"/>
                <a:gd name="connsiteY2" fmla="*/ 13911 h 20907"/>
                <a:gd name="connsiteX3" fmla="*/ 13856 w 36004"/>
                <a:gd name="connsiteY3" fmla="*/ 19816 h 20907"/>
                <a:gd name="connsiteX4" fmla="*/ 21476 w 36004"/>
                <a:gd name="connsiteY4" fmla="*/ 19816 h 20907"/>
                <a:gd name="connsiteX5" fmla="*/ 31763 w 36004"/>
                <a:gd name="connsiteY5" fmla="*/ 13911 h 20907"/>
                <a:gd name="connsiteX6" fmla="*/ 34144 w 36004"/>
                <a:gd name="connsiteY6" fmla="*/ 12577 h 20907"/>
                <a:gd name="connsiteX7" fmla="*/ 35668 w 36004"/>
                <a:gd name="connsiteY7" fmla="*/ 10291 h 20907"/>
                <a:gd name="connsiteX8" fmla="*/ 34144 w 36004"/>
                <a:gd name="connsiteY8" fmla="*/ 8100 h 20907"/>
                <a:gd name="connsiteX9" fmla="*/ 21476 w 36004"/>
                <a:gd name="connsiteY9" fmla="*/ 766 h 20907"/>
                <a:gd name="connsiteX10" fmla="*/ 13856 w 36004"/>
                <a:gd name="connsiteY10" fmla="*/ 766 h 20907"/>
                <a:gd name="connsiteX11" fmla="*/ 1188 w 36004"/>
                <a:gd name="connsiteY11" fmla="*/ 8100 h 20907"/>
                <a:gd name="connsiteX12" fmla="*/ -336 w 36004"/>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907">
                  <a:moveTo>
                    <a:pt x="-336" y="10291"/>
                  </a:moveTo>
                  <a:cubicBezTo>
                    <a:pt x="-270" y="11272"/>
                    <a:pt x="311" y="12139"/>
                    <a:pt x="1188" y="12577"/>
                  </a:cubicBezTo>
                  <a:lnTo>
                    <a:pt x="3569" y="13911"/>
                  </a:lnTo>
                  <a:lnTo>
                    <a:pt x="13856" y="19816"/>
                  </a:lnTo>
                  <a:cubicBezTo>
                    <a:pt x="16247" y="21054"/>
                    <a:pt x="19085" y="21054"/>
                    <a:pt x="21476" y="19816"/>
                  </a:cubicBezTo>
                  <a:lnTo>
                    <a:pt x="31763" y="13911"/>
                  </a:lnTo>
                  <a:lnTo>
                    <a:pt x="34144" y="12577"/>
                  </a:lnTo>
                  <a:cubicBezTo>
                    <a:pt x="35021" y="12139"/>
                    <a:pt x="35602" y="11272"/>
                    <a:pt x="35668" y="10291"/>
                  </a:cubicBezTo>
                  <a:cubicBezTo>
                    <a:pt x="35611" y="9339"/>
                    <a:pt x="35021" y="8491"/>
                    <a:pt x="34144" y="8100"/>
                  </a:cubicBezTo>
                  <a:lnTo>
                    <a:pt x="21476" y="766"/>
                  </a:lnTo>
                  <a:cubicBezTo>
                    <a:pt x="19085" y="-472"/>
                    <a:pt x="16247" y="-472"/>
                    <a:pt x="13856" y="766"/>
                  </a:cubicBezTo>
                  <a:lnTo>
                    <a:pt x="1188" y="8100"/>
                  </a:lnTo>
                  <a:cubicBezTo>
                    <a:pt x="311" y="8491"/>
                    <a:pt x="-279"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276" name="işḻiḓè">
              <a:extLst>
                <a:ext uri="{FF2B5EF4-FFF2-40B4-BE49-F238E27FC236}">
                  <a16:creationId xmlns:a16="http://schemas.microsoft.com/office/drawing/2014/main" id="{A2BE114F-84B5-4D75-9AD9-76346C6D832C}"/>
                </a:ext>
              </a:extLst>
            </p:cNvPr>
            <p:cNvSpPr/>
            <p:nvPr/>
          </p:nvSpPr>
          <p:spPr>
            <a:xfrm>
              <a:off x="5266763" y="4747624"/>
              <a:ext cx="105895" cy="61101"/>
            </a:xfrm>
            <a:custGeom>
              <a:avLst/>
              <a:gdLst>
                <a:gd name="connsiteX0" fmla="*/ 1164 w 34789"/>
                <a:gd name="connsiteY0" fmla="*/ 12006 h 20073"/>
                <a:gd name="connsiteX1" fmla="*/ 13356 w 34789"/>
                <a:gd name="connsiteY1" fmla="*/ 19054 h 20073"/>
                <a:gd name="connsiteX2" fmla="*/ 20785 w 34789"/>
                <a:gd name="connsiteY2" fmla="*/ 19054 h 20073"/>
                <a:gd name="connsiteX3" fmla="*/ 32882 w 34789"/>
                <a:gd name="connsiteY3" fmla="*/ 12006 h 20073"/>
                <a:gd name="connsiteX4" fmla="*/ 32882 w 34789"/>
                <a:gd name="connsiteY4" fmla="*/ 7719 h 20073"/>
                <a:gd name="connsiteX5" fmla="*/ 20785 w 34789"/>
                <a:gd name="connsiteY5" fmla="*/ 766 h 20073"/>
                <a:gd name="connsiteX6" fmla="*/ 13356 w 34789"/>
                <a:gd name="connsiteY6" fmla="*/ 766 h 20073"/>
                <a:gd name="connsiteX7" fmla="*/ 1164 w 34789"/>
                <a:gd name="connsiteY7" fmla="*/ 7719 h 20073"/>
                <a:gd name="connsiteX8" fmla="*/ 1164 w 34789"/>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89" h="20073">
                  <a:moveTo>
                    <a:pt x="1164" y="12006"/>
                  </a:moveTo>
                  <a:lnTo>
                    <a:pt x="13356" y="19054"/>
                  </a:lnTo>
                  <a:cubicBezTo>
                    <a:pt x="15699" y="20197"/>
                    <a:pt x="18442" y="20197"/>
                    <a:pt x="20785" y="19054"/>
                  </a:cubicBezTo>
                  <a:lnTo>
                    <a:pt x="32882" y="12006"/>
                  </a:lnTo>
                  <a:cubicBezTo>
                    <a:pt x="34977" y="10863"/>
                    <a:pt x="34977" y="8958"/>
                    <a:pt x="32882" y="7719"/>
                  </a:cubicBezTo>
                  <a:lnTo>
                    <a:pt x="20785" y="766"/>
                  </a:lnTo>
                  <a:cubicBezTo>
                    <a:pt x="18461" y="-472"/>
                    <a:pt x="15680" y="-472"/>
                    <a:pt x="13356" y="766"/>
                  </a:cubicBezTo>
                  <a:lnTo>
                    <a:pt x="1164" y="7719"/>
                  </a:lnTo>
                  <a:cubicBezTo>
                    <a:pt x="-836" y="8958"/>
                    <a:pt x="-836" y="10863"/>
                    <a:pt x="1164" y="12006"/>
                  </a:cubicBezTo>
                  <a:close/>
                </a:path>
              </a:pathLst>
            </a:custGeom>
            <a:solidFill>
              <a:srgbClr val="D1D9E8"/>
            </a:solidFill>
            <a:ln w="9525" cap="flat">
              <a:noFill/>
              <a:prstDash val="solid"/>
              <a:miter/>
            </a:ln>
          </p:spPr>
          <p:txBody>
            <a:bodyPr rtlCol="0" anchor="ctr"/>
            <a:lstStyle/>
            <a:p>
              <a:endParaRPr lang="zh-CN" altLang="en-US"/>
            </a:p>
          </p:txBody>
        </p:sp>
        <p:sp>
          <p:nvSpPr>
            <p:cNvPr id="277" name="ïS1îḋê">
              <a:extLst>
                <a:ext uri="{FF2B5EF4-FFF2-40B4-BE49-F238E27FC236}">
                  <a16:creationId xmlns:a16="http://schemas.microsoft.com/office/drawing/2014/main" id="{5660B487-97B7-4B9C-B7B8-01E65C547B2E}"/>
                </a:ext>
              </a:extLst>
            </p:cNvPr>
            <p:cNvSpPr/>
            <p:nvPr/>
          </p:nvSpPr>
          <p:spPr>
            <a:xfrm>
              <a:off x="5264952" y="4778286"/>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3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3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2" y="7953"/>
                    <a:pt x="35668" y="6981"/>
                  </a:cubicBezTo>
                  <a:lnTo>
                    <a:pt x="35668" y="-163"/>
                  </a:lnTo>
                  <a:cubicBezTo>
                    <a:pt x="35602" y="818"/>
                    <a:pt x="35021" y="1685"/>
                    <a:pt x="34144" y="2123"/>
                  </a:cubicBezTo>
                  <a:lnTo>
                    <a:pt x="31763" y="3457"/>
                  </a:lnTo>
                  <a:lnTo>
                    <a:pt x="21476" y="9362"/>
                  </a:lnTo>
                  <a:cubicBezTo>
                    <a:pt x="19085" y="10601"/>
                    <a:pt x="16247" y="10601"/>
                    <a:pt x="13856" y="9362"/>
                  </a:cubicBezTo>
                  <a:lnTo>
                    <a:pt x="3569" y="3457"/>
                  </a:lnTo>
                  <a:lnTo>
                    <a:pt x="1188"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278" name="íS1ïḋê">
              <a:extLst>
                <a:ext uri="{FF2B5EF4-FFF2-40B4-BE49-F238E27FC236}">
                  <a16:creationId xmlns:a16="http://schemas.microsoft.com/office/drawing/2014/main" id="{2E144386-4F20-4EED-AE27-1B5AA8981574}"/>
                </a:ext>
              </a:extLst>
            </p:cNvPr>
            <p:cNvSpPr/>
            <p:nvPr/>
          </p:nvSpPr>
          <p:spPr>
            <a:xfrm>
              <a:off x="5342073" y="4791116"/>
              <a:ext cx="109883" cy="63588"/>
            </a:xfrm>
            <a:custGeom>
              <a:avLst/>
              <a:gdLst>
                <a:gd name="connsiteX0" fmla="*/ -336 w 36099"/>
                <a:gd name="connsiteY0" fmla="*/ 10291 h 20890"/>
                <a:gd name="connsiteX1" fmla="*/ 1283 w 36099"/>
                <a:gd name="connsiteY1" fmla="*/ 12577 h 20890"/>
                <a:gd name="connsiteX2" fmla="*/ 3569 w 36099"/>
                <a:gd name="connsiteY2" fmla="*/ 13910 h 20890"/>
                <a:gd name="connsiteX3" fmla="*/ 13856 w 36099"/>
                <a:gd name="connsiteY3" fmla="*/ 19721 h 20890"/>
                <a:gd name="connsiteX4" fmla="*/ 21571 w 36099"/>
                <a:gd name="connsiteY4" fmla="*/ 19721 h 20890"/>
                <a:gd name="connsiteX5" fmla="*/ 31858 w 36099"/>
                <a:gd name="connsiteY5" fmla="*/ 13910 h 20890"/>
                <a:gd name="connsiteX6" fmla="*/ 34144 w 36099"/>
                <a:gd name="connsiteY6" fmla="*/ 12577 h 20890"/>
                <a:gd name="connsiteX7" fmla="*/ 35764 w 36099"/>
                <a:gd name="connsiteY7" fmla="*/ 10291 h 20890"/>
                <a:gd name="connsiteX8" fmla="*/ 34144 w 36099"/>
                <a:gd name="connsiteY8" fmla="*/ 8100 h 20890"/>
                <a:gd name="connsiteX9" fmla="*/ 21571 w 36099"/>
                <a:gd name="connsiteY9" fmla="*/ 766 h 20890"/>
                <a:gd name="connsiteX10" fmla="*/ 13856 w 36099"/>
                <a:gd name="connsiteY10" fmla="*/ 766 h 20890"/>
                <a:gd name="connsiteX11" fmla="*/ 1283 w 36099"/>
                <a:gd name="connsiteY11" fmla="*/ 8100 h 20890"/>
                <a:gd name="connsiteX12" fmla="*/ -336 w 36099"/>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99" h="20890">
                  <a:moveTo>
                    <a:pt x="-336" y="10291"/>
                  </a:moveTo>
                  <a:cubicBezTo>
                    <a:pt x="-270" y="11301"/>
                    <a:pt x="359" y="12186"/>
                    <a:pt x="1283" y="12577"/>
                  </a:cubicBezTo>
                  <a:lnTo>
                    <a:pt x="3569" y="13910"/>
                  </a:lnTo>
                  <a:lnTo>
                    <a:pt x="13856" y="19721"/>
                  </a:lnTo>
                  <a:cubicBezTo>
                    <a:pt x="16256" y="21064"/>
                    <a:pt x="19171" y="21064"/>
                    <a:pt x="21571" y="19721"/>
                  </a:cubicBezTo>
                  <a:lnTo>
                    <a:pt x="31858" y="13910"/>
                  </a:lnTo>
                  <a:lnTo>
                    <a:pt x="34144" y="12577"/>
                  </a:lnTo>
                  <a:cubicBezTo>
                    <a:pt x="35049" y="12148"/>
                    <a:pt x="35659" y="11282"/>
                    <a:pt x="35764" y="10291"/>
                  </a:cubicBezTo>
                  <a:cubicBezTo>
                    <a:pt x="35687" y="9310"/>
                    <a:pt x="35059" y="8462"/>
                    <a:pt x="34144" y="8100"/>
                  </a:cubicBezTo>
                  <a:lnTo>
                    <a:pt x="21571" y="766"/>
                  </a:lnTo>
                  <a:cubicBezTo>
                    <a:pt x="19152" y="-472"/>
                    <a:pt x="16275" y="-472"/>
                    <a:pt x="13856" y="766"/>
                  </a:cubicBezTo>
                  <a:lnTo>
                    <a:pt x="1283" y="8100"/>
                  </a:lnTo>
                  <a:cubicBezTo>
                    <a:pt x="349" y="8443"/>
                    <a:pt x="-279" y="9301"/>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279" name="íślîḋé">
              <a:extLst>
                <a:ext uri="{FF2B5EF4-FFF2-40B4-BE49-F238E27FC236}">
                  <a16:creationId xmlns:a16="http://schemas.microsoft.com/office/drawing/2014/main" id="{3CE35BFA-6244-483D-964E-556D252F3B53}"/>
                </a:ext>
              </a:extLst>
            </p:cNvPr>
            <p:cNvSpPr/>
            <p:nvPr/>
          </p:nvSpPr>
          <p:spPr>
            <a:xfrm>
              <a:off x="5343957" y="4792273"/>
              <a:ext cx="105895" cy="61104"/>
            </a:xfrm>
            <a:custGeom>
              <a:avLst/>
              <a:gdLst>
                <a:gd name="connsiteX0" fmla="*/ 1235 w 34789"/>
                <a:gd name="connsiteY0" fmla="*/ 12006 h 20074"/>
                <a:gd name="connsiteX1" fmla="*/ 13332 w 34789"/>
                <a:gd name="connsiteY1" fmla="*/ 19054 h 20074"/>
                <a:gd name="connsiteX2" fmla="*/ 20761 w 34789"/>
                <a:gd name="connsiteY2" fmla="*/ 19054 h 20074"/>
                <a:gd name="connsiteX3" fmla="*/ 32953 w 34789"/>
                <a:gd name="connsiteY3" fmla="*/ 12006 h 20074"/>
                <a:gd name="connsiteX4" fmla="*/ 32953 w 34789"/>
                <a:gd name="connsiteY4" fmla="*/ 7719 h 20074"/>
                <a:gd name="connsiteX5" fmla="*/ 20761 w 34789"/>
                <a:gd name="connsiteY5" fmla="*/ 766 h 20074"/>
                <a:gd name="connsiteX6" fmla="*/ 13332 w 34789"/>
                <a:gd name="connsiteY6" fmla="*/ 766 h 20074"/>
                <a:gd name="connsiteX7" fmla="*/ 1235 w 34789"/>
                <a:gd name="connsiteY7" fmla="*/ 7719 h 20074"/>
                <a:gd name="connsiteX8" fmla="*/ 1235 w 34789"/>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89" h="20074">
                  <a:moveTo>
                    <a:pt x="1235" y="12006"/>
                  </a:moveTo>
                  <a:lnTo>
                    <a:pt x="13332" y="19054"/>
                  </a:lnTo>
                  <a:cubicBezTo>
                    <a:pt x="15675" y="20197"/>
                    <a:pt x="18418" y="20197"/>
                    <a:pt x="20761" y="19054"/>
                  </a:cubicBezTo>
                  <a:lnTo>
                    <a:pt x="32953" y="12006"/>
                  </a:lnTo>
                  <a:cubicBezTo>
                    <a:pt x="34954" y="10863"/>
                    <a:pt x="34954" y="8958"/>
                    <a:pt x="32953" y="7719"/>
                  </a:cubicBezTo>
                  <a:lnTo>
                    <a:pt x="20761" y="766"/>
                  </a:lnTo>
                  <a:cubicBezTo>
                    <a:pt x="18437" y="-472"/>
                    <a:pt x="15656" y="-472"/>
                    <a:pt x="13332" y="766"/>
                  </a:cubicBezTo>
                  <a:lnTo>
                    <a:pt x="1235" y="7719"/>
                  </a:lnTo>
                  <a:cubicBezTo>
                    <a:pt x="-860" y="8958"/>
                    <a:pt x="-860" y="11244"/>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280" name="îṥľîḍê">
              <a:extLst>
                <a:ext uri="{FF2B5EF4-FFF2-40B4-BE49-F238E27FC236}">
                  <a16:creationId xmlns:a16="http://schemas.microsoft.com/office/drawing/2014/main" id="{18667210-224F-4A97-A748-8C9E311FC3DF}"/>
                </a:ext>
              </a:extLst>
            </p:cNvPr>
            <p:cNvSpPr/>
            <p:nvPr/>
          </p:nvSpPr>
          <p:spPr>
            <a:xfrm>
              <a:off x="5342073" y="4822934"/>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4 w 36099"/>
                <a:gd name="connsiteY6" fmla="*/ 6981 h 17597"/>
                <a:gd name="connsiteX7" fmla="*/ 35764 w 36099"/>
                <a:gd name="connsiteY7" fmla="*/ -163 h 17597"/>
                <a:gd name="connsiteX8" fmla="*/ 34144 w 36099"/>
                <a:gd name="connsiteY8" fmla="*/ 2124 h 17597"/>
                <a:gd name="connsiteX9" fmla="*/ 31858 w 36099"/>
                <a:gd name="connsiteY9" fmla="*/ 3457 h 17597"/>
                <a:gd name="connsiteX10" fmla="*/ 21571 w 36099"/>
                <a:gd name="connsiteY10" fmla="*/ 9267 h 17597"/>
                <a:gd name="connsiteX11" fmla="*/ 13856 w 36099"/>
                <a:gd name="connsiteY11" fmla="*/ 9267 h 17597"/>
                <a:gd name="connsiteX12" fmla="*/ 3569 w 36099"/>
                <a:gd name="connsiteY12" fmla="*/ 3457 h 17597"/>
                <a:gd name="connsiteX13" fmla="*/ 1283 w 36099"/>
                <a:gd name="connsiteY13" fmla="*/ 2124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41" y="8048"/>
                    <a:pt x="387" y="8886"/>
                    <a:pt x="1283" y="9267"/>
                  </a:cubicBezTo>
                  <a:lnTo>
                    <a:pt x="13856" y="16506"/>
                  </a:lnTo>
                  <a:cubicBezTo>
                    <a:pt x="16275" y="17744"/>
                    <a:pt x="19152" y="17744"/>
                    <a:pt x="21571" y="16506"/>
                  </a:cubicBezTo>
                  <a:lnTo>
                    <a:pt x="34144" y="9267"/>
                  </a:lnTo>
                  <a:cubicBezTo>
                    <a:pt x="35030" y="8829"/>
                    <a:pt x="35640" y="7972"/>
                    <a:pt x="35764" y="6981"/>
                  </a:cubicBezTo>
                  <a:lnTo>
                    <a:pt x="35764" y="-163"/>
                  </a:lnTo>
                  <a:cubicBezTo>
                    <a:pt x="35659" y="828"/>
                    <a:pt x="35049" y="1695"/>
                    <a:pt x="34144" y="2124"/>
                  </a:cubicBezTo>
                  <a:lnTo>
                    <a:pt x="31858" y="3457"/>
                  </a:lnTo>
                  <a:lnTo>
                    <a:pt x="21571" y="9267"/>
                  </a:lnTo>
                  <a:cubicBezTo>
                    <a:pt x="19171" y="10610"/>
                    <a:pt x="16256" y="10610"/>
                    <a:pt x="13856" y="9267"/>
                  </a:cubicBezTo>
                  <a:lnTo>
                    <a:pt x="3569" y="3457"/>
                  </a:lnTo>
                  <a:lnTo>
                    <a:pt x="1283" y="2124"/>
                  </a:lnTo>
                  <a:cubicBezTo>
                    <a:pt x="349" y="1733"/>
                    <a:pt x="-270" y="847"/>
                    <a:pt x="-336" y="-163"/>
                  </a:cubicBezTo>
                  <a:close/>
                </a:path>
              </a:pathLst>
            </a:custGeom>
            <a:solidFill>
              <a:srgbClr val="BF4200"/>
            </a:solidFill>
            <a:ln w="9525" cap="flat">
              <a:noFill/>
              <a:prstDash val="solid"/>
              <a:miter/>
            </a:ln>
          </p:spPr>
          <p:txBody>
            <a:bodyPr rtlCol="0" anchor="ctr"/>
            <a:lstStyle/>
            <a:p>
              <a:endParaRPr lang="zh-CN" altLang="en-US"/>
            </a:p>
          </p:txBody>
        </p:sp>
        <p:sp>
          <p:nvSpPr>
            <p:cNvPr id="281" name="íṧḷîḑê">
              <a:extLst>
                <a:ext uri="{FF2B5EF4-FFF2-40B4-BE49-F238E27FC236}">
                  <a16:creationId xmlns:a16="http://schemas.microsoft.com/office/drawing/2014/main" id="{CDDA62FB-5C17-43BD-982B-5ED805BEF70F}"/>
                </a:ext>
              </a:extLst>
            </p:cNvPr>
            <p:cNvSpPr/>
            <p:nvPr/>
          </p:nvSpPr>
          <p:spPr>
            <a:xfrm>
              <a:off x="5419486" y="4835764"/>
              <a:ext cx="109362" cy="63588"/>
            </a:xfrm>
            <a:custGeom>
              <a:avLst/>
              <a:gdLst>
                <a:gd name="connsiteX0" fmla="*/ -336 w 35928"/>
                <a:gd name="connsiteY0" fmla="*/ 10291 h 20890"/>
                <a:gd name="connsiteX1" fmla="*/ 1188 w 35928"/>
                <a:gd name="connsiteY1" fmla="*/ 12482 h 20890"/>
                <a:gd name="connsiteX2" fmla="*/ 3569 w 35928"/>
                <a:gd name="connsiteY2" fmla="*/ 13911 h 20890"/>
                <a:gd name="connsiteX3" fmla="*/ 13856 w 35928"/>
                <a:gd name="connsiteY3" fmla="*/ 19721 h 20890"/>
                <a:gd name="connsiteX4" fmla="*/ 21476 w 35928"/>
                <a:gd name="connsiteY4" fmla="*/ 19721 h 20890"/>
                <a:gd name="connsiteX5" fmla="*/ 31763 w 35928"/>
                <a:gd name="connsiteY5" fmla="*/ 13911 h 20890"/>
                <a:gd name="connsiteX6" fmla="*/ 34144 w 35928"/>
                <a:gd name="connsiteY6" fmla="*/ 12482 h 20890"/>
                <a:gd name="connsiteX7" fmla="*/ 35402 w 35928"/>
                <a:gd name="connsiteY7" fmla="*/ 9358 h 20890"/>
                <a:gd name="connsiteX8" fmla="*/ 34144 w 35928"/>
                <a:gd name="connsiteY8" fmla="*/ 8101 h 20890"/>
                <a:gd name="connsiteX9" fmla="*/ 21476 w 35928"/>
                <a:gd name="connsiteY9" fmla="*/ 766 h 20890"/>
                <a:gd name="connsiteX10" fmla="*/ 13856 w 35928"/>
                <a:gd name="connsiteY10" fmla="*/ 766 h 20890"/>
                <a:gd name="connsiteX11" fmla="*/ 1188 w 35928"/>
                <a:gd name="connsiteY11" fmla="*/ 8101 h 20890"/>
                <a:gd name="connsiteX12" fmla="*/ -336 w 35928"/>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928" h="20890">
                  <a:moveTo>
                    <a:pt x="-336" y="10291"/>
                  </a:moveTo>
                  <a:cubicBezTo>
                    <a:pt x="-298" y="11253"/>
                    <a:pt x="292" y="12110"/>
                    <a:pt x="1188" y="12482"/>
                  </a:cubicBezTo>
                  <a:lnTo>
                    <a:pt x="3569" y="13911"/>
                  </a:lnTo>
                  <a:lnTo>
                    <a:pt x="13856" y="19721"/>
                  </a:lnTo>
                  <a:cubicBezTo>
                    <a:pt x="16218" y="21064"/>
                    <a:pt x="19114" y="21064"/>
                    <a:pt x="21476" y="19721"/>
                  </a:cubicBezTo>
                  <a:lnTo>
                    <a:pt x="31763" y="13911"/>
                  </a:lnTo>
                  <a:lnTo>
                    <a:pt x="34144" y="12482"/>
                  </a:lnTo>
                  <a:cubicBezTo>
                    <a:pt x="35354" y="11967"/>
                    <a:pt x="35916" y="10567"/>
                    <a:pt x="35402" y="9358"/>
                  </a:cubicBezTo>
                  <a:cubicBezTo>
                    <a:pt x="35164" y="8796"/>
                    <a:pt x="34706" y="8339"/>
                    <a:pt x="34144" y="8101"/>
                  </a:cubicBezTo>
                  <a:lnTo>
                    <a:pt x="21476" y="766"/>
                  </a:lnTo>
                  <a:cubicBezTo>
                    <a:pt x="19085" y="-472"/>
                    <a:pt x="16247" y="-472"/>
                    <a:pt x="13856" y="766"/>
                  </a:cubicBezTo>
                  <a:lnTo>
                    <a:pt x="1188" y="8101"/>
                  </a:lnTo>
                  <a:cubicBezTo>
                    <a:pt x="292" y="8472"/>
                    <a:pt x="-298"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282" name="îsḷíḓe">
              <a:extLst>
                <a:ext uri="{FF2B5EF4-FFF2-40B4-BE49-F238E27FC236}">
                  <a16:creationId xmlns:a16="http://schemas.microsoft.com/office/drawing/2014/main" id="{E6F1C94E-0E80-4D98-9177-B0D35E582BA9}"/>
                </a:ext>
              </a:extLst>
            </p:cNvPr>
            <p:cNvSpPr/>
            <p:nvPr/>
          </p:nvSpPr>
          <p:spPr>
            <a:xfrm>
              <a:off x="5421370" y="4836924"/>
              <a:ext cx="105825" cy="61101"/>
            </a:xfrm>
            <a:custGeom>
              <a:avLst/>
              <a:gdLst>
                <a:gd name="connsiteX0" fmla="*/ 1235 w 34766"/>
                <a:gd name="connsiteY0" fmla="*/ 12006 h 20073"/>
                <a:gd name="connsiteX1" fmla="*/ 13332 w 34766"/>
                <a:gd name="connsiteY1" fmla="*/ 19054 h 20073"/>
                <a:gd name="connsiteX2" fmla="*/ 20762 w 34766"/>
                <a:gd name="connsiteY2" fmla="*/ 19054 h 20073"/>
                <a:gd name="connsiteX3" fmla="*/ 32858 w 34766"/>
                <a:gd name="connsiteY3" fmla="*/ 12006 h 20073"/>
                <a:gd name="connsiteX4" fmla="*/ 32858 w 34766"/>
                <a:gd name="connsiteY4" fmla="*/ 7719 h 20073"/>
                <a:gd name="connsiteX5" fmla="*/ 20762 w 34766"/>
                <a:gd name="connsiteY5" fmla="*/ 766 h 20073"/>
                <a:gd name="connsiteX6" fmla="*/ 13332 w 34766"/>
                <a:gd name="connsiteY6" fmla="*/ 766 h 20073"/>
                <a:gd name="connsiteX7" fmla="*/ 1235 w 34766"/>
                <a:gd name="connsiteY7" fmla="*/ 7719 h 20073"/>
                <a:gd name="connsiteX8" fmla="*/ 1235 w 34766"/>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6" h="20073">
                  <a:moveTo>
                    <a:pt x="1235" y="12006"/>
                  </a:moveTo>
                  <a:lnTo>
                    <a:pt x="13332" y="19054"/>
                  </a:lnTo>
                  <a:cubicBezTo>
                    <a:pt x="15675" y="20197"/>
                    <a:pt x="18419" y="20197"/>
                    <a:pt x="20762" y="19054"/>
                  </a:cubicBezTo>
                  <a:lnTo>
                    <a:pt x="32858" y="12006"/>
                  </a:lnTo>
                  <a:cubicBezTo>
                    <a:pt x="34954" y="10863"/>
                    <a:pt x="34954" y="8957"/>
                    <a:pt x="32858" y="7719"/>
                  </a:cubicBezTo>
                  <a:lnTo>
                    <a:pt x="20762" y="766"/>
                  </a:lnTo>
                  <a:cubicBezTo>
                    <a:pt x="18437" y="-472"/>
                    <a:pt x="15656" y="-472"/>
                    <a:pt x="13332" y="766"/>
                  </a:cubicBezTo>
                  <a:lnTo>
                    <a:pt x="1235" y="7719"/>
                  </a:lnTo>
                  <a:cubicBezTo>
                    <a:pt x="-860" y="8957"/>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283" name="isḷïďê">
              <a:extLst>
                <a:ext uri="{FF2B5EF4-FFF2-40B4-BE49-F238E27FC236}">
                  <a16:creationId xmlns:a16="http://schemas.microsoft.com/office/drawing/2014/main" id="{917F348F-8C5C-4721-9E55-1AF68717B1AB}"/>
                </a:ext>
              </a:extLst>
            </p:cNvPr>
            <p:cNvSpPr/>
            <p:nvPr/>
          </p:nvSpPr>
          <p:spPr>
            <a:xfrm>
              <a:off x="5419486" y="4867586"/>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028 h 17597"/>
                <a:gd name="connsiteX9" fmla="*/ 31763 w 36004"/>
                <a:gd name="connsiteY9" fmla="*/ 3457 h 17597"/>
                <a:gd name="connsiteX10" fmla="*/ 21476 w 36004"/>
                <a:gd name="connsiteY10" fmla="*/ 9267 h 17597"/>
                <a:gd name="connsiteX11" fmla="*/ 13856 w 36004"/>
                <a:gd name="connsiteY11" fmla="*/ 9267 h 17597"/>
                <a:gd name="connsiteX12" fmla="*/ 3569 w 36004"/>
                <a:gd name="connsiteY12" fmla="*/ 3457 h 17597"/>
                <a:gd name="connsiteX13" fmla="*/ 1188 w 36004"/>
                <a:gd name="connsiteY13" fmla="*/ 2028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3" y="7953"/>
                    <a:pt x="35668" y="6981"/>
                  </a:cubicBezTo>
                  <a:lnTo>
                    <a:pt x="35668" y="-163"/>
                  </a:lnTo>
                  <a:cubicBezTo>
                    <a:pt x="35630" y="800"/>
                    <a:pt x="35040" y="1657"/>
                    <a:pt x="34144" y="2028"/>
                  </a:cubicBezTo>
                  <a:lnTo>
                    <a:pt x="31763" y="3457"/>
                  </a:lnTo>
                  <a:lnTo>
                    <a:pt x="21476" y="9267"/>
                  </a:lnTo>
                  <a:cubicBezTo>
                    <a:pt x="19114" y="10610"/>
                    <a:pt x="16218" y="10610"/>
                    <a:pt x="13856" y="9267"/>
                  </a:cubicBezTo>
                  <a:lnTo>
                    <a:pt x="3569" y="3457"/>
                  </a:lnTo>
                  <a:lnTo>
                    <a:pt x="1188" y="2028"/>
                  </a:lnTo>
                  <a:cubicBezTo>
                    <a:pt x="292" y="1657"/>
                    <a:pt x="-298" y="800"/>
                    <a:pt x="-336" y="-163"/>
                  </a:cubicBezTo>
                  <a:close/>
                </a:path>
              </a:pathLst>
            </a:custGeom>
            <a:solidFill>
              <a:srgbClr val="BF4200"/>
            </a:solidFill>
            <a:ln w="9525" cap="flat">
              <a:noFill/>
              <a:prstDash val="solid"/>
              <a:miter/>
            </a:ln>
          </p:spPr>
          <p:txBody>
            <a:bodyPr rtlCol="0" anchor="ctr"/>
            <a:lstStyle/>
            <a:p>
              <a:endParaRPr lang="zh-CN" altLang="en-US"/>
            </a:p>
          </p:txBody>
        </p:sp>
        <p:sp>
          <p:nvSpPr>
            <p:cNvPr id="284" name="ïṥļiḓe">
              <a:extLst>
                <a:ext uri="{FF2B5EF4-FFF2-40B4-BE49-F238E27FC236}">
                  <a16:creationId xmlns:a16="http://schemas.microsoft.com/office/drawing/2014/main" id="{ADB9BCDD-0B22-4990-B3D6-5FCCFF58D381}"/>
                </a:ext>
              </a:extLst>
            </p:cNvPr>
            <p:cNvSpPr/>
            <p:nvPr/>
          </p:nvSpPr>
          <p:spPr>
            <a:xfrm>
              <a:off x="5496607" y="4880416"/>
              <a:ext cx="109883" cy="63588"/>
            </a:xfrm>
            <a:custGeom>
              <a:avLst/>
              <a:gdLst>
                <a:gd name="connsiteX0" fmla="*/ -336 w 36099"/>
                <a:gd name="connsiteY0" fmla="*/ 10196 h 20890"/>
                <a:gd name="connsiteX1" fmla="*/ 1283 w 36099"/>
                <a:gd name="connsiteY1" fmla="*/ 12482 h 20890"/>
                <a:gd name="connsiteX2" fmla="*/ 3569 w 36099"/>
                <a:gd name="connsiteY2" fmla="*/ 13815 h 20890"/>
                <a:gd name="connsiteX3" fmla="*/ 13856 w 36099"/>
                <a:gd name="connsiteY3" fmla="*/ 19721 h 20890"/>
                <a:gd name="connsiteX4" fmla="*/ 21571 w 36099"/>
                <a:gd name="connsiteY4" fmla="*/ 19721 h 20890"/>
                <a:gd name="connsiteX5" fmla="*/ 31858 w 36099"/>
                <a:gd name="connsiteY5" fmla="*/ 13815 h 20890"/>
                <a:gd name="connsiteX6" fmla="*/ 34144 w 36099"/>
                <a:gd name="connsiteY6" fmla="*/ 12482 h 20890"/>
                <a:gd name="connsiteX7" fmla="*/ 35764 w 36099"/>
                <a:gd name="connsiteY7" fmla="*/ 10196 h 20890"/>
                <a:gd name="connsiteX8" fmla="*/ 34144 w 36099"/>
                <a:gd name="connsiteY8" fmla="*/ 8005 h 20890"/>
                <a:gd name="connsiteX9" fmla="*/ 21571 w 36099"/>
                <a:gd name="connsiteY9" fmla="*/ 766 h 20890"/>
                <a:gd name="connsiteX10" fmla="*/ 13856 w 36099"/>
                <a:gd name="connsiteY10" fmla="*/ 766 h 20890"/>
                <a:gd name="connsiteX11" fmla="*/ 1283 w 36099"/>
                <a:gd name="connsiteY11" fmla="*/ 8005 h 20890"/>
                <a:gd name="connsiteX12" fmla="*/ -336 w 36099"/>
                <a:gd name="connsiteY12" fmla="*/ 10196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99" h="20890">
                  <a:moveTo>
                    <a:pt x="-336" y="10196"/>
                  </a:moveTo>
                  <a:cubicBezTo>
                    <a:pt x="-251" y="11196"/>
                    <a:pt x="369" y="12072"/>
                    <a:pt x="1283" y="12482"/>
                  </a:cubicBezTo>
                  <a:lnTo>
                    <a:pt x="3569" y="13815"/>
                  </a:lnTo>
                  <a:lnTo>
                    <a:pt x="13856" y="19721"/>
                  </a:lnTo>
                  <a:cubicBezTo>
                    <a:pt x="16256" y="21064"/>
                    <a:pt x="19171" y="21064"/>
                    <a:pt x="21571" y="19721"/>
                  </a:cubicBezTo>
                  <a:lnTo>
                    <a:pt x="31858" y="13815"/>
                  </a:lnTo>
                  <a:lnTo>
                    <a:pt x="34144" y="12482"/>
                  </a:lnTo>
                  <a:cubicBezTo>
                    <a:pt x="35059" y="12072"/>
                    <a:pt x="35678" y="11196"/>
                    <a:pt x="35764" y="10196"/>
                  </a:cubicBezTo>
                  <a:cubicBezTo>
                    <a:pt x="35630" y="9243"/>
                    <a:pt x="35021" y="8415"/>
                    <a:pt x="34144" y="8005"/>
                  </a:cubicBezTo>
                  <a:lnTo>
                    <a:pt x="21571" y="766"/>
                  </a:lnTo>
                  <a:cubicBezTo>
                    <a:pt x="19152" y="-472"/>
                    <a:pt x="16275" y="-472"/>
                    <a:pt x="13856" y="766"/>
                  </a:cubicBezTo>
                  <a:lnTo>
                    <a:pt x="1283" y="8005"/>
                  </a:lnTo>
                  <a:cubicBezTo>
                    <a:pt x="407" y="8415"/>
                    <a:pt x="-203" y="924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285" name="iṣḷíḍè">
              <a:extLst>
                <a:ext uri="{FF2B5EF4-FFF2-40B4-BE49-F238E27FC236}">
                  <a16:creationId xmlns:a16="http://schemas.microsoft.com/office/drawing/2014/main" id="{0B3FF49A-D6CE-4D72-9863-6776BC7079F1}"/>
                </a:ext>
              </a:extLst>
            </p:cNvPr>
            <p:cNvSpPr/>
            <p:nvPr/>
          </p:nvSpPr>
          <p:spPr>
            <a:xfrm>
              <a:off x="5498710" y="4881575"/>
              <a:ext cx="105679" cy="61101"/>
            </a:xfrm>
            <a:custGeom>
              <a:avLst/>
              <a:gdLst>
                <a:gd name="connsiteX0" fmla="*/ 1164 w 34718"/>
                <a:gd name="connsiteY0" fmla="*/ 12006 h 20073"/>
                <a:gd name="connsiteX1" fmla="*/ 13260 w 34718"/>
                <a:gd name="connsiteY1" fmla="*/ 19054 h 20073"/>
                <a:gd name="connsiteX2" fmla="*/ 20785 w 34718"/>
                <a:gd name="connsiteY2" fmla="*/ 19054 h 20073"/>
                <a:gd name="connsiteX3" fmla="*/ 32882 w 34718"/>
                <a:gd name="connsiteY3" fmla="*/ 12006 h 20073"/>
                <a:gd name="connsiteX4" fmla="*/ 32882 w 34718"/>
                <a:gd name="connsiteY4" fmla="*/ 7719 h 20073"/>
                <a:gd name="connsiteX5" fmla="*/ 20785 w 34718"/>
                <a:gd name="connsiteY5" fmla="*/ 766 h 20073"/>
                <a:gd name="connsiteX6" fmla="*/ 13260 w 34718"/>
                <a:gd name="connsiteY6" fmla="*/ 766 h 20073"/>
                <a:gd name="connsiteX7" fmla="*/ 1164 w 34718"/>
                <a:gd name="connsiteY7" fmla="*/ 7719 h 20073"/>
                <a:gd name="connsiteX8" fmla="*/ 1164 w 34718"/>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18" h="20073">
                  <a:moveTo>
                    <a:pt x="1164" y="12006"/>
                  </a:moveTo>
                  <a:lnTo>
                    <a:pt x="13260" y="19054"/>
                  </a:lnTo>
                  <a:cubicBezTo>
                    <a:pt x="15642" y="20197"/>
                    <a:pt x="18404" y="20197"/>
                    <a:pt x="20785" y="19054"/>
                  </a:cubicBezTo>
                  <a:lnTo>
                    <a:pt x="32882" y="12006"/>
                  </a:lnTo>
                  <a:cubicBezTo>
                    <a:pt x="34882" y="10863"/>
                    <a:pt x="34882" y="8957"/>
                    <a:pt x="32882" y="7719"/>
                  </a:cubicBezTo>
                  <a:lnTo>
                    <a:pt x="20785" y="766"/>
                  </a:lnTo>
                  <a:cubicBezTo>
                    <a:pt x="18433" y="-472"/>
                    <a:pt x="15613" y="-472"/>
                    <a:pt x="13260" y="766"/>
                  </a:cubicBezTo>
                  <a:lnTo>
                    <a:pt x="1164" y="7719"/>
                  </a:lnTo>
                  <a:cubicBezTo>
                    <a:pt x="-836" y="8957"/>
                    <a:pt x="-836" y="10481"/>
                    <a:pt x="1164" y="12006"/>
                  </a:cubicBezTo>
                  <a:close/>
                </a:path>
              </a:pathLst>
            </a:custGeom>
            <a:solidFill>
              <a:srgbClr val="D1D9E8"/>
            </a:solidFill>
            <a:ln w="9525" cap="flat">
              <a:noFill/>
              <a:prstDash val="solid"/>
              <a:miter/>
            </a:ln>
          </p:spPr>
          <p:txBody>
            <a:bodyPr rtlCol="0" anchor="ctr"/>
            <a:lstStyle/>
            <a:p>
              <a:endParaRPr lang="zh-CN" altLang="en-US"/>
            </a:p>
          </p:txBody>
        </p:sp>
        <p:sp>
          <p:nvSpPr>
            <p:cNvPr id="286" name="ïṡļiḍè">
              <a:extLst>
                <a:ext uri="{FF2B5EF4-FFF2-40B4-BE49-F238E27FC236}">
                  <a16:creationId xmlns:a16="http://schemas.microsoft.com/office/drawing/2014/main" id="{E23944DC-2BBF-4454-99D6-244E35E1EBA6}"/>
                </a:ext>
              </a:extLst>
            </p:cNvPr>
            <p:cNvSpPr/>
            <p:nvPr/>
          </p:nvSpPr>
          <p:spPr>
            <a:xfrm>
              <a:off x="5496607" y="4911945"/>
              <a:ext cx="109883" cy="53804"/>
            </a:xfrm>
            <a:custGeom>
              <a:avLst/>
              <a:gdLst>
                <a:gd name="connsiteX0" fmla="*/ -336 w 36099"/>
                <a:gd name="connsiteY0" fmla="*/ -163 h 17676"/>
                <a:gd name="connsiteX1" fmla="*/ -336 w 36099"/>
                <a:gd name="connsiteY1" fmla="*/ 7076 h 17676"/>
                <a:gd name="connsiteX2" fmla="*/ 1283 w 36099"/>
                <a:gd name="connsiteY2" fmla="*/ 9362 h 17676"/>
                <a:gd name="connsiteX3" fmla="*/ 13856 w 36099"/>
                <a:gd name="connsiteY3" fmla="*/ 16506 h 17676"/>
                <a:gd name="connsiteX4" fmla="*/ 21571 w 36099"/>
                <a:gd name="connsiteY4" fmla="*/ 16506 h 17676"/>
                <a:gd name="connsiteX5" fmla="*/ 34144 w 36099"/>
                <a:gd name="connsiteY5" fmla="*/ 9362 h 17676"/>
                <a:gd name="connsiteX6" fmla="*/ 35764 w 36099"/>
                <a:gd name="connsiteY6" fmla="*/ 7076 h 17676"/>
                <a:gd name="connsiteX7" fmla="*/ 35764 w 36099"/>
                <a:gd name="connsiteY7" fmla="*/ -163 h 17676"/>
                <a:gd name="connsiteX8" fmla="*/ 34144 w 36099"/>
                <a:gd name="connsiteY8" fmla="*/ 2124 h 17676"/>
                <a:gd name="connsiteX9" fmla="*/ 31858 w 36099"/>
                <a:gd name="connsiteY9" fmla="*/ 3457 h 17676"/>
                <a:gd name="connsiteX10" fmla="*/ 21571 w 36099"/>
                <a:gd name="connsiteY10" fmla="*/ 9362 h 17676"/>
                <a:gd name="connsiteX11" fmla="*/ 13856 w 36099"/>
                <a:gd name="connsiteY11" fmla="*/ 9362 h 17676"/>
                <a:gd name="connsiteX12" fmla="*/ 3569 w 36099"/>
                <a:gd name="connsiteY12" fmla="*/ 3457 h 17676"/>
                <a:gd name="connsiteX13" fmla="*/ 1283 w 36099"/>
                <a:gd name="connsiteY13" fmla="*/ 2124 h 17676"/>
                <a:gd name="connsiteX14" fmla="*/ -336 w 36099"/>
                <a:gd name="connsiteY14" fmla="*/ -163 h 17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676">
                  <a:moveTo>
                    <a:pt x="-336" y="-163"/>
                  </a:moveTo>
                  <a:lnTo>
                    <a:pt x="-336" y="7076"/>
                  </a:lnTo>
                  <a:cubicBezTo>
                    <a:pt x="-231" y="8067"/>
                    <a:pt x="378" y="8934"/>
                    <a:pt x="1283" y="9362"/>
                  </a:cubicBezTo>
                  <a:lnTo>
                    <a:pt x="13856" y="16506"/>
                  </a:lnTo>
                  <a:cubicBezTo>
                    <a:pt x="16256" y="17849"/>
                    <a:pt x="19171" y="17849"/>
                    <a:pt x="21571" y="16506"/>
                  </a:cubicBezTo>
                  <a:lnTo>
                    <a:pt x="34144" y="9362"/>
                  </a:lnTo>
                  <a:cubicBezTo>
                    <a:pt x="35030" y="8924"/>
                    <a:pt x="35640" y="8058"/>
                    <a:pt x="35764" y="7076"/>
                  </a:cubicBezTo>
                  <a:lnTo>
                    <a:pt x="35764" y="-163"/>
                  </a:lnTo>
                  <a:cubicBezTo>
                    <a:pt x="35678" y="838"/>
                    <a:pt x="35059" y="1714"/>
                    <a:pt x="34144" y="2124"/>
                  </a:cubicBezTo>
                  <a:lnTo>
                    <a:pt x="31858" y="3457"/>
                  </a:lnTo>
                  <a:lnTo>
                    <a:pt x="21571" y="9362"/>
                  </a:lnTo>
                  <a:cubicBezTo>
                    <a:pt x="19171" y="10706"/>
                    <a:pt x="16256" y="10706"/>
                    <a:pt x="13856" y="9362"/>
                  </a:cubicBezTo>
                  <a:lnTo>
                    <a:pt x="3569" y="3457"/>
                  </a:lnTo>
                  <a:lnTo>
                    <a:pt x="1283" y="2124"/>
                  </a:lnTo>
                  <a:cubicBezTo>
                    <a:pt x="369" y="1714"/>
                    <a:pt x="-251" y="838"/>
                    <a:pt x="-336" y="-163"/>
                  </a:cubicBezTo>
                  <a:close/>
                </a:path>
              </a:pathLst>
            </a:custGeom>
            <a:solidFill>
              <a:srgbClr val="BF4200"/>
            </a:solidFill>
            <a:ln w="9525" cap="flat">
              <a:noFill/>
              <a:prstDash val="solid"/>
              <a:miter/>
            </a:ln>
          </p:spPr>
          <p:txBody>
            <a:bodyPr rtlCol="0" anchor="ctr"/>
            <a:lstStyle/>
            <a:p>
              <a:endParaRPr lang="zh-CN" altLang="en-US"/>
            </a:p>
          </p:txBody>
        </p:sp>
        <p:sp>
          <p:nvSpPr>
            <p:cNvPr id="287" name="ïşľiḋe">
              <a:extLst>
                <a:ext uri="{FF2B5EF4-FFF2-40B4-BE49-F238E27FC236}">
                  <a16:creationId xmlns:a16="http://schemas.microsoft.com/office/drawing/2014/main" id="{11933AA4-2C57-4018-9844-FE46F9AAF152}"/>
                </a:ext>
              </a:extLst>
            </p:cNvPr>
            <p:cNvSpPr/>
            <p:nvPr/>
          </p:nvSpPr>
          <p:spPr>
            <a:xfrm>
              <a:off x="5574020" y="4925064"/>
              <a:ext cx="109594" cy="63588"/>
            </a:xfrm>
            <a:custGeom>
              <a:avLst/>
              <a:gdLst>
                <a:gd name="connsiteX0" fmla="*/ -336 w 36004"/>
                <a:gd name="connsiteY0" fmla="*/ 10196 h 20890"/>
                <a:gd name="connsiteX1" fmla="*/ 1188 w 36004"/>
                <a:gd name="connsiteY1" fmla="*/ 12482 h 20890"/>
                <a:gd name="connsiteX2" fmla="*/ 3569 w 36004"/>
                <a:gd name="connsiteY2" fmla="*/ 13815 h 20890"/>
                <a:gd name="connsiteX3" fmla="*/ 13856 w 36004"/>
                <a:gd name="connsiteY3" fmla="*/ 19721 h 20890"/>
                <a:gd name="connsiteX4" fmla="*/ 21476 w 36004"/>
                <a:gd name="connsiteY4" fmla="*/ 19721 h 20890"/>
                <a:gd name="connsiteX5" fmla="*/ 31763 w 36004"/>
                <a:gd name="connsiteY5" fmla="*/ 13815 h 20890"/>
                <a:gd name="connsiteX6" fmla="*/ 34144 w 36004"/>
                <a:gd name="connsiteY6" fmla="*/ 12482 h 20890"/>
                <a:gd name="connsiteX7" fmla="*/ 35668 w 36004"/>
                <a:gd name="connsiteY7" fmla="*/ 10196 h 20890"/>
                <a:gd name="connsiteX8" fmla="*/ 34144 w 36004"/>
                <a:gd name="connsiteY8" fmla="*/ 8005 h 20890"/>
                <a:gd name="connsiteX9" fmla="*/ 21476 w 36004"/>
                <a:gd name="connsiteY9" fmla="*/ 766 h 20890"/>
                <a:gd name="connsiteX10" fmla="*/ 13856 w 36004"/>
                <a:gd name="connsiteY10" fmla="*/ 766 h 20890"/>
                <a:gd name="connsiteX11" fmla="*/ 1188 w 36004"/>
                <a:gd name="connsiteY11" fmla="*/ 8005 h 20890"/>
                <a:gd name="connsiteX12" fmla="*/ -336 w 36004"/>
                <a:gd name="connsiteY12" fmla="*/ 10196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196"/>
                  </a:moveTo>
                  <a:cubicBezTo>
                    <a:pt x="-308" y="11186"/>
                    <a:pt x="283" y="12082"/>
                    <a:pt x="1188" y="12482"/>
                  </a:cubicBezTo>
                  <a:lnTo>
                    <a:pt x="3569" y="13815"/>
                  </a:lnTo>
                  <a:lnTo>
                    <a:pt x="13856" y="19721"/>
                  </a:lnTo>
                  <a:cubicBezTo>
                    <a:pt x="16218" y="21064"/>
                    <a:pt x="19114" y="21064"/>
                    <a:pt x="21476" y="19721"/>
                  </a:cubicBezTo>
                  <a:lnTo>
                    <a:pt x="31763" y="13815"/>
                  </a:lnTo>
                  <a:lnTo>
                    <a:pt x="34144" y="12482"/>
                  </a:lnTo>
                  <a:cubicBezTo>
                    <a:pt x="35049" y="12082"/>
                    <a:pt x="35640" y="11186"/>
                    <a:pt x="35668" y="10196"/>
                  </a:cubicBezTo>
                  <a:cubicBezTo>
                    <a:pt x="35573" y="9253"/>
                    <a:pt x="34992" y="8424"/>
                    <a:pt x="34144" y="8005"/>
                  </a:cubicBezTo>
                  <a:lnTo>
                    <a:pt x="21476" y="766"/>
                  </a:lnTo>
                  <a:cubicBezTo>
                    <a:pt x="19085" y="-472"/>
                    <a:pt x="16247" y="-472"/>
                    <a:pt x="13856" y="766"/>
                  </a:cubicBezTo>
                  <a:lnTo>
                    <a:pt x="1188" y="8005"/>
                  </a:lnTo>
                  <a:cubicBezTo>
                    <a:pt x="340" y="8424"/>
                    <a:pt x="-241" y="925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288" name="iṧļïḍe">
              <a:extLst>
                <a:ext uri="{FF2B5EF4-FFF2-40B4-BE49-F238E27FC236}">
                  <a16:creationId xmlns:a16="http://schemas.microsoft.com/office/drawing/2014/main" id="{9361A4D8-0D04-40AF-B298-954882BF8874}"/>
                </a:ext>
              </a:extLst>
            </p:cNvPr>
            <p:cNvSpPr/>
            <p:nvPr/>
          </p:nvSpPr>
          <p:spPr>
            <a:xfrm>
              <a:off x="5576154" y="4926151"/>
              <a:ext cx="105329" cy="61174"/>
            </a:xfrm>
            <a:custGeom>
              <a:avLst/>
              <a:gdLst>
                <a:gd name="connsiteX0" fmla="*/ 1154 w 34603"/>
                <a:gd name="connsiteY0" fmla="*/ 12029 h 20097"/>
                <a:gd name="connsiteX1" fmla="*/ 13251 w 34603"/>
                <a:gd name="connsiteY1" fmla="*/ 19078 h 20097"/>
                <a:gd name="connsiteX2" fmla="*/ 20680 w 34603"/>
                <a:gd name="connsiteY2" fmla="*/ 19078 h 20097"/>
                <a:gd name="connsiteX3" fmla="*/ 32777 w 34603"/>
                <a:gd name="connsiteY3" fmla="*/ 12029 h 20097"/>
                <a:gd name="connsiteX4" fmla="*/ 34120 w 34603"/>
                <a:gd name="connsiteY4" fmla="*/ 9096 h 20097"/>
                <a:gd name="connsiteX5" fmla="*/ 32777 w 34603"/>
                <a:gd name="connsiteY5" fmla="*/ 7743 h 20097"/>
                <a:gd name="connsiteX6" fmla="*/ 20680 w 34603"/>
                <a:gd name="connsiteY6" fmla="*/ 695 h 20097"/>
                <a:gd name="connsiteX7" fmla="*/ 13251 w 34603"/>
                <a:gd name="connsiteY7" fmla="*/ 695 h 20097"/>
                <a:gd name="connsiteX8" fmla="*/ 1154 w 34603"/>
                <a:gd name="connsiteY8" fmla="*/ 7743 h 20097"/>
                <a:gd name="connsiteX9" fmla="*/ -189 w 34603"/>
                <a:gd name="connsiteY9" fmla="*/ 10686 h 20097"/>
                <a:gd name="connsiteX10" fmla="*/ 1154 w 34603"/>
                <a:gd name="connsiteY10" fmla="*/ 12029 h 20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603" h="20097">
                  <a:moveTo>
                    <a:pt x="1154" y="12029"/>
                  </a:moveTo>
                  <a:lnTo>
                    <a:pt x="13251" y="19078"/>
                  </a:lnTo>
                  <a:cubicBezTo>
                    <a:pt x="15594" y="20221"/>
                    <a:pt x="18337" y="20221"/>
                    <a:pt x="20680" y="19078"/>
                  </a:cubicBezTo>
                  <a:lnTo>
                    <a:pt x="32777" y="12029"/>
                  </a:lnTo>
                  <a:cubicBezTo>
                    <a:pt x="33958" y="11591"/>
                    <a:pt x="34568" y="10277"/>
                    <a:pt x="34120" y="9096"/>
                  </a:cubicBezTo>
                  <a:cubicBezTo>
                    <a:pt x="33891" y="8467"/>
                    <a:pt x="33396" y="7971"/>
                    <a:pt x="32777" y="7743"/>
                  </a:cubicBezTo>
                  <a:lnTo>
                    <a:pt x="20680" y="695"/>
                  </a:lnTo>
                  <a:cubicBezTo>
                    <a:pt x="18337" y="-448"/>
                    <a:pt x="15594" y="-448"/>
                    <a:pt x="13251" y="695"/>
                  </a:cubicBezTo>
                  <a:lnTo>
                    <a:pt x="1154" y="7743"/>
                  </a:lnTo>
                  <a:cubicBezTo>
                    <a:pt x="-27" y="8181"/>
                    <a:pt x="-637" y="9496"/>
                    <a:pt x="-189" y="10686"/>
                  </a:cubicBezTo>
                  <a:cubicBezTo>
                    <a:pt x="40" y="11305"/>
                    <a:pt x="535" y="11801"/>
                    <a:pt x="1154" y="12029"/>
                  </a:cubicBezTo>
                  <a:close/>
                </a:path>
              </a:pathLst>
            </a:custGeom>
            <a:solidFill>
              <a:srgbClr val="D1D9E8"/>
            </a:solidFill>
            <a:ln w="9525" cap="flat">
              <a:noFill/>
              <a:prstDash val="solid"/>
              <a:miter/>
            </a:ln>
          </p:spPr>
          <p:txBody>
            <a:bodyPr rtlCol="0" anchor="ctr"/>
            <a:lstStyle/>
            <a:p>
              <a:endParaRPr lang="zh-CN" altLang="en-US"/>
            </a:p>
          </p:txBody>
        </p:sp>
        <p:sp>
          <p:nvSpPr>
            <p:cNvPr id="289" name="ïṣḷîḓê">
              <a:extLst>
                <a:ext uri="{FF2B5EF4-FFF2-40B4-BE49-F238E27FC236}">
                  <a16:creationId xmlns:a16="http://schemas.microsoft.com/office/drawing/2014/main" id="{BF03B349-E460-430F-B9E4-0718F2AD06E1}"/>
                </a:ext>
              </a:extLst>
            </p:cNvPr>
            <p:cNvSpPr/>
            <p:nvPr/>
          </p:nvSpPr>
          <p:spPr>
            <a:xfrm>
              <a:off x="5574020" y="4956596"/>
              <a:ext cx="109594" cy="53801"/>
            </a:xfrm>
            <a:custGeom>
              <a:avLst/>
              <a:gdLst>
                <a:gd name="connsiteX0" fmla="*/ -336 w 36004"/>
                <a:gd name="connsiteY0" fmla="*/ -163 h 17675"/>
                <a:gd name="connsiteX1" fmla="*/ -336 w 36004"/>
                <a:gd name="connsiteY1" fmla="*/ 7076 h 17675"/>
                <a:gd name="connsiteX2" fmla="*/ 1188 w 36004"/>
                <a:gd name="connsiteY2" fmla="*/ 9267 h 17675"/>
                <a:gd name="connsiteX3" fmla="*/ 13856 w 36004"/>
                <a:gd name="connsiteY3" fmla="*/ 16506 h 17675"/>
                <a:gd name="connsiteX4" fmla="*/ 21476 w 36004"/>
                <a:gd name="connsiteY4" fmla="*/ 16506 h 17675"/>
                <a:gd name="connsiteX5" fmla="*/ 34144 w 36004"/>
                <a:gd name="connsiteY5" fmla="*/ 9267 h 17675"/>
                <a:gd name="connsiteX6" fmla="*/ 35668 w 36004"/>
                <a:gd name="connsiteY6" fmla="*/ 7076 h 17675"/>
                <a:gd name="connsiteX7" fmla="*/ 35668 w 36004"/>
                <a:gd name="connsiteY7" fmla="*/ -163 h 17675"/>
                <a:gd name="connsiteX8" fmla="*/ 34144 w 36004"/>
                <a:gd name="connsiteY8" fmla="*/ 2123 h 17675"/>
                <a:gd name="connsiteX9" fmla="*/ 31763 w 36004"/>
                <a:gd name="connsiteY9" fmla="*/ 3457 h 17675"/>
                <a:gd name="connsiteX10" fmla="*/ 21476 w 36004"/>
                <a:gd name="connsiteY10" fmla="*/ 9362 h 17675"/>
                <a:gd name="connsiteX11" fmla="*/ 13856 w 36004"/>
                <a:gd name="connsiteY11" fmla="*/ 9362 h 17675"/>
                <a:gd name="connsiteX12" fmla="*/ 3569 w 36004"/>
                <a:gd name="connsiteY12" fmla="*/ 3457 h 17675"/>
                <a:gd name="connsiteX13" fmla="*/ 1188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98" y="8038"/>
                    <a:pt x="292" y="8896"/>
                    <a:pt x="1188" y="9267"/>
                  </a:cubicBezTo>
                  <a:lnTo>
                    <a:pt x="13856" y="16506"/>
                  </a:lnTo>
                  <a:cubicBezTo>
                    <a:pt x="16218" y="17849"/>
                    <a:pt x="19114" y="17849"/>
                    <a:pt x="21476" y="16506"/>
                  </a:cubicBezTo>
                  <a:lnTo>
                    <a:pt x="34144" y="9267"/>
                  </a:lnTo>
                  <a:cubicBezTo>
                    <a:pt x="35021" y="8877"/>
                    <a:pt x="35611" y="8038"/>
                    <a:pt x="35668" y="7076"/>
                  </a:cubicBezTo>
                  <a:lnTo>
                    <a:pt x="35668" y="-163"/>
                  </a:lnTo>
                  <a:cubicBezTo>
                    <a:pt x="35640" y="828"/>
                    <a:pt x="35049" y="1723"/>
                    <a:pt x="34144" y="2123"/>
                  </a:cubicBezTo>
                  <a:lnTo>
                    <a:pt x="31763" y="3457"/>
                  </a:lnTo>
                  <a:lnTo>
                    <a:pt x="21476" y="9362"/>
                  </a:lnTo>
                  <a:cubicBezTo>
                    <a:pt x="19114" y="10705"/>
                    <a:pt x="16218" y="10705"/>
                    <a:pt x="13856" y="9362"/>
                  </a:cubicBezTo>
                  <a:lnTo>
                    <a:pt x="3569" y="3457"/>
                  </a:lnTo>
                  <a:lnTo>
                    <a:pt x="1188" y="2123"/>
                  </a:lnTo>
                  <a:cubicBezTo>
                    <a:pt x="283" y="1723"/>
                    <a:pt x="-308"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290" name="í$1îḍê">
              <a:extLst>
                <a:ext uri="{FF2B5EF4-FFF2-40B4-BE49-F238E27FC236}">
                  <a16:creationId xmlns:a16="http://schemas.microsoft.com/office/drawing/2014/main" id="{26D33B1E-3FA3-49BE-9792-9F21FA631FA0}"/>
                </a:ext>
              </a:extLst>
            </p:cNvPr>
            <p:cNvSpPr/>
            <p:nvPr/>
          </p:nvSpPr>
          <p:spPr>
            <a:xfrm>
              <a:off x="5651433" y="4969481"/>
              <a:ext cx="109450" cy="63292"/>
            </a:xfrm>
            <a:custGeom>
              <a:avLst/>
              <a:gdLst>
                <a:gd name="connsiteX0" fmla="*/ -336 w 35957"/>
                <a:gd name="connsiteY0" fmla="*/ 10177 h 20793"/>
                <a:gd name="connsiteX1" fmla="*/ 1188 w 35957"/>
                <a:gd name="connsiteY1" fmla="*/ 12463 h 20793"/>
                <a:gd name="connsiteX2" fmla="*/ 3474 w 35957"/>
                <a:gd name="connsiteY2" fmla="*/ 13796 h 20793"/>
                <a:gd name="connsiteX3" fmla="*/ 13761 w 35957"/>
                <a:gd name="connsiteY3" fmla="*/ 19702 h 20793"/>
                <a:gd name="connsiteX4" fmla="*/ 21476 w 35957"/>
                <a:gd name="connsiteY4" fmla="*/ 19702 h 20793"/>
                <a:gd name="connsiteX5" fmla="*/ 31763 w 35957"/>
                <a:gd name="connsiteY5" fmla="*/ 13796 h 20793"/>
                <a:gd name="connsiteX6" fmla="*/ 34049 w 35957"/>
                <a:gd name="connsiteY6" fmla="*/ 12463 h 20793"/>
                <a:gd name="connsiteX7" fmla="*/ 35478 w 35957"/>
                <a:gd name="connsiteY7" fmla="*/ 9415 h 20793"/>
                <a:gd name="connsiteX8" fmla="*/ 34049 w 35957"/>
                <a:gd name="connsiteY8" fmla="*/ 7986 h 20793"/>
                <a:gd name="connsiteX9" fmla="*/ 21476 w 35957"/>
                <a:gd name="connsiteY9" fmla="*/ 652 h 20793"/>
                <a:gd name="connsiteX10" fmla="*/ 13761 w 35957"/>
                <a:gd name="connsiteY10" fmla="*/ 652 h 20793"/>
                <a:gd name="connsiteX11" fmla="*/ 1188 w 35957"/>
                <a:gd name="connsiteY11" fmla="*/ 7986 h 20793"/>
                <a:gd name="connsiteX12" fmla="*/ -336 w 35957"/>
                <a:gd name="connsiteY12" fmla="*/ 10177 h 20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957" h="20793">
                  <a:moveTo>
                    <a:pt x="-336" y="10177"/>
                  </a:moveTo>
                  <a:cubicBezTo>
                    <a:pt x="-269" y="11158"/>
                    <a:pt x="312" y="12025"/>
                    <a:pt x="1188" y="12463"/>
                  </a:cubicBezTo>
                  <a:lnTo>
                    <a:pt x="3474" y="13796"/>
                  </a:lnTo>
                  <a:lnTo>
                    <a:pt x="13761" y="19702"/>
                  </a:lnTo>
                  <a:cubicBezTo>
                    <a:pt x="16180" y="20940"/>
                    <a:pt x="19057" y="20940"/>
                    <a:pt x="21476" y="19702"/>
                  </a:cubicBezTo>
                  <a:lnTo>
                    <a:pt x="31763" y="13796"/>
                  </a:lnTo>
                  <a:lnTo>
                    <a:pt x="34049" y="12463"/>
                  </a:lnTo>
                  <a:cubicBezTo>
                    <a:pt x="35287" y="12015"/>
                    <a:pt x="35925" y="10644"/>
                    <a:pt x="35478" y="9415"/>
                  </a:cubicBezTo>
                  <a:cubicBezTo>
                    <a:pt x="35230" y="8748"/>
                    <a:pt x="34716" y="8224"/>
                    <a:pt x="34049" y="7986"/>
                  </a:cubicBezTo>
                  <a:lnTo>
                    <a:pt x="21476" y="652"/>
                  </a:lnTo>
                  <a:cubicBezTo>
                    <a:pt x="19019" y="-434"/>
                    <a:pt x="16218" y="-434"/>
                    <a:pt x="13761" y="652"/>
                  </a:cubicBezTo>
                  <a:lnTo>
                    <a:pt x="1188" y="7986"/>
                  </a:lnTo>
                  <a:cubicBezTo>
                    <a:pt x="340" y="8405"/>
                    <a:pt x="-241" y="9234"/>
                    <a:pt x="-336" y="10177"/>
                  </a:cubicBezTo>
                  <a:close/>
                </a:path>
              </a:pathLst>
            </a:custGeom>
            <a:solidFill>
              <a:srgbClr val="FFFFFF"/>
            </a:solidFill>
            <a:ln w="9525" cap="flat">
              <a:noFill/>
              <a:prstDash val="solid"/>
              <a:miter/>
            </a:ln>
          </p:spPr>
          <p:txBody>
            <a:bodyPr rtlCol="0" anchor="ctr"/>
            <a:lstStyle/>
            <a:p>
              <a:endParaRPr lang="zh-CN" altLang="en-US"/>
            </a:p>
          </p:txBody>
        </p:sp>
        <p:sp>
          <p:nvSpPr>
            <p:cNvPr id="291" name="ïsļîḑè">
              <a:extLst>
                <a:ext uri="{FF2B5EF4-FFF2-40B4-BE49-F238E27FC236}">
                  <a16:creationId xmlns:a16="http://schemas.microsoft.com/office/drawing/2014/main" id="{AA8B3DFD-8685-4BA1-9DBF-DDBEFEF79FF9}"/>
                </a:ext>
              </a:extLst>
            </p:cNvPr>
            <p:cNvSpPr/>
            <p:nvPr/>
          </p:nvSpPr>
          <p:spPr>
            <a:xfrm>
              <a:off x="5653275" y="4970802"/>
              <a:ext cx="105618" cy="61104"/>
            </a:xfrm>
            <a:custGeom>
              <a:avLst/>
              <a:gdLst>
                <a:gd name="connsiteX0" fmla="*/ 1154 w 34698"/>
                <a:gd name="connsiteY0" fmla="*/ 12029 h 20074"/>
                <a:gd name="connsiteX1" fmla="*/ 13346 w 34698"/>
                <a:gd name="connsiteY1" fmla="*/ 18983 h 20074"/>
                <a:gd name="connsiteX2" fmla="*/ 20776 w 34698"/>
                <a:gd name="connsiteY2" fmla="*/ 18983 h 20074"/>
                <a:gd name="connsiteX3" fmla="*/ 32872 w 34698"/>
                <a:gd name="connsiteY3" fmla="*/ 12029 h 20074"/>
                <a:gd name="connsiteX4" fmla="*/ 34215 w 34698"/>
                <a:gd name="connsiteY4" fmla="*/ 9086 h 20074"/>
                <a:gd name="connsiteX5" fmla="*/ 32872 w 34698"/>
                <a:gd name="connsiteY5" fmla="*/ 7743 h 20074"/>
                <a:gd name="connsiteX6" fmla="*/ 20776 w 34698"/>
                <a:gd name="connsiteY6" fmla="*/ 695 h 20074"/>
                <a:gd name="connsiteX7" fmla="*/ 13346 w 34698"/>
                <a:gd name="connsiteY7" fmla="*/ 695 h 20074"/>
                <a:gd name="connsiteX8" fmla="*/ 1154 w 34698"/>
                <a:gd name="connsiteY8" fmla="*/ 7743 h 20074"/>
                <a:gd name="connsiteX9" fmla="*/ -189 w 34698"/>
                <a:gd name="connsiteY9" fmla="*/ 10686 h 20074"/>
                <a:gd name="connsiteX10" fmla="*/ 1154 w 34698"/>
                <a:gd name="connsiteY10"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698" h="20074">
                  <a:moveTo>
                    <a:pt x="1154" y="12029"/>
                  </a:moveTo>
                  <a:lnTo>
                    <a:pt x="13346" y="18983"/>
                  </a:lnTo>
                  <a:cubicBezTo>
                    <a:pt x="15670" y="20221"/>
                    <a:pt x="18451" y="20221"/>
                    <a:pt x="20776" y="18983"/>
                  </a:cubicBezTo>
                  <a:lnTo>
                    <a:pt x="32872" y="12029"/>
                  </a:lnTo>
                  <a:cubicBezTo>
                    <a:pt x="34053" y="11591"/>
                    <a:pt x="34663" y="10277"/>
                    <a:pt x="34215" y="9086"/>
                  </a:cubicBezTo>
                  <a:cubicBezTo>
                    <a:pt x="33987" y="8467"/>
                    <a:pt x="33491" y="7972"/>
                    <a:pt x="32872" y="7743"/>
                  </a:cubicBezTo>
                  <a:lnTo>
                    <a:pt x="20776" y="695"/>
                  </a:lnTo>
                  <a:cubicBezTo>
                    <a:pt x="18432" y="-448"/>
                    <a:pt x="15689" y="-448"/>
                    <a:pt x="13346" y="695"/>
                  </a:cubicBezTo>
                  <a:lnTo>
                    <a:pt x="1154" y="7743"/>
                  </a:lnTo>
                  <a:cubicBezTo>
                    <a:pt x="-27" y="8181"/>
                    <a:pt x="-637" y="9496"/>
                    <a:pt x="-189" y="10686"/>
                  </a:cubicBezTo>
                  <a:cubicBezTo>
                    <a:pt x="40" y="11306"/>
                    <a:pt x="525" y="11801"/>
                    <a:pt x="1154" y="12029"/>
                  </a:cubicBezTo>
                  <a:close/>
                </a:path>
              </a:pathLst>
            </a:custGeom>
            <a:solidFill>
              <a:srgbClr val="D1D9E8"/>
            </a:solidFill>
            <a:ln w="9525" cap="flat">
              <a:noFill/>
              <a:prstDash val="solid"/>
              <a:miter/>
            </a:ln>
          </p:spPr>
          <p:txBody>
            <a:bodyPr rtlCol="0" anchor="ctr"/>
            <a:lstStyle/>
            <a:p>
              <a:endParaRPr lang="zh-CN" altLang="en-US"/>
            </a:p>
          </p:txBody>
        </p:sp>
        <p:sp>
          <p:nvSpPr>
            <p:cNvPr id="292" name="îşḷíďê">
              <a:extLst>
                <a:ext uri="{FF2B5EF4-FFF2-40B4-BE49-F238E27FC236}">
                  <a16:creationId xmlns:a16="http://schemas.microsoft.com/office/drawing/2014/main" id="{9B580E8D-F4BA-464C-94DF-254ACE16F2A8}"/>
                </a:ext>
              </a:extLst>
            </p:cNvPr>
            <p:cNvSpPr/>
            <p:nvPr/>
          </p:nvSpPr>
          <p:spPr>
            <a:xfrm>
              <a:off x="5651433" y="5000955"/>
              <a:ext cx="109594" cy="53801"/>
            </a:xfrm>
            <a:custGeom>
              <a:avLst/>
              <a:gdLst>
                <a:gd name="connsiteX0" fmla="*/ -336 w 36004"/>
                <a:gd name="connsiteY0" fmla="*/ -163 h 17675"/>
                <a:gd name="connsiteX1" fmla="*/ -336 w 36004"/>
                <a:gd name="connsiteY1" fmla="*/ 7076 h 17675"/>
                <a:gd name="connsiteX2" fmla="*/ 1188 w 36004"/>
                <a:gd name="connsiteY2" fmla="*/ 9267 h 17675"/>
                <a:gd name="connsiteX3" fmla="*/ 13761 w 36004"/>
                <a:gd name="connsiteY3" fmla="*/ 16506 h 17675"/>
                <a:gd name="connsiteX4" fmla="*/ 21476 w 36004"/>
                <a:gd name="connsiteY4" fmla="*/ 16506 h 17675"/>
                <a:gd name="connsiteX5" fmla="*/ 34049 w 36004"/>
                <a:gd name="connsiteY5" fmla="*/ 9267 h 17675"/>
                <a:gd name="connsiteX6" fmla="*/ 35668 w 36004"/>
                <a:gd name="connsiteY6" fmla="*/ 6981 h 17675"/>
                <a:gd name="connsiteX7" fmla="*/ 35668 w 36004"/>
                <a:gd name="connsiteY7" fmla="*/ -163 h 17675"/>
                <a:gd name="connsiteX8" fmla="*/ 34049 w 36004"/>
                <a:gd name="connsiteY8" fmla="*/ 2123 h 17675"/>
                <a:gd name="connsiteX9" fmla="*/ 31763 w 36004"/>
                <a:gd name="connsiteY9" fmla="*/ 3457 h 17675"/>
                <a:gd name="connsiteX10" fmla="*/ 21476 w 36004"/>
                <a:gd name="connsiteY10" fmla="*/ 9362 h 17675"/>
                <a:gd name="connsiteX11" fmla="*/ 13761 w 36004"/>
                <a:gd name="connsiteY11" fmla="*/ 9362 h 17675"/>
                <a:gd name="connsiteX12" fmla="*/ 3474 w 36004"/>
                <a:gd name="connsiteY12" fmla="*/ 3457 h 17675"/>
                <a:gd name="connsiteX13" fmla="*/ 1188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79" y="8038"/>
                    <a:pt x="312" y="8877"/>
                    <a:pt x="1188" y="9267"/>
                  </a:cubicBezTo>
                  <a:lnTo>
                    <a:pt x="13761" y="16506"/>
                  </a:lnTo>
                  <a:cubicBezTo>
                    <a:pt x="16161" y="17849"/>
                    <a:pt x="19076" y="17849"/>
                    <a:pt x="21476" y="16506"/>
                  </a:cubicBezTo>
                  <a:lnTo>
                    <a:pt x="34049" y="9267"/>
                  </a:lnTo>
                  <a:cubicBezTo>
                    <a:pt x="34992" y="8896"/>
                    <a:pt x="35630" y="8000"/>
                    <a:pt x="35668" y="6981"/>
                  </a:cubicBezTo>
                  <a:lnTo>
                    <a:pt x="35668" y="-163"/>
                  </a:lnTo>
                  <a:cubicBezTo>
                    <a:pt x="35602" y="847"/>
                    <a:pt x="34982" y="1733"/>
                    <a:pt x="34049" y="2123"/>
                  </a:cubicBezTo>
                  <a:lnTo>
                    <a:pt x="31763" y="3457"/>
                  </a:lnTo>
                  <a:lnTo>
                    <a:pt x="21476" y="9362"/>
                  </a:lnTo>
                  <a:cubicBezTo>
                    <a:pt x="19057" y="10601"/>
                    <a:pt x="16180" y="10601"/>
                    <a:pt x="13761" y="9362"/>
                  </a:cubicBezTo>
                  <a:lnTo>
                    <a:pt x="3474" y="3457"/>
                  </a:lnTo>
                  <a:lnTo>
                    <a:pt x="1188" y="2123"/>
                  </a:lnTo>
                  <a:cubicBezTo>
                    <a:pt x="312"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293" name="íṣlíďê">
              <a:extLst>
                <a:ext uri="{FF2B5EF4-FFF2-40B4-BE49-F238E27FC236}">
                  <a16:creationId xmlns:a16="http://schemas.microsoft.com/office/drawing/2014/main" id="{A16F7A7F-B081-47D9-82EC-8614A8E7861E}"/>
                </a:ext>
              </a:extLst>
            </p:cNvPr>
            <p:cNvSpPr/>
            <p:nvPr/>
          </p:nvSpPr>
          <p:spPr>
            <a:xfrm>
              <a:off x="5728554" y="5014269"/>
              <a:ext cx="109740" cy="63445"/>
            </a:xfrm>
            <a:custGeom>
              <a:avLst/>
              <a:gdLst>
                <a:gd name="connsiteX0" fmla="*/ -336 w 36052"/>
                <a:gd name="connsiteY0" fmla="*/ 10227 h 20843"/>
                <a:gd name="connsiteX1" fmla="*/ 1188 w 36052"/>
                <a:gd name="connsiteY1" fmla="*/ 12513 h 20843"/>
                <a:gd name="connsiteX2" fmla="*/ 3569 w 36052"/>
                <a:gd name="connsiteY2" fmla="*/ 13846 h 20843"/>
                <a:gd name="connsiteX3" fmla="*/ 13856 w 36052"/>
                <a:gd name="connsiteY3" fmla="*/ 19752 h 20843"/>
                <a:gd name="connsiteX4" fmla="*/ 21476 w 36052"/>
                <a:gd name="connsiteY4" fmla="*/ 19752 h 20843"/>
                <a:gd name="connsiteX5" fmla="*/ 31763 w 36052"/>
                <a:gd name="connsiteY5" fmla="*/ 13846 h 20843"/>
                <a:gd name="connsiteX6" fmla="*/ 34144 w 36052"/>
                <a:gd name="connsiteY6" fmla="*/ 12513 h 20843"/>
                <a:gd name="connsiteX7" fmla="*/ 35573 w 36052"/>
                <a:gd name="connsiteY7" fmla="*/ 9465 h 20843"/>
                <a:gd name="connsiteX8" fmla="*/ 34144 w 36052"/>
                <a:gd name="connsiteY8" fmla="*/ 8036 h 20843"/>
                <a:gd name="connsiteX9" fmla="*/ 21476 w 36052"/>
                <a:gd name="connsiteY9" fmla="*/ 702 h 20843"/>
                <a:gd name="connsiteX10" fmla="*/ 13856 w 36052"/>
                <a:gd name="connsiteY10" fmla="*/ 702 h 20843"/>
                <a:gd name="connsiteX11" fmla="*/ 1188 w 36052"/>
                <a:gd name="connsiteY11" fmla="*/ 8036 h 20843"/>
                <a:gd name="connsiteX12" fmla="*/ -336 w 36052"/>
                <a:gd name="connsiteY12" fmla="*/ 10227 h 20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3">
                  <a:moveTo>
                    <a:pt x="-336" y="10227"/>
                  </a:moveTo>
                  <a:cubicBezTo>
                    <a:pt x="-269" y="11208"/>
                    <a:pt x="312" y="12075"/>
                    <a:pt x="1188" y="12513"/>
                  </a:cubicBezTo>
                  <a:lnTo>
                    <a:pt x="3569" y="13846"/>
                  </a:lnTo>
                  <a:lnTo>
                    <a:pt x="13856" y="19752"/>
                  </a:lnTo>
                  <a:cubicBezTo>
                    <a:pt x="16247" y="20990"/>
                    <a:pt x="19085" y="20990"/>
                    <a:pt x="21476" y="19752"/>
                  </a:cubicBezTo>
                  <a:lnTo>
                    <a:pt x="31763" y="13846"/>
                  </a:lnTo>
                  <a:lnTo>
                    <a:pt x="34144" y="12513"/>
                  </a:lnTo>
                  <a:cubicBezTo>
                    <a:pt x="35382" y="12065"/>
                    <a:pt x="36021" y="10694"/>
                    <a:pt x="35573" y="9465"/>
                  </a:cubicBezTo>
                  <a:cubicBezTo>
                    <a:pt x="35325" y="8798"/>
                    <a:pt x="34811" y="8274"/>
                    <a:pt x="34144"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294" name="î$lïḓê">
              <a:extLst>
                <a:ext uri="{FF2B5EF4-FFF2-40B4-BE49-F238E27FC236}">
                  <a16:creationId xmlns:a16="http://schemas.microsoft.com/office/drawing/2014/main" id="{06E2B072-064C-413B-A3E9-0E5B154943BF}"/>
                </a:ext>
              </a:extLst>
            </p:cNvPr>
            <p:cNvSpPr/>
            <p:nvPr/>
          </p:nvSpPr>
          <p:spPr>
            <a:xfrm>
              <a:off x="5730441" y="5015450"/>
              <a:ext cx="105898" cy="61104"/>
            </a:xfrm>
            <a:custGeom>
              <a:avLst/>
              <a:gdLst>
                <a:gd name="connsiteX0" fmla="*/ 1235 w 34790"/>
                <a:gd name="connsiteY0" fmla="*/ 12029 h 20074"/>
                <a:gd name="connsiteX1" fmla="*/ 13332 w 34790"/>
                <a:gd name="connsiteY1" fmla="*/ 18983 h 20074"/>
                <a:gd name="connsiteX2" fmla="*/ 20761 w 34790"/>
                <a:gd name="connsiteY2" fmla="*/ 18983 h 20074"/>
                <a:gd name="connsiteX3" fmla="*/ 32953 w 34790"/>
                <a:gd name="connsiteY3" fmla="*/ 12029 h 20074"/>
                <a:gd name="connsiteX4" fmla="*/ 32953 w 34790"/>
                <a:gd name="connsiteY4" fmla="*/ 7743 h 20074"/>
                <a:gd name="connsiteX5" fmla="*/ 20761 w 34790"/>
                <a:gd name="connsiteY5" fmla="*/ 695 h 20074"/>
                <a:gd name="connsiteX6" fmla="*/ 13332 w 34790"/>
                <a:gd name="connsiteY6" fmla="*/ 695 h 20074"/>
                <a:gd name="connsiteX7" fmla="*/ 1235 w 34790"/>
                <a:gd name="connsiteY7" fmla="*/ 7743 h 20074"/>
                <a:gd name="connsiteX8" fmla="*/ 1235 w 34790"/>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4">
                  <a:moveTo>
                    <a:pt x="1235" y="12029"/>
                  </a:moveTo>
                  <a:lnTo>
                    <a:pt x="13332" y="18983"/>
                  </a:lnTo>
                  <a:cubicBezTo>
                    <a:pt x="15656" y="20221"/>
                    <a:pt x="18437" y="20221"/>
                    <a:pt x="20761" y="18983"/>
                  </a:cubicBezTo>
                  <a:lnTo>
                    <a:pt x="32953" y="12029"/>
                  </a:lnTo>
                  <a:cubicBezTo>
                    <a:pt x="34954" y="10791"/>
                    <a:pt x="34954" y="8886"/>
                    <a:pt x="32953" y="7743"/>
                  </a:cubicBezTo>
                  <a:lnTo>
                    <a:pt x="20761" y="695"/>
                  </a:lnTo>
                  <a:cubicBezTo>
                    <a:pt x="18418" y="-448"/>
                    <a:pt x="15675" y="-448"/>
                    <a:pt x="13332" y="695"/>
                  </a:cubicBezTo>
                  <a:lnTo>
                    <a:pt x="1235" y="7743"/>
                  </a:lnTo>
                  <a:cubicBezTo>
                    <a:pt x="-860" y="8886"/>
                    <a:pt x="-860" y="10791"/>
                    <a:pt x="1235" y="12029"/>
                  </a:cubicBezTo>
                  <a:close/>
                </a:path>
              </a:pathLst>
            </a:custGeom>
            <a:solidFill>
              <a:srgbClr val="D1D9E8"/>
            </a:solidFill>
            <a:ln w="9525" cap="flat">
              <a:noFill/>
              <a:prstDash val="solid"/>
              <a:miter/>
            </a:ln>
          </p:spPr>
          <p:txBody>
            <a:bodyPr rtlCol="0" anchor="ctr"/>
            <a:lstStyle/>
            <a:p>
              <a:endParaRPr lang="zh-CN" altLang="en-US"/>
            </a:p>
          </p:txBody>
        </p:sp>
        <p:sp>
          <p:nvSpPr>
            <p:cNvPr id="295" name="îṩḷîḓe">
              <a:extLst>
                <a:ext uri="{FF2B5EF4-FFF2-40B4-BE49-F238E27FC236}">
                  <a16:creationId xmlns:a16="http://schemas.microsoft.com/office/drawing/2014/main" id="{AAFAFDCD-E836-418B-9EE7-33E21DE58797}"/>
                </a:ext>
              </a:extLst>
            </p:cNvPr>
            <p:cNvSpPr/>
            <p:nvPr/>
          </p:nvSpPr>
          <p:spPr>
            <a:xfrm>
              <a:off x="5728554" y="5045893"/>
              <a:ext cx="109594" cy="53804"/>
            </a:xfrm>
            <a:custGeom>
              <a:avLst/>
              <a:gdLst>
                <a:gd name="connsiteX0" fmla="*/ -336 w 36004"/>
                <a:gd name="connsiteY0" fmla="*/ -163 h 17676"/>
                <a:gd name="connsiteX1" fmla="*/ -336 w 36004"/>
                <a:gd name="connsiteY1" fmla="*/ 7076 h 17676"/>
                <a:gd name="connsiteX2" fmla="*/ 1188 w 36004"/>
                <a:gd name="connsiteY2" fmla="*/ 9267 h 17676"/>
                <a:gd name="connsiteX3" fmla="*/ 13856 w 36004"/>
                <a:gd name="connsiteY3" fmla="*/ 16506 h 17676"/>
                <a:gd name="connsiteX4" fmla="*/ 21476 w 36004"/>
                <a:gd name="connsiteY4" fmla="*/ 16506 h 17676"/>
                <a:gd name="connsiteX5" fmla="*/ 34144 w 36004"/>
                <a:gd name="connsiteY5" fmla="*/ 9267 h 17676"/>
                <a:gd name="connsiteX6" fmla="*/ 35668 w 36004"/>
                <a:gd name="connsiteY6" fmla="*/ 6981 h 17676"/>
                <a:gd name="connsiteX7" fmla="*/ 35668 w 36004"/>
                <a:gd name="connsiteY7" fmla="*/ -163 h 17676"/>
                <a:gd name="connsiteX8" fmla="*/ 34144 w 36004"/>
                <a:gd name="connsiteY8" fmla="*/ 2124 h 17676"/>
                <a:gd name="connsiteX9" fmla="*/ 31763 w 36004"/>
                <a:gd name="connsiteY9" fmla="*/ 3457 h 17676"/>
                <a:gd name="connsiteX10" fmla="*/ 21476 w 36004"/>
                <a:gd name="connsiteY10" fmla="*/ 9362 h 17676"/>
                <a:gd name="connsiteX11" fmla="*/ 13856 w 36004"/>
                <a:gd name="connsiteY11" fmla="*/ 9362 h 17676"/>
                <a:gd name="connsiteX12" fmla="*/ 3569 w 36004"/>
                <a:gd name="connsiteY12" fmla="*/ 3457 h 17676"/>
                <a:gd name="connsiteX13" fmla="*/ 1188 w 36004"/>
                <a:gd name="connsiteY13" fmla="*/ 2124 h 17676"/>
                <a:gd name="connsiteX14" fmla="*/ -336 w 36004"/>
                <a:gd name="connsiteY14" fmla="*/ -163 h 17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6">
                  <a:moveTo>
                    <a:pt x="-336" y="-163"/>
                  </a:moveTo>
                  <a:lnTo>
                    <a:pt x="-336" y="7076"/>
                  </a:lnTo>
                  <a:cubicBezTo>
                    <a:pt x="-279" y="8029"/>
                    <a:pt x="312" y="8877"/>
                    <a:pt x="1188" y="9267"/>
                  </a:cubicBezTo>
                  <a:lnTo>
                    <a:pt x="13856" y="16506"/>
                  </a:lnTo>
                  <a:cubicBezTo>
                    <a:pt x="16218" y="17849"/>
                    <a:pt x="19114" y="17849"/>
                    <a:pt x="21476" y="16506"/>
                  </a:cubicBezTo>
                  <a:lnTo>
                    <a:pt x="34144" y="9267"/>
                  </a:lnTo>
                  <a:cubicBezTo>
                    <a:pt x="35049" y="8867"/>
                    <a:pt x="35640" y="7972"/>
                    <a:pt x="35668" y="6981"/>
                  </a:cubicBezTo>
                  <a:lnTo>
                    <a:pt x="35668" y="-163"/>
                  </a:lnTo>
                  <a:cubicBezTo>
                    <a:pt x="35602" y="819"/>
                    <a:pt x="35021" y="1685"/>
                    <a:pt x="34144" y="2124"/>
                  </a:cubicBezTo>
                  <a:lnTo>
                    <a:pt x="31763" y="3457"/>
                  </a:lnTo>
                  <a:lnTo>
                    <a:pt x="21476" y="9362"/>
                  </a:lnTo>
                  <a:cubicBezTo>
                    <a:pt x="19085" y="10601"/>
                    <a:pt x="16247" y="10601"/>
                    <a:pt x="13856" y="9362"/>
                  </a:cubicBezTo>
                  <a:lnTo>
                    <a:pt x="3569" y="3457"/>
                  </a:lnTo>
                  <a:lnTo>
                    <a:pt x="1188" y="2124"/>
                  </a:lnTo>
                  <a:cubicBezTo>
                    <a:pt x="312" y="1685"/>
                    <a:pt x="-269" y="819"/>
                    <a:pt x="-336" y="-163"/>
                  </a:cubicBezTo>
                  <a:close/>
                </a:path>
              </a:pathLst>
            </a:custGeom>
            <a:solidFill>
              <a:srgbClr val="BF4200"/>
            </a:solidFill>
            <a:ln w="9525" cap="flat">
              <a:noFill/>
              <a:prstDash val="solid"/>
              <a:miter/>
            </a:ln>
          </p:spPr>
          <p:txBody>
            <a:bodyPr rtlCol="0" anchor="ctr"/>
            <a:lstStyle/>
            <a:p>
              <a:endParaRPr lang="zh-CN" altLang="en-US"/>
            </a:p>
          </p:txBody>
        </p:sp>
        <p:sp>
          <p:nvSpPr>
            <p:cNvPr id="296" name="íṡļíḋe">
              <a:extLst>
                <a:ext uri="{FF2B5EF4-FFF2-40B4-BE49-F238E27FC236}">
                  <a16:creationId xmlns:a16="http://schemas.microsoft.com/office/drawing/2014/main" id="{078E5FDF-3048-44FD-A66D-FD06136FCF9E}"/>
                </a:ext>
              </a:extLst>
            </p:cNvPr>
            <p:cNvSpPr/>
            <p:nvPr/>
          </p:nvSpPr>
          <p:spPr>
            <a:xfrm>
              <a:off x="5805967" y="5058921"/>
              <a:ext cx="109740" cy="63445"/>
            </a:xfrm>
            <a:custGeom>
              <a:avLst/>
              <a:gdLst>
                <a:gd name="connsiteX0" fmla="*/ -336 w 36052"/>
                <a:gd name="connsiteY0" fmla="*/ 10227 h 20843"/>
                <a:gd name="connsiteX1" fmla="*/ 1188 w 36052"/>
                <a:gd name="connsiteY1" fmla="*/ 12513 h 20843"/>
                <a:gd name="connsiteX2" fmla="*/ 3569 w 36052"/>
                <a:gd name="connsiteY2" fmla="*/ 13846 h 20843"/>
                <a:gd name="connsiteX3" fmla="*/ 13856 w 36052"/>
                <a:gd name="connsiteY3" fmla="*/ 19752 h 20843"/>
                <a:gd name="connsiteX4" fmla="*/ 21476 w 36052"/>
                <a:gd name="connsiteY4" fmla="*/ 19752 h 20843"/>
                <a:gd name="connsiteX5" fmla="*/ 31763 w 36052"/>
                <a:gd name="connsiteY5" fmla="*/ 13846 h 20843"/>
                <a:gd name="connsiteX6" fmla="*/ 34144 w 36052"/>
                <a:gd name="connsiteY6" fmla="*/ 12513 h 20843"/>
                <a:gd name="connsiteX7" fmla="*/ 35573 w 36052"/>
                <a:gd name="connsiteY7" fmla="*/ 9465 h 20843"/>
                <a:gd name="connsiteX8" fmla="*/ 34144 w 36052"/>
                <a:gd name="connsiteY8" fmla="*/ 8036 h 20843"/>
                <a:gd name="connsiteX9" fmla="*/ 21476 w 36052"/>
                <a:gd name="connsiteY9" fmla="*/ 702 h 20843"/>
                <a:gd name="connsiteX10" fmla="*/ 13856 w 36052"/>
                <a:gd name="connsiteY10" fmla="*/ 702 h 20843"/>
                <a:gd name="connsiteX11" fmla="*/ 1188 w 36052"/>
                <a:gd name="connsiteY11" fmla="*/ 8036 h 20843"/>
                <a:gd name="connsiteX12" fmla="*/ -336 w 36052"/>
                <a:gd name="connsiteY12" fmla="*/ 10227 h 20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3">
                  <a:moveTo>
                    <a:pt x="-336" y="10227"/>
                  </a:moveTo>
                  <a:cubicBezTo>
                    <a:pt x="-270" y="11208"/>
                    <a:pt x="311" y="12075"/>
                    <a:pt x="1188" y="12513"/>
                  </a:cubicBezTo>
                  <a:lnTo>
                    <a:pt x="3569" y="13846"/>
                  </a:lnTo>
                  <a:lnTo>
                    <a:pt x="13856" y="19752"/>
                  </a:lnTo>
                  <a:cubicBezTo>
                    <a:pt x="16247" y="20990"/>
                    <a:pt x="19085" y="20990"/>
                    <a:pt x="21476" y="19752"/>
                  </a:cubicBezTo>
                  <a:lnTo>
                    <a:pt x="31763" y="13846"/>
                  </a:lnTo>
                  <a:lnTo>
                    <a:pt x="34144" y="12513"/>
                  </a:lnTo>
                  <a:cubicBezTo>
                    <a:pt x="35382" y="12065"/>
                    <a:pt x="36020" y="10694"/>
                    <a:pt x="35573" y="9465"/>
                  </a:cubicBezTo>
                  <a:cubicBezTo>
                    <a:pt x="35325" y="8798"/>
                    <a:pt x="34811" y="8274"/>
                    <a:pt x="34144"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297" name="îṥliḋè">
              <a:extLst>
                <a:ext uri="{FF2B5EF4-FFF2-40B4-BE49-F238E27FC236}">
                  <a16:creationId xmlns:a16="http://schemas.microsoft.com/office/drawing/2014/main" id="{E57A0DF6-169E-4B94-9A12-68B81DFDA037}"/>
                </a:ext>
              </a:extLst>
            </p:cNvPr>
            <p:cNvSpPr/>
            <p:nvPr/>
          </p:nvSpPr>
          <p:spPr>
            <a:xfrm>
              <a:off x="5807781" y="5060102"/>
              <a:ext cx="105895" cy="61101"/>
            </a:xfrm>
            <a:custGeom>
              <a:avLst/>
              <a:gdLst>
                <a:gd name="connsiteX0" fmla="*/ 1164 w 34789"/>
                <a:gd name="connsiteY0" fmla="*/ 12029 h 20073"/>
                <a:gd name="connsiteX1" fmla="*/ 13356 w 34789"/>
                <a:gd name="connsiteY1" fmla="*/ 18982 h 20073"/>
                <a:gd name="connsiteX2" fmla="*/ 20785 w 34789"/>
                <a:gd name="connsiteY2" fmla="*/ 18982 h 20073"/>
                <a:gd name="connsiteX3" fmla="*/ 32882 w 34789"/>
                <a:gd name="connsiteY3" fmla="*/ 12029 h 20073"/>
                <a:gd name="connsiteX4" fmla="*/ 32882 w 34789"/>
                <a:gd name="connsiteY4" fmla="*/ 7743 h 20073"/>
                <a:gd name="connsiteX5" fmla="*/ 20785 w 34789"/>
                <a:gd name="connsiteY5" fmla="*/ 695 h 20073"/>
                <a:gd name="connsiteX6" fmla="*/ 13356 w 34789"/>
                <a:gd name="connsiteY6" fmla="*/ 695 h 20073"/>
                <a:gd name="connsiteX7" fmla="*/ 1164 w 34789"/>
                <a:gd name="connsiteY7" fmla="*/ 7743 h 20073"/>
                <a:gd name="connsiteX8" fmla="*/ 1164 w 34789"/>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89" h="20073">
                  <a:moveTo>
                    <a:pt x="1164" y="12029"/>
                  </a:moveTo>
                  <a:lnTo>
                    <a:pt x="13356" y="18982"/>
                  </a:lnTo>
                  <a:cubicBezTo>
                    <a:pt x="15680" y="20221"/>
                    <a:pt x="18461" y="20221"/>
                    <a:pt x="20785" y="18982"/>
                  </a:cubicBezTo>
                  <a:lnTo>
                    <a:pt x="32882" y="12029"/>
                  </a:lnTo>
                  <a:cubicBezTo>
                    <a:pt x="34977" y="10791"/>
                    <a:pt x="34977" y="8886"/>
                    <a:pt x="32882" y="7743"/>
                  </a:cubicBezTo>
                  <a:lnTo>
                    <a:pt x="20785" y="695"/>
                  </a:lnTo>
                  <a:cubicBezTo>
                    <a:pt x="18442" y="-448"/>
                    <a:pt x="15699" y="-448"/>
                    <a:pt x="13356" y="695"/>
                  </a:cubicBezTo>
                  <a:lnTo>
                    <a:pt x="1164" y="7743"/>
                  </a:lnTo>
                  <a:cubicBezTo>
                    <a:pt x="-836" y="8981"/>
                    <a:pt x="-836" y="10791"/>
                    <a:pt x="1164" y="12029"/>
                  </a:cubicBezTo>
                  <a:close/>
                </a:path>
              </a:pathLst>
            </a:custGeom>
            <a:solidFill>
              <a:srgbClr val="D1D9E8"/>
            </a:solidFill>
            <a:ln w="9525" cap="flat">
              <a:noFill/>
              <a:prstDash val="solid"/>
              <a:miter/>
            </a:ln>
          </p:spPr>
          <p:txBody>
            <a:bodyPr rtlCol="0" anchor="ctr"/>
            <a:lstStyle/>
            <a:p>
              <a:endParaRPr lang="zh-CN" altLang="en-US"/>
            </a:p>
          </p:txBody>
        </p:sp>
        <p:sp>
          <p:nvSpPr>
            <p:cNvPr id="298" name="íṡḷïde">
              <a:extLst>
                <a:ext uri="{FF2B5EF4-FFF2-40B4-BE49-F238E27FC236}">
                  <a16:creationId xmlns:a16="http://schemas.microsoft.com/office/drawing/2014/main" id="{3A9D2006-8B31-44E0-BA4B-45BDBEFA0342}"/>
                </a:ext>
              </a:extLst>
            </p:cNvPr>
            <p:cNvSpPr/>
            <p:nvPr/>
          </p:nvSpPr>
          <p:spPr>
            <a:xfrm>
              <a:off x="5805967" y="5090544"/>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3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3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2" y="7953"/>
                    <a:pt x="35668" y="6981"/>
                  </a:cubicBezTo>
                  <a:lnTo>
                    <a:pt x="35668" y="-163"/>
                  </a:lnTo>
                  <a:cubicBezTo>
                    <a:pt x="35602" y="818"/>
                    <a:pt x="35021" y="1685"/>
                    <a:pt x="34144" y="2123"/>
                  </a:cubicBezTo>
                  <a:lnTo>
                    <a:pt x="31763" y="3457"/>
                  </a:lnTo>
                  <a:lnTo>
                    <a:pt x="21476" y="9362"/>
                  </a:lnTo>
                  <a:cubicBezTo>
                    <a:pt x="19085" y="10601"/>
                    <a:pt x="16247" y="10601"/>
                    <a:pt x="13856" y="9362"/>
                  </a:cubicBezTo>
                  <a:lnTo>
                    <a:pt x="3569" y="3457"/>
                  </a:lnTo>
                  <a:lnTo>
                    <a:pt x="1188"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299" name="îšliďe">
              <a:extLst>
                <a:ext uri="{FF2B5EF4-FFF2-40B4-BE49-F238E27FC236}">
                  <a16:creationId xmlns:a16="http://schemas.microsoft.com/office/drawing/2014/main" id="{12AD210B-C16E-4F42-B9F2-2780174E5A43}"/>
                </a:ext>
              </a:extLst>
            </p:cNvPr>
            <p:cNvSpPr/>
            <p:nvPr/>
          </p:nvSpPr>
          <p:spPr>
            <a:xfrm>
              <a:off x="5883091" y="5103721"/>
              <a:ext cx="109740" cy="63292"/>
            </a:xfrm>
            <a:custGeom>
              <a:avLst/>
              <a:gdLst>
                <a:gd name="connsiteX0" fmla="*/ -336 w 36052"/>
                <a:gd name="connsiteY0" fmla="*/ 10177 h 20793"/>
                <a:gd name="connsiteX1" fmla="*/ 1283 w 36052"/>
                <a:gd name="connsiteY1" fmla="*/ 12463 h 20793"/>
                <a:gd name="connsiteX2" fmla="*/ 3569 w 36052"/>
                <a:gd name="connsiteY2" fmla="*/ 13796 h 20793"/>
                <a:gd name="connsiteX3" fmla="*/ 13856 w 36052"/>
                <a:gd name="connsiteY3" fmla="*/ 19702 h 20793"/>
                <a:gd name="connsiteX4" fmla="*/ 21571 w 36052"/>
                <a:gd name="connsiteY4" fmla="*/ 19702 h 20793"/>
                <a:gd name="connsiteX5" fmla="*/ 31858 w 36052"/>
                <a:gd name="connsiteY5" fmla="*/ 13796 h 20793"/>
                <a:gd name="connsiteX6" fmla="*/ 34144 w 36052"/>
                <a:gd name="connsiteY6" fmla="*/ 12463 h 20793"/>
                <a:gd name="connsiteX7" fmla="*/ 35573 w 36052"/>
                <a:gd name="connsiteY7" fmla="*/ 9415 h 20793"/>
                <a:gd name="connsiteX8" fmla="*/ 34144 w 36052"/>
                <a:gd name="connsiteY8" fmla="*/ 7986 h 20793"/>
                <a:gd name="connsiteX9" fmla="*/ 21571 w 36052"/>
                <a:gd name="connsiteY9" fmla="*/ 652 h 20793"/>
                <a:gd name="connsiteX10" fmla="*/ 13856 w 36052"/>
                <a:gd name="connsiteY10" fmla="*/ 652 h 20793"/>
                <a:gd name="connsiteX11" fmla="*/ 1283 w 36052"/>
                <a:gd name="connsiteY11" fmla="*/ 7986 h 20793"/>
                <a:gd name="connsiteX12" fmla="*/ -336 w 36052"/>
                <a:gd name="connsiteY12" fmla="*/ 10177 h 20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793">
                  <a:moveTo>
                    <a:pt x="-336" y="10177"/>
                  </a:moveTo>
                  <a:cubicBezTo>
                    <a:pt x="-270" y="11186"/>
                    <a:pt x="359" y="12072"/>
                    <a:pt x="1283" y="12463"/>
                  </a:cubicBezTo>
                  <a:lnTo>
                    <a:pt x="3569" y="13796"/>
                  </a:lnTo>
                  <a:lnTo>
                    <a:pt x="13856" y="19702"/>
                  </a:lnTo>
                  <a:cubicBezTo>
                    <a:pt x="16275" y="20940"/>
                    <a:pt x="19152" y="20940"/>
                    <a:pt x="21571" y="19702"/>
                  </a:cubicBezTo>
                  <a:lnTo>
                    <a:pt x="31858" y="13796"/>
                  </a:lnTo>
                  <a:lnTo>
                    <a:pt x="34144" y="12463"/>
                  </a:lnTo>
                  <a:cubicBezTo>
                    <a:pt x="35382" y="12015"/>
                    <a:pt x="36020" y="10643"/>
                    <a:pt x="35573" y="9415"/>
                  </a:cubicBezTo>
                  <a:cubicBezTo>
                    <a:pt x="35325" y="8748"/>
                    <a:pt x="34811" y="8224"/>
                    <a:pt x="34144" y="7986"/>
                  </a:cubicBezTo>
                  <a:lnTo>
                    <a:pt x="21571" y="652"/>
                  </a:lnTo>
                  <a:cubicBezTo>
                    <a:pt x="19114" y="-434"/>
                    <a:pt x="16313" y="-434"/>
                    <a:pt x="13856" y="652"/>
                  </a:cubicBezTo>
                  <a:lnTo>
                    <a:pt x="1283" y="7986"/>
                  </a:lnTo>
                  <a:cubicBezTo>
                    <a:pt x="378" y="8367"/>
                    <a:pt x="-241" y="9205"/>
                    <a:pt x="-336" y="10177"/>
                  </a:cubicBezTo>
                  <a:close/>
                </a:path>
              </a:pathLst>
            </a:custGeom>
            <a:solidFill>
              <a:srgbClr val="FFFFFF"/>
            </a:solidFill>
            <a:ln w="9525" cap="flat">
              <a:noFill/>
              <a:prstDash val="solid"/>
              <a:miter/>
            </a:ln>
          </p:spPr>
          <p:txBody>
            <a:bodyPr rtlCol="0" anchor="ctr"/>
            <a:lstStyle/>
            <a:p>
              <a:endParaRPr lang="zh-CN" altLang="en-US"/>
            </a:p>
          </p:txBody>
        </p:sp>
        <p:sp>
          <p:nvSpPr>
            <p:cNvPr id="300" name="î$ľïďe">
              <a:extLst>
                <a:ext uri="{FF2B5EF4-FFF2-40B4-BE49-F238E27FC236}">
                  <a16:creationId xmlns:a16="http://schemas.microsoft.com/office/drawing/2014/main" id="{20B8E362-6F15-4B67-999F-D7027DF152C7}"/>
                </a:ext>
              </a:extLst>
            </p:cNvPr>
            <p:cNvSpPr/>
            <p:nvPr/>
          </p:nvSpPr>
          <p:spPr>
            <a:xfrm>
              <a:off x="5884975" y="5104750"/>
              <a:ext cx="105898" cy="61101"/>
            </a:xfrm>
            <a:custGeom>
              <a:avLst/>
              <a:gdLst>
                <a:gd name="connsiteX0" fmla="*/ 1235 w 34790"/>
                <a:gd name="connsiteY0" fmla="*/ 12029 h 20073"/>
                <a:gd name="connsiteX1" fmla="*/ 13332 w 34790"/>
                <a:gd name="connsiteY1" fmla="*/ 18983 h 20073"/>
                <a:gd name="connsiteX2" fmla="*/ 20762 w 34790"/>
                <a:gd name="connsiteY2" fmla="*/ 18983 h 20073"/>
                <a:gd name="connsiteX3" fmla="*/ 32954 w 34790"/>
                <a:gd name="connsiteY3" fmla="*/ 12029 h 20073"/>
                <a:gd name="connsiteX4" fmla="*/ 32954 w 34790"/>
                <a:gd name="connsiteY4" fmla="*/ 7743 h 20073"/>
                <a:gd name="connsiteX5" fmla="*/ 20762 w 34790"/>
                <a:gd name="connsiteY5" fmla="*/ 695 h 20073"/>
                <a:gd name="connsiteX6" fmla="*/ 13332 w 34790"/>
                <a:gd name="connsiteY6" fmla="*/ 695 h 20073"/>
                <a:gd name="connsiteX7" fmla="*/ 1235 w 34790"/>
                <a:gd name="connsiteY7" fmla="*/ 7743 h 20073"/>
                <a:gd name="connsiteX8" fmla="*/ 1235 w 34790"/>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3">
                  <a:moveTo>
                    <a:pt x="1235" y="12029"/>
                  </a:moveTo>
                  <a:lnTo>
                    <a:pt x="13332" y="18983"/>
                  </a:lnTo>
                  <a:cubicBezTo>
                    <a:pt x="15656" y="20221"/>
                    <a:pt x="18437" y="20221"/>
                    <a:pt x="20762" y="18983"/>
                  </a:cubicBezTo>
                  <a:lnTo>
                    <a:pt x="32954" y="12029"/>
                  </a:lnTo>
                  <a:cubicBezTo>
                    <a:pt x="34954" y="10791"/>
                    <a:pt x="34954" y="8886"/>
                    <a:pt x="32954" y="7743"/>
                  </a:cubicBezTo>
                  <a:lnTo>
                    <a:pt x="20762" y="695"/>
                  </a:lnTo>
                  <a:cubicBezTo>
                    <a:pt x="18419" y="-448"/>
                    <a:pt x="15675" y="-448"/>
                    <a:pt x="13332" y="695"/>
                  </a:cubicBezTo>
                  <a:lnTo>
                    <a:pt x="1235" y="7743"/>
                  </a:lnTo>
                  <a:cubicBezTo>
                    <a:pt x="-860" y="8886"/>
                    <a:pt x="-860" y="10791"/>
                    <a:pt x="1235" y="12029"/>
                  </a:cubicBezTo>
                  <a:close/>
                </a:path>
              </a:pathLst>
            </a:custGeom>
            <a:solidFill>
              <a:srgbClr val="D1D9E8"/>
            </a:solidFill>
            <a:ln w="9525" cap="flat">
              <a:noFill/>
              <a:prstDash val="solid"/>
              <a:miter/>
            </a:ln>
          </p:spPr>
          <p:txBody>
            <a:bodyPr rtlCol="0" anchor="ctr"/>
            <a:lstStyle/>
            <a:p>
              <a:endParaRPr lang="zh-CN" altLang="en-US"/>
            </a:p>
          </p:txBody>
        </p:sp>
        <p:sp>
          <p:nvSpPr>
            <p:cNvPr id="301" name="îşlîďé">
              <a:extLst>
                <a:ext uri="{FF2B5EF4-FFF2-40B4-BE49-F238E27FC236}">
                  <a16:creationId xmlns:a16="http://schemas.microsoft.com/office/drawing/2014/main" id="{99054FD8-38D3-4B41-AA1D-AA1FAB6C39BA}"/>
                </a:ext>
              </a:extLst>
            </p:cNvPr>
            <p:cNvSpPr/>
            <p:nvPr/>
          </p:nvSpPr>
          <p:spPr>
            <a:xfrm>
              <a:off x="5883091" y="5135195"/>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4 w 36099"/>
                <a:gd name="connsiteY6" fmla="*/ 6981 h 17597"/>
                <a:gd name="connsiteX7" fmla="*/ 35764 w 36099"/>
                <a:gd name="connsiteY7" fmla="*/ -163 h 17597"/>
                <a:gd name="connsiteX8" fmla="*/ 34144 w 36099"/>
                <a:gd name="connsiteY8" fmla="*/ 2123 h 17597"/>
                <a:gd name="connsiteX9" fmla="*/ 31858 w 36099"/>
                <a:gd name="connsiteY9" fmla="*/ 3457 h 17597"/>
                <a:gd name="connsiteX10" fmla="*/ 21571 w 36099"/>
                <a:gd name="connsiteY10" fmla="*/ 9362 h 17597"/>
                <a:gd name="connsiteX11" fmla="*/ 13856 w 36099"/>
                <a:gd name="connsiteY11" fmla="*/ 9362 h 17597"/>
                <a:gd name="connsiteX12" fmla="*/ 3569 w 36099"/>
                <a:gd name="connsiteY12" fmla="*/ 3457 h 17597"/>
                <a:gd name="connsiteX13" fmla="*/ 1283 w 36099"/>
                <a:gd name="connsiteY13" fmla="*/ 2123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41" y="8048"/>
                    <a:pt x="387" y="8886"/>
                    <a:pt x="1283" y="9267"/>
                  </a:cubicBezTo>
                  <a:lnTo>
                    <a:pt x="13856" y="16506"/>
                  </a:lnTo>
                  <a:cubicBezTo>
                    <a:pt x="16275" y="17744"/>
                    <a:pt x="19152" y="17744"/>
                    <a:pt x="21571" y="16506"/>
                  </a:cubicBezTo>
                  <a:lnTo>
                    <a:pt x="34144" y="9267"/>
                  </a:lnTo>
                  <a:cubicBezTo>
                    <a:pt x="35030" y="8829"/>
                    <a:pt x="35640" y="7962"/>
                    <a:pt x="35764" y="6981"/>
                  </a:cubicBezTo>
                  <a:lnTo>
                    <a:pt x="35764" y="-163"/>
                  </a:lnTo>
                  <a:cubicBezTo>
                    <a:pt x="35659" y="828"/>
                    <a:pt x="35049" y="1695"/>
                    <a:pt x="34144" y="2123"/>
                  </a:cubicBezTo>
                  <a:lnTo>
                    <a:pt x="31858" y="3457"/>
                  </a:lnTo>
                  <a:lnTo>
                    <a:pt x="21571" y="9362"/>
                  </a:lnTo>
                  <a:cubicBezTo>
                    <a:pt x="19152" y="10601"/>
                    <a:pt x="16275" y="10601"/>
                    <a:pt x="13856" y="9362"/>
                  </a:cubicBezTo>
                  <a:lnTo>
                    <a:pt x="3569" y="3457"/>
                  </a:lnTo>
                  <a:lnTo>
                    <a:pt x="1283" y="2123"/>
                  </a:lnTo>
                  <a:cubicBezTo>
                    <a:pt x="349" y="1733"/>
                    <a:pt x="-270" y="847"/>
                    <a:pt x="-336" y="-163"/>
                  </a:cubicBezTo>
                  <a:close/>
                </a:path>
              </a:pathLst>
            </a:custGeom>
            <a:solidFill>
              <a:srgbClr val="BF4200"/>
            </a:solidFill>
            <a:ln w="9525" cap="flat">
              <a:noFill/>
              <a:prstDash val="solid"/>
              <a:miter/>
            </a:ln>
          </p:spPr>
          <p:txBody>
            <a:bodyPr rtlCol="0" anchor="ctr"/>
            <a:lstStyle/>
            <a:p>
              <a:endParaRPr lang="zh-CN" altLang="en-US"/>
            </a:p>
          </p:txBody>
        </p:sp>
        <p:sp>
          <p:nvSpPr>
            <p:cNvPr id="302" name="íşľiďè">
              <a:extLst>
                <a:ext uri="{FF2B5EF4-FFF2-40B4-BE49-F238E27FC236}">
                  <a16:creationId xmlns:a16="http://schemas.microsoft.com/office/drawing/2014/main" id="{483A7C24-94DC-4C2E-8BE2-E7EFD86A72A4}"/>
                </a:ext>
              </a:extLst>
            </p:cNvPr>
            <p:cNvSpPr/>
            <p:nvPr/>
          </p:nvSpPr>
          <p:spPr>
            <a:xfrm>
              <a:off x="5960501" y="5148023"/>
              <a:ext cx="109594" cy="63639"/>
            </a:xfrm>
            <a:custGeom>
              <a:avLst/>
              <a:gdLst>
                <a:gd name="connsiteX0" fmla="*/ -336 w 36004"/>
                <a:gd name="connsiteY0" fmla="*/ 10291 h 20907"/>
                <a:gd name="connsiteX1" fmla="*/ 1188 w 36004"/>
                <a:gd name="connsiteY1" fmla="*/ 12577 h 20907"/>
                <a:gd name="connsiteX2" fmla="*/ 3569 w 36004"/>
                <a:gd name="connsiteY2" fmla="*/ 13910 h 20907"/>
                <a:gd name="connsiteX3" fmla="*/ 13856 w 36004"/>
                <a:gd name="connsiteY3" fmla="*/ 19816 h 20907"/>
                <a:gd name="connsiteX4" fmla="*/ 21476 w 36004"/>
                <a:gd name="connsiteY4" fmla="*/ 19816 h 20907"/>
                <a:gd name="connsiteX5" fmla="*/ 31763 w 36004"/>
                <a:gd name="connsiteY5" fmla="*/ 13910 h 20907"/>
                <a:gd name="connsiteX6" fmla="*/ 34144 w 36004"/>
                <a:gd name="connsiteY6" fmla="*/ 12577 h 20907"/>
                <a:gd name="connsiteX7" fmla="*/ 35668 w 36004"/>
                <a:gd name="connsiteY7" fmla="*/ 10291 h 20907"/>
                <a:gd name="connsiteX8" fmla="*/ 34144 w 36004"/>
                <a:gd name="connsiteY8" fmla="*/ 8100 h 20907"/>
                <a:gd name="connsiteX9" fmla="*/ 21476 w 36004"/>
                <a:gd name="connsiteY9" fmla="*/ 766 h 20907"/>
                <a:gd name="connsiteX10" fmla="*/ 13856 w 36004"/>
                <a:gd name="connsiteY10" fmla="*/ 766 h 20907"/>
                <a:gd name="connsiteX11" fmla="*/ 1188 w 36004"/>
                <a:gd name="connsiteY11" fmla="*/ 8100 h 20907"/>
                <a:gd name="connsiteX12" fmla="*/ -336 w 36004"/>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907">
                  <a:moveTo>
                    <a:pt x="-336" y="10291"/>
                  </a:moveTo>
                  <a:cubicBezTo>
                    <a:pt x="-269" y="11272"/>
                    <a:pt x="312" y="12139"/>
                    <a:pt x="1188" y="12577"/>
                  </a:cubicBezTo>
                  <a:lnTo>
                    <a:pt x="3569" y="13910"/>
                  </a:lnTo>
                  <a:lnTo>
                    <a:pt x="13856" y="19816"/>
                  </a:lnTo>
                  <a:cubicBezTo>
                    <a:pt x="16247" y="21054"/>
                    <a:pt x="19085" y="21054"/>
                    <a:pt x="21476" y="19816"/>
                  </a:cubicBezTo>
                  <a:lnTo>
                    <a:pt x="31763" y="13910"/>
                  </a:lnTo>
                  <a:lnTo>
                    <a:pt x="34144" y="12577"/>
                  </a:lnTo>
                  <a:cubicBezTo>
                    <a:pt x="35021" y="12139"/>
                    <a:pt x="35602" y="11272"/>
                    <a:pt x="35668" y="10291"/>
                  </a:cubicBezTo>
                  <a:cubicBezTo>
                    <a:pt x="35611" y="9339"/>
                    <a:pt x="35021" y="8491"/>
                    <a:pt x="34144" y="8100"/>
                  </a:cubicBezTo>
                  <a:lnTo>
                    <a:pt x="21476" y="766"/>
                  </a:lnTo>
                  <a:cubicBezTo>
                    <a:pt x="19085" y="-472"/>
                    <a:pt x="16247" y="-472"/>
                    <a:pt x="13856" y="766"/>
                  </a:cubicBezTo>
                  <a:lnTo>
                    <a:pt x="1188" y="8100"/>
                  </a:lnTo>
                  <a:cubicBezTo>
                    <a:pt x="312" y="8491"/>
                    <a:pt x="-279"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303" name="îṩḻïḍè">
              <a:extLst>
                <a:ext uri="{FF2B5EF4-FFF2-40B4-BE49-F238E27FC236}">
                  <a16:creationId xmlns:a16="http://schemas.microsoft.com/office/drawing/2014/main" id="{8922AE45-B3D8-42EC-A3C9-851931320853}"/>
                </a:ext>
              </a:extLst>
            </p:cNvPr>
            <p:cNvSpPr/>
            <p:nvPr/>
          </p:nvSpPr>
          <p:spPr>
            <a:xfrm>
              <a:off x="5962388" y="5149401"/>
              <a:ext cx="105825" cy="61104"/>
            </a:xfrm>
            <a:custGeom>
              <a:avLst/>
              <a:gdLst>
                <a:gd name="connsiteX0" fmla="*/ 1235 w 34766"/>
                <a:gd name="connsiteY0" fmla="*/ 12029 h 20074"/>
                <a:gd name="connsiteX1" fmla="*/ 13332 w 34766"/>
                <a:gd name="connsiteY1" fmla="*/ 18983 h 20074"/>
                <a:gd name="connsiteX2" fmla="*/ 20761 w 34766"/>
                <a:gd name="connsiteY2" fmla="*/ 18983 h 20074"/>
                <a:gd name="connsiteX3" fmla="*/ 32858 w 34766"/>
                <a:gd name="connsiteY3" fmla="*/ 12029 h 20074"/>
                <a:gd name="connsiteX4" fmla="*/ 32858 w 34766"/>
                <a:gd name="connsiteY4" fmla="*/ 7743 h 20074"/>
                <a:gd name="connsiteX5" fmla="*/ 20761 w 34766"/>
                <a:gd name="connsiteY5" fmla="*/ 695 h 20074"/>
                <a:gd name="connsiteX6" fmla="*/ 13332 w 34766"/>
                <a:gd name="connsiteY6" fmla="*/ 695 h 20074"/>
                <a:gd name="connsiteX7" fmla="*/ 1235 w 34766"/>
                <a:gd name="connsiteY7" fmla="*/ 8219 h 20074"/>
                <a:gd name="connsiteX8" fmla="*/ 1235 w 34766"/>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6" h="20074">
                  <a:moveTo>
                    <a:pt x="1235" y="12029"/>
                  </a:moveTo>
                  <a:lnTo>
                    <a:pt x="13332" y="18983"/>
                  </a:lnTo>
                  <a:cubicBezTo>
                    <a:pt x="15656" y="20221"/>
                    <a:pt x="18437" y="20221"/>
                    <a:pt x="20761" y="18983"/>
                  </a:cubicBezTo>
                  <a:lnTo>
                    <a:pt x="32858" y="12029"/>
                  </a:lnTo>
                  <a:cubicBezTo>
                    <a:pt x="34954" y="10791"/>
                    <a:pt x="34954" y="8886"/>
                    <a:pt x="32858" y="7743"/>
                  </a:cubicBezTo>
                  <a:lnTo>
                    <a:pt x="20761" y="695"/>
                  </a:lnTo>
                  <a:cubicBezTo>
                    <a:pt x="18418" y="-448"/>
                    <a:pt x="15675" y="-448"/>
                    <a:pt x="13332" y="695"/>
                  </a:cubicBezTo>
                  <a:lnTo>
                    <a:pt x="1235" y="8219"/>
                  </a:lnTo>
                  <a:cubicBezTo>
                    <a:pt x="-860" y="8886"/>
                    <a:pt x="-860" y="10791"/>
                    <a:pt x="1235" y="12029"/>
                  </a:cubicBezTo>
                  <a:close/>
                </a:path>
              </a:pathLst>
            </a:custGeom>
            <a:solidFill>
              <a:srgbClr val="D1D9E8"/>
            </a:solidFill>
            <a:ln w="9525" cap="flat">
              <a:noFill/>
              <a:prstDash val="solid"/>
              <a:miter/>
            </a:ln>
          </p:spPr>
          <p:txBody>
            <a:bodyPr rtlCol="0" anchor="ctr"/>
            <a:lstStyle/>
            <a:p>
              <a:endParaRPr lang="zh-CN" altLang="en-US"/>
            </a:p>
          </p:txBody>
        </p:sp>
        <p:sp>
          <p:nvSpPr>
            <p:cNvPr id="304" name="iṧlîdê">
              <a:extLst>
                <a:ext uri="{FF2B5EF4-FFF2-40B4-BE49-F238E27FC236}">
                  <a16:creationId xmlns:a16="http://schemas.microsoft.com/office/drawing/2014/main" id="{9FFC56A7-D684-4A0F-B9AF-970009876C27}"/>
                </a:ext>
              </a:extLst>
            </p:cNvPr>
            <p:cNvSpPr/>
            <p:nvPr/>
          </p:nvSpPr>
          <p:spPr>
            <a:xfrm>
              <a:off x="5960501" y="5179844"/>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3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3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2" y="7953"/>
                    <a:pt x="35668" y="6981"/>
                  </a:cubicBezTo>
                  <a:lnTo>
                    <a:pt x="35668" y="-163"/>
                  </a:lnTo>
                  <a:cubicBezTo>
                    <a:pt x="35602" y="818"/>
                    <a:pt x="35021" y="1685"/>
                    <a:pt x="34144" y="2123"/>
                  </a:cubicBezTo>
                  <a:lnTo>
                    <a:pt x="31763" y="3457"/>
                  </a:lnTo>
                  <a:lnTo>
                    <a:pt x="21476" y="9362"/>
                  </a:lnTo>
                  <a:cubicBezTo>
                    <a:pt x="19085" y="10600"/>
                    <a:pt x="16247" y="10600"/>
                    <a:pt x="13856" y="9362"/>
                  </a:cubicBezTo>
                  <a:lnTo>
                    <a:pt x="3569" y="3457"/>
                  </a:lnTo>
                  <a:lnTo>
                    <a:pt x="1188" y="2123"/>
                  </a:lnTo>
                  <a:cubicBezTo>
                    <a:pt x="312"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305" name="ïṡľíḓe">
              <a:extLst>
                <a:ext uri="{FF2B5EF4-FFF2-40B4-BE49-F238E27FC236}">
                  <a16:creationId xmlns:a16="http://schemas.microsoft.com/office/drawing/2014/main" id="{50E0C482-B75A-43AE-A00B-B5FB65CBA1F7}"/>
                </a:ext>
              </a:extLst>
            </p:cNvPr>
            <p:cNvSpPr/>
            <p:nvPr/>
          </p:nvSpPr>
          <p:spPr>
            <a:xfrm>
              <a:off x="6037625" y="5192674"/>
              <a:ext cx="109883" cy="63639"/>
            </a:xfrm>
            <a:custGeom>
              <a:avLst/>
              <a:gdLst>
                <a:gd name="connsiteX0" fmla="*/ -336 w 36099"/>
                <a:gd name="connsiteY0" fmla="*/ 10291 h 20907"/>
                <a:gd name="connsiteX1" fmla="*/ 1283 w 36099"/>
                <a:gd name="connsiteY1" fmla="*/ 12577 h 20907"/>
                <a:gd name="connsiteX2" fmla="*/ 3569 w 36099"/>
                <a:gd name="connsiteY2" fmla="*/ 13911 h 20907"/>
                <a:gd name="connsiteX3" fmla="*/ 13856 w 36099"/>
                <a:gd name="connsiteY3" fmla="*/ 19816 h 20907"/>
                <a:gd name="connsiteX4" fmla="*/ 21571 w 36099"/>
                <a:gd name="connsiteY4" fmla="*/ 19816 h 20907"/>
                <a:gd name="connsiteX5" fmla="*/ 31858 w 36099"/>
                <a:gd name="connsiteY5" fmla="*/ 13911 h 20907"/>
                <a:gd name="connsiteX6" fmla="*/ 34144 w 36099"/>
                <a:gd name="connsiteY6" fmla="*/ 12577 h 20907"/>
                <a:gd name="connsiteX7" fmla="*/ 35764 w 36099"/>
                <a:gd name="connsiteY7" fmla="*/ 10291 h 20907"/>
                <a:gd name="connsiteX8" fmla="*/ 34144 w 36099"/>
                <a:gd name="connsiteY8" fmla="*/ 8101 h 20907"/>
                <a:gd name="connsiteX9" fmla="*/ 21571 w 36099"/>
                <a:gd name="connsiteY9" fmla="*/ 766 h 20907"/>
                <a:gd name="connsiteX10" fmla="*/ 13856 w 36099"/>
                <a:gd name="connsiteY10" fmla="*/ 766 h 20907"/>
                <a:gd name="connsiteX11" fmla="*/ 1283 w 36099"/>
                <a:gd name="connsiteY11" fmla="*/ 8101 h 20907"/>
                <a:gd name="connsiteX12" fmla="*/ -336 w 36099"/>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99" h="20907">
                  <a:moveTo>
                    <a:pt x="-336" y="10291"/>
                  </a:moveTo>
                  <a:cubicBezTo>
                    <a:pt x="-231" y="11282"/>
                    <a:pt x="378" y="12149"/>
                    <a:pt x="1283" y="12577"/>
                  </a:cubicBezTo>
                  <a:lnTo>
                    <a:pt x="3569" y="13911"/>
                  </a:lnTo>
                  <a:lnTo>
                    <a:pt x="13856" y="19816"/>
                  </a:lnTo>
                  <a:cubicBezTo>
                    <a:pt x="16275" y="21054"/>
                    <a:pt x="19152" y="21054"/>
                    <a:pt x="21571" y="19816"/>
                  </a:cubicBezTo>
                  <a:lnTo>
                    <a:pt x="31858" y="13911"/>
                  </a:lnTo>
                  <a:lnTo>
                    <a:pt x="34144" y="12577"/>
                  </a:lnTo>
                  <a:cubicBezTo>
                    <a:pt x="35049" y="12149"/>
                    <a:pt x="35659" y="11282"/>
                    <a:pt x="35764" y="10291"/>
                  </a:cubicBezTo>
                  <a:cubicBezTo>
                    <a:pt x="35649" y="9329"/>
                    <a:pt x="35030" y="8491"/>
                    <a:pt x="34144" y="8101"/>
                  </a:cubicBezTo>
                  <a:lnTo>
                    <a:pt x="21571" y="766"/>
                  </a:lnTo>
                  <a:cubicBezTo>
                    <a:pt x="19152" y="-472"/>
                    <a:pt x="16275" y="-472"/>
                    <a:pt x="13856" y="766"/>
                  </a:cubicBezTo>
                  <a:lnTo>
                    <a:pt x="1283" y="8101"/>
                  </a:lnTo>
                  <a:cubicBezTo>
                    <a:pt x="397" y="8491"/>
                    <a:pt x="-222"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306" name="ïṧļiḑè">
              <a:extLst>
                <a:ext uri="{FF2B5EF4-FFF2-40B4-BE49-F238E27FC236}">
                  <a16:creationId xmlns:a16="http://schemas.microsoft.com/office/drawing/2014/main" id="{96438CD0-AAAB-4A7E-A058-C7F5273CBA7A}"/>
                </a:ext>
              </a:extLst>
            </p:cNvPr>
            <p:cNvSpPr/>
            <p:nvPr/>
          </p:nvSpPr>
          <p:spPr>
            <a:xfrm>
              <a:off x="6039729" y="5193834"/>
              <a:ext cx="105679" cy="61104"/>
            </a:xfrm>
            <a:custGeom>
              <a:avLst/>
              <a:gdLst>
                <a:gd name="connsiteX0" fmla="*/ 1164 w 34718"/>
                <a:gd name="connsiteY0" fmla="*/ 12006 h 20074"/>
                <a:gd name="connsiteX1" fmla="*/ 13260 w 34718"/>
                <a:gd name="connsiteY1" fmla="*/ 19054 h 20074"/>
                <a:gd name="connsiteX2" fmla="*/ 20690 w 34718"/>
                <a:gd name="connsiteY2" fmla="*/ 19054 h 20074"/>
                <a:gd name="connsiteX3" fmla="*/ 32882 w 34718"/>
                <a:gd name="connsiteY3" fmla="*/ 12006 h 20074"/>
                <a:gd name="connsiteX4" fmla="*/ 32882 w 34718"/>
                <a:gd name="connsiteY4" fmla="*/ 7719 h 20074"/>
                <a:gd name="connsiteX5" fmla="*/ 20690 w 34718"/>
                <a:gd name="connsiteY5" fmla="*/ 766 h 20074"/>
                <a:gd name="connsiteX6" fmla="*/ 13260 w 34718"/>
                <a:gd name="connsiteY6" fmla="*/ 766 h 20074"/>
                <a:gd name="connsiteX7" fmla="*/ 1164 w 34718"/>
                <a:gd name="connsiteY7" fmla="*/ 7719 h 20074"/>
                <a:gd name="connsiteX8" fmla="*/ 1164 w 34718"/>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18" h="20074">
                  <a:moveTo>
                    <a:pt x="1164" y="12006"/>
                  </a:moveTo>
                  <a:lnTo>
                    <a:pt x="13260" y="19054"/>
                  </a:lnTo>
                  <a:cubicBezTo>
                    <a:pt x="15604" y="20197"/>
                    <a:pt x="18347" y="20197"/>
                    <a:pt x="20690" y="19054"/>
                  </a:cubicBezTo>
                  <a:lnTo>
                    <a:pt x="32882" y="12006"/>
                  </a:lnTo>
                  <a:cubicBezTo>
                    <a:pt x="34882" y="10863"/>
                    <a:pt x="34882" y="8957"/>
                    <a:pt x="32882" y="7719"/>
                  </a:cubicBezTo>
                  <a:lnTo>
                    <a:pt x="20690" y="766"/>
                  </a:lnTo>
                  <a:cubicBezTo>
                    <a:pt x="18366" y="-472"/>
                    <a:pt x="15585" y="-472"/>
                    <a:pt x="13260" y="766"/>
                  </a:cubicBezTo>
                  <a:lnTo>
                    <a:pt x="1164" y="7719"/>
                  </a:lnTo>
                  <a:cubicBezTo>
                    <a:pt x="-836" y="8957"/>
                    <a:pt x="-836" y="10863"/>
                    <a:pt x="1164" y="12006"/>
                  </a:cubicBezTo>
                  <a:close/>
                </a:path>
              </a:pathLst>
            </a:custGeom>
            <a:solidFill>
              <a:srgbClr val="D1D9E8"/>
            </a:solidFill>
            <a:ln w="9525" cap="flat">
              <a:noFill/>
              <a:prstDash val="solid"/>
              <a:miter/>
            </a:ln>
          </p:spPr>
          <p:txBody>
            <a:bodyPr rtlCol="0" anchor="ctr"/>
            <a:lstStyle/>
            <a:p>
              <a:endParaRPr lang="zh-CN" altLang="en-US"/>
            </a:p>
          </p:txBody>
        </p:sp>
        <p:sp>
          <p:nvSpPr>
            <p:cNvPr id="307" name="íṧľiḍe">
              <a:extLst>
                <a:ext uri="{FF2B5EF4-FFF2-40B4-BE49-F238E27FC236}">
                  <a16:creationId xmlns:a16="http://schemas.microsoft.com/office/drawing/2014/main" id="{59E2F153-B647-4EDD-8FC9-77C2598A14C7}"/>
                </a:ext>
              </a:extLst>
            </p:cNvPr>
            <p:cNvSpPr/>
            <p:nvPr/>
          </p:nvSpPr>
          <p:spPr>
            <a:xfrm>
              <a:off x="6037625" y="5224492"/>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4 w 36099"/>
                <a:gd name="connsiteY6" fmla="*/ 6981 h 17597"/>
                <a:gd name="connsiteX7" fmla="*/ 35764 w 36099"/>
                <a:gd name="connsiteY7" fmla="*/ -163 h 17597"/>
                <a:gd name="connsiteX8" fmla="*/ 34144 w 36099"/>
                <a:gd name="connsiteY8" fmla="*/ 2124 h 17597"/>
                <a:gd name="connsiteX9" fmla="*/ 31858 w 36099"/>
                <a:gd name="connsiteY9" fmla="*/ 3457 h 17597"/>
                <a:gd name="connsiteX10" fmla="*/ 21571 w 36099"/>
                <a:gd name="connsiteY10" fmla="*/ 9362 h 17597"/>
                <a:gd name="connsiteX11" fmla="*/ 13856 w 36099"/>
                <a:gd name="connsiteY11" fmla="*/ 9362 h 17597"/>
                <a:gd name="connsiteX12" fmla="*/ 3569 w 36099"/>
                <a:gd name="connsiteY12" fmla="*/ 3457 h 17597"/>
                <a:gd name="connsiteX13" fmla="*/ 1283 w 36099"/>
                <a:gd name="connsiteY13" fmla="*/ 2124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03" y="8029"/>
                    <a:pt x="407" y="8858"/>
                    <a:pt x="1283" y="9267"/>
                  </a:cubicBezTo>
                  <a:lnTo>
                    <a:pt x="13856" y="16506"/>
                  </a:lnTo>
                  <a:cubicBezTo>
                    <a:pt x="16275" y="17744"/>
                    <a:pt x="19152" y="17744"/>
                    <a:pt x="21571" y="16506"/>
                  </a:cubicBezTo>
                  <a:lnTo>
                    <a:pt x="34144" y="9267"/>
                  </a:lnTo>
                  <a:cubicBezTo>
                    <a:pt x="35030" y="8829"/>
                    <a:pt x="35640" y="7972"/>
                    <a:pt x="35764" y="6981"/>
                  </a:cubicBezTo>
                  <a:lnTo>
                    <a:pt x="35764" y="-163"/>
                  </a:lnTo>
                  <a:cubicBezTo>
                    <a:pt x="35659" y="828"/>
                    <a:pt x="35049" y="1695"/>
                    <a:pt x="34144" y="2124"/>
                  </a:cubicBezTo>
                  <a:lnTo>
                    <a:pt x="31858" y="3457"/>
                  </a:lnTo>
                  <a:lnTo>
                    <a:pt x="21571" y="9362"/>
                  </a:lnTo>
                  <a:cubicBezTo>
                    <a:pt x="19152" y="10601"/>
                    <a:pt x="16275" y="10601"/>
                    <a:pt x="13856" y="9362"/>
                  </a:cubicBezTo>
                  <a:lnTo>
                    <a:pt x="3569" y="3457"/>
                  </a:lnTo>
                  <a:lnTo>
                    <a:pt x="1283" y="2124"/>
                  </a:lnTo>
                  <a:cubicBezTo>
                    <a:pt x="378" y="1695"/>
                    <a:pt x="-231"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308" name="îṣ1ïḍé">
              <a:extLst>
                <a:ext uri="{FF2B5EF4-FFF2-40B4-BE49-F238E27FC236}">
                  <a16:creationId xmlns:a16="http://schemas.microsoft.com/office/drawing/2014/main" id="{269C6E8D-E3F5-458E-9C3F-8192EF5BFB96}"/>
                </a:ext>
              </a:extLst>
            </p:cNvPr>
            <p:cNvSpPr/>
            <p:nvPr/>
          </p:nvSpPr>
          <p:spPr>
            <a:xfrm>
              <a:off x="6115038" y="5237322"/>
              <a:ext cx="109594" cy="63588"/>
            </a:xfrm>
            <a:custGeom>
              <a:avLst/>
              <a:gdLst>
                <a:gd name="connsiteX0" fmla="*/ -336 w 36004"/>
                <a:gd name="connsiteY0" fmla="*/ 10291 h 20890"/>
                <a:gd name="connsiteX1" fmla="*/ 1188 w 36004"/>
                <a:gd name="connsiteY1" fmla="*/ 12577 h 20890"/>
                <a:gd name="connsiteX2" fmla="*/ 3569 w 36004"/>
                <a:gd name="connsiteY2" fmla="*/ 13911 h 20890"/>
                <a:gd name="connsiteX3" fmla="*/ 13856 w 36004"/>
                <a:gd name="connsiteY3" fmla="*/ 19721 h 20890"/>
                <a:gd name="connsiteX4" fmla="*/ 21476 w 36004"/>
                <a:gd name="connsiteY4" fmla="*/ 19721 h 20890"/>
                <a:gd name="connsiteX5" fmla="*/ 31763 w 36004"/>
                <a:gd name="connsiteY5" fmla="*/ 13911 h 20890"/>
                <a:gd name="connsiteX6" fmla="*/ 34144 w 36004"/>
                <a:gd name="connsiteY6" fmla="*/ 12577 h 20890"/>
                <a:gd name="connsiteX7" fmla="*/ 35668 w 36004"/>
                <a:gd name="connsiteY7" fmla="*/ 10291 h 20890"/>
                <a:gd name="connsiteX8" fmla="*/ 34144 w 36004"/>
                <a:gd name="connsiteY8" fmla="*/ 8100 h 20890"/>
                <a:gd name="connsiteX9" fmla="*/ 21476 w 36004"/>
                <a:gd name="connsiteY9" fmla="*/ 766 h 20890"/>
                <a:gd name="connsiteX10" fmla="*/ 13856 w 36004"/>
                <a:gd name="connsiteY10" fmla="*/ 766 h 20890"/>
                <a:gd name="connsiteX11" fmla="*/ 1188 w 36004"/>
                <a:gd name="connsiteY11" fmla="*/ 8100 h 20890"/>
                <a:gd name="connsiteX12" fmla="*/ -336 w 36004"/>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291"/>
                  </a:moveTo>
                  <a:cubicBezTo>
                    <a:pt x="-270" y="11272"/>
                    <a:pt x="311" y="12139"/>
                    <a:pt x="1188" y="12577"/>
                  </a:cubicBezTo>
                  <a:lnTo>
                    <a:pt x="3569" y="13911"/>
                  </a:lnTo>
                  <a:lnTo>
                    <a:pt x="13856" y="19721"/>
                  </a:lnTo>
                  <a:cubicBezTo>
                    <a:pt x="16218" y="21064"/>
                    <a:pt x="19114" y="21064"/>
                    <a:pt x="21476" y="19721"/>
                  </a:cubicBezTo>
                  <a:lnTo>
                    <a:pt x="31763" y="13911"/>
                  </a:lnTo>
                  <a:lnTo>
                    <a:pt x="34144" y="12577"/>
                  </a:lnTo>
                  <a:cubicBezTo>
                    <a:pt x="35021" y="12139"/>
                    <a:pt x="35601" y="11272"/>
                    <a:pt x="35668" y="10291"/>
                  </a:cubicBezTo>
                  <a:cubicBezTo>
                    <a:pt x="35630" y="9329"/>
                    <a:pt x="35039" y="8472"/>
                    <a:pt x="34144" y="8100"/>
                  </a:cubicBezTo>
                  <a:lnTo>
                    <a:pt x="21476" y="766"/>
                  </a:lnTo>
                  <a:cubicBezTo>
                    <a:pt x="19085" y="-472"/>
                    <a:pt x="16247" y="-472"/>
                    <a:pt x="13856" y="766"/>
                  </a:cubicBezTo>
                  <a:lnTo>
                    <a:pt x="1188" y="8100"/>
                  </a:lnTo>
                  <a:cubicBezTo>
                    <a:pt x="292" y="8472"/>
                    <a:pt x="-298"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309" name="íšḷiḑe">
              <a:extLst>
                <a:ext uri="{FF2B5EF4-FFF2-40B4-BE49-F238E27FC236}">
                  <a16:creationId xmlns:a16="http://schemas.microsoft.com/office/drawing/2014/main" id="{0DC3A74E-FB99-454C-B97E-005F90F8F1E8}"/>
                </a:ext>
              </a:extLst>
            </p:cNvPr>
            <p:cNvSpPr/>
            <p:nvPr/>
          </p:nvSpPr>
          <p:spPr>
            <a:xfrm>
              <a:off x="6116923" y="5238482"/>
              <a:ext cx="105825" cy="61101"/>
            </a:xfrm>
            <a:custGeom>
              <a:avLst/>
              <a:gdLst>
                <a:gd name="connsiteX0" fmla="*/ 1235 w 34766"/>
                <a:gd name="connsiteY0" fmla="*/ 12006 h 20073"/>
                <a:gd name="connsiteX1" fmla="*/ 13332 w 34766"/>
                <a:gd name="connsiteY1" fmla="*/ 19054 h 20073"/>
                <a:gd name="connsiteX2" fmla="*/ 20762 w 34766"/>
                <a:gd name="connsiteY2" fmla="*/ 19054 h 20073"/>
                <a:gd name="connsiteX3" fmla="*/ 32858 w 34766"/>
                <a:gd name="connsiteY3" fmla="*/ 12006 h 20073"/>
                <a:gd name="connsiteX4" fmla="*/ 32858 w 34766"/>
                <a:gd name="connsiteY4" fmla="*/ 7719 h 20073"/>
                <a:gd name="connsiteX5" fmla="*/ 20762 w 34766"/>
                <a:gd name="connsiteY5" fmla="*/ 766 h 20073"/>
                <a:gd name="connsiteX6" fmla="*/ 13332 w 34766"/>
                <a:gd name="connsiteY6" fmla="*/ 766 h 20073"/>
                <a:gd name="connsiteX7" fmla="*/ 1235 w 34766"/>
                <a:gd name="connsiteY7" fmla="*/ 7719 h 20073"/>
                <a:gd name="connsiteX8" fmla="*/ 1235 w 34766"/>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6" h="20073">
                  <a:moveTo>
                    <a:pt x="1235" y="12006"/>
                  </a:moveTo>
                  <a:lnTo>
                    <a:pt x="13332" y="19054"/>
                  </a:lnTo>
                  <a:cubicBezTo>
                    <a:pt x="15675" y="20197"/>
                    <a:pt x="18419" y="20197"/>
                    <a:pt x="20762" y="19054"/>
                  </a:cubicBezTo>
                  <a:lnTo>
                    <a:pt x="32858" y="12006"/>
                  </a:lnTo>
                  <a:cubicBezTo>
                    <a:pt x="34954" y="10863"/>
                    <a:pt x="34954" y="8957"/>
                    <a:pt x="32858" y="7719"/>
                  </a:cubicBezTo>
                  <a:lnTo>
                    <a:pt x="20762" y="766"/>
                  </a:lnTo>
                  <a:cubicBezTo>
                    <a:pt x="18437" y="-472"/>
                    <a:pt x="15656" y="-472"/>
                    <a:pt x="13332" y="766"/>
                  </a:cubicBezTo>
                  <a:lnTo>
                    <a:pt x="1235" y="7719"/>
                  </a:lnTo>
                  <a:cubicBezTo>
                    <a:pt x="-860" y="8957"/>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310" name="îSḻíḑé">
              <a:extLst>
                <a:ext uri="{FF2B5EF4-FFF2-40B4-BE49-F238E27FC236}">
                  <a16:creationId xmlns:a16="http://schemas.microsoft.com/office/drawing/2014/main" id="{F5070CC0-0F0B-44CA-80C9-61FAA6A68CF0}"/>
                </a:ext>
              </a:extLst>
            </p:cNvPr>
            <p:cNvSpPr/>
            <p:nvPr/>
          </p:nvSpPr>
          <p:spPr>
            <a:xfrm>
              <a:off x="6115038" y="5268854"/>
              <a:ext cx="109594" cy="53564"/>
            </a:xfrm>
            <a:custGeom>
              <a:avLst/>
              <a:gdLst>
                <a:gd name="connsiteX0" fmla="*/ -336 w 36004"/>
                <a:gd name="connsiteY0" fmla="*/ -67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4 h 17597"/>
                <a:gd name="connsiteX9" fmla="*/ 31763 w 36004"/>
                <a:gd name="connsiteY9" fmla="*/ 3457 h 17597"/>
                <a:gd name="connsiteX10" fmla="*/ 21476 w 36004"/>
                <a:gd name="connsiteY10" fmla="*/ 9267 h 17597"/>
                <a:gd name="connsiteX11" fmla="*/ 13856 w 36004"/>
                <a:gd name="connsiteY11" fmla="*/ 9267 h 17597"/>
                <a:gd name="connsiteX12" fmla="*/ 3569 w 36004"/>
                <a:gd name="connsiteY12" fmla="*/ 3457 h 17597"/>
                <a:gd name="connsiteX13" fmla="*/ 1188 w 36004"/>
                <a:gd name="connsiteY13" fmla="*/ 2124 h 17597"/>
                <a:gd name="connsiteX14" fmla="*/ -336 w 36004"/>
                <a:gd name="connsiteY14" fmla="*/ -67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67"/>
                  </a:moveTo>
                  <a:lnTo>
                    <a:pt x="-336" y="7076"/>
                  </a:lnTo>
                  <a:cubicBezTo>
                    <a:pt x="-241" y="8019"/>
                    <a:pt x="340" y="8848"/>
                    <a:pt x="1188" y="9267"/>
                  </a:cubicBezTo>
                  <a:lnTo>
                    <a:pt x="13856" y="16506"/>
                  </a:lnTo>
                  <a:cubicBezTo>
                    <a:pt x="16247" y="17744"/>
                    <a:pt x="19085" y="17744"/>
                    <a:pt x="21476" y="16506"/>
                  </a:cubicBezTo>
                  <a:lnTo>
                    <a:pt x="34144" y="9267"/>
                  </a:lnTo>
                  <a:cubicBezTo>
                    <a:pt x="35011" y="8820"/>
                    <a:pt x="35582" y="7953"/>
                    <a:pt x="35668" y="6981"/>
                  </a:cubicBezTo>
                  <a:lnTo>
                    <a:pt x="35668" y="-163"/>
                  </a:lnTo>
                  <a:cubicBezTo>
                    <a:pt x="35601" y="818"/>
                    <a:pt x="35021" y="1685"/>
                    <a:pt x="34144" y="2124"/>
                  </a:cubicBezTo>
                  <a:lnTo>
                    <a:pt x="31763" y="3457"/>
                  </a:lnTo>
                  <a:lnTo>
                    <a:pt x="21476" y="9267"/>
                  </a:lnTo>
                  <a:cubicBezTo>
                    <a:pt x="19114" y="10610"/>
                    <a:pt x="16218" y="10610"/>
                    <a:pt x="13856" y="9267"/>
                  </a:cubicBezTo>
                  <a:lnTo>
                    <a:pt x="3569" y="3457"/>
                  </a:lnTo>
                  <a:lnTo>
                    <a:pt x="1188" y="2124"/>
                  </a:lnTo>
                  <a:cubicBezTo>
                    <a:pt x="340" y="1704"/>
                    <a:pt x="-241" y="876"/>
                    <a:pt x="-336" y="-67"/>
                  </a:cubicBezTo>
                  <a:close/>
                </a:path>
              </a:pathLst>
            </a:custGeom>
            <a:solidFill>
              <a:srgbClr val="BF4200"/>
            </a:solidFill>
            <a:ln w="9525" cap="flat">
              <a:noFill/>
              <a:prstDash val="solid"/>
              <a:miter/>
            </a:ln>
          </p:spPr>
          <p:txBody>
            <a:bodyPr rtlCol="0" anchor="ctr"/>
            <a:lstStyle/>
            <a:p>
              <a:endParaRPr lang="zh-CN" altLang="en-US"/>
            </a:p>
          </p:txBody>
        </p:sp>
        <p:sp>
          <p:nvSpPr>
            <p:cNvPr id="311" name="iš1íḋe">
              <a:extLst>
                <a:ext uri="{FF2B5EF4-FFF2-40B4-BE49-F238E27FC236}">
                  <a16:creationId xmlns:a16="http://schemas.microsoft.com/office/drawing/2014/main" id="{C757968F-73B7-440E-AE88-1837CDA9FEE6}"/>
                </a:ext>
              </a:extLst>
            </p:cNvPr>
            <p:cNvSpPr/>
            <p:nvPr/>
          </p:nvSpPr>
          <p:spPr>
            <a:xfrm>
              <a:off x="6193030" y="5281879"/>
              <a:ext cx="197152" cy="113892"/>
            </a:xfrm>
            <a:custGeom>
              <a:avLst/>
              <a:gdLst>
                <a:gd name="connsiteX0" fmla="*/ -336 w 64769"/>
                <a:gd name="connsiteY0" fmla="*/ 10227 h 37416"/>
                <a:gd name="connsiteX1" fmla="*/ 1188 w 64769"/>
                <a:gd name="connsiteY1" fmla="*/ 12513 h 37416"/>
                <a:gd name="connsiteX2" fmla="*/ 3569 w 64769"/>
                <a:gd name="connsiteY2" fmla="*/ 13846 h 37416"/>
                <a:gd name="connsiteX3" fmla="*/ 42431 w 64769"/>
                <a:gd name="connsiteY3" fmla="*/ 36325 h 37416"/>
                <a:gd name="connsiteX4" fmla="*/ 50241 w 64769"/>
                <a:gd name="connsiteY4" fmla="*/ 36325 h 37416"/>
                <a:gd name="connsiteX5" fmla="*/ 60433 w 64769"/>
                <a:gd name="connsiteY5" fmla="*/ 30420 h 37416"/>
                <a:gd name="connsiteX6" fmla="*/ 62814 w 64769"/>
                <a:gd name="connsiteY6" fmla="*/ 28991 h 37416"/>
                <a:gd name="connsiteX7" fmla="*/ 64434 w 64769"/>
                <a:gd name="connsiteY7" fmla="*/ 27372 h 37416"/>
                <a:gd name="connsiteX8" fmla="*/ 64434 w 64769"/>
                <a:gd name="connsiteY8" fmla="*/ 26229 h 37416"/>
                <a:gd name="connsiteX9" fmla="*/ 62814 w 64769"/>
                <a:gd name="connsiteY9" fmla="*/ 24514 h 37416"/>
                <a:gd name="connsiteX10" fmla="*/ 21476 w 64769"/>
                <a:gd name="connsiteY10" fmla="*/ 702 h 37416"/>
                <a:gd name="connsiteX11" fmla="*/ 13856 w 64769"/>
                <a:gd name="connsiteY11" fmla="*/ 702 h 37416"/>
                <a:gd name="connsiteX12" fmla="*/ 1188 w 64769"/>
                <a:gd name="connsiteY12" fmla="*/ 8036 h 37416"/>
                <a:gd name="connsiteX13" fmla="*/ -336 w 64769"/>
                <a:gd name="connsiteY13" fmla="*/ 10227 h 37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4769" h="37416">
                  <a:moveTo>
                    <a:pt x="-336" y="10227"/>
                  </a:moveTo>
                  <a:cubicBezTo>
                    <a:pt x="-270" y="11208"/>
                    <a:pt x="311" y="12075"/>
                    <a:pt x="1188" y="12513"/>
                  </a:cubicBezTo>
                  <a:lnTo>
                    <a:pt x="3569" y="13846"/>
                  </a:lnTo>
                  <a:lnTo>
                    <a:pt x="42431" y="36325"/>
                  </a:lnTo>
                  <a:cubicBezTo>
                    <a:pt x="44888" y="37563"/>
                    <a:pt x="47784" y="37563"/>
                    <a:pt x="50241" y="36325"/>
                  </a:cubicBezTo>
                  <a:lnTo>
                    <a:pt x="60433" y="30420"/>
                  </a:lnTo>
                  <a:lnTo>
                    <a:pt x="62814" y="28991"/>
                  </a:lnTo>
                  <a:cubicBezTo>
                    <a:pt x="63529" y="28658"/>
                    <a:pt x="64100" y="28086"/>
                    <a:pt x="64434" y="27372"/>
                  </a:cubicBezTo>
                  <a:lnTo>
                    <a:pt x="64434" y="26229"/>
                  </a:lnTo>
                  <a:cubicBezTo>
                    <a:pt x="64024" y="25543"/>
                    <a:pt x="63472" y="24962"/>
                    <a:pt x="62814" y="24514"/>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312" name="ïṡḷîḑé">
              <a:extLst>
                <a:ext uri="{FF2B5EF4-FFF2-40B4-BE49-F238E27FC236}">
                  <a16:creationId xmlns:a16="http://schemas.microsoft.com/office/drawing/2014/main" id="{0749EE7B-C616-46C5-A747-34CEB59C664C}"/>
                </a:ext>
              </a:extLst>
            </p:cNvPr>
            <p:cNvSpPr/>
            <p:nvPr/>
          </p:nvSpPr>
          <p:spPr>
            <a:xfrm>
              <a:off x="6194336" y="5282771"/>
              <a:ext cx="193168" cy="111545"/>
            </a:xfrm>
            <a:custGeom>
              <a:avLst/>
              <a:gdLst>
                <a:gd name="connsiteX0" fmla="*/ 42193 w 63460"/>
                <a:gd name="connsiteY0" fmla="*/ 35651 h 36645"/>
                <a:gd name="connsiteX1" fmla="*/ 1235 w 63460"/>
                <a:gd name="connsiteY1" fmla="*/ 12029 h 36645"/>
                <a:gd name="connsiteX2" fmla="*/ 1235 w 63460"/>
                <a:gd name="connsiteY2" fmla="*/ 7743 h 36645"/>
                <a:gd name="connsiteX3" fmla="*/ 13332 w 63460"/>
                <a:gd name="connsiteY3" fmla="*/ 695 h 36645"/>
                <a:gd name="connsiteX4" fmla="*/ 20761 w 63460"/>
                <a:gd name="connsiteY4" fmla="*/ 695 h 36645"/>
                <a:gd name="connsiteX5" fmla="*/ 61624 w 63460"/>
                <a:gd name="connsiteY5" fmla="*/ 24317 h 36645"/>
                <a:gd name="connsiteX6" fmla="*/ 61624 w 63460"/>
                <a:gd name="connsiteY6" fmla="*/ 28603 h 36645"/>
                <a:gd name="connsiteX7" fmla="*/ 49432 w 63460"/>
                <a:gd name="connsiteY7" fmla="*/ 35556 h 36645"/>
                <a:gd name="connsiteX8" fmla="*/ 42193 w 63460"/>
                <a:gd name="connsiteY8" fmla="*/ 35651 h 36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3460" h="36645">
                  <a:moveTo>
                    <a:pt x="42193" y="35651"/>
                  </a:moveTo>
                  <a:lnTo>
                    <a:pt x="1235" y="12029"/>
                  </a:lnTo>
                  <a:cubicBezTo>
                    <a:pt x="-860" y="10791"/>
                    <a:pt x="-860" y="8886"/>
                    <a:pt x="1235" y="7743"/>
                  </a:cubicBezTo>
                  <a:lnTo>
                    <a:pt x="13332" y="695"/>
                  </a:lnTo>
                  <a:cubicBezTo>
                    <a:pt x="15675" y="-448"/>
                    <a:pt x="18418" y="-448"/>
                    <a:pt x="20761" y="695"/>
                  </a:cubicBezTo>
                  <a:lnTo>
                    <a:pt x="61624" y="24317"/>
                  </a:lnTo>
                  <a:cubicBezTo>
                    <a:pt x="63624" y="25460"/>
                    <a:pt x="63624" y="27364"/>
                    <a:pt x="61624" y="28603"/>
                  </a:cubicBezTo>
                  <a:lnTo>
                    <a:pt x="49432" y="35556"/>
                  </a:lnTo>
                  <a:cubicBezTo>
                    <a:pt x="47174" y="36756"/>
                    <a:pt x="44479" y="36794"/>
                    <a:pt x="42193" y="35651"/>
                  </a:cubicBezTo>
                  <a:close/>
                </a:path>
              </a:pathLst>
            </a:custGeom>
            <a:solidFill>
              <a:srgbClr val="D1D9E8"/>
            </a:solidFill>
            <a:ln w="9525" cap="flat">
              <a:noFill/>
              <a:prstDash val="solid"/>
              <a:miter/>
            </a:ln>
          </p:spPr>
          <p:txBody>
            <a:bodyPr rtlCol="0" anchor="ctr"/>
            <a:lstStyle/>
            <a:p>
              <a:endParaRPr lang="zh-CN" altLang="en-US"/>
            </a:p>
          </p:txBody>
        </p:sp>
        <p:sp>
          <p:nvSpPr>
            <p:cNvPr id="313" name="ïšľiďè">
              <a:extLst>
                <a:ext uri="{FF2B5EF4-FFF2-40B4-BE49-F238E27FC236}">
                  <a16:creationId xmlns:a16="http://schemas.microsoft.com/office/drawing/2014/main" id="{0D97F480-65DE-448B-9C40-D86CDE20FB9F}"/>
                </a:ext>
              </a:extLst>
            </p:cNvPr>
            <p:cNvSpPr/>
            <p:nvPr/>
          </p:nvSpPr>
          <p:spPr>
            <a:xfrm>
              <a:off x="6193030" y="5313503"/>
              <a:ext cx="197152" cy="104011"/>
            </a:xfrm>
            <a:custGeom>
              <a:avLst/>
              <a:gdLst>
                <a:gd name="connsiteX0" fmla="*/ -336 w 64769"/>
                <a:gd name="connsiteY0" fmla="*/ -163 h 34170"/>
                <a:gd name="connsiteX1" fmla="*/ -336 w 64769"/>
                <a:gd name="connsiteY1" fmla="*/ 6981 h 34170"/>
                <a:gd name="connsiteX2" fmla="*/ 1188 w 64769"/>
                <a:gd name="connsiteY2" fmla="*/ 9267 h 34170"/>
                <a:gd name="connsiteX3" fmla="*/ 42431 w 64769"/>
                <a:gd name="connsiteY3" fmla="*/ 33080 h 34170"/>
                <a:gd name="connsiteX4" fmla="*/ 50241 w 64769"/>
                <a:gd name="connsiteY4" fmla="*/ 33080 h 34170"/>
                <a:gd name="connsiteX5" fmla="*/ 62814 w 64769"/>
                <a:gd name="connsiteY5" fmla="*/ 25841 h 34170"/>
                <a:gd name="connsiteX6" fmla="*/ 64434 w 64769"/>
                <a:gd name="connsiteY6" fmla="*/ 24126 h 34170"/>
                <a:gd name="connsiteX7" fmla="*/ 64434 w 64769"/>
                <a:gd name="connsiteY7" fmla="*/ 16982 h 34170"/>
                <a:gd name="connsiteX8" fmla="*/ 62814 w 64769"/>
                <a:gd name="connsiteY8" fmla="*/ 18602 h 34170"/>
                <a:gd name="connsiteX9" fmla="*/ 60433 w 64769"/>
                <a:gd name="connsiteY9" fmla="*/ 20030 h 34170"/>
                <a:gd name="connsiteX10" fmla="*/ 50241 w 64769"/>
                <a:gd name="connsiteY10" fmla="*/ 25936 h 34170"/>
                <a:gd name="connsiteX11" fmla="*/ 42431 w 64769"/>
                <a:gd name="connsiteY11" fmla="*/ 25936 h 34170"/>
                <a:gd name="connsiteX12" fmla="*/ 3569 w 64769"/>
                <a:gd name="connsiteY12" fmla="*/ 3457 h 34170"/>
                <a:gd name="connsiteX13" fmla="*/ 1664 w 64769"/>
                <a:gd name="connsiteY13" fmla="*/ 1933 h 34170"/>
                <a:gd name="connsiteX14" fmla="*/ -336 w 64769"/>
                <a:gd name="connsiteY14" fmla="*/ -163 h 341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4769" h="34170">
                  <a:moveTo>
                    <a:pt x="-336" y="-163"/>
                  </a:moveTo>
                  <a:lnTo>
                    <a:pt x="-336" y="6981"/>
                  </a:lnTo>
                  <a:cubicBezTo>
                    <a:pt x="-251" y="7953"/>
                    <a:pt x="321" y="8819"/>
                    <a:pt x="1188" y="9267"/>
                  </a:cubicBezTo>
                  <a:lnTo>
                    <a:pt x="42431" y="33080"/>
                  </a:lnTo>
                  <a:cubicBezTo>
                    <a:pt x="44888" y="34318"/>
                    <a:pt x="47784" y="34318"/>
                    <a:pt x="50241" y="33080"/>
                  </a:cubicBezTo>
                  <a:lnTo>
                    <a:pt x="62814" y="25841"/>
                  </a:lnTo>
                  <a:cubicBezTo>
                    <a:pt x="63472" y="25393"/>
                    <a:pt x="64024" y="24812"/>
                    <a:pt x="64434" y="24126"/>
                  </a:cubicBezTo>
                  <a:lnTo>
                    <a:pt x="64434" y="16982"/>
                  </a:lnTo>
                  <a:cubicBezTo>
                    <a:pt x="64100" y="17697"/>
                    <a:pt x="63529" y="18268"/>
                    <a:pt x="62814" y="18602"/>
                  </a:cubicBezTo>
                  <a:lnTo>
                    <a:pt x="60433" y="20030"/>
                  </a:lnTo>
                  <a:lnTo>
                    <a:pt x="50241" y="25936"/>
                  </a:lnTo>
                  <a:cubicBezTo>
                    <a:pt x="47784" y="27174"/>
                    <a:pt x="44888" y="27174"/>
                    <a:pt x="42431" y="25936"/>
                  </a:cubicBezTo>
                  <a:lnTo>
                    <a:pt x="3569" y="3457"/>
                  </a:lnTo>
                  <a:lnTo>
                    <a:pt x="1664" y="1933"/>
                  </a:lnTo>
                  <a:cubicBezTo>
                    <a:pt x="654" y="1666"/>
                    <a:pt x="-117" y="856"/>
                    <a:pt x="-336" y="-163"/>
                  </a:cubicBezTo>
                  <a:close/>
                </a:path>
              </a:pathLst>
            </a:custGeom>
            <a:solidFill>
              <a:srgbClr val="BF4200"/>
            </a:solidFill>
            <a:ln w="9525" cap="flat">
              <a:noFill/>
              <a:prstDash val="solid"/>
              <a:miter/>
            </a:ln>
          </p:spPr>
          <p:txBody>
            <a:bodyPr rtlCol="0" anchor="ctr"/>
            <a:lstStyle/>
            <a:p>
              <a:endParaRPr lang="zh-CN" altLang="en-US"/>
            </a:p>
          </p:txBody>
        </p:sp>
        <p:sp>
          <p:nvSpPr>
            <p:cNvPr id="314" name="ïsḻïdê">
              <a:extLst>
                <a:ext uri="{FF2B5EF4-FFF2-40B4-BE49-F238E27FC236}">
                  <a16:creationId xmlns:a16="http://schemas.microsoft.com/office/drawing/2014/main" id="{0FEA682F-3477-4659-B231-AEBEE8AD9811}"/>
                </a:ext>
              </a:extLst>
            </p:cNvPr>
            <p:cNvSpPr/>
            <p:nvPr/>
          </p:nvSpPr>
          <p:spPr>
            <a:xfrm>
              <a:off x="5077942" y="4728490"/>
              <a:ext cx="197155" cy="113803"/>
            </a:xfrm>
            <a:custGeom>
              <a:avLst/>
              <a:gdLst>
                <a:gd name="connsiteX0" fmla="*/ -336 w 64770"/>
                <a:gd name="connsiteY0" fmla="*/ 10291 h 37387"/>
                <a:gd name="connsiteX1" fmla="*/ 1188 w 64770"/>
                <a:gd name="connsiteY1" fmla="*/ 12577 h 37387"/>
                <a:gd name="connsiteX2" fmla="*/ 3569 w 64770"/>
                <a:gd name="connsiteY2" fmla="*/ 13910 h 37387"/>
                <a:gd name="connsiteX3" fmla="*/ 42431 w 64770"/>
                <a:gd name="connsiteY3" fmla="*/ 36390 h 37387"/>
                <a:gd name="connsiteX4" fmla="*/ 50242 w 64770"/>
                <a:gd name="connsiteY4" fmla="*/ 36390 h 37387"/>
                <a:gd name="connsiteX5" fmla="*/ 60433 w 64770"/>
                <a:gd name="connsiteY5" fmla="*/ 30389 h 37387"/>
                <a:gd name="connsiteX6" fmla="*/ 62814 w 64770"/>
                <a:gd name="connsiteY6" fmla="*/ 29055 h 37387"/>
                <a:gd name="connsiteX7" fmla="*/ 64434 w 64770"/>
                <a:gd name="connsiteY7" fmla="*/ 27436 h 37387"/>
                <a:gd name="connsiteX8" fmla="*/ 64434 w 64770"/>
                <a:gd name="connsiteY8" fmla="*/ 26293 h 37387"/>
                <a:gd name="connsiteX9" fmla="*/ 62814 w 64770"/>
                <a:gd name="connsiteY9" fmla="*/ 24579 h 37387"/>
                <a:gd name="connsiteX10" fmla="*/ 21476 w 64770"/>
                <a:gd name="connsiteY10" fmla="*/ 766 h 37387"/>
                <a:gd name="connsiteX11" fmla="*/ 13856 w 64770"/>
                <a:gd name="connsiteY11" fmla="*/ 766 h 37387"/>
                <a:gd name="connsiteX12" fmla="*/ 1188 w 64770"/>
                <a:gd name="connsiteY12" fmla="*/ 8100 h 37387"/>
                <a:gd name="connsiteX13" fmla="*/ -336 w 64770"/>
                <a:gd name="connsiteY13" fmla="*/ 10291 h 37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4770" h="37387">
                  <a:moveTo>
                    <a:pt x="-336" y="10291"/>
                  </a:moveTo>
                  <a:cubicBezTo>
                    <a:pt x="-269" y="11272"/>
                    <a:pt x="312" y="12139"/>
                    <a:pt x="1188" y="12577"/>
                  </a:cubicBezTo>
                  <a:lnTo>
                    <a:pt x="3569" y="13910"/>
                  </a:lnTo>
                  <a:lnTo>
                    <a:pt x="42431" y="36390"/>
                  </a:lnTo>
                  <a:cubicBezTo>
                    <a:pt x="44917" y="37504"/>
                    <a:pt x="47756" y="37504"/>
                    <a:pt x="50242" y="36390"/>
                  </a:cubicBezTo>
                  <a:lnTo>
                    <a:pt x="60433" y="30389"/>
                  </a:lnTo>
                  <a:lnTo>
                    <a:pt x="62814" y="29055"/>
                  </a:lnTo>
                  <a:cubicBezTo>
                    <a:pt x="63529" y="28722"/>
                    <a:pt x="64100" y="28150"/>
                    <a:pt x="64434" y="27436"/>
                  </a:cubicBezTo>
                  <a:lnTo>
                    <a:pt x="64434" y="26293"/>
                  </a:lnTo>
                  <a:cubicBezTo>
                    <a:pt x="64081" y="25569"/>
                    <a:pt x="63510" y="24979"/>
                    <a:pt x="62814" y="24579"/>
                  </a:cubicBezTo>
                  <a:lnTo>
                    <a:pt x="21476" y="766"/>
                  </a:lnTo>
                  <a:cubicBezTo>
                    <a:pt x="19085" y="-472"/>
                    <a:pt x="16247" y="-472"/>
                    <a:pt x="13856" y="766"/>
                  </a:cubicBezTo>
                  <a:lnTo>
                    <a:pt x="1188" y="8100"/>
                  </a:lnTo>
                  <a:cubicBezTo>
                    <a:pt x="292" y="8472"/>
                    <a:pt x="-298"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315" name="íṣ1íḑé">
              <a:extLst>
                <a:ext uri="{FF2B5EF4-FFF2-40B4-BE49-F238E27FC236}">
                  <a16:creationId xmlns:a16="http://schemas.microsoft.com/office/drawing/2014/main" id="{9CFA0260-1834-46C5-AD6D-E8718D75CDE6}"/>
                </a:ext>
              </a:extLst>
            </p:cNvPr>
            <p:cNvSpPr/>
            <p:nvPr/>
          </p:nvSpPr>
          <p:spPr>
            <a:xfrm>
              <a:off x="5079829" y="4729647"/>
              <a:ext cx="193168" cy="111551"/>
            </a:xfrm>
            <a:custGeom>
              <a:avLst/>
              <a:gdLst>
                <a:gd name="connsiteX0" fmla="*/ 42002 w 63460"/>
                <a:gd name="connsiteY0" fmla="*/ 35628 h 36647"/>
                <a:gd name="connsiteX1" fmla="*/ 1235 w 63460"/>
                <a:gd name="connsiteY1" fmla="*/ 12006 h 36647"/>
                <a:gd name="connsiteX2" fmla="*/ 1235 w 63460"/>
                <a:gd name="connsiteY2" fmla="*/ 7719 h 36647"/>
                <a:gd name="connsiteX3" fmla="*/ 13332 w 63460"/>
                <a:gd name="connsiteY3" fmla="*/ 766 h 36647"/>
                <a:gd name="connsiteX4" fmla="*/ 20761 w 63460"/>
                <a:gd name="connsiteY4" fmla="*/ 766 h 36647"/>
                <a:gd name="connsiteX5" fmla="*/ 61624 w 63460"/>
                <a:gd name="connsiteY5" fmla="*/ 24293 h 36647"/>
                <a:gd name="connsiteX6" fmla="*/ 61624 w 63460"/>
                <a:gd name="connsiteY6" fmla="*/ 28579 h 36647"/>
                <a:gd name="connsiteX7" fmla="*/ 49432 w 63460"/>
                <a:gd name="connsiteY7" fmla="*/ 35628 h 36647"/>
                <a:gd name="connsiteX8" fmla="*/ 42002 w 63460"/>
                <a:gd name="connsiteY8" fmla="*/ 35628 h 366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3460" h="36647">
                  <a:moveTo>
                    <a:pt x="42002" y="35628"/>
                  </a:moveTo>
                  <a:lnTo>
                    <a:pt x="1235" y="12006"/>
                  </a:lnTo>
                  <a:cubicBezTo>
                    <a:pt x="-860" y="10863"/>
                    <a:pt x="-860" y="8958"/>
                    <a:pt x="1235" y="7719"/>
                  </a:cubicBezTo>
                  <a:lnTo>
                    <a:pt x="13332" y="766"/>
                  </a:lnTo>
                  <a:cubicBezTo>
                    <a:pt x="15656" y="-472"/>
                    <a:pt x="18437" y="-472"/>
                    <a:pt x="20761" y="766"/>
                  </a:cubicBezTo>
                  <a:lnTo>
                    <a:pt x="61624" y="24293"/>
                  </a:lnTo>
                  <a:cubicBezTo>
                    <a:pt x="63624" y="25531"/>
                    <a:pt x="63624" y="27436"/>
                    <a:pt x="61624" y="28579"/>
                  </a:cubicBezTo>
                  <a:lnTo>
                    <a:pt x="49432" y="35628"/>
                  </a:lnTo>
                  <a:cubicBezTo>
                    <a:pt x="47089" y="36771"/>
                    <a:pt x="44345" y="36771"/>
                    <a:pt x="42002" y="35628"/>
                  </a:cubicBezTo>
                  <a:close/>
                </a:path>
              </a:pathLst>
            </a:custGeom>
            <a:solidFill>
              <a:srgbClr val="D1D9E8"/>
            </a:solidFill>
            <a:ln w="9525" cap="flat">
              <a:noFill/>
              <a:prstDash val="solid"/>
              <a:miter/>
            </a:ln>
          </p:spPr>
          <p:txBody>
            <a:bodyPr rtlCol="0" anchor="ctr"/>
            <a:lstStyle/>
            <a:p>
              <a:endParaRPr lang="zh-CN" altLang="en-US"/>
            </a:p>
          </p:txBody>
        </p:sp>
        <p:sp>
          <p:nvSpPr>
            <p:cNvPr id="316" name="íşlïdé">
              <a:extLst>
                <a:ext uri="{FF2B5EF4-FFF2-40B4-BE49-F238E27FC236}">
                  <a16:creationId xmlns:a16="http://schemas.microsoft.com/office/drawing/2014/main" id="{37B75C56-C76C-43EC-A022-F843513C0358}"/>
                </a:ext>
              </a:extLst>
            </p:cNvPr>
            <p:cNvSpPr/>
            <p:nvPr/>
          </p:nvSpPr>
          <p:spPr>
            <a:xfrm>
              <a:off x="5077942" y="4760308"/>
              <a:ext cx="197155" cy="104011"/>
            </a:xfrm>
            <a:custGeom>
              <a:avLst/>
              <a:gdLst>
                <a:gd name="connsiteX0" fmla="*/ -336 w 64770"/>
                <a:gd name="connsiteY0" fmla="*/ -163 h 34170"/>
                <a:gd name="connsiteX1" fmla="*/ -336 w 64770"/>
                <a:gd name="connsiteY1" fmla="*/ 6981 h 34170"/>
                <a:gd name="connsiteX2" fmla="*/ 1188 w 64770"/>
                <a:gd name="connsiteY2" fmla="*/ 9267 h 34170"/>
                <a:gd name="connsiteX3" fmla="*/ 42431 w 64770"/>
                <a:gd name="connsiteY3" fmla="*/ 33080 h 34170"/>
                <a:gd name="connsiteX4" fmla="*/ 50242 w 64770"/>
                <a:gd name="connsiteY4" fmla="*/ 33080 h 34170"/>
                <a:gd name="connsiteX5" fmla="*/ 62814 w 64770"/>
                <a:gd name="connsiteY5" fmla="*/ 25745 h 34170"/>
                <a:gd name="connsiteX6" fmla="*/ 64434 w 64770"/>
                <a:gd name="connsiteY6" fmla="*/ 24126 h 34170"/>
                <a:gd name="connsiteX7" fmla="*/ 64434 w 64770"/>
                <a:gd name="connsiteY7" fmla="*/ 16982 h 34170"/>
                <a:gd name="connsiteX8" fmla="*/ 62814 w 64770"/>
                <a:gd name="connsiteY8" fmla="*/ 18602 h 34170"/>
                <a:gd name="connsiteX9" fmla="*/ 60433 w 64770"/>
                <a:gd name="connsiteY9" fmla="*/ 19935 h 34170"/>
                <a:gd name="connsiteX10" fmla="*/ 50242 w 64770"/>
                <a:gd name="connsiteY10" fmla="*/ 25936 h 34170"/>
                <a:gd name="connsiteX11" fmla="*/ 42431 w 64770"/>
                <a:gd name="connsiteY11" fmla="*/ 25936 h 34170"/>
                <a:gd name="connsiteX12" fmla="*/ 3569 w 64770"/>
                <a:gd name="connsiteY12" fmla="*/ 3457 h 34170"/>
                <a:gd name="connsiteX13" fmla="*/ 1188 w 64770"/>
                <a:gd name="connsiteY13" fmla="*/ 2123 h 34170"/>
                <a:gd name="connsiteX14" fmla="*/ -336 w 64770"/>
                <a:gd name="connsiteY14" fmla="*/ -163 h 341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4770" h="34170">
                  <a:moveTo>
                    <a:pt x="-336" y="-163"/>
                  </a:moveTo>
                  <a:lnTo>
                    <a:pt x="-336" y="6981"/>
                  </a:lnTo>
                  <a:cubicBezTo>
                    <a:pt x="-251" y="7953"/>
                    <a:pt x="321" y="8819"/>
                    <a:pt x="1188" y="9267"/>
                  </a:cubicBezTo>
                  <a:lnTo>
                    <a:pt x="42431" y="33080"/>
                  </a:lnTo>
                  <a:cubicBezTo>
                    <a:pt x="44889" y="34318"/>
                    <a:pt x="47784" y="34318"/>
                    <a:pt x="50242" y="33080"/>
                  </a:cubicBezTo>
                  <a:lnTo>
                    <a:pt x="62814" y="25745"/>
                  </a:lnTo>
                  <a:cubicBezTo>
                    <a:pt x="63491" y="25355"/>
                    <a:pt x="64043" y="24802"/>
                    <a:pt x="64434" y="24126"/>
                  </a:cubicBezTo>
                  <a:lnTo>
                    <a:pt x="64434" y="16982"/>
                  </a:lnTo>
                  <a:cubicBezTo>
                    <a:pt x="64100" y="17697"/>
                    <a:pt x="63529" y="18268"/>
                    <a:pt x="62814" y="18602"/>
                  </a:cubicBezTo>
                  <a:lnTo>
                    <a:pt x="60433" y="19935"/>
                  </a:lnTo>
                  <a:lnTo>
                    <a:pt x="50242" y="25936"/>
                  </a:lnTo>
                  <a:cubicBezTo>
                    <a:pt x="47756" y="27050"/>
                    <a:pt x="44917" y="27050"/>
                    <a:pt x="42431" y="25936"/>
                  </a:cubicBezTo>
                  <a:lnTo>
                    <a:pt x="3569" y="3457"/>
                  </a:lnTo>
                  <a:lnTo>
                    <a:pt x="1188" y="2123"/>
                  </a:lnTo>
                  <a:cubicBezTo>
                    <a:pt x="312"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317" name="iślïďê">
              <a:extLst>
                <a:ext uri="{FF2B5EF4-FFF2-40B4-BE49-F238E27FC236}">
                  <a16:creationId xmlns:a16="http://schemas.microsoft.com/office/drawing/2014/main" id="{FE33030C-6204-4705-A6E1-4AF186142779}"/>
                </a:ext>
              </a:extLst>
            </p:cNvPr>
            <p:cNvSpPr/>
            <p:nvPr/>
          </p:nvSpPr>
          <p:spPr>
            <a:xfrm>
              <a:off x="5242335" y="4824456"/>
              <a:ext cx="109594" cy="63588"/>
            </a:xfrm>
            <a:custGeom>
              <a:avLst/>
              <a:gdLst>
                <a:gd name="connsiteX0" fmla="*/ -336 w 36004"/>
                <a:gd name="connsiteY0" fmla="*/ 10196 h 20890"/>
                <a:gd name="connsiteX1" fmla="*/ 1188 w 36004"/>
                <a:gd name="connsiteY1" fmla="*/ 12482 h 20890"/>
                <a:gd name="connsiteX2" fmla="*/ 3569 w 36004"/>
                <a:gd name="connsiteY2" fmla="*/ 13815 h 20890"/>
                <a:gd name="connsiteX3" fmla="*/ 13761 w 36004"/>
                <a:gd name="connsiteY3" fmla="*/ 19721 h 20890"/>
                <a:gd name="connsiteX4" fmla="*/ 21476 w 36004"/>
                <a:gd name="connsiteY4" fmla="*/ 19721 h 20890"/>
                <a:gd name="connsiteX5" fmla="*/ 31763 w 36004"/>
                <a:gd name="connsiteY5" fmla="*/ 13815 h 20890"/>
                <a:gd name="connsiteX6" fmla="*/ 34049 w 36004"/>
                <a:gd name="connsiteY6" fmla="*/ 12482 h 20890"/>
                <a:gd name="connsiteX7" fmla="*/ 35668 w 36004"/>
                <a:gd name="connsiteY7" fmla="*/ 10196 h 20890"/>
                <a:gd name="connsiteX8" fmla="*/ 34049 w 36004"/>
                <a:gd name="connsiteY8" fmla="*/ 8005 h 20890"/>
                <a:gd name="connsiteX9" fmla="*/ 21476 w 36004"/>
                <a:gd name="connsiteY9" fmla="*/ 766 h 20890"/>
                <a:gd name="connsiteX10" fmla="*/ 13761 w 36004"/>
                <a:gd name="connsiteY10" fmla="*/ 766 h 20890"/>
                <a:gd name="connsiteX11" fmla="*/ 1188 w 36004"/>
                <a:gd name="connsiteY11" fmla="*/ 8005 h 20890"/>
                <a:gd name="connsiteX12" fmla="*/ -336 w 36004"/>
                <a:gd name="connsiteY12" fmla="*/ 10196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196"/>
                  </a:moveTo>
                  <a:cubicBezTo>
                    <a:pt x="-308" y="11186"/>
                    <a:pt x="283" y="12082"/>
                    <a:pt x="1188" y="12482"/>
                  </a:cubicBezTo>
                  <a:lnTo>
                    <a:pt x="3569" y="13815"/>
                  </a:lnTo>
                  <a:lnTo>
                    <a:pt x="13761" y="19721"/>
                  </a:lnTo>
                  <a:cubicBezTo>
                    <a:pt x="16161" y="21064"/>
                    <a:pt x="19076" y="21064"/>
                    <a:pt x="21476" y="19721"/>
                  </a:cubicBezTo>
                  <a:lnTo>
                    <a:pt x="31763" y="13815"/>
                  </a:lnTo>
                  <a:lnTo>
                    <a:pt x="34049" y="12482"/>
                  </a:lnTo>
                  <a:cubicBezTo>
                    <a:pt x="34992" y="12110"/>
                    <a:pt x="35630" y="11215"/>
                    <a:pt x="35668" y="10196"/>
                  </a:cubicBezTo>
                  <a:cubicBezTo>
                    <a:pt x="35573" y="9224"/>
                    <a:pt x="34944" y="8386"/>
                    <a:pt x="34049" y="8005"/>
                  </a:cubicBezTo>
                  <a:lnTo>
                    <a:pt x="21476" y="766"/>
                  </a:lnTo>
                  <a:cubicBezTo>
                    <a:pt x="19057" y="-472"/>
                    <a:pt x="16180" y="-472"/>
                    <a:pt x="13761" y="766"/>
                  </a:cubicBezTo>
                  <a:lnTo>
                    <a:pt x="1188" y="8005"/>
                  </a:lnTo>
                  <a:cubicBezTo>
                    <a:pt x="340" y="8424"/>
                    <a:pt x="-241" y="925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318" name="îŝľiḋê">
              <a:extLst>
                <a:ext uri="{FF2B5EF4-FFF2-40B4-BE49-F238E27FC236}">
                  <a16:creationId xmlns:a16="http://schemas.microsoft.com/office/drawing/2014/main" id="{E50DB8C8-8B5D-42B1-9FD7-CFC773DB57DA}"/>
                </a:ext>
              </a:extLst>
            </p:cNvPr>
            <p:cNvSpPr/>
            <p:nvPr/>
          </p:nvSpPr>
          <p:spPr>
            <a:xfrm>
              <a:off x="5245337" y="4825038"/>
              <a:ext cx="105618" cy="61104"/>
            </a:xfrm>
            <a:custGeom>
              <a:avLst/>
              <a:gdLst>
                <a:gd name="connsiteX0" fmla="*/ 1154 w 34698"/>
                <a:gd name="connsiteY0" fmla="*/ 12006 h 20074"/>
                <a:gd name="connsiteX1" fmla="*/ 13346 w 34698"/>
                <a:gd name="connsiteY1" fmla="*/ 19054 h 20074"/>
                <a:gd name="connsiteX2" fmla="*/ 20776 w 34698"/>
                <a:gd name="connsiteY2" fmla="*/ 19054 h 20074"/>
                <a:gd name="connsiteX3" fmla="*/ 32872 w 34698"/>
                <a:gd name="connsiteY3" fmla="*/ 12006 h 20074"/>
                <a:gd name="connsiteX4" fmla="*/ 34215 w 34698"/>
                <a:gd name="connsiteY4" fmla="*/ 9062 h 20074"/>
                <a:gd name="connsiteX5" fmla="*/ 32872 w 34698"/>
                <a:gd name="connsiteY5" fmla="*/ 7719 h 20074"/>
                <a:gd name="connsiteX6" fmla="*/ 20776 w 34698"/>
                <a:gd name="connsiteY6" fmla="*/ 766 h 20074"/>
                <a:gd name="connsiteX7" fmla="*/ 13346 w 34698"/>
                <a:gd name="connsiteY7" fmla="*/ 766 h 20074"/>
                <a:gd name="connsiteX8" fmla="*/ 1154 w 34698"/>
                <a:gd name="connsiteY8" fmla="*/ 7719 h 20074"/>
                <a:gd name="connsiteX9" fmla="*/ -189 w 34698"/>
                <a:gd name="connsiteY9" fmla="*/ 10663 h 20074"/>
                <a:gd name="connsiteX10" fmla="*/ 1154 w 34698"/>
                <a:gd name="connsiteY10"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698" h="20074">
                  <a:moveTo>
                    <a:pt x="1154" y="12006"/>
                  </a:moveTo>
                  <a:lnTo>
                    <a:pt x="13346" y="19054"/>
                  </a:lnTo>
                  <a:cubicBezTo>
                    <a:pt x="15689" y="20197"/>
                    <a:pt x="18432" y="20197"/>
                    <a:pt x="20776" y="19054"/>
                  </a:cubicBezTo>
                  <a:lnTo>
                    <a:pt x="32872" y="12006"/>
                  </a:lnTo>
                  <a:cubicBezTo>
                    <a:pt x="34053" y="11567"/>
                    <a:pt x="34663" y="10253"/>
                    <a:pt x="34215" y="9062"/>
                  </a:cubicBezTo>
                  <a:cubicBezTo>
                    <a:pt x="33987" y="8443"/>
                    <a:pt x="33491" y="7948"/>
                    <a:pt x="32872" y="7719"/>
                  </a:cubicBezTo>
                  <a:lnTo>
                    <a:pt x="20776" y="766"/>
                  </a:lnTo>
                  <a:cubicBezTo>
                    <a:pt x="18451" y="-472"/>
                    <a:pt x="15670" y="-472"/>
                    <a:pt x="13346" y="766"/>
                  </a:cubicBezTo>
                  <a:lnTo>
                    <a:pt x="1154" y="7719"/>
                  </a:lnTo>
                  <a:cubicBezTo>
                    <a:pt x="-27" y="8158"/>
                    <a:pt x="-637" y="9472"/>
                    <a:pt x="-189" y="10663"/>
                  </a:cubicBezTo>
                  <a:cubicBezTo>
                    <a:pt x="40" y="11282"/>
                    <a:pt x="535" y="11777"/>
                    <a:pt x="1154" y="12006"/>
                  </a:cubicBezTo>
                  <a:close/>
                </a:path>
              </a:pathLst>
            </a:custGeom>
            <a:solidFill>
              <a:srgbClr val="D1D9E8"/>
            </a:solidFill>
            <a:ln w="9525" cap="flat">
              <a:noFill/>
              <a:prstDash val="solid"/>
              <a:miter/>
            </a:ln>
          </p:spPr>
          <p:txBody>
            <a:bodyPr rtlCol="0" anchor="ctr"/>
            <a:lstStyle/>
            <a:p>
              <a:endParaRPr lang="zh-CN" altLang="en-US"/>
            </a:p>
          </p:txBody>
        </p:sp>
        <p:sp>
          <p:nvSpPr>
            <p:cNvPr id="319" name="ïṣ1îḍé">
              <a:extLst>
                <a:ext uri="{FF2B5EF4-FFF2-40B4-BE49-F238E27FC236}">
                  <a16:creationId xmlns:a16="http://schemas.microsoft.com/office/drawing/2014/main" id="{139D64EF-FF60-469A-8320-B93F88E1E8A0}"/>
                </a:ext>
              </a:extLst>
            </p:cNvPr>
            <p:cNvSpPr/>
            <p:nvPr/>
          </p:nvSpPr>
          <p:spPr>
            <a:xfrm>
              <a:off x="5242335" y="4855988"/>
              <a:ext cx="109594" cy="53801"/>
            </a:xfrm>
            <a:custGeom>
              <a:avLst/>
              <a:gdLst>
                <a:gd name="connsiteX0" fmla="*/ -336 w 36004"/>
                <a:gd name="connsiteY0" fmla="*/ -163 h 17675"/>
                <a:gd name="connsiteX1" fmla="*/ -336 w 36004"/>
                <a:gd name="connsiteY1" fmla="*/ 7076 h 17675"/>
                <a:gd name="connsiteX2" fmla="*/ 1188 w 36004"/>
                <a:gd name="connsiteY2" fmla="*/ 9267 h 17675"/>
                <a:gd name="connsiteX3" fmla="*/ 13761 w 36004"/>
                <a:gd name="connsiteY3" fmla="*/ 16506 h 17675"/>
                <a:gd name="connsiteX4" fmla="*/ 21476 w 36004"/>
                <a:gd name="connsiteY4" fmla="*/ 16506 h 17675"/>
                <a:gd name="connsiteX5" fmla="*/ 34049 w 36004"/>
                <a:gd name="connsiteY5" fmla="*/ 9267 h 17675"/>
                <a:gd name="connsiteX6" fmla="*/ 35668 w 36004"/>
                <a:gd name="connsiteY6" fmla="*/ 7076 h 17675"/>
                <a:gd name="connsiteX7" fmla="*/ 35668 w 36004"/>
                <a:gd name="connsiteY7" fmla="*/ -163 h 17675"/>
                <a:gd name="connsiteX8" fmla="*/ 34049 w 36004"/>
                <a:gd name="connsiteY8" fmla="*/ 2123 h 17675"/>
                <a:gd name="connsiteX9" fmla="*/ 31763 w 36004"/>
                <a:gd name="connsiteY9" fmla="*/ 3457 h 17675"/>
                <a:gd name="connsiteX10" fmla="*/ 21476 w 36004"/>
                <a:gd name="connsiteY10" fmla="*/ 9362 h 17675"/>
                <a:gd name="connsiteX11" fmla="*/ 13761 w 36004"/>
                <a:gd name="connsiteY11" fmla="*/ 9362 h 17675"/>
                <a:gd name="connsiteX12" fmla="*/ 3569 w 36004"/>
                <a:gd name="connsiteY12" fmla="*/ 3457 h 17675"/>
                <a:gd name="connsiteX13" fmla="*/ 1188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98" y="8038"/>
                    <a:pt x="292" y="8896"/>
                    <a:pt x="1188" y="9267"/>
                  </a:cubicBezTo>
                  <a:lnTo>
                    <a:pt x="13761" y="16506"/>
                  </a:lnTo>
                  <a:cubicBezTo>
                    <a:pt x="16161" y="17849"/>
                    <a:pt x="19076" y="17849"/>
                    <a:pt x="21476" y="16506"/>
                  </a:cubicBezTo>
                  <a:lnTo>
                    <a:pt x="34049" y="9267"/>
                  </a:lnTo>
                  <a:cubicBezTo>
                    <a:pt x="34963" y="8905"/>
                    <a:pt x="35592" y="8058"/>
                    <a:pt x="35668" y="7076"/>
                  </a:cubicBezTo>
                  <a:lnTo>
                    <a:pt x="35668" y="-163"/>
                  </a:lnTo>
                  <a:cubicBezTo>
                    <a:pt x="35630" y="856"/>
                    <a:pt x="34992" y="1752"/>
                    <a:pt x="34049" y="2123"/>
                  </a:cubicBezTo>
                  <a:lnTo>
                    <a:pt x="31763" y="3457"/>
                  </a:lnTo>
                  <a:lnTo>
                    <a:pt x="21476" y="9362"/>
                  </a:lnTo>
                  <a:cubicBezTo>
                    <a:pt x="19076" y="10705"/>
                    <a:pt x="16161" y="10705"/>
                    <a:pt x="13761" y="9362"/>
                  </a:cubicBezTo>
                  <a:lnTo>
                    <a:pt x="3569" y="3457"/>
                  </a:lnTo>
                  <a:lnTo>
                    <a:pt x="1188" y="2123"/>
                  </a:lnTo>
                  <a:cubicBezTo>
                    <a:pt x="283" y="1723"/>
                    <a:pt x="-308"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320" name="îśḷídé">
              <a:extLst>
                <a:ext uri="{FF2B5EF4-FFF2-40B4-BE49-F238E27FC236}">
                  <a16:creationId xmlns:a16="http://schemas.microsoft.com/office/drawing/2014/main" id="{A05DF123-9A30-4804-A752-AE24C8CC1191}"/>
                </a:ext>
              </a:extLst>
            </p:cNvPr>
            <p:cNvSpPr/>
            <p:nvPr/>
          </p:nvSpPr>
          <p:spPr>
            <a:xfrm>
              <a:off x="5320619" y="4868526"/>
              <a:ext cx="109740" cy="63588"/>
            </a:xfrm>
            <a:custGeom>
              <a:avLst/>
              <a:gdLst>
                <a:gd name="connsiteX0" fmla="*/ -336 w 36052"/>
                <a:gd name="connsiteY0" fmla="*/ 10196 h 20890"/>
                <a:gd name="connsiteX1" fmla="*/ 1187 w 36052"/>
                <a:gd name="connsiteY1" fmla="*/ 12482 h 20890"/>
                <a:gd name="connsiteX2" fmla="*/ 3569 w 36052"/>
                <a:gd name="connsiteY2" fmla="*/ 13815 h 20890"/>
                <a:gd name="connsiteX3" fmla="*/ 13856 w 36052"/>
                <a:gd name="connsiteY3" fmla="*/ 19721 h 20890"/>
                <a:gd name="connsiteX4" fmla="*/ 21476 w 36052"/>
                <a:gd name="connsiteY4" fmla="*/ 19721 h 20890"/>
                <a:gd name="connsiteX5" fmla="*/ 31763 w 36052"/>
                <a:gd name="connsiteY5" fmla="*/ 13815 h 20890"/>
                <a:gd name="connsiteX6" fmla="*/ 34144 w 36052"/>
                <a:gd name="connsiteY6" fmla="*/ 12482 h 20890"/>
                <a:gd name="connsiteX7" fmla="*/ 35573 w 36052"/>
                <a:gd name="connsiteY7" fmla="*/ 9434 h 20890"/>
                <a:gd name="connsiteX8" fmla="*/ 34144 w 36052"/>
                <a:gd name="connsiteY8" fmla="*/ 8005 h 20890"/>
                <a:gd name="connsiteX9" fmla="*/ 21476 w 36052"/>
                <a:gd name="connsiteY9" fmla="*/ 766 h 20890"/>
                <a:gd name="connsiteX10" fmla="*/ 13856 w 36052"/>
                <a:gd name="connsiteY10" fmla="*/ 766 h 20890"/>
                <a:gd name="connsiteX11" fmla="*/ 1187 w 36052"/>
                <a:gd name="connsiteY11" fmla="*/ 8005 h 20890"/>
                <a:gd name="connsiteX12" fmla="*/ -336 w 36052"/>
                <a:gd name="connsiteY12" fmla="*/ 10196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90">
                  <a:moveTo>
                    <a:pt x="-336" y="10196"/>
                  </a:moveTo>
                  <a:cubicBezTo>
                    <a:pt x="-270" y="11177"/>
                    <a:pt x="311" y="12044"/>
                    <a:pt x="1187" y="12482"/>
                  </a:cubicBezTo>
                  <a:lnTo>
                    <a:pt x="3569" y="13815"/>
                  </a:lnTo>
                  <a:lnTo>
                    <a:pt x="13856" y="19721"/>
                  </a:lnTo>
                  <a:cubicBezTo>
                    <a:pt x="16218" y="21064"/>
                    <a:pt x="19114" y="21064"/>
                    <a:pt x="21476" y="19721"/>
                  </a:cubicBezTo>
                  <a:lnTo>
                    <a:pt x="31763" y="13815"/>
                  </a:lnTo>
                  <a:lnTo>
                    <a:pt x="34144" y="12482"/>
                  </a:lnTo>
                  <a:cubicBezTo>
                    <a:pt x="35382" y="12034"/>
                    <a:pt x="36020" y="10663"/>
                    <a:pt x="35573" y="9434"/>
                  </a:cubicBezTo>
                  <a:cubicBezTo>
                    <a:pt x="35325" y="8767"/>
                    <a:pt x="34811" y="8243"/>
                    <a:pt x="34144" y="8005"/>
                  </a:cubicBezTo>
                  <a:lnTo>
                    <a:pt x="21476" y="766"/>
                  </a:lnTo>
                  <a:cubicBezTo>
                    <a:pt x="19085" y="-472"/>
                    <a:pt x="16247" y="-472"/>
                    <a:pt x="13856" y="766"/>
                  </a:cubicBezTo>
                  <a:lnTo>
                    <a:pt x="1187" y="8005"/>
                  </a:lnTo>
                  <a:cubicBezTo>
                    <a:pt x="340" y="8424"/>
                    <a:pt x="-241" y="925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321" name="ïṥḻiḋé">
              <a:extLst>
                <a:ext uri="{FF2B5EF4-FFF2-40B4-BE49-F238E27FC236}">
                  <a16:creationId xmlns:a16="http://schemas.microsoft.com/office/drawing/2014/main" id="{99B3F2C8-B818-4BD2-9EA7-06D3D14F6292}"/>
                </a:ext>
              </a:extLst>
            </p:cNvPr>
            <p:cNvSpPr/>
            <p:nvPr/>
          </p:nvSpPr>
          <p:spPr>
            <a:xfrm>
              <a:off x="5322750" y="4869616"/>
              <a:ext cx="105618" cy="61174"/>
            </a:xfrm>
            <a:custGeom>
              <a:avLst/>
              <a:gdLst>
                <a:gd name="connsiteX0" fmla="*/ 1154 w 34698"/>
                <a:gd name="connsiteY0" fmla="*/ 12029 h 20097"/>
                <a:gd name="connsiteX1" fmla="*/ 13251 w 34698"/>
                <a:gd name="connsiteY1" fmla="*/ 19078 h 20097"/>
                <a:gd name="connsiteX2" fmla="*/ 20680 w 34698"/>
                <a:gd name="connsiteY2" fmla="*/ 19078 h 20097"/>
                <a:gd name="connsiteX3" fmla="*/ 32872 w 34698"/>
                <a:gd name="connsiteY3" fmla="*/ 12029 h 20097"/>
                <a:gd name="connsiteX4" fmla="*/ 34215 w 34698"/>
                <a:gd name="connsiteY4" fmla="*/ 9086 h 20097"/>
                <a:gd name="connsiteX5" fmla="*/ 32872 w 34698"/>
                <a:gd name="connsiteY5" fmla="*/ 7743 h 20097"/>
                <a:gd name="connsiteX6" fmla="*/ 20680 w 34698"/>
                <a:gd name="connsiteY6" fmla="*/ 695 h 20097"/>
                <a:gd name="connsiteX7" fmla="*/ 13251 w 34698"/>
                <a:gd name="connsiteY7" fmla="*/ 695 h 20097"/>
                <a:gd name="connsiteX8" fmla="*/ 1154 w 34698"/>
                <a:gd name="connsiteY8" fmla="*/ 7743 h 20097"/>
                <a:gd name="connsiteX9" fmla="*/ -189 w 34698"/>
                <a:gd name="connsiteY9" fmla="*/ 10677 h 20097"/>
                <a:gd name="connsiteX10" fmla="*/ 1154 w 34698"/>
                <a:gd name="connsiteY10" fmla="*/ 12029 h 20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698" h="20097">
                  <a:moveTo>
                    <a:pt x="1154" y="12029"/>
                  </a:moveTo>
                  <a:lnTo>
                    <a:pt x="13251" y="19078"/>
                  </a:lnTo>
                  <a:cubicBezTo>
                    <a:pt x="15594" y="20221"/>
                    <a:pt x="18337" y="20221"/>
                    <a:pt x="20680" y="19078"/>
                  </a:cubicBezTo>
                  <a:lnTo>
                    <a:pt x="32872" y="12029"/>
                  </a:lnTo>
                  <a:cubicBezTo>
                    <a:pt x="34053" y="11591"/>
                    <a:pt x="34663" y="10277"/>
                    <a:pt x="34215" y="9086"/>
                  </a:cubicBezTo>
                  <a:cubicBezTo>
                    <a:pt x="33987" y="8467"/>
                    <a:pt x="33501" y="7972"/>
                    <a:pt x="32872" y="7743"/>
                  </a:cubicBezTo>
                  <a:lnTo>
                    <a:pt x="20680" y="695"/>
                  </a:lnTo>
                  <a:cubicBezTo>
                    <a:pt x="18337" y="-448"/>
                    <a:pt x="15594" y="-448"/>
                    <a:pt x="13251" y="695"/>
                  </a:cubicBezTo>
                  <a:lnTo>
                    <a:pt x="1154" y="7743"/>
                  </a:lnTo>
                  <a:cubicBezTo>
                    <a:pt x="-27" y="8181"/>
                    <a:pt x="-637" y="9496"/>
                    <a:pt x="-189" y="10677"/>
                  </a:cubicBezTo>
                  <a:cubicBezTo>
                    <a:pt x="39" y="11306"/>
                    <a:pt x="535" y="11801"/>
                    <a:pt x="1154" y="12029"/>
                  </a:cubicBezTo>
                  <a:close/>
                </a:path>
              </a:pathLst>
            </a:custGeom>
            <a:solidFill>
              <a:srgbClr val="D1D9E8"/>
            </a:solidFill>
            <a:ln w="9525" cap="flat">
              <a:noFill/>
              <a:prstDash val="solid"/>
              <a:miter/>
            </a:ln>
          </p:spPr>
          <p:txBody>
            <a:bodyPr rtlCol="0" anchor="ctr"/>
            <a:lstStyle/>
            <a:p>
              <a:endParaRPr lang="zh-CN" altLang="en-US"/>
            </a:p>
          </p:txBody>
        </p:sp>
        <p:sp>
          <p:nvSpPr>
            <p:cNvPr id="322" name="ísḷïdé">
              <a:extLst>
                <a:ext uri="{FF2B5EF4-FFF2-40B4-BE49-F238E27FC236}">
                  <a16:creationId xmlns:a16="http://schemas.microsoft.com/office/drawing/2014/main" id="{C65CB141-B2F1-437A-9FE6-9B8B0C022B92}"/>
                </a:ext>
              </a:extLst>
            </p:cNvPr>
            <p:cNvSpPr/>
            <p:nvPr/>
          </p:nvSpPr>
          <p:spPr>
            <a:xfrm>
              <a:off x="5320619" y="4900058"/>
              <a:ext cx="109594" cy="53804"/>
            </a:xfrm>
            <a:custGeom>
              <a:avLst/>
              <a:gdLst>
                <a:gd name="connsiteX0" fmla="*/ -336 w 36004"/>
                <a:gd name="connsiteY0" fmla="*/ -163 h 17676"/>
                <a:gd name="connsiteX1" fmla="*/ -336 w 36004"/>
                <a:gd name="connsiteY1" fmla="*/ 7076 h 17676"/>
                <a:gd name="connsiteX2" fmla="*/ 1187 w 36004"/>
                <a:gd name="connsiteY2" fmla="*/ 9267 h 17676"/>
                <a:gd name="connsiteX3" fmla="*/ 13856 w 36004"/>
                <a:gd name="connsiteY3" fmla="*/ 16506 h 17676"/>
                <a:gd name="connsiteX4" fmla="*/ 21476 w 36004"/>
                <a:gd name="connsiteY4" fmla="*/ 16506 h 17676"/>
                <a:gd name="connsiteX5" fmla="*/ 34144 w 36004"/>
                <a:gd name="connsiteY5" fmla="*/ 9267 h 17676"/>
                <a:gd name="connsiteX6" fmla="*/ 35668 w 36004"/>
                <a:gd name="connsiteY6" fmla="*/ 7076 h 17676"/>
                <a:gd name="connsiteX7" fmla="*/ 35668 w 36004"/>
                <a:gd name="connsiteY7" fmla="*/ -163 h 17676"/>
                <a:gd name="connsiteX8" fmla="*/ 34144 w 36004"/>
                <a:gd name="connsiteY8" fmla="*/ 2124 h 17676"/>
                <a:gd name="connsiteX9" fmla="*/ 31763 w 36004"/>
                <a:gd name="connsiteY9" fmla="*/ 3457 h 17676"/>
                <a:gd name="connsiteX10" fmla="*/ 21476 w 36004"/>
                <a:gd name="connsiteY10" fmla="*/ 9362 h 17676"/>
                <a:gd name="connsiteX11" fmla="*/ 13856 w 36004"/>
                <a:gd name="connsiteY11" fmla="*/ 9362 h 17676"/>
                <a:gd name="connsiteX12" fmla="*/ 3569 w 36004"/>
                <a:gd name="connsiteY12" fmla="*/ 3457 h 17676"/>
                <a:gd name="connsiteX13" fmla="*/ 1187 w 36004"/>
                <a:gd name="connsiteY13" fmla="*/ 2124 h 17676"/>
                <a:gd name="connsiteX14" fmla="*/ -336 w 36004"/>
                <a:gd name="connsiteY14" fmla="*/ -163 h 17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6">
                  <a:moveTo>
                    <a:pt x="-336" y="-163"/>
                  </a:moveTo>
                  <a:lnTo>
                    <a:pt x="-336" y="7076"/>
                  </a:lnTo>
                  <a:cubicBezTo>
                    <a:pt x="-279" y="8029"/>
                    <a:pt x="311" y="8877"/>
                    <a:pt x="1187" y="9267"/>
                  </a:cubicBezTo>
                  <a:lnTo>
                    <a:pt x="13856" y="16506"/>
                  </a:lnTo>
                  <a:cubicBezTo>
                    <a:pt x="16218" y="17849"/>
                    <a:pt x="19114" y="17849"/>
                    <a:pt x="21476" y="16506"/>
                  </a:cubicBezTo>
                  <a:lnTo>
                    <a:pt x="34144" y="9267"/>
                  </a:lnTo>
                  <a:cubicBezTo>
                    <a:pt x="35020" y="8877"/>
                    <a:pt x="35611" y="8039"/>
                    <a:pt x="35668" y="7076"/>
                  </a:cubicBezTo>
                  <a:lnTo>
                    <a:pt x="35668" y="-163"/>
                  </a:lnTo>
                  <a:cubicBezTo>
                    <a:pt x="35601" y="818"/>
                    <a:pt x="35020" y="1685"/>
                    <a:pt x="34144" y="2124"/>
                  </a:cubicBezTo>
                  <a:lnTo>
                    <a:pt x="31763" y="3457"/>
                  </a:lnTo>
                  <a:lnTo>
                    <a:pt x="21476" y="9362"/>
                  </a:lnTo>
                  <a:cubicBezTo>
                    <a:pt x="19114" y="10706"/>
                    <a:pt x="16218" y="10706"/>
                    <a:pt x="13856" y="9362"/>
                  </a:cubicBezTo>
                  <a:lnTo>
                    <a:pt x="3569" y="3457"/>
                  </a:lnTo>
                  <a:lnTo>
                    <a:pt x="1187" y="2124"/>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323" name="išlïdè">
              <a:extLst>
                <a:ext uri="{FF2B5EF4-FFF2-40B4-BE49-F238E27FC236}">
                  <a16:creationId xmlns:a16="http://schemas.microsoft.com/office/drawing/2014/main" id="{A931ACE7-6C42-4393-87AE-F4F1E196AE74}"/>
                </a:ext>
              </a:extLst>
            </p:cNvPr>
            <p:cNvSpPr/>
            <p:nvPr/>
          </p:nvSpPr>
          <p:spPr>
            <a:xfrm>
              <a:off x="5398029" y="4913083"/>
              <a:ext cx="109740" cy="63445"/>
            </a:xfrm>
            <a:custGeom>
              <a:avLst/>
              <a:gdLst>
                <a:gd name="connsiteX0" fmla="*/ -336 w 36052"/>
                <a:gd name="connsiteY0" fmla="*/ 10227 h 20843"/>
                <a:gd name="connsiteX1" fmla="*/ 1188 w 36052"/>
                <a:gd name="connsiteY1" fmla="*/ 12513 h 20843"/>
                <a:gd name="connsiteX2" fmla="*/ 3569 w 36052"/>
                <a:gd name="connsiteY2" fmla="*/ 13846 h 20843"/>
                <a:gd name="connsiteX3" fmla="*/ 13856 w 36052"/>
                <a:gd name="connsiteY3" fmla="*/ 19752 h 20843"/>
                <a:gd name="connsiteX4" fmla="*/ 21476 w 36052"/>
                <a:gd name="connsiteY4" fmla="*/ 19752 h 20843"/>
                <a:gd name="connsiteX5" fmla="*/ 31763 w 36052"/>
                <a:gd name="connsiteY5" fmla="*/ 13846 h 20843"/>
                <a:gd name="connsiteX6" fmla="*/ 34144 w 36052"/>
                <a:gd name="connsiteY6" fmla="*/ 12513 h 20843"/>
                <a:gd name="connsiteX7" fmla="*/ 35573 w 36052"/>
                <a:gd name="connsiteY7" fmla="*/ 9465 h 20843"/>
                <a:gd name="connsiteX8" fmla="*/ 34144 w 36052"/>
                <a:gd name="connsiteY8" fmla="*/ 8036 h 20843"/>
                <a:gd name="connsiteX9" fmla="*/ 21476 w 36052"/>
                <a:gd name="connsiteY9" fmla="*/ 702 h 20843"/>
                <a:gd name="connsiteX10" fmla="*/ 13856 w 36052"/>
                <a:gd name="connsiteY10" fmla="*/ 702 h 20843"/>
                <a:gd name="connsiteX11" fmla="*/ 1188 w 36052"/>
                <a:gd name="connsiteY11" fmla="*/ 8036 h 20843"/>
                <a:gd name="connsiteX12" fmla="*/ -336 w 36052"/>
                <a:gd name="connsiteY12" fmla="*/ 10227 h 20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3">
                  <a:moveTo>
                    <a:pt x="-336" y="10227"/>
                  </a:moveTo>
                  <a:cubicBezTo>
                    <a:pt x="-269" y="11208"/>
                    <a:pt x="311" y="12075"/>
                    <a:pt x="1188" y="12513"/>
                  </a:cubicBezTo>
                  <a:lnTo>
                    <a:pt x="3569" y="13846"/>
                  </a:lnTo>
                  <a:lnTo>
                    <a:pt x="13856" y="19752"/>
                  </a:lnTo>
                  <a:cubicBezTo>
                    <a:pt x="16247" y="20990"/>
                    <a:pt x="19085" y="20990"/>
                    <a:pt x="21476" y="19752"/>
                  </a:cubicBezTo>
                  <a:lnTo>
                    <a:pt x="31763" y="13846"/>
                  </a:lnTo>
                  <a:lnTo>
                    <a:pt x="34144" y="12513"/>
                  </a:lnTo>
                  <a:cubicBezTo>
                    <a:pt x="35382" y="12065"/>
                    <a:pt x="36021" y="10694"/>
                    <a:pt x="35573" y="9465"/>
                  </a:cubicBezTo>
                  <a:cubicBezTo>
                    <a:pt x="35325" y="8798"/>
                    <a:pt x="34811" y="8274"/>
                    <a:pt x="34144"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324" name="í$ľíḑê">
              <a:extLst>
                <a:ext uri="{FF2B5EF4-FFF2-40B4-BE49-F238E27FC236}">
                  <a16:creationId xmlns:a16="http://schemas.microsoft.com/office/drawing/2014/main" id="{C803B720-B977-4D35-9B3D-D1887FFCCF46}"/>
                </a:ext>
              </a:extLst>
            </p:cNvPr>
            <p:cNvSpPr/>
            <p:nvPr/>
          </p:nvSpPr>
          <p:spPr>
            <a:xfrm>
              <a:off x="5399843" y="4914264"/>
              <a:ext cx="105898" cy="61101"/>
            </a:xfrm>
            <a:custGeom>
              <a:avLst/>
              <a:gdLst>
                <a:gd name="connsiteX0" fmla="*/ 1164 w 34790"/>
                <a:gd name="connsiteY0" fmla="*/ 12029 h 20073"/>
                <a:gd name="connsiteX1" fmla="*/ 13356 w 34790"/>
                <a:gd name="connsiteY1" fmla="*/ 18982 h 20073"/>
                <a:gd name="connsiteX2" fmla="*/ 20785 w 34790"/>
                <a:gd name="connsiteY2" fmla="*/ 18982 h 20073"/>
                <a:gd name="connsiteX3" fmla="*/ 32882 w 34790"/>
                <a:gd name="connsiteY3" fmla="*/ 12029 h 20073"/>
                <a:gd name="connsiteX4" fmla="*/ 32882 w 34790"/>
                <a:gd name="connsiteY4" fmla="*/ 7743 h 20073"/>
                <a:gd name="connsiteX5" fmla="*/ 20785 w 34790"/>
                <a:gd name="connsiteY5" fmla="*/ 695 h 20073"/>
                <a:gd name="connsiteX6" fmla="*/ 13356 w 34790"/>
                <a:gd name="connsiteY6" fmla="*/ 695 h 20073"/>
                <a:gd name="connsiteX7" fmla="*/ 1164 w 34790"/>
                <a:gd name="connsiteY7" fmla="*/ 7743 h 20073"/>
                <a:gd name="connsiteX8" fmla="*/ 1164 w 34790"/>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3">
                  <a:moveTo>
                    <a:pt x="1164" y="12029"/>
                  </a:moveTo>
                  <a:lnTo>
                    <a:pt x="13356" y="18982"/>
                  </a:lnTo>
                  <a:cubicBezTo>
                    <a:pt x="15680" y="20221"/>
                    <a:pt x="18461" y="20221"/>
                    <a:pt x="20785" y="18982"/>
                  </a:cubicBezTo>
                  <a:lnTo>
                    <a:pt x="32882" y="12029"/>
                  </a:lnTo>
                  <a:cubicBezTo>
                    <a:pt x="34978" y="10791"/>
                    <a:pt x="34978" y="8886"/>
                    <a:pt x="32882" y="7743"/>
                  </a:cubicBezTo>
                  <a:lnTo>
                    <a:pt x="20785" y="695"/>
                  </a:lnTo>
                  <a:cubicBezTo>
                    <a:pt x="18442" y="-448"/>
                    <a:pt x="15699" y="-448"/>
                    <a:pt x="13356" y="695"/>
                  </a:cubicBezTo>
                  <a:lnTo>
                    <a:pt x="1164" y="7743"/>
                  </a:lnTo>
                  <a:cubicBezTo>
                    <a:pt x="-836" y="9267"/>
                    <a:pt x="-836" y="10791"/>
                    <a:pt x="1164" y="12029"/>
                  </a:cubicBezTo>
                  <a:close/>
                </a:path>
              </a:pathLst>
            </a:custGeom>
            <a:solidFill>
              <a:srgbClr val="D1D9E8"/>
            </a:solidFill>
            <a:ln w="9525" cap="flat">
              <a:noFill/>
              <a:prstDash val="solid"/>
              <a:miter/>
            </a:ln>
          </p:spPr>
          <p:txBody>
            <a:bodyPr rtlCol="0" anchor="ctr"/>
            <a:lstStyle/>
            <a:p>
              <a:endParaRPr lang="zh-CN" altLang="en-US"/>
            </a:p>
          </p:txBody>
        </p:sp>
        <p:sp>
          <p:nvSpPr>
            <p:cNvPr id="325" name="îšľîdê">
              <a:extLst>
                <a:ext uri="{FF2B5EF4-FFF2-40B4-BE49-F238E27FC236}">
                  <a16:creationId xmlns:a16="http://schemas.microsoft.com/office/drawing/2014/main" id="{12E9AC46-B71F-4F2A-B095-E32B96D0B9A8}"/>
                </a:ext>
              </a:extLst>
            </p:cNvPr>
            <p:cNvSpPr/>
            <p:nvPr/>
          </p:nvSpPr>
          <p:spPr>
            <a:xfrm>
              <a:off x="5398029" y="4944707"/>
              <a:ext cx="109594" cy="53801"/>
            </a:xfrm>
            <a:custGeom>
              <a:avLst/>
              <a:gdLst>
                <a:gd name="connsiteX0" fmla="*/ -336 w 36004"/>
                <a:gd name="connsiteY0" fmla="*/ -163 h 17675"/>
                <a:gd name="connsiteX1" fmla="*/ -336 w 36004"/>
                <a:gd name="connsiteY1" fmla="*/ 7076 h 17675"/>
                <a:gd name="connsiteX2" fmla="*/ 1188 w 36004"/>
                <a:gd name="connsiteY2" fmla="*/ 9267 h 17675"/>
                <a:gd name="connsiteX3" fmla="*/ 13856 w 36004"/>
                <a:gd name="connsiteY3" fmla="*/ 16506 h 17675"/>
                <a:gd name="connsiteX4" fmla="*/ 21476 w 36004"/>
                <a:gd name="connsiteY4" fmla="*/ 16506 h 17675"/>
                <a:gd name="connsiteX5" fmla="*/ 34144 w 36004"/>
                <a:gd name="connsiteY5" fmla="*/ 9267 h 17675"/>
                <a:gd name="connsiteX6" fmla="*/ 35668 w 36004"/>
                <a:gd name="connsiteY6" fmla="*/ 6981 h 17675"/>
                <a:gd name="connsiteX7" fmla="*/ 35668 w 36004"/>
                <a:gd name="connsiteY7" fmla="*/ -163 h 17675"/>
                <a:gd name="connsiteX8" fmla="*/ 34144 w 36004"/>
                <a:gd name="connsiteY8" fmla="*/ 2123 h 17675"/>
                <a:gd name="connsiteX9" fmla="*/ 31763 w 36004"/>
                <a:gd name="connsiteY9" fmla="*/ 3457 h 17675"/>
                <a:gd name="connsiteX10" fmla="*/ 21476 w 36004"/>
                <a:gd name="connsiteY10" fmla="*/ 9362 h 17675"/>
                <a:gd name="connsiteX11" fmla="*/ 13856 w 36004"/>
                <a:gd name="connsiteY11" fmla="*/ 9362 h 17675"/>
                <a:gd name="connsiteX12" fmla="*/ 3569 w 36004"/>
                <a:gd name="connsiteY12" fmla="*/ 3457 h 17675"/>
                <a:gd name="connsiteX13" fmla="*/ 1188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79" y="8038"/>
                    <a:pt x="311" y="8877"/>
                    <a:pt x="1188" y="9267"/>
                  </a:cubicBezTo>
                  <a:lnTo>
                    <a:pt x="13856" y="16506"/>
                  </a:lnTo>
                  <a:cubicBezTo>
                    <a:pt x="16218" y="17849"/>
                    <a:pt x="19114" y="17849"/>
                    <a:pt x="21476" y="16506"/>
                  </a:cubicBezTo>
                  <a:lnTo>
                    <a:pt x="34144" y="9267"/>
                  </a:lnTo>
                  <a:cubicBezTo>
                    <a:pt x="35049" y="8867"/>
                    <a:pt x="35640" y="7972"/>
                    <a:pt x="35668" y="6981"/>
                  </a:cubicBezTo>
                  <a:lnTo>
                    <a:pt x="35668" y="-163"/>
                  </a:lnTo>
                  <a:cubicBezTo>
                    <a:pt x="35602" y="818"/>
                    <a:pt x="35021" y="1685"/>
                    <a:pt x="34144" y="2123"/>
                  </a:cubicBezTo>
                  <a:lnTo>
                    <a:pt x="31763" y="3457"/>
                  </a:lnTo>
                  <a:lnTo>
                    <a:pt x="21476" y="9362"/>
                  </a:lnTo>
                  <a:cubicBezTo>
                    <a:pt x="19085" y="10601"/>
                    <a:pt x="16247" y="10601"/>
                    <a:pt x="13856" y="9362"/>
                  </a:cubicBezTo>
                  <a:lnTo>
                    <a:pt x="3569" y="3457"/>
                  </a:lnTo>
                  <a:lnTo>
                    <a:pt x="1188" y="2123"/>
                  </a:lnTo>
                  <a:cubicBezTo>
                    <a:pt x="311"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326" name="îṧ1îdè">
              <a:extLst>
                <a:ext uri="{FF2B5EF4-FFF2-40B4-BE49-F238E27FC236}">
                  <a16:creationId xmlns:a16="http://schemas.microsoft.com/office/drawing/2014/main" id="{8CD7580E-887B-4844-97A5-A9064D79A904}"/>
                </a:ext>
              </a:extLst>
            </p:cNvPr>
            <p:cNvSpPr/>
            <p:nvPr/>
          </p:nvSpPr>
          <p:spPr>
            <a:xfrm>
              <a:off x="5474282" y="4957884"/>
              <a:ext cx="109740" cy="63292"/>
            </a:xfrm>
            <a:custGeom>
              <a:avLst/>
              <a:gdLst>
                <a:gd name="connsiteX0" fmla="*/ -336 w 36052"/>
                <a:gd name="connsiteY0" fmla="*/ 10177 h 20793"/>
                <a:gd name="connsiteX1" fmla="*/ 1283 w 36052"/>
                <a:gd name="connsiteY1" fmla="*/ 12463 h 20793"/>
                <a:gd name="connsiteX2" fmla="*/ 3569 w 36052"/>
                <a:gd name="connsiteY2" fmla="*/ 13796 h 20793"/>
                <a:gd name="connsiteX3" fmla="*/ 13856 w 36052"/>
                <a:gd name="connsiteY3" fmla="*/ 19702 h 20793"/>
                <a:gd name="connsiteX4" fmla="*/ 21571 w 36052"/>
                <a:gd name="connsiteY4" fmla="*/ 19702 h 20793"/>
                <a:gd name="connsiteX5" fmla="*/ 31858 w 36052"/>
                <a:gd name="connsiteY5" fmla="*/ 13796 h 20793"/>
                <a:gd name="connsiteX6" fmla="*/ 34144 w 36052"/>
                <a:gd name="connsiteY6" fmla="*/ 12463 h 20793"/>
                <a:gd name="connsiteX7" fmla="*/ 35573 w 36052"/>
                <a:gd name="connsiteY7" fmla="*/ 9415 h 20793"/>
                <a:gd name="connsiteX8" fmla="*/ 34144 w 36052"/>
                <a:gd name="connsiteY8" fmla="*/ 7986 h 20793"/>
                <a:gd name="connsiteX9" fmla="*/ 21571 w 36052"/>
                <a:gd name="connsiteY9" fmla="*/ 652 h 20793"/>
                <a:gd name="connsiteX10" fmla="*/ 13856 w 36052"/>
                <a:gd name="connsiteY10" fmla="*/ 652 h 20793"/>
                <a:gd name="connsiteX11" fmla="*/ 1283 w 36052"/>
                <a:gd name="connsiteY11" fmla="*/ 7986 h 20793"/>
                <a:gd name="connsiteX12" fmla="*/ -336 w 36052"/>
                <a:gd name="connsiteY12" fmla="*/ 10177 h 20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793">
                  <a:moveTo>
                    <a:pt x="-336" y="10177"/>
                  </a:moveTo>
                  <a:cubicBezTo>
                    <a:pt x="-270" y="11186"/>
                    <a:pt x="359" y="12072"/>
                    <a:pt x="1283" y="12463"/>
                  </a:cubicBezTo>
                  <a:lnTo>
                    <a:pt x="3569" y="13796"/>
                  </a:lnTo>
                  <a:lnTo>
                    <a:pt x="13856" y="19702"/>
                  </a:lnTo>
                  <a:cubicBezTo>
                    <a:pt x="16275" y="20940"/>
                    <a:pt x="19152" y="20940"/>
                    <a:pt x="21571" y="19702"/>
                  </a:cubicBezTo>
                  <a:lnTo>
                    <a:pt x="31858" y="13796"/>
                  </a:lnTo>
                  <a:lnTo>
                    <a:pt x="34144" y="12463"/>
                  </a:lnTo>
                  <a:cubicBezTo>
                    <a:pt x="35382" y="12015"/>
                    <a:pt x="36020" y="10643"/>
                    <a:pt x="35573" y="9415"/>
                  </a:cubicBezTo>
                  <a:cubicBezTo>
                    <a:pt x="35325" y="8748"/>
                    <a:pt x="34811" y="8224"/>
                    <a:pt x="34144" y="7986"/>
                  </a:cubicBezTo>
                  <a:lnTo>
                    <a:pt x="21571" y="652"/>
                  </a:lnTo>
                  <a:cubicBezTo>
                    <a:pt x="19114" y="-434"/>
                    <a:pt x="16313" y="-434"/>
                    <a:pt x="13856" y="652"/>
                  </a:cubicBezTo>
                  <a:lnTo>
                    <a:pt x="1283" y="7986"/>
                  </a:lnTo>
                  <a:cubicBezTo>
                    <a:pt x="387" y="8367"/>
                    <a:pt x="-241" y="9205"/>
                    <a:pt x="-336" y="10177"/>
                  </a:cubicBezTo>
                  <a:close/>
                </a:path>
              </a:pathLst>
            </a:custGeom>
            <a:solidFill>
              <a:srgbClr val="FFFFFF"/>
            </a:solidFill>
            <a:ln w="9525" cap="flat">
              <a:noFill/>
              <a:prstDash val="solid"/>
              <a:miter/>
            </a:ln>
          </p:spPr>
          <p:txBody>
            <a:bodyPr rtlCol="0" anchor="ctr"/>
            <a:lstStyle/>
            <a:p>
              <a:endParaRPr lang="zh-CN" altLang="en-US"/>
            </a:p>
          </p:txBody>
        </p:sp>
        <p:sp>
          <p:nvSpPr>
            <p:cNvPr id="327" name="iṩľïḑe">
              <a:extLst>
                <a:ext uri="{FF2B5EF4-FFF2-40B4-BE49-F238E27FC236}">
                  <a16:creationId xmlns:a16="http://schemas.microsoft.com/office/drawing/2014/main" id="{91B771D8-DAF0-4426-913B-A65F6134E12F}"/>
                </a:ext>
              </a:extLst>
            </p:cNvPr>
            <p:cNvSpPr/>
            <p:nvPr/>
          </p:nvSpPr>
          <p:spPr>
            <a:xfrm>
              <a:off x="5476167" y="4958913"/>
              <a:ext cx="106766" cy="61101"/>
            </a:xfrm>
            <a:custGeom>
              <a:avLst/>
              <a:gdLst>
                <a:gd name="connsiteX0" fmla="*/ 1521 w 35075"/>
                <a:gd name="connsiteY0" fmla="*/ 12029 h 20073"/>
                <a:gd name="connsiteX1" fmla="*/ 13618 w 35075"/>
                <a:gd name="connsiteY1" fmla="*/ 18983 h 20073"/>
                <a:gd name="connsiteX2" fmla="*/ 21047 w 35075"/>
                <a:gd name="connsiteY2" fmla="*/ 18983 h 20073"/>
                <a:gd name="connsiteX3" fmla="*/ 33239 w 35075"/>
                <a:gd name="connsiteY3" fmla="*/ 12029 h 20073"/>
                <a:gd name="connsiteX4" fmla="*/ 33239 w 35075"/>
                <a:gd name="connsiteY4" fmla="*/ 7743 h 20073"/>
                <a:gd name="connsiteX5" fmla="*/ 21047 w 35075"/>
                <a:gd name="connsiteY5" fmla="*/ 695 h 20073"/>
                <a:gd name="connsiteX6" fmla="*/ 13618 w 35075"/>
                <a:gd name="connsiteY6" fmla="*/ 695 h 20073"/>
                <a:gd name="connsiteX7" fmla="*/ 1521 w 35075"/>
                <a:gd name="connsiteY7" fmla="*/ 7743 h 20073"/>
                <a:gd name="connsiteX8" fmla="*/ 1521 w 35075"/>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075" h="20073">
                  <a:moveTo>
                    <a:pt x="1521" y="12029"/>
                  </a:moveTo>
                  <a:lnTo>
                    <a:pt x="13618" y="18983"/>
                  </a:lnTo>
                  <a:cubicBezTo>
                    <a:pt x="15942" y="20221"/>
                    <a:pt x="18723" y="20221"/>
                    <a:pt x="21047" y="18983"/>
                  </a:cubicBezTo>
                  <a:lnTo>
                    <a:pt x="33239" y="12029"/>
                  </a:lnTo>
                  <a:cubicBezTo>
                    <a:pt x="35239" y="10791"/>
                    <a:pt x="35239" y="8886"/>
                    <a:pt x="33239" y="7743"/>
                  </a:cubicBezTo>
                  <a:lnTo>
                    <a:pt x="21047" y="695"/>
                  </a:lnTo>
                  <a:cubicBezTo>
                    <a:pt x="18704" y="-448"/>
                    <a:pt x="15961" y="-448"/>
                    <a:pt x="13618" y="695"/>
                  </a:cubicBezTo>
                  <a:lnTo>
                    <a:pt x="1521" y="7743"/>
                  </a:lnTo>
                  <a:cubicBezTo>
                    <a:pt x="-955" y="8886"/>
                    <a:pt x="-955" y="10791"/>
                    <a:pt x="1521" y="12029"/>
                  </a:cubicBezTo>
                  <a:close/>
                </a:path>
              </a:pathLst>
            </a:custGeom>
            <a:solidFill>
              <a:srgbClr val="D1D9E8"/>
            </a:solidFill>
            <a:ln w="9525" cap="flat">
              <a:noFill/>
              <a:prstDash val="solid"/>
              <a:miter/>
            </a:ln>
          </p:spPr>
          <p:txBody>
            <a:bodyPr rtlCol="0" anchor="ctr"/>
            <a:lstStyle/>
            <a:p>
              <a:endParaRPr lang="zh-CN" altLang="en-US"/>
            </a:p>
          </p:txBody>
        </p:sp>
        <p:sp>
          <p:nvSpPr>
            <p:cNvPr id="328" name="ïšľíḍé">
              <a:extLst>
                <a:ext uri="{FF2B5EF4-FFF2-40B4-BE49-F238E27FC236}">
                  <a16:creationId xmlns:a16="http://schemas.microsoft.com/office/drawing/2014/main" id="{FEB04F25-56C5-4BE0-84FA-EF0DD05321FA}"/>
                </a:ext>
              </a:extLst>
            </p:cNvPr>
            <p:cNvSpPr/>
            <p:nvPr/>
          </p:nvSpPr>
          <p:spPr>
            <a:xfrm>
              <a:off x="5474282" y="4989358"/>
              <a:ext cx="109883" cy="53801"/>
            </a:xfrm>
            <a:custGeom>
              <a:avLst/>
              <a:gdLst>
                <a:gd name="connsiteX0" fmla="*/ -336 w 36099"/>
                <a:gd name="connsiteY0" fmla="*/ -163 h 17675"/>
                <a:gd name="connsiteX1" fmla="*/ -336 w 36099"/>
                <a:gd name="connsiteY1" fmla="*/ 7076 h 17675"/>
                <a:gd name="connsiteX2" fmla="*/ 1283 w 36099"/>
                <a:gd name="connsiteY2" fmla="*/ 9267 h 17675"/>
                <a:gd name="connsiteX3" fmla="*/ 13856 w 36099"/>
                <a:gd name="connsiteY3" fmla="*/ 16506 h 17675"/>
                <a:gd name="connsiteX4" fmla="*/ 21571 w 36099"/>
                <a:gd name="connsiteY4" fmla="*/ 16506 h 17675"/>
                <a:gd name="connsiteX5" fmla="*/ 34144 w 36099"/>
                <a:gd name="connsiteY5" fmla="*/ 9267 h 17675"/>
                <a:gd name="connsiteX6" fmla="*/ 35764 w 36099"/>
                <a:gd name="connsiteY6" fmla="*/ 6981 h 17675"/>
                <a:gd name="connsiteX7" fmla="*/ 35764 w 36099"/>
                <a:gd name="connsiteY7" fmla="*/ -163 h 17675"/>
                <a:gd name="connsiteX8" fmla="*/ 34144 w 36099"/>
                <a:gd name="connsiteY8" fmla="*/ 2123 h 17675"/>
                <a:gd name="connsiteX9" fmla="*/ 31858 w 36099"/>
                <a:gd name="connsiteY9" fmla="*/ 3457 h 17675"/>
                <a:gd name="connsiteX10" fmla="*/ 21571 w 36099"/>
                <a:gd name="connsiteY10" fmla="*/ 9362 h 17675"/>
                <a:gd name="connsiteX11" fmla="*/ 13856 w 36099"/>
                <a:gd name="connsiteY11" fmla="*/ 9362 h 17675"/>
                <a:gd name="connsiteX12" fmla="*/ 3569 w 36099"/>
                <a:gd name="connsiteY12" fmla="*/ 3457 h 17675"/>
                <a:gd name="connsiteX13" fmla="*/ 1283 w 36099"/>
                <a:gd name="connsiteY13" fmla="*/ 2123 h 17675"/>
                <a:gd name="connsiteX14" fmla="*/ -336 w 36099"/>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675">
                  <a:moveTo>
                    <a:pt x="-336" y="-163"/>
                  </a:moveTo>
                  <a:lnTo>
                    <a:pt x="-336" y="7076"/>
                  </a:lnTo>
                  <a:cubicBezTo>
                    <a:pt x="-241" y="8048"/>
                    <a:pt x="387" y="8886"/>
                    <a:pt x="1283" y="9267"/>
                  </a:cubicBezTo>
                  <a:lnTo>
                    <a:pt x="13856" y="16506"/>
                  </a:lnTo>
                  <a:cubicBezTo>
                    <a:pt x="16256" y="17849"/>
                    <a:pt x="19171" y="17849"/>
                    <a:pt x="21571" y="16506"/>
                  </a:cubicBezTo>
                  <a:lnTo>
                    <a:pt x="34144" y="9267"/>
                  </a:lnTo>
                  <a:cubicBezTo>
                    <a:pt x="35049" y="8839"/>
                    <a:pt x="35659" y="7972"/>
                    <a:pt x="35764" y="6981"/>
                  </a:cubicBezTo>
                  <a:lnTo>
                    <a:pt x="35764" y="-163"/>
                  </a:lnTo>
                  <a:cubicBezTo>
                    <a:pt x="35659" y="828"/>
                    <a:pt x="35049" y="1695"/>
                    <a:pt x="34144" y="2123"/>
                  </a:cubicBezTo>
                  <a:lnTo>
                    <a:pt x="31858" y="3457"/>
                  </a:lnTo>
                  <a:lnTo>
                    <a:pt x="21571" y="9362"/>
                  </a:lnTo>
                  <a:cubicBezTo>
                    <a:pt x="19152" y="10601"/>
                    <a:pt x="16275" y="10601"/>
                    <a:pt x="13856" y="9362"/>
                  </a:cubicBezTo>
                  <a:lnTo>
                    <a:pt x="3569" y="3457"/>
                  </a:lnTo>
                  <a:lnTo>
                    <a:pt x="1283" y="2123"/>
                  </a:lnTo>
                  <a:cubicBezTo>
                    <a:pt x="359" y="1733"/>
                    <a:pt x="-270" y="847"/>
                    <a:pt x="-336" y="-163"/>
                  </a:cubicBezTo>
                  <a:close/>
                </a:path>
              </a:pathLst>
            </a:custGeom>
            <a:solidFill>
              <a:srgbClr val="BF4200"/>
            </a:solidFill>
            <a:ln w="9525" cap="flat">
              <a:noFill/>
              <a:prstDash val="solid"/>
              <a:miter/>
            </a:ln>
          </p:spPr>
          <p:txBody>
            <a:bodyPr rtlCol="0" anchor="ctr"/>
            <a:lstStyle/>
            <a:p>
              <a:endParaRPr lang="zh-CN" altLang="en-US"/>
            </a:p>
          </p:txBody>
        </p:sp>
        <p:sp>
          <p:nvSpPr>
            <p:cNvPr id="329" name="íṣ1íḓê">
              <a:extLst>
                <a:ext uri="{FF2B5EF4-FFF2-40B4-BE49-F238E27FC236}">
                  <a16:creationId xmlns:a16="http://schemas.microsoft.com/office/drawing/2014/main" id="{1EC6D7A8-88FE-4A44-92F6-F068356D1850}"/>
                </a:ext>
              </a:extLst>
            </p:cNvPr>
            <p:cNvSpPr/>
            <p:nvPr/>
          </p:nvSpPr>
          <p:spPr>
            <a:xfrm>
              <a:off x="5552566" y="5002383"/>
              <a:ext cx="109740" cy="63442"/>
            </a:xfrm>
            <a:custGeom>
              <a:avLst/>
              <a:gdLst>
                <a:gd name="connsiteX0" fmla="*/ -336 w 36052"/>
                <a:gd name="connsiteY0" fmla="*/ 10227 h 20842"/>
                <a:gd name="connsiteX1" fmla="*/ 1187 w 36052"/>
                <a:gd name="connsiteY1" fmla="*/ 12513 h 20842"/>
                <a:gd name="connsiteX2" fmla="*/ 3569 w 36052"/>
                <a:gd name="connsiteY2" fmla="*/ 13846 h 20842"/>
                <a:gd name="connsiteX3" fmla="*/ 13856 w 36052"/>
                <a:gd name="connsiteY3" fmla="*/ 19752 h 20842"/>
                <a:gd name="connsiteX4" fmla="*/ 21476 w 36052"/>
                <a:gd name="connsiteY4" fmla="*/ 19752 h 20842"/>
                <a:gd name="connsiteX5" fmla="*/ 31763 w 36052"/>
                <a:gd name="connsiteY5" fmla="*/ 13846 h 20842"/>
                <a:gd name="connsiteX6" fmla="*/ 34144 w 36052"/>
                <a:gd name="connsiteY6" fmla="*/ 12513 h 20842"/>
                <a:gd name="connsiteX7" fmla="*/ 35573 w 36052"/>
                <a:gd name="connsiteY7" fmla="*/ 9465 h 20842"/>
                <a:gd name="connsiteX8" fmla="*/ 34144 w 36052"/>
                <a:gd name="connsiteY8" fmla="*/ 8036 h 20842"/>
                <a:gd name="connsiteX9" fmla="*/ 21476 w 36052"/>
                <a:gd name="connsiteY9" fmla="*/ 702 h 20842"/>
                <a:gd name="connsiteX10" fmla="*/ 13856 w 36052"/>
                <a:gd name="connsiteY10" fmla="*/ 702 h 20842"/>
                <a:gd name="connsiteX11" fmla="*/ 1187 w 36052"/>
                <a:gd name="connsiteY11" fmla="*/ 8036 h 20842"/>
                <a:gd name="connsiteX12" fmla="*/ -336 w 36052"/>
                <a:gd name="connsiteY12" fmla="*/ 10227 h 20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2">
                  <a:moveTo>
                    <a:pt x="-336" y="10227"/>
                  </a:moveTo>
                  <a:cubicBezTo>
                    <a:pt x="-270" y="11208"/>
                    <a:pt x="311" y="12075"/>
                    <a:pt x="1187" y="12513"/>
                  </a:cubicBezTo>
                  <a:lnTo>
                    <a:pt x="3569" y="13846"/>
                  </a:lnTo>
                  <a:lnTo>
                    <a:pt x="13856" y="19752"/>
                  </a:lnTo>
                  <a:cubicBezTo>
                    <a:pt x="16247" y="20990"/>
                    <a:pt x="19085" y="20990"/>
                    <a:pt x="21476" y="19752"/>
                  </a:cubicBezTo>
                  <a:lnTo>
                    <a:pt x="31763" y="13846"/>
                  </a:lnTo>
                  <a:lnTo>
                    <a:pt x="34144" y="12513"/>
                  </a:lnTo>
                  <a:cubicBezTo>
                    <a:pt x="35382" y="12065"/>
                    <a:pt x="36020" y="10693"/>
                    <a:pt x="35573" y="9465"/>
                  </a:cubicBezTo>
                  <a:cubicBezTo>
                    <a:pt x="35325" y="8798"/>
                    <a:pt x="34811" y="8274"/>
                    <a:pt x="34144" y="8036"/>
                  </a:cubicBezTo>
                  <a:lnTo>
                    <a:pt x="21476" y="702"/>
                  </a:lnTo>
                  <a:cubicBezTo>
                    <a:pt x="19066" y="-451"/>
                    <a:pt x="16266" y="-451"/>
                    <a:pt x="13856" y="702"/>
                  </a:cubicBezTo>
                  <a:lnTo>
                    <a:pt x="1187"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330" name="iṥḻïḓè">
              <a:extLst>
                <a:ext uri="{FF2B5EF4-FFF2-40B4-BE49-F238E27FC236}">
                  <a16:creationId xmlns:a16="http://schemas.microsoft.com/office/drawing/2014/main" id="{8392B8EB-FC47-4AD4-9791-5940CC7C9CBA}"/>
                </a:ext>
              </a:extLst>
            </p:cNvPr>
            <p:cNvSpPr/>
            <p:nvPr/>
          </p:nvSpPr>
          <p:spPr>
            <a:xfrm>
              <a:off x="5554450" y="5003564"/>
              <a:ext cx="105825" cy="61104"/>
            </a:xfrm>
            <a:custGeom>
              <a:avLst/>
              <a:gdLst>
                <a:gd name="connsiteX0" fmla="*/ 1235 w 34766"/>
                <a:gd name="connsiteY0" fmla="*/ 12029 h 20074"/>
                <a:gd name="connsiteX1" fmla="*/ 13332 w 34766"/>
                <a:gd name="connsiteY1" fmla="*/ 18983 h 20074"/>
                <a:gd name="connsiteX2" fmla="*/ 20762 w 34766"/>
                <a:gd name="connsiteY2" fmla="*/ 18983 h 20074"/>
                <a:gd name="connsiteX3" fmla="*/ 32858 w 34766"/>
                <a:gd name="connsiteY3" fmla="*/ 12029 h 20074"/>
                <a:gd name="connsiteX4" fmla="*/ 32858 w 34766"/>
                <a:gd name="connsiteY4" fmla="*/ 7743 h 20074"/>
                <a:gd name="connsiteX5" fmla="*/ 20762 w 34766"/>
                <a:gd name="connsiteY5" fmla="*/ 695 h 20074"/>
                <a:gd name="connsiteX6" fmla="*/ 13332 w 34766"/>
                <a:gd name="connsiteY6" fmla="*/ 695 h 20074"/>
                <a:gd name="connsiteX7" fmla="*/ 1235 w 34766"/>
                <a:gd name="connsiteY7" fmla="*/ 7743 h 20074"/>
                <a:gd name="connsiteX8" fmla="*/ 1235 w 34766"/>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6" h="20074">
                  <a:moveTo>
                    <a:pt x="1235" y="12029"/>
                  </a:moveTo>
                  <a:lnTo>
                    <a:pt x="13332" y="18983"/>
                  </a:lnTo>
                  <a:cubicBezTo>
                    <a:pt x="15656" y="20221"/>
                    <a:pt x="18437" y="20221"/>
                    <a:pt x="20762" y="18983"/>
                  </a:cubicBezTo>
                  <a:lnTo>
                    <a:pt x="32858" y="12029"/>
                  </a:lnTo>
                  <a:cubicBezTo>
                    <a:pt x="34954" y="10791"/>
                    <a:pt x="34954" y="8886"/>
                    <a:pt x="32858" y="7743"/>
                  </a:cubicBezTo>
                  <a:lnTo>
                    <a:pt x="20762" y="695"/>
                  </a:lnTo>
                  <a:cubicBezTo>
                    <a:pt x="18419" y="-448"/>
                    <a:pt x="15675" y="-448"/>
                    <a:pt x="13332" y="695"/>
                  </a:cubicBezTo>
                  <a:lnTo>
                    <a:pt x="1235" y="7743"/>
                  </a:lnTo>
                  <a:cubicBezTo>
                    <a:pt x="-860" y="8505"/>
                    <a:pt x="-860" y="10791"/>
                    <a:pt x="1235" y="12029"/>
                  </a:cubicBezTo>
                  <a:close/>
                </a:path>
              </a:pathLst>
            </a:custGeom>
            <a:solidFill>
              <a:srgbClr val="D1D9E8"/>
            </a:solidFill>
            <a:ln w="9525" cap="flat">
              <a:noFill/>
              <a:prstDash val="solid"/>
              <a:miter/>
            </a:ln>
          </p:spPr>
          <p:txBody>
            <a:bodyPr rtlCol="0" anchor="ctr"/>
            <a:lstStyle/>
            <a:p>
              <a:endParaRPr lang="zh-CN" altLang="en-US"/>
            </a:p>
          </p:txBody>
        </p:sp>
        <p:sp>
          <p:nvSpPr>
            <p:cNvPr id="331" name="iṧ1idè">
              <a:extLst>
                <a:ext uri="{FF2B5EF4-FFF2-40B4-BE49-F238E27FC236}">
                  <a16:creationId xmlns:a16="http://schemas.microsoft.com/office/drawing/2014/main" id="{DD99B308-4B35-4B26-836A-0F36687B26D7}"/>
                </a:ext>
              </a:extLst>
            </p:cNvPr>
            <p:cNvSpPr/>
            <p:nvPr/>
          </p:nvSpPr>
          <p:spPr>
            <a:xfrm>
              <a:off x="5552566" y="5034006"/>
              <a:ext cx="109594" cy="53564"/>
            </a:xfrm>
            <a:custGeom>
              <a:avLst/>
              <a:gdLst>
                <a:gd name="connsiteX0" fmla="*/ -336 w 36004"/>
                <a:gd name="connsiteY0" fmla="*/ -163 h 17597"/>
                <a:gd name="connsiteX1" fmla="*/ -336 w 36004"/>
                <a:gd name="connsiteY1" fmla="*/ 7076 h 17597"/>
                <a:gd name="connsiteX2" fmla="*/ 1187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3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7 w 36004"/>
                <a:gd name="connsiteY13" fmla="*/ 2123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7" y="9267"/>
                  </a:cubicBezTo>
                  <a:lnTo>
                    <a:pt x="13856" y="16506"/>
                  </a:lnTo>
                  <a:cubicBezTo>
                    <a:pt x="16247" y="17744"/>
                    <a:pt x="19085" y="17744"/>
                    <a:pt x="21476" y="16506"/>
                  </a:cubicBezTo>
                  <a:lnTo>
                    <a:pt x="34144" y="9267"/>
                  </a:lnTo>
                  <a:cubicBezTo>
                    <a:pt x="35011" y="8819"/>
                    <a:pt x="35582" y="7953"/>
                    <a:pt x="35668" y="6981"/>
                  </a:cubicBezTo>
                  <a:lnTo>
                    <a:pt x="35668" y="-163"/>
                  </a:lnTo>
                  <a:cubicBezTo>
                    <a:pt x="35601" y="818"/>
                    <a:pt x="35020" y="1685"/>
                    <a:pt x="34144" y="2123"/>
                  </a:cubicBezTo>
                  <a:lnTo>
                    <a:pt x="31763" y="3457"/>
                  </a:lnTo>
                  <a:lnTo>
                    <a:pt x="21476" y="9362"/>
                  </a:lnTo>
                  <a:cubicBezTo>
                    <a:pt x="19085" y="10600"/>
                    <a:pt x="16247" y="10600"/>
                    <a:pt x="13856" y="9362"/>
                  </a:cubicBezTo>
                  <a:lnTo>
                    <a:pt x="3569" y="3457"/>
                  </a:lnTo>
                  <a:lnTo>
                    <a:pt x="1187"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332" name="îṩḷïďé">
              <a:extLst>
                <a:ext uri="{FF2B5EF4-FFF2-40B4-BE49-F238E27FC236}">
                  <a16:creationId xmlns:a16="http://schemas.microsoft.com/office/drawing/2014/main" id="{696D89E1-36B3-4A0F-B8D6-D76ED4FC2441}"/>
                </a:ext>
              </a:extLst>
            </p:cNvPr>
            <p:cNvSpPr/>
            <p:nvPr/>
          </p:nvSpPr>
          <p:spPr>
            <a:xfrm>
              <a:off x="5629687" y="5046836"/>
              <a:ext cx="109740" cy="63639"/>
            </a:xfrm>
            <a:custGeom>
              <a:avLst/>
              <a:gdLst>
                <a:gd name="connsiteX0" fmla="*/ -336 w 36052"/>
                <a:gd name="connsiteY0" fmla="*/ 10291 h 20907"/>
                <a:gd name="connsiteX1" fmla="*/ 1283 w 36052"/>
                <a:gd name="connsiteY1" fmla="*/ 12577 h 20907"/>
                <a:gd name="connsiteX2" fmla="*/ 3569 w 36052"/>
                <a:gd name="connsiteY2" fmla="*/ 13911 h 20907"/>
                <a:gd name="connsiteX3" fmla="*/ 13856 w 36052"/>
                <a:gd name="connsiteY3" fmla="*/ 19816 h 20907"/>
                <a:gd name="connsiteX4" fmla="*/ 21571 w 36052"/>
                <a:gd name="connsiteY4" fmla="*/ 19816 h 20907"/>
                <a:gd name="connsiteX5" fmla="*/ 31858 w 36052"/>
                <a:gd name="connsiteY5" fmla="*/ 13911 h 20907"/>
                <a:gd name="connsiteX6" fmla="*/ 34144 w 36052"/>
                <a:gd name="connsiteY6" fmla="*/ 12577 h 20907"/>
                <a:gd name="connsiteX7" fmla="*/ 35573 w 36052"/>
                <a:gd name="connsiteY7" fmla="*/ 9529 h 20907"/>
                <a:gd name="connsiteX8" fmla="*/ 34144 w 36052"/>
                <a:gd name="connsiteY8" fmla="*/ 8101 h 20907"/>
                <a:gd name="connsiteX9" fmla="*/ 21571 w 36052"/>
                <a:gd name="connsiteY9" fmla="*/ 766 h 20907"/>
                <a:gd name="connsiteX10" fmla="*/ 13856 w 36052"/>
                <a:gd name="connsiteY10" fmla="*/ 766 h 20907"/>
                <a:gd name="connsiteX11" fmla="*/ 1283 w 36052"/>
                <a:gd name="connsiteY11" fmla="*/ 8101 h 20907"/>
                <a:gd name="connsiteX12" fmla="*/ -336 w 36052"/>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907">
                  <a:moveTo>
                    <a:pt x="-336" y="10291"/>
                  </a:moveTo>
                  <a:cubicBezTo>
                    <a:pt x="-231" y="11282"/>
                    <a:pt x="378" y="12149"/>
                    <a:pt x="1283" y="12577"/>
                  </a:cubicBezTo>
                  <a:lnTo>
                    <a:pt x="3569" y="13911"/>
                  </a:lnTo>
                  <a:lnTo>
                    <a:pt x="13856" y="19816"/>
                  </a:lnTo>
                  <a:cubicBezTo>
                    <a:pt x="16275" y="21054"/>
                    <a:pt x="19152" y="21054"/>
                    <a:pt x="21571" y="19816"/>
                  </a:cubicBezTo>
                  <a:lnTo>
                    <a:pt x="31858" y="13911"/>
                  </a:lnTo>
                  <a:lnTo>
                    <a:pt x="34144" y="12577"/>
                  </a:lnTo>
                  <a:cubicBezTo>
                    <a:pt x="35382" y="12129"/>
                    <a:pt x="36021" y="10758"/>
                    <a:pt x="35573" y="9529"/>
                  </a:cubicBezTo>
                  <a:cubicBezTo>
                    <a:pt x="35325" y="8862"/>
                    <a:pt x="34811" y="8339"/>
                    <a:pt x="34144" y="8101"/>
                  </a:cubicBezTo>
                  <a:lnTo>
                    <a:pt x="21571" y="766"/>
                  </a:lnTo>
                  <a:cubicBezTo>
                    <a:pt x="19152" y="-472"/>
                    <a:pt x="16275" y="-472"/>
                    <a:pt x="13856" y="766"/>
                  </a:cubicBezTo>
                  <a:lnTo>
                    <a:pt x="1283" y="8101"/>
                  </a:lnTo>
                  <a:cubicBezTo>
                    <a:pt x="407" y="8510"/>
                    <a:pt x="-203" y="933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399" name="iŝļíḍé">
              <a:extLst>
                <a:ext uri="{FF2B5EF4-FFF2-40B4-BE49-F238E27FC236}">
                  <a16:creationId xmlns:a16="http://schemas.microsoft.com/office/drawing/2014/main" id="{04C28748-3381-4C37-8EDF-E9E9A5574410}"/>
                </a:ext>
              </a:extLst>
            </p:cNvPr>
            <p:cNvSpPr/>
            <p:nvPr/>
          </p:nvSpPr>
          <p:spPr>
            <a:xfrm>
              <a:off x="5631791" y="5048215"/>
              <a:ext cx="105679" cy="61101"/>
            </a:xfrm>
            <a:custGeom>
              <a:avLst/>
              <a:gdLst>
                <a:gd name="connsiteX0" fmla="*/ 1164 w 34718"/>
                <a:gd name="connsiteY0" fmla="*/ 12029 h 20073"/>
                <a:gd name="connsiteX1" fmla="*/ 13260 w 34718"/>
                <a:gd name="connsiteY1" fmla="*/ 18983 h 20073"/>
                <a:gd name="connsiteX2" fmla="*/ 20690 w 34718"/>
                <a:gd name="connsiteY2" fmla="*/ 18983 h 20073"/>
                <a:gd name="connsiteX3" fmla="*/ 32882 w 34718"/>
                <a:gd name="connsiteY3" fmla="*/ 12029 h 20073"/>
                <a:gd name="connsiteX4" fmla="*/ 32882 w 34718"/>
                <a:gd name="connsiteY4" fmla="*/ 7743 h 20073"/>
                <a:gd name="connsiteX5" fmla="*/ 20690 w 34718"/>
                <a:gd name="connsiteY5" fmla="*/ 695 h 20073"/>
                <a:gd name="connsiteX6" fmla="*/ 13260 w 34718"/>
                <a:gd name="connsiteY6" fmla="*/ 695 h 20073"/>
                <a:gd name="connsiteX7" fmla="*/ 1164 w 34718"/>
                <a:gd name="connsiteY7" fmla="*/ 7743 h 20073"/>
                <a:gd name="connsiteX8" fmla="*/ 1164 w 34718"/>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18" h="20073">
                  <a:moveTo>
                    <a:pt x="1164" y="12029"/>
                  </a:moveTo>
                  <a:lnTo>
                    <a:pt x="13260" y="18983"/>
                  </a:lnTo>
                  <a:cubicBezTo>
                    <a:pt x="15585" y="20221"/>
                    <a:pt x="18366" y="20221"/>
                    <a:pt x="20690" y="18983"/>
                  </a:cubicBezTo>
                  <a:lnTo>
                    <a:pt x="32882" y="12029"/>
                  </a:lnTo>
                  <a:cubicBezTo>
                    <a:pt x="34882" y="10791"/>
                    <a:pt x="34882" y="8886"/>
                    <a:pt x="32882" y="7743"/>
                  </a:cubicBezTo>
                  <a:lnTo>
                    <a:pt x="20690" y="695"/>
                  </a:lnTo>
                  <a:cubicBezTo>
                    <a:pt x="18347" y="-448"/>
                    <a:pt x="15604" y="-448"/>
                    <a:pt x="13260" y="695"/>
                  </a:cubicBezTo>
                  <a:lnTo>
                    <a:pt x="1164" y="7743"/>
                  </a:lnTo>
                  <a:cubicBezTo>
                    <a:pt x="-836" y="8886"/>
                    <a:pt x="-836" y="10791"/>
                    <a:pt x="1164" y="12029"/>
                  </a:cubicBezTo>
                  <a:close/>
                </a:path>
              </a:pathLst>
            </a:custGeom>
            <a:solidFill>
              <a:srgbClr val="D1D9E8"/>
            </a:solidFill>
            <a:ln w="9525" cap="flat">
              <a:noFill/>
              <a:prstDash val="solid"/>
              <a:miter/>
            </a:ln>
          </p:spPr>
          <p:txBody>
            <a:bodyPr rtlCol="0" anchor="ctr"/>
            <a:lstStyle/>
            <a:p>
              <a:endParaRPr lang="zh-CN" altLang="en-US"/>
            </a:p>
          </p:txBody>
        </p:sp>
        <p:sp>
          <p:nvSpPr>
            <p:cNvPr id="400" name="íśľïḍè">
              <a:extLst>
                <a:ext uri="{FF2B5EF4-FFF2-40B4-BE49-F238E27FC236}">
                  <a16:creationId xmlns:a16="http://schemas.microsoft.com/office/drawing/2014/main" id="{F2CF1138-9CD2-4CA8-9C49-EB3303DD6A4C}"/>
                </a:ext>
              </a:extLst>
            </p:cNvPr>
            <p:cNvSpPr/>
            <p:nvPr/>
          </p:nvSpPr>
          <p:spPr>
            <a:xfrm>
              <a:off x="5629687" y="5078658"/>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4 w 36099"/>
                <a:gd name="connsiteY6" fmla="*/ 6981 h 17597"/>
                <a:gd name="connsiteX7" fmla="*/ 35764 w 36099"/>
                <a:gd name="connsiteY7" fmla="*/ -163 h 17597"/>
                <a:gd name="connsiteX8" fmla="*/ 34144 w 36099"/>
                <a:gd name="connsiteY8" fmla="*/ 2124 h 17597"/>
                <a:gd name="connsiteX9" fmla="*/ 31858 w 36099"/>
                <a:gd name="connsiteY9" fmla="*/ 3457 h 17597"/>
                <a:gd name="connsiteX10" fmla="*/ 21571 w 36099"/>
                <a:gd name="connsiteY10" fmla="*/ 9362 h 17597"/>
                <a:gd name="connsiteX11" fmla="*/ 13856 w 36099"/>
                <a:gd name="connsiteY11" fmla="*/ 9362 h 17597"/>
                <a:gd name="connsiteX12" fmla="*/ 3569 w 36099"/>
                <a:gd name="connsiteY12" fmla="*/ 3457 h 17597"/>
                <a:gd name="connsiteX13" fmla="*/ 1283 w 36099"/>
                <a:gd name="connsiteY13" fmla="*/ 2124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03" y="8029"/>
                    <a:pt x="407" y="8858"/>
                    <a:pt x="1283" y="9267"/>
                  </a:cubicBezTo>
                  <a:lnTo>
                    <a:pt x="13856" y="16506"/>
                  </a:lnTo>
                  <a:cubicBezTo>
                    <a:pt x="16275" y="17744"/>
                    <a:pt x="19152" y="17744"/>
                    <a:pt x="21571" y="16506"/>
                  </a:cubicBezTo>
                  <a:lnTo>
                    <a:pt x="34144" y="9267"/>
                  </a:lnTo>
                  <a:cubicBezTo>
                    <a:pt x="35030" y="8829"/>
                    <a:pt x="35640" y="7972"/>
                    <a:pt x="35764" y="6981"/>
                  </a:cubicBezTo>
                  <a:lnTo>
                    <a:pt x="35764" y="-163"/>
                  </a:lnTo>
                  <a:cubicBezTo>
                    <a:pt x="35659" y="828"/>
                    <a:pt x="35049" y="1695"/>
                    <a:pt x="34144" y="2124"/>
                  </a:cubicBezTo>
                  <a:lnTo>
                    <a:pt x="31858" y="3457"/>
                  </a:lnTo>
                  <a:lnTo>
                    <a:pt x="21571" y="9362"/>
                  </a:lnTo>
                  <a:cubicBezTo>
                    <a:pt x="19152" y="10601"/>
                    <a:pt x="16275" y="10601"/>
                    <a:pt x="13856" y="9362"/>
                  </a:cubicBezTo>
                  <a:lnTo>
                    <a:pt x="3569" y="3457"/>
                  </a:lnTo>
                  <a:lnTo>
                    <a:pt x="1283" y="2124"/>
                  </a:lnTo>
                  <a:cubicBezTo>
                    <a:pt x="378" y="1695"/>
                    <a:pt x="-231"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401" name="îṡḻiḍè">
              <a:extLst>
                <a:ext uri="{FF2B5EF4-FFF2-40B4-BE49-F238E27FC236}">
                  <a16:creationId xmlns:a16="http://schemas.microsoft.com/office/drawing/2014/main" id="{473023F0-B106-4C32-97A3-26DE5CF899D0}"/>
                </a:ext>
              </a:extLst>
            </p:cNvPr>
            <p:cNvSpPr/>
            <p:nvPr/>
          </p:nvSpPr>
          <p:spPr>
            <a:xfrm>
              <a:off x="5706230" y="5091488"/>
              <a:ext cx="109594" cy="63639"/>
            </a:xfrm>
            <a:custGeom>
              <a:avLst/>
              <a:gdLst>
                <a:gd name="connsiteX0" fmla="*/ -336 w 36004"/>
                <a:gd name="connsiteY0" fmla="*/ 10291 h 20907"/>
                <a:gd name="connsiteX1" fmla="*/ 1188 w 36004"/>
                <a:gd name="connsiteY1" fmla="*/ 12577 h 20907"/>
                <a:gd name="connsiteX2" fmla="*/ 3569 w 36004"/>
                <a:gd name="connsiteY2" fmla="*/ 13911 h 20907"/>
                <a:gd name="connsiteX3" fmla="*/ 13856 w 36004"/>
                <a:gd name="connsiteY3" fmla="*/ 19816 h 20907"/>
                <a:gd name="connsiteX4" fmla="*/ 21476 w 36004"/>
                <a:gd name="connsiteY4" fmla="*/ 19816 h 20907"/>
                <a:gd name="connsiteX5" fmla="*/ 31763 w 36004"/>
                <a:gd name="connsiteY5" fmla="*/ 13911 h 20907"/>
                <a:gd name="connsiteX6" fmla="*/ 34144 w 36004"/>
                <a:gd name="connsiteY6" fmla="*/ 12577 h 20907"/>
                <a:gd name="connsiteX7" fmla="*/ 35668 w 36004"/>
                <a:gd name="connsiteY7" fmla="*/ 10291 h 20907"/>
                <a:gd name="connsiteX8" fmla="*/ 34144 w 36004"/>
                <a:gd name="connsiteY8" fmla="*/ 8100 h 20907"/>
                <a:gd name="connsiteX9" fmla="*/ 21476 w 36004"/>
                <a:gd name="connsiteY9" fmla="*/ 766 h 20907"/>
                <a:gd name="connsiteX10" fmla="*/ 13856 w 36004"/>
                <a:gd name="connsiteY10" fmla="*/ 766 h 20907"/>
                <a:gd name="connsiteX11" fmla="*/ 1188 w 36004"/>
                <a:gd name="connsiteY11" fmla="*/ 8100 h 20907"/>
                <a:gd name="connsiteX12" fmla="*/ -336 w 36004"/>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907">
                  <a:moveTo>
                    <a:pt x="-336" y="10291"/>
                  </a:moveTo>
                  <a:cubicBezTo>
                    <a:pt x="-270" y="11272"/>
                    <a:pt x="311" y="12139"/>
                    <a:pt x="1188" y="12577"/>
                  </a:cubicBezTo>
                  <a:lnTo>
                    <a:pt x="3569" y="13911"/>
                  </a:lnTo>
                  <a:lnTo>
                    <a:pt x="13856" y="19816"/>
                  </a:lnTo>
                  <a:cubicBezTo>
                    <a:pt x="16247" y="21054"/>
                    <a:pt x="19085" y="21054"/>
                    <a:pt x="21476" y="19816"/>
                  </a:cubicBezTo>
                  <a:lnTo>
                    <a:pt x="31763" y="13911"/>
                  </a:lnTo>
                  <a:lnTo>
                    <a:pt x="34144" y="12577"/>
                  </a:lnTo>
                  <a:cubicBezTo>
                    <a:pt x="35021" y="12139"/>
                    <a:pt x="35602" y="11272"/>
                    <a:pt x="35668" y="10291"/>
                  </a:cubicBezTo>
                  <a:cubicBezTo>
                    <a:pt x="35611" y="9339"/>
                    <a:pt x="35021" y="8491"/>
                    <a:pt x="34144" y="8100"/>
                  </a:cubicBezTo>
                  <a:lnTo>
                    <a:pt x="21476" y="766"/>
                  </a:lnTo>
                  <a:cubicBezTo>
                    <a:pt x="19085" y="-472"/>
                    <a:pt x="16247" y="-472"/>
                    <a:pt x="13856" y="766"/>
                  </a:cubicBezTo>
                  <a:lnTo>
                    <a:pt x="1188" y="8100"/>
                  </a:lnTo>
                  <a:cubicBezTo>
                    <a:pt x="311" y="8491"/>
                    <a:pt x="-279"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402" name="ísḷiḑê">
              <a:extLst>
                <a:ext uri="{FF2B5EF4-FFF2-40B4-BE49-F238E27FC236}">
                  <a16:creationId xmlns:a16="http://schemas.microsoft.com/office/drawing/2014/main" id="{58A55A0B-56C2-4E6D-B7DF-00251E220F16}"/>
                </a:ext>
              </a:extLst>
            </p:cNvPr>
            <p:cNvSpPr/>
            <p:nvPr/>
          </p:nvSpPr>
          <p:spPr>
            <a:xfrm>
              <a:off x="5708114" y="5092647"/>
              <a:ext cx="106693" cy="61101"/>
            </a:xfrm>
            <a:custGeom>
              <a:avLst/>
              <a:gdLst>
                <a:gd name="connsiteX0" fmla="*/ 1521 w 35051"/>
                <a:gd name="connsiteY0" fmla="*/ 12006 h 20073"/>
                <a:gd name="connsiteX1" fmla="*/ 13618 w 35051"/>
                <a:gd name="connsiteY1" fmla="*/ 19054 h 20073"/>
                <a:gd name="connsiteX2" fmla="*/ 21047 w 35051"/>
                <a:gd name="connsiteY2" fmla="*/ 19054 h 20073"/>
                <a:gd name="connsiteX3" fmla="*/ 33144 w 35051"/>
                <a:gd name="connsiteY3" fmla="*/ 12006 h 20073"/>
                <a:gd name="connsiteX4" fmla="*/ 33144 w 35051"/>
                <a:gd name="connsiteY4" fmla="*/ 7719 h 20073"/>
                <a:gd name="connsiteX5" fmla="*/ 21047 w 35051"/>
                <a:gd name="connsiteY5" fmla="*/ 766 h 20073"/>
                <a:gd name="connsiteX6" fmla="*/ 13618 w 35051"/>
                <a:gd name="connsiteY6" fmla="*/ 766 h 20073"/>
                <a:gd name="connsiteX7" fmla="*/ 1521 w 35051"/>
                <a:gd name="connsiteY7" fmla="*/ 7719 h 20073"/>
                <a:gd name="connsiteX8" fmla="*/ 1521 w 35051"/>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051" h="20073">
                  <a:moveTo>
                    <a:pt x="1521" y="12006"/>
                  </a:moveTo>
                  <a:lnTo>
                    <a:pt x="13618" y="19054"/>
                  </a:lnTo>
                  <a:cubicBezTo>
                    <a:pt x="15961" y="20197"/>
                    <a:pt x="18704" y="20197"/>
                    <a:pt x="21047" y="19054"/>
                  </a:cubicBezTo>
                  <a:lnTo>
                    <a:pt x="33144" y="12006"/>
                  </a:lnTo>
                  <a:cubicBezTo>
                    <a:pt x="35239" y="10863"/>
                    <a:pt x="35239" y="8957"/>
                    <a:pt x="33144" y="7719"/>
                  </a:cubicBezTo>
                  <a:lnTo>
                    <a:pt x="21047" y="766"/>
                  </a:lnTo>
                  <a:cubicBezTo>
                    <a:pt x="18723" y="-472"/>
                    <a:pt x="15942" y="-472"/>
                    <a:pt x="13618" y="766"/>
                  </a:cubicBezTo>
                  <a:lnTo>
                    <a:pt x="1521" y="7719"/>
                  </a:lnTo>
                  <a:cubicBezTo>
                    <a:pt x="-955" y="8957"/>
                    <a:pt x="-955" y="10863"/>
                    <a:pt x="1521" y="12006"/>
                  </a:cubicBezTo>
                  <a:close/>
                </a:path>
              </a:pathLst>
            </a:custGeom>
            <a:solidFill>
              <a:srgbClr val="D1D9E8"/>
            </a:solidFill>
            <a:ln w="9525" cap="flat">
              <a:noFill/>
              <a:prstDash val="solid"/>
              <a:miter/>
            </a:ln>
          </p:spPr>
          <p:txBody>
            <a:bodyPr rtlCol="0" anchor="ctr"/>
            <a:lstStyle/>
            <a:p>
              <a:endParaRPr lang="zh-CN" altLang="en-US"/>
            </a:p>
          </p:txBody>
        </p:sp>
        <p:sp>
          <p:nvSpPr>
            <p:cNvPr id="403" name="ïşḷiḓê">
              <a:extLst>
                <a:ext uri="{FF2B5EF4-FFF2-40B4-BE49-F238E27FC236}">
                  <a16:creationId xmlns:a16="http://schemas.microsoft.com/office/drawing/2014/main" id="{467A181E-A947-4638-9341-D063C3A06611}"/>
                </a:ext>
              </a:extLst>
            </p:cNvPr>
            <p:cNvSpPr/>
            <p:nvPr/>
          </p:nvSpPr>
          <p:spPr>
            <a:xfrm>
              <a:off x="5706230" y="5123306"/>
              <a:ext cx="109594" cy="54142"/>
            </a:xfrm>
            <a:custGeom>
              <a:avLst/>
              <a:gdLst>
                <a:gd name="connsiteX0" fmla="*/ -336 w 36004"/>
                <a:gd name="connsiteY0" fmla="*/ -163 h 17787"/>
                <a:gd name="connsiteX1" fmla="*/ -336 w 36004"/>
                <a:gd name="connsiteY1" fmla="*/ 7267 h 17787"/>
                <a:gd name="connsiteX2" fmla="*/ 1188 w 36004"/>
                <a:gd name="connsiteY2" fmla="*/ 9458 h 17787"/>
                <a:gd name="connsiteX3" fmla="*/ 13856 w 36004"/>
                <a:gd name="connsiteY3" fmla="*/ 16697 h 17787"/>
                <a:gd name="connsiteX4" fmla="*/ 21476 w 36004"/>
                <a:gd name="connsiteY4" fmla="*/ 16697 h 17787"/>
                <a:gd name="connsiteX5" fmla="*/ 34144 w 36004"/>
                <a:gd name="connsiteY5" fmla="*/ 9458 h 17787"/>
                <a:gd name="connsiteX6" fmla="*/ 35668 w 36004"/>
                <a:gd name="connsiteY6" fmla="*/ 7172 h 17787"/>
                <a:gd name="connsiteX7" fmla="*/ 35668 w 36004"/>
                <a:gd name="connsiteY7" fmla="*/ 28 h 17787"/>
                <a:gd name="connsiteX8" fmla="*/ 34144 w 36004"/>
                <a:gd name="connsiteY8" fmla="*/ 2314 h 17787"/>
                <a:gd name="connsiteX9" fmla="*/ 31763 w 36004"/>
                <a:gd name="connsiteY9" fmla="*/ 3647 h 17787"/>
                <a:gd name="connsiteX10" fmla="*/ 21476 w 36004"/>
                <a:gd name="connsiteY10" fmla="*/ 9553 h 17787"/>
                <a:gd name="connsiteX11" fmla="*/ 13856 w 36004"/>
                <a:gd name="connsiteY11" fmla="*/ 9553 h 17787"/>
                <a:gd name="connsiteX12" fmla="*/ 3569 w 36004"/>
                <a:gd name="connsiteY12" fmla="*/ 3647 h 17787"/>
                <a:gd name="connsiteX13" fmla="*/ 1188 w 36004"/>
                <a:gd name="connsiteY13" fmla="*/ 2314 h 17787"/>
                <a:gd name="connsiteX14" fmla="*/ -336 w 36004"/>
                <a:gd name="connsiteY14" fmla="*/ -163 h 17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787">
                  <a:moveTo>
                    <a:pt x="-336" y="-163"/>
                  </a:moveTo>
                  <a:lnTo>
                    <a:pt x="-336" y="7267"/>
                  </a:lnTo>
                  <a:cubicBezTo>
                    <a:pt x="-241" y="8210"/>
                    <a:pt x="340" y="9039"/>
                    <a:pt x="1188" y="9458"/>
                  </a:cubicBezTo>
                  <a:lnTo>
                    <a:pt x="13856" y="16697"/>
                  </a:lnTo>
                  <a:cubicBezTo>
                    <a:pt x="16247" y="17935"/>
                    <a:pt x="19085" y="17935"/>
                    <a:pt x="21476" y="16697"/>
                  </a:cubicBezTo>
                  <a:lnTo>
                    <a:pt x="34144" y="9458"/>
                  </a:lnTo>
                  <a:cubicBezTo>
                    <a:pt x="35011" y="9010"/>
                    <a:pt x="35582" y="8143"/>
                    <a:pt x="35668" y="7172"/>
                  </a:cubicBezTo>
                  <a:lnTo>
                    <a:pt x="35668" y="28"/>
                  </a:lnTo>
                  <a:cubicBezTo>
                    <a:pt x="35602" y="1009"/>
                    <a:pt x="35021" y="1876"/>
                    <a:pt x="34144" y="2314"/>
                  </a:cubicBezTo>
                  <a:lnTo>
                    <a:pt x="31763" y="3647"/>
                  </a:lnTo>
                  <a:lnTo>
                    <a:pt x="21476" y="9553"/>
                  </a:lnTo>
                  <a:cubicBezTo>
                    <a:pt x="19085" y="10791"/>
                    <a:pt x="16247" y="10791"/>
                    <a:pt x="13856" y="9553"/>
                  </a:cubicBezTo>
                  <a:lnTo>
                    <a:pt x="3569" y="3647"/>
                  </a:lnTo>
                  <a:lnTo>
                    <a:pt x="1188" y="2314"/>
                  </a:lnTo>
                  <a:cubicBezTo>
                    <a:pt x="254" y="1847"/>
                    <a:pt x="-336" y="885"/>
                    <a:pt x="-336" y="-163"/>
                  </a:cubicBezTo>
                  <a:close/>
                </a:path>
              </a:pathLst>
            </a:custGeom>
            <a:solidFill>
              <a:srgbClr val="BF4200"/>
            </a:solidFill>
            <a:ln w="9525" cap="flat">
              <a:noFill/>
              <a:prstDash val="solid"/>
              <a:miter/>
            </a:ln>
          </p:spPr>
          <p:txBody>
            <a:bodyPr rtlCol="0" anchor="ctr"/>
            <a:lstStyle/>
            <a:p>
              <a:endParaRPr lang="zh-CN" altLang="en-US"/>
            </a:p>
          </p:txBody>
        </p:sp>
        <p:sp>
          <p:nvSpPr>
            <p:cNvPr id="404" name="ïṩḷîḋe">
              <a:extLst>
                <a:ext uri="{FF2B5EF4-FFF2-40B4-BE49-F238E27FC236}">
                  <a16:creationId xmlns:a16="http://schemas.microsoft.com/office/drawing/2014/main" id="{B6B057B5-50A4-4FDA-876D-1DCB06927B39}"/>
                </a:ext>
              </a:extLst>
            </p:cNvPr>
            <p:cNvSpPr/>
            <p:nvPr/>
          </p:nvSpPr>
          <p:spPr>
            <a:xfrm>
              <a:off x="5784224" y="5136136"/>
              <a:ext cx="109883" cy="63639"/>
            </a:xfrm>
            <a:custGeom>
              <a:avLst/>
              <a:gdLst>
                <a:gd name="connsiteX0" fmla="*/ -336 w 36099"/>
                <a:gd name="connsiteY0" fmla="*/ 10291 h 20907"/>
                <a:gd name="connsiteX1" fmla="*/ 1283 w 36099"/>
                <a:gd name="connsiteY1" fmla="*/ 12577 h 20907"/>
                <a:gd name="connsiteX2" fmla="*/ 3569 w 36099"/>
                <a:gd name="connsiteY2" fmla="*/ 13911 h 20907"/>
                <a:gd name="connsiteX3" fmla="*/ 13856 w 36099"/>
                <a:gd name="connsiteY3" fmla="*/ 19816 h 20907"/>
                <a:gd name="connsiteX4" fmla="*/ 21571 w 36099"/>
                <a:gd name="connsiteY4" fmla="*/ 19816 h 20907"/>
                <a:gd name="connsiteX5" fmla="*/ 31858 w 36099"/>
                <a:gd name="connsiteY5" fmla="*/ 13911 h 20907"/>
                <a:gd name="connsiteX6" fmla="*/ 34144 w 36099"/>
                <a:gd name="connsiteY6" fmla="*/ 12577 h 20907"/>
                <a:gd name="connsiteX7" fmla="*/ 35764 w 36099"/>
                <a:gd name="connsiteY7" fmla="*/ 10291 h 20907"/>
                <a:gd name="connsiteX8" fmla="*/ 34144 w 36099"/>
                <a:gd name="connsiteY8" fmla="*/ 8100 h 20907"/>
                <a:gd name="connsiteX9" fmla="*/ 21571 w 36099"/>
                <a:gd name="connsiteY9" fmla="*/ 766 h 20907"/>
                <a:gd name="connsiteX10" fmla="*/ 13856 w 36099"/>
                <a:gd name="connsiteY10" fmla="*/ 766 h 20907"/>
                <a:gd name="connsiteX11" fmla="*/ 1283 w 36099"/>
                <a:gd name="connsiteY11" fmla="*/ 8100 h 20907"/>
                <a:gd name="connsiteX12" fmla="*/ -336 w 36099"/>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99" h="20907">
                  <a:moveTo>
                    <a:pt x="-336" y="10291"/>
                  </a:moveTo>
                  <a:cubicBezTo>
                    <a:pt x="-232" y="11282"/>
                    <a:pt x="378" y="12148"/>
                    <a:pt x="1283" y="12577"/>
                  </a:cubicBezTo>
                  <a:lnTo>
                    <a:pt x="3569" y="13911"/>
                  </a:lnTo>
                  <a:lnTo>
                    <a:pt x="13856" y="19816"/>
                  </a:lnTo>
                  <a:cubicBezTo>
                    <a:pt x="16275" y="21054"/>
                    <a:pt x="19152" y="21054"/>
                    <a:pt x="21571" y="19816"/>
                  </a:cubicBezTo>
                  <a:lnTo>
                    <a:pt x="31858" y="13911"/>
                  </a:lnTo>
                  <a:lnTo>
                    <a:pt x="34144" y="12577"/>
                  </a:lnTo>
                  <a:cubicBezTo>
                    <a:pt x="35077" y="12187"/>
                    <a:pt x="35697" y="11301"/>
                    <a:pt x="35764" y="10291"/>
                  </a:cubicBezTo>
                  <a:cubicBezTo>
                    <a:pt x="35687" y="9310"/>
                    <a:pt x="35059" y="8462"/>
                    <a:pt x="34144" y="8100"/>
                  </a:cubicBezTo>
                  <a:lnTo>
                    <a:pt x="21571" y="766"/>
                  </a:lnTo>
                  <a:cubicBezTo>
                    <a:pt x="19152" y="-472"/>
                    <a:pt x="16275" y="-472"/>
                    <a:pt x="13856" y="766"/>
                  </a:cubicBezTo>
                  <a:lnTo>
                    <a:pt x="1283" y="8100"/>
                  </a:lnTo>
                  <a:cubicBezTo>
                    <a:pt x="397" y="8491"/>
                    <a:pt x="-222"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405" name="íṧ1iḑè">
              <a:extLst>
                <a:ext uri="{FF2B5EF4-FFF2-40B4-BE49-F238E27FC236}">
                  <a16:creationId xmlns:a16="http://schemas.microsoft.com/office/drawing/2014/main" id="{B797C483-B5C5-4274-9185-6C2EDF7150D7}"/>
                </a:ext>
              </a:extLst>
            </p:cNvPr>
            <p:cNvSpPr/>
            <p:nvPr/>
          </p:nvSpPr>
          <p:spPr>
            <a:xfrm>
              <a:off x="5786395" y="5137296"/>
              <a:ext cx="105828" cy="61682"/>
            </a:xfrm>
            <a:custGeom>
              <a:avLst/>
              <a:gdLst>
                <a:gd name="connsiteX0" fmla="*/ 1141 w 34767"/>
                <a:gd name="connsiteY0" fmla="*/ 12196 h 20264"/>
                <a:gd name="connsiteX1" fmla="*/ 13333 w 34767"/>
                <a:gd name="connsiteY1" fmla="*/ 19244 h 20264"/>
                <a:gd name="connsiteX2" fmla="*/ 20763 w 34767"/>
                <a:gd name="connsiteY2" fmla="*/ 19244 h 20264"/>
                <a:gd name="connsiteX3" fmla="*/ 32859 w 34767"/>
                <a:gd name="connsiteY3" fmla="*/ 12196 h 20264"/>
                <a:gd name="connsiteX4" fmla="*/ 32859 w 34767"/>
                <a:gd name="connsiteY4" fmla="*/ 7910 h 20264"/>
                <a:gd name="connsiteX5" fmla="*/ 20953 w 34767"/>
                <a:gd name="connsiteY5" fmla="*/ 766 h 20264"/>
                <a:gd name="connsiteX6" fmla="*/ 13523 w 34767"/>
                <a:gd name="connsiteY6" fmla="*/ 766 h 20264"/>
                <a:gd name="connsiteX7" fmla="*/ 1331 w 34767"/>
                <a:gd name="connsiteY7" fmla="*/ 7719 h 20264"/>
                <a:gd name="connsiteX8" fmla="*/ 1141 w 34767"/>
                <a:gd name="connsiteY8" fmla="*/ 12196 h 20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7" h="20264">
                  <a:moveTo>
                    <a:pt x="1141" y="12196"/>
                  </a:moveTo>
                  <a:lnTo>
                    <a:pt x="13333" y="19244"/>
                  </a:lnTo>
                  <a:cubicBezTo>
                    <a:pt x="15676" y="20387"/>
                    <a:pt x="18419" y="20387"/>
                    <a:pt x="20763" y="19244"/>
                  </a:cubicBezTo>
                  <a:lnTo>
                    <a:pt x="32859" y="12196"/>
                  </a:lnTo>
                  <a:cubicBezTo>
                    <a:pt x="34955" y="11053"/>
                    <a:pt x="34955" y="9148"/>
                    <a:pt x="32859" y="7910"/>
                  </a:cubicBezTo>
                  <a:lnTo>
                    <a:pt x="20953" y="766"/>
                  </a:lnTo>
                  <a:cubicBezTo>
                    <a:pt x="18629" y="-472"/>
                    <a:pt x="15847" y="-472"/>
                    <a:pt x="13523" y="766"/>
                  </a:cubicBezTo>
                  <a:lnTo>
                    <a:pt x="1331" y="7719"/>
                  </a:lnTo>
                  <a:cubicBezTo>
                    <a:pt x="-859" y="8958"/>
                    <a:pt x="-859" y="10862"/>
                    <a:pt x="1141" y="12196"/>
                  </a:cubicBezTo>
                  <a:close/>
                </a:path>
              </a:pathLst>
            </a:custGeom>
            <a:solidFill>
              <a:srgbClr val="D1D9E8"/>
            </a:solidFill>
            <a:ln w="9525" cap="flat">
              <a:noFill/>
              <a:prstDash val="solid"/>
              <a:miter/>
            </a:ln>
          </p:spPr>
          <p:txBody>
            <a:bodyPr rtlCol="0" anchor="ctr"/>
            <a:lstStyle/>
            <a:p>
              <a:endParaRPr lang="zh-CN" altLang="en-US"/>
            </a:p>
          </p:txBody>
        </p:sp>
        <p:sp>
          <p:nvSpPr>
            <p:cNvPr id="406" name="ïṡľîḋé">
              <a:extLst>
                <a:ext uri="{FF2B5EF4-FFF2-40B4-BE49-F238E27FC236}">
                  <a16:creationId xmlns:a16="http://schemas.microsoft.com/office/drawing/2014/main" id="{637FB5C9-F18A-42BF-88FF-8C0A11004D27}"/>
                </a:ext>
              </a:extLst>
            </p:cNvPr>
            <p:cNvSpPr/>
            <p:nvPr/>
          </p:nvSpPr>
          <p:spPr>
            <a:xfrm>
              <a:off x="5784224" y="5167957"/>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4 w 36099"/>
                <a:gd name="connsiteY6" fmla="*/ 6981 h 17597"/>
                <a:gd name="connsiteX7" fmla="*/ 35764 w 36099"/>
                <a:gd name="connsiteY7" fmla="*/ -163 h 17597"/>
                <a:gd name="connsiteX8" fmla="*/ 34144 w 36099"/>
                <a:gd name="connsiteY8" fmla="*/ 2123 h 17597"/>
                <a:gd name="connsiteX9" fmla="*/ 31858 w 36099"/>
                <a:gd name="connsiteY9" fmla="*/ 3457 h 17597"/>
                <a:gd name="connsiteX10" fmla="*/ 21571 w 36099"/>
                <a:gd name="connsiteY10" fmla="*/ 9362 h 17597"/>
                <a:gd name="connsiteX11" fmla="*/ 13856 w 36099"/>
                <a:gd name="connsiteY11" fmla="*/ 9362 h 17597"/>
                <a:gd name="connsiteX12" fmla="*/ 3569 w 36099"/>
                <a:gd name="connsiteY12" fmla="*/ 3457 h 17597"/>
                <a:gd name="connsiteX13" fmla="*/ 1283 w 36099"/>
                <a:gd name="connsiteY13" fmla="*/ 2123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03" y="8029"/>
                    <a:pt x="407" y="8857"/>
                    <a:pt x="1283" y="9267"/>
                  </a:cubicBezTo>
                  <a:lnTo>
                    <a:pt x="13856" y="16506"/>
                  </a:lnTo>
                  <a:cubicBezTo>
                    <a:pt x="16275" y="17744"/>
                    <a:pt x="19152" y="17744"/>
                    <a:pt x="21571" y="16506"/>
                  </a:cubicBezTo>
                  <a:lnTo>
                    <a:pt x="34144" y="9267"/>
                  </a:lnTo>
                  <a:cubicBezTo>
                    <a:pt x="35059" y="8857"/>
                    <a:pt x="35678" y="7981"/>
                    <a:pt x="35764" y="6981"/>
                  </a:cubicBezTo>
                  <a:lnTo>
                    <a:pt x="35764" y="-163"/>
                  </a:lnTo>
                  <a:cubicBezTo>
                    <a:pt x="35697" y="847"/>
                    <a:pt x="35077" y="1733"/>
                    <a:pt x="34144" y="2123"/>
                  </a:cubicBezTo>
                  <a:lnTo>
                    <a:pt x="31858" y="3457"/>
                  </a:lnTo>
                  <a:lnTo>
                    <a:pt x="21571" y="9362"/>
                  </a:lnTo>
                  <a:cubicBezTo>
                    <a:pt x="19152" y="10601"/>
                    <a:pt x="16275" y="10601"/>
                    <a:pt x="13856" y="9362"/>
                  </a:cubicBezTo>
                  <a:lnTo>
                    <a:pt x="3569" y="3457"/>
                  </a:lnTo>
                  <a:lnTo>
                    <a:pt x="1283" y="2123"/>
                  </a:lnTo>
                  <a:cubicBezTo>
                    <a:pt x="378" y="1695"/>
                    <a:pt x="-232"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407" name="íṩ1íḍê">
              <a:extLst>
                <a:ext uri="{FF2B5EF4-FFF2-40B4-BE49-F238E27FC236}">
                  <a16:creationId xmlns:a16="http://schemas.microsoft.com/office/drawing/2014/main" id="{83DC53E4-E69A-4075-8A46-AC5B1602B2C1}"/>
                </a:ext>
              </a:extLst>
            </p:cNvPr>
            <p:cNvSpPr/>
            <p:nvPr/>
          </p:nvSpPr>
          <p:spPr>
            <a:xfrm>
              <a:off x="5861634" y="5180787"/>
              <a:ext cx="109362" cy="63588"/>
            </a:xfrm>
            <a:custGeom>
              <a:avLst/>
              <a:gdLst>
                <a:gd name="connsiteX0" fmla="*/ -336 w 35928"/>
                <a:gd name="connsiteY0" fmla="*/ 10291 h 20890"/>
                <a:gd name="connsiteX1" fmla="*/ 1188 w 35928"/>
                <a:gd name="connsiteY1" fmla="*/ 12482 h 20890"/>
                <a:gd name="connsiteX2" fmla="*/ 3569 w 35928"/>
                <a:gd name="connsiteY2" fmla="*/ 13910 h 20890"/>
                <a:gd name="connsiteX3" fmla="*/ 13856 w 35928"/>
                <a:gd name="connsiteY3" fmla="*/ 19721 h 20890"/>
                <a:gd name="connsiteX4" fmla="*/ 21476 w 35928"/>
                <a:gd name="connsiteY4" fmla="*/ 19721 h 20890"/>
                <a:gd name="connsiteX5" fmla="*/ 31763 w 35928"/>
                <a:gd name="connsiteY5" fmla="*/ 13910 h 20890"/>
                <a:gd name="connsiteX6" fmla="*/ 34144 w 35928"/>
                <a:gd name="connsiteY6" fmla="*/ 12482 h 20890"/>
                <a:gd name="connsiteX7" fmla="*/ 35402 w 35928"/>
                <a:gd name="connsiteY7" fmla="*/ 9358 h 20890"/>
                <a:gd name="connsiteX8" fmla="*/ 34144 w 35928"/>
                <a:gd name="connsiteY8" fmla="*/ 8100 h 20890"/>
                <a:gd name="connsiteX9" fmla="*/ 21476 w 35928"/>
                <a:gd name="connsiteY9" fmla="*/ 766 h 20890"/>
                <a:gd name="connsiteX10" fmla="*/ 13856 w 35928"/>
                <a:gd name="connsiteY10" fmla="*/ 766 h 20890"/>
                <a:gd name="connsiteX11" fmla="*/ 1188 w 35928"/>
                <a:gd name="connsiteY11" fmla="*/ 8100 h 20890"/>
                <a:gd name="connsiteX12" fmla="*/ -336 w 35928"/>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928" h="20890">
                  <a:moveTo>
                    <a:pt x="-336" y="10291"/>
                  </a:moveTo>
                  <a:cubicBezTo>
                    <a:pt x="-298" y="11253"/>
                    <a:pt x="292" y="12110"/>
                    <a:pt x="1188" y="12482"/>
                  </a:cubicBezTo>
                  <a:lnTo>
                    <a:pt x="3569" y="13910"/>
                  </a:lnTo>
                  <a:lnTo>
                    <a:pt x="13856" y="19721"/>
                  </a:lnTo>
                  <a:cubicBezTo>
                    <a:pt x="16218" y="21064"/>
                    <a:pt x="19114" y="21064"/>
                    <a:pt x="21476" y="19721"/>
                  </a:cubicBezTo>
                  <a:lnTo>
                    <a:pt x="31763" y="13910"/>
                  </a:lnTo>
                  <a:lnTo>
                    <a:pt x="34144" y="12482"/>
                  </a:lnTo>
                  <a:cubicBezTo>
                    <a:pt x="35354" y="11968"/>
                    <a:pt x="35916" y="10567"/>
                    <a:pt x="35402" y="9358"/>
                  </a:cubicBezTo>
                  <a:cubicBezTo>
                    <a:pt x="35164" y="8796"/>
                    <a:pt x="34706" y="8338"/>
                    <a:pt x="34144" y="8100"/>
                  </a:cubicBezTo>
                  <a:lnTo>
                    <a:pt x="21476" y="766"/>
                  </a:lnTo>
                  <a:cubicBezTo>
                    <a:pt x="19085" y="-472"/>
                    <a:pt x="16247" y="-472"/>
                    <a:pt x="13856" y="766"/>
                  </a:cubicBezTo>
                  <a:lnTo>
                    <a:pt x="1188" y="8100"/>
                  </a:lnTo>
                  <a:cubicBezTo>
                    <a:pt x="292" y="8472"/>
                    <a:pt x="-298"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408" name="ïS1ïḍé">
              <a:extLst>
                <a:ext uri="{FF2B5EF4-FFF2-40B4-BE49-F238E27FC236}">
                  <a16:creationId xmlns:a16="http://schemas.microsoft.com/office/drawing/2014/main" id="{8DEFDEDD-73F0-4029-9779-89EA9D6A904D}"/>
                </a:ext>
              </a:extLst>
            </p:cNvPr>
            <p:cNvSpPr/>
            <p:nvPr/>
          </p:nvSpPr>
          <p:spPr>
            <a:xfrm>
              <a:off x="5863519" y="5181944"/>
              <a:ext cx="105898" cy="61104"/>
            </a:xfrm>
            <a:custGeom>
              <a:avLst/>
              <a:gdLst>
                <a:gd name="connsiteX0" fmla="*/ 1235 w 34790"/>
                <a:gd name="connsiteY0" fmla="*/ 12006 h 20074"/>
                <a:gd name="connsiteX1" fmla="*/ 13332 w 34790"/>
                <a:gd name="connsiteY1" fmla="*/ 19054 h 20074"/>
                <a:gd name="connsiteX2" fmla="*/ 20762 w 34790"/>
                <a:gd name="connsiteY2" fmla="*/ 19054 h 20074"/>
                <a:gd name="connsiteX3" fmla="*/ 32954 w 34790"/>
                <a:gd name="connsiteY3" fmla="*/ 12006 h 20074"/>
                <a:gd name="connsiteX4" fmla="*/ 32954 w 34790"/>
                <a:gd name="connsiteY4" fmla="*/ 7719 h 20074"/>
                <a:gd name="connsiteX5" fmla="*/ 20762 w 34790"/>
                <a:gd name="connsiteY5" fmla="*/ 766 h 20074"/>
                <a:gd name="connsiteX6" fmla="*/ 13332 w 34790"/>
                <a:gd name="connsiteY6" fmla="*/ 766 h 20074"/>
                <a:gd name="connsiteX7" fmla="*/ 1235 w 34790"/>
                <a:gd name="connsiteY7" fmla="*/ 7719 h 20074"/>
                <a:gd name="connsiteX8" fmla="*/ 1235 w 34790"/>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4">
                  <a:moveTo>
                    <a:pt x="1235" y="12006"/>
                  </a:moveTo>
                  <a:lnTo>
                    <a:pt x="13332" y="19054"/>
                  </a:lnTo>
                  <a:cubicBezTo>
                    <a:pt x="15675" y="20197"/>
                    <a:pt x="18419" y="20197"/>
                    <a:pt x="20762" y="19054"/>
                  </a:cubicBezTo>
                  <a:lnTo>
                    <a:pt x="32954" y="12006"/>
                  </a:lnTo>
                  <a:cubicBezTo>
                    <a:pt x="34954" y="10863"/>
                    <a:pt x="34954" y="8958"/>
                    <a:pt x="32954" y="7719"/>
                  </a:cubicBezTo>
                  <a:lnTo>
                    <a:pt x="20762" y="766"/>
                  </a:lnTo>
                  <a:cubicBezTo>
                    <a:pt x="18437" y="-472"/>
                    <a:pt x="15656" y="-472"/>
                    <a:pt x="13332" y="766"/>
                  </a:cubicBezTo>
                  <a:lnTo>
                    <a:pt x="1235" y="7719"/>
                  </a:lnTo>
                  <a:cubicBezTo>
                    <a:pt x="-860" y="8958"/>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409" name="ïṡļîďê">
              <a:extLst>
                <a:ext uri="{FF2B5EF4-FFF2-40B4-BE49-F238E27FC236}">
                  <a16:creationId xmlns:a16="http://schemas.microsoft.com/office/drawing/2014/main" id="{9D0C88CC-51C4-40AB-AF40-073D490E1CEC}"/>
                </a:ext>
              </a:extLst>
            </p:cNvPr>
            <p:cNvSpPr/>
            <p:nvPr/>
          </p:nvSpPr>
          <p:spPr>
            <a:xfrm>
              <a:off x="5861634" y="5212606"/>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028 h 17597"/>
                <a:gd name="connsiteX9" fmla="*/ 31763 w 36004"/>
                <a:gd name="connsiteY9" fmla="*/ 3457 h 17597"/>
                <a:gd name="connsiteX10" fmla="*/ 21476 w 36004"/>
                <a:gd name="connsiteY10" fmla="*/ 9267 h 17597"/>
                <a:gd name="connsiteX11" fmla="*/ 13856 w 36004"/>
                <a:gd name="connsiteY11" fmla="*/ 9267 h 17597"/>
                <a:gd name="connsiteX12" fmla="*/ 3569 w 36004"/>
                <a:gd name="connsiteY12" fmla="*/ 3457 h 17597"/>
                <a:gd name="connsiteX13" fmla="*/ 1188 w 36004"/>
                <a:gd name="connsiteY13" fmla="*/ 2028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20"/>
                    <a:pt x="35583" y="7953"/>
                    <a:pt x="35668" y="6981"/>
                  </a:cubicBezTo>
                  <a:lnTo>
                    <a:pt x="35668" y="-163"/>
                  </a:lnTo>
                  <a:cubicBezTo>
                    <a:pt x="35630" y="800"/>
                    <a:pt x="35040" y="1657"/>
                    <a:pt x="34144" y="2028"/>
                  </a:cubicBezTo>
                  <a:lnTo>
                    <a:pt x="31763" y="3457"/>
                  </a:lnTo>
                  <a:lnTo>
                    <a:pt x="21476" y="9267"/>
                  </a:lnTo>
                  <a:cubicBezTo>
                    <a:pt x="19114" y="10610"/>
                    <a:pt x="16218" y="10610"/>
                    <a:pt x="13856" y="9267"/>
                  </a:cubicBezTo>
                  <a:lnTo>
                    <a:pt x="3569" y="3457"/>
                  </a:lnTo>
                  <a:lnTo>
                    <a:pt x="1188" y="2028"/>
                  </a:lnTo>
                  <a:cubicBezTo>
                    <a:pt x="292" y="1657"/>
                    <a:pt x="-298" y="800"/>
                    <a:pt x="-336" y="-163"/>
                  </a:cubicBezTo>
                  <a:close/>
                </a:path>
              </a:pathLst>
            </a:custGeom>
            <a:solidFill>
              <a:srgbClr val="BF4200"/>
            </a:solidFill>
            <a:ln w="9525" cap="flat">
              <a:noFill/>
              <a:prstDash val="solid"/>
              <a:miter/>
            </a:ln>
          </p:spPr>
          <p:txBody>
            <a:bodyPr rtlCol="0" anchor="ctr"/>
            <a:lstStyle/>
            <a:p>
              <a:endParaRPr lang="zh-CN" altLang="en-US"/>
            </a:p>
          </p:txBody>
        </p:sp>
        <p:sp>
          <p:nvSpPr>
            <p:cNvPr id="410" name="î$1ïḓé">
              <a:extLst>
                <a:ext uri="{FF2B5EF4-FFF2-40B4-BE49-F238E27FC236}">
                  <a16:creationId xmlns:a16="http://schemas.microsoft.com/office/drawing/2014/main" id="{E5F9A879-8193-4B59-8465-E6E2D8962CF0}"/>
                </a:ext>
              </a:extLst>
            </p:cNvPr>
            <p:cNvSpPr/>
            <p:nvPr/>
          </p:nvSpPr>
          <p:spPr>
            <a:xfrm>
              <a:off x="5938177" y="5225436"/>
              <a:ext cx="109594" cy="63588"/>
            </a:xfrm>
            <a:custGeom>
              <a:avLst/>
              <a:gdLst>
                <a:gd name="connsiteX0" fmla="*/ -336 w 36004"/>
                <a:gd name="connsiteY0" fmla="*/ 10291 h 20890"/>
                <a:gd name="connsiteX1" fmla="*/ 1188 w 36004"/>
                <a:gd name="connsiteY1" fmla="*/ 12482 h 20890"/>
                <a:gd name="connsiteX2" fmla="*/ 3569 w 36004"/>
                <a:gd name="connsiteY2" fmla="*/ 13911 h 20890"/>
                <a:gd name="connsiteX3" fmla="*/ 13856 w 36004"/>
                <a:gd name="connsiteY3" fmla="*/ 19721 h 20890"/>
                <a:gd name="connsiteX4" fmla="*/ 21476 w 36004"/>
                <a:gd name="connsiteY4" fmla="*/ 19721 h 20890"/>
                <a:gd name="connsiteX5" fmla="*/ 31763 w 36004"/>
                <a:gd name="connsiteY5" fmla="*/ 13911 h 20890"/>
                <a:gd name="connsiteX6" fmla="*/ 34144 w 36004"/>
                <a:gd name="connsiteY6" fmla="*/ 12482 h 20890"/>
                <a:gd name="connsiteX7" fmla="*/ 35668 w 36004"/>
                <a:gd name="connsiteY7" fmla="*/ 10291 h 20890"/>
                <a:gd name="connsiteX8" fmla="*/ 34144 w 36004"/>
                <a:gd name="connsiteY8" fmla="*/ 8005 h 20890"/>
                <a:gd name="connsiteX9" fmla="*/ 21476 w 36004"/>
                <a:gd name="connsiteY9" fmla="*/ 766 h 20890"/>
                <a:gd name="connsiteX10" fmla="*/ 13856 w 36004"/>
                <a:gd name="connsiteY10" fmla="*/ 766 h 20890"/>
                <a:gd name="connsiteX11" fmla="*/ 1188 w 36004"/>
                <a:gd name="connsiteY11" fmla="*/ 8005 h 20890"/>
                <a:gd name="connsiteX12" fmla="*/ -336 w 36004"/>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291"/>
                  </a:moveTo>
                  <a:cubicBezTo>
                    <a:pt x="-279" y="11244"/>
                    <a:pt x="311" y="12091"/>
                    <a:pt x="1188" y="12482"/>
                  </a:cubicBezTo>
                  <a:lnTo>
                    <a:pt x="3569" y="13911"/>
                  </a:lnTo>
                  <a:lnTo>
                    <a:pt x="13856" y="19721"/>
                  </a:lnTo>
                  <a:cubicBezTo>
                    <a:pt x="16218" y="21064"/>
                    <a:pt x="19114" y="21064"/>
                    <a:pt x="21476" y="19721"/>
                  </a:cubicBezTo>
                  <a:lnTo>
                    <a:pt x="31763" y="13911"/>
                  </a:lnTo>
                  <a:lnTo>
                    <a:pt x="34144" y="12482"/>
                  </a:lnTo>
                  <a:cubicBezTo>
                    <a:pt x="35021" y="12091"/>
                    <a:pt x="35611" y="11253"/>
                    <a:pt x="35668" y="10291"/>
                  </a:cubicBezTo>
                  <a:cubicBezTo>
                    <a:pt x="35602" y="9310"/>
                    <a:pt x="35021" y="8443"/>
                    <a:pt x="34144" y="8005"/>
                  </a:cubicBezTo>
                  <a:lnTo>
                    <a:pt x="21476" y="766"/>
                  </a:lnTo>
                  <a:cubicBezTo>
                    <a:pt x="19085" y="-472"/>
                    <a:pt x="16247" y="-472"/>
                    <a:pt x="13856" y="766"/>
                  </a:cubicBezTo>
                  <a:lnTo>
                    <a:pt x="1188" y="8005"/>
                  </a:lnTo>
                  <a:cubicBezTo>
                    <a:pt x="311" y="8443"/>
                    <a:pt x="-270" y="9310"/>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411" name="íśļídè">
              <a:extLst>
                <a:ext uri="{FF2B5EF4-FFF2-40B4-BE49-F238E27FC236}">
                  <a16:creationId xmlns:a16="http://schemas.microsoft.com/office/drawing/2014/main" id="{C7FB0A90-E8A6-4363-B8C3-B8216353FF87}"/>
                </a:ext>
              </a:extLst>
            </p:cNvPr>
            <p:cNvSpPr/>
            <p:nvPr/>
          </p:nvSpPr>
          <p:spPr>
            <a:xfrm>
              <a:off x="5939991" y="5226595"/>
              <a:ext cx="106766" cy="61101"/>
            </a:xfrm>
            <a:custGeom>
              <a:avLst/>
              <a:gdLst>
                <a:gd name="connsiteX0" fmla="*/ 1450 w 35075"/>
                <a:gd name="connsiteY0" fmla="*/ 12006 h 20073"/>
                <a:gd name="connsiteX1" fmla="*/ 13642 w 35075"/>
                <a:gd name="connsiteY1" fmla="*/ 19054 h 20073"/>
                <a:gd name="connsiteX2" fmla="*/ 21071 w 35075"/>
                <a:gd name="connsiteY2" fmla="*/ 19054 h 20073"/>
                <a:gd name="connsiteX3" fmla="*/ 33168 w 35075"/>
                <a:gd name="connsiteY3" fmla="*/ 12006 h 20073"/>
                <a:gd name="connsiteX4" fmla="*/ 33168 w 35075"/>
                <a:gd name="connsiteY4" fmla="*/ 7719 h 20073"/>
                <a:gd name="connsiteX5" fmla="*/ 21071 w 35075"/>
                <a:gd name="connsiteY5" fmla="*/ 766 h 20073"/>
                <a:gd name="connsiteX6" fmla="*/ 13642 w 35075"/>
                <a:gd name="connsiteY6" fmla="*/ 766 h 20073"/>
                <a:gd name="connsiteX7" fmla="*/ 1450 w 35075"/>
                <a:gd name="connsiteY7" fmla="*/ 7719 h 20073"/>
                <a:gd name="connsiteX8" fmla="*/ 1450 w 35075"/>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075" h="20073">
                  <a:moveTo>
                    <a:pt x="1450" y="12006"/>
                  </a:moveTo>
                  <a:lnTo>
                    <a:pt x="13642" y="19054"/>
                  </a:lnTo>
                  <a:cubicBezTo>
                    <a:pt x="15985" y="20197"/>
                    <a:pt x="18728" y="20197"/>
                    <a:pt x="21071" y="19054"/>
                  </a:cubicBezTo>
                  <a:lnTo>
                    <a:pt x="33168" y="12006"/>
                  </a:lnTo>
                  <a:cubicBezTo>
                    <a:pt x="35263" y="10863"/>
                    <a:pt x="35263" y="8957"/>
                    <a:pt x="33168" y="7719"/>
                  </a:cubicBezTo>
                  <a:lnTo>
                    <a:pt x="21071" y="766"/>
                  </a:lnTo>
                  <a:cubicBezTo>
                    <a:pt x="18747" y="-472"/>
                    <a:pt x="15966" y="-472"/>
                    <a:pt x="13642" y="766"/>
                  </a:cubicBezTo>
                  <a:lnTo>
                    <a:pt x="1450" y="7719"/>
                  </a:lnTo>
                  <a:cubicBezTo>
                    <a:pt x="-932" y="8957"/>
                    <a:pt x="-932" y="10863"/>
                    <a:pt x="1450" y="12006"/>
                  </a:cubicBezTo>
                  <a:close/>
                </a:path>
              </a:pathLst>
            </a:custGeom>
            <a:solidFill>
              <a:srgbClr val="D1D9E8"/>
            </a:solidFill>
            <a:ln w="9525" cap="flat">
              <a:noFill/>
              <a:prstDash val="solid"/>
              <a:miter/>
            </a:ln>
          </p:spPr>
          <p:txBody>
            <a:bodyPr rtlCol="0" anchor="ctr"/>
            <a:lstStyle/>
            <a:p>
              <a:endParaRPr lang="zh-CN" altLang="en-US"/>
            </a:p>
          </p:txBody>
        </p:sp>
        <p:sp>
          <p:nvSpPr>
            <p:cNvPr id="412" name="íṡļiḓe">
              <a:extLst>
                <a:ext uri="{FF2B5EF4-FFF2-40B4-BE49-F238E27FC236}">
                  <a16:creationId xmlns:a16="http://schemas.microsoft.com/office/drawing/2014/main" id="{6EC0EC46-C39E-4334-AA2D-3D82A5A1A322}"/>
                </a:ext>
              </a:extLst>
            </p:cNvPr>
            <p:cNvSpPr/>
            <p:nvPr/>
          </p:nvSpPr>
          <p:spPr>
            <a:xfrm>
              <a:off x="5938177" y="5257257"/>
              <a:ext cx="109594" cy="53564"/>
            </a:xfrm>
            <a:custGeom>
              <a:avLst/>
              <a:gdLst>
                <a:gd name="connsiteX0" fmla="*/ -336 w 36004"/>
                <a:gd name="connsiteY0" fmla="*/ -163 h 17597"/>
                <a:gd name="connsiteX1" fmla="*/ -336 w 36004"/>
                <a:gd name="connsiteY1" fmla="*/ 6981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028 h 17597"/>
                <a:gd name="connsiteX9" fmla="*/ 31763 w 36004"/>
                <a:gd name="connsiteY9" fmla="*/ 3457 h 17597"/>
                <a:gd name="connsiteX10" fmla="*/ 21476 w 36004"/>
                <a:gd name="connsiteY10" fmla="*/ 9267 h 17597"/>
                <a:gd name="connsiteX11" fmla="*/ 13856 w 36004"/>
                <a:gd name="connsiteY11" fmla="*/ 9267 h 17597"/>
                <a:gd name="connsiteX12" fmla="*/ 3569 w 36004"/>
                <a:gd name="connsiteY12" fmla="*/ 3457 h 17597"/>
                <a:gd name="connsiteX13" fmla="*/ 1188 w 36004"/>
                <a:gd name="connsiteY13" fmla="*/ 2028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6981"/>
                  </a:lnTo>
                  <a:cubicBezTo>
                    <a:pt x="-270" y="7962"/>
                    <a:pt x="311" y="8829"/>
                    <a:pt x="1188" y="9267"/>
                  </a:cubicBezTo>
                  <a:lnTo>
                    <a:pt x="13856" y="16506"/>
                  </a:lnTo>
                  <a:cubicBezTo>
                    <a:pt x="16247" y="17744"/>
                    <a:pt x="19085" y="17744"/>
                    <a:pt x="21476" y="16506"/>
                  </a:cubicBezTo>
                  <a:lnTo>
                    <a:pt x="34144" y="9267"/>
                  </a:lnTo>
                  <a:cubicBezTo>
                    <a:pt x="35011" y="8819"/>
                    <a:pt x="35582" y="7953"/>
                    <a:pt x="35668" y="6981"/>
                  </a:cubicBezTo>
                  <a:lnTo>
                    <a:pt x="35668" y="-163"/>
                  </a:lnTo>
                  <a:cubicBezTo>
                    <a:pt x="35611" y="790"/>
                    <a:pt x="35021" y="1638"/>
                    <a:pt x="34144" y="2028"/>
                  </a:cubicBezTo>
                  <a:lnTo>
                    <a:pt x="31763" y="3457"/>
                  </a:lnTo>
                  <a:lnTo>
                    <a:pt x="21476" y="9267"/>
                  </a:lnTo>
                  <a:cubicBezTo>
                    <a:pt x="19114" y="10610"/>
                    <a:pt x="16218" y="10610"/>
                    <a:pt x="13856" y="9267"/>
                  </a:cubicBezTo>
                  <a:lnTo>
                    <a:pt x="3569" y="3457"/>
                  </a:lnTo>
                  <a:lnTo>
                    <a:pt x="1188" y="2028"/>
                  </a:lnTo>
                  <a:cubicBezTo>
                    <a:pt x="311" y="1638"/>
                    <a:pt x="-279" y="800"/>
                    <a:pt x="-336" y="-163"/>
                  </a:cubicBezTo>
                  <a:close/>
                </a:path>
              </a:pathLst>
            </a:custGeom>
            <a:solidFill>
              <a:srgbClr val="BF4200"/>
            </a:solidFill>
            <a:ln w="9525" cap="flat">
              <a:noFill/>
              <a:prstDash val="solid"/>
              <a:miter/>
            </a:ln>
          </p:spPr>
          <p:txBody>
            <a:bodyPr rtlCol="0" anchor="ctr"/>
            <a:lstStyle/>
            <a:p>
              <a:endParaRPr lang="zh-CN" altLang="en-US"/>
            </a:p>
          </p:txBody>
        </p:sp>
        <p:sp>
          <p:nvSpPr>
            <p:cNvPr id="413" name="ïṥ1iḓè">
              <a:extLst>
                <a:ext uri="{FF2B5EF4-FFF2-40B4-BE49-F238E27FC236}">
                  <a16:creationId xmlns:a16="http://schemas.microsoft.com/office/drawing/2014/main" id="{92233579-DDAA-4673-B269-B26025F54702}"/>
                </a:ext>
              </a:extLst>
            </p:cNvPr>
            <p:cNvSpPr/>
            <p:nvPr/>
          </p:nvSpPr>
          <p:spPr>
            <a:xfrm>
              <a:off x="6016172" y="5270087"/>
              <a:ext cx="109594" cy="63588"/>
            </a:xfrm>
            <a:custGeom>
              <a:avLst/>
              <a:gdLst>
                <a:gd name="connsiteX0" fmla="*/ -336 w 36004"/>
                <a:gd name="connsiteY0" fmla="*/ 10196 h 20890"/>
                <a:gd name="connsiteX1" fmla="*/ 1283 w 36004"/>
                <a:gd name="connsiteY1" fmla="*/ 12482 h 20890"/>
                <a:gd name="connsiteX2" fmla="*/ 3569 w 36004"/>
                <a:gd name="connsiteY2" fmla="*/ 13815 h 20890"/>
                <a:gd name="connsiteX3" fmla="*/ 13856 w 36004"/>
                <a:gd name="connsiteY3" fmla="*/ 19721 h 20890"/>
                <a:gd name="connsiteX4" fmla="*/ 21571 w 36004"/>
                <a:gd name="connsiteY4" fmla="*/ 19721 h 20890"/>
                <a:gd name="connsiteX5" fmla="*/ 31858 w 36004"/>
                <a:gd name="connsiteY5" fmla="*/ 13815 h 20890"/>
                <a:gd name="connsiteX6" fmla="*/ 34144 w 36004"/>
                <a:gd name="connsiteY6" fmla="*/ 12482 h 20890"/>
                <a:gd name="connsiteX7" fmla="*/ 35668 w 36004"/>
                <a:gd name="connsiteY7" fmla="*/ 10196 h 20890"/>
                <a:gd name="connsiteX8" fmla="*/ 34144 w 36004"/>
                <a:gd name="connsiteY8" fmla="*/ 8005 h 20890"/>
                <a:gd name="connsiteX9" fmla="*/ 21571 w 36004"/>
                <a:gd name="connsiteY9" fmla="*/ 766 h 20890"/>
                <a:gd name="connsiteX10" fmla="*/ 13856 w 36004"/>
                <a:gd name="connsiteY10" fmla="*/ 766 h 20890"/>
                <a:gd name="connsiteX11" fmla="*/ 1283 w 36004"/>
                <a:gd name="connsiteY11" fmla="*/ 8005 h 20890"/>
                <a:gd name="connsiteX12" fmla="*/ -336 w 36004"/>
                <a:gd name="connsiteY12" fmla="*/ 10196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196"/>
                  </a:moveTo>
                  <a:cubicBezTo>
                    <a:pt x="-298" y="11215"/>
                    <a:pt x="340" y="12110"/>
                    <a:pt x="1283" y="12482"/>
                  </a:cubicBezTo>
                  <a:lnTo>
                    <a:pt x="3569" y="13815"/>
                  </a:lnTo>
                  <a:lnTo>
                    <a:pt x="13856" y="19721"/>
                  </a:lnTo>
                  <a:cubicBezTo>
                    <a:pt x="16256" y="21064"/>
                    <a:pt x="19171" y="21064"/>
                    <a:pt x="21571" y="19721"/>
                  </a:cubicBezTo>
                  <a:lnTo>
                    <a:pt x="31858" y="13815"/>
                  </a:lnTo>
                  <a:lnTo>
                    <a:pt x="34144" y="12482"/>
                  </a:lnTo>
                  <a:cubicBezTo>
                    <a:pt x="35049" y="12082"/>
                    <a:pt x="35640" y="11186"/>
                    <a:pt x="35668" y="10196"/>
                  </a:cubicBezTo>
                  <a:cubicBezTo>
                    <a:pt x="35573" y="9253"/>
                    <a:pt x="34992" y="8424"/>
                    <a:pt x="34144" y="8005"/>
                  </a:cubicBezTo>
                  <a:lnTo>
                    <a:pt x="21571" y="766"/>
                  </a:lnTo>
                  <a:cubicBezTo>
                    <a:pt x="19152" y="-472"/>
                    <a:pt x="16275" y="-472"/>
                    <a:pt x="13856" y="766"/>
                  </a:cubicBezTo>
                  <a:lnTo>
                    <a:pt x="1283" y="8005"/>
                  </a:lnTo>
                  <a:cubicBezTo>
                    <a:pt x="378" y="8386"/>
                    <a:pt x="-241" y="9224"/>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414" name="ïṣľîḋe">
              <a:extLst>
                <a:ext uri="{FF2B5EF4-FFF2-40B4-BE49-F238E27FC236}">
                  <a16:creationId xmlns:a16="http://schemas.microsoft.com/office/drawing/2014/main" id="{4721102C-2524-4A15-91B9-08F6A6A212E5}"/>
                </a:ext>
              </a:extLst>
            </p:cNvPr>
            <p:cNvSpPr/>
            <p:nvPr/>
          </p:nvSpPr>
          <p:spPr>
            <a:xfrm>
              <a:off x="6018302" y="5271247"/>
              <a:ext cx="105618" cy="61101"/>
            </a:xfrm>
            <a:custGeom>
              <a:avLst/>
              <a:gdLst>
                <a:gd name="connsiteX0" fmla="*/ 1154 w 34698"/>
                <a:gd name="connsiteY0" fmla="*/ 12006 h 20073"/>
                <a:gd name="connsiteX1" fmla="*/ 13251 w 34698"/>
                <a:gd name="connsiteY1" fmla="*/ 19054 h 20073"/>
                <a:gd name="connsiteX2" fmla="*/ 20680 w 34698"/>
                <a:gd name="connsiteY2" fmla="*/ 19054 h 20073"/>
                <a:gd name="connsiteX3" fmla="*/ 32872 w 34698"/>
                <a:gd name="connsiteY3" fmla="*/ 12006 h 20073"/>
                <a:gd name="connsiteX4" fmla="*/ 34215 w 34698"/>
                <a:gd name="connsiteY4" fmla="*/ 9072 h 20073"/>
                <a:gd name="connsiteX5" fmla="*/ 32872 w 34698"/>
                <a:gd name="connsiteY5" fmla="*/ 7719 h 20073"/>
                <a:gd name="connsiteX6" fmla="*/ 20680 w 34698"/>
                <a:gd name="connsiteY6" fmla="*/ 766 h 20073"/>
                <a:gd name="connsiteX7" fmla="*/ 13251 w 34698"/>
                <a:gd name="connsiteY7" fmla="*/ 766 h 20073"/>
                <a:gd name="connsiteX8" fmla="*/ 1154 w 34698"/>
                <a:gd name="connsiteY8" fmla="*/ 7719 h 20073"/>
                <a:gd name="connsiteX9" fmla="*/ -189 w 34698"/>
                <a:gd name="connsiteY9" fmla="*/ 10653 h 20073"/>
                <a:gd name="connsiteX10" fmla="*/ 1154 w 34698"/>
                <a:gd name="connsiteY10"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698" h="20073">
                  <a:moveTo>
                    <a:pt x="1154" y="12006"/>
                  </a:moveTo>
                  <a:lnTo>
                    <a:pt x="13251" y="19054"/>
                  </a:lnTo>
                  <a:cubicBezTo>
                    <a:pt x="15594" y="20197"/>
                    <a:pt x="18337" y="20197"/>
                    <a:pt x="20680" y="19054"/>
                  </a:cubicBezTo>
                  <a:lnTo>
                    <a:pt x="32872" y="12006"/>
                  </a:lnTo>
                  <a:cubicBezTo>
                    <a:pt x="34053" y="11567"/>
                    <a:pt x="34663" y="10253"/>
                    <a:pt x="34215" y="9072"/>
                  </a:cubicBezTo>
                  <a:cubicBezTo>
                    <a:pt x="33987" y="8443"/>
                    <a:pt x="33491" y="7948"/>
                    <a:pt x="32872" y="7719"/>
                  </a:cubicBezTo>
                  <a:lnTo>
                    <a:pt x="20680" y="766"/>
                  </a:lnTo>
                  <a:cubicBezTo>
                    <a:pt x="18356" y="-472"/>
                    <a:pt x="15575" y="-472"/>
                    <a:pt x="13251" y="766"/>
                  </a:cubicBezTo>
                  <a:lnTo>
                    <a:pt x="1154" y="7719"/>
                  </a:lnTo>
                  <a:cubicBezTo>
                    <a:pt x="-27" y="8158"/>
                    <a:pt x="-637" y="9472"/>
                    <a:pt x="-189" y="10653"/>
                  </a:cubicBezTo>
                  <a:cubicBezTo>
                    <a:pt x="40" y="11281"/>
                    <a:pt x="535" y="11777"/>
                    <a:pt x="1154" y="12006"/>
                  </a:cubicBezTo>
                  <a:close/>
                </a:path>
              </a:pathLst>
            </a:custGeom>
            <a:solidFill>
              <a:srgbClr val="D1D9E8"/>
            </a:solidFill>
            <a:ln w="9525" cap="flat">
              <a:noFill/>
              <a:prstDash val="solid"/>
              <a:miter/>
            </a:ln>
          </p:spPr>
          <p:txBody>
            <a:bodyPr rtlCol="0" anchor="ctr"/>
            <a:lstStyle/>
            <a:p>
              <a:endParaRPr lang="zh-CN" altLang="en-US"/>
            </a:p>
          </p:txBody>
        </p:sp>
        <p:sp>
          <p:nvSpPr>
            <p:cNvPr id="415" name="ïṡľíďe">
              <a:extLst>
                <a:ext uri="{FF2B5EF4-FFF2-40B4-BE49-F238E27FC236}">
                  <a16:creationId xmlns:a16="http://schemas.microsoft.com/office/drawing/2014/main" id="{4D65F7DA-35D3-4CC7-B877-37756A5B3303}"/>
                </a:ext>
              </a:extLst>
            </p:cNvPr>
            <p:cNvSpPr/>
            <p:nvPr/>
          </p:nvSpPr>
          <p:spPr>
            <a:xfrm>
              <a:off x="6016172" y="5301616"/>
              <a:ext cx="109594" cy="53801"/>
            </a:xfrm>
            <a:custGeom>
              <a:avLst/>
              <a:gdLst>
                <a:gd name="connsiteX0" fmla="*/ -336 w 36004"/>
                <a:gd name="connsiteY0" fmla="*/ -163 h 17675"/>
                <a:gd name="connsiteX1" fmla="*/ -336 w 36004"/>
                <a:gd name="connsiteY1" fmla="*/ 7076 h 17675"/>
                <a:gd name="connsiteX2" fmla="*/ 1283 w 36004"/>
                <a:gd name="connsiteY2" fmla="*/ 9267 h 17675"/>
                <a:gd name="connsiteX3" fmla="*/ 13856 w 36004"/>
                <a:gd name="connsiteY3" fmla="*/ 16506 h 17675"/>
                <a:gd name="connsiteX4" fmla="*/ 21571 w 36004"/>
                <a:gd name="connsiteY4" fmla="*/ 16506 h 17675"/>
                <a:gd name="connsiteX5" fmla="*/ 34144 w 36004"/>
                <a:gd name="connsiteY5" fmla="*/ 9267 h 17675"/>
                <a:gd name="connsiteX6" fmla="*/ 35668 w 36004"/>
                <a:gd name="connsiteY6" fmla="*/ 7076 h 17675"/>
                <a:gd name="connsiteX7" fmla="*/ 35668 w 36004"/>
                <a:gd name="connsiteY7" fmla="*/ -163 h 17675"/>
                <a:gd name="connsiteX8" fmla="*/ 34144 w 36004"/>
                <a:gd name="connsiteY8" fmla="*/ 2123 h 17675"/>
                <a:gd name="connsiteX9" fmla="*/ 31858 w 36004"/>
                <a:gd name="connsiteY9" fmla="*/ 3457 h 17675"/>
                <a:gd name="connsiteX10" fmla="*/ 21571 w 36004"/>
                <a:gd name="connsiteY10" fmla="*/ 9362 h 17675"/>
                <a:gd name="connsiteX11" fmla="*/ 13856 w 36004"/>
                <a:gd name="connsiteY11" fmla="*/ 9362 h 17675"/>
                <a:gd name="connsiteX12" fmla="*/ 3569 w 36004"/>
                <a:gd name="connsiteY12" fmla="*/ 3457 h 17675"/>
                <a:gd name="connsiteX13" fmla="*/ 1283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79" y="8067"/>
                    <a:pt x="349" y="8924"/>
                    <a:pt x="1283" y="9267"/>
                  </a:cubicBezTo>
                  <a:lnTo>
                    <a:pt x="13856" y="16506"/>
                  </a:lnTo>
                  <a:cubicBezTo>
                    <a:pt x="16256" y="17849"/>
                    <a:pt x="19171" y="17849"/>
                    <a:pt x="21571" y="16506"/>
                  </a:cubicBezTo>
                  <a:lnTo>
                    <a:pt x="34144" y="9267"/>
                  </a:lnTo>
                  <a:cubicBezTo>
                    <a:pt x="35021" y="8877"/>
                    <a:pt x="35611" y="8029"/>
                    <a:pt x="35668" y="7076"/>
                  </a:cubicBezTo>
                  <a:lnTo>
                    <a:pt x="35668" y="-163"/>
                  </a:lnTo>
                  <a:cubicBezTo>
                    <a:pt x="35640" y="828"/>
                    <a:pt x="35049" y="1723"/>
                    <a:pt x="34144" y="2123"/>
                  </a:cubicBezTo>
                  <a:lnTo>
                    <a:pt x="31858" y="3457"/>
                  </a:lnTo>
                  <a:lnTo>
                    <a:pt x="21571" y="9362"/>
                  </a:lnTo>
                  <a:cubicBezTo>
                    <a:pt x="19171" y="10705"/>
                    <a:pt x="16256" y="10705"/>
                    <a:pt x="13856" y="9362"/>
                  </a:cubicBezTo>
                  <a:lnTo>
                    <a:pt x="3569" y="3457"/>
                  </a:lnTo>
                  <a:lnTo>
                    <a:pt x="1283" y="2123"/>
                  </a:lnTo>
                  <a:cubicBezTo>
                    <a:pt x="340" y="1752"/>
                    <a:pt x="-298" y="856"/>
                    <a:pt x="-336" y="-163"/>
                  </a:cubicBezTo>
                  <a:close/>
                </a:path>
              </a:pathLst>
            </a:custGeom>
            <a:solidFill>
              <a:srgbClr val="BF4200"/>
            </a:solidFill>
            <a:ln w="9525" cap="flat">
              <a:noFill/>
              <a:prstDash val="solid"/>
              <a:miter/>
            </a:ln>
          </p:spPr>
          <p:txBody>
            <a:bodyPr rtlCol="0" anchor="ctr"/>
            <a:lstStyle/>
            <a:p>
              <a:endParaRPr lang="zh-CN" altLang="en-US"/>
            </a:p>
          </p:txBody>
        </p:sp>
        <p:sp>
          <p:nvSpPr>
            <p:cNvPr id="416" name="îṩḷíďe">
              <a:extLst>
                <a:ext uri="{FF2B5EF4-FFF2-40B4-BE49-F238E27FC236}">
                  <a16:creationId xmlns:a16="http://schemas.microsoft.com/office/drawing/2014/main" id="{CE27456D-373E-4B70-9B12-41FC3BD74A81}"/>
                </a:ext>
              </a:extLst>
            </p:cNvPr>
            <p:cNvSpPr/>
            <p:nvPr/>
          </p:nvSpPr>
          <p:spPr>
            <a:xfrm>
              <a:off x="6093582" y="5314735"/>
              <a:ext cx="109740" cy="63588"/>
            </a:xfrm>
            <a:custGeom>
              <a:avLst/>
              <a:gdLst>
                <a:gd name="connsiteX0" fmla="*/ -336 w 36052"/>
                <a:gd name="connsiteY0" fmla="*/ 10196 h 20890"/>
                <a:gd name="connsiteX1" fmla="*/ 1188 w 36052"/>
                <a:gd name="connsiteY1" fmla="*/ 12482 h 20890"/>
                <a:gd name="connsiteX2" fmla="*/ 3569 w 36052"/>
                <a:gd name="connsiteY2" fmla="*/ 13815 h 20890"/>
                <a:gd name="connsiteX3" fmla="*/ 13856 w 36052"/>
                <a:gd name="connsiteY3" fmla="*/ 19721 h 20890"/>
                <a:gd name="connsiteX4" fmla="*/ 21476 w 36052"/>
                <a:gd name="connsiteY4" fmla="*/ 19721 h 20890"/>
                <a:gd name="connsiteX5" fmla="*/ 31763 w 36052"/>
                <a:gd name="connsiteY5" fmla="*/ 13815 h 20890"/>
                <a:gd name="connsiteX6" fmla="*/ 34144 w 36052"/>
                <a:gd name="connsiteY6" fmla="*/ 12482 h 20890"/>
                <a:gd name="connsiteX7" fmla="*/ 35573 w 36052"/>
                <a:gd name="connsiteY7" fmla="*/ 9434 h 20890"/>
                <a:gd name="connsiteX8" fmla="*/ 34144 w 36052"/>
                <a:gd name="connsiteY8" fmla="*/ 8005 h 20890"/>
                <a:gd name="connsiteX9" fmla="*/ 21476 w 36052"/>
                <a:gd name="connsiteY9" fmla="*/ 766 h 20890"/>
                <a:gd name="connsiteX10" fmla="*/ 13856 w 36052"/>
                <a:gd name="connsiteY10" fmla="*/ 766 h 20890"/>
                <a:gd name="connsiteX11" fmla="*/ 1188 w 36052"/>
                <a:gd name="connsiteY11" fmla="*/ 8005 h 20890"/>
                <a:gd name="connsiteX12" fmla="*/ -336 w 36052"/>
                <a:gd name="connsiteY12" fmla="*/ 10196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90">
                  <a:moveTo>
                    <a:pt x="-336" y="10196"/>
                  </a:moveTo>
                  <a:cubicBezTo>
                    <a:pt x="-269" y="11177"/>
                    <a:pt x="312" y="12044"/>
                    <a:pt x="1188" y="12482"/>
                  </a:cubicBezTo>
                  <a:lnTo>
                    <a:pt x="3569" y="13815"/>
                  </a:lnTo>
                  <a:lnTo>
                    <a:pt x="13856" y="19721"/>
                  </a:lnTo>
                  <a:cubicBezTo>
                    <a:pt x="16218" y="21064"/>
                    <a:pt x="19114" y="21064"/>
                    <a:pt x="21476" y="19721"/>
                  </a:cubicBezTo>
                  <a:lnTo>
                    <a:pt x="31763" y="13815"/>
                  </a:lnTo>
                  <a:lnTo>
                    <a:pt x="34144" y="12482"/>
                  </a:lnTo>
                  <a:cubicBezTo>
                    <a:pt x="35382" y="12034"/>
                    <a:pt x="36021" y="10663"/>
                    <a:pt x="35573" y="9434"/>
                  </a:cubicBezTo>
                  <a:cubicBezTo>
                    <a:pt x="35325" y="8767"/>
                    <a:pt x="34811" y="8243"/>
                    <a:pt x="34144" y="8005"/>
                  </a:cubicBezTo>
                  <a:lnTo>
                    <a:pt x="21476" y="766"/>
                  </a:lnTo>
                  <a:cubicBezTo>
                    <a:pt x="19085" y="-472"/>
                    <a:pt x="16247" y="-472"/>
                    <a:pt x="13856" y="766"/>
                  </a:cubicBezTo>
                  <a:lnTo>
                    <a:pt x="1188" y="8005"/>
                  </a:lnTo>
                  <a:cubicBezTo>
                    <a:pt x="340" y="8424"/>
                    <a:pt x="-241" y="925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417" name="iṡḻïḍe">
              <a:extLst>
                <a:ext uri="{FF2B5EF4-FFF2-40B4-BE49-F238E27FC236}">
                  <a16:creationId xmlns:a16="http://schemas.microsoft.com/office/drawing/2014/main" id="{E200766D-A03E-4BD5-B198-8A0F5E6FC2CF}"/>
                </a:ext>
              </a:extLst>
            </p:cNvPr>
            <p:cNvSpPr/>
            <p:nvPr/>
          </p:nvSpPr>
          <p:spPr>
            <a:xfrm>
              <a:off x="6095426" y="5315822"/>
              <a:ext cx="105618" cy="61174"/>
            </a:xfrm>
            <a:custGeom>
              <a:avLst/>
              <a:gdLst>
                <a:gd name="connsiteX0" fmla="*/ 1154 w 34698"/>
                <a:gd name="connsiteY0" fmla="*/ 12030 h 20097"/>
                <a:gd name="connsiteX1" fmla="*/ 13346 w 34698"/>
                <a:gd name="connsiteY1" fmla="*/ 19078 h 20097"/>
                <a:gd name="connsiteX2" fmla="*/ 20776 w 34698"/>
                <a:gd name="connsiteY2" fmla="*/ 19078 h 20097"/>
                <a:gd name="connsiteX3" fmla="*/ 32872 w 34698"/>
                <a:gd name="connsiteY3" fmla="*/ 12030 h 20097"/>
                <a:gd name="connsiteX4" fmla="*/ 34215 w 34698"/>
                <a:gd name="connsiteY4" fmla="*/ 9096 h 20097"/>
                <a:gd name="connsiteX5" fmla="*/ 32872 w 34698"/>
                <a:gd name="connsiteY5" fmla="*/ 7743 h 20097"/>
                <a:gd name="connsiteX6" fmla="*/ 20776 w 34698"/>
                <a:gd name="connsiteY6" fmla="*/ 695 h 20097"/>
                <a:gd name="connsiteX7" fmla="*/ 13346 w 34698"/>
                <a:gd name="connsiteY7" fmla="*/ 695 h 20097"/>
                <a:gd name="connsiteX8" fmla="*/ 1154 w 34698"/>
                <a:gd name="connsiteY8" fmla="*/ 7743 h 20097"/>
                <a:gd name="connsiteX9" fmla="*/ -189 w 34698"/>
                <a:gd name="connsiteY9" fmla="*/ 10686 h 20097"/>
                <a:gd name="connsiteX10" fmla="*/ 1154 w 34698"/>
                <a:gd name="connsiteY10" fmla="*/ 12030 h 20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698" h="20097">
                  <a:moveTo>
                    <a:pt x="1154" y="12030"/>
                  </a:moveTo>
                  <a:lnTo>
                    <a:pt x="13346" y="19078"/>
                  </a:lnTo>
                  <a:cubicBezTo>
                    <a:pt x="15689" y="20221"/>
                    <a:pt x="18432" y="20221"/>
                    <a:pt x="20776" y="19078"/>
                  </a:cubicBezTo>
                  <a:lnTo>
                    <a:pt x="32872" y="12030"/>
                  </a:lnTo>
                  <a:cubicBezTo>
                    <a:pt x="34053" y="11591"/>
                    <a:pt x="34663" y="10277"/>
                    <a:pt x="34215" y="9096"/>
                  </a:cubicBezTo>
                  <a:cubicBezTo>
                    <a:pt x="33987" y="8467"/>
                    <a:pt x="33491" y="7972"/>
                    <a:pt x="32872" y="7743"/>
                  </a:cubicBezTo>
                  <a:lnTo>
                    <a:pt x="20776" y="695"/>
                  </a:lnTo>
                  <a:cubicBezTo>
                    <a:pt x="18432" y="-448"/>
                    <a:pt x="15689" y="-448"/>
                    <a:pt x="13346" y="695"/>
                  </a:cubicBezTo>
                  <a:lnTo>
                    <a:pt x="1154" y="7743"/>
                  </a:lnTo>
                  <a:cubicBezTo>
                    <a:pt x="-27" y="8181"/>
                    <a:pt x="-637" y="9496"/>
                    <a:pt x="-189" y="10686"/>
                  </a:cubicBezTo>
                  <a:cubicBezTo>
                    <a:pt x="40" y="11305"/>
                    <a:pt x="525" y="11801"/>
                    <a:pt x="1154" y="12030"/>
                  </a:cubicBezTo>
                  <a:close/>
                </a:path>
              </a:pathLst>
            </a:custGeom>
            <a:solidFill>
              <a:srgbClr val="D1D9E8"/>
            </a:solidFill>
            <a:ln w="9525" cap="flat">
              <a:noFill/>
              <a:prstDash val="solid"/>
              <a:miter/>
            </a:ln>
          </p:spPr>
          <p:txBody>
            <a:bodyPr rtlCol="0" anchor="ctr"/>
            <a:lstStyle/>
            <a:p>
              <a:endParaRPr lang="zh-CN" altLang="en-US"/>
            </a:p>
          </p:txBody>
        </p:sp>
        <p:sp>
          <p:nvSpPr>
            <p:cNvPr id="418" name="ïšḷíḓè">
              <a:extLst>
                <a:ext uri="{FF2B5EF4-FFF2-40B4-BE49-F238E27FC236}">
                  <a16:creationId xmlns:a16="http://schemas.microsoft.com/office/drawing/2014/main" id="{24CB3C25-069E-4E77-AD22-6309F4974F71}"/>
                </a:ext>
              </a:extLst>
            </p:cNvPr>
            <p:cNvSpPr/>
            <p:nvPr/>
          </p:nvSpPr>
          <p:spPr>
            <a:xfrm>
              <a:off x="6093582" y="5346267"/>
              <a:ext cx="109594" cy="53801"/>
            </a:xfrm>
            <a:custGeom>
              <a:avLst/>
              <a:gdLst>
                <a:gd name="connsiteX0" fmla="*/ -336 w 36004"/>
                <a:gd name="connsiteY0" fmla="*/ -163 h 17675"/>
                <a:gd name="connsiteX1" fmla="*/ -336 w 36004"/>
                <a:gd name="connsiteY1" fmla="*/ 7076 h 17675"/>
                <a:gd name="connsiteX2" fmla="*/ 1188 w 36004"/>
                <a:gd name="connsiteY2" fmla="*/ 9267 h 17675"/>
                <a:gd name="connsiteX3" fmla="*/ 13856 w 36004"/>
                <a:gd name="connsiteY3" fmla="*/ 16506 h 17675"/>
                <a:gd name="connsiteX4" fmla="*/ 21476 w 36004"/>
                <a:gd name="connsiteY4" fmla="*/ 16506 h 17675"/>
                <a:gd name="connsiteX5" fmla="*/ 34144 w 36004"/>
                <a:gd name="connsiteY5" fmla="*/ 9267 h 17675"/>
                <a:gd name="connsiteX6" fmla="*/ 35668 w 36004"/>
                <a:gd name="connsiteY6" fmla="*/ 7076 h 17675"/>
                <a:gd name="connsiteX7" fmla="*/ 35668 w 36004"/>
                <a:gd name="connsiteY7" fmla="*/ -163 h 17675"/>
                <a:gd name="connsiteX8" fmla="*/ 34144 w 36004"/>
                <a:gd name="connsiteY8" fmla="*/ 2123 h 17675"/>
                <a:gd name="connsiteX9" fmla="*/ 31763 w 36004"/>
                <a:gd name="connsiteY9" fmla="*/ 3457 h 17675"/>
                <a:gd name="connsiteX10" fmla="*/ 21476 w 36004"/>
                <a:gd name="connsiteY10" fmla="*/ 9362 h 17675"/>
                <a:gd name="connsiteX11" fmla="*/ 13856 w 36004"/>
                <a:gd name="connsiteY11" fmla="*/ 9362 h 17675"/>
                <a:gd name="connsiteX12" fmla="*/ 3569 w 36004"/>
                <a:gd name="connsiteY12" fmla="*/ 3457 h 17675"/>
                <a:gd name="connsiteX13" fmla="*/ 1188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79" y="8038"/>
                    <a:pt x="312" y="8877"/>
                    <a:pt x="1188" y="9267"/>
                  </a:cubicBezTo>
                  <a:lnTo>
                    <a:pt x="13856" y="16506"/>
                  </a:lnTo>
                  <a:cubicBezTo>
                    <a:pt x="16218" y="17849"/>
                    <a:pt x="19114" y="17849"/>
                    <a:pt x="21476" y="16506"/>
                  </a:cubicBezTo>
                  <a:lnTo>
                    <a:pt x="34144" y="9267"/>
                  </a:lnTo>
                  <a:cubicBezTo>
                    <a:pt x="35021" y="8877"/>
                    <a:pt x="35611" y="8038"/>
                    <a:pt x="35668" y="7076"/>
                  </a:cubicBezTo>
                  <a:lnTo>
                    <a:pt x="35668" y="-163"/>
                  </a:lnTo>
                  <a:cubicBezTo>
                    <a:pt x="35602" y="818"/>
                    <a:pt x="35021" y="1685"/>
                    <a:pt x="34144" y="2123"/>
                  </a:cubicBezTo>
                  <a:lnTo>
                    <a:pt x="31763" y="3457"/>
                  </a:lnTo>
                  <a:lnTo>
                    <a:pt x="21476" y="9362"/>
                  </a:lnTo>
                  <a:cubicBezTo>
                    <a:pt x="19114" y="10705"/>
                    <a:pt x="16218" y="10705"/>
                    <a:pt x="13856" y="9362"/>
                  </a:cubicBezTo>
                  <a:lnTo>
                    <a:pt x="3569" y="3457"/>
                  </a:lnTo>
                  <a:lnTo>
                    <a:pt x="1188" y="2123"/>
                  </a:lnTo>
                  <a:cubicBezTo>
                    <a:pt x="312"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419" name="ïṣľïďe">
              <a:extLst>
                <a:ext uri="{FF2B5EF4-FFF2-40B4-BE49-F238E27FC236}">
                  <a16:creationId xmlns:a16="http://schemas.microsoft.com/office/drawing/2014/main" id="{447BED6A-83FC-4CAB-B28D-745F925480E0}"/>
                </a:ext>
              </a:extLst>
            </p:cNvPr>
            <p:cNvSpPr/>
            <p:nvPr/>
          </p:nvSpPr>
          <p:spPr>
            <a:xfrm>
              <a:off x="6170124" y="5359384"/>
              <a:ext cx="140036" cy="80688"/>
            </a:xfrm>
            <a:custGeom>
              <a:avLst/>
              <a:gdLst>
                <a:gd name="connsiteX0" fmla="*/ -336 w 46005"/>
                <a:gd name="connsiteY0" fmla="*/ 10196 h 26508"/>
                <a:gd name="connsiteX1" fmla="*/ 1283 w 46005"/>
                <a:gd name="connsiteY1" fmla="*/ 12482 h 26508"/>
                <a:gd name="connsiteX2" fmla="*/ 3569 w 46005"/>
                <a:gd name="connsiteY2" fmla="*/ 13815 h 26508"/>
                <a:gd name="connsiteX3" fmla="*/ 23762 w 46005"/>
                <a:gd name="connsiteY3" fmla="*/ 25531 h 26508"/>
                <a:gd name="connsiteX4" fmla="*/ 31477 w 46005"/>
                <a:gd name="connsiteY4" fmla="*/ 25531 h 26508"/>
                <a:gd name="connsiteX5" fmla="*/ 41764 w 46005"/>
                <a:gd name="connsiteY5" fmla="*/ 19530 h 26508"/>
                <a:gd name="connsiteX6" fmla="*/ 44146 w 46005"/>
                <a:gd name="connsiteY6" fmla="*/ 18197 h 26508"/>
                <a:gd name="connsiteX7" fmla="*/ 45669 w 46005"/>
                <a:gd name="connsiteY7" fmla="*/ 16578 h 26508"/>
                <a:gd name="connsiteX8" fmla="*/ 45669 w 46005"/>
                <a:gd name="connsiteY8" fmla="*/ 15435 h 26508"/>
                <a:gd name="connsiteX9" fmla="*/ 44146 w 46005"/>
                <a:gd name="connsiteY9" fmla="*/ 13720 h 26508"/>
                <a:gd name="connsiteX10" fmla="*/ 21571 w 46005"/>
                <a:gd name="connsiteY10" fmla="*/ 766 h 26508"/>
                <a:gd name="connsiteX11" fmla="*/ 13856 w 46005"/>
                <a:gd name="connsiteY11" fmla="*/ 766 h 26508"/>
                <a:gd name="connsiteX12" fmla="*/ 1283 w 46005"/>
                <a:gd name="connsiteY12" fmla="*/ 8005 h 26508"/>
                <a:gd name="connsiteX13" fmla="*/ -336 w 46005"/>
                <a:gd name="connsiteY13" fmla="*/ 10196 h 26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005" h="26508">
                  <a:moveTo>
                    <a:pt x="-336" y="10196"/>
                  </a:moveTo>
                  <a:cubicBezTo>
                    <a:pt x="-270" y="11206"/>
                    <a:pt x="359" y="12091"/>
                    <a:pt x="1283" y="12482"/>
                  </a:cubicBezTo>
                  <a:lnTo>
                    <a:pt x="3569" y="13815"/>
                  </a:lnTo>
                  <a:lnTo>
                    <a:pt x="23762" y="25531"/>
                  </a:lnTo>
                  <a:cubicBezTo>
                    <a:pt x="26219" y="26617"/>
                    <a:pt x="29020" y="26617"/>
                    <a:pt x="31477" y="25531"/>
                  </a:cubicBezTo>
                  <a:lnTo>
                    <a:pt x="41764" y="19530"/>
                  </a:lnTo>
                  <a:lnTo>
                    <a:pt x="44146" y="18197"/>
                  </a:lnTo>
                  <a:cubicBezTo>
                    <a:pt x="44860" y="17892"/>
                    <a:pt x="45412" y="17311"/>
                    <a:pt x="45669" y="16578"/>
                  </a:cubicBezTo>
                  <a:lnTo>
                    <a:pt x="45669" y="15435"/>
                  </a:lnTo>
                  <a:cubicBezTo>
                    <a:pt x="45384" y="14692"/>
                    <a:pt x="44841" y="14082"/>
                    <a:pt x="44146" y="13720"/>
                  </a:cubicBezTo>
                  <a:lnTo>
                    <a:pt x="21571" y="766"/>
                  </a:lnTo>
                  <a:cubicBezTo>
                    <a:pt x="19152" y="-472"/>
                    <a:pt x="16275" y="-472"/>
                    <a:pt x="13856" y="766"/>
                  </a:cubicBezTo>
                  <a:lnTo>
                    <a:pt x="1283" y="8005"/>
                  </a:lnTo>
                  <a:cubicBezTo>
                    <a:pt x="387" y="8386"/>
                    <a:pt x="-241" y="9224"/>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420" name="iṧ1íḑé">
              <a:extLst>
                <a:ext uri="{FF2B5EF4-FFF2-40B4-BE49-F238E27FC236}">
                  <a16:creationId xmlns:a16="http://schemas.microsoft.com/office/drawing/2014/main" id="{5D15951C-F671-42F0-B741-AA1B041784B5}"/>
                </a:ext>
              </a:extLst>
            </p:cNvPr>
            <p:cNvSpPr/>
            <p:nvPr/>
          </p:nvSpPr>
          <p:spPr>
            <a:xfrm>
              <a:off x="6172836" y="5359892"/>
              <a:ext cx="136018" cy="78570"/>
            </a:xfrm>
            <a:custGeom>
              <a:avLst/>
              <a:gdLst>
                <a:gd name="connsiteX0" fmla="*/ 23252 w 44685"/>
                <a:gd name="connsiteY0" fmla="*/ 24793 h 25812"/>
                <a:gd name="connsiteX1" fmla="*/ 1154 w 44685"/>
                <a:gd name="connsiteY1" fmla="*/ 12029 h 25812"/>
                <a:gd name="connsiteX2" fmla="*/ -189 w 44685"/>
                <a:gd name="connsiteY2" fmla="*/ 9096 h 25812"/>
                <a:gd name="connsiteX3" fmla="*/ 1154 w 44685"/>
                <a:gd name="connsiteY3" fmla="*/ 7743 h 25812"/>
                <a:gd name="connsiteX4" fmla="*/ 13250 w 44685"/>
                <a:gd name="connsiteY4" fmla="*/ 695 h 25812"/>
                <a:gd name="connsiteX5" fmla="*/ 20680 w 44685"/>
                <a:gd name="connsiteY5" fmla="*/ 695 h 25812"/>
                <a:gd name="connsiteX6" fmla="*/ 42778 w 44685"/>
                <a:gd name="connsiteY6" fmla="*/ 13458 h 25812"/>
                <a:gd name="connsiteX7" fmla="*/ 42778 w 44685"/>
                <a:gd name="connsiteY7" fmla="*/ 17744 h 25812"/>
                <a:gd name="connsiteX8" fmla="*/ 30681 w 44685"/>
                <a:gd name="connsiteY8" fmla="*/ 24793 h 25812"/>
                <a:gd name="connsiteX9" fmla="*/ 23252 w 44685"/>
                <a:gd name="connsiteY9" fmla="*/ 24793 h 25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4685" h="25812">
                  <a:moveTo>
                    <a:pt x="23252" y="24793"/>
                  </a:moveTo>
                  <a:lnTo>
                    <a:pt x="1154" y="12029"/>
                  </a:lnTo>
                  <a:cubicBezTo>
                    <a:pt x="-27" y="11591"/>
                    <a:pt x="-637" y="10277"/>
                    <a:pt x="-189" y="9096"/>
                  </a:cubicBezTo>
                  <a:cubicBezTo>
                    <a:pt x="39" y="8467"/>
                    <a:pt x="535" y="7972"/>
                    <a:pt x="1154" y="7743"/>
                  </a:cubicBezTo>
                  <a:lnTo>
                    <a:pt x="13250" y="695"/>
                  </a:lnTo>
                  <a:cubicBezTo>
                    <a:pt x="15594" y="-448"/>
                    <a:pt x="18337" y="-448"/>
                    <a:pt x="20680" y="695"/>
                  </a:cubicBezTo>
                  <a:lnTo>
                    <a:pt x="42778" y="13458"/>
                  </a:lnTo>
                  <a:cubicBezTo>
                    <a:pt x="44873" y="14696"/>
                    <a:pt x="44873" y="16601"/>
                    <a:pt x="42778" y="17744"/>
                  </a:cubicBezTo>
                  <a:lnTo>
                    <a:pt x="30681" y="24793"/>
                  </a:lnTo>
                  <a:cubicBezTo>
                    <a:pt x="28338" y="25936"/>
                    <a:pt x="25595" y="25936"/>
                    <a:pt x="23252" y="24793"/>
                  </a:cubicBezTo>
                  <a:close/>
                </a:path>
              </a:pathLst>
            </a:custGeom>
            <a:solidFill>
              <a:srgbClr val="D1D9E8"/>
            </a:solidFill>
            <a:ln w="9525" cap="flat">
              <a:noFill/>
              <a:prstDash val="solid"/>
              <a:miter/>
            </a:ln>
          </p:spPr>
          <p:txBody>
            <a:bodyPr rtlCol="0" anchor="ctr"/>
            <a:lstStyle/>
            <a:p>
              <a:endParaRPr lang="zh-CN" altLang="en-US"/>
            </a:p>
          </p:txBody>
        </p:sp>
        <p:sp>
          <p:nvSpPr>
            <p:cNvPr id="421" name="ïšľíḍe">
              <a:extLst>
                <a:ext uri="{FF2B5EF4-FFF2-40B4-BE49-F238E27FC236}">
                  <a16:creationId xmlns:a16="http://schemas.microsoft.com/office/drawing/2014/main" id="{1C686B46-9F93-468D-B684-81CF53889F9A}"/>
                </a:ext>
              </a:extLst>
            </p:cNvPr>
            <p:cNvSpPr/>
            <p:nvPr/>
          </p:nvSpPr>
          <p:spPr>
            <a:xfrm>
              <a:off x="6170124" y="5390916"/>
              <a:ext cx="140036" cy="71249"/>
            </a:xfrm>
            <a:custGeom>
              <a:avLst/>
              <a:gdLst>
                <a:gd name="connsiteX0" fmla="*/ -336 w 46005"/>
                <a:gd name="connsiteY0" fmla="*/ -163 h 23407"/>
                <a:gd name="connsiteX1" fmla="*/ -336 w 46005"/>
                <a:gd name="connsiteY1" fmla="*/ 7076 h 23407"/>
                <a:gd name="connsiteX2" fmla="*/ 1283 w 46005"/>
                <a:gd name="connsiteY2" fmla="*/ 9267 h 23407"/>
                <a:gd name="connsiteX3" fmla="*/ 23762 w 46005"/>
                <a:gd name="connsiteY3" fmla="*/ 22316 h 23407"/>
                <a:gd name="connsiteX4" fmla="*/ 31477 w 46005"/>
                <a:gd name="connsiteY4" fmla="*/ 22316 h 23407"/>
                <a:gd name="connsiteX5" fmla="*/ 44146 w 46005"/>
                <a:gd name="connsiteY5" fmla="*/ 14982 h 23407"/>
                <a:gd name="connsiteX6" fmla="*/ 45669 w 46005"/>
                <a:gd name="connsiteY6" fmla="*/ 13363 h 23407"/>
                <a:gd name="connsiteX7" fmla="*/ 45669 w 46005"/>
                <a:gd name="connsiteY7" fmla="*/ 6219 h 23407"/>
                <a:gd name="connsiteX8" fmla="*/ 44146 w 46005"/>
                <a:gd name="connsiteY8" fmla="*/ 7838 h 23407"/>
                <a:gd name="connsiteX9" fmla="*/ 41764 w 46005"/>
                <a:gd name="connsiteY9" fmla="*/ 9172 h 23407"/>
                <a:gd name="connsiteX10" fmla="*/ 31477 w 46005"/>
                <a:gd name="connsiteY10" fmla="*/ 15172 h 23407"/>
                <a:gd name="connsiteX11" fmla="*/ 23762 w 46005"/>
                <a:gd name="connsiteY11" fmla="*/ 15172 h 23407"/>
                <a:gd name="connsiteX12" fmla="*/ 3569 w 46005"/>
                <a:gd name="connsiteY12" fmla="*/ 3457 h 23407"/>
                <a:gd name="connsiteX13" fmla="*/ 1283 w 46005"/>
                <a:gd name="connsiteY13" fmla="*/ 2123 h 23407"/>
                <a:gd name="connsiteX14" fmla="*/ -336 w 46005"/>
                <a:gd name="connsiteY14" fmla="*/ -163 h 234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6005" h="23407">
                  <a:moveTo>
                    <a:pt x="-336" y="-163"/>
                  </a:moveTo>
                  <a:lnTo>
                    <a:pt x="-336" y="7076"/>
                  </a:lnTo>
                  <a:cubicBezTo>
                    <a:pt x="-260" y="8057"/>
                    <a:pt x="369" y="8905"/>
                    <a:pt x="1283" y="9267"/>
                  </a:cubicBezTo>
                  <a:lnTo>
                    <a:pt x="23762" y="22316"/>
                  </a:lnTo>
                  <a:cubicBezTo>
                    <a:pt x="26181" y="23555"/>
                    <a:pt x="29058" y="23555"/>
                    <a:pt x="31477" y="22316"/>
                  </a:cubicBezTo>
                  <a:lnTo>
                    <a:pt x="44146" y="14982"/>
                  </a:lnTo>
                  <a:cubicBezTo>
                    <a:pt x="44822" y="14629"/>
                    <a:pt x="45355" y="14058"/>
                    <a:pt x="45669" y="13363"/>
                  </a:cubicBezTo>
                  <a:lnTo>
                    <a:pt x="45669" y="6219"/>
                  </a:lnTo>
                  <a:cubicBezTo>
                    <a:pt x="45412" y="6952"/>
                    <a:pt x="44860" y="7533"/>
                    <a:pt x="44146" y="7838"/>
                  </a:cubicBezTo>
                  <a:lnTo>
                    <a:pt x="41764" y="9172"/>
                  </a:lnTo>
                  <a:lnTo>
                    <a:pt x="31477" y="15172"/>
                  </a:lnTo>
                  <a:cubicBezTo>
                    <a:pt x="29020" y="16258"/>
                    <a:pt x="26219" y="16258"/>
                    <a:pt x="23762" y="15172"/>
                  </a:cubicBezTo>
                  <a:lnTo>
                    <a:pt x="3569" y="3457"/>
                  </a:lnTo>
                  <a:lnTo>
                    <a:pt x="1283" y="2123"/>
                  </a:lnTo>
                  <a:cubicBezTo>
                    <a:pt x="359" y="1733"/>
                    <a:pt x="-270" y="847"/>
                    <a:pt x="-336" y="-163"/>
                  </a:cubicBezTo>
                  <a:close/>
                </a:path>
              </a:pathLst>
            </a:custGeom>
            <a:solidFill>
              <a:srgbClr val="BF4200"/>
            </a:solidFill>
            <a:ln w="9525" cap="flat">
              <a:noFill/>
              <a:prstDash val="solid"/>
              <a:miter/>
            </a:ln>
          </p:spPr>
          <p:txBody>
            <a:bodyPr rtlCol="0" anchor="ctr"/>
            <a:lstStyle/>
            <a:p>
              <a:endParaRPr lang="zh-CN" altLang="en-US"/>
            </a:p>
          </p:txBody>
        </p:sp>
        <p:sp>
          <p:nvSpPr>
            <p:cNvPr id="422" name="îṩļïďè">
              <a:extLst>
                <a:ext uri="{FF2B5EF4-FFF2-40B4-BE49-F238E27FC236}">
                  <a16:creationId xmlns:a16="http://schemas.microsoft.com/office/drawing/2014/main" id="{9D4D309B-36E7-453E-8DFA-700DD6736BA2}"/>
                </a:ext>
              </a:extLst>
            </p:cNvPr>
            <p:cNvSpPr/>
            <p:nvPr/>
          </p:nvSpPr>
          <p:spPr>
            <a:xfrm>
              <a:off x="4999080" y="4774588"/>
              <a:ext cx="140036" cy="81035"/>
            </a:xfrm>
            <a:custGeom>
              <a:avLst/>
              <a:gdLst>
                <a:gd name="connsiteX0" fmla="*/ -336 w 46005"/>
                <a:gd name="connsiteY0" fmla="*/ 10291 h 26622"/>
                <a:gd name="connsiteX1" fmla="*/ 1283 w 46005"/>
                <a:gd name="connsiteY1" fmla="*/ 12577 h 26622"/>
                <a:gd name="connsiteX2" fmla="*/ 3569 w 46005"/>
                <a:gd name="connsiteY2" fmla="*/ 13911 h 26622"/>
                <a:gd name="connsiteX3" fmla="*/ 23762 w 46005"/>
                <a:gd name="connsiteY3" fmla="*/ 25531 h 26622"/>
                <a:gd name="connsiteX4" fmla="*/ 31572 w 46005"/>
                <a:gd name="connsiteY4" fmla="*/ 25531 h 26622"/>
                <a:gd name="connsiteX5" fmla="*/ 41764 w 46005"/>
                <a:gd name="connsiteY5" fmla="*/ 19625 h 26622"/>
                <a:gd name="connsiteX6" fmla="*/ 44146 w 46005"/>
                <a:gd name="connsiteY6" fmla="*/ 18292 h 26622"/>
                <a:gd name="connsiteX7" fmla="*/ 45670 w 46005"/>
                <a:gd name="connsiteY7" fmla="*/ 16578 h 26622"/>
                <a:gd name="connsiteX8" fmla="*/ 45670 w 46005"/>
                <a:gd name="connsiteY8" fmla="*/ 15530 h 26622"/>
                <a:gd name="connsiteX9" fmla="*/ 44146 w 46005"/>
                <a:gd name="connsiteY9" fmla="*/ 13815 h 26622"/>
                <a:gd name="connsiteX10" fmla="*/ 21571 w 46005"/>
                <a:gd name="connsiteY10" fmla="*/ 766 h 26622"/>
                <a:gd name="connsiteX11" fmla="*/ 13856 w 46005"/>
                <a:gd name="connsiteY11" fmla="*/ 766 h 26622"/>
                <a:gd name="connsiteX12" fmla="*/ 1283 w 46005"/>
                <a:gd name="connsiteY12" fmla="*/ 8100 h 26622"/>
                <a:gd name="connsiteX13" fmla="*/ -336 w 46005"/>
                <a:gd name="connsiteY13" fmla="*/ 10291 h 26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005" h="26622">
                  <a:moveTo>
                    <a:pt x="-336" y="10291"/>
                  </a:moveTo>
                  <a:cubicBezTo>
                    <a:pt x="-231" y="11282"/>
                    <a:pt x="378" y="12148"/>
                    <a:pt x="1283" y="12577"/>
                  </a:cubicBezTo>
                  <a:lnTo>
                    <a:pt x="3569" y="13911"/>
                  </a:lnTo>
                  <a:lnTo>
                    <a:pt x="23762" y="25531"/>
                  </a:lnTo>
                  <a:cubicBezTo>
                    <a:pt x="26220" y="26769"/>
                    <a:pt x="29115" y="26769"/>
                    <a:pt x="31572" y="25531"/>
                  </a:cubicBezTo>
                  <a:lnTo>
                    <a:pt x="41764" y="19625"/>
                  </a:lnTo>
                  <a:lnTo>
                    <a:pt x="44146" y="18292"/>
                  </a:lnTo>
                  <a:cubicBezTo>
                    <a:pt x="44850" y="17930"/>
                    <a:pt x="45384" y="17321"/>
                    <a:pt x="45670" y="16578"/>
                  </a:cubicBezTo>
                  <a:lnTo>
                    <a:pt x="45670" y="15530"/>
                  </a:lnTo>
                  <a:cubicBezTo>
                    <a:pt x="45384" y="14787"/>
                    <a:pt x="44850" y="14177"/>
                    <a:pt x="44146" y="13815"/>
                  </a:cubicBezTo>
                  <a:lnTo>
                    <a:pt x="21571" y="766"/>
                  </a:lnTo>
                  <a:cubicBezTo>
                    <a:pt x="19152" y="-472"/>
                    <a:pt x="16275" y="-472"/>
                    <a:pt x="13856" y="766"/>
                  </a:cubicBezTo>
                  <a:lnTo>
                    <a:pt x="1283" y="8100"/>
                  </a:lnTo>
                  <a:cubicBezTo>
                    <a:pt x="397" y="8491"/>
                    <a:pt x="-222"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423" name="í$líḓè">
              <a:extLst>
                <a:ext uri="{FF2B5EF4-FFF2-40B4-BE49-F238E27FC236}">
                  <a16:creationId xmlns:a16="http://schemas.microsoft.com/office/drawing/2014/main" id="{C23F0D82-235B-4843-9A12-79A344F96A24}"/>
                </a:ext>
              </a:extLst>
            </p:cNvPr>
            <p:cNvSpPr/>
            <p:nvPr/>
          </p:nvSpPr>
          <p:spPr>
            <a:xfrm>
              <a:off x="5001183" y="4775747"/>
              <a:ext cx="136121" cy="78716"/>
            </a:xfrm>
            <a:custGeom>
              <a:avLst/>
              <a:gdLst>
                <a:gd name="connsiteX0" fmla="*/ 23262 w 44719"/>
                <a:gd name="connsiteY0" fmla="*/ 24769 h 25860"/>
                <a:gd name="connsiteX1" fmla="*/ 1164 w 44719"/>
                <a:gd name="connsiteY1" fmla="*/ 12006 h 25860"/>
                <a:gd name="connsiteX2" fmla="*/ 1164 w 44719"/>
                <a:gd name="connsiteY2" fmla="*/ 7719 h 25860"/>
                <a:gd name="connsiteX3" fmla="*/ 13356 w 44719"/>
                <a:gd name="connsiteY3" fmla="*/ 766 h 25860"/>
                <a:gd name="connsiteX4" fmla="*/ 20785 w 44719"/>
                <a:gd name="connsiteY4" fmla="*/ 766 h 25860"/>
                <a:gd name="connsiteX5" fmla="*/ 42883 w 44719"/>
                <a:gd name="connsiteY5" fmla="*/ 13530 h 25860"/>
                <a:gd name="connsiteX6" fmla="*/ 42883 w 44719"/>
                <a:gd name="connsiteY6" fmla="*/ 17816 h 25860"/>
                <a:gd name="connsiteX7" fmla="*/ 30691 w 44719"/>
                <a:gd name="connsiteY7" fmla="*/ 24769 h 25860"/>
                <a:gd name="connsiteX8" fmla="*/ 23262 w 44719"/>
                <a:gd name="connsiteY8" fmla="*/ 24769 h 25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719" h="25860">
                  <a:moveTo>
                    <a:pt x="23262" y="24769"/>
                  </a:moveTo>
                  <a:lnTo>
                    <a:pt x="1164" y="12006"/>
                  </a:lnTo>
                  <a:cubicBezTo>
                    <a:pt x="-836" y="10863"/>
                    <a:pt x="-836" y="8958"/>
                    <a:pt x="1164" y="7719"/>
                  </a:cubicBezTo>
                  <a:lnTo>
                    <a:pt x="13356" y="766"/>
                  </a:lnTo>
                  <a:cubicBezTo>
                    <a:pt x="15680" y="-472"/>
                    <a:pt x="18461" y="-472"/>
                    <a:pt x="20785" y="766"/>
                  </a:cubicBezTo>
                  <a:lnTo>
                    <a:pt x="42883" y="13530"/>
                  </a:lnTo>
                  <a:cubicBezTo>
                    <a:pt x="44884" y="14673"/>
                    <a:pt x="44884" y="16577"/>
                    <a:pt x="42883" y="17816"/>
                  </a:cubicBezTo>
                  <a:lnTo>
                    <a:pt x="30691" y="24769"/>
                  </a:lnTo>
                  <a:cubicBezTo>
                    <a:pt x="28367" y="26007"/>
                    <a:pt x="25586" y="26007"/>
                    <a:pt x="23262" y="24769"/>
                  </a:cubicBezTo>
                  <a:close/>
                </a:path>
              </a:pathLst>
            </a:custGeom>
            <a:solidFill>
              <a:srgbClr val="D1D9E8"/>
            </a:solidFill>
            <a:ln w="9525" cap="flat">
              <a:noFill/>
              <a:prstDash val="solid"/>
              <a:miter/>
            </a:ln>
          </p:spPr>
          <p:txBody>
            <a:bodyPr rtlCol="0" anchor="ctr"/>
            <a:lstStyle/>
            <a:p>
              <a:endParaRPr lang="zh-CN" altLang="en-US"/>
            </a:p>
          </p:txBody>
        </p:sp>
        <p:sp>
          <p:nvSpPr>
            <p:cNvPr id="424" name="íṥḷïḑè">
              <a:extLst>
                <a:ext uri="{FF2B5EF4-FFF2-40B4-BE49-F238E27FC236}">
                  <a16:creationId xmlns:a16="http://schemas.microsoft.com/office/drawing/2014/main" id="{08FC442B-41CE-45F9-B1AD-696F062E837E}"/>
                </a:ext>
              </a:extLst>
            </p:cNvPr>
            <p:cNvSpPr/>
            <p:nvPr/>
          </p:nvSpPr>
          <p:spPr>
            <a:xfrm>
              <a:off x="4999080" y="4806409"/>
              <a:ext cx="140036" cy="69806"/>
            </a:xfrm>
            <a:custGeom>
              <a:avLst/>
              <a:gdLst>
                <a:gd name="connsiteX0" fmla="*/ -336 w 46005"/>
                <a:gd name="connsiteY0" fmla="*/ -163 h 22933"/>
                <a:gd name="connsiteX1" fmla="*/ -336 w 46005"/>
                <a:gd name="connsiteY1" fmla="*/ 6600 h 22933"/>
                <a:gd name="connsiteX2" fmla="*/ 1283 w 46005"/>
                <a:gd name="connsiteY2" fmla="*/ 8886 h 22933"/>
                <a:gd name="connsiteX3" fmla="*/ 23762 w 46005"/>
                <a:gd name="connsiteY3" fmla="*/ 21935 h 22933"/>
                <a:gd name="connsiteX4" fmla="*/ 31572 w 46005"/>
                <a:gd name="connsiteY4" fmla="*/ 21935 h 22933"/>
                <a:gd name="connsiteX5" fmla="*/ 44146 w 46005"/>
                <a:gd name="connsiteY5" fmla="*/ 14601 h 22933"/>
                <a:gd name="connsiteX6" fmla="*/ 45670 w 46005"/>
                <a:gd name="connsiteY6" fmla="*/ 12982 h 22933"/>
                <a:gd name="connsiteX7" fmla="*/ 45670 w 46005"/>
                <a:gd name="connsiteY7" fmla="*/ 6600 h 22933"/>
                <a:gd name="connsiteX8" fmla="*/ 44146 w 46005"/>
                <a:gd name="connsiteY8" fmla="*/ 8314 h 22933"/>
                <a:gd name="connsiteX9" fmla="*/ 41764 w 46005"/>
                <a:gd name="connsiteY9" fmla="*/ 9648 h 22933"/>
                <a:gd name="connsiteX10" fmla="*/ 31572 w 46005"/>
                <a:gd name="connsiteY10" fmla="*/ 15554 h 22933"/>
                <a:gd name="connsiteX11" fmla="*/ 23762 w 46005"/>
                <a:gd name="connsiteY11" fmla="*/ 15554 h 22933"/>
                <a:gd name="connsiteX12" fmla="*/ 3379 w 46005"/>
                <a:gd name="connsiteY12" fmla="*/ 3457 h 22933"/>
                <a:gd name="connsiteX13" fmla="*/ 1093 w 46005"/>
                <a:gd name="connsiteY13" fmla="*/ 2123 h 22933"/>
                <a:gd name="connsiteX14" fmla="*/ -336 w 46005"/>
                <a:gd name="connsiteY14" fmla="*/ -163 h 229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6005" h="22933">
                  <a:moveTo>
                    <a:pt x="-336" y="-163"/>
                  </a:moveTo>
                  <a:lnTo>
                    <a:pt x="-336" y="6600"/>
                  </a:lnTo>
                  <a:cubicBezTo>
                    <a:pt x="-213" y="7581"/>
                    <a:pt x="397" y="8448"/>
                    <a:pt x="1283" y="8886"/>
                  </a:cubicBezTo>
                  <a:lnTo>
                    <a:pt x="23762" y="21935"/>
                  </a:lnTo>
                  <a:cubicBezTo>
                    <a:pt x="26248" y="23050"/>
                    <a:pt x="29087" y="23050"/>
                    <a:pt x="31572" y="21935"/>
                  </a:cubicBezTo>
                  <a:lnTo>
                    <a:pt x="44146" y="14601"/>
                  </a:lnTo>
                  <a:cubicBezTo>
                    <a:pt x="44822" y="14249"/>
                    <a:pt x="45355" y="13677"/>
                    <a:pt x="45670" y="12982"/>
                  </a:cubicBezTo>
                  <a:lnTo>
                    <a:pt x="45670" y="6600"/>
                  </a:lnTo>
                  <a:cubicBezTo>
                    <a:pt x="45384" y="7343"/>
                    <a:pt x="44850" y="7953"/>
                    <a:pt x="44146" y="8314"/>
                  </a:cubicBezTo>
                  <a:lnTo>
                    <a:pt x="41764" y="9648"/>
                  </a:lnTo>
                  <a:lnTo>
                    <a:pt x="31572" y="15554"/>
                  </a:lnTo>
                  <a:cubicBezTo>
                    <a:pt x="29115" y="16792"/>
                    <a:pt x="26220" y="16792"/>
                    <a:pt x="23762" y="15554"/>
                  </a:cubicBezTo>
                  <a:lnTo>
                    <a:pt x="3379" y="3457"/>
                  </a:lnTo>
                  <a:lnTo>
                    <a:pt x="1093" y="2123"/>
                  </a:lnTo>
                  <a:cubicBezTo>
                    <a:pt x="264" y="1647"/>
                    <a:pt x="-269" y="790"/>
                    <a:pt x="-336" y="-163"/>
                  </a:cubicBezTo>
                  <a:close/>
                </a:path>
              </a:pathLst>
            </a:custGeom>
            <a:solidFill>
              <a:srgbClr val="BF4200"/>
            </a:solidFill>
            <a:ln w="9525" cap="flat">
              <a:noFill/>
              <a:prstDash val="solid"/>
              <a:miter/>
            </a:ln>
          </p:spPr>
          <p:txBody>
            <a:bodyPr rtlCol="0" anchor="ctr"/>
            <a:lstStyle/>
            <a:p>
              <a:endParaRPr lang="zh-CN" altLang="en-US"/>
            </a:p>
          </p:txBody>
        </p:sp>
        <p:sp>
          <p:nvSpPr>
            <p:cNvPr id="425" name="îšļîde">
              <a:extLst>
                <a:ext uri="{FF2B5EF4-FFF2-40B4-BE49-F238E27FC236}">
                  <a16:creationId xmlns:a16="http://schemas.microsoft.com/office/drawing/2014/main" id="{D0D6E89E-E672-49FC-9E7F-541FCF8A3838}"/>
                </a:ext>
              </a:extLst>
            </p:cNvPr>
            <p:cNvSpPr/>
            <p:nvPr/>
          </p:nvSpPr>
          <p:spPr>
            <a:xfrm>
              <a:off x="5107806" y="4836635"/>
              <a:ext cx="109594" cy="63639"/>
            </a:xfrm>
            <a:custGeom>
              <a:avLst/>
              <a:gdLst>
                <a:gd name="connsiteX0" fmla="*/ -336 w 36004"/>
                <a:gd name="connsiteY0" fmla="*/ 10291 h 20907"/>
                <a:gd name="connsiteX1" fmla="*/ 1188 w 36004"/>
                <a:gd name="connsiteY1" fmla="*/ 12577 h 20907"/>
                <a:gd name="connsiteX2" fmla="*/ 3569 w 36004"/>
                <a:gd name="connsiteY2" fmla="*/ 13911 h 20907"/>
                <a:gd name="connsiteX3" fmla="*/ 13856 w 36004"/>
                <a:gd name="connsiteY3" fmla="*/ 19816 h 20907"/>
                <a:gd name="connsiteX4" fmla="*/ 21476 w 36004"/>
                <a:gd name="connsiteY4" fmla="*/ 19816 h 20907"/>
                <a:gd name="connsiteX5" fmla="*/ 31763 w 36004"/>
                <a:gd name="connsiteY5" fmla="*/ 13911 h 20907"/>
                <a:gd name="connsiteX6" fmla="*/ 34144 w 36004"/>
                <a:gd name="connsiteY6" fmla="*/ 12577 h 20907"/>
                <a:gd name="connsiteX7" fmla="*/ 35668 w 36004"/>
                <a:gd name="connsiteY7" fmla="*/ 10291 h 20907"/>
                <a:gd name="connsiteX8" fmla="*/ 34144 w 36004"/>
                <a:gd name="connsiteY8" fmla="*/ 8101 h 20907"/>
                <a:gd name="connsiteX9" fmla="*/ 21476 w 36004"/>
                <a:gd name="connsiteY9" fmla="*/ 766 h 20907"/>
                <a:gd name="connsiteX10" fmla="*/ 13856 w 36004"/>
                <a:gd name="connsiteY10" fmla="*/ 766 h 20907"/>
                <a:gd name="connsiteX11" fmla="*/ 1188 w 36004"/>
                <a:gd name="connsiteY11" fmla="*/ 8101 h 20907"/>
                <a:gd name="connsiteX12" fmla="*/ -336 w 36004"/>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907">
                  <a:moveTo>
                    <a:pt x="-336" y="10291"/>
                  </a:moveTo>
                  <a:cubicBezTo>
                    <a:pt x="-269" y="11272"/>
                    <a:pt x="312" y="12139"/>
                    <a:pt x="1188" y="12577"/>
                  </a:cubicBezTo>
                  <a:lnTo>
                    <a:pt x="3569" y="13911"/>
                  </a:lnTo>
                  <a:lnTo>
                    <a:pt x="13856" y="19816"/>
                  </a:lnTo>
                  <a:cubicBezTo>
                    <a:pt x="16247" y="21054"/>
                    <a:pt x="19085" y="21054"/>
                    <a:pt x="21476" y="19816"/>
                  </a:cubicBezTo>
                  <a:lnTo>
                    <a:pt x="31763" y="13911"/>
                  </a:lnTo>
                  <a:lnTo>
                    <a:pt x="34144" y="12577"/>
                  </a:lnTo>
                  <a:cubicBezTo>
                    <a:pt x="35021" y="12139"/>
                    <a:pt x="35602" y="11272"/>
                    <a:pt x="35668" y="10291"/>
                  </a:cubicBezTo>
                  <a:cubicBezTo>
                    <a:pt x="35611" y="9339"/>
                    <a:pt x="35021" y="8491"/>
                    <a:pt x="34144" y="8101"/>
                  </a:cubicBezTo>
                  <a:lnTo>
                    <a:pt x="21476" y="766"/>
                  </a:lnTo>
                  <a:cubicBezTo>
                    <a:pt x="19085" y="-472"/>
                    <a:pt x="16247" y="-472"/>
                    <a:pt x="13856" y="766"/>
                  </a:cubicBezTo>
                  <a:lnTo>
                    <a:pt x="1188" y="8101"/>
                  </a:lnTo>
                  <a:cubicBezTo>
                    <a:pt x="312" y="8491"/>
                    <a:pt x="-279"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426" name="iŝḻíḓé">
              <a:extLst>
                <a:ext uri="{FF2B5EF4-FFF2-40B4-BE49-F238E27FC236}">
                  <a16:creationId xmlns:a16="http://schemas.microsoft.com/office/drawing/2014/main" id="{3ED44798-5A69-40E2-BCC1-72C210C70A84}"/>
                </a:ext>
              </a:extLst>
            </p:cNvPr>
            <p:cNvSpPr/>
            <p:nvPr/>
          </p:nvSpPr>
          <p:spPr>
            <a:xfrm>
              <a:off x="5109690" y="4837795"/>
              <a:ext cx="105898" cy="61104"/>
            </a:xfrm>
            <a:custGeom>
              <a:avLst/>
              <a:gdLst>
                <a:gd name="connsiteX0" fmla="*/ 1235 w 34790"/>
                <a:gd name="connsiteY0" fmla="*/ 12006 h 20074"/>
                <a:gd name="connsiteX1" fmla="*/ 13332 w 34790"/>
                <a:gd name="connsiteY1" fmla="*/ 19054 h 20074"/>
                <a:gd name="connsiteX2" fmla="*/ 20762 w 34790"/>
                <a:gd name="connsiteY2" fmla="*/ 19054 h 20074"/>
                <a:gd name="connsiteX3" fmla="*/ 32954 w 34790"/>
                <a:gd name="connsiteY3" fmla="*/ 12006 h 20074"/>
                <a:gd name="connsiteX4" fmla="*/ 32954 w 34790"/>
                <a:gd name="connsiteY4" fmla="*/ 7719 h 20074"/>
                <a:gd name="connsiteX5" fmla="*/ 20762 w 34790"/>
                <a:gd name="connsiteY5" fmla="*/ 766 h 20074"/>
                <a:gd name="connsiteX6" fmla="*/ 13332 w 34790"/>
                <a:gd name="connsiteY6" fmla="*/ 766 h 20074"/>
                <a:gd name="connsiteX7" fmla="*/ 1235 w 34790"/>
                <a:gd name="connsiteY7" fmla="*/ 7719 h 20074"/>
                <a:gd name="connsiteX8" fmla="*/ 1235 w 34790"/>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4">
                  <a:moveTo>
                    <a:pt x="1235" y="12006"/>
                  </a:moveTo>
                  <a:lnTo>
                    <a:pt x="13332" y="19054"/>
                  </a:lnTo>
                  <a:cubicBezTo>
                    <a:pt x="15675" y="20197"/>
                    <a:pt x="18419" y="20197"/>
                    <a:pt x="20762" y="19054"/>
                  </a:cubicBezTo>
                  <a:lnTo>
                    <a:pt x="32954" y="12006"/>
                  </a:lnTo>
                  <a:cubicBezTo>
                    <a:pt x="34954" y="10863"/>
                    <a:pt x="34954" y="8957"/>
                    <a:pt x="32954" y="7719"/>
                  </a:cubicBezTo>
                  <a:lnTo>
                    <a:pt x="20762" y="766"/>
                  </a:lnTo>
                  <a:cubicBezTo>
                    <a:pt x="18437" y="-472"/>
                    <a:pt x="15656" y="-472"/>
                    <a:pt x="13332" y="766"/>
                  </a:cubicBezTo>
                  <a:lnTo>
                    <a:pt x="1235" y="7719"/>
                  </a:lnTo>
                  <a:cubicBezTo>
                    <a:pt x="-860" y="8957"/>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427" name="îṡľíḓe">
              <a:extLst>
                <a:ext uri="{FF2B5EF4-FFF2-40B4-BE49-F238E27FC236}">
                  <a16:creationId xmlns:a16="http://schemas.microsoft.com/office/drawing/2014/main" id="{E127C6F9-2958-4AEB-A165-22F0942E5DEE}"/>
                </a:ext>
              </a:extLst>
            </p:cNvPr>
            <p:cNvSpPr/>
            <p:nvPr/>
          </p:nvSpPr>
          <p:spPr>
            <a:xfrm>
              <a:off x="5107806" y="4868453"/>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4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4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3" y="7953"/>
                    <a:pt x="35668" y="6981"/>
                  </a:cubicBezTo>
                  <a:lnTo>
                    <a:pt x="35668" y="-163"/>
                  </a:lnTo>
                  <a:cubicBezTo>
                    <a:pt x="35602" y="818"/>
                    <a:pt x="35021" y="1685"/>
                    <a:pt x="34144" y="2124"/>
                  </a:cubicBezTo>
                  <a:lnTo>
                    <a:pt x="31763" y="3457"/>
                  </a:lnTo>
                  <a:lnTo>
                    <a:pt x="21476" y="9362"/>
                  </a:lnTo>
                  <a:cubicBezTo>
                    <a:pt x="19085" y="10601"/>
                    <a:pt x="16247" y="10601"/>
                    <a:pt x="13856" y="9362"/>
                  </a:cubicBezTo>
                  <a:lnTo>
                    <a:pt x="3569" y="3457"/>
                  </a:lnTo>
                  <a:lnTo>
                    <a:pt x="1188" y="2124"/>
                  </a:lnTo>
                  <a:cubicBezTo>
                    <a:pt x="312"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428" name="ïšḷiḍé">
              <a:extLst>
                <a:ext uri="{FF2B5EF4-FFF2-40B4-BE49-F238E27FC236}">
                  <a16:creationId xmlns:a16="http://schemas.microsoft.com/office/drawing/2014/main" id="{EC74EFCC-FEDE-410B-ACA8-EBF1E9B78555}"/>
                </a:ext>
              </a:extLst>
            </p:cNvPr>
            <p:cNvSpPr/>
            <p:nvPr/>
          </p:nvSpPr>
          <p:spPr>
            <a:xfrm>
              <a:off x="5184348" y="4882154"/>
              <a:ext cx="109594" cy="63639"/>
            </a:xfrm>
            <a:custGeom>
              <a:avLst/>
              <a:gdLst>
                <a:gd name="connsiteX0" fmla="*/ -336 w 36004"/>
                <a:gd name="connsiteY0" fmla="*/ 10291 h 20907"/>
                <a:gd name="connsiteX1" fmla="*/ 1188 w 36004"/>
                <a:gd name="connsiteY1" fmla="*/ 12577 h 20907"/>
                <a:gd name="connsiteX2" fmla="*/ 3569 w 36004"/>
                <a:gd name="connsiteY2" fmla="*/ 13911 h 20907"/>
                <a:gd name="connsiteX3" fmla="*/ 13856 w 36004"/>
                <a:gd name="connsiteY3" fmla="*/ 19816 h 20907"/>
                <a:gd name="connsiteX4" fmla="*/ 21476 w 36004"/>
                <a:gd name="connsiteY4" fmla="*/ 19816 h 20907"/>
                <a:gd name="connsiteX5" fmla="*/ 31763 w 36004"/>
                <a:gd name="connsiteY5" fmla="*/ 13911 h 20907"/>
                <a:gd name="connsiteX6" fmla="*/ 34049 w 36004"/>
                <a:gd name="connsiteY6" fmla="*/ 12577 h 20907"/>
                <a:gd name="connsiteX7" fmla="*/ 35668 w 36004"/>
                <a:gd name="connsiteY7" fmla="*/ 10291 h 20907"/>
                <a:gd name="connsiteX8" fmla="*/ 34049 w 36004"/>
                <a:gd name="connsiteY8" fmla="*/ 8100 h 20907"/>
                <a:gd name="connsiteX9" fmla="*/ 21476 w 36004"/>
                <a:gd name="connsiteY9" fmla="*/ 766 h 20907"/>
                <a:gd name="connsiteX10" fmla="*/ 13856 w 36004"/>
                <a:gd name="connsiteY10" fmla="*/ 766 h 20907"/>
                <a:gd name="connsiteX11" fmla="*/ 1188 w 36004"/>
                <a:gd name="connsiteY11" fmla="*/ 8100 h 20907"/>
                <a:gd name="connsiteX12" fmla="*/ -336 w 36004"/>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907">
                  <a:moveTo>
                    <a:pt x="-336" y="10291"/>
                  </a:moveTo>
                  <a:cubicBezTo>
                    <a:pt x="-270" y="11272"/>
                    <a:pt x="311" y="12139"/>
                    <a:pt x="1188" y="12577"/>
                  </a:cubicBezTo>
                  <a:lnTo>
                    <a:pt x="3569" y="13911"/>
                  </a:lnTo>
                  <a:lnTo>
                    <a:pt x="13856" y="19816"/>
                  </a:lnTo>
                  <a:cubicBezTo>
                    <a:pt x="16247" y="21054"/>
                    <a:pt x="19085" y="21054"/>
                    <a:pt x="21476" y="19816"/>
                  </a:cubicBezTo>
                  <a:lnTo>
                    <a:pt x="31763" y="13911"/>
                  </a:lnTo>
                  <a:lnTo>
                    <a:pt x="34049" y="12577"/>
                  </a:lnTo>
                  <a:cubicBezTo>
                    <a:pt x="34973" y="12187"/>
                    <a:pt x="35602" y="11301"/>
                    <a:pt x="35668" y="10291"/>
                  </a:cubicBezTo>
                  <a:cubicBezTo>
                    <a:pt x="35592" y="9310"/>
                    <a:pt x="34963" y="8462"/>
                    <a:pt x="34049" y="8100"/>
                  </a:cubicBezTo>
                  <a:lnTo>
                    <a:pt x="21476" y="766"/>
                  </a:lnTo>
                  <a:cubicBezTo>
                    <a:pt x="19085" y="-472"/>
                    <a:pt x="16247" y="-472"/>
                    <a:pt x="13856" y="766"/>
                  </a:cubicBezTo>
                  <a:lnTo>
                    <a:pt x="1188" y="8100"/>
                  </a:lnTo>
                  <a:cubicBezTo>
                    <a:pt x="311" y="8491"/>
                    <a:pt x="-279"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429" name="ïš1îde">
              <a:extLst>
                <a:ext uri="{FF2B5EF4-FFF2-40B4-BE49-F238E27FC236}">
                  <a16:creationId xmlns:a16="http://schemas.microsoft.com/office/drawing/2014/main" id="{7FA2CEEE-F975-4D92-B486-FA0B2C1F7A46}"/>
                </a:ext>
              </a:extLst>
            </p:cNvPr>
            <p:cNvSpPr/>
            <p:nvPr/>
          </p:nvSpPr>
          <p:spPr>
            <a:xfrm>
              <a:off x="5186163" y="4882443"/>
              <a:ext cx="106766" cy="61101"/>
            </a:xfrm>
            <a:custGeom>
              <a:avLst/>
              <a:gdLst>
                <a:gd name="connsiteX0" fmla="*/ 1450 w 35075"/>
                <a:gd name="connsiteY0" fmla="*/ 12006 h 20073"/>
                <a:gd name="connsiteX1" fmla="*/ 13642 w 35075"/>
                <a:gd name="connsiteY1" fmla="*/ 19054 h 20073"/>
                <a:gd name="connsiteX2" fmla="*/ 21071 w 35075"/>
                <a:gd name="connsiteY2" fmla="*/ 19054 h 20073"/>
                <a:gd name="connsiteX3" fmla="*/ 33168 w 35075"/>
                <a:gd name="connsiteY3" fmla="*/ 12006 h 20073"/>
                <a:gd name="connsiteX4" fmla="*/ 33168 w 35075"/>
                <a:gd name="connsiteY4" fmla="*/ 7719 h 20073"/>
                <a:gd name="connsiteX5" fmla="*/ 21071 w 35075"/>
                <a:gd name="connsiteY5" fmla="*/ 766 h 20073"/>
                <a:gd name="connsiteX6" fmla="*/ 13642 w 35075"/>
                <a:gd name="connsiteY6" fmla="*/ 766 h 20073"/>
                <a:gd name="connsiteX7" fmla="*/ 1450 w 35075"/>
                <a:gd name="connsiteY7" fmla="*/ 7719 h 20073"/>
                <a:gd name="connsiteX8" fmla="*/ 1450 w 35075"/>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075" h="20073">
                  <a:moveTo>
                    <a:pt x="1450" y="12006"/>
                  </a:moveTo>
                  <a:lnTo>
                    <a:pt x="13642" y="19054"/>
                  </a:lnTo>
                  <a:cubicBezTo>
                    <a:pt x="15985" y="20197"/>
                    <a:pt x="18728" y="20197"/>
                    <a:pt x="21071" y="19054"/>
                  </a:cubicBezTo>
                  <a:lnTo>
                    <a:pt x="33168" y="12006"/>
                  </a:lnTo>
                  <a:cubicBezTo>
                    <a:pt x="35263" y="10863"/>
                    <a:pt x="35263" y="8957"/>
                    <a:pt x="33168" y="7719"/>
                  </a:cubicBezTo>
                  <a:lnTo>
                    <a:pt x="21071" y="766"/>
                  </a:lnTo>
                  <a:cubicBezTo>
                    <a:pt x="18747" y="-472"/>
                    <a:pt x="15966" y="-472"/>
                    <a:pt x="13642" y="766"/>
                  </a:cubicBezTo>
                  <a:lnTo>
                    <a:pt x="1450" y="7719"/>
                  </a:lnTo>
                  <a:cubicBezTo>
                    <a:pt x="-932" y="8957"/>
                    <a:pt x="-932" y="10863"/>
                    <a:pt x="1450" y="12006"/>
                  </a:cubicBezTo>
                  <a:close/>
                </a:path>
              </a:pathLst>
            </a:custGeom>
            <a:solidFill>
              <a:srgbClr val="D1D9E8"/>
            </a:solidFill>
            <a:ln w="9525" cap="flat">
              <a:noFill/>
              <a:prstDash val="solid"/>
              <a:miter/>
            </a:ln>
          </p:spPr>
          <p:txBody>
            <a:bodyPr rtlCol="0" anchor="ctr"/>
            <a:lstStyle/>
            <a:p>
              <a:endParaRPr lang="zh-CN" altLang="en-US"/>
            </a:p>
          </p:txBody>
        </p:sp>
        <p:sp>
          <p:nvSpPr>
            <p:cNvPr id="430" name="ïSliḓé">
              <a:extLst>
                <a:ext uri="{FF2B5EF4-FFF2-40B4-BE49-F238E27FC236}">
                  <a16:creationId xmlns:a16="http://schemas.microsoft.com/office/drawing/2014/main" id="{C705E7E9-BAC6-457B-B7F1-F5A29CC59408}"/>
                </a:ext>
              </a:extLst>
            </p:cNvPr>
            <p:cNvSpPr/>
            <p:nvPr/>
          </p:nvSpPr>
          <p:spPr>
            <a:xfrm>
              <a:off x="5184348" y="4913975"/>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049 w 36004"/>
                <a:gd name="connsiteY5" fmla="*/ 9267 h 17597"/>
                <a:gd name="connsiteX6" fmla="*/ 35668 w 36004"/>
                <a:gd name="connsiteY6" fmla="*/ 6981 h 17597"/>
                <a:gd name="connsiteX7" fmla="*/ 35668 w 36004"/>
                <a:gd name="connsiteY7" fmla="*/ -163 h 17597"/>
                <a:gd name="connsiteX8" fmla="*/ 34049 w 36004"/>
                <a:gd name="connsiteY8" fmla="*/ 2123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3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049" y="9267"/>
                  </a:lnTo>
                  <a:cubicBezTo>
                    <a:pt x="34963" y="8857"/>
                    <a:pt x="35582" y="7981"/>
                    <a:pt x="35668" y="6981"/>
                  </a:cubicBezTo>
                  <a:lnTo>
                    <a:pt x="35668" y="-163"/>
                  </a:lnTo>
                  <a:cubicBezTo>
                    <a:pt x="35602" y="847"/>
                    <a:pt x="34973" y="1733"/>
                    <a:pt x="34049" y="2123"/>
                  </a:cubicBezTo>
                  <a:lnTo>
                    <a:pt x="31763" y="3457"/>
                  </a:lnTo>
                  <a:lnTo>
                    <a:pt x="21476" y="9362"/>
                  </a:lnTo>
                  <a:cubicBezTo>
                    <a:pt x="19085" y="10601"/>
                    <a:pt x="16247" y="10601"/>
                    <a:pt x="13856" y="9362"/>
                  </a:cubicBezTo>
                  <a:lnTo>
                    <a:pt x="3569" y="3457"/>
                  </a:lnTo>
                  <a:lnTo>
                    <a:pt x="1188"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431" name="îşlíďe">
              <a:extLst>
                <a:ext uri="{FF2B5EF4-FFF2-40B4-BE49-F238E27FC236}">
                  <a16:creationId xmlns:a16="http://schemas.microsoft.com/office/drawing/2014/main" id="{09705C81-FB46-42C1-860F-A5CC0A3B53A9}"/>
                </a:ext>
              </a:extLst>
            </p:cNvPr>
            <p:cNvSpPr/>
            <p:nvPr/>
          </p:nvSpPr>
          <p:spPr>
            <a:xfrm>
              <a:off x="5262343" y="4925935"/>
              <a:ext cx="109362" cy="63588"/>
            </a:xfrm>
            <a:custGeom>
              <a:avLst/>
              <a:gdLst>
                <a:gd name="connsiteX0" fmla="*/ -336 w 35928"/>
                <a:gd name="connsiteY0" fmla="*/ 10291 h 20890"/>
                <a:gd name="connsiteX1" fmla="*/ 1188 w 35928"/>
                <a:gd name="connsiteY1" fmla="*/ 12482 h 20890"/>
                <a:gd name="connsiteX2" fmla="*/ 3569 w 35928"/>
                <a:gd name="connsiteY2" fmla="*/ 13911 h 20890"/>
                <a:gd name="connsiteX3" fmla="*/ 13856 w 35928"/>
                <a:gd name="connsiteY3" fmla="*/ 19721 h 20890"/>
                <a:gd name="connsiteX4" fmla="*/ 21476 w 35928"/>
                <a:gd name="connsiteY4" fmla="*/ 19721 h 20890"/>
                <a:gd name="connsiteX5" fmla="*/ 31763 w 35928"/>
                <a:gd name="connsiteY5" fmla="*/ 13911 h 20890"/>
                <a:gd name="connsiteX6" fmla="*/ 34144 w 35928"/>
                <a:gd name="connsiteY6" fmla="*/ 12482 h 20890"/>
                <a:gd name="connsiteX7" fmla="*/ 35401 w 35928"/>
                <a:gd name="connsiteY7" fmla="*/ 9357 h 20890"/>
                <a:gd name="connsiteX8" fmla="*/ 34144 w 35928"/>
                <a:gd name="connsiteY8" fmla="*/ 8100 h 20890"/>
                <a:gd name="connsiteX9" fmla="*/ 21476 w 35928"/>
                <a:gd name="connsiteY9" fmla="*/ 766 h 20890"/>
                <a:gd name="connsiteX10" fmla="*/ 13856 w 35928"/>
                <a:gd name="connsiteY10" fmla="*/ 766 h 20890"/>
                <a:gd name="connsiteX11" fmla="*/ 1188 w 35928"/>
                <a:gd name="connsiteY11" fmla="*/ 8100 h 20890"/>
                <a:gd name="connsiteX12" fmla="*/ -336 w 35928"/>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928" h="20890">
                  <a:moveTo>
                    <a:pt x="-336" y="10291"/>
                  </a:moveTo>
                  <a:cubicBezTo>
                    <a:pt x="-298" y="11253"/>
                    <a:pt x="292" y="12110"/>
                    <a:pt x="1188" y="12482"/>
                  </a:cubicBezTo>
                  <a:lnTo>
                    <a:pt x="3569" y="13911"/>
                  </a:lnTo>
                  <a:lnTo>
                    <a:pt x="13856" y="19721"/>
                  </a:lnTo>
                  <a:cubicBezTo>
                    <a:pt x="16218" y="21064"/>
                    <a:pt x="19114" y="21064"/>
                    <a:pt x="21476" y="19721"/>
                  </a:cubicBezTo>
                  <a:lnTo>
                    <a:pt x="31763" y="13911"/>
                  </a:lnTo>
                  <a:lnTo>
                    <a:pt x="34144" y="12482"/>
                  </a:lnTo>
                  <a:cubicBezTo>
                    <a:pt x="35354" y="11967"/>
                    <a:pt x="35916" y="10567"/>
                    <a:pt x="35401" y="9357"/>
                  </a:cubicBezTo>
                  <a:cubicBezTo>
                    <a:pt x="35163" y="8796"/>
                    <a:pt x="34706" y="8338"/>
                    <a:pt x="34144" y="8100"/>
                  </a:cubicBezTo>
                  <a:lnTo>
                    <a:pt x="21476" y="766"/>
                  </a:lnTo>
                  <a:cubicBezTo>
                    <a:pt x="19085" y="-472"/>
                    <a:pt x="16247" y="-472"/>
                    <a:pt x="13856" y="766"/>
                  </a:cubicBezTo>
                  <a:lnTo>
                    <a:pt x="1188" y="8100"/>
                  </a:lnTo>
                  <a:cubicBezTo>
                    <a:pt x="292" y="8472"/>
                    <a:pt x="-298"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432" name="ísľîḓè">
              <a:extLst>
                <a:ext uri="{FF2B5EF4-FFF2-40B4-BE49-F238E27FC236}">
                  <a16:creationId xmlns:a16="http://schemas.microsoft.com/office/drawing/2014/main" id="{DD78716F-A8A6-4B09-9E0D-47026981A03D}"/>
                </a:ext>
              </a:extLst>
            </p:cNvPr>
            <p:cNvSpPr/>
            <p:nvPr/>
          </p:nvSpPr>
          <p:spPr>
            <a:xfrm>
              <a:off x="5264154" y="4927094"/>
              <a:ext cx="105895" cy="61101"/>
            </a:xfrm>
            <a:custGeom>
              <a:avLst/>
              <a:gdLst>
                <a:gd name="connsiteX0" fmla="*/ 1164 w 34789"/>
                <a:gd name="connsiteY0" fmla="*/ 12006 h 20073"/>
                <a:gd name="connsiteX1" fmla="*/ 13356 w 34789"/>
                <a:gd name="connsiteY1" fmla="*/ 19054 h 20073"/>
                <a:gd name="connsiteX2" fmla="*/ 20785 w 34789"/>
                <a:gd name="connsiteY2" fmla="*/ 19054 h 20073"/>
                <a:gd name="connsiteX3" fmla="*/ 32882 w 34789"/>
                <a:gd name="connsiteY3" fmla="*/ 12006 h 20073"/>
                <a:gd name="connsiteX4" fmla="*/ 32882 w 34789"/>
                <a:gd name="connsiteY4" fmla="*/ 7719 h 20073"/>
                <a:gd name="connsiteX5" fmla="*/ 20785 w 34789"/>
                <a:gd name="connsiteY5" fmla="*/ 766 h 20073"/>
                <a:gd name="connsiteX6" fmla="*/ 13356 w 34789"/>
                <a:gd name="connsiteY6" fmla="*/ 766 h 20073"/>
                <a:gd name="connsiteX7" fmla="*/ 1164 w 34789"/>
                <a:gd name="connsiteY7" fmla="*/ 7719 h 20073"/>
                <a:gd name="connsiteX8" fmla="*/ 1164 w 34789"/>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89" h="20073">
                  <a:moveTo>
                    <a:pt x="1164" y="12006"/>
                  </a:moveTo>
                  <a:lnTo>
                    <a:pt x="13356" y="19054"/>
                  </a:lnTo>
                  <a:cubicBezTo>
                    <a:pt x="15699" y="20197"/>
                    <a:pt x="18442" y="20197"/>
                    <a:pt x="20785" y="19054"/>
                  </a:cubicBezTo>
                  <a:lnTo>
                    <a:pt x="32882" y="12006"/>
                  </a:lnTo>
                  <a:cubicBezTo>
                    <a:pt x="34977" y="10862"/>
                    <a:pt x="34977" y="8958"/>
                    <a:pt x="32882" y="7719"/>
                  </a:cubicBezTo>
                  <a:lnTo>
                    <a:pt x="20785" y="766"/>
                  </a:lnTo>
                  <a:cubicBezTo>
                    <a:pt x="18461" y="-472"/>
                    <a:pt x="15680" y="-472"/>
                    <a:pt x="13356" y="766"/>
                  </a:cubicBezTo>
                  <a:lnTo>
                    <a:pt x="1164" y="7719"/>
                  </a:lnTo>
                  <a:cubicBezTo>
                    <a:pt x="-836" y="8958"/>
                    <a:pt x="-836" y="10862"/>
                    <a:pt x="1164" y="12006"/>
                  </a:cubicBezTo>
                  <a:close/>
                </a:path>
              </a:pathLst>
            </a:custGeom>
            <a:solidFill>
              <a:srgbClr val="D1D9E8"/>
            </a:solidFill>
            <a:ln w="9525" cap="flat">
              <a:noFill/>
              <a:prstDash val="solid"/>
              <a:miter/>
            </a:ln>
          </p:spPr>
          <p:txBody>
            <a:bodyPr rtlCol="0" anchor="ctr"/>
            <a:lstStyle/>
            <a:p>
              <a:endParaRPr lang="zh-CN" altLang="en-US"/>
            </a:p>
          </p:txBody>
        </p:sp>
        <p:sp>
          <p:nvSpPr>
            <p:cNvPr id="433" name="ïşḷíďé">
              <a:extLst>
                <a:ext uri="{FF2B5EF4-FFF2-40B4-BE49-F238E27FC236}">
                  <a16:creationId xmlns:a16="http://schemas.microsoft.com/office/drawing/2014/main" id="{AEDE6E8F-6539-43C6-85BD-64CCF4CD5F13}"/>
                </a:ext>
              </a:extLst>
            </p:cNvPr>
            <p:cNvSpPr/>
            <p:nvPr/>
          </p:nvSpPr>
          <p:spPr>
            <a:xfrm>
              <a:off x="5262343" y="4957756"/>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028 h 17597"/>
                <a:gd name="connsiteX9" fmla="*/ 31763 w 36004"/>
                <a:gd name="connsiteY9" fmla="*/ 3457 h 17597"/>
                <a:gd name="connsiteX10" fmla="*/ 21476 w 36004"/>
                <a:gd name="connsiteY10" fmla="*/ 9267 h 17597"/>
                <a:gd name="connsiteX11" fmla="*/ 13856 w 36004"/>
                <a:gd name="connsiteY11" fmla="*/ 9267 h 17597"/>
                <a:gd name="connsiteX12" fmla="*/ 3569 w 36004"/>
                <a:gd name="connsiteY12" fmla="*/ 3457 h 17597"/>
                <a:gd name="connsiteX13" fmla="*/ 1188 w 36004"/>
                <a:gd name="connsiteY13" fmla="*/ 2028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2" y="7953"/>
                    <a:pt x="35668" y="6981"/>
                  </a:cubicBezTo>
                  <a:lnTo>
                    <a:pt x="35668" y="-163"/>
                  </a:lnTo>
                  <a:cubicBezTo>
                    <a:pt x="35630" y="799"/>
                    <a:pt x="35039" y="1656"/>
                    <a:pt x="34144" y="2028"/>
                  </a:cubicBezTo>
                  <a:lnTo>
                    <a:pt x="31763" y="3457"/>
                  </a:lnTo>
                  <a:lnTo>
                    <a:pt x="21476" y="9267"/>
                  </a:lnTo>
                  <a:cubicBezTo>
                    <a:pt x="19114" y="10610"/>
                    <a:pt x="16218" y="10610"/>
                    <a:pt x="13856" y="9267"/>
                  </a:cubicBezTo>
                  <a:lnTo>
                    <a:pt x="3569" y="3457"/>
                  </a:lnTo>
                  <a:lnTo>
                    <a:pt x="1188" y="2028"/>
                  </a:lnTo>
                  <a:cubicBezTo>
                    <a:pt x="292" y="1656"/>
                    <a:pt x="-298" y="799"/>
                    <a:pt x="-336" y="-163"/>
                  </a:cubicBezTo>
                  <a:close/>
                </a:path>
              </a:pathLst>
            </a:custGeom>
            <a:solidFill>
              <a:srgbClr val="BF4200"/>
            </a:solidFill>
            <a:ln w="9525" cap="flat">
              <a:noFill/>
              <a:prstDash val="solid"/>
              <a:miter/>
            </a:ln>
          </p:spPr>
          <p:txBody>
            <a:bodyPr rtlCol="0" anchor="ctr"/>
            <a:lstStyle/>
            <a:p>
              <a:endParaRPr lang="zh-CN" altLang="en-US"/>
            </a:p>
          </p:txBody>
        </p:sp>
        <p:sp>
          <p:nvSpPr>
            <p:cNvPr id="434" name="îṩľïḑè">
              <a:extLst>
                <a:ext uri="{FF2B5EF4-FFF2-40B4-BE49-F238E27FC236}">
                  <a16:creationId xmlns:a16="http://schemas.microsoft.com/office/drawing/2014/main" id="{5F829971-8216-44CA-B71E-C5E50CFB3FDC}"/>
                </a:ext>
              </a:extLst>
            </p:cNvPr>
            <p:cNvSpPr/>
            <p:nvPr/>
          </p:nvSpPr>
          <p:spPr>
            <a:xfrm>
              <a:off x="5339464" y="4970583"/>
              <a:ext cx="109594" cy="63588"/>
            </a:xfrm>
            <a:custGeom>
              <a:avLst/>
              <a:gdLst>
                <a:gd name="connsiteX0" fmla="*/ -336 w 36004"/>
                <a:gd name="connsiteY0" fmla="*/ 10291 h 20890"/>
                <a:gd name="connsiteX1" fmla="*/ 1283 w 36004"/>
                <a:gd name="connsiteY1" fmla="*/ 12482 h 20890"/>
                <a:gd name="connsiteX2" fmla="*/ 3569 w 36004"/>
                <a:gd name="connsiteY2" fmla="*/ 13815 h 20890"/>
                <a:gd name="connsiteX3" fmla="*/ 13856 w 36004"/>
                <a:gd name="connsiteY3" fmla="*/ 19721 h 20890"/>
                <a:gd name="connsiteX4" fmla="*/ 21571 w 36004"/>
                <a:gd name="connsiteY4" fmla="*/ 19721 h 20890"/>
                <a:gd name="connsiteX5" fmla="*/ 31858 w 36004"/>
                <a:gd name="connsiteY5" fmla="*/ 13815 h 20890"/>
                <a:gd name="connsiteX6" fmla="*/ 34144 w 36004"/>
                <a:gd name="connsiteY6" fmla="*/ 12482 h 20890"/>
                <a:gd name="connsiteX7" fmla="*/ 35668 w 36004"/>
                <a:gd name="connsiteY7" fmla="*/ 10291 h 20890"/>
                <a:gd name="connsiteX8" fmla="*/ 34144 w 36004"/>
                <a:gd name="connsiteY8" fmla="*/ 8005 h 20890"/>
                <a:gd name="connsiteX9" fmla="*/ 21571 w 36004"/>
                <a:gd name="connsiteY9" fmla="*/ 766 h 20890"/>
                <a:gd name="connsiteX10" fmla="*/ 13856 w 36004"/>
                <a:gd name="connsiteY10" fmla="*/ 766 h 20890"/>
                <a:gd name="connsiteX11" fmla="*/ 1283 w 36004"/>
                <a:gd name="connsiteY11" fmla="*/ 8005 h 20890"/>
                <a:gd name="connsiteX12" fmla="*/ -336 w 36004"/>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291"/>
                  </a:moveTo>
                  <a:cubicBezTo>
                    <a:pt x="-260" y="11272"/>
                    <a:pt x="369" y="12120"/>
                    <a:pt x="1283" y="12482"/>
                  </a:cubicBezTo>
                  <a:lnTo>
                    <a:pt x="3569" y="13815"/>
                  </a:lnTo>
                  <a:lnTo>
                    <a:pt x="13856" y="19721"/>
                  </a:lnTo>
                  <a:cubicBezTo>
                    <a:pt x="16256" y="21064"/>
                    <a:pt x="19171" y="21064"/>
                    <a:pt x="21571" y="19721"/>
                  </a:cubicBezTo>
                  <a:lnTo>
                    <a:pt x="31858" y="13815"/>
                  </a:lnTo>
                  <a:lnTo>
                    <a:pt x="34144" y="12482"/>
                  </a:lnTo>
                  <a:cubicBezTo>
                    <a:pt x="35021" y="12091"/>
                    <a:pt x="35611" y="11253"/>
                    <a:pt x="35668" y="10291"/>
                  </a:cubicBezTo>
                  <a:cubicBezTo>
                    <a:pt x="35601" y="9310"/>
                    <a:pt x="35021" y="8443"/>
                    <a:pt x="34144" y="8005"/>
                  </a:cubicBezTo>
                  <a:lnTo>
                    <a:pt x="21571" y="766"/>
                  </a:lnTo>
                  <a:cubicBezTo>
                    <a:pt x="19152" y="-472"/>
                    <a:pt x="16275" y="-472"/>
                    <a:pt x="13856" y="766"/>
                  </a:cubicBezTo>
                  <a:lnTo>
                    <a:pt x="1283" y="8005"/>
                  </a:lnTo>
                  <a:cubicBezTo>
                    <a:pt x="349" y="8396"/>
                    <a:pt x="-270" y="9281"/>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435" name="iṡḷïḋê">
              <a:extLst>
                <a:ext uri="{FF2B5EF4-FFF2-40B4-BE49-F238E27FC236}">
                  <a16:creationId xmlns:a16="http://schemas.microsoft.com/office/drawing/2014/main" id="{CB12A6D4-BD44-419A-A0F7-4C3DF827ED1C}"/>
                </a:ext>
              </a:extLst>
            </p:cNvPr>
            <p:cNvSpPr/>
            <p:nvPr/>
          </p:nvSpPr>
          <p:spPr>
            <a:xfrm>
              <a:off x="5341348" y="4971743"/>
              <a:ext cx="105898" cy="61104"/>
            </a:xfrm>
            <a:custGeom>
              <a:avLst/>
              <a:gdLst>
                <a:gd name="connsiteX0" fmla="*/ 1235 w 34790"/>
                <a:gd name="connsiteY0" fmla="*/ 12006 h 20074"/>
                <a:gd name="connsiteX1" fmla="*/ 13332 w 34790"/>
                <a:gd name="connsiteY1" fmla="*/ 19054 h 20074"/>
                <a:gd name="connsiteX2" fmla="*/ 20762 w 34790"/>
                <a:gd name="connsiteY2" fmla="*/ 19054 h 20074"/>
                <a:gd name="connsiteX3" fmla="*/ 32954 w 34790"/>
                <a:gd name="connsiteY3" fmla="*/ 12006 h 20074"/>
                <a:gd name="connsiteX4" fmla="*/ 32954 w 34790"/>
                <a:gd name="connsiteY4" fmla="*/ 7719 h 20074"/>
                <a:gd name="connsiteX5" fmla="*/ 20762 w 34790"/>
                <a:gd name="connsiteY5" fmla="*/ 766 h 20074"/>
                <a:gd name="connsiteX6" fmla="*/ 13332 w 34790"/>
                <a:gd name="connsiteY6" fmla="*/ 766 h 20074"/>
                <a:gd name="connsiteX7" fmla="*/ 1235 w 34790"/>
                <a:gd name="connsiteY7" fmla="*/ 7719 h 20074"/>
                <a:gd name="connsiteX8" fmla="*/ 1235 w 34790"/>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4">
                  <a:moveTo>
                    <a:pt x="1235" y="12006"/>
                  </a:moveTo>
                  <a:lnTo>
                    <a:pt x="13332" y="19054"/>
                  </a:lnTo>
                  <a:cubicBezTo>
                    <a:pt x="15675" y="20197"/>
                    <a:pt x="18419" y="20197"/>
                    <a:pt x="20762" y="19054"/>
                  </a:cubicBezTo>
                  <a:lnTo>
                    <a:pt x="32954" y="12006"/>
                  </a:lnTo>
                  <a:cubicBezTo>
                    <a:pt x="34954" y="10863"/>
                    <a:pt x="34954" y="8958"/>
                    <a:pt x="32954" y="7719"/>
                  </a:cubicBezTo>
                  <a:lnTo>
                    <a:pt x="20762" y="766"/>
                  </a:lnTo>
                  <a:cubicBezTo>
                    <a:pt x="18437" y="-472"/>
                    <a:pt x="15656" y="-472"/>
                    <a:pt x="13332" y="766"/>
                  </a:cubicBezTo>
                  <a:lnTo>
                    <a:pt x="1235" y="7719"/>
                  </a:lnTo>
                  <a:cubicBezTo>
                    <a:pt x="-860" y="9434"/>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436" name="iṡļïḓê">
              <a:extLst>
                <a:ext uri="{FF2B5EF4-FFF2-40B4-BE49-F238E27FC236}">
                  <a16:creationId xmlns:a16="http://schemas.microsoft.com/office/drawing/2014/main" id="{C845C938-0F02-4FEB-AA52-ECAD1719826C}"/>
                </a:ext>
              </a:extLst>
            </p:cNvPr>
            <p:cNvSpPr/>
            <p:nvPr/>
          </p:nvSpPr>
          <p:spPr>
            <a:xfrm>
              <a:off x="5339464" y="5001244"/>
              <a:ext cx="110464" cy="54724"/>
            </a:xfrm>
            <a:custGeom>
              <a:avLst/>
              <a:gdLst>
                <a:gd name="connsiteX0" fmla="*/ -336 w 36290"/>
                <a:gd name="connsiteY0" fmla="*/ 218 h 17978"/>
                <a:gd name="connsiteX1" fmla="*/ -336 w 36290"/>
                <a:gd name="connsiteY1" fmla="*/ 7362 h 17978"/>
                <a:gd name="connsiteX2" fmla="*/ 1283 w 36290"/>
                <a:gd name="connsiteY2" fmla="*/ 9648 h 17978"/>
                <a:gd name="connsiteX3" fmla="*/ 13856 w 36290"/>
                <a:gd name="connsiteY3" fmla="*/ 16887 h 17978"/>
                <a:gd name="connsiteX4" fmla="*/ 21571 w 36290"/>
                <a:gd name="connsiteY4" fmla="*/ 16887 h 17978"/>
                <a:gd name="connsiteX5" fmla="*/ 34430 w 36290"/>
                <a:gd name="connsiteY5" fmla="*/ 9267 h 17978"/>
                <a:gd name="connsiteX6" fmla="*/ 35954 w 36290"/>
                <a:gd name="connsiteY6" fmla="*/ 6981 h 17978"/>
                <a:gd name="connsiteX7" fmla="*/ 35954 w 36290"/>
                <a:gd name="connsiteY7" fmla="*/ -163 h 17978"/>
                <a:gd name="connsiteX8" fmla="*/ 34430 w 36290"/>
                <a:gd name="connsiteY8" fmla="*/ 2028 h 17978"/>
                <a:gd name="connsiteX9" fmla="*/ 32144 w 36290"/>
                <a:gd name="connsiteY9" fmla="*/ 3362 h 17978"/>
                <a:gd name="connsiteX10" fmla="*/ 21857 w 36290"/>
                <a:gd name="connsiteY10" fmla="*/ 9267 h 17978"/>
                <a:gd name="connsiteX11" fmla="*/ 14142 w 36290"/>
                <a:gd name="connsiteY11" fmla="*/ 9267 h 17978"/>
                <a:gd name="connsiteX12" fmla="*/ 3855 w 36290"/>
                <a:gd name="connsiteY12" fmla="*/ 3362 h 17978"/>
                <a:gd name="connsiteX13" fmla="*/ 1568 w 36290"/>
                <a:gd name="connsiteY13" fmla="*/ 2028 h 17978"/>
                <a:gd name="connsiteX14" fmla="*/ -336 w 36290"/>
                <a:gd name="connsiteY14" fmla="*/ 218 h 17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290" h="17978">
                  <a:moveTo>
                    <a:pt x="-336" y="218"/>
                  </a:moveTo>
                  <a:lnTo>
                    <a:pt x="-336" y="7362"/>
                  </a:lnTo>
                  <a:cubicBezTo>
                    <a:pt x="-270" y="8372"/>
                    <a:pt x="359" y="9257"/>
                    <a:pt x="1283" y="9648"/>
                  </a:cubicBezTo>
                  <a:lnTo>
                    <a:pt x="13856" y="16887"/>
                  </a:lnTo>
                  <a:cubicBezTo>
                    <a:pt x="16275" y="18125"/>
                    <a:pt x="19152" y="18125"/>
                    <a:pt x="21571" y="16887"/>
                  </a:cubicBezTo>
                  <a:lnTo>
                    <a:pt x="34430" y="9267"/>
                  </a:lnTo>
                  <a:cubicBezTo>
                    <a:pt x="35297" y="8819"/>
                    <a:pt x="35868" y="7953"/>
                    <a:pt x="35954" y="6981"/>
                  </a:cubicBezTo>
                  <a:lnTo>
                    <a:pt x="35954" y="-163"/>
                  </a:lnTo>
                  <a:cubicBezTo>
                    <a:pt x="35897" y="799"/>
                    <a:pt x="35306" y="1638"/>
                    <a:pt x="34430" y="2028"/>
                  </a:cubicBezTo>
                  <a:lnTo>
                    <a:pt x="32144" y="3362"/>
                  </a:lnTo>
                  <a:lnTo>
                    <a:pt x="21857" y="9267"/>
                  </a:lnTo>
                  <a:cubicBezTo>
                    <a:pt x="19457" y="10610"/>
                    <a:pt x="16542" y="10610"/>
                    <a:pt x="14142" y="9267"/>
                  </a:cubicBezTo>
                  <a:lnTo>
                    <a:pt x="3855" y="3362"/>
                  </a:lnTo>
                  <a:lnTo>
                    <a:pt x="1568" y="2028"/>
                  </a:lnTo>
                  <a:cubicBezTo>
                    <a:pt x="654" y="1818"/>
                    <a:pt x="-79" y="1123"/>
                    <a:pt x="-336" y="218"/>
                  </a:cubicBezTo>
                  <a:close/>
                </a:path>
              </a:pathLst>
            </a:custGeom>
            <a:solidFill>
              <a:srgbClr val="BF4200"/>
            </a:solidFill>
            <a:ln w="9525" cap="flat">
              <a:noFill/>
              <a:prstDash val="solid"/>
              <a:miter/>
            </a:ln>
          </p:spPr>
          <p:txBody>
            <a:bodyPr rtlCol="0" anchor="ctr"/>
            <a:lstStyle/>
            <a:p>
              <a:endParaRPr lang="zh-CN" altLang="en-US"/>
            </a:p>
          </p:txBody>
        </p:sp>
        <p:sp>
          <p:nvSpPr>
            <p:cNvPr id="437" name="ïṩḻîḓè">
              <a:extLst>
                <a:ext uri="{FF2B5EF4-FFF2-40B4-BE49-F238E27FC236}">
                  <a16:creationId xmlns:a16="http://schemas.microsoft.com/office/drawing/2014/main" id="{606B5032-DA7B-4B93-8EAE-68071B5D4582}"/>
                </a:ext>
              </a:extLst>
            </p:cNvPr>
            <p:cNvSpPr/>
            <p:nvPr/>
          </p:nvSpPr>
          <p:spPr>
            <a:xfrm>
              <a:off x="5416296" y="5015234"/>
              <a:ext cx="109594" cy="63588"/>
            </a:xfrm>
            <a:custGeom>
              <a:avLst/>
              <a:gdLst>
                <a:gd name="connsiteX0" fmla="*/ -336 w 36004"/>
                <a:gd name="connsiteY0" fmla="*/ 10196 h 20890"/>
                <a:gd name="connsiteX1" fmla="*/ 1188 w 36004"/>
                <a:gd name="connsiteY1" fmla="*/ 12482 h 20890"/>
                <a:gd name="connsiteX2" fmla="*/ 3569 w 36004"/>
                <a:gd name="connsiteY2" fmla="*/ 13815 h 20890"/>
                <a:gd name="connsiteX3" fmla="*/ 13856 w 36004"/>
                <a:gd name="connsiteY3" fmla="*/ 19721 h 20890"/>
                <a:gd name="connsiteX4" fmla="*/ 21476 w 36004"/>
                <a:gd name="connsiteY4" fmla="*/ 19721 h 20890"/>
                <a:gd name="connsiteX5" fmla="*/ 31763 w 36004"/>
                <a:gd name="connsiteY5" fmla="*/ 13815 h 20890"/>
                <a:gd name="connsiteX6" fmla="*/ 34144 w 36004"/>
                <a:gd name="connsiteY6" fmla="*/ 12482 h 20890"/>
                <a:gd name="connsiteX7" fmla="*/ 35668 w 36004"/>
                <a:gd name="connsiteY7" fmla="*/ 10196 h 20890"/>
                <a:gd name="connsiteX8" fmla="*/ 34144 w 36004"/>
                <a:gd name="connsiteY8" fmla="*/ 8005 h 20890"/>
                <a:gd name="connsiteX9" fmla="*/ 21476 w 36004"/>
                <a:gd name="connsiteY9" fmla="*/ 766 h 20890"/>
                <a:gd name="connsiteX10" fmla="*/ 13856 w 36004"/>
                <a:gd name="connsiteY10" fmla="*/ 766 h 20890"/>
                <a:gd name="connsiteX11" fmla="*/ 1188 w 36004"/>
                <a:gd name="connsiteY11" fmla="*/ 8005 h 20890"/>
                <a:gd name="connsiteX12" fmla="*/ -336 w 36004"/>
                <a:gd name="connsiteY12" fmla="*/ 10196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196"/>
                  </a:moveTo>
                  <a:cubicBezTo>
                    <a:pt x="-308" y="11186"/>
                    <a:pt x="283" y="12082"/>
                    <a:pt x="1188" y="12482"/>
                  </a:cubicBezTo>
                  <a:lnTo>
                    <a:pt x="3569" y="13815"/>
                  </a:lnTo>
                  <a:lnTo>
                    <a:pt x="13856" y="19721"/>
                  </a:lnTo>
                  <a:cubicBezTo>
                    <a:pt x="16218" y="21064"/>
                    <a:pt x="19114" y="21064"/>
                    <a:pt x="21476" y="19721"/>
                  </a:cubicBezTo>
                  <a:lnTo>
                    <a:pt x="31763" y="13815"/>
                  </a:lnTo>
                  <a:lnTo>
                    <a:pt x="34144" y="12482"/>
                  </a:lnTo>
                  <a:cubicBezTo>
                    <a:pt x="35049" y="12082"/>
                    <a:pt x="35640" y="11186"/>
                    <a:pt x="35668" y="10196"/>
                  </a:cubicBezTo>
                  <a:cubicBezTo>
                    <a:pt x="35573" y="9253"/>
                    <a:pt x="34992" y="8424"/>
                    <a:pt x="34144" y="8005"/>
                  </a:cubicBezTo>
                  <a:lnTo>
                    <a:pt x="21476" y="766"/>
                  </a:lnTo>
                  <a:cubicBezTo>
                    <a:pt x="19085" y="-472"/>
                    <a:pt x="16247" y="-472"/>
                    <a:pt x="13856" y="766"/>
                  </a:cubicBezTo>
                  <a:lnTo>
                    <a:pt x="1188" y="8005"/>
                  </a:lnTo>
                  <a:cubicBezTo>
                    <a:pt x="340" y="8424"/>
                    <a:pt x="-241" y="925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438" name="í$1ïḓe">
              <a:extLst>
                <a:ext uri="{FF2B5EF4-FFF2-40B4-BE49-F238E27FC236}">
                  <a16:creationId xmlns:a16="http://schemas.microsoft.com/office/drawing/2014/main" id="{05EF6578-88DD-4ECA-969E-060E0439502F}"/>
                </a:ext>
              </a:extLst>
            </p:cNvPr>
            <p:cNvSpPr/>
            <p:nvPr/>
          </p:nvSpPr>
          <p:spPr>
            <a:xfrm>
              <a:off x="5419008" y="5016394"/>
              <a:ext cx="105329" cy="61101"/>
            </a:xfrm>
            <a:custGeom>
              <a:avLst/>
              <a:gdLst>
                <a:gd name="connsiteX0" fmla="*/ 1154 w 34603"/>
                <a:gd name="connsiteY0" fmla="*/ 12006 h 20073"/>
                <a:gd name="connsiteX1" fmla="*/ 13250 w 34603"/>
                <a:gd name="connsiteY1" fmla="*/ 19054 h 20073"/>
                <a:gd name="connsiteX2" fmla="*/ 20680 w 34603"/>
                <a:gd name="connsiteY2" fmla="*/ 19054 h 20073"/>
                <a:gd name="connsiteX3" fmla="*/ 32777 w 34603"/>
                <a:gd name="connsiteY3" fmla="*/ 12006 h 20073"/>
                <a:gd name="connsiteX4" fmla="*/ 34120 w 34603"/>
                <a:gd name="connsiteY4" fmla="*/ 9062 h 20073"/>
                <a:gd name="connsiteX5" fmla="*/ 32777 w 34603"/>
                <a:gd name="connsiteY5" fmla="*/ 7719 h 20073"/>
                <a:gd name="connsiteX6" fmla="*/ 20680 w 34603"/>
                <a:gd name="connsiteY6" fmla="*/ 766 h 20073"/>
                <a:gd name="connsiteX7" fmla="*/ 13250 w 34603"/>
                <a:gd name="connsiteY7" fmla="*/ 766 h 20073"/>
                <a:gd name="connsiteX8" fmla="*/ 1154 w 34603"/>
                <a:gd name="connsiteY8" fmla="*/ 7719 h 20073"/>
                <a:gd name="connsiteX9" fmla="*/ -189 w 34603"/>
                <a:gd name="connsiteY9" fmla="*/ 10653 h 20073"/>
                <a:gd name="connsiteX10" fmla="*/ 1154 w 34603"/>
                <a:gd name="connsiteY10"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603" h="20073">
                  <a:moveTo>
                    <a:pt x="1154" y="12006"/>
                  </a:moveTo>
                  <a:lnTo>
                    <a:pt x="13250" y="19054"/>
                  </a:lnTo>
                  <a:cubicBezTo>
                    <a:pt x="15594" y="20197"/>
                    <a:pt x="18337" y="20197"/>
                    <a:pt x="20680" y="19054"/>
                  </a:cubicBezTo>
                  <a:lnTo>
                    <a:pt x="32777" y="12006"/>
                  </a:lnTo>
                  <a:cubicBezTo>
                    <a:pt x="33958" y="11567"/>
                    <a:pt x="34567" y="10253"/>
                    <a:pt x="34120" y="9062"/>
                  </a:cubicBezTo>
                  <a:cubicBezTo>
                    <a:pt x="33891" y="8443"/>
                    <a:pt x="33396" y="7948"/>
                    <a:pt x="32777" y="7719"/>
                  </a:cubicBezTo>
                  <a:lnTo>
                    <a:pt x="20680" y="766"/>
                  </a:lnTo>
                  <a:cubicBezTo>
                    <a:pt x="18356" y="-472"/>
                    <a:pt x="15575" y="-472"/>
                    <a:pt x="13250" y="766"/>
                  </a:cubicBezTo>
                  <a:lnTo>
                    <a:pt x="1154" y="7719"/>
                  </a:lnTo>
                  <a:cubicBezTo>
                    <a:pt x="-27" y="8158"/>
                    <a:pt x="-637" y="9472"/>
                    <a:pt x="-189" y="10653"/>
                  </a:cubicBezTo>
                  <a:cubicBezTo>
                    <a:pt x="39" y="11282"/>
                    <a:pt x="535" y="11777"/>
                    <a:pt x="1154" y="12006"/>
                  </a:cubicBezTo>
                  <a:close/>
                </a:path>
              </a:pathLst>
            </a:custGeom>
            <a:solidFill>
              <a:srgbClr val="D1D9E8"/>
            </a:solidFill>
            <a:ln w="9525" cap="flat">
              <a:noFill/>
              <a:prstDash val="solid"/>
              <a:miter/>
            </a:ln>
          </p:spPr>
          <p:txBody>
            <a:bodyPr rtlCol="0" anchor="ctr"/>
            <a:lstStyle/>
            <a:p>
              <a:endParaRPr lang="zh-CN" altLang="en-US"/>
            </a:p>
          </p:txBody>
        </p:sp>
        <p:sp>
          <p:nvSpPr>
            <p:cNvPr id="439" name="iṥ1îḓè">
              <a:extLst>
                <a:ext uri="{FF2B5EF4-FFF2-40B4-BE49-F238E27FC236}">
                  <a16:creationId xmlns:a16="http://schemas.microsoft.com/office/drawing/2014/main" id="{9331ABC1-3423-474F-8A60-7A388A042AD3}"/>
                </a:ext>
              </a:extLst>
            </p:cNvPr>
            <p:cNvSpPr/>
            <p:nvPr/>
          </p:nvSpPr>
          <p:spPr>
            <a:xfrm>
              <a:off x="5416296" y="5046763"/>
              <a:ext cx="109594" cy="53804"/>
            </a:xfrm>
            <a:custGeom>
              <a:avLst/>
              <a:gdLst>
                <a:gd name="connsiteX0" fmla="*/ -336 w 36004"/>
                <a:gd name="connsiteY0" fmla="*/ -163 h 17676"/>
                <a:gd name="connsiteX1" fmla="*/ -336 w 36004"/>
                <a:gd name="connsiteY1" fmla="*/ 7076 h 17676"/>
                <a:gd name="connsiteX2" fmla="*/ 1188 w 36004"/>
                <a:gd name="connsiteY2" fmla="*/ 9267 h 17676"/>
                <a:gd name="connsiteX3" fmla="*/ 13856 w 36004"/>
                <a:gd name="connsiteY3" fmla="*/ 16506 h 17676"/>
                <a:gd name="connsiteX4" fmla="*/ 21476 w 36004"/>
                <a:gd name="connsiteY4" fmla="*/ 16506 h 17676"/>
                <a:gd name="connsiteX5" fmla="*/ 34144 w 36004"/>
                <a:gd name="connsiteY5" fmla="*/ 9267 h 17676"/>
                <a:gd name="connsiteX6" fmla="*/ 35668 w 36004"/>
                <a:gd name="connsiteY6" fmla="*/ 7076 h 17676"/>
                <a:gd name="connsiteX7" fmla="*/ 35668 w 36004"/>
                <a:gd name="connsiteY7" fmla="*/ -163 h 17676"/>
                <a:gd name="connsiteX8" fmla="*/ 34144 w 36004"/>
                <a:gd name="connsiteY8" fmla="*/ 2124 h 17676"/>
                <a:gd name="connsiteX9" fmla="*/ 31763 w 36004"/>
                <a:gd name="connsiteY9" fmla="*/ 3457 h 17676"/>
                <a:gd name="connsiteX10" fmla="*/ 21476 w 36004"/>
                <a:gd name="connsiteY10" fmla="*/ 9362 h 17676"/>
                <a:gd name="connsiteX11" fmla="*/ 13856 w 36004"/>
                <a:gd name="connsiteY11" fmla="*/ 9362 h 17676"/>
                <a:gd name="connsiteX12" fmla="*/ 3569 w 36004"/>
                <a:gd name="connsiteY12" fmla="*/ 3457 h 17676"/>
                <a:gd name="connsiteX13" fmla="*/ 1188 w 36004"/>
                <a:gd name="connsiteY13" fmla="*/ 2124 h 17676"/>
                <a:gd name="connsiteX14" fmla="*/ -336 w 36004"/>
                <a:gd name="connsiteY14" fmla="*/ -163 h 17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6">
                  <a:moveTo>
                    <a:pt x="-336" y="-163"/>
                  </a:moveTo>
                  <a:lnTo>
                    <a:pt x="-336" y="7076"/>
                  </a:lnTo>
                  <a:cubicBezTo>
                    <a:pt x="-298" y="8039"/>
                    <a:pt x="292" y="8896"/>
                    <a:pt x="1188" y="9267"/>
                  </a:cubicBezTo>
                  <a:lnTo>
                    <a:pt x="13856" y="16506"/>
                  </a:lnTo>
                  <a:cubicBezTo>
                    <a:pt x="16218" y="17849"/>
                    <a:pt x="19114" y="17849"/>
                    <a:pt x="21476" y="16506"/>
                  </a:cubicBezTo>
                  <a:lnTo>
                    <a:pt x="34144" y="9267"/>
                  </a:lnTo>
                  <a:cubicBezTo>
                    <a:pt x="35021" y="8877"/>
                    <a:pt x="35611" y="8039"/>
                    <a:pt x="35668" y="7076"/>
                  </a:cubicBezTo>
                  <a:lnTo>
                    <a:pt x="35668" y="-163"/>
                  </a:lnTo>
                  <a:cubicBezTo>
                    <a:pt x="35640" y="828"/>
                    <a:pt x="35049" y="1724"/>
                    <a:pt x="34144" y="2124"/>
                  </a:cubicBezTo>
                  <a:lnTo>
                    <a:pt x="31763" y="3457"/>
                  </a:lnTo>
                  <a:lnTo>
                    <a:pt x="21476" y="9362"/>
                  </a:lnTo>
                  <a:cubicBezTo>
                    <a:pt x="19114" y="10706"/>
                    <a:pt x="16218" y="10706"/>
                    <a:pt x="13856" y="9362"/>
                  </a:cubicBezTo>
                  <a:lnTo>
                    <a:pt x="3569" y="3457"/>
                  </a:lnTo>
                  <a:lnTo>
                    <a:pt x="1188" y="2124"/>
                  </a:lnTo>
                  <a:cubicBezTo>
                    <a:pt x="283" y="1724"/>
                    <a:pt x="-308"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440" name="iṧľiḍé">
              <a:extLst>
                <a:ext uri="{FF2B5EF4-FFF2-40B4-BE49-F238E27FC236}">
                  <a16:creationId xmlns:a16="http://schemas.microsoft.com/office/drawing/2014/main" id="{1C0F4938-C1FE-424D-87CC-8DBE83F78BAA}"/>
                </a:ext>
              </a:extLst>
            </p:cNvPr>
            <p:cNvSpPr/>
            <p:nvPr/>
          </p:nvSpPr>
          <p:spPr>
            <a:xfrm>
              <a:off x="5493998" y="5059883"/>
              <a:ext cx="109740" cy="63350"/>
            </a:xfrm>
            <a:custGeom>
              <a:avLst/>
              <a:gdLst>
                <a:gd name="connsiteX0" fmla="*/ -336 w 36052"/>
                <a:gd name="connsiteY0" fmla="*/ 10196 h 20812"/>
                <a:gd name="connsiteX1" fmla="*/ 1283 w 36052"/>
                <a:gd name="connsiteY1" fmla="*/ 12482 h 20812"/>
                <a:gd name="connsiteX2" fmla="*/ 3569 w 36052"/>
                <a:gd name="connsiteY2" fmla="*/ 13815 h 20812"/>
                <a:gd name="connsiteX3" fmla="*/ 13856 w 36052"/>
                <a:gd name="connsiteY3" fmla="*/ 19721 h 20812"/>
                <a:gd name="connsiteX4" fmla="*/ 21571 w 36052"/>
                <a:gd name="connsiteY4" fmla="*/ 19721 h 20812"/>
                <a:gd name="connsiteX5" fmla="*/ 31858 w 36052"/>
                <a:gd name="connsiteY5" fmla="*/ 13815 h 20812"/>
                <a:gd name="connsiteX6" fmla="*/ 34144 w 36052"/>
                <a:gd name="connsiteY6" fmla="*/ 12482 h 20812"/>
                <a:gd name="connsiteX7" fmla="*/ 35573 w 36052"/>
                <a:gd name="connsiteY7" fmla="*/ 9434 h 20812"/>
                <a:gd name="connsiteX8" fmla="*/ 34144 w 36052"/>
                <a:gd name="connsiteY8" fmla="*/ 8005 h 20812"/>
                <a:gd name="connsiteX9" fmla="*/ 21571 w 36052"/>
                <a:gd name="connsiteY9" fmla="*/ 766 h 20812"/>
                <a:gd name="connsiteX10" fmla="*/ 13856 w 36052"/>
                <a:gd name="connsiteY10" fmla="*/ 766 h 20812"/>
                <a:gd name="connsiteX11" fmla="*/ 1283 w 36052"/>
                <a:gd name="connsiteY11" fmla="*/ 8005 h 20812"/>
                <a:gd name="connsiteX12" fmla="*/ -336 w 36052"/>
                <a:gd name="connsiteY12" fmla="*/ 10196 h 20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12">
                  <a:moveTo>
                    <a:pt x="-336" y="10196"/>
                  </a:moveTo>
                  <a:cubicBezTo>
                    <a:pt x="-231" y="11186"/>
                    <a:pt x="378" y="12053"/>
                    <a:pt x="1283" y="12482"/>
                  </a:cubicBezTo>
                  <a:lnTo>
                    <a:pt x="3569" y="13815"/>
                  </a:lnTo>
                  <a:lnTo>
                    <a:pt x="13856" y="19721"/>
                  </a:lnTo>
                  <a:cubicBezTo>
                    <a:pt x="16275" y="20959"/>
                    <a:pt x="19152" y="20959"/>
                    <a:pt x="21571" y="19721"/>
                  </a:cubicBezTo>
                  <a:lnTo>
                    <a:pt x="31858" y="13815"/>
                  </a:lnTo>
                  <a:lnTo>
                    <a:pt x="34144" y="12482"/>
                  </a:lnTo>
                  <a:cubicBezTo>
                    <a:pt x="35382" y="12034"/>
                    <a:pt x="36021" y="10663"/>
                    <a:pt x="35573" y="9434"/>
                  </a:cubicBezTo>
                  <a:cubicBezTo>
                    <a:pt x="35325" y="8767"/>
                    <a:pt x="34811" y="8243"/>
                    <a:pt x="34144" y="8005"/>
                  </a:cubicBezTo>
                  <a:lnTo>
                    <a:pt x="21571" y="766"/>
                  </a:lnTo>
                  <a:cubicBezTo>
                    <a:pt x="19152" y="-472"/>
                    <a:pt x="16275" y="-472"/>
                    <a:pt x="13856" y="766"/>
                  </a:cubicBezTo>
                  <a:lnTo>
                    <a:pt x="1283" y="8005"/>
                  </a:lnTo>
                  <a:cubicBezTo>
                    <a:pt x="407" y="8415"/>
                    <a:pt x="-203" y="924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441" name="íṣḷîḑè">
              <a:extLst>
                <a:ext uri="{FF2B5EF4-FFF2-40B4-BE49-F238E27FC236}">
                  <a16:creationId xmlns:a16="http://schemas.microsoft.com/office/drawing/2014/main" id="{A569DE62-82F1-404E-9A7B-1FE251A17757}"/>
                </a:ext>
              </a:extLst>
            </p:cNvPr>
            <p:cNvSpPr/>
            <p:nvPr/>
          </p:nvSpPr>
          <p:spPr>
            <a:xfrm>
              <a:off x="5496132" y="5060972"/>
              <a:ext cx="105618" cy="61174"/>
            </a:xfrm>
            <a:custGeom>
              <a:avLst/>
              <a:gdLst>
                <a:gd name="connsiteX0" fmla="*/ 1154 w 34698"/>
                <a:gd name="connsiteY0" fmla="*/ 12029 h 20097"/>
                <a:gd name="connsiteX1" fmla="*/ 13251 w 34698"/>
                <a:gd name="connsiteY1" fmla="*/ 19078 h 20097"/>
                <a:gd name="connsiteX2" fmla="*/ 20680 w 34698"/>
                <a:gd name="connsiteY2" fmla="*/ 19078 h 20097"/>
                <a:gd name="connsiteX3" fmla="*/ 32872 w 34698"/>
                <a:gd name="connsiteY3" fmla="*/ 12029 h 20097"/>
                <a:gd name="connsiteX4" fmla="*/ 34215 w 34698"/>
                <a:gd name="connsiteY4" fmla="*/ 9096 h 20097"/>
                <a:gd name="connsiteX5" fmla="*/ 32872 w 34698"/>
                <a:gd name="connsiteY5" fmla="*/ 7743 h 20097"/>
                <a:gd name="connsiteX6" fmla="*/ 20680 w 34698"/>
                <a:gd name="connsiteY6" fmla="*/ 695 h 20097"/>
                <a:gd name="connsiteX7" fmla="*/ 13251 w 34698"/>
                <a:gd name="connsiteY7" fmla="*/ 695 h 20097"/>
                <a:gd name="connsiteX8" fmla="*/ 1154 w 34698"/>
                <a:gd name="connsiteY8" fmla="*/ 7743 h 20097"/>
                <a:gd name="connsiteX9" fmla="*/ -189 w 34698"/>
                <a:gd name="connsiteY9" fmla="*/ 10677 h 20097"/>
                <a:gd name="connsiteX10" fmla="*/ 1154 w 34698"/>
                <a:gd name="connsiteY10" fmla="*/ 12029 h 20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698" h="20097">
                  <a:moveTo>
                    <a:pt x="1154" y="12029"/>
                  </a:moveTo>
                  <a:lnTo>
                    <a:pt x="13251" y="19078"/>
                  </a:lnTo>
                  <a:cubicBezTo>
                    <a:pt x="15594" y="20221"/>
                    <a:pt x="18337" y="20221"/>
                    <a:pt x="20680" y="19078"/>
                  </a:cubicBezTo>
                  <a:lnTo>
                    <a:pt x="32872" y="12029"/>
                  </a:lnTo>
                  <a:cubicBezTo>
                    <a:pt x="34053" y="11591"/>
                    <a:pt x="34663" y="10277"/>
                    <a:pt x="34215" y="9096"/>
                  </a:cubicBezTo>
                  <a:cubicBezTo>
                    <a:pt x="33986" y="8467"/>
                    <a:pt x="33491" y="7972"/>
                    <a:pt x="32872" y="7743"/>
                  </a:cubicBezTo>
                  <a:lnTo>
                    <a:pt x="20680" y="695"/>
                  </a:lnTo>
                  <a:cubicBezTo>
                    <a:pt x="18337" y="-448"/>
                    <a:pt x="15594" y="-448"/>
                    <a:pt x="13251" y="695"/>
                  </a:cubicBezTo>
                  <a:lnTo>
                    <a:pt x="1154" y="7743"/>
                  </a:lnTo>
                  <a:cubicBezTo>
                    <a:pt x="-27" y="8181"/>
                    <a:pt x="-637" y="9496"/>
                    <a:pt x="-189" y="10677"/>
                  </a:cubicBezTo>
                  <a:cubicBezTo>
                    <a:pt x="39" y="11305"/>
                    <a:pt x="535" y="11801"/>
                    <a:pt x="1154" y="12029"/>
                  </a:cubicBezTo>
                  <a:close/>
                </a:path>
              </a:pathLst>
            </a:custGeom>
            <a:solidFill>
              <a:srgbClr val="D1D9E8"/>
            </a:solidFill>
            <a:ln w="9525" cap="flat">
              <a:noFill/>
              <a:prstDash val="solid"/>
              <a:miter/>
            </a:ln>
          </p:spPr>
          <p:txBody>
            <a:bodyPr rtlCol="0" anchor="ctr"/>
            <a:lstStyle/>
            <a:p>
              <a:endParaRPr lang="zh-CN" altLang="en-US"/>
            </a:p>
          </p:txBody>
        </p:sp>
        <p:sp>
          <p:nvSpPr>
            <p:cNvPr id="442" name="îSlïḑé">
              <a:extLst>
                <a:ext uri="{FF2B5EF4-FFF2-40B4-BE49-F238E27FC236}">
                  <a16:creationId xmlns:a16="http://schemas.microsoft.com/office/drawing/2014/main" id="{40361B45-B5D8-4C81-9372-F603E1C5BE40}"/>
                </a:ext>
              </a:extLst>
            </p:cNvPr>
            <p:cNvSpPr/>
            <p:nvPr/>
          </p:nvSpPr>
          <p:spPr>
            <a:xfrm>
              <a:off x="5493998" y="5091415"/>
              <a:ext cx="109883" cy="53801"/>
            </a:xfrm>
            <a:custGeom>
              <a:avLst/>
              <a:gdLst>
                <a:gd name="connsiteX0" fmla="*/ -336 w 36099"/>
                <a:gd name="connsiteY0" fmla="*/ -163 h 17675"/>
                <a:gd name="connsiteX1" fmla="*/ -336 w 36099"/>
                <a:gd name="connsiteY1" fmla="*/ 7076 h 17675"/>
                <a:gd name="connsiteX2" fmla="*/ 1283 w 36099"/>
                <a:gd name="connsiteY2" fmla="*/ 9267 h 17675"/>
                <a:gd name="connsiteX3" fmla="*/ 13856 w 36099"/>
                <a:gd name="connsiteY3" fmla="*/ 16506 h 17675"/>
                <a:gd name="connsiteX4" fmla="*/ 21571 w 36099"/>
                <a:gd name="connsiteY4" fmla="*/ 16506 h 17675"/>
                <a:gd name="connsiteX5" fmla="*/ 34144 w 36099"/>
                <a:gd name="connsiteY5" fmla="*/ 9267 h 17675"/>
                <a:gd name="connsiteX6" fmla="*/ 35764 w 36099"/>
                <a:gd name="connsiteY6" fmla="*/ 7076 h 17675"/>
                <a:gd name="connsiteX7" fmla="*/ 35764 w 36099"/>
                <a:gd name="connsiteY7" fmla="*/ -163 h 17675"/>
                <a:gd name="connsiteX8" fmla="*/ 34144 w 36099"/>
                <a:gd name="connsiteY8" fmla="*/ 2123 h 17675"/>
                <a:gd name="connsiteX9" fmla="*/ 31858 w 36099"/>
                <a:gd name="connsiteY9" fmla="*/ 3457 h 17675"/>
                <a:gd name="connsiteX10" fmla="*/ 21571 w 36099"/>
                <a:gd name="connsiteY10" fmla="*/ 9362 h 17675"/>
                <a:gd name="connsiteX11" fmla="*/ 13856 w 36099"/>
                <a:gd name="connsiteY11" fmla="*/ 9362 h 17675"/>
                <a:gd name="connsiteX12" fmla="*/ 3569 w 36099"/>
                <a:gd name="connsiteY12" fmla="*/ 3457 h 17675"/>
                <a:gd name="connsiteX13" fmla="*/ 1283 w 36099"/>
                <a:gd name="connsiteY13" fmla="*/ 2123 h 17675"/>
                <a:gd name="connsiteX14" fmla="*/ -336 w 36099"/>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675">
                  <a:moveTo>
                    <a:pt x="-336" y="-163"/>
                  </a:moveTo>
                  <a:lnTo>
                    <a:pt x="-336" y="7076"/>
                  </a:lnTo>
                  <a:cubicBezTo>
                    <a:pt x="-222" y="8038"/>
                    <a:pt x="397" y="8877"/>
                    <a:pt x="1283" y="9267"/>
                  </a:cubicBezTo>
                  <a:lnTo>
                    <a:pt x="13856" y="16506"/>
                  </a:lnTo>
                  <a:cubicBezTo>
                    <a:pt x="16256" y="17849"/>
                    <a:pt x="19171" y="17849"/>
                    <a:pt x="21571" y="16506"/>
                  </a:cubicBezTo>
                  <a:lnTo>
                    <a:pt x="34144" y="9267"/>
                  </a:lnTo>
                  <a:cubicBezTo>
                    <a:pt x="35030" y="8877"/>
                    <a:pt x="35649" y="8038"/>
                    <a:pt x="35764" y="7076"/>
                  </a:cubicBezTo>
                  <a:lnTo>
                    <a:pt x="35764" y="-163"/>
                  </a:lnTo>
                  <a:cubicBezTo>
                    <a:pt x="35659" y="828"/>
                    <a:pt x="35049" y="1695"/>
                    <a:pt x="34144" y="2123"/>
                  </a:cubicBezTo>
                  <a:lnTo>
                    <a:pt x="31858" y="3457"/>
                  </a:lnTo>
                  <a:lnTo>
                    <a:pt x="21571" y="9362"/>
                  </a:lnTo>
                  <a:cubicBezTo>
                    <a:pt x="19152" y="10601"/>
                    <a:pt x="16275" y="10601"/>
                    <a:pt x="13856" y="9362"/>
                  </a:cubicBezTo>
                  <a:lnTo>
                    <a:pt x="3569" y="3457"/>
                  </a:lnTo>
                  <a:lnTo>
                    <a:pt x="1283" y="2123"/>
                  </a:lnTo>
                  <a:cubicBezTo>
                    <a:pt x="378" y="1695"/>
                    <a:pt x="-231"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443" name="îšḷiḑè">
              <a:extLst>
                <a:ext uri="{FF2B5EF4-FFF2-40B4-BE49-F238E27FC236}">
                  <a16:creationId xmlns:a16="http://schemas.microsoft.com/office/drawing/2014/main" id="{2EE3E4A1-35D2-457E-9B55-68E0FC9181D4}"/>
                </a:ext>
              </a:extLst>
            </p:cNvPr>
            <p:cNvSpPr/>
            <p:nvPr/>
          </p:nvSpPr>
          <p:spPr>
            <a:xfrm>
              <a:off x="5571411" y="5104440"/>
              <a:ext cx="109740" cy="63445"/>
            </a:xfrm>
            <a:custGeom>
              <a:avLst/>
              <a:gdLst>
                <a:gd name="connsiteX0" fmla="*/ -336 w 36052"/>
                <a:gd name="connsiteY0" fmla="*/ 10227 h 20843"/>
                <a:gd name="connsiteX1" fmla="*/ 1188 w 36052"/>
                <a:gd name="connsiteY1" fmla="*/ 12513 h 20843"/>
                <a:gd name="connsiteX2" fmla="*/ 3569 w 36052"/>
                <a:gd name="connsiteY2" fmla="*/ 13846 h 20843"/>
                <a:gd name="connsiteX3" fmla="*/ 13856 w 36052"/>
                <a:gd name="connsiteY3" fmla="*/ 19752 h 20843"/>
                <a:gd name="connsiteX4" fmla="*/ 21476 w 36052"/>
                <a:gd name="connsiteY4" fmla="*/ 19752 h 20843"/>
                <a:gd name="connsiteX5" fmla="*/ 31763 w 36052"/>
                <a:gd name="connsiteY5" fmla="*/ 13846 h 20843"/>
                <a:gd name="connsiteX6" fmla="*/ 34144 w 36052"/>
                <a:gd name="connsiteY6" fmla="*/ 12513 h 20843"/>
                <a:gd name="connsiteX7" fmla="*/ 35573 w 36052"/>
                <a:gd name="connsiteY7" fmla="*/ 9465 h 20843"/>
                <a:gd name="connsiteX8" fmla="*/ 34144 w 36052"/>
                <a:gd name="connsiteY8" fmla="*/ 8036 h 20843"/>
                <a:gd name="connsiteX9" fmla="*/ 21476 w 36052"/>
                <a:gd name="connsiteY9" fmla="*/ 702 h 20843"/>
                <a:gd name="connsiteX10" fmla="*/ 13856 w 36052"/>
                <a:gd name="connsiteY10" fmla="*/ 702 h 20843"/>
                <a:gd name="connsiteX11" fmla="*/ 1188 w 36052"/>
                <a:gd name="connsiteY11" fmla="*/ 8036 h 20843"/>
                <a:gd name="connsiteX12" fmla="*/ -336 w 36052"/>
                <a:gd name="connsiteY12" fmla="*/ 10227 h 20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3">
                  <a:moveTo>
                    <a:pt x="-336" y="10227"/>
                  </a:moveTo>
                  <a:cubicBezTo>
                    <a:pt x="-270" y="11208"/>
                    <a:pt x="311" y="12075"/>
                    <a:pt x="1188" y="12513"/>
                  </a:cubicBezTo>
                  <a:lnTo>
                    <a:pt x="3569" y="13846"/>
                  </a:lnTo>
                  <a:lnTo>
                    <a:pt x="13856" y="19752"/>
                  </a:lnTo>
                  <a:cubicBezTo>
                    <a:pt x="16247" y="20990"/>
                    <a:pt x="19085" y="20990"/>
                    <a:pt x="21476" y="19752"/>
                  </a:cubicBezTo>
                  <a:lnTo>
                    <a:pt x="31763" y="13846"/>
                  </a:lnTo>
                  <a:lnTo>
                    <a:pt x="34144" y="12513"/>
                  </a:lnTo>
                  <a:cubicBezTo>
                    <a:pt x="35382" y="12065"/>
                    <a:pt x="36020" y="10694"/>
                    <a:pt x="35573" y="9465"/>
                  </a:cubicBezTo>
                  <a:cubicBezTo>
                    <a:pt x="35325" y="8798"/>
                    <a:pt x="34811" y="8274"/>
                    <a:pt x="34144"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444" name="i$ļîḑê">
              <a:extLst>
                <a:ext uri="{FF2B5EF4-FFF2-40B4-BE49-F238E27FC236}">
                  <a16:creationId xmlns:a16="http://schemas.microsoft.com/office/drawing/2014/main" id="{0A2B2C29-507C-4231-A2B2-369C7C566529}"/>
                </a:ext>
              </a:extLst>
            </p:cNvPr>
            <p:cNvSpPr/>
            <p:nvPr/>
          </p:nvSpPr>
          <p:spPr>
            <a:xfrm>
              <a:off x="5573295" y="5105621"/>
              <a:ext cx="105825" cy="61101"/>
            </a:xfrm>
            <a:custGeom>
              <a:avLst/>
              <a:gdLst>
                <a:gd name="connsiteX0" fmla="*/ 1235 w 34766"/>
                <a:gd name="connsiteY0" fmla="*/ 12030 h 20073"/>
                <a:gd name="connsiteX1" fmla="*/ 13332 w 34766"/>
                <a:gd name="connsiteY1" fmla="*/ 18983 h 20073"/>
                <a:gd name="connsiteX2" fmla="*/ 20762 w 34766"/>
                <a:gd name="connsiteY2" fmla="*/ 18983 h 20073"/>
                <a:gd name="connsiteX3" fmla="*/ 32858 w 34766"/>
                <a:gd name="connsiteY3" fmla="*/ 12030 h 20073"/>
                <a:gd name="connsiteX4" fmla="*/ 32858 w 34766"/>
                <a:gd name="connsiteY4" fmla="*/ 7743 h 20073"/>
                <a:gd name="connsiteX5" fmla="*/ 20762 w 34766"/>
                <a:gd name="connsiteY5" fmla="*/ 695 h 20073"/>
                <a:gd name="connsiteX6" fmla="*/ 13332 w 34766"/>
                <a:gd name="connsiteY6" fmla="*/ 695 h 20073"/>
                <a:gd name="connsiteX7" fmla="*/ 1235 w 34766"/>
                <a:gd name="connsiteY7" fmla="*/ 7743 h 20073"/>
                <a:gd name="connsiteX8" fmla="*/ 1235 w 34766"/>
                <a:gd name="connsiteY8" fmla="*/ 12030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6" h="20073">
                  <a:moveTo>
                    <a:pt x="1235" y="12030"/>
                  </a:moveTo>
                  <a:lnTo>
                    <a:pt x="13332" y="18983"/>
                  </a:lnTo>
                  <a:cubicBezTo>
                    <a:pt x="15656" y="20221"/>
                    <a:pt x="18437" y="20221"/>
                    <a:pt x="20762" y="18983"/>
                  </a:cubicBezTo>
                  <a:lnTo>
                    <a:pt x="32858" y="12030"/>
                  </a:lnTo>
                  <a:cubicBezTo>
                    <a:pt x="34954" y="10791"/>
                    <a:pt x="34954" y="8886"/>
                    <a:pt x="32858" y="7743"/>
                  </a:cubicBezTo>
                  <a:lnTo>
                    <a:pt x="20762" y="695"/>
                  </a:lnTo>
                  <a:cubicBezTo>
                    <a:pt x="18419" y="-448"/>
                    <a:pt x="15675" y="-448"/>
                    <a:pt x="13332" y="695"/>
                  </a:cubicBezTo>
                  <a:lnTo>
                    <a:pt x="1235" y="7743"/>
                  </a:lnTo>
                  <a:cubicBezTo>
                    <a:pt x="-860" y="8886"/>
                    <a:pt x="-860" y="10791"/>
                    <a:pt x="1235" y="12030"/>
                  </a:cubicBezTo>
                  <a:close/>
                </a:path>
              </a:pathLst>
            </a:custGeom>
            <a:solidFill>
              <a:srgbClr val="D1D9E8"/>
            </a:solidFill>
            <a:ln w="9525" cap="flat">
              <a:noFill/>
              <a:prstDash val="solid"/>
              <a:miter/>
            </a:ln>
          </p:spPr>
          <p:txBody>
            <a:bodyPr rtlCol="0" anchor="ctr"/>
            <a:lstStyle/>
            <a:p>
              <a:endParaRPr lang="zh-CN" altLang="en-US"/>
            </a:p>
          </p:txBody>
        </p:sp>
        <p:sp>
          <p:nvSpPr>
            <p:cNvPr id="445" name="îṥḷiḓe">
              <a:extLst>
                <a:ext uri="{FF2B5EF4-FFF2-40B4-BE49-F238E27FC236}">
                  <a16:creationId xmlns:a16="http://schemas.microsoft.com/office/drawing/2014/main" id="{E3B3F106-AAFF-405F-9BAA-30DC3B1E8077}"/>
                </a:ext>
              </a:extLst>
            </p:cNvPr>
            <p:cNvSpPr/>
            <p:nvPr/>
          </p:nvSpPr>
          <p:spPr>
            <a:xfrm>
              <a:off x="5571411" y="5136063"/>
              <a:ext cx="109594" cy="53801"/>
            </a:xfrm>
            <a:custGeom>
              <a:avLst/>
              <a:gdLst>
                <a:gd name="connsiteX0" fmla="*/ -336 w 36004"/>
                <a:gd name="connsiteY0" fmla="*/ -163 h 17675"/>
                <a:gd name="connsiteX1" fmla="*/ -336 w 36004"/>
                <a:gd name="connsiteY1" fmla="*/ 7076 h 17675"/>
                <a:gd name="connsiteX2" fmla="*/ 1188 w 36004"/>
                <a:gd name="connsiteY2" fmla="*/ 9267 h 17675"/>
                <a:gd name="connsiteX3" fmla="*/ 13856 w 36004"/>
                <a:gd name="connsiteY3" fmla="*/ 16506 h 17675"/>
                <a:gd name="connsiteX4" fmla="*/ 21476 w 36004"/>
                <a:gd name="connsiteY4" fmla="*/ 16506 h 17675"/>
                <a:gd name="connsiteX5" fmla="*/ 34144 w 36004"/>
                <a:gd name="connsiteY5" fmla="*/ 9267 h 17675"/>
                <a:gd name="connsiteX6" fmla="*/ 35668 w 36004"/>
                <a:gd name="connsiteY6" fmla="*/ 6981 h 17675"/>
                <a:gd name="connsiteX7" fmla="*/ 35668 w 36004"/>
                <a:gd name="connsiteY7" fmla="*/ -163 h 17675"/>
                <a:gd name="connsiteX8" fmla="*/ 34144 w 36004"/>
                <a:gd name="connsiteY8" fmla="*/ 2123 h 17675"/>
                <a:gd name="connsiteX9" fmla="*/ 31763 w 36004"/>
                <a:gd name="connsiteY9" fmla="*/ 3457 h 17675"/>
                <a:gd name="connsiteX10" fmla="*/ 21476 w 36004"/>
                <a:gd name="connsiteY10" fmla="*/ 9362 h 17675"/>
                <a:gd name="connsiteX11" fmla="*/ 13856 w 36004"/>
                <a:gd name="connsiteY11" fmla="*/ 9362 h 17675"/>
                <a:gd name="connsiteX12" fmla="*/ 3569 w 36004"/>
                <a:gd name="connsiteY12" fmla="*/ 3457 h 17675"/>
                <a:gd name="connsiteX13" fmla="*/ 1188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79" y="8038"/>
                    <a:pt x="311" y="8877"/>
                    <a:pt x="1188" y="9267"/>
                  </a:cubicBezTo>
                  <a:lnTo>
                    <a:pt x="13856" y="16506"/>
                  </a:lnTo>
                  <a:cubicBezTo>
                    <a:pt x="16218" y="17849"/>
                    <a:pt x="19114" y="17849"/>
                    <a:pt x="21476" y="16506"/>
                  </a:cubicBezTo>
                  <a:lnTo>
                    <a:pt x="34144" y="9267"/>
                  </a:lnTo>
                  <a:cubicBezTo>
                    <a:pt x="35049" y="8867"/>
                    <a:pt x="35640" y="7972"/>
                    <a:pt x="35668" y="6981"/>
                  </a:cubicBezTo>
                  <a:lnTo>
                    <a:pt x="35668" y="-163"/>
                  </a:lnTo>
                  <a:cubicBezTo>
                    <a:pt x="35601" y="818"/>
                    <a:pt x="35021" y="1685"/>
                    <a:pt x="34144" y="2123"/>
                  </a:cubicBezTo>
                  <a:lnTo>
                    <a:pt x="31763" y="3457"/>
                  </a:lnTo>
                  <a:lnTo>
                    <a:pt x="21476" y="9362"/>
                  </a:lnTo>
                  <a:cubicBezTo>
                    <a:pt x="19085" y="10601"/>
                    <a:pt x="16247" y="10601"/>
                    <a:pt x="13856" y="9362"/>
                  </a:cubicBezTo>
                  <a:lnTo>
                    <a:pt x="3569" y="3457"/>
                  </a:lnTo>
                  <a:lnTo>
                    <a:pt x="1188"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446" name="íşḻíde">
              <a:extLst>
                <a:ext uri="{FF2B5EF4-FFF2-40B4-BE49-F238E27FC236}">
                  <a16:creationId xmlns:a16="http://schemas.microsoft.com/office/drawing/2014/main" id="{CC1A4362-4C67-4E66-BEB9-E67D8535B4EB}"/>
                </a:ext>
              </a:extLst>
            </p:cNvPr>
            <p:cNvSpPr/>
            <p:nvPr/>
          </p:nvSpPr>
          <p:spPr>
            <a:xfrm>
              <a:off x="5648243" y="5149240"/>
              <a:ext cx="109740" cy="63289"/>
            </a:xfrm>
            <a:custGeom>
              <a:avLst/>
              <a:gdLst>
                <a:gd name="connsiteX0" fmla="*/ -336 w 36052"/>
                <a:gd name="connsiteY0" fmla="*/ 10177 h 20792"/>
                <a:gd name="connsiteX1" fmla="*/ 1283 w 36052"/>
                <a:gd name="connsiteY1" fmla="*/ 12463 h 20792"/>
                <a:gd name="connsiteX2" fmla="*/ 3569 w 36052"/>
                <a:gd name="connsiteY2" fmla="*/ 13796 h 20792"/>
                <a:gd name="connsiteX3" fmla="*/ 13856 w 36052"/>
                <a:gd name="connsiteY3" fmla="*/ 19702 h 20792"/>
                <a:gd name="connsiteX4" fmla="*/ 21571 w 36052"/>
                <a:gd name="connsiteY4" fmla="*/ 19702 h 20792"/>
                <a:gd name="connsiteX5" fmla="*/ 31858 w 36052"/>
                <a:gd name="connsiteY5" fmla="*/ 13796 h 20792"/>
                <a:gd name="connsiteX6" fmla="*/ 34144 w 36052"/>
                <a:gd name="connsiteY6" fmla="*/ 12463 h 20792"/>
                <a:gd name="connsiteX7" fmla="*/ 35573 w 36052"/>
                <a:gd name="connsiteY7" fmla="*/ 9415 h 20792"/>
                <a:gd name="connsiteX8" fmla="*/ 34144 w 36052"/>
                <a:gd name="connsiteY8" fmla="*/ 7986 h 20792"/>
                <a:gd name="connsiteX9" fmla="*/ 21571 w 36052"/>
                <a:gd name="connsiteY9" fmla="*/ 652 h 20792"/>
                <a:gd name="connsiteX10" fmla="*/ 13856 w 36052"/>
                <a:gd name="connsiteY10" fmla="*/ 652 h 20792"/>
                <a:gd name="connsiteX11" fmla="*/ 1283 w 36052"/>
                <a:gd name="connsiteY11" fmla="*/ 7986 h 20792"/>
                <a:gd name="connsiteX12" fmla="*/ -336 w 36052"/>
                <a:gd name="connsiteY12" fmla="*/ 10177 h 20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792">
                  <a:moveTo>
                    <a:pt x="-336" y="10177"/>
                  </a:moveTo>
                  <a:cubicBezTo>
                    <a:pt x="-232" y="11167"/>
                    <a:pt x="378" y="12034"/>
                    <a:pt x="1283" y="12463"/>
                  </a:cubicBezTo>
                  <a:lnTo>
                    <a:pt x="3569" y="13796"/>
                  </a:lnTo>
                  <a:lnTo>
                    <a:pt x="13856" y="19702"/>
                  </a:lnTo>
                  <a:cubicBezTo>
                    <a:pt x="16275" y="20940"/>
                    <a:pt x="19152" y="20940"/>
                    <a:pt x="21571" y="19702"/>
                  </a:cubicBezTo>
                  <a:lnTo>
                    <a:pt x="31858" y="13796"/>
                  </a:lnTo>
                  <a:lnTo>
                    <a:pt x="34144" y="12463"/>
                  </a:lnTo>
                  <a:cubicBezTo>
                    <a:pt x="35382" y="12015"/>
                    <a:pt x="36020" y="10643"/>
                    <a:pt x="35573" y="9415"/>
                  </a:cubicBezTo>
                  <a:cubicBezTo>
                    <a:pt x="35325" y="8748"/>
                    <a:pt x="34811" y="8224"/>
                    <a:pt x="34144" y="7986"/>
                  </a:cubicBezTo>
                  <a:lnTo>
                    <a:pt x="21571" y="652"/>
                  </a:lnTo>
                  <a:cubicBezTo>
                    <a:pt x="19114" y="-434"/>
                    <a:pt x="16313" y="-434"/>
                    <a:pt x="13856" y="652"/>
                  </a:cubicBezTo>
                  <a:lnTo>
                    <a:pt x="1283" y="7986"/>
                  </a:lnTo>
                  <a:cubicBezTo>
                    <a:pt x="407" y="8396"/>
                    <a:pt x="-203" y="9224"/>
                    <a:pt x="-336" y="10177"/>
                  </a:cubicBezTo>
                  <a:close/>
                </a:path>
              </a:pathLst>
            </a:custGeom>
            <a:solidFill>
              <a:srgbClr val="FFFFFF"/>
            </a:solidFill>
            <a:ln w="9525" cap="flat">
              <a:noFill/>
              <a:prstDash val="solid"/>
              <a:miter/>
            </a:ln>
          </p:spPr>
          <p:txBody>
            <a:bodyPr rtlCol="0" anchor="ctr"/>
            <a:lstStyle/>
            <a:p>
              <a:endParaRPr lang="zh-CN" altLang="en-US"/>
            </a:p>
          </p:txBody>
        </p:sp>
        <p:sp>
          <p:nvSpPr>
            <p:cNvPr id="447" name="îŝḷîdé">
              <a:extLst>
                <a:ext uri="{FF2B5EF4-FFF2-40B4-BE49-F238E27FC236}">
                  <a16:creationId xmlns:a16="http://schemas.microsoft.com/office/drawing/2014/main" id="{27DC7F15-75FB-44E0-A5B6-C1DACE5EA66B}"/>
                </a:ext>
              </a:extLst>
            </p:cNvPr>
            <p:cNvSpPr/>
            <p:nvPr/>
          </p:nvSpPr>
          <p:spPr>
            <a:xfrm>
              <a:off x="5649984" y="5150269"/>
              <a:ext cx="106330" cy="61104"/>
            </a:xfrm>
            <a:custGeom>
              <a:avLst/>
              <a:gdLst>
                <a:gd name="connsiteX0" fmla="*/ 1378 w 34932"/>
                <a:gd name="connsiteY0" fmla="*/ 12029 h 20074"/>
                <a:gd name="connsiteX1" fmla="*/ 13570 w 34932"/>
                <a:gd name="connsiteY1" fmla="*/ 18983 h 20074"/>
                <a:gd name="connsiteX2" fmla="*/ 21000 w 34932"/>
                <a:gd name="connsiteY2" fmla="*/ 18983 h 20074"/>
                <a:gd name="connsiteX3" fmla="*/ 33097 w 34932"/>
                <a:gd name="connsiteY3" fmla="*/ 12029 h 20074"/>
                <a:gd name="connsiteX4" fmla="*/ 33097 w 34932"/>
                <a:gd name="connsiteY4" fmla="*/ 7743 h 20074"/>
                <a:gd name="connsiteX5" fmla="*/ 21000 w 34932"/>
                <a:gd name="connsiteY5" fmla="*/ 695 h 20074"/>
                <a:gd name="connsiteX6" fmla="*/ 13570 w 34932"/>
                <a:gd name="connsiteY6" fmla="*/ 695 h 20074"/>
                <a:gd name="connsiteX7" fmla="*/ 1378 w 34932"/>
                <a:gd name="connsiteY7" fmla="*/ 7743 h 20074"/>
                <a:gd name="connsiteX8" fmla="*/ 1378 w 34932"/>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932" h="20074">
                  <a:moveTo>
                    <a:pt x="1378" y="12029"/>
                  </a:moveTo>
                  <a:lnTo>
                    <a:pt x="13570" y="18983"/>
                  </a:lnTo>
                  <a:cubicBezTo>
                    <a:pt x="15894" y="20221"/>
                    <a:pt x="18676" y="20221"/>
                    <a:pt x="21000" y="18983"/>
                  </a:cubicBezTo>
                  <a:lnTo>
                    <a:pt x="33097" y="12029"/>
                  </a:lnTo>
                  <a:cubicBezTo>
                    <a:pt x="35097" y="10791"/>
                    <a:pt x="35097" y="8886"/>
                    <a:pt x="33097" y="7743"/>
                  </a:cubicBezTo>
                  <a:lnTo>
                    <a:pt x="21000" y="695"/>
                  </a:lnTo>
                  <a:cubicBezTo>
                    <a:pt x="18656" y="-448"/>
                    <a:pt x="15913" y="-448"/>
                    <a:pt x="13570" y="695"/>
                  </a:cubicBezTo>
                  <a:lnTo>
                    <a:pt x="1378" y="7743"/>
                  </a:lnTo>
                  <a:cubicBezTo>
                    <a:pt x="-908" y="8886"/>
                    <a:pt x="-908" y="10791"/>
                    <a:pt x="1378" y="12029"/>
                  </a:cubicBezTo>
                  <a:close/>
                </a:path>
              </a:pathLst>
            </a:custGeom>
            <a:solidFill>
              <a:srgbClr val="D1D9E8"/>
            </a:solidFill>
            <a:ln w="9525" cap="flat">
              <a:noFill/>
              <a:prstDash val="solid"/>
              <a:miter/>
            </a:ln>
          </p:spPr>
          <p:txBody>
            <a:bodyPr rtlCol="0" anchor="ctr"/>
            <a:lstStyle/>
            <a:p>
              <a:endParaRPr lang="zh-CN" altLang="en-US"/>
            </a:p>
          </p:txBody>
        </p:sp>
        <p:sp>
          <p:nvSpPr>
            <p:cNvPr id="448" name="ïś1îďê">
              <a:extLst>
                <a:ext uri="{FF2B5EF4-FFF2-40B4-BE49-F238E27FC236}">
                  <a16:creationId xmlns:a16="http://schemas.microsoft.com/office/drawing/2014/main" id="{D8D25FEC-1BE4-43DD-968C-ED21619508F0}"/>
                </a:ext>
              </a:extLst>
            </p:cNvPr>
            <p:cNvSpPr/>
            <p:nvPr/>
          </p:nvSpPr>
          <p:spPr>
            <a:xfrm>
              <a:off x="5648240" y="5180714"/>
              <a:ext cx="109889" cy="54961"/>
            </a:xfrm>
            <a:custGeom>
              <a:avLst/>
              <a:gdLst>
                <a:gd name="connsiteX0" fmla="*/ -335 w 36101"/>
                <a:gd name="connsiteY0" fmla="*/ -163 h 18056"/>
                <a:gd name="connsiteX1" fmla="*/ -335 w 36101"/>
                <a:gd name="connsiteY1" fmla="*/ 7457 h 18056"/>
                <a:gd name="connsiteX2" fmla="*/ 1285 w 36101"/>
                <a:gd name="connsiteY2" fmla="*/ 9648 h 18056"/>
                <a:gd name="connsiteX3" fmla="*/ 13857 w 36101"/>
                <a:gd name="connsiteY3" fmla="*/ 16887 h 18056"/>
                <a:gd name="connsiteX4" fmla="*/ 21573 w 36101"/>
                <a:gd name="connsiteY4" fmla="*/ 16887 h 18056"/>
                <a:gd name="connsiteX5" fmla="*/ 34146 w 36101"/>
                <a:gd name="connsiteY5" fmla="*/ 9648 h 18056"/>
                <a:gd name="connsiteX6" fmla="*/ 35765 w 36101"/>
                <a:gd name="connsiteY6" fmla="*/ 7362 h 18056"/>
                <a:gd name="connsiteX7" fmla="*/ 35765 w 36101"/>
                <a:gd name="connsiteY7" fmla="*/ 218 h 18056"/>
                <a:gd name="connsiteX8" fmla="*/ 34146 w 36101"/>
                <a:gd name="connsiteY8" fmla="*/ 2504 h 18056"/>
                <a:gd name="connsiteX9" fmla="*/ 31860 w 36101"/>
                <a:gd name="connsiteY9" fmla="*/ 3838 h 18056"/>
                <a:gd name="connsiteX10" fmla="*/ 21573 w 36101"/>
                <a:gd name="connsiteY10" fmla="*/ 9743 h 18056"/>
                <a:gd name="connsiteX11" fmla="*/ 13857 w 36101"/>
                <a:gd name="connsiteY11" fmla="*/ 9743 h 18056"/>
                <a:gd name="connsiteX12" fmla="*/ 3571 w 36101"/>
                <a:gd name="connsiteY12" fmla="*/ 3838 h 18056"/>
                <a:gd name="connsiteX13" fmla="*/ 1285 w 36101"/>
                <a:gd name="connsiteY13" fmla="*/ 2504 h 18056"/>
                <a:gd name="connsiteX14" fmla="*/ -335 w 36101"/>
                <a:gd name="connsiteY14" fmla="*/ -163 h 18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101" h="18056">
                  <a:moveTo>
                    <a:pt x="-335" y="-163"/>
                  </a:moveTo>
                  <a:lnTo>
                    <a:pt x="-335" y="7457"/>
                  </a:lnTo>
                  <a:cubicBezTo>
                    <a:pt x="-201" y="8410"/>
                    <a:pt x="408" y="9239"/>
                    <a:pt x="1285" y="9648"/>
                  </a:cubicBezTo>
                  <a:lnTo>
                    <a:pt x="13857" y="16887"/>
                  </a:lnTo>
                  <a:cubicBezTo>
                    <a:pt x="16258" y="18230"/>
                    <a:pt x="19173" y="18230"/>
                    <a:pt x="21573" y="16887"/>
                  </a:cubicBezTo>
                  <a:lnTo>
                    <a:pt x="34146" y="9648"/>
                  </a:lnTo>
                  <a:cubicBezTo>
                    <a:pt x="35070" y="9257"/>
                    <a:pt x="35698" y="8372"/>
                    <a:pt x="35765" y="7362"/>
                  </a:cubicBezTo>
                  <a:lnTo>
                    <a:pt x="35765" y="218"/>
                  </a:lnTo>
                  <a:cubicBezTo>
                    <a:pt x="35698" y="1228"/>
                    <a:pt x="35070" y="2114"/>
                    <a:pt x="34146" y="2504"/>
                  </a:cubicBezTo>
                  <a:lnTo>
                    <a:pt x="31860" y="3838"/>
                  </a:lnTo>
                  <a:lnTo>
                    <a:pt x="21573" y="9743"/>
                  </a:lnTo>
                  <a:cubicBezTo>
                    <a:pt x="19153" y="10981"/>
                    <a:pt x="16277" y="10981"/>
                    <a:pt x="13857" y="9743"/>
                  </a:cubicBezTo>
                  <a:lnTo>
                    <a:pt x="3571" y="3838"/>
                  </a:lnTo>
                  <a:lnTo>
                    <a:pt x="1285" y="2504"/>
                  </a:lnTo>
                  <a:cubicBezTo>
                    <a:pt x="265" y="2018"/>
                    <a:pt x="-373" y="971"/>
                    <a:pt x="-335" y="-163"/>
                  </a:cubicBezTo>
                  <a:close/>
                </a:path>
              </a:pathLst>
            </a:custGeom>
            <a:solidFill>
              <a:srgbClr val="BF4200"/>
            </a:solidFill>
            <a:ln w="9525" cap="flat">
              <a:noFill/>
              <a:prstDash val="solid"/>
              <a:miter/>
            </a:ln>
          </p:spPr>
          <p:txBody>
            <a:bodyPr rtlCol="0" anchor="ctr"/>
            <a:lstStyle/>
            <a:p>
              <a:endParaRPr lang="zh-CN" altLang="en-US"/>
            </a:p>
          </p:txBody>
        </p:sp>
        <p:sp>
          <p:nvSpPr>
            <p:cNvPr id="449" name="îslïḓè">
              <a:extLst>
                <a:ext uri="{FF2B5EF4-FFF2-40B4-BE49-F238E27FC236}">
                  <a16:creationId xmlns:a16="http://schemas.microsoft.com/office/drawing/2014/main" id="{B5BE6C6A-4A13-45D0-9219-F5ADB78A8E2E}"/>
                </a:ext>
              </a:extLst>
            </p:cNvPr>
            <p:cNvSpPr/>
            <p:nvPr/>
          </p:nvSpPr>
          <p:spPr>
            <a:xfrm>
              <a:off x="5725945" y="5193739"/>
              <a:ext cx="109740" cy="63445"/>
            </a:xfrm>
            <a:custGeom>
              <a:avLst/>
              <a:gdLst>
                <a:gd name="connsiteX0" fmla="*/ -336 w 36052"/>
                <a:gd name="connsiteY0" fmla="*/ 10227 h 20843"/>
                <a:gd name="connsiteX1" fmla="*/ 1188 w 36052"/>
                <a:gd name="connsiteY1" fmla="*/ 12513 h 20843"/>
                <a:gd name="connsiteX2" fmla="*/ 3569 w 36052"/>
                <a:gd name="connsiteY2" fmla="*/ 13846 h 20843"/>
                <a:gd name="connsiteX3" fmla="*/ 13856 w 36052"/>
                <a:gd name="connsiteY3" fmla="*/ 19752 h 20843"/>
                <a:gd name="connsiteX4" fmla="*/ 21476 w 36052"/>
                <a:gd name="connsiteY4" fmla="*/ 19752 h 20843"/>
                <a:gd name="connsiteX5" fmla="*/ 31763 w 36052"/>
                <a:gd name="connsiteY5" fmla="*/ 13846 h 20843"/>
                <a:gd name="connsiteX6" fmla="*/ 34144 w 36052"/>
                <a:gd name="connsiteY6" fmla="*/ 12513 h 20843"/>
                <a:gd name="connsiteX7" fmla="*/ 35573 w 36052"/>
                <a:gd name="connsiteY7" fmla="*/ 9465 h 20843"/>
                <a:gd name="connsiteX8" fmla="*/ 34144 w 36052"/>
                <a:gd name="connsiteY8" fmla="*/ 8036 h 20843"/>
                <a:gd name="connsiteX9" fmla="*/ 21476 w 36052"/>
                <a:gd name="connsiteY9" fmla="*/ 702 h 20843"/>
                <a:gd name="connsiteX10" fmla="*/ 13856 w 36052"/>
                <a:gd name="connsiteY10" fmla="*/ 702 h 20843"/>
                <a:gd name="connsiteX11" fmla="*/ 1188 w 36052"/>
                <a:gd name="connsiteY11" fmla="*/ 8036 h 20843"/>
                <a:gd name="connsiteX12" fmla="*/ -336 w 36052"/>
                <a:gd name="connsiteY12" fmla="*/ 10227 h 20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3">
                  <a:moveTo>
                    <a:pt x="-336" y="10227"/>
                  </a:moveTo>
                  <a:cubicBezTo>
                    <a:pt x="-269" y="11208"/>
                    <a:pt x="311" y="12075"/>
                    <a:pt x="1188" y="12513"/>
                  </a:cubicBezTo>
                  <a:lnTo>
                    <a:pt x="3569" y="13846"/>
                  </a:lnTo>
                  <a:lnTo>
                    <a:pt x="13856" y="19752"/>
                  </a:lnTo>
                  <a:cubicBezTo>
                    <a:pt x="16247" y="20990"/>
                    <a:pt x="19085" y="20990"/>
                    <a:pt x="21476" y="19752"/>
                  </a:cubicBezTo>
                  <a:lnTo>
                    <a:pt x="31763" y="13846"/>
                  </a:lnTo>
                  <a:lnTo>
                    <a:pt x="34144" y="12513"/>
                  </a:lnTo>
                  <a:cubicBezTo>
                    <a:pt x="35382" y="12065"/>
                    <a:pt x="36021" y="10694"/>
                    <a:pt x="35573" y="9465"/>
                  </a:cubicBezTo>
                  <a:cubicBezTo>
                    <a:pt x="35325" y="8798"/>
                    <a:pt x="34811" y="8274"/>
                    <a:pt x="34144"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450" name="ïṧ1iďê">
              <a:extLst>
                <a:ext uri="{FF2B5EF4-FFF2-40B4-BE49-F238E27FC236}">
                  <a16:creationId xmlns:a16="http://schemas.microsoft.com/office/drawing/2014/main" id="{A90BBF45-8A43-45DD-A1C9-A984B86673B3}"/>
                </a:ext>
              </a:extLst>
            </p:cNvPr>
            <p:cNvSpPr/>
            <p:nvPr/>
          </p:nvSpPr>
          <p:spPr>
            <a:xfrm>
              <a:off x="5727829" y="5195791"/>
              <a:ext cx="105898" cy="61101"/>
            </a:xfrm>
            <a:custGeom>
              <a:avLst/>
              <a:gdLst>
                <a:gd name="connsiteX0" fmla="*/ 1235 w 34790"/>
                <a:gd name="connsiteY0" fmla="*/ 12029 h 20073"/>
                <a:gd name="connsiteX1" fmla="*/ 13332 w 34790"/>
                <a:gd name="connsiteY1" fmla="*/ 18983 h 20073"/>
                <a:gd name="connsiteX2" fmla="*/ 20761 w 34790"/>
                <a:gd name="connsiteY2" fmla="*/ 18983 h 20073"/>
                <a:gd name="connsiteX3" fmla="*/ 32953 w 34790"/>
                <a:gd name="connsiteY3" fmla="*/ 12029 h 20073"/>
                <a:gd name="connsiteX4" fmla="*/ 32953 w 34790"/>
                <a:gd name="connsiteY4" fmla="*/ 7743 h 20073"/>
                <a:gd name="connsiteX5" fmla="*/ 20761 w 34790"/>
                <a:gd name="connsiteY5" fmla="*/ 695 h 20073"/>
                <a:gd name="connsiteX6" fmla="*/ 13332 w 34790"/>
                <a:gd name="connsiteY6" fmla="*/ 695 h 20073"/>
                <a:gd name="connsiteX7" fmla="*/ 1235 w 34790"/>
                <a:gd name="connsiteY7" fmla="*/ 7743 h 20073"/>
                <a:gd name="connsiteX8" fmla="*/ 1235 w 34790"/>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3">
                  <a:moveTo>
                    <a:pt x="1235" y="12029"/>
                  </a:moveTo>
                  <a:lnTo>
                    <a:pt x="13332" y="18983"/>
                  </a:lnTo>
                  <a:cubicBezTo>
                    <a:pt x="15656" y="20221"/>
                    <a:pt x="18437" y="20221"/>
                    <a:pt x="20761" y="18983"/>
                  </a:cubicBezTo>
                  <a:lnTo>
                    <a:pt x="32953" y="12029"/>
                  </a:lnTo>
                  <a:cubicBezTo>
                    <a:pt x="34954" y="10791"/>
                    <a:pt x="34954" y="8886"/>
                    <a:pt x="32953" y="7743"/>
                  </a:cubicBezTo>
                  <a:lnTo>
                    <a:pt x="20761" y="695"/>
                  </a:lnTo>
                  <a:cubicBezTo>
                    <a:pt x="18418" y="-448"/>
                    <a:pt x="15675" y="-448"/>
                    <a:pt x="13332" y="695"/>
                  </a:cubicBezTo>
                  <a:lnTo>
                    <a:pt x="1235" y="7743"/>
                  </a:lnTo>
                  <a:cubicBezTo>
                    <a:pt x="-860" y="8600"/>
                    <a:pt x="-860" y="10505"/>
                    <a:pt x="1235" y="12029"/>
                  </a:cubicBezTo>
                  <a:close/>
                </a:path>
              </a:pathLst>
            </a:custGeom>
            <a:solidFill>
              <a:srgbClr val="D1D9E8"/>
            </a:solidFill>
            <a:ln w="9525" cap="flat">
              <a:noFill/>
              <a:prstDash val="solid"/>
              <a:miter/>
            </a:ln>
          </p:spPr>
          <p:txBody>
            <a:bodyPr rtlCol="0" anchor="ctr"/>
            <a:lstStyle/>
            <a:p>
              <a:endParaRPr lang="zh-CN" altLang="en-US"/>
            </a:p>
          </p:txBody>
        </p:sp>
        <p:sp>
          <p:nvSpPr>
            <p:cNvPr id="451" name="îṩľiḑé">
              <a:extLst>
                <a:ext uri="{FF2B5EF4-FFF2-40B4-BE49-F238E27FC236}">
                  <a16:creationId xmlns:a16="http://schemas.microsoft.com/office/drawing/2014/main" id="{24455A9C-B250-4DE5-973B-3B54BC5A56CA}"/>
                </a:ext>
              </a:extLst>
            </p:cNvPr>
            <p:cNvSpPr/>
            <p:nvPr/>
          </p:nvSpPr>
          <p:spPr>
            <a:xfrm>
              <a:off x="5725945" y="5225363"/>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4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4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20"/>
                    <a:pt x="35582" y="7953"/>
                    <a:pt x="35668" y="6981"/>
                  </a:cubicBezTo>
                  <a:lnTo>
                    <a:pt x="35668" y="-163"/>
                  </a:lnTo>
                  <a:cubicBezTo>
                    <a:pt x="35602" y="818"/>
                    <a:pt x="35021" y="1685"/>
                    <a:pt x="34144" y="2124"/>
                  </a:cubicBezTo>
                  <a:lnTo>
                    <a:pt x="31763" y="3457"/>
                  </a:lnTo>
                  <a:lnTo>
                    <a:pt x="21476" y="9362"/>
                  </a:lnTo>
                  <a:cubicBezTo>
                    <a:pt x="19085" y="10601"/>
                    <a:pt x="16247" y="10601"/>
                    <a:pt x="13856" y="9362"/>
                  </a:cubicBezTo>
                  <a:lnTo>
                    <a:pt x="3569" y="3457"/>
                  </a:lnTo>
                  <a:lnTo>
                    <a:pt x="1188" y="2124"/>
                  </a:lnTo>
                  <a:cubicBezTo>
                    <a:pt x="311"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452" name="îṡḷîḍê">
              <a:extLst>
                <a:ext uri="{FF2B5EF4-FFF2-40B4-BE49-F238E27FC236}">
                  <a16:creationId xmlns:a16="http://schemas.microsoft.com/office/drawing/2014/main" id="{A23B06E6-5D6F-40C3-85D1-D36CAF1C2296}"/>
                </a:ext>
              </a:extLst>
            </p:cNvPr>
            <p:cNvSpPr/>
            <p:nvPr/>
          </p:nvSpPr>
          <p:spPr>
            <a:xfrm>
              <a:off x="5803358" y="5238388"/>
              <a:ext cx="109447" cy="63445"/>
            </a:xfrm>
            <a:custGeom>
              <a:avLst/>
              <a:gdLst>
                <a:gd name="connsiteX0" fmla="*/ -336 w 35956"/>
                <a:gd name="connsiteY0" fmla="*/ 10227 h 20843"/>
                <a:gd name="connsiteX1" fmla="*/ 1188 w 35956"/>
                <a:gd name="connsiteY1" fmla="*/ 12513 h 20843"/>
                <a:gd name="connsiteX2" fmla="*/ 3569 w 35956"/>
                <a:gd name="connsiteY2" fmla="*/ 13846 h 20843"/>
                <a:gd name="connsiteX3" fmla="*/ 13856 w 35956"/>
                <a:gd name="connsiteY3" fmla="*/ 19752 h 20843"/>
                <a:gd name="connsiteX4" fmla="*/ 21476 w 35956"/>
                <a:gd name="connsiteY4" fmla="*/ 19752 h 20843"/>
                <a:gd name="connsiteX5" fmla="*/ 31763 w 35956"/>
                <a:gd name="connsiteY5" fmla="*/ 13846 h 20843"/>
                <a:gd name="connsiteX6" fmla="*/ 34049 w 35956"/>
                <a:gd name="connsiteY6" fmla="*/ 12513 h 20843"/>
                <a:gd name="connsiteX7" fmla="*/ 35477 w 35956"/>
                <a:gd name="connsiteY7" fmla="*/ 9465 h 20843"/>
                <a:gd name="connsiteX8" fmla="*/ 34049 w 35956"/>
                <a:gd name="connsiteY8" fmla="*/ 8036 h 20843"/>
                <a:gd name="connsiteX9" fmla="*/ 21476 w 35956"/>
                <a:gd name="connsiteY9" fmla="*/ 702 h 20843"/>
                <a:gd name="connsiteX10" fmla="*/ 13856 w 35956"/>
                <a:gd name="connsiteY10" fmla="*/ 702 h 20843"/>
                <a:gd name="connsiteX11" fmla="*/ 1188 w 35956"/>
                <a:gd name="connsiteY11" fmla="*/ 8036 h 20843"/>
                <a:gd name="connsiteX12" fmla="*/ -336 w 35956"/>
                <a:gd name="connsiteY12" fmla="*/ 10227 h 20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956" h="20843">
                  <a:moveTo>
                    <a:pt x="-336" y="10227"/>
                  </a:moveTo>
                  <a:cubicBezTo>
                    <a:pt x="-270" y="11208"/>
                    <a:pt x="311" y="12075"/>
                    <a:pt x="1188" y="12513"/>
                  </a:cubicBezTo>
                  <a:lnTo>
                    <a:pt x="3569" y="13846"/>
                  </a:lnTo>
                  <a:lnTo>
                    <a:pt x="13856" y="19752"/>
                  </a:lnTo>
                  <a:cubicBezTo>
                    <a:pt x="16247" y="20990"/>
                    <a:pt x="19085" y="20990"/>
                    <a:pt x="21476" y="19752"/>
                  </a:cubicBezTo>
                  <a:lnTo>
                    <a:pt x="31763" y="13846"/>
                  </a:lnTo>
                  <a:lnTo>
                    <a:pt x="34049" y="12513"/>
                  </a:lnTo>
                  <a:cubicBezTo>
                    <a:pt x="35287" y="12065"/>
                    <a:pt x="35925" y="10694"/>
                    <a:pt x="35477" y="9465"/>
                  </a:cubicBezTo>
                  <a:cubicBezTo>
                    <a:pt x="35230" y="8798"/>
                    <a:pt x="34716" y="8274"/>
                    <a:pt x="34049"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453" name="ïṥ1ïďè">
              <a:extLst>
                <a:ext uri="{FF2B5EF4-FFF2-40B4-BE49-F238E27FC236}">
                  <a16:creationId xmlns:a16="http://schemas.microsoft.com/office/drawing/2014/main" id="{F48D9D3E-A4A4-48FC-BB42-F96DD7068272}"/>
                </a:ext>
              </a:extLst>
            </p:cNvPr>
            <p:cNvSpPr/>
            <p:nvPr/>
          </p:nvSpPr>
          <p:spPr>
            <a:xfrm>
              <a:off x="5805170" y="5239572"/>
              <a:ext cx="105898" cy="61101"/>
            </a:xfrm>
            <a:custGeom>
              <a:avLst/>
              <a:gdLst>
                <a:gd name="connsiteX0" fmla="*/ 1164 w 34790"/>
                <a:gd name="connsiteY0" fmla="*/ 12029 h 20073"/>
                <a:gd name="connsiteX1" fmla="*/ 13356 w 34790"/>
                <a:gd name="connsiteY1" fmla="*/ 18982 h 20073"/>
                <a:gd name="connsiteX2" fmla="*/ 20785 w 34790"/>
                <a:gd name="connsiteY2" fmla="*/ 18982 h 20073"/>
                <a:gd name="connsiteX3" fmla="*/ 32882 w 34790"/>
                <a:gd name="connsiteY3" fmla="*/ 12029 h 20073"/>
                <a:gd name="connsiteX4" fmla="*/ 32882 w 34790"/>
                <a:gd name="connsiteY4" fmla="*/ 7743 h 20073"/>
                <a:gd name="connsiteX5" fmla="*/ 20785 w 34790"/>
                <a:gd name="connsiteY5" fmla="*/ 695 h 20073"/>
                <a:gd name="connsiteX6" fmla="*/ 13356 w 34790"/>
                <a:gd name="connsiteY6" fmla="*/ 695 h 20073"/>
                <a:gd name="connsiteX7" fmla="*/ 1164 w 34790"/>
                <a:gd name="connsiteY7" fmla="*/ 7743 h 20073"/>
                <a:gd name="connsiteX8" fmla="*/ 1164 w 34790"/>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3">
                  <a:moveTo>
                    <a:pt x="1164" y="12029"/>
                  </a:moveTo>
                  <a:lnTo>
                    <a:pt x="13356" y="18982"/>
                  </a:lnTo>
                  <a:cubicBezTo>
                    <a:pt x="15680" y="20221"/>
                    <a:pt x="18461" y="20221"/>
                    <a:pt x="20785" y="18982"/>
                  </a:cubicBezTo>
                  <a:lnTo>
                    <a:pt x="32882" y="12029"/>
                  </a:lnTo>
                  <a:cubicBezTo>
                    <a:pt x="34978" y="10791"/>
                    <a:pt x="34978" y="8886"/>
                    <a:pt x="32882" y="7743"/>
                  </a:cubicBezTo>
                  <a:lnTo>
                    <a:pt x="20785" y="695"/>
                  </a:lnTo>
                  <a:cubicBezTo>
                    <a:pt x="18442" y="-448"/>
                    <a:pt x="15699" y="-448"/>
                    <a:pt x="13356" y="695"/>
                  </a:cubicBezTo>
                  <a:lnTo>
                    <a:pt x="1164" y="7743"/>
                  </a:lnTo>
                  <a:cubicBezTo>
                    <a:pt x="-836" y="8886"/>
                    <a:pt x="-836" y="10791"/>
                    <a:pt x="1164" y="12029"/>
                  </a:cubicBezTo>
                  <a:close/>
                </a:path>
              </a:pathLst>
            </a:custGeom>
            <a:solidFill>
              <a:srgbClr val="D1D9E8"/>
            </a:solidFill>
            <a:ln w="9525" cap="flat">
              <a:noFill/>
              <a:prstDash val="solid"/>
              <a:miter/>
            </a:ln>
          </p:spPr>
          <p:txBody>
            <a:bodyPr rtlCol="0" anchor="ctr"/>
            <a:lstStyle/>
            <a:p>
              <a:endParaRPr lang="zh-CN" altLang="en-US"/>
            </a:p>
          </p:txBody>
        </p:sp>
        <p:sp>
          <p:nvSpPr>
            <p:cNvPr id="454" name="îsļïḑé">
              <a:extLst>
                <a:ext uri="{FF2B5EF4-FFF2-40B4-BE49-F238E27FC236}">
                  <a16:creationId xmlns:a16="http://schemas.microsoft.com/office/drawing/2014/main" id="{F7BE8ACB-C8B2-4E1A-98C9-84DAD9C06BDD}"/>
                </a:ext>
              </a:extLst>
            </p:cNvPr>
            <p:cNvSpPr/>
            <p:nvPr/>
          </p:nvSpPr>
          <p:spPr>
            <a:xfrm>
              <a:off x="5803358" y="5268854"/>
              <a:ext cx="109594" cy="53804"/>
            </a:xfrm>
            <a:custGeom>
              <a:avLst/>
              <a:gdLst>
                <a:gd name="connsiteX0" fmla="*/ -336 w 36004"/>
                <a:gd name="connsiteY0" fmla="*/ 218 h 17676"/>
                <a:gd name="connsiteX1" fmla="*/ -336 w 36004"/>
                <a:gd name="connsiteY1" fmla="*/ 7076 h 17676"/>
                <a:gd name="connsiteX2" fmla="*/ 1188 w 36004"/>
                <a:gd name="connsiteY2" fmla="*/ 9267 h 17676"/>
                <a:gd name="connsiteX3" fmla="*/ 13856 w 36004"/>
                <a:gd name="connsiteY3" fmla="*/ 16506 h 17676"/>
                <a:gd name="connsiteX4" fmla="*/ 21476 w 36004"/>
                <a:gd name="connsiteY4" fmla="*/ 16506 h 17676"/>
                <a:gd name="connsiteX5" fmla="*/ 34049 w 36004"/>
                <a:gd name="connsiteY5" fmla="*/ 9267 h 17676"/>
                <a:gd name="connsiteX6" fmla="*/ 35668 w 36004"/>
                <a:gd name="connsiteY6" fmla="*/ 6981 h 17676"/>
                <a:gd name="connsiteX7" fmla="*/ 35668 w 36004"/>
                <a:gd name="connsiteY7" fmla="*/ -163 h 17676"/>
                <a:gd name="connsiteX8" fmla="*/ 34049 w 36004"/>
                <a:gd name="connsiteY8" fmla="*/ 2124 h 17676"/>
                <a:gd name="connsiteX9" fmla="*/ 31763 w 36004"/>
                <a:gd name="connsiteY9" fmla="*/ 3457 h 17676"/>
                <a:gd name="connsiteX10" fmla="*/ 21476 w 36004"/>
                <a:gd name="connsiteY10" fmla="*/ 9362 h 17676"/>
                <a:gd name="connsiteX11" fmla="*/ 13856 w 36004"/>
                <a:gd name="connsiteY11" fmla="*/ 9362 h 17676"/>
                <a:gd name="connsiteX12" fmla="*/ 3569 w 36004"/>
                <a:gd name="connsiteY12" fmla="*/ 3457 h 17676"/>
                <a:gd name="connsiteX13" fmla="*/ 1188 w 36004"/>
                <a:gd name="connsiteY13" fmla="*/ 2124 h 17676"/>
                <a:gd name="connsiteX14" fmla="*/ -336 w 36004"/>
                <a:gd name="connsiteY14" fmla="*/ 218 h 17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6">
                  <a:moveTo>
                    <a:pt x="-336" y="218"/>
                  </a:moveTo>
                  <a:lnTo>
                    <a:pt x="-336" y="7076"/>
                  </a:lnTo>
                  <a:cubicBezTo>
                    <a:pt x="-279" y="8029"/>
                    <a:pt x="311" y="8877"/>
                    <a:pt x="1188" y="9267"/>
                  </a:cubicBezTo>
                  <a:lnTo>
                    <a:pt x="13856" y="16506"/>
                  </a:lnTo>
                  <a:cubicBezTo>
                    <a:pt x="16218" y="17849"/>
                    <a:pt x="19114" y="17849"/>
                    <a:pt x="21476" y="16506"/>
                  </a:cubicBezTo>
                  <a:lnTo>
                    <a:pt x="34049" y="9267"/>
                  </a:lnTo>
                  <a:cubicBezTo>
                    <a:pt x="34992" y="8896"/>
                    <a:pt x="35630" y="8000"/>
                    <a:pt x="35668" y="6981"/>
                  </a:cubicBezTo>
                  <a:lnTo>
                    <a:pt x="35668" y="-163"/>
                  </a:lnTo>
                  <a:cubicBezTo>
                    <a:pt x="35601" y="847"/>
                    <a:pt x="34973" y="1733"/>
                    <a:pt x="34049" y="2124"/>
                  </a:cubicBezTo>
                  <a:lnTo>
                    <a:pt x="31763" y="3457"/>
                  </a:lnTo>
                  <a:lnTo>
                    <a:pt x="21476" y="9362"/>
                  </a:lnTo>
                  <a:cubicBezTo>
                    <a:pt x="19085" y="10601"/>
                    <a:pt x="16247" y="10601"/>
                    <a:pt x="13856" y="9362"/>
                  </a:cubicBezTo>
                  <a:lnTo>
                    <a:pt x="3569" y="3457"/>
                  </a:lnTo>
                  <a:lnTo>
                    <a:pt x="1188" y="2124"/>
                  </a:lnTo>
                  <a:cubicBezTo>
                    <a:pt x="416" y="1761"/>
                    <a:pt x="-156" y="1057"/>
                    <a:pt x="-336" y="218"/>
                  </a:cubicBezTo>
                  <a:close/>
                </a:path>
              </a:pathLst>
            </a:custGeom>
            <a:solidFill>
              <a:srgbClr val="BF4200"/>
            </a:solidFill>
            <a:ln w="9525" cap="flat">
              <a:noFill/>
              <a:prstDash val="solid"/>
              <a:miter/>
            </a:ln>
          </p:spPr>
          <p:txBody>
            <a:bodyPr rtlCol="0" anchor="ctr"/>
            <a:lstStyle/>
            <a:p>
              <a:endParaRPr lang="zh-CN" altLang="en-US"/>
            </a:p>
          </p:txBody>
        </p:sp>
        <p:sp>
          <p:nvSpPr>
            <p:cNvPr id="455" name="ïṥ1îḍè">
              <a:extLst>
                <a:ext uri="{FF2B5EF4-FFF2-40B4-BE49-F238E27FC236}">
                  <a16:creationId xmlns:a16="http://schemas.microsoft.com/office/drawing/2014/main" id="{D977E726-F4E4-49AA-BD19-45159E445D68}"/>
                </a:ext>
              </a:extLst>
            </p:cNvPr>
            <p:cNvSpPr/>
            <p:nvPr/>
          </p:nvSpPr>
          <p:spPr>
            <a:xfrm>
              <a:off x="5880190" y="5283039"/>
              <a:ext cx="109740" cy="63445"/>
            </a:xfrm>
            <a:custGeom>
              <a:avLst/>
              <a:gdLst>
                <a:gd name="connsiteX0" fmla="*/ -336 w 36052"/>
                <a:gd name="connsiteY0" fmla="*/ 10227 h 20843"/>
                <a:gd name="connsiteX1" fmla="*/ 1188 w 36052"/>
                <a:gd name="connsiteY1" fmla="*/ 12513 h 20843"/>
                <a:gd name="connsiteX2" fmla="*/ 3569 w 36052"/>
                <a:gd name="connsiteY2" fmla="*/ 13846 h 20843"/>
                <a:gd name="connsiteX3" fmla="*/ 13856 w 36052"/>
                <a:gd name="connsiteY3" fmla="*/ 19752 h 20843"/>
                <a:gd name="connsiteX4" fmla="*/ 21476 w 36052"/>
                <a:gd name="connsiteY4" fmla="*/ 19752 h 20843"/>
                <a:gd name="connsiteX5" fmla="*/ 31763 w 36052"/>
                <a:gd name="connsiteY5" fmla="*/ 13846 h 20843"/>
                <a:gd name="connsiteX6" fmla="*/ 34144 w 36052"/>
                <a:gd name="connsiteY6" fmla="*/ 12513 h 20843"/>
                <a:gd name="connsiteX7" fmla="*/ 35573 w 36052"/>
                <a:gd name="connsiteY7" fmla="*/ 9465 h 20843"/>
                <a:gd name="connsiteX8" fmla="*/ 34144 w 36052"/>
                <a:gd name="connsiteY8" fmla="*/ 8036 h 20843"/>
                <a:gd name="connsiteX9" fmla="*/ 21476 w 36052"/>
                <a:gd name="connsiteY9" fmla="*/ 702 h 20843"/>
                <a:gd name="connsiteX10" fmla="*/ 13856 w 36052"/>
                <a:gd name="connsiteY10" fmla="*/ 702 h 20843"/>
                <a:gd name="connsiteX11" fmla="*/ 1188 w 36052"/>
                <a:gd name="connsiteY11" fmla="*/ 8036 h 20843"/>
                <a:gd name="connsiteX12" fmla="*/ -336 w 36052"/>
                <a:gd name="connsiteY12" fmla="*/ 10227 h 20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3">
                  <a:moveTo>
                    <a:pt x="-336" y="10227"/>
                  </a:moveTo>
                  <a:cubicBezTo>
                    <a:pt x="-270" y="11208"/>
                    <a:pt x="311" y="12075"/>
                    <a:pt x="1188" y="12513"/>
                  </a:cubicBezTo>
                  <a:lnTo>
                    <a:pt x="3569" y="13846"/>
                  </a:lnTo>
                  <a:lnTo>
                    <a:pt x="13856" y="19752"/>
                  </a:lnTo>
                  <a:cubicBezTo>
                    <a:pt x="16247" y="20990"/>
                    <a:pt x="19085" y="20990"/>
                    <a:pt x="21476" y="19752"/>
                  </a:cubicBezTo>
                  <a:lnTo>
                    <a:pt x="31763" y="13846"/>
                  </a:lnTo>
                  <a:lnTo>
                    <a:pt x="34144" y="12513"/>
                  </a:lnTo>
                  <a:cubicBezTo>
                    <a:pt x="35382" y="12065"/>
                    <a:pt x="36020" y="10693"/>
                    <a:pt x="35573" y="9465"/>
                  </a:cubicBezTo>
                  <a:cubicBezTo>
                    <a:pt x="35325" y="8798"/>
                    <a:pt x="34811" y="8274"/>
                    <a:pt x="34144"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456" name="iṩḷîďé">
              <a:extLst>
                <a:ext uri="{FF2B5EF4-FFF2-40B4-BE49-F238E27FC236}">
                  <a16:creationId xmlns:a16="http://schemas.microsoft.com/office/drawing/2014/main" id="{ADBC8A95-F108-482D-AE20-6E3C594D1064}"/>
                </a:ext>
              </a:extLst>
            </p:cNvPr>
            <p:cNvSpPr/>
            <p:nvPr/>
          </p:nvSpPr>
          <p:spPr>
            <a:xfrm>
              <a:off x="5881931" y="5284220"/>
              <a:ext cx="106550" cy="61104"/>
            </a:xfrm>
            <a:custGeom>
              <a:avLst/>
              <a:gdLst>
                <a:gd name="connsiteX0" fmla="*/ 1378 w 35004"/>
                <a:gd name="connsiteY0" fmla="*/ 12029 h 20074"/>
                <a:gd name="connsiteX1" fmla="*/ 13570 w 35004"/>
                <a:gd name="connsiteY1" fmla="*/ 18983 h 20074"/>
                <a:gd name="connsiteX2" fmla="*/ 21000 w 35004"/>
                <a:gd name="connsiteY2" fmla="*/ 18983 h 20074"/>
                <a:gd name="connsiteX3" fmla="*/ 33097 w 35004"/>
                <a:gd name="connsiteY3" fmla="*/ 12029 h 20074"/>
                <a:gd name="connsiteX4" fmla="*/ 33097 w 35004"/>
                <a:gd name="connsiteY4" fmla="*/ 7743 h 20074"/>
                <a:gd name="connsiteX5" fmla="*/ 21000 w 35004"/>
                <a:gd name="connsiteY5" fmla="*/ 695 h 20074"/>
                <a:gd name="connsiteX6" fmla="*/ 13570 w 35004"/>
                <a:gd name="connsiteY6" fmla="*/ 695 h 20074"/>
                <a:gd name="connsiteX7" fmla="*/ 1378 w 35004"/>
                <a:gd name="connsiteY7" fmla="*/ 7743 h 20074"/>
                <a:gd name="connsiteX8" fmla="*/ 1378 w 35004"/>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004" h="20074">
                  <a:moveTo>
                    <a:pt x="1378" y="12029"/>
                  </a:moveTo>
                  <a:lnTo>
                    <a:pt x="13570" y="18983"/>
                  </a:lnTo>
                  <a:cubicBezTo>
                    <a:pt x="15894" y="20221"/>
                    <a:pt x="18676" y="20221"/>
                    <a:pt x="21000" y="18983"/>
                  </a:cubicBezTo>
                  <a:lnTo>
                    <a:pt x="33097" y="12029"/>
                  </a:lnTo>
                  <a:cubicBezTo>
                    <a:pt x="35192" y="10791"/>
                    <a:pt x="35192" y="8886"/>
                    <a:pt x="33097" y="7743"/>
                  </a:cubicBezTo>
                  <a:lnTo>
                    <a:pt x="21000" y="695"/>
                  </a:lnTo>
                  <a:cubicBezTo>
                    <a:pt x="18656" y="-448"/>
                    <a:pt x="15913" y="-448"/>
                    <a:pt x="13570" y="695"/>
                  </a:cubicBezTo>
                  <a:lnTo>
                    <a:pt x="1378" y="7743"/>
                  </a:lnTo>
                  <a:cubicBezTo>
                    <a:pt x="-908" y="8886"/>
                    <a:pt x="-908" y="10791"/>
                    <a:pt x="1378" y="12029"/>
                  </a:cubicBezTo>
                  <a:close/>
                </a:path>
              </a:pathLst>
            </a:custGeom>
            <a:solidFill>
              <a:srgbClr val="D1D9E8"/>
            </a:solidFill>
            <a:ln w="9525" cap="flat">
              <a:noFill/>
              <a:prstDash val="solid"/>
              <a:miter/>
            </a:ln>
          </p:spPr>
          <p:txBody>
            <a:bodyPr rtlCol="0" anchor="ctr"/>
            <a:lstStyle/>
            <a:p>
              <a:endParaRPr lang="zh-CN" altLang="en-US"/>
            </a:p>
          </p:txBody>
        </p:sp>
        <p:sp>
          <p:nvSpPr>
            <p:cNvPr id="457" name="íŝḷíďé">
              <a:extLst>
                <a:ext uri="{FF2B5EF4-FFF2-40B4-BE49-F238E27FC236}">
                  <a16:creationId xmlns:a16="http://schemas.microsoft.com/office/drawing/2014/main" id="{F5617A51-6292-439C-A447-67ED20E20DEA}"/>
                </a:ext>
              </a:extLst>
            </p:cNvPr>
            <p:cNvSpPr/>
            <p:nvPr/>
          </p:nvSpPr>
          <p:spPr>
            <a:xfrm>
              <a:off x="5880190" y="5314662"/>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3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3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2" y="7953"/>
                    <a:pt x="35668" y="6981"/>
                  </a:cubicBezTo>
                  <a:lnTo>
                    <a:pt x="35668" y="-163"/>
                  </a:lnTo>
                  <a:cubicBezTo>
                    <a:pt x="35602" y="818"/>
                    <a:pt x="35021" y="1685"/>
                    <a:pt x="34144" y="2123"/>
                  </a:cubicBezTo>
                  <a:lnTo>
                    <a:pt x="31763" y="3457"/>
                  </a:lnTo>
                  <a:lnTo>
                    <a:pt x="21476" y="9362"/>
                  </a:lnTo>
                  <a:cubicBezTo>
                    <a:pt x="19085" y="10601"/>
                    <a:pt x="16247" y="10601"/>
                    <a:pt x="13856" y="9362"/>
                  </a:cubicBezTo>
                  <a:lnTo>
                    <a:pt x="3569" y="3457"/>
                  </a:lnTo>
                  <a:lnTo>
                    <a:pt x="1188"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458" name="ïsḷíde">
              <a:extLst>
                <a:ext uri="{FF2B5EF4-FFF2-40B4-BE49-F238E27FC236}">
                  <a16:creationId xmlns:a16="http://schemas.microsoft.com/office/drawing/2014/main" id="{B3943F8F-2684-4016-A393-2D2D218B0A22}"/>
                </a:ext>
              </a:extLst>
            </p:cNvPr>
            <p:cNvSpPr/>
            <p:nvPr/>
          </p:nvSpPr>
          <p:spPr>
            <a:xfrm>
              <a:off x="5957893" y="5327492"/>
              <a:ext cx="109594" cy="63639"/>
            </a:xfrm>
            <a:custGeom>
              <a:avLst/>
              <a:gdLst>
                <a:gd name="connsiteX0" fmla="*/ -336 w 36004"/>
                <a:gd name="connsiteY0" fmla="*/ 10291 h 20907"/>
                <a:gd name="connsiteX1" fmla="*/ 1188 w 36004"/>
                <a:gd name="connsiteY1" fmla="*/ 12577 h 20907"/>
                <a:gd name="connsiteX2" fmla="*/ 3569 w 36004"/>
                <a:gd name="connsiteY2" fmla="*/ 13910 h 20907"/>
                <a:gd name="connsiteX3" fmla="*/ 13856 w 36004"/>
                <a:gd name="connsiteY3" fmla="*/ 19816 h 20907"/>
                <a:gd name="connsiteX4" fmla="*/ 21476 w 36004"/>
                <a:gd name="connsiteY4" fmla="*/ 19816 h 20907"/>
                <a:gd name="connsiteX5" fmla="*/ 31763 w 36004"/>
                <a:gd name="connsiteY5" fmla="*/ 13910 h 20907"/>
                <a:gd name="connsiteX6" fmla="*/ 34144 w 36004"/>
                <a:gd name="connsiteY6" fmla="*/ 12577 h 20907"/>
                <a:gd name="connsiteX7" fmla="*/ 35668 w 36004"/>
                <a:gd name="connsiteY7" fmla="*/ 10291 h 20907"/>
                <a:gd name="connsiteX8" fmla="*/ 34144 w 36004"/>
                <a:gd name="connsiteY8" fmla="*/ 8100 h 20907"/>
                <a:gd name="connsiteX9" fmla="*/ 21476 w 36004"/>
                <a:gd name="connsiteY9" fmla="*/ 766 h 20907"/>
                <a:gd name="connsiteX10" fmla="*/ 13856 w 36004"/>
                <a:gd name="connsiteY10" fmla="*/ 766 h 20907"/>
                <a:gd name="connsiteX11" fmla="*/ 1188 w 36004"/>
                <a:gd name="connsiteY11" fmla="*/ 8100 h 20907"/>
                <a:gd name="connsiteX12" fmla="*/ -336 w 36004"/>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907">
                  <a:moveTo>
                    <a:pt x="-336" y="10291"/>
                  </a:moveTo>
                  <a:cubicBezTo>
                    <a:pt x="-269" y="11272"/>
                    <a:pt x="311" y="12139"/>
                    <a:pt x="1188" y="12577"/>
                  </a:cubicBezTo>
                  <a:lnTo>
                    <a:pt x="3569" y="13910"/>
                  </a:lnTo>
                  <a:lnTo>
                    <a:pt x="13856" y="19816"/>
                  </a:lnTo>
                  <a:cubicBezTo>
                    <a:pt x="16247" y="21054"/>
                    <a:pt x="19085" y="21054"/>
                    <a:pt x="21476" y="19816"/>
                  </a:cubicBezTo>
                  <a:lnTo>
                    <a:pt x="31763" y="13910"/>
                  </a:lnTo>
                  <a:lnTo>
                    <a:pt x="34144" y="12577"/>
                  </a:lnTo>
                  <a:cubicBezTo>
                    <a:pt x="35021" y="12139"/>
                    <a:pt x="35602" y="11272"/>
                    <a:pt x="35668" y="10291"/>
                  </a:cubicBezTo>
                  <a:cubicBezTo>
                    <a:pt x="35611" y="9339"/>
                    <a:pt x="35021" y="8491"/>
                    <a:pt x="34144" y="8100"/>
                  </a:cubicBezTo>
                  <a:lnTo>
                    <a:pt x="21476" y="766"/>
                  </a:lnTo>
                  <a:cubicBezTo>
                    <a:pt x="19085" y="-472"/>
                    <a:pt x="16247" y="-472"/>
                    <a:pt x="13856" y="766"/>
                  </a:cubicBezTo>
                  <a:lnTo>
                    <a:pt x="1188" y="8100"/>
                  </a:lnTo>
                  <a:cubicBezTo>
                    <a:pt x="311" y="8491"/>
                    <a:pt x="-279"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459" name="işḻîḋê">
              <a:extLst>
                <a:ext uri="{FF2B5EF4-FFF2-40B4-BE49-F238E27FC236}">
                  <a16:creationId xmlns:a16="http://schemas.microsoft.com/office/drawing/2014/main" id="{5D6E1F23-9970-4048-93CD-F3E427DC0EAB}"/>
                </a:ext>
              </a:extLst>
            </p:cNvPr>
            <p:cNvSpPr/>
            <p:nvPr/>
          </p:nvSpPr>
          <p:spPr>
            <a:xfrm>
              <a:off x="5959841" y="5328868"/>
              <a:ext cx="105761" cy="61104"/>
            </a:xfrm>
            <a:custGeom>
              <a:avLst/>
              <a:gdLst>
                <a:gd name="connsiteX0" fmla="*/ 1119 w 34745"/>
                <a:gd name="connsiteY0" fmla="*/ 12029 h 20074"/>
                <a:gd name="connsiteX1" fmla="*/ 13311 w 34745"/>
                <a:gd name="connsiteY1" fmla="*/ 18983 h 20074"/>
                <a:gd name="connsiteX2" fmla="*/ 20741 w 34745"/>
                <a:gd name="connsiteY2" fmla="*/ 18983 h 20074"/>
                <a:gd name="connsiteX3" fmla="*/ 32838 w 34745"/>
                <a:gd name="connsiteY3" fmla="*/ 12029 h 20074"/>
                <a:gd name="connsiteX4" fmla="*/ 32838 w 34745"/>
                <a:gd name="connsiteY4" fmla="*/ 7743 h 20074"/>
                <a:gd name="connsiteX5" fmla="*/ 21122 w 34745"/>
                <a:gd name="connsiteY5" fmla="*/ 695 h 20074"/>
                <a:gd name="connsiteX6" fmla="*/ 13692 w 34745"/>
                <a:gd name="connsiteY6" fmla="*/ 695 h 20074"/>
                <a:gd name="connsiteX7" fmla="*/ 1500 w 34745"/>
                <a:gd name="connsiteY7" fmla="*/ 7743 h 20074"/>
                <a:gd name="connsiteX8" fmla="*/ 1119 w 34745"/>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45" h="20074">
                  <a:moveTo>
                    <a:pt x="1119" y="12029"/>
                  </a:moveTo>
                  <a:lnTo>
                    <a:pt x="13311" y="18983"/>
                  </a:lnTo>
                  <a:cubicBezTo>
                    <a:pt x="15636" y="20221"/>
                    <a:pt x="18417" y="20221"/>
                    <a:pt x="20741" y="18983"/>
                  </a:cubicBezTo>
                  <a:lnTo>
                    <a:pt x="32838" y="12029"/>
                  </a:lnTo>
                  <a:cubicBezTo>
                    <a:pt x="34933" y="10791"/>
                    <a:pt x="34933" y="8886"/>
                    <a:pt x="32838" y="7743"/>
                  </a:cubicBezTo>
                  <a:lnTo>
                    <a:pt x="21122" y="695"/>
                  </a:lnTo>
                  <a:cubicBezTo>
                    <a:pt x="18779" y="-448"/>
                    <a:pt x="16036" y="-448"/>
                    <a:pt x="13692" y="695"/>
                  </a:cubicBezTo>
                  <a:lnTo>
                    <a:pt x="1500" y="7743"/>
                  </a:lnTo>
                  <a:cubicBezTo>
                    <a:pt x="-881" y="8886"/>
                    <a:pt x="-881" y="10791"/>
                    <a:pt x="1119" y="12029"/>
                  </a:cubicBezTo>
                  <a:close/>
                </a:path>
              </a:pathLst>
            </a:custGeom>
            <a:solidFill>
              <a:srgbClr val="D1D9E8"/>
            </a:solidFill>
            <a:ln w="9525" cap="flat">
              <a:noFill/>
              <a:prstDash val="solid"/>
              <a:miter/>
            </a:ln>
          </p:spPr>
          <p:txBody>
            <a:bodyPr rtlCol="0" anchor="ctr"/>
            <a:lstStyle/>
            <a:p>
              <a:endParaRPr lang="zh-CN" altLang="en-US"/>
            </a:p>
          </p:txBody>
        </p:sp>
        <p:sp>
          <p:nvSpPr>
            <p:cNvPr id="460" name="íṧḻïḍê">
              <a:extLst>
                <a:ext uri="{FF2B5EF4-FFF2-40B4-BE49-F238E27FC236}">
                  <a16:creationId xmlns:a16="http://schemas.microsoft.com/office/drawing/2014/main" id="{799F504D-1B69-4694-B64C-BAB1912D3182}"/>
                </a:ext>
              </a:extLst>
            </p:cNvPr>
            <p:cNvSpPr/>
            <p:nvPr/>
          </p:nvSpPr>
          <p:spPr>
            <a:xfrm>
              <a:off x="5957893" y="5359314"/>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4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4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20"/>
                    <a:pt x="35582" y="7953"/>
                    <a:pt x="35668" y="6981"/>
                  </a:cubicBezTo>
                  <a:lnTo>
                    <a:pt x="35668" y="-163"/>
                  </a:lnTo>
                  <a:cubicBezTo>
                    <a:pt x="35602" y="819"/>
                    <a:pt x="35021" y="1685"/>
                    <a:pt x="34144" y="2124"/>
                  </a:cubicBezTo>
                  <a:lnTo>
                    <a:pt x="31763" y="3457"/>
                  </a:lnTo>
                  <a:lnTo>
                    <a:pt x="21476" y="9362"/>
                  </a:lnTo>
                  <a:cubicBezTo>
                    <a:pt x="19085" y="10601"/>
                    <a:pt x="16247" y="10601"/>
                    <a:pt x="13856" y="9362"/>
                  </a:cubicBezTo>
                  <a:lnTo>
                    <a:pt x="3569" y="3457"/>
                  </a:lnTo>
                  <a:lnTo>
                    <a:pt x="1188" y="2124"/>
                  </a:lnTo>
                  <a:cubicBezTo>
                    <a:pt x="311" y="1685"/>
                    <a:pt x="-269" y="819"/>
                    <a:pt x="-336" y="-163"/>
                  </a:cubicBezTo>
                  <a:close/>
                </a:path>
              </a:pathLst>
            </a:custGeom>
            <a:solidFill>
              <a:srgbClr val="BF4200"/>
            </a:solidFill>
            <a:ln w="9525" cap="flat">
              <a:noFill/>
              <a:prstDash val="solid"/>
              <a:miter/>
            </a:ln>
          </p:spPr>
          <p:txBody>
            <a:bodyPr rtlCol="0" anchor="ctr"/>
            <a:lstStyle/>
            <a:p>
              <a:endParaRPr lang="zh-CN" altLang="en-US"/>
            </a:p>
          </p:txBody>
        </p:sp>
        <p:sp>
          <p:nvSpPr>
            <p:cNvPr id="461" name="íşḻîḍê">
              <a:extLst>
                <a:ext uri="{FF2B5EF4-FFF2-40B4-BE49-F238E27FC236}">
                  <a16:creationId xmlns:a16="http://schemas.microsoft.com/office/drawing/2014/main" id="{3A43CF65-2326-4EF1-B9DF-0AD914989E4E}"/>
                </a:ext>
              </a:extLst>
            </p:cNvPr>
            <p:cNvSpPr/>
            <p:nvPr/>
          </p:nvSpPr>
          <p:spPr>
            <a:xfrm>
              <a:off x="6035595" y="5373498"/>
              <a:ext cx="197155" cy="113892"/>
            </a:xfrm>
            <a:custGeom>
              <a:avLst/>
              <a:gdLst>
                <a:gd name="connsiteX0" fmla="*/ -336 w 64770"/>
                <a:gd name="connsiteY0" fmla="*/ 10227 h 37416"/>
                <a:gd name="connsiteX1" fmla="*/ 1188 w 64770"/>
                <a:gd name="connsiteY1" fmla="*/ 12513 h 37416"/>
                <a:gd name="connsiteX2" fmla="*/ 3569 w 64770"/>
                <a:gd name="connsiteY2" fmla="*/ 13846 h 37416"/>
                <a:gd name="connsiteX3" fmla="*/ 42526 w 64770"/>
                <a:gd name="connsiteY3" fmla="*/ 36325 h 37416"/>
                <a:gd name="connsiteX4" fmla="*/ 50242 w 64770"/>
                <a:gd name="connsiteY4" fmla="*/ 36325 h 37416"/>
                <a:gd name="connsiteX5" fmla="*/ 60433 w 64770"/>
                <a:gd name="connsiteY5" fmla="*/ 30420 h 37416"/>
                <a:gd name="connsiteX6" fmla="*/ 62814 w 64770"/>
                <a:gd name="connsiteY6" fmla="*/ 28991 h 37416"/>
                <a:gd name="connsiteX7" fmla="*/ 64434 w 64770"/>
                <a:gd name="connsiteY7" fmla="*/ 27372 h 37416"/>
                <a:gd name="connsiteX8" fmla="*/ 64434 w 64770"/>
                <a:gd name="connsiteY8" fmla="*/ 26229 h 37416"/>
                <a:gd name="connsiteX9" fmla="*/ 62814 w 64770"/>
                <a:gd name="connsiteY9" fmla="*/ 24610 h 37416"/>
                <a:gd name="connsiteX10" fmla="*/ 21476 w 64770"/>
                <a:gd name="connsiteY10" fmla="*/ 702 h 37416"/>
                <a:gd name="connsiteX11" fmla="*/ 13856 w 64770"/>
                <a:gd name="connsiteY11" fmla="*/ 702 h 37416"/>
                <a:gd name="connsiteX12" fmla="*/ 1188 w 64770"/>
                <a:gd name="connsiteY12" fmla="*/ 8036 h 37416"/>
                <a:gd name="connsiteX13" fmla="*/ -336 w 64770"/>
                <a:gd name="connsiteY13" fmla="*/ 10227 h 37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4770" h="37416">
                  <a:moveTo>
                    <a:pt x="-336" y="10227"/>
                  </a:moveTo>
                  <a:cubicBezTo>
                    <a:pt x="-269" y="11208"/>
                    <a:pt x="312" y="12075"/>
                    <a:pt x="1188" y="12513"/>
                  </a:cubicBezTo>
                  <a:lnTo>
                    <a:pt x="3569" y="13846"/>
                  </a:lnTo>
                  <a:lnTo>
                    <a:pt x="42526" y="36325"/>
                  </a:lnTo>
                  <a:cubicBezTo>
                    <a:pt x="44946" y="37563"/>
                    <a:pt x="47822" y="37563"/>
                    <a:pt x="50242" y="36325"/>
                  </a:cubicBezTo>
                  <a:lnTo>
                    <a:pt x="60433" y="30420"/>
                  </a:lnTo>
                  <a:lnTo>
                    <a:pt x="62814" y="28991"/>
                  </a:lnTo>
                  <a:cubicBezTo>
                    <a:pt x="63529" y="28658"/>
                    <a:pt x="64100" y="28086"/>
                    <a:pt x="64434" y="27372"/>
                  </a:cubicBezTo>
                  <a:lnTo>
                    <a:pt x="64434" y="26229"/>
                  </a:lnTo>
                  <a:cubicBezTo>
                    <a:pt x="64043" y="25553"/>
                    <a:pt x="63491" y="25000"/>
                    <a:pt x="62814" y="24610"/>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462" name="isḷíḓe">
              <a:extLst>
                <a:ext uri="{FF2B5EF4-FFF2-40B4-BE49-F238E27FC236}">
                  <a16:creationId xmlns:a16="http://schemas.microsoft.com/office/drawing/2014/main" id="{5D4132D6-A8B6-44A2-A13B-381D0BF7D540}"/>
                </a:ext>
              </a:extLst>
            </p:cNvPr>
            <p:cNvSpPr/>
            <p:nvPr/>
          </p:nvSpPr>
          <p:spPr>
            <a:xfrm>
              <a:off x="6037479" y="5374679"/>
              <a:ext cx="193168" cy="111551"/>
            </a:xfrm>
            <a:custGeom>
              <a:avLst/>
              <a:gdLst>
                <a:gd name="connsiteX0" fmla="*/ 42002 w 63460"/>
                <a:gd name="connsiteY0" fmla="*/ 35556 h 36647"/>
                <a:gd name="connsiteX1" fmla="*/ 1235 w 63460"/>
                <a:gd name="connsiteY1" fmla="*/ 12030 h 36647"/>
                <a:gd name="connsiteX2" fmla="*/ 1235 w 63460"/>
                <a:gd name="connsiteY2" fmla="*/ 7743 h 36647"/>
                <a:gd name="connsiteX3" fmla="*/ 13332 w 63460"/>
                <a:gd name="connsiteY3" fmla="*/ 695 h 36647"/>
                <a:gd name="connsiteX4" fmla="*/ 20762 w 63460"/>
                <a:gd name="connsiteY4" fmla="*/ 695 h 36647"/>
                <a:gd name="connsiteX5" fmla="*/ 61624 w 63460"/>
                <a:gd name="connsiteY5" fmla="*/ 24317 h 36647"/>
                <a:gd name="connsiteX6" fmla="*/ 61624 w 63460"/>
                <a:gd name="connsiteY6" fmla="*/ 28603 h 36647"/>
                <a:gd name="connsiteX7" fmla="*/ 49432 w 63460"/>
                <a:gd name="connsiteY7" fmla="*/ 35556 h 36647"/>
                <a:gd name="connsiteX8" fmla="*/ 42002 w 63460"/>
                <a:gd name="connsiteY8" fmla="*/ 35556 h 366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3460" h="36647">
                  <a:moveTo>
                    <a:pt x="42002" y="35556"/>
                  </a:moveTo>
                  <a:lnTo>
                    <a:pt x="1235" y="12030"/>
                  </a:lnTo>
                  <a:cubicBezTo>
                    <a:pt x="-860" y="10791"/>
                    <a:pt x="-860" y="8886"/>
                    <a:pt x="1235" y="7743"/>
                  </a:cubicBezTo>
                  <a:lnTo>
                    <a:pt x="13332" y="695"/>
                  </a:lnTo>
                  <a:cubicBezTo>
                    <a:pt x="15675" y="-448"/>
                    <a:pt x="18419" y="-448"/>
                    <a:pt x="20762" y="695"/>
                  </a:cubicBezTo>
                  <a:lnTo>
                    <a:pt x="61624" y="24317"/>
                  </a:lnTo>
                  <a:cubicBezTo>
                    <a:pt x="63624" y="25460"/>
                    <a:pt x="63624" y="27365"/>
                    <a:pt x="61624" y="28603"/>
                  </a:cubicBezTo>
                  <a:lnTo>
                    <a:pt x="49432" y="35556"/>
                  </a:lnTo>
                  <a:cubicBezTo>
                    <a:pt x="47108" y="36794"/>
                    <a:pt x="44327" y="36794"/>
                    <a:pt x="42002" y="35556"/>
                  </a:cubicBezTo>
                  <a:close/>
                </a:path>
              </a:pathLst>
            </a:custGeom>
            <a:solidFill>
              <a:srgbClr val="D1D9E8"/>
            </a:solidFill>
            <a:ln w="9525" cap="flat">
              <a:noFill/>
              <a:prstDash val="solid"/>
              <a:miter/>
            </a:ln>
          </p:spPr>
          <p:txBody>
            <a:bodyPr rtlCol="0" anchor="ctr"/>
            <a:lstStyle/>
            <a:p>
              <a:endParaRPr lang="zh-CN" altLang="en-US"/>
            </a:p>
          </p:txBody>
        </p:sp>
        <p:sp>
          <p:nvSpPr>
            <p:cNvPr id="463" name="îś1iďè">
              <a:extLst>
                <a:ext uri="{FF2B5EF4-FFF2-40B4-BE49-F238E27FC236}">
                  <a16:creationId xmlns:a16="http://schemas.microsoft.com/office/drawing/2014/main" id="{D8038C36-3BDD-4A36-9EDB-28CFB5566978}"/>
                </a:ext>
              </a:extLst>
            </p:cNvPr>
            <p:cNvSpPr/>
            <p:nvPr/>
          </p:nvSpPr>
          <p:spPr>
            <a:xfrm>
              <a:off x="6035595" y="5405122"/>
              <a:ext cx="197155" cy="104011"/>
            </a:xfrm>
            <a:custGeom>
              <a:avLst/>
              <a:gdLst>
                <a:gd name="connsiteX0" fmla="*/ -336 w 64770"/>
                <a:gd name="connsiteY0" fmla="*/ -163 h 34170"/>
                <a:gd name="connsiteX1" fmla="*/ -336 w 64770"/>
                <a:gd name="connsiteY1" fmla="*/ 6981 h 34170"/>
                <a:gd name="connsiteX2" fmla="*/ 1188 w 64770"/>
                <a:gd name="connsiteY2" fmla="*/ 9267 h 34170"/>
                <a:gd name="connsiteX3" fmla="*/ 42526 w 64770"/>
                <a:gd name="connsiteY3" fmla="*/ 33080 h 34170"/>
                <a:gd name="connsiteX4" fmla="*/ 50242 w 64770"/>
                <a:gd name="connsiteY4" fmla="*/ 33080 h 34170"/>
                <a:gd name="connsiteX5" fmla="*/ 62814 w 64770"/>
                <a:gd name="connsiteY5" fmla="*/ 25841 h 34170"/>
                <a:gd name="connsiteX6" fmla="*/ 64434 w 64770"/>
                <a:gd name="connsiteY6" fmla="*/ 24221 h 34170"/>
                <a:gd name="connsiteX7" fmla="*/ 64434 w 64770"/>
                <a:gd name="connsiteY7" fmla="*/ 16982 h 34170"/>
                <a:gd name="connsiteX8" fmla="*/ 62814 w 64770"/>
                <a:gd name="connsiteY8" fmla="*/ 18602 h 34170"/>
                <a:gd name="connsiteX9" fmla="*/ 60433 w 64770"/>
                <a:gd name="connsiteY9" fmla="*/ 20030 h 34170"/>
                <a:gd name="connsiteX10" fmla="*/ 50242 w 64770"/>
                <a:gd name="connsiteY10" fmla="*/ 25936 h 34170"/>
                <a:gd name="connsiteX11" fmla="*/ 42526 w 64770"/>
                <a:gd name="connsiteY11" fmla="*/ 25936 h 34170"/>
                <a:gd name="connsiteX12" fmla="*/ 3569 w 64770"/>
                <a:gd name="connsiteY12" fmla="*/ 3457 h 34170"/>
                <a:gd name="connsiteX13" fmla="*/ 1188 w 64770"/>
                <a:gd name="connsiteY13" fmla="*/ 2123 h 34170"/>
                <a:gd name="connsiteX14" fmla="*/ -336 w 64770"/>
                <a:gd name="connsiteY14" fmla="*/ -163 h 341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4770" h="34170">
                  <a:moveTo>
                    <a:pt x="-336" y="-163"/>
                  </a:moveTo>
                  <a:lnTo>
                    <a:pt x="-336" y="6981"/>
                  </a:lnTo>
                  <a:cubicBezTo>
                    <a:pt x="-269" y="7962"/>
                    <a:pt x="312" y="8829"/>
                    <a:pt x="1188" y="9267"/>
                  </a:cubicBezTo>
                  <a:lnTo>
                    <a:pt x="42526" y="33080"/>
                  </a:lnTo>
                  <a:cubicBezTo>
                    <a:pt x="44946" y="34318"/>
                    <a:pt x="47822" y="34318"/>
                    <a:pt x="50242" y="33080"/>
                  </a:cubicBezTo>
                  <a:lnTo>
                    <a:pt x="62814" y="25841"/>
                  </a:lnTo>
                  <a:cubicBezTo>
                    <a:pt x="63443" y="25402"/>
                    <a:pt x="63996" y="24850"/>
                    <a:pt x="64434" y="24221"/>
                  </a:cubicBezTo>
                  <a:lnTo>
                    <a:pt x="64434" y="16982"/>
                  </a:lnTo>
                  <a:cubicBezTo>
                    <a:pt x="64100" y="17697"/>
                    <a:pt x="63529" y="18268"/>
                    <a:pt x="62814" y="18602"/>
                  </a:cubicBezTo>
                  <a:lnTo>
                    <a:pt x="60433" y="20030"/>
                  </a:lnTo>
                  <a:lnTo>
                    <a:pt x="50242" y="25936"/>
                  </a:lnTo>
                  <a:cubicBezTo>
                    <a:pt x="47822" y="27174"/>
                    <a:pt x="44946" y="27174"/>
                    <a:pt x="42526" y="25936"/>
                  </a:cubicBezTo>
                  <a:lnTo>
                    <a:pt x="3569" y="3457"/>
                  </a:lnTo>
                  <a:lnTo>
                    <a:pt x="1188" y="2123"/>
                  </a:lnTo>
                  <a:cubicBezTo>
                    <a:pt x="312"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464" name="ïṩľïḍè">
              <a:extLst>
                <a:ext uri="{FF2B5EF4-FFF2-40B4-BE49-F238E27FC236}">
                  <a16:creationId xmlns:a16="http://schemas.microsoft.com/office/drawing/2014/main" id="{B0A87D8C-DBFA-4F9A-9DA4-8E74BC543390}"/>
                </a:ext>
              </a:extLst>
            </p:cNvPr>
            <p:cNvSpPr/>
            <p:nvPr/>
          </p:nvSpPr>
          <p:spPr>
            <a:xfrm>
              <a:off x="4920799" y="4820746"/>
              <a:ext cx="109740" cy="63289"/>
            </a:xfrm>
            <a:custGeom>
              <a:avLst/>
              <a:gdLst>
                <a:gd name="connsiteX0" fmla="*/ -336 w 36052"/>
                <a:gd name="connsiteY0" fmla="*/ 10177 h 20792"/>
                <a:gd name="connsiteX1" fmla="*/ 1283 w 36052"/>
                <a:gd name="connsiteY1" fmla="*/ 12463 h 20792"/>
                <a:gd name="connsiteX2" fmla="*/ 3569 w 36052"/>
                <a:gd name="connsiteY2" fmla="*/ 13796 h 20792"/>
                <a:gd name="connsiteX3" fmla="*/ 13856 w 36052"/>
                <a:gd name="connsiteY3" fmla="*/ 19702 h 20792"/>
                <a:gd name="connsiteX4" fmla="*/ 21571 w 36052"/>
                <a:gd name="connsiteY4" fmla="*/ 19702 h 20792"/>
                <a:gd name="connsiteX5" fmla="*/ 31858 w 36052"/>
                <a:gd name="connsiteY5" fmla="*/ 13796 h 20792"/>
                <a:gd name="connsiteX6" fmla="*/ 34144 w 36052"/>
                <a:gd name="connsiteY6" fmla="*/ 12463 h 20792"/>
                <a:gd name="connsiteX7" fmla="*/ 35573 w 36052"/>
                <a:gd name="connsiteY7" fmla="*/ 9415 h 20792"/>
                <a:gd name="connsiteX8" fmla="*/ 34144 w 36052"/>
                <a:gd name="connsiteY8" fmla="*/ 7986 h 20792"/>
                <a:gd name="connsiteX9" fmla="*/ 21571 w 36052"/>
                <a:gd name="connsiteY9" fmla="*/ 652 h 20792"/>
                <a:gd name="connsiteX10" fmla="*/ 13856 w 36052"/>
                <a:gd name="connsiteY10" fmla="*/ 652 h 20792"/>
                <a:gd name="connsiteX11" fmla="*/ 1283 w 36052"/>
                <a:gd name="connsiteY11" fmla="*/ 7986 h 20792"/>
                <a:gd name="connsiteX12" fmla="*/ -336 w 36052"/>
                <a:gd name="connsiteY12" fmla="*/ 10177 h 20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792">
                  <a:moveTo>
                    <a:pt x="-336" y="10177"/>
                  </a:moveTo>
                  <a:cubicBezTo>
                    <a:pt x="-232" y="11167"/>
                    <a:pt x="378" y="12034"/>
                    <a:pt x="1283" y="12463"/>
                  </a:cubicBezTo>
                  <a:lnTo>
                    <a:pt x="3569" y="13796"/>
                  </a:lnTo>
                  <a:lnTo>
                    <a:pt x="13856" y="19702"/>
                  </a:lnTo>
                  <a:cubicBezTo>
                    <a:pt x="16275" y="20940"/>
                    <a:pt x="19152" y="20940"/>
                    <a:pt x="21571" y="19702"/>
                  </a:cubicBezTo>
                  <a:lnTo>
                    <a:pt x="31858" y="13796"/>
                  </a:lnTo>
                  <a:lnTo>
                    <a:pt x="34144" y="12463"/>
                  </a:lnTo>
                  <a:cubicBezTo>
                    <a:pt x="35382" y="12015"/>
                    <a:pt x="36020" y="10643"/>
                    <a:pt x="35573" y="9415"/>
                  </a:cubicBezTo>
                  <a:cubicBezTo>
                    <a:pt x="35325" y="8748"/>
                    <a:pt x="34811" y="8224"/>
                    <a:pt x="34144" y="7986"/>
                  </a:cubicBezTo>
                  <a:lnTo>
                    <a:pt x="21571" y="652"/>
                  </a:lnTo>
                  <a:cubicBezTo>
                    <a:pt x="19114" y="-434"/>
                    <a:pt x="16313" y="-434"/>
                    <a:pt x="13856" y="652"/>
                  </a:cubicBezTo>
                  <a:lnTo>
                    <a:pt x="1283" y="7986"/>
                  </a:lnTo>
                  <a:cubicBezTo>
                    <a:pt x="407" y="8396"/>
                    <a:pt x="-203" y="9224"/>
                    <a:pt x="-336" y="10177"/>
                  </a:cubicBezTo>
                  <a:close/>
                </a:path>
              </a:pathLst>
            </a:custGeom>
            <a:solidFill>
              <a:srgbClr val="FFFFFF"/>
            </a:solidFill>
            <a:ln w="9525" cap="flat">
              <a:noFill/>
              <a:prstDash val="solid"/>
              <a:miter/>
            </a:ln>
          </p:spPr>
          <p:txBody>
            <a:bodyPr rtlCol="0" anchor="ctr"/>
            <a:lstStyle/>
            <a:p>
              <a:endParaRPr lang="zh-CN" altLang="en-US"/>
            </a:p>
          </p:txBody>
        </p:sp>
        <p:sp>
          <p:nvSpPr>
            <p:cNvPr id="465" name="íṩlïḋe">
              <a:extLst>
                <a:ext uri="{FF2B5EF4-FFF2-40B4-BE49-F238E27FC236}">
                  <a16:creationId xmlns:a16="http://schemas.microsoft.com/office/drawing/2014/main" id="{FF66316B-A21D-458E-9B0F-CB29C8A3AA8E}"/>
                </a:ext>
              </a:extLst>
            </p:cNvPr>
            <p:cNvSpPr/>
            <p:nvPr/>
          </p:nvSpPr>
          <p:spPr>
            <a:xfrm>
              <a:off x="4922902" y="4821774"/>
              <a:ext cx="105679" cy="61101"/>
            </a:xfrm>
            <a:custGeom>
              <a:avLst/>
              <a:gdLst>
                <a:gd name="connsiteX0" fmla="*/ 1164 w 34718"/>
                <a:gd name="connsiteY0" fmla="*/ 12029 h 20073"/>
                <a:gd name="connsiteX1" fmla="*/ 13261 w 34718"/>
                <a:gd name="connsiteY1" fmla="*/ 18982 h 20073"/>
                <a:gd name="connsiteX2" fmla="*/ 20690 w 34718"/>
                <a:gd name="connsiteY2" fmla="*/ 18982 h 20073"/>
                <a:gd name="connsiteX3" fmla="*/ 32882 w 34718"/>
                <a:gd name="connsiteY3" fmla="*/ 12029 h 20073"/>
                <a:gd name="connsiteX4" fmla="*/ 32882 w 34718"/>
                <a:gd name="connsiteY4" fmla="*/ 7743 h 20073"/>
                <a:gd name="connsiteX5" fmla="*/ 20690 w 34718"/>
                <a:gd name="connsiteY5" fmla="*/ 695 h 20073"/>
                <a:gd name="connsiteX6" fmla="*/ 13261 w 34718"/>
                <a:gd name="connsiteY6" fmla="*/ 695 h 20073"/>
                <a:gd name="connsiteX7" fmla="*/ 1164 w 34718"/>
                <a:gd name="connsiteY7" fmla="*/ 7743 h 20073"/>
                <a:gd name="connsiteX8" fmla="*/ 1164 w 34718"/>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18" h="20073">
                  <a:moveTo>
                    <a:pt x="1164" y="12029"/>
                  </a:moveTo>
                  <a:lnTo>
                    <a:pt x="13261" y="18982"/>
                  </a:lnTo>
                  <a:cubicBezTo>
                    <a:pt x="15585" y="20221"/>
                    <a:pt x="18366" y="20221"/>
                    <a:pt x="20690" y="18982"/>
                  </a:cubicBezTo>
                  <a:lnTo>
                    <a:pt x="32882" y="12029"/>
                  </a:lnTo>
                  <a:cubicBezTo>
                    <a:pt x="34882" y="10791"/>
                    <a:pt x="34882" y="8886"/>
                    <a:pt x="32882" y="7743"/>
                  </a:cubicBezTo>
                  <a:lnTo>
                    <a:pt x="20690" y="695"/>
                  </a:lnTo>
                  <a:cubicBezTo>
                    <a:pt x="18347" y="-448"/>
                    <a:pt x="15604" y="-448"/>
                    <a:pt x="13261" y="695"/>
                  </a:cubicBezTo>
                  <a:lnTo>
                    <a:pt x="1164" y="7743"/>
                  </a:lnTo>
                  <a:cubicBezTo>
                    <a:pt x="-836" y="8886"/>
                    <a:pt x="-836" y="11077"/>
                    <a:pt x="1164" y="12029"/>
                  </a:cubicBezTo>
                  <a:close/>
                </a:path>
              </a:pathLst>
            </a:custGeom>
            <a:solidFill>
              <a:srgbClr val="D1D9E8"/>
            </a:solidFill>
            <a:ln w="9525" cap="flat">
              <a:noFill/>
              <a:prstDash val="solid"/>
              <a:miter/>
            </a:ln>
          </p:spPr>
          <p:txBody>
            <a:bodyPr rtlCol="0" anchor="ctr"/>
            <a:lstStyle/>
            <a:p>
              <a:endParaRPr lang="zh-CN" altLang="en-US"/>
            </a:p>
          </p:txBody>
        </p:sp>
        <p:sp>
          <p:nvSpPr>
            <p:cNvPr id="466" name="îṩlïďe">
              <a:extLst>
                <a:ext uri="{FF2B5EF4-FFF2-40B4-BE49-F238E27FC236}">
                  <a16:creationId xmlns:a16="http://schemas.microsoft.com/office/drawing/2014/main" id="{FFBB0CA5-55D9-4A9D-8114-A3ADA6A58DD9}"/>
                </a:ext>
              </a:extLst>
            </p:cNvPr>
            <p:cNvSpPr/>
            <p:nvPr/>
          </p:nvSpPr>
          <p:spPr>
            <a:xfrm>
              <a:off x="4920799" y="4852217"/>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4 w 36099"/>
                <a:gd name="connsiteY6" fmla="*/ 6981 h 17597"/>
                <a:gd name="connsiteX7" fmla="*/ 35764 w 36099"/>
                <a:gd name="connsiteY7" fmla="*/ -163 h 17597"/>
                <a:gd name="connsiteX8" fmla="*/ 34144 w 36099"/>
                <a:gd name="connsiteY8" fmla="*/ 2123 h 17597"/>
                <a:gd name="connsiteX9" fmla="*/ 31858 w 36099"/>
                <a:gd name="connsiteY9" fmla="*/ 3457 h 17597"/>
                <a:gd name="connsiteX10" fmla="*/ 21571 w 36099"/>
                <a:gd name="connsiteY10" fmla="*/ 9362 h 17597"/>
                <a:gd name="connsiteX11" fmla="*/ 13856 w 36099"/>
                <a:gd name="connsiteY11" fmla="*/ 9362 h 17597"/>
                <a:gd name="connsiteX12" fmla="*/ 3569 w 36099"/>
                <a:gd name="connsiteY12" fmla="*/ 3457 h 17597"/>
                <a:gd name="connsiteX13" fmla="*/ 1283 w 36099"/>
                <a:gd name="connsiteY13" fmla="*/ 2123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03" y="8029"/>
                    <a:pt x="407" y="8857"/>
                    <a:pt x="1283" y="9267"/>
                  </a:cubicBezTo>
                  <a:lnTo>
                    <a:pt x="13856" y="16506"/>
                  </a:lnTo>
                  <a:cubicBezTo>
                    <a:pt x="16275" y="17744"/>
                    <a:pt x="19152" y="17744"/>
                    <a:pt x="21571" y="16506"/>
                  </a:cubicBezTo>
                  <a:lnTo>
                    <a:pt x="34144" y="9267"/>
                  </a:lnTo>
                  <a:cubicBezTo>
                    <a:pt x="35030" y="8829"/>
                    <a:pt x="35640" y="7962"/>
                    <a:pt x="35764" y="6981"/>
                  </a:cubicBezTo>
                  <a:lnTo>
                    <a:pt x="35764" y="-163"/>
                  </a:lnTo>
                  <a:cubicBezTo>
                    <a:pt x="35659" y="828"/>
                    <a:pt x="35049" y="1695"/>
                    <a:pt x="34144" y="2123"/>
                  </a:cubicBezTo>
                  <a:lnTo>
                    <a:pt x="31858" y="3457"/>
                  </a:lnTo>
                  <a:lnTo>
                    <a:pt x="21571" y="9362"/>
                  </a:lnTo>
                  <a:cubicBezTo>
                    <a:pt x="19152" y="10601"/>
                    <a:pt x="16275" y="10601"/>
                    <a:pt x="13856" y="9362"/>
                  </a:cubicBezTo>
                  <a:lnTo>
                    <a:pt x="3569" y="3457"/>
                  </a:lnTo>
                  <a:lnTo>
                    <a:pt x="1283" y="2123"/>
                  </a:lnTo>
                  <a:cubicBezTo>
                    <a:pt x="378" y="1695"/>
                    <a:pt x="-232"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467" name="îṩḷîḋe">
              <a:extLst>
                <a:ext uri="{FF2B5EF4-FFF2-40B4-BE49-F238E27FC236}">
                  <a16:creationId xmlns:a16="http://schemas.microsoft.com/office/drawing/2014/main" id="{27158652-1B68-477F-93A4-91C1938490E6}"/>
                </a:ext>
              </a:extLst>
            </p:cNvPr>
            <p:cNvSpPr/>
            <p:nvPr/>
          </p:nvSpPr>
          <p:spPr>
            <a:xfrm>
              <a:off x="4998212" y="4865047"/>
              <a:ext cx="109740" cy="63639"/>
            </a:xfrm>
            <a:custGeom>
              <a:avLst/>
              <a:gdLst>
                <a:gd name="connsiteX0" fmla="*/ -336 w 36052"/>
                <a:gd name="connsiteY0" fmla="*/ 10291 h 20907"/>
                <a:gd name="connsiteX1" fmla="*/ 1188 w 36052"/>
                <a:gd name="connsiteY1" fmla="*/ 12577 h 20907"/>
                <a:gd name="connsiteX2" fmla="*/ 3569 w 36052"/>
                <a:gd name="connsiteY2" fmla="*/ 13911 h 20907"/>
                <a:gd name="connsiteX3" fmla="*/ 13856 w 36052"/>
                <a:gd name="connsiteY3" fmla="*/ 19816 h 20907"/>
                <a:gd name="connsiteX4" fmla="*/ 21476 w 36052"/>
                <a:gd name="connsiteY4" fmla="*/ 19816 h 20907"/>
                <a:gd name="connsiteX5" fmla="*/ 31763 w 36052"/>
                <a:gd name="connsiteY5" fmla="*/ 13911 h 20907"/>
                <a:gd name="connsiteX6" fmla="*/ 34144 w 36052"/>
                <a:gd name="connsiteY6" fmla="*/ 12577 h 20907"/>
                <a:gd name="connsiteX7" fmla="*/ 35573 w 36052"/>
                <a:gd name="connsiteY7" fmla="*/ 9529 h 20907"/>
                <a:gd name="connsiteX8" fmla="*/ 34144 w 36052"/>
                <a:gd name="connsiteY8" fmla="*/ 8100 h 20907"/>
                <a:gd name="connsiteX9" fmla="*/ 21476 w 36052"/>
                <a:gd name="connsiteY9" fmla="*/ 766 h 20907"/>
                <a:gd name="connsiteX10" fmla="*/ 13856 w 36052"/>
                <a:gd name="connsiteY10" fmla="*/ 766 h 20907"/>
                <a:gd name="connsiteX11" fmla="*/ 1188 w 36052"/>
                <a:gd name="connsiteY11" fmla="*/ 8100 h 20907"/>
                <a:gd name="connsiteX12" fmla="*/ -336 w 36052"/>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907">
                  <a:moveTo>
                    <a:pt x="-336" y="10291"/>
                  </a:moveTo>
                  <a:cubicBezTo>
                    <a:pt x="-269" y="11272"/>
                    <a:pt x="312" y="12139"/>
                    <a:pt x="1188" y="12577"/>
                  </a:cubicBezTo>
                  <a:lnTo>
                    <a:pt x="3569" y="13911"/>
                  </a:lnTo>
                  <a:lnTo>
                    <a:pt x="13856" y="19816"/>
                  </a:lnTo>
                  <a:cubicBezTo>
                    <a:pt x="16247" y="21054"/>
                    <a:pt x="19085" y="21054"/>
                    <a:pt x="21476" y="19816"/>
                  </a:cubicBezTo>
                  <a:lnTo>
                    <a:pt x="31763" y="13911"/>
                  </a:lnTo>
                  <a:lnTo>
                    <a:pt x="34144" y="12577"/>
                  </a:lnTo>
                  <a:cubicBezTo>
                    <a:pt x="35382" y="12129"/>
                    <a:pt x="36021" y="10758"/>
                    <a:pt x="35573" y="9529"/>
                  </a:cubicBezTo>
                  <a:cubicBezTo>
                    <a:pt x="35325" y="8862"/>
                    <a:pt x="34811" y="8338"/>
                    <a:pt x="34144" y="8100"/>
                  </a:cubicBezTo>
                  <a:lnTo>
                    <a:pt x="21476" y="766"/>
                  </a:lnTo>
                  <a:cubicBezTo>
                    <a:pt x="19085" y="-472"/>
                    <a:pt x="16247" y="-472"/>
                    <a:pt x="13856" y="766"/>
                  </a:cubicBezTo>
                  <a:lnTo>
                    <a:pt x="1188" y="8100"/>
                  </a:lnTo>
                  <a:cubicBezTo>
                    <a:pt x="340" y="8519"/>
                    <a:pt x="-241" y="9348"/>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468" name="îṧlïdê">
              <a:extLst>
                <a:ext uri="{FF2B5EF4-FFF2-40B4-BE49-F238E27FC236}">
                  <a16:creationId xmlns:a16="http://schemas.microsoft.com/office/drawing/2014/main" id="{0EC9DF82-38A4-402B-AB20-8AAD3D53CF7B}"/>
                </a:ext>
              </a:extLst>
            </p:cNvPr>
            <p:cNvSpPr/>
            <p:nvPr/>
          </p:nvSpPr>
          <p:spPr>
            <a:xfrm>
              <a:off x="5000096" y="4866426"/>
              <a:ext cx="105825" cy="61101"/>
            </a:xfrm>
            <a:custGeom>
              <a:avLst/>
              <a:gdLst>
                <a:gd name="connsiteX0" fmla="*/ 1235 w 34766"/>
                <a:gd name="connsiteY0" fmla="*/ 12030 h 20073"/>
                <a:gd name="connsiteX1" fmla="*/ 13332 w 34766"/>
                <a:gd name="connsiteY1" fmla="*/ 18983 h 20073"/>
                <a:gd name="connsiteX2" fmla="*/ 20761 w 34766"/>
                <a:gd name="connsiteY2" fmla="*/ 18983 h 20073"/>
                <a:gd name="connsiteX3" fmla="*/ 32858 w 34766"/>
                <a:gd name="connsiteY3" fmla="*/ 12030 h 20073"/>
                <a:gd name="connsiteX4" fmla="*/ 32858 w 34766"/>
                <a:gd name="connsiteY4" fmla="*/ 7743 h 20073"/>
                <a:gd name="connsiteX5" fmla="*/ 20761 w 34766"/>
                <a:gd name="connsiteY5" fmla="*/ 695 h 20073"/>
                <a:gd name="connsiteX6" fmla="*/ 13332 w 34766"/>
                <a:gd name="connsiteY6" fmla="*/ 695 h 20073"/>
                <a:gd name="connsiteX7" fmla="*/ 1235 w 34766"/>
                <a:gd name="connsiteY7" fmla="*/ 7743 h 20073"/>
                <a:gd name="connsiteX8" fmla="*/ 1235 w 34766"/>
                <a:gd name="connsiteY8" fmla="*/ 12030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6" h="20073">
                  <a:moveTo>
                    <a:pt x="1235" y="12030"/>
                  </a:moveTo>
                  <a:lnTo>
                    <a:pt x="13332" y="18983"/>
                  </a:lnTo>
                  <a:cubicBezTo>
                    <a:pt x="15656" y="20221"/>
                    <a:pt x="18437" y="20221"/>
                    <a:pt x="20761" y="18983"/>
                  </a:cubicBezTo>
                  <a:lnTo>
                    <a:pt x="32858" y="12030"/>
                  </a:lnTo>
                  <a:cubicBezTo>
                    <a:pt x="34954" y="10791"/>
                    <a:pt x="34954" y="8886"/>
                    <a:pt x="32858" y="7743"/>
                  </a:cubicBezTo>
                  <a:lnTo>
                    <a:pt x="20761" y="695"/>
                  </a:lnTo>
                  <a:cubicBezTo>
                    <a:pt x="18419" y="-448"/>
                    <a:pt x="15675" y="-448"/>
                    <a:pt x="13332" y="695"/>
                  </a:cubicBezTo>
                  <a:lnTo>
                    <a:pt x="1235" y="7743"/>
                  </a:lnTo>
                  <a:cubicBezTo>
                    <a:pt x="-860" y="8886"/>
                    <a:pt x="-860" y="10791"/>
                    <a:pt x="1235" y="12030"/>
                  </a:cubicBezTo>
                  <a:close/>
                </a:path>
              </a:pathLst>
            </a:custGeom>
            <a:solidFill>
              <a:srgbClr val="D1D9E8"/>
            </a:solidFill>
            <a:ln w="9525" cap="flat">
              <a:noFill/>
              <a:prstDash val="solid"/>
              <a:miter/>
            </a:ln>
          </p:spPr>
          <p:txBody>
            <a:bodyPr rtlCol="0" anchor="ctr"/>
            <a:lstStyle/>
            <a:p>
              <a:endParaRPr lang="zh-CN" altLang="en-US"/>
            </a:p>
          </p:txBody>
        </p:sp>
        <p:sp>
          <p:nvSpPr>
            <p:cNvPr id="469" name="î$ḻíďê">
              <a:extLst>
                <a:ext uri="{FF2B5EF4-FFF2-40B4-BE49-F238E27FC236}">
                  <a16:creationId xmlns:a16="http://schemas.microsoft.com/office/drawing/2014/main" id="{D1B06F11-4C4C-4918-9362-8B75E73EE6CD}"/>
                </a:ext>
              </a:extLst>
            </p:cNvPr>
            <p:cNvSpPr/>
            <p:nvPr/>
          </p:nvSpPr>
          <p:spPr>
            <a:xfrm>
              <a:off x="4998212" y="4896868"/>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3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3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3" y="7953"/>
                    <a:pt x="35668" y="6981"/>
                  </a:cubicBezTo>
                  <a:lnTo>
                    <a:pt x="35668" y="-163"/>
                  </a:lnTo>
                  <a:cubicBezTo>
                    <a:pt x="35602" y="818"/>
                    <a:pt x="35021" y="1685"/>
                    <a:pt x="34144" y="2123"/>
                  </a:cubicBezTo>
                  <a:lnTo>
                    <a:pt x="31763" y="3457"/>
                  </a:lnTo>
                  <a:lnTo>
                    <a:pt x="21476" y="9362"/>
                  </a:lnTo>
                  <a:cubicBezTo>
                    <a:pt x="19085" y="10601"/>
                    <a:pt x="16247" y="10601"/>
                    <a:pt x="13856" y="9362"/>
                  </a:cubicBezTo>
                  <a:lnTo>
                    <a:pt x="3569" y="3457"/>
                  </a:lnTo>
                  <a:lnTo>
                    <a:pt x="1188" y="2123"/>
                  </a:lnTo>
                  <a:cubicBezTo>
                    <a:pt x="312"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470" name="îṥľîḋê">
              <a:extLst>
                <a:ext uri="{FF2B5EF4-FFF2-40B4-BE49-F238E27FC236}">
                  <a16:creationId xmlns:a16="http://schemas.microsoft.com/office/drawing/2014/main" id="{89CA3C4C-2196-44FC-813A-107D83DDEA34}"/>
                </a:ext>
              </a:extLst>
            </p:cNvPr>
            <p:cNvSpPr/>
            <p:nvPr/>
          </p:nvSpPr>
          <p:spPr>
            <a:xfrm>
              <a:off x="5075333" y="4911147"/>
              <a:ext cx="109015" cy="63639"/>
            </a:xfrm>
            <a:custGeom>
              <a:avLst/>
              <a:gdLst>
                <a:gd name="connsiteX0" fmla="*/ -336 w 35814"/>
                <a:gd name="connsiteY0" fmla="*/ 10291 h 20907"/>
                <a:gd name="connsiteX1" fmla="*/ 1283 w 35814"/>
                <a:gd name="connsiteY1" fmla="*/ 12577 h 20907"/>
                <a:gd name="connsiteX2" fmla="*/ 3569 w 35814"/>
                <a:gd name="connsiteY2" fmla="*/ 13911 h 20907"/>
                <a:gd name="connsiteX3" fmla="*/ 13856 w 35814"/>
                <a:gd name="connsiteY3" fmla="*/ 19816 h 20907"/>
                <a:gd name="connsiteX4" fmla="*/ 21571 w 35814"/>
                <a:gd name="connsiteY4" fmla="*/ 19816 h 20907"/>
                <a:gd name="connsiteX5" fmla="*/ 31858 w 35814"/>
                <a:gd name="connsiteY5" fmla="*/ 13911 h 20907"/>
                <a:gd name="connsiteX6" fmla="*/ 34144 w 35814"/>
                <a:gd name="connsiteY6" fmla="*/ 12577 h 20907"/>
                <a:gd name="connsiteX7" fmla="*/ 35478 w 35814"/>
                <a:gd name="connsiteY7" fmla="*/ 10291 h 20907"/>
                <a:gd name="connsiteX8" fmla="*/ 33858 w 35814"/>
                <a:gd name="connsiteY8" fmla="*/ 8100 h 20907"/>
                <a:gd name="connsiteX9" fmla="*/ 21286 w 35814"/>
                <a:gd name="connsiteY9" fmla="*/ 766 h 20907"/>
                <a:gd name="connsiteX10" fmla="*/ 13570 w 35814"/>
                <a:gd name="connsiteY10" fmla="*/ 766 h 20907"/>
                <a:gd name="connsiteX11" fmla="*/ 997 w 35814"/>
                <a:gd name="connsiteY11" fmla="*/ 8100 h 20907"/>
                <a:gd name="connsiteX12" fmla="*/ -336 w 35814"/>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814" h="20907">
                  <a:moveTo>
                    <a:pt x="-336" y="10291"/>
                  </a:moveTo>
                  <a:cubicBezTo>
                    <a:pt x="-231" y="11282"/>
                    <a:pt x="378" y="12149"/>
                    <a:pt x="1283" y="12577"/>
                  </a:cubicBezTo>
                  <a:lnTo>
                    <a:pt x="3569" y="13911"/>
                  </a:lnTo>
                  <a:lnTo>
                    <a:pt x="13856" y="19816"/>
                  </a:lnTo>
                  <a:cubicBezTo>
                    <a:pt x="16275" y="21054"/>
                    <a:pt x="19152" y="21054"/>
                    <a:pt x="21571" y="19816"/>
                  </a:cubicBezTo>
                  <a:lnTo>
                    <a:pt x="31858" y="13911"/>
                  </a:lnTo>
                  <a:lnTo>
                    <a:pt x="34144" y="12577"/>
                  </a:lnTo>
                  <a:cubicBezTo>
                    <a:pt x="34964" y="12101"/>
                    <a:pt x="35468" y="11234"/>
                    <a:pt x="35478" y="10291"/>
                  </a:cubicBezTo>
                  <a:cubicBezTo>
                    <a:pt x="35402" y="9310"/>
                    <a:pt x="34773" y="8462"/>
                    <a:pt x="33858" y="8100"/>
                  </a:cubicBezTo>
                  <a:lnTo>
                    <a:pt x="21286" y="766"/>
                  </a:lnTo>
                  <a:cubicBezTo>
                    <a:pt x="18866" y="-472"/>
                    <a:pt x="15990" y="-472"/>
                    <a:pt x="13570" y="766"/>
                  </a:cubicBezTo>
                  <a:lnTo>
                    <a:pt x="997" y="8100"/>
                  </a:lnTo>
                  <a:cubicBezTo>
                    <a:pt x="216" y="8567"/>
                    <a:pt x="-279" y="9386"/>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471" name="ïṡḷîḑè">
              <a:extLst>
                <a:ext uri="{FF2B5EF4-FFF2-40B4-BE49-F238E27FC236}">
                  <a16:creationId xmlns:a16="http://schemas.microsoft.com/office/drawing/2014/main" id="{94BC8050-D2D2-49EC-AADE-DDF8FCADB53D}"/>
                </a:ext>
              </a:extLst>
            </p:cNvPr>
            <p:cNvSpPr/>
            <p:nvPr/>
          </p:nvSpPr>
          <p:spPr>
            <a:xfrm>
              <a:off x="5077437" y="4910858"/>
              <a:ext cx="105679" cy="61104"/>
            </a:xfrm>
            <a:custGeom>
              <a:avLst/>
              <a:gdLst>
                <a:gd name="connsiteX0" fmla="*/ 1164 w 34718"/>
                <a:gd name="connsiteY0" fmla="*/ 12006 h 20074"/>
                <a:gd name="connsiteX1" fmla="*/ 13356 w 34718"/>
                <a:gd name="connsiteY1" fmla="*/ 19054 h 20074"/>
                <a:gd name="connsiteX2" fmla="*/ 20785 w 34718"/>
                <a:gd name="connsiteY2" fmla="*/ 19054 h 20074"/>
                <a:gd name="connsiteX3" fmla="*/ 32882 w 34718"/>
                <a:gd name="connsiteY3" fmla="*/ 12006 h 20074"/>
                <a:gd name="connsiteX4" fmla="*/ 32882 w 34718"/>
                <a:gd name="connsiteY4" fmla="*/ 7719 h 20074"/>
                <a:gd name="connsiteX5" fmla="*/ 20785 w 34718"/>
                <a:gd name="connsiteY5" fmla="*/ 766 h 20074"/>
                <a:gd name="connsiteX6" fmla="*/ 13356 w 34718"/>
                <a:gd name="connsiteY6" fmla="*/ 766 h 20074"/>
                <a:gd name="connsiteX7" fmla="*/ 1164 w 34718"/>
                <a:gd name="connsiteY7" fmla="*/ 7719 h 20074"/>
                <a:gd name="connsiteX8" fmla="*/ 1164 w 34718"/>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18" h="20074">
                  <a:moveTo>
                    <a:pt x="1164" y="12006"/>
                  </a:moveTo>
                  <a:lnTo>
                    <a:pt x="13356" y="19054"/>
                  </a:lnTo>
                  <a:cubicBezTo>
                    <a:pt x="15699" y="20197"/>
                    <a:pt x="18442" y="20197"/>
                    <a:pt x="20785" y="19054"/>
                  </a:cubicBezTo>
                  <a:lnTo>
                    <a:pt x="32882" y="12006"/>
                  </a:lnTo>
                  <a:cubicBezTo>
                    <a:pt x="34882" y="10863"/>
                    <a:pt x="34882" y="8958"/>
                    <a:pt x="32882" y="7719"/>
                  </a:cubicBezTo>
                  <a:lnTo>
                    <a:pt x="20785" y="766"/>
                  </a:lnTo>
                  <a:cubicBezTo>
                    <a:pt x="18461" y="-472"/>
                    <a:pt x="15680" y="-472"/>
                    <a:pt x="13356" y="766"/>
                  </a:cubicBezTo>
                  <a:lnTo>
                    <a:pt x="1164" y="7719"/>
                  </a:lnTo>
                  <a:cubicBezTo>
                    <a:pt x="-836" y="8958"/>
                    <a:pt x="-836" y="10863"/>
                    <a:pt x="1164" y="12006"/>
                  </a:cubicBezTo>
                  <a:close/>
                </a:path>
              </a:pathLst>
            </a:custGeom>
            <a:solidFill>
              <a:srgbClr val="D1D9E8"/>
            </a:solidFill>
            <a:ln w="9525" cap="flat">
              <a:noFill/>
              <a:prstDash val="solid"/>
              <a:miter/>
            </a:ln>
          </p:spPr>
          <p:txBody>
            <a:bodyPr rtlCol="0" anchor="ctr"/>
            <a:lstStyle/>
            <a:p>
              <a:endParaRPr lang="zh-CN" altLang="en-US"/>
            </a:p>
          </p:txBody>
        </p:sp>
        <p:sp>
          <p:nvSpPr>
            <p:cNvPr id="472" name="ïŝľiḑé">
              <a:extLst>
                <a:ext uri="{FF2B5EF4-FFF2-40B4-BE49-F238E27FC236}">
                  <a16:creationId xmlns:a16="http://schemas.microsoft.com/office/drawing/2014/main" id="{BBD941E2-43D0-4573-B6C4-1E604EC19A79}"/>
                </a:ext>
              </a:extLst>
            </p:cNvPr>
            <p:cNvSpPr/>
            <p:nvPr/>
          </p:nvSpPr>
          <p:spPr>
            <a:xfrm>
              <a:off x="5075333" y="4942968"/>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4 w 36099"/>
                <a:gd name="connsiteY6" fmla="*/ 6981 h 17597"/>
                <a:gd name="connsiteX7" fmla="*/ 35764 w 36099"/>
                <a:gd name="connsiteY7" fmla="*/ -163 h 17597"/>
                <a:gd name="connsiteX8" fmla="*/ 34144 w 36099"/>
                <a:gd name="connsiteY8" fmla="*/ 2123 h 17597"/>
                <a:gd name="connsiteX9" fmla="*/ 31858 w 36099"/>
                <a:gd name="connsiteY9" fmla="*/ 3457 h 17597"/>
                <a:gd name="connsiteX10" fmla="*/ 21571 w 36099"/>
                <a:gd name="connsiteY10" fmla="*/ 9362 h 17597"/>
                <a:gd name="connsiteX11" fmla="*/ 13856 w 36099"/>
                <a:gd name="connsiteY11" fmla="*/ 9362 h 17597"/>
                <a:gd name="connsiteX12" fmla="*/ 3569 w 36099"/>
                <a:gd name="connsiteY12" fmla="*/ 3457 h 17597"/>
                <a:gd name="connsiteX13" fmla="*/ 1283 w 36099"/>
                <a:gd name="connsiteY13" fmla="*/ 2123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03" y="8038"/>
                    <a:pt x="407" y="8857"/>
                    <a:pt x="1283" y="9267"/>
                  </a:cubicBezTo>
                  <a:lnTo>
                    <a:pt x="13856" y="16506"/>
                  </a:lnTo>
                  <a:cubicBezTo>
                    <a:pt x="16275" y="17744"/>
                    <a:pt x="19152" y="17744"/>
                    <a:pt x="21571" y="16506"/>
                  </a:cubicBezTo>
                  <a:lnTo>
                    <a:pt x="34144" y="9267"/>
                  </a:lnTo>
                  <a:cubicBezTo>
                    <a:pt x="35059" y="8857"/>
                    <a:pt x="35678" y="7981"/>
                    <a:pt x="35764" y="6981"/>
                  </a:cubicBezTo>
                  <a:lnTo>
                    <a:pt x="35764" y="-163"/>
                  </a:lnTo>
                  <a:cubicBezTo>
                    <a:pt x="35697" y="847"/>
                    <a:pt x="35068" y="1733"/>
                    <a:pt x="34144" y="2123"/>
                  </a:cubicBezTo>
                  <a:lnTo>
                    <a:pt x="31858" y="3457"/>
                  </a:lnTo>
                  <a:lnTo>
                    <a:pt x="21571" y="9362"/>
                  </a:lnTo>
                  <a:cubicBezTo>
                    <a:pt x="19152" y="10601"/>
                    <a:pt x="16275" y="10601"/>
                    <a:pt x="13856" y="9362"/>
                  </a:cubicBezTo>
                  <a:lnTo>
                    <a:pt x="3569" y="3457"/>
                  </a:lnTo>
                  <a:lnTo>
                    <a:pt x="1283" y="2123"/>
                  </a:lnTo>
                  <a:cubicBezTo>
                    <a:pt x="378" y="1695"/>
                    <a:pt x="-231"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473" name="ïslíḋé">
              <a:extLst>
                <a:ext uri="{FF2B5EF4-FFF2-40B4-BE49-F238E27FC236}">
                  <a16:creationId xmlns:a16="http://schemas.microsoft.com/office/drawing/2014/main" id="{EEE1CD52-49A8-4E27-8F3F-C07354D3DDF6}"/>
                </a:ext>
              </a:extLst>
            </p:cNvPr>
            <p:cNvSpPr/>
            <p:nvPr/>
          </p:nvSpPr>
          <p:spPr>
            <a:xfrm>
              <a:off x="5152746" y="4953476"/>
              <a:ext cx="140036" cy="81035"/>
            </a:xfrm>
            <a:custGeom>
              <a:avLst/>
              <a:gdLst>
                <a:gd name="connsiteX0" fmla="*/ -336 w 46005"/>
                <a:gd name="connsiteY0" fmla="*/ 10196 h 26622"/>
                <a:gd name="connsiteX1" fmla="*/ 1283 w 46005"/>
                <a:gd name="connsiteY1" fmla="*/ 12482 h 26622"/>
                <a:gd name="connsiteX2" fmla="*/ 3569 w 46005"/>
                <a:gd name="connsiteY2" fmla="*/ 13815 h 26622"/>
                <a:gd name="connsiteX3" fmla="*/ 23762 w 46005"/>
                <a:gd name="connsiteY3" fmla="*/ 25531 h 26622"/>
                <a:gd name="connsiteX4" fmla="*/ 31477 w 46005"/>
                <a:gd name="connsiteY4" fmla="*/ 25531 h 26622"/>
                <a:gd name="connsiteX5" fmla="*/ 41764 w 46005"/>
                <a:gd name="connsiteY5" fmla="*/ 19530 h 26622"/>
                <a:gd name="connsiteX6" fmla="*/ 44145 w 46005"/>
                <a:gd name="connsiteY6" fmla="*/ 18197 h 26622"/>
                <a:gd name="connsiteX7" fmla="*/ 45669 w 46005"/>
                <a:gd name="connsiteY7" fmla="*/ 16578 h 26622"/>
                <a:gd name="connsiteX8" fmla="*/ 45669 w 46005"/>
                <a:gd name="connsiteY8" fmla="*/ 15435 h 26622"/>
                <a:gd name="connsiteX9" fmla="*/ 44145 w 46005"/>
                <a:gd name="connsiteY9" fmla="*/ 13720 h 26622"/>
                <a:gd name="connsiteX10" fmla="*/ 21571 w 46005"/>
                <a:gd name="connsiteY10" fmla="*/ 766 h 26622"/>
                <a:gd name="connsiteX11" fmla="*/ 13856 w 46005"/>
                <a:gd name="connsiteY11" fmla="*/ 766 h 26622"/>
                <a:gd name="connsiteX12" fmla="*/ 1283 w 46005"/>
                <a:gd name="connsiteY12" fmla="*/ 8005 h 26622"/>
                <a:gd name="connsiteX13" fmla="*/ -336 w 46005"/>
                <a:gd name="connsiteY13" fmla="*/ 10196 h 26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005" h="26622">
                  <a:moveTo>
                    <a:pt x="-336" y="10196"/>
                  </a:moveTo>
                  <a:cubicBezTo>
                    <a:pt x="-298" y="11215"/>
                    <a:pt x="340" y="12110"/>
                    <a:pt x="1283" y="12482"/>
                  </a:cubicBezTo>
                  <a:lnTo>
                    <a:pt x="3569" y="13815"/>
                  </a:lnTo>
                  <a:lnTo>
                    <a:pt x="23762" y="25531"/>
                  </a:lnTo>
                  <a:cubicBezTo>
                    <a:pt x="26181" y="26769"/>
                    <a:pt x="29058" y="26769"/>
                    <a:pt x="31477" y="25531"/>
                  </a:cubicBezTo>
                  <a:lnTo>
                    <a:pt x="41764" y="19530"/>
                  </a:lnTo>
                  <a:lnTo>
                    <a:pt x="44145" y="18197"/>
                  </a:lnTo>
                  <a:cubicBezTo>
                    <a:pt x="44860" y="17892"/>
                    <a:pt x="45412" y="17311"/>
                    <a:pt x="45669" y="16578"/>
                  </a:cubicBezTo>
                  <a:lnTo>
                    <a:pt x="45669" y="15435"/>
                  </a:lnTo>
                  <a:cubicBezTo>
                    <a:pt x="45384" y="14692"/>
                    <a:pt x="44850" y="14082"/>
                    <a:pt x="44145" y="13720"/>
                  </a:cubicBezTo>
                  <a:lnTo>
                    <a:pt x="21571" y="766"/>
                  </a:lnTo>
                  <a:cubicBezTo>
                    <a:pt x="19152" y="-472"/>
                    <a:pt x="16275" y="-472"/>
                    <a:pt x="13856" y="766"/>
                  </a:cubicBezTo>
                  <a:lnTo>
                    <a:pt x="1283" y="8005"/>
                  </a:lnTo>
                  <a:cubicBezTo>
                    <a:pt x="378" y="8386"/>
                    <a:pt x="-241" y="9224"/>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474" name="iṩľide">
              <a:extLst>
                <a:ext uri="{FF2B5EF4-FFF2-40B4-BE49-F238E27FC236}">
                  <a16:creationId xmlns:a16="http://schemas.microsoft.com/office/drawing/2014/main" id="{09289D36-65E6-4EC9-8E9A-45C18355399F}"/>
                </a:ext>
              </a:extLst>
            </p:cNvPr>
            <p:cNvSpPr/>
            <p:nvPr/>
          </p:nvSpPr>
          <p:spPr>
            <a:xfrm>
              <a:off x="5154880" y="4953984"/>
              <a:ext cx="136021" cy="78570"/>
            </a:xfrm>
            <a:custGeom>
              <a:avLst/>
              <a:gdLst>
                <a:gd name="connsiteX0" fmla="*/ 23252 w 44686"/>
                <a:gd name="connsiteY0" fmla="*/ 24793 h 25812"/>
                <a:gd name="connsiteX1" fmla="*/ 1154 w 44686"/>
                <a:gd name="connsiteY1" fmla="*/ 12029 h 25812"/>
                <a:gd name="connsiteX2" fmla="*/ -189 w 44686"/>
                <a:gd name="connsiteY2" fmla="*/ 9096 h 25812"/>
                <a:gd name="connsiteX3" fmla="*/ 1154 w 44686"/>
                <a:gd name="connsiteY3" fmla="*/ 7743 h 25812"/>
                <a:gd name="connsiteX4" fmla="*/ 13251 w 44686"/>
                <a:gd name="connsiteY4" fmla="*/ 695 h 25812"/>
                <a:gd name="connsiteX5" fmla="*/ 20680 w 44686"/>
                <a:gd name="connsiteY5" fmla="*/ 695 h 25812"/>
                <a:gd name="connsiteX6" fmla="*/ 42778 w 44686"/>
                <a:gd name="connsiteY6" fmla="*/ 13458 h 25812"/>
                <a:gd name="connsiteX7" fmla="*/ 42778 w 44686"/>
                <a:gd name="connsiteY7" fmla="*/ 17744 h 25812"/>
                <a:gd name="connsiteX8" fmla="*/ 30681 w 44686"/>
                <a:gd name="connsiteY8" fmla="*/ 24793 h 25812"/>
                <a:gd name="connsiteX9" fmla="*/ 23252 w 44686"/>
                <a:gd name="connsiteY9" fmla="*/ 24793 h 25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4686" h="25812">
                  <a:moveTo>
                    <a:pt x="23252" y="24793"/>
                  </a:moveTo>
                  <a:lnTo>
                    <a:pt x="1154" y="12029"/>
                  </a:lnTo>
                  <a:cubicBezTo>
                    <a:pt x="-27" y="11591"/>
                    <a:pt x="-637" y="10277"/>
                    <a:pt x="-189" y="9096"/>
                  </a:cubicBezTo>
                  <a:cubicBezTo>
                    <a:pt x="40" y="8467"/>
                    <a:pt x="535" y="7972"/>
                    <a:pt x="1154" y="7743"/>
                  </a:cubicBezTo>
                  <a:lnTo>
                    <a:pt x="13251" y="695"/>
                  </a:lnTo>
                  <a:cubicBezTo>
                    <a:pt x="15594" y="-448"/>
                    <a:pt x="18337" y="-448"/>
                    <a:pt x="20680" y="695"/>
                  </a:cubicBezTo>
                  <a:lnTo>
                    <a:pt x="42778" y="13458"/>
                  </a:lnTo>
                  <a:cubicBezTo>
                    <a:pt x="44874" y="14696"/>
                    <a:pt x="44874" y="16601"/>
                    <a:pt x="42778" y="17744"/>
                  </a:cubicBezTo>
                  <a:lnTo>
                    <a:pt x="30681" y="24793"/>
                  </a:lnTo>
                  <a:cubicBezTo>
                    <a:pt x="28338" y="25936"/>
                    <a:pt x="25595" y="25936"/>
                    <a:pt x="23252" y="24793"/>
                  </a:cubicBezTo>
                  <a:close/>
                </a:path>
              </a:pathLst>
            </a:custGeom>
            <a:solidFill>
              <a:srgbClr val="D1D9E8"/>
            </a:solidFill>
            <a:ln w="9525" cap="flat">
              <a:noFill/>
              <a:prstDash val="solid"/>
              <a:miter/>
            </a:ln>
          </p:spPr>
          <p:txBody>
            <a:bodyPr rtlCol="0" anchor="ctr"/>
            <a:lstStyle/>
            <a:p>
              <a:endParaRPr lang="zh-CN" altLang="en-US"/>
            </a:p>
          </p:txBody>
        </p:sp>
        <p:sp>
          <p:nvSpPr>
            <p:cNvPr id="475" name="iśľíḋè">
              <a:extLst>
                <a:ext uri="{FF2B5EF4-FFF2-40B4-BE49-F238E27FC236}">
                  <a16:creationId xmlns:a16="http://schemas.microsoft.com/office/drawing/2014/main" id="{42006B36-0B96-4937-9804-607EF0870279}"/>
                </a:ext>
              </a:extLst>
            </p:cNvPr>
            <p:cNvSpPr/>
            <p:nvPr/>
          </p:nvSpPr>
          <p:spPr>
            <a:xfrm>
              <a:off x="5152746" y="4985008"/>
              <a:ext cx="140036" cy="71249"/>
            </a:xfrm>
            <a:custGeom>
              <a:avLst/>
              <a:gdLst>
                <a:gd name="connsiteX0" fmla="*/ -336 w 46005"/>
                <a:gd name="connsiteY0" fmla="*/ -163 h 23407"/>
                <a:gd name="connsiteX1" fmla="*/ -336 w 46005"/>
                <a:gd name="connsiteY1" fmla="*/ 7076 h 23407"/>
                <a:gd name="connsiteX2" fmla="*/ 1283 w 46005"/>
                <a:gd name="connsiteY2" fmla="*/ 9267 h 23407"/>
                <a:gd name="connsiteX3" fmla="*/ 23762 w 46005"/>
                <a:gd name="connsiteY3" fmla="*/ 22316 h 23407"/>
                <a:gd name="connsiteX4" fmla="*/ 31477 w 46005"/>
                <a:gd name="connsiteY4" fmla="*/ 22316 h 23407"/>
                <a:gd name="connsiteX5" fmla="*/ 44145 w 46005"/>
                <a:gd name="connsiteY5" fmla="*/ 14982 h 23407"/>
                <a:gd name="connsiteX6" fmla="*/ 45669 w 46005"/>
                <a:gd name="connsiteY6" fmla="*/ 13363 h 23407"/>
                <a:gd name="connsiteX7" fmla="*/ 45669 w 46005"/>
                <a:gd name="connsiteY7" fmla="*/ 6219 h 23407"/>
                <a:gd name="connsiteX8" fmla="*/ 44145 w 46005"/>
                <a:gd name="connsiteY8" fmla="*/ 7838 h 23407"/>
                <a:gd name="connsiteX9" fmla="*/ 41764 w 46005"/>
                <a:gd name="connsiteY9" fmla="*/ 9172 h 23407"/>
                <a:gd name="connsiteX10" fmla="*/ 31477 w 46005"/>
                <a:gd name="connsiteY10" fmla="*/ 15172 h 23407"/>
                <a:gd name="connsiteX11" fmla="*/ 23762 w 46005"/>
                <a:gd name="connsiteY11" fmla="*/ 15172 h 23407"/>
                <a:gd name="connsiteX12" fmla="*/ 3569 w 46005"/>
                <a:gd name="connsiteY12" fmla="*/ 3457 h 23407"/>
                <a:gd name="connsiteX13" fmla="*/ 1283 w 46005"/>
                <a:gd name="connsiteY13" fmla="*/ 2123 h 23407"/>
                <a:gd name="connsiteX14" fmla="*/ -336 w 46005"/>
                <a:gd name="connsiteY14" fmla="*/ -163 h 234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6005" h="23407">
                  <a:moveTo>
                    <a:pt x="-336" y="-163"/>
                  </a:moveTo>
                  <a:lnTo>
                    <a:pt x="-336" y="7076"/>
                  </a:lnTo>
                  <a:cubicBezTo>
                    <a:pt x="-260" y="8057"/>
                    <a:pt x="369" y="8905"/>
                    <a:pt x="1283" y="9267"/>
                  </a:cubicBezTo>
                  <a:lnTo>
                    <a:pt x="23762" y="22316"/>
                  </a:lnTo>
                  <a:cubicBezTo>
                    <a:pt x="26181" y="23555"/>
                    <a:pt x="29058" y="23555"/>
                    <a:pt x="31477" y="22316"/>
                  </a:cubicBezTo>
                  <a:lnTo>
                    <a:pt x="44145" y="14982"/>
                  </a:lnTo>
                  <a:cubicBezTo>
                    <a:pt x="44822" y="14629"/>
                    <a:pt x="45355" y="14058"/>
                    <a:pt x="45669" y="13363"/>
                  </a:cubicBezTo>
                  <a:lnTo>
                    <a:pt x="45669" y="6219"/>
                  </a:lnTo>
                  <a:cubicBezTo>
                    <a:pt x="45412" y="6952"/>
                    <a:pt x="44860" y="7533"/>
                    <a:pt x="44145" y="7838"/>
                  </a:cubicBezTo>
                  <a:lnTo>
                    <a:pt x="41764" y="9172"/>
                  </a:lnTo>
                  <a:lnTo>
                    <a:pt x="31477" y="15172"/>
                  </a:lnTo>
                  <a:cubicBezTo>
                    <a:pt x="29058" y="16411"/>
                    <a:pt x="26181" y="16411"/>
                    <a:pt x="23762" y="15172"/>
                  </a:cubicBezTo>
                  <a:lnTo>
                    <a:pt x="3569" y="3457"/>
                  </a:lnTo>
                  <a:lnTo>
                    <a:pt x="1283" y="2123"/>
                  </a:lnTo>
                  <a:cubicBezTo>
                    <a:pt x="340" y="1752"/>
                    <a:pt x="-298" y="856"/>
                    <a:pt x="-336" y="-163"/>
                  </a:cubicBezTo>
                  <a:close/>
                </a:path>
              </a:pathLst>
            </a:custGeom>
            <a:solidFill>
              <a:srgbClr val="BF4200"/>
            </a:solidFill>
            <a:ln w="9525" cap="flat">
              <a:noFill/>
              <a:prstDash val="solid"/>
              <a:miter/>
            </a:ln>
          </p:spPr>
          <p:txBody>
            <a:bodyPr rtlCol="0" anchor="ctr"/>
            <a:lstStyle/>
            <a:p>
              <a:endParaRPr lang="zh-CN" altLang="en-US"/>
            </a:p>
          </p:txBody>
        </p:sp>
        <p:sp>
          <p:nvSpPr>
            <p:cNvPr id="476" name="îşlïďê">
              <a:extLst>
                <a:ext uri="{FF2B5EF4-FFF2-40B4-BE49-F238E27FC236}">
                  <a16:creationId xmlns:a16="http://schemas.microsoft.com/office/drawing/2014/main" id="{BA35DFE0-4926-47FB-B6F3-6137389A542B}"/>
                </a:ext>
              </a:extLst>
            </p:cNvPr>
            <p:cNvSpPr/>
            <p:nvPr/>
          </p:nvSpPr>
          <p:spPr>
            <a:xfrm>
              <a:off x="5261180" y="5016300"/>
              <a:ext cx="505645" cy="291913"/>
            </a:xfrm>
            <a:custGeom>
              <a:avLst/>
              <a:gdLst>
                <a:gd name="connsiteX0" fmla="*/ -336 w 166116"/>
                <a:gd name="connsiteY0" fmla="*/ 10227 h 95900"/>
                <a:gd name="connsiteX1" fmla="*/ 1188 w 166116"/>
                <a:gd name="connsiteY1" fmla="*/ 12513 h 95900"/>
                <a:gd name="connsiteX2" fmla="*/ 3569 w 166116"/>
                <a:gd name="connsiteY2" fmla="*/ 13846 h 95900"/>
                <a:gd name="connsiteX3" fmla="*/ 143872 w 166116"/>
                <a:gd name="connsiteY3" fmla="*/ 94809 h 95900"/>
                <a:gd name="connsiteX4" fmla="*/ 151588 w 166116"/>
                <a:gd name="connsiteY4" fmla="*/ 94809 h 95900"/>
                <a:gd name="connsiteX5" fmla="*/ 161779 w 166116"/>
                <a:gd name="connsiteY5" fmla="*/ 88903 h 95900"/>
                <a:gd name="connsiteX6" fmla="*/ 164161 w 166116"/>
                <a:gd name="connsiteY6" fmla="*/ 87570 h 95900"/>
                <a:gd name="connsiteX7" fmla="*/ 165780 w 166116"/>
                <a:gd name="connsiteY7" fmla="*/ 85951 h 95900"/>
                <a:gd name="connsiteX8" fmla="*/ 165780 w 166116"/>
                <a:gd name="connsiteY8" fmla="*/ 84808 h 95900"/>
                <a:gd name="connsiteX9" fmla="*/ 164161 w 166116"/>
                <a:gd name="connsiteY9" fmla="*/ 83093 h 95900"/>
                <a:gd name="connsiteX10" fmla="*/ 21286 w 166116"/>
                <a:gd name="connsiteY10" fmla="*/ 702 h 95900"/>
                <a:gd name="connsiteX11" fmla="*/ 13665 w 166116"/>
                <a:gd name="connsiteY11" fmla="*/ 702 h 95900"/>
                <a:gd name="connsiteX12" fmla="*/ 997 w 166116"/>
                <a:gd name="connsiteY12" fmla="*/ 8036 h 95900"/>
                <a:gd name="connsiteX13" fmla="*/ -336 w 166116"/>
                <a:gd name="connsiteY13" fmla="*/ 10227 h 95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6116" h="95900">
                  <a:moveTo>
                    <a:pt x="-336" y="10227"/>
                  </a:moveTo>
                  <a:cubicBezTo>
                    <a:pt x="-269" y="11208"/>
                    <a:pt x="311" y="12075"/>
                    <a:pt x="1188" y="12513"/>
                  </a:cubicBezTo>
                  <a:lnTo>
                    <a:pt x="3569" y="13846"/>
                  </a:lnTo>
                  <a:lnTo>
                    <a:pt x="143872" y="94809"/>
                  </a:lnTo>
                  <a:cubicBezTo>
                    <a:pt x="146292" y="96047"/>
                    <a:pt x="149168" y="96047"/>
                    <a:pt x="151588" y="94809"/>
                  </a:cubicBezTo>
                  <a:lnTo>
                    <a:pt x="161779" y="88903"/>
                  </a:lnTo>
                  <a:lnTo>
                    <a:pt x="164161" y="87570"/>
                  </a:lnTo>
                  <a:cubicBezTo>
                    <a:pt x="164875" y="87236"/>
                    <a:pt x="165446" y="86665"/>
                    <a:pt x="165780" y="85951"/>
                  </a:cubicBezTo>
                  <a:lnTo>
                    <a:pt x="165780" y="84808"/>
                  </a:lnTo>
                  <a:cubicBezTo>
                    <a:pt x="165484" y="84046"/>
                    <a:pt x="164903" y="83436"/>
                    <a:pt x="164161" y="83093"/>
                  </a:cubicBezTo>
                  <a:lnTo>
                    <a:pt x="21286" y="702"/>
                  </a:lnTo>
                  <a:cubicBezTo>
                    <a:pt x="18876" y="-451"/>
                    <a:pt x="16075" y="-451"/>
                    <a:pt x="13665" y="702"/>
                  </a:cubicBezTo>
                  <a:lnTo>
                    <a:pt x="997" y="8036"/>
                  </a:lnTo>
                  <a:cubicBezTo>
                    <a:pt x="216" y="8503"/>
                    <a:pt x="-279" y="9322"/>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477" name="íşlïďè">
              <a:extLst>
                <a:ext uri="{FF2B5EF4-FFF2-40B4-BE49-F238E27FC236}">
                  <a16:creationId xmlns:a16="http://schemas.microsoft.com/office/drawing/2014/main" id="{D64084F4-3B9C-43DB-8B77-FAC9771CE577}"/>
                </a:ext>
              </a:extLst>
            </p:cNvPr>
            <p:cNvSpPr/>
            <p:nvPr/>
          </p:nvSpPr>
          <p:spPr>
            <a:xfrm>
              <a:off x="5263067" y="5017481"/>
              <a:ext cx="501657" cy="289569"/>
            </a:xfrm>
            <a:custGeom>
              <a:avLst/>
              <a:gdLst>
                <a:gd name="connsiteX0" fmla="*/ 143348 w 164806"/>
                <a:gd name="connsiteY0" fmla="*/ 94039 h 95130"/>
                <a:gd name="connsiteX1" fmla="*/ 1235 w 164806"/>
                <a:gd name="connsiteY1" fmla="*/ 12029 h 95130"/>
                <a:gd name="connsiteX2" fmla="*/ 1235 w 164806"/>
                <a:gd name="connsiteY2" fmla="*/ 7743 h 95130"/>
                <a:gd name="connsiteX3" fmla="*/ 13332 w 164806"/>
                <a:gd name="connsiteY3" fmla="*/ 695 h 95130"/>
                <a:gd name="connsiteX4" fmla="*/ 20761 w 164806"/>
                <a:gd name="connsiteY4" fmla="*/ 695 h 95130"/>
                <a:gd name="connsiteX5" fmla="*/ 162970 w 164806"/>
                <a:gd name="connsiteY5" fmla="*/ 82800 h 95130"/>
                <a:gd name="connsiteX6" fmla="*/ 162970 w 164806"/>
                <a:gd name="connsiteY6" fmla="*/ 87086 h 95130"/>
                <a:gd name="connsiteX7" fmla="*/ 150778 w 164806"/>
                <a:gd name="connsiteY7" fmla="*/ 94039 h 95130"/>
                <a:gd name="connsiteX8" fmla="*/ 143348 w 164806"/>
                <a:gd name="connsiteY8" fmla="*/ 94039 h 95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4806" h="95130">
                  <a:moveTo>
                    <a:pt x="143348" y="94039"/>
                  </a:moveTo>
                  <a:lnTo>
                    <a:pt x="1235" y="12029"/>
                  </a:lnTo>
                  <a:cubicBezTo>
                    <a:pt x="-860" y="10791"/>
                    <a:pt x="-860" y="8886"/>
                    <a:pt x="1235" y="7743"/>
                  </a:cubicBezTo>
                  <a:lnTo>
                    <a:pt x="13332" y="695"/>
                  </a:lnTo>
                  <a:cubicBezTo>
                    <a:pt x="15675" y="-448"/>
                    <a:pt x="18418" y="-448"/>
                    <a:pt x="20761" y="695"/>
                  </a:cubicBezTo>
                  <a:lnTo>
                    <a:pt x="162970" y="82800"/>
                  </a:lnTo>
                  <a:cubicBezTo>
                    <a:pt x="164970" y="83943"/>
                    <a:pt x="164970" y="85848"/>
                    <a:pt x="162970" y="87086"/>
                  </a:cubicBezTo>
                  <a:lnTo>
                    <a:pt x="150778" y="94039"/>
                  </a:lnTo>
                  <a:cubicBezTo>
                    <a:pt x="148454" y="95278"/>
                    <a:pt x="145672" y="95278"/>
                    <a:pt x="143348" y="94039"/>
                  </a:cubicBezTo>
                  <a:close/>
                </a:path>
              </a:pathLst>
            </a:custGeom>
            <a:solidFill>
              <a:srgbClr val="D1D9E8"/>
            </a:solidFill>
            <a:ln w="9525" cap="flat">
              <a:noFill/>
              <a:prstDash val="solid"/>
              <a:miter/>
            </a:ln>
          </p:spPr>
          <p:txBody>
            <a:bodyPr rtlCol="0" anchor="ctr"/>
            <a:lstStyle/>
            <a:p>
              <a:endParaRPr lang="zh-CN" altLang="en-US"/>
            </a:p>
          </p:txBody>
        </p:sp>
        <p:sp>
          <p:nvSpPr>
            <p:cNvPr id="478" name="îṥļíḓê">
              <a:extLst>
                <a:ext uri="{FF2B5EF4-FFF2-40B4-BE49-F238E27FC236}">
                  <a16:creationId xmlns:a16="http://schemas.microsoft.com/office/drawing/2014/main" id="{B4873B48-3F9D-4311-9679-B83AA7A722F1}"/>
                </a:ext>
              </a:extLst>
            </p:cNvPr>
            <p:cNvSpPr/>
            <p:nvPr/>
          </p:nvSpPr>
          <p:spPr>
            <a:xfrm>
              <a:off x="5261180" y="5047923"/>
              <a:ext cx="506223" cy="281974"/>
            </a:xfrm>
            <a:custGeom>
              <a:avLst/>
              <a:gdLst>
                <a:gd name="connsiteX0" fmla="*/ -336 w 166306"/>
                <a:gd name="connsiteY0" fmla="*/ -163 h 92635"/>
                <a:gd name="connsiteX1" fmla="*/ -336 w 166306"/>
                <a:gd name="connsiteY1" fmla="*/ 6981 h 92635"/>
                <a:gd name="connsiteX2" fmla="*/ 1188 w 166306"/>
                <a:gd name="connsiteY2" fmla="*/ 9267 h 92635"/>
                <a:gd name="connsiteX3" fmla="*/ 144063 w 166306"/>
                <a:gd name="connsiteY3" fmla="*/ 91659 h 92635"/>
                <a:gd name="connsiteX4" fmla="*/ 151778 w 166306"/>
                <a:gd name="connsiteY4" fmla="*/ 91659 h 92635"/>
                <a:gd name="connsiteX5" fmla="*/ 164351 w 166306"/>
                <a:gd name="connsiteY5" fmla="*/ 84324 h 92635"/>
                <a:gd name="connsiteX6" fmla="*/ 165970 w 166306"/>
                <a:gd name="connsiteY6" fmla="*/ 82705 h 92635"/>
                <a:gd name="connsiteX7" fmla="*/ 165970 w 166306"/>
                <a:gd name="connsiteY7" fmla="*/ 75561 h 92635"/>
                <a:gd name="connsiteX8" fmla="*/ 164351 w 166306"/>
                <a:gd name="connsiteY8" fmla="*/ 77180 h 92635"/>
                <a:gd name="connsiteX9" fmla="*/ 161970 w 166306"/>
                <a:gd name="connsiteY9" fmla="*/ 78514 h 92635"/>
                <a:gd name="connsiteX10" fmla="*/ 151778 w 166306"/>
                <a:gd name="connsiteY10" fmla="*/ 84419 h 92635"/>
                <a:gd name="connsiteX11" fmla="*/ 144063 w 166306"/>
                <a:gd name="connsiteY11" fmla="*/ 84419 h 92635"/>
                <a:gd name="connsiteX12" fmla="*/ 3569 w 166306"/>
                <a:gd name="connsiteY12" fmla="*/ 3457 h 92635"/>
                <a:gd name="connsiteX13" fmla="*/ 1188 w 166306"/>
                <a:gd name="connsiteY13" fmla="*/ 2123 h 92635"/>
                <a:gd name="connsiteX14" fmla="*/ -336 w 166306"/>
                <a:gd name="connsiteY14" fmla="*/ -163 h 92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66306" h="92635">
                  <a:moveTo>
                    <a:pt x="-336" y="-163"/>
                  </a:moveTo>
                  <a:lnTo>
                    <a:pt x="-336" y="6981"/>
                  </a:lnTo>
                  <a:cubicBezTo>
                    <a:pt x="-251" y="7953"/>
                    <a:pt x="321" y="8819"/>
                    <a:pt x="1188" y="9267"/>
                  </a:cubicBezTo>
                  <a:lnTo>
                    <a:pt x="144063" y="91659"/>
                  </a:lnTo>
                  <a:cubicBezTo>
                    <a:pt x="146520" y="92744"/>
                    <a:pt x="149321" y="92744"/>
                    <a:pt x="151778" y="91659"/>
                  </a:cubicBezTo>
                  <a:lnTo>
                    <a:pt x="164351" y="84324"/>
                  </a:lnTo>
                  <a:cubicBezTo>
                    <a:pt x="165066" y="83991"/>
                    <a:pt x="165637" y="83419"/>
                    <a:pt x="165970" y="82705"/>
                  </a:cubicBezTo>
                  <a:lnTo>
                    <a:pt x="165970" y="75561"/>
                  </a:lnTo>
                  <a:cubicBezTo>
                    <a:pt x="165637" y="76275"/>
                    <a:pt x="165066" y="76847"/>
                    <a:pt x="164351" y="77180"/>
                  </a:cubicBezTo>
                  <a:lnTo>
                    <a:pt x="161970" y="78514"/>
                  </a:lnTo>
                  <a:lnTo>
                    <a:pt x="151778" y="84419"/>
                  </a:lnTo>
                  <a:cubicBezTo>
                    <a:pt x="149359" y="85658"/>
                    <a:pt x="146482" y="85658"/>
                    <a:pt x="144063" y="84419"/>
                  </a:cubicBezTo>
                  <a:lnTo>
                    <a:pt x="3569" y="3457"/>
                  </a:lnTo>
                  <a:lnTo>
                    <a:pt x="1188" y="2123"/>
                  </a:lnTo>
                  <a:cubicBezTo>
                    <a:pt x="311"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479" name="îslïḍé">
              <a:extLst>
                <a:ext uri="{FF2B5EF4-FFF2-40B4-BE49-F238E27FC236}">
                  <a16:creationId xmlns:a16="http://schemas.microsoft.com/office/drawing/2014/main" id="{F27E7082-99EE-4F2E-BD58-7D1BEDB8CD1F}"/>
                </a:ext>
              </a:extLst>
            </p:cNvPr>
            <p:cNvSpPr/>
            <p:nvPr/>
          </p:nvSpPr>
          <p:spPr>
            <a:xfrm>
              <a:off x="5735223" y="5289705"/>
              <a:ext cx="109740" cy="63445"/>
            </a:xfrm>
            <a:custGeom>
              <a:avLst/>
              <a:gdLst>
                <a:gd name="connsiteX0" fmla="*/ -336 w 36052"/>
                <a:gd name="connsiteY0" fmla="*/ 10227 h 20843"/>
                <a:gd name="connsiteX1" fmla="*/ 1188 w 36052"/>
                <a:gd name="connsiteY1" fmla="*/ 12513 h 20843"/>
                <a:gd name="connsiteX2" fmla="*/ 3569 w 36052"/>
                <a:gd name="connsiteY2" fmla="*/ 13846 h 20843"/>
                <a:gd name="connsiteX3" fmla="*/ 13856 w 36052"/>
                <a:gd name="connsiteY3" fmla="*/ 19752 h 20843"/>
                <a:gd name="connsiteX4" fmla="*/ 21476 w 36052"/>
                <a:gd name="connsiteY4" fmla="*/ 19752 h 20843"/>
                <a:gd name="connsiteX5" fmla="*/ 31763 w 36052"/>
                <a:gd name="connsiteY5" fmla="*/ 13846 h 20843"/>
                <a:gd name="connsiteX6" fmla="*/ 34144 w 36052"/>
                <a:gd name="connsiteY6" fmla="*/ 12513 h 20843"/>
                <a:gd name="connsiteX7" fmla="*/ 35573 w 36052"/>
                <a:gd name="connsiteY7" fmla="*/ 9465 h 20843"/>
                <a:gd name="connsiteX8" fmla="*/ 34144 w 36052"/>
                <a:gd name="connsiteY8" fmla="*/ 8036 h 20843"/>
                <a:gd name="connsiteX9" fmla="*/ 21476 w 36052"/>
                <a:gd name="connsiteY9" fmla="*/ 702 h 20843"/>
                <a:gd name="connsiteX10" fmla="*/ 13856 w 36052"/>
                <a:gd name="connsiteY10" fmla="*/ 702 h 20843"/>
                <a:gd name="connsiteX11" fmla="*/ 1188 w 36052"/>
                <a:gd name="connsiteY11" fmla="*/ 8036 h 20843"/>
                <a:gd name="connsiteX12" fmla="*/ -336 w 36052"/>
                <a:gd name="connsiteY12" fmla="*/ 10227 h 20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3">
                  <a:moveTo>
                    <a:pt x="-336" y="10227"/>
                  </a:moveTo>
                  <a:cubicBezTo>
                    <a:pt x="-270" y="11208"/>
                    <a:pt x="311" y="12075"/>
                    <a:pt x="1188" y="12513"/>
                  </a:cubicBezTo>
                  <a:lnTo>
                    <a:pt x="3569" y="13846"/>
                  </a:lnTo>
                  <a:lnTo>
                    <a:pt x="13856" y="19752"/>
                  </a:lnTo>
                  <a:cubicBezTo>
                    <a:pt x="16247" y="20990"/>
                    <a:pt x="19085" y="20990"/>
                    <a:pt x="21476" y="19752"/>
                  </a:cubicBezTo>
                  <a:lnTo>
                    <a:pt x="31763" y="13846"/>
                  </a:lnTo>
                  <a:lnTo>
                    <a:pt x="34144" y="12513"/>
                  </a:lnTo>
                  <a:cubicBezTo>
                    <a:pt x="35382" y="12065"/>
                    <a:pt x="36020" y="10694"/>
                    <a:pt x="35573" y="9465"/>
                  </a:cubicBezTo>
                  <a:cubicBezTo>
                    <a:pt x="35325" y="8798"/>
                    <a:pt x="34811" y="8274"/>
                    <a:pt x="34144"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480" name="îṣlîḍè">
              <a:extLst>
                <a:ext uri="{FF2B5EF4-FFF2-40B4-BE49-F238E27FC236}">
                  <a16:creationId xmlns:a16="http://schemas.microsoft.com/office/drawing/2014/main" id="{B226D472-74E6-4F13-85CB-B18BCC123FE1}"/>
                </a:ext>
              </a:extLst>
            </p:cNvPr>
            <p:cNvSpPr/>
            <p:nvPr/>
          </p:nvSpPr>
          <p:spPr>
            <a:xfrm>
              <a:off x="5736818" y="5290889"/>
              <a:ext cx="105898" cy="61104"/>
            </a:xfrm>
            <a:custGeom>
              <a:avLst/>
              <a:gdLst>
                <a:gd name="connsiteX0" fmla="*/ 1235 w 34790"/>
                <a:gd name="connsiteY0" fmla="*/ 12029 h 20074"/>
                <a:gd name="connsiteX1" fmla="*/ 13332 w 34790"/>
                <a:gd name="connsiteY1" fmla="*/ 18983 h 20074"/>
                <a:gd name="connsiteX2" fmla="*/ 20761 w 34790"/>
                <a:gd name="connsiteY2" fmla="*/ 18983 h 20074"/>
                <a:gd name="connsiteX3" fmla="*/ 32953 w 34790"/>
                <a:gd name="connsiteY3" fmla="*/ 12029 h 20074"/>
                <a:gd name="connsiteX4" fmla="*/ 32953 w 34790"/>
                <a:gd name="connsiteY4" fmla="*/ 7743 h 20074"/>
                <a:gd name="connsiteX5" fmla="*/ 20761 w 34790"/>
                <a:gd name="connsiteY5" fmla="*/ 695 h 20074"/>
                <a:gd name="connsiteX6" fmla="*/ 13332 w 34790"/>
                <a:gd name="connsiteY6" fmla="*/ 695 h 20074"/>
                <a:gd name="connsiteX7" fmla="*/ 1235 w 34790"/>
                <a:gd name="connsiteY7" fmla="*/ 7743 h 20074"/>
                <a:gd name="connsiteX8" fmla="*/ 1235 w 34790"/>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4">
                  <a:moveTo>
                    <a:pt x="1235" y="12029"/>
                  </a:moveTo>
                  <a:lnTo>
                    <a:pt x="13332" y="18983"/>
                  </a:lnTo>
                  <a:cubicBezTo>
                    <a:pt x="15656" y="20221"/>
                    <a:pt x="18437" y="20221"/>
                    <a:pt x="20761" y="18983"/>
                  </a:cubicBezTo>
                  <a:lnTo>
                    <a:pt x="32953" y="12029"/>
                  </a:lnTo>
                  <a:cubicBezTo>
                    <a:pt x="34954" y="10791"/>
                    <a:pt x="34954" y="8886"/>
                    <a:pt x="32953" y="7743"/>
                  </a:cubicBezTo>
                  <a:lnTo>
                    <a:pt x="20761" y="695"/>
                  </a:lnTo>
                  <a:cubicBezTo>
                    <a:pt x="18418" y="-448"/>
                    <a:pt x="15675" y="-448"/>
                    <a:pt x="13332" y="695"/>
                  </a:cubicBezTo>
                  <a:lnTo>
                    <a:pt x="1235" y="7743"/>
                  </a:lnTo>
                  <a:cubicBezTo>
                    <a:pt x="-860" y="9362"/>
                    <a:pt x="-860" y="10791"/>
                    <a:pt x="1235" y="12029"/>
                  </a:cubicBezTo>
                  <a:close/>
                </a:path>
              </a:pathLst>
            </a:custGeom>
            <a:solidFill>
              <a:srgbClr val="D1D9E8"/>
            </a:solidFill>
            <a:ln w="9525" cap="flat">
              <a:noFill/>
              <a:prstDash val="solid"/>
              <a:miter/>
            </a:ln>
          </p:spPr>
          <p:txBody>
            <a:bodyPr rtlCol="0" anchor="ctr"/>
            <a:lstStyle/>
            <a:p>
              <a:endParaRPr lang="zh-CN" altLang="en-US"/>
            </a:p>
          </p:txBody>
        </p:sp>
        <p:sp>
          <p:nvSpPr>
            <p:cNvPr id="481" name="ïṩľïḑé">
              <a:extLst>
                <a:ext uri="{FF2B5EF4-FFF2-40B4-BE49-F238E27FC236}">
                  <a16:creationId xmlns:a16="http://schemas.microsoft.com/office/drawing/2014/main" id="{C09933DF-90FF-4DCA-9655-736923A0E653}"/>
                </a:ext>
              </a:extLst>
            </p:cNvPr>
            <p:cNvSpPr/>
            <p:nvPr/>
          </p:nvSpPr>
          <p:spPr>
            <a:xfrm>
              <a:off x="5735223" y="5321332"/>
              <a:ext cx="109594" cy="53804"/>
            </a:xfrm>
            <a:custGeom>
              <a:avLst/>
              <a:gdLst>
                <a:gd name="connsiteX0" fmla="*/ -336 w 36004"/>
                <a:gd name="connsiteY0" fmla="*/ -163 h 17676"/>
                <a:gd name="connsiteX1" fmla="*/ -336 w 36004"/>
                <a:gd name="connsiteY1" fmla="*/ 7076 h 17676"/>
                <a:gd name="connsiteX2" fmla="*/ 1188 w 36004"/>
                <a:gd name="connsiteY2" fmla="*/ 9267 h 17676"/>
                <a:gd name="connsiteX3" fmla="*/ 13856 w 36004"/>
                <a:gd name="connsiteY3" fmla="*/ 16506 h 17676"/>
                <a:gd name="connsiteX4" fmla="*/ 21476 w 36004"/>
                <a:gd name="connsiteY4" fmla="*/ 16506 h 17676"/>
                <a:gd name="connsiteX5" fmla="*/ 34144 w 36004"/>
                <a:gd name="connsiteY5" fmla="*/ 9267 h 17676"/>
                <a:gd name="connsiteX6" fmla="*/ 35668 w 36004"/>
                <a:gd name="connsiteY6" fmla="*/ 6981 h 17676"/>
                <a:gd name="connsiteX7" fmla="*/ 35668 w 36004"/>
                <a:gd name="connsiteY7" fmla="*/ -163 h 17676"/>
                <a:gd name="connsiteX8" fmla="*/ 34144 w 36004"/>
                <a:gd name="connsiteY8" fmla="*/ 2124 h 17676"/>
                <a:gd name="connsiteX9" fmla="*/ 31763 w 36004"/>
                <a:gd name="connsiteY9" fmla="*/ 3457 h 17676"/>
                <a:gd name="connsiteX10" fmla="*/ 21476 w 36004"/>
                <a:gd name="connsiteY10" fmla="*/ 9362 h 17676"/>
                <a:gd name="connsiteX11" fmla="*/ 13856 w 36004"/>
                <a:gd name="connsiteY11" fmla="*/ 9362 h 17676"/>
                <a:gd name="connsiteX12" fmla="*/ 3569 w 36004"/>
                <a:gd name="connsiteY12" fmla="*/ 3457 h 17676"/>
                <a:gd name="connsiteX13" fmla="*/ 1188 w 36004"/>
                <a:gd name="connsiteY13" fmla="*/ 2124 h 17676"/>
                <a:gd name="connsiteX14" fmla="*/ -336 w 36004"/>
                <a:gd name="connsiteY14" fmla="*/ -163 h 17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6">
                  <a:moveTo>
                    <a:pt x="-336" y="-163"/>
                  </a:moveTo>
                  <a:lnTo>
                    <a:pt x="-336" y="7076"/>
                  </a:lnTo>
                  <a:cubicBezTo>
                    <a:pt x="-279" y="8029"/>
                    <a:pt x="311" y="8877"/>
                    <a:pt x="1188" y="9267"/>
                  </a:cubicBezTo>
                  <a:lnTo>
                    <a:pt x="13856" y="16506"/>
                  </a:lnTo>
                  <a:cubicBezTo>
                    <a:pt x="16218" y="17849"/>
                    <a:pt x="19114" y="17849"/>
                    <a:pt x="21476" y="16506"/>
                  </a:cubicBezTo>
                  <a:lnTo>
                    <a:pt x="34144" y="9267"/>
                  </a:lnTo>
                  <a:cubicBezTo>
                    <a:pt x="35049" y="8867"/>
                    <a:pt x="35640" y="7972"/>
                    <a:pt x="35668" y="6981"/>
                  </a:cubicBezTo>
                  <a:lnTo>
                    <a:pt x="35668" y="-163"/>
                  </a:lnTo>
                  <a:cubicBezTo>
                    <a:pt x="35602" y="819"/>
                    <a:pt x="35021" y="1685"/>
                    <a:pt x="34144" y="2124"/>
                  </a:cubicBezTo>
                  <a:lnTo>
                    <a:pt x="31763" y="3457"/>
                  </a:lnTo>
                  <a:lnTo>
                    <a:pt x="21476" y="9362"/>
                  </a:lnTo>
                  <a:cubicBezTo>
                    <a:pt x="19085" y="10601"/>
                    <a:pt x="16247" y="10601"/>
                    <a:pt x="13856" y="9362"/>
                  </a:cubicBezTo>
                  <a:lnTo>
                    <a:pt x="3569" y="3457"/>
                  </a:lnTo>
                  <a:lnTo>
                    <a:pt x="1188" y="2124"/>
                  </a:lnTo>
                  <a:cubicBezTo>
                    <a:pt x="311" y="1685"/>
                    <a:pt x="-270" y="819"/>
                    <a:pt x="-336" y="-163"/>
                  </a:cubicBezTo>
                  <a:close/>
                </a:path>
              </a:pathLst>
            </a:custGeom>
            <a:solidFill>
              <a:srgbClr val="BF4200"/>
            </a:solidFill>
            <a:ln w="9525" cap="flat">
              <a:noFill/>
              <a:prstDash val="solid"/>
              <a:miter/>
            </a:ln>
          </p:spPr>
          <p:txBody>
            <a:bodyPr rtlCol="0" anchor="ctr"/>
            <a:lstStyle/>
            <a:p>
              <a:endParaRPr lang="zh-CN" altLang="en-US"/>
            </a:p>
          </p:txBody>
        </p:sp>
        <p:sp>
          <p:nvSpPr>
            <p:cNvPr id="482" name="íşlídè">
              <a:extLst>
                <a:ext uri="{FF2B5EF4-FFF2-40B4-BE49-F238E27FC236}">
                  <a16:creationId xmlns:a16="http://schemas.microsoft.com/office/drawing/2014/main" id="{68A845AC-5C4D-4486-95C0-81CD8EA995E3}"/>
                </a:ext>
              </a:extLst>
            </p:cNvPr>
            <p:cNvSpPr/>
            <p:nvPr/>
          </p:nvSpPr>
          <p:spPr>
            <a:xfrm>
              <a:off x="5812636" y="5334451"/>
              <a:ext cx="108202" cy="63588"/>
            </a:xfrm>
            <a:custGeom>
              <a:avLst/>
              <a:gdLst>
                <a:gd name="connsiteX0" fmla="*/ -336 w 35547"/>
                <a:gd name="connsiteY0" fmla="*/ 10291 h 20890"/>
                <a:gd name="connsiteX1" fmla="*/ 1187 w 35547"/>
                <a:gd name="connsiteY1" fmla="*/ 12482 h 20890"/>
                <a:gd name="connsiteX2" fmla="*/ 3569 w 35547"/>
                <a:gd name="connsiteY2" fmla="*/ 13911 h 20890"/>
                <a:gd name="connsiteX3" fmla="*/ 13856 w 35547"/>
                <a:gd name="connsiteY3" fmla="*/ 19721 h 20890"/>
                <a:gd name="connsiteX4" fmla="*/ 21476 w 35547"/>
                <a:gd name="connsiteY4" fmla="*/ 19721 h 20890"/>
                <a:gd name="connsiteX5" fmla="*/ 31382 w 35547"/>
                <a:gd name="connsiteY5" fmla="*/ 14101 h 20890"/>
                <a:gd name="connsiteX6" fmla="*/ 33763 w 35547"/>
                <a:gd name="connsiteY6" fmla="*/ 12672 h 20890"/>
                <a:gd name="connsiteX7" fmla="*/ 35020 w 35547"/>
                <a:gd name="connsiteY7" fmla="*/ 9548 h 20890"/>
                <a:gd name="connsiteX8" fmla="*/ 33763 w 35547"/>
                <a:gd name="connsiteY8" fmla="*/ 8291 h 20890"/>
                <a:gd name="connsiteX9" fmla="*/ 21857 w 35547"/>
                <a:gd name="connsiteY9" fmla="*/ 766 h 20890"/>
                <a:gd name="connsiteX10" fmla="*/ 14237 w 35547"/>
                <a:gd name="connsiteY10" fmla="*/ 766 h 20890"/>
                <a:gd name="connsiteX11" fmla="*/ 1568 w 35547"/>
                <a:gd name="connsiteY11" fmla="*/ 8100 h 20890"/>
                <a:gd name="connsiteX12" fmla="*/ -336 w 35547"/>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547" h="20890">
                  <a:moveTo>
                    <a:pt x="-336" y="10291"/>
                  </a:moveTo>
                  <a:cubicBezTo>
                    <a:pt x="-298" y="11253"/>
                    <a:pt x="292" y="12110"/>
                    <a:pt x="1187" y="12482"/>
                  </a:cubicBezTo>
                  <a:lnTo>
                    <a:pt x="3569" y="13911"/>
                  </a:lnTo>
                  <a:lnTo>
                    <a:pt x="13856" y="19721"/>
                  </a:lnTo>
                  <a:cubicBezTo>
                    <a:pt x="16218" y="21064"/>
                    <a:pt x="19114" y="21064"/>
                    <a:pt x="21476" y="19721"/>
                  </a:cubicBezTo>
                  <a:lnTo>
                    <a:pt x="31382" y="14101"/>
                  </a:lnTo>
                  <a:lnTo>
                    <a:pt x="33763" y="12672"/>
                  </a:lnTo>
                  <a:cubicBezTo>
                    <a:pt x="34973" y="12158"/>
                    <a:pt x="35535" y="10758"/>
                    <a:pt x="35020" y="9548"/>
                  </a:cubicBezTo>
                  <a:cubicBezTo>
                    <a:pt x="34782" y="8986"/>
                    <a:pt x="34325" y="8529"/>
                    <a:pt x="33763" y="8291"/>
                  </a:cubicBezTo>
                  <a:lnTo>
                    <a:pt x="21857" y="766"/>
                  </a:lnTo>
                  <a:cubicBezTo>
                    <a:pt x="19466" y="-472"/>
                    <a:pt x="16627" y="-472"/>
                    <a:pt x="14237" y="766"/>
                  </a:cubicBezTo>
                  <a:lnTo>
                    <a:pt x="1568" y="8100"/>
                  </a:lnTo>
                  <a:cubicBezTo>
                    <a:pt x="530" y="8338"/>
                    <a:pt x="-241" y="9224"/>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483" name="í$ľiḑé">
              <a:extLst>
                <a:ext uri="{FF2B5EF4-FFF2-40B4-BE49-F238E27FC236}">
                  <a16:creationId xmlns:a16="http://schemas.microsoft.com/office/drawing/2014/main" id="{8D0A90C3-3A97-4181-87F5-9CAF378DDB61}"/>
                </a:ext>
              </a:extLst>
            </p:cNvPr>
            <p:cNvSpPr/>
            <p:nvPr/>
          </p:nvSpPr>
          <p:spPr>
            <a:xfrm>
              <a:off x="5814521" y="5335611"/>
              <a:ext cx="105825" cy="61101"/>
            </a:xfrm>
            <a:custGeom>
              <a:avLst/>
              <a:gdLst>
                <a:gd name="connsiteX0" fmla="*/ 1235 w 34766"/>
                <a:gd name="connsiteY0" fmla="*/ 12006 h 20073"/>
                <a:gd name="connsiteX1" fmla="*/ 13332 w 34766"/>
                <a:gd name="connsiteY1" fmla="*/ 19054 h 20073"/>
                <a:gd name="connsiteX2" fmla="*/ 20762 w 34766"/>
                <a:gd name="connsiteY2" fmla="*/ 19054 h 20073"/>
                <a:gd name="connsiteX3" fmla="*/ 32858 w 34766"/>
                <a:gd name="connsiteY3" fmla="*/ 12006 h 20073"/>
                <a:gd name="connsiteX4" fmla="*/ 32858 w 34766"/>
                <a:gd name="connsiteY4" fmla="*/ 7719 h 20073"/>
                <a:gd name="connsiteX5" fmla="*/ 20762 w 34766"/>
                <a:gd name="connsiteY5" fmla="*/ 766 h 20073"/>
                <a:gd name="connsiteX6" fmla="*/ 13332 w 34766"/>
                <a:gd name="connsiteY6" fmla="*/ 766 h 20073"/>
                <a:gd name="connsiteX7" fmla="*/ 1235 w 34766"/>
                <a:gd name="connsiteY7" fmla="*/ 7719 h 20073"/>
                <a:gd name="connsiteX8" fmla="*/ 1235 w 34766"/>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6" h="20073">
                  <a:moveTo>
                    <a:pt x="1235" y="12006"/>
                  </a:moveTo>
                  <a:lnTo>
                    <a:pt x="13332" y="19054"/>
                  </a:lnTo>
                  <a:cubicBezTo>
                    <a:pt x="15675" y="20197"/>
                    <a:pt x="18419" y="20197"/>
                    <a:pt x="20762" y="19054"/>
                  </a:cubicBezTo>
                  <a:lnTo>
                    <a:pt x="32858" y="12006"/>
                  </a:lnTo>
                  <a:cubicBezTo>
                    <a:pt x="34954" y="10863"/>
                    <a:pt x="34954" y="8957"/>
                    <a:pt x="32858" y="7719"/>
                  </a:cubicBezTo>
                  <a:lnTo>
                    <a:pt x="20762" y="766"/>
                  </a:lnTo>
                  <a:cubicBezTo>
                    <a:pt x="18437" y="-472"/>
                    <a:pt x="15656" y="-472"/>
                    <a:pt x="13332" y="766"/>
                  </a:cubicBezTo>
                  <a:lnTo>
                    <a:pt x="1235" y="7719"/>
                  </a:lnTo>
                  <a:cubicBezTo>
                    <a:pt x="-860" y="8957"/>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484" name="îṧļîḑe">
              <a:extLst>
                <a:ext uri="{FF2B5EF4-FFF2-40B4-BE49-F238E27FC236}">
                  <a16:creationId xmlns:a16="http://schemas.microsoft.com/office/drawing/2014/main" id="{6008D288-8612-4268-8887-382A73F0EF2D}"/>
                </a:ext>
              </a:extLst>
            </p:cNvPr>
            <p:cNvSpPr/>
            <p:nvPr/>
          </p:nvSpPr>
          <p:spPr>
            <a:xfrm>
              <a:off x="5812591" y="5366272"/>
              <a:ext cx="109639" cy="53564"/>
            </a:xfrm>
            <a:custGeom>
              <a:avLst/>
              <a:gdLst>
                <a:gd name="connsiteX0" fmla="*/ -321 w 36019"/>
                <a:gd name="connsiteY0" fmla="*/ -163 h 17597"/>
                <a:gd name="connsiteX1" fmla="*/ -321 w 36019"/>
                <a:gd name="connsiteY1" fmla="*/ 7076 h 17597"/>
                <a:gd name="connsiteX2" fmla="*/ 1203 w 36019"/>
                <a:gd name="connsiteY2" fmla="*/ 9267 h 17597"/>
                <a:gd name="connsiteX3" fmla="*/ 13871 w 36019"/>
                <a:gd name="connsiteY3" fmla="*/ 16506 h 17597"/>
                <a:gd name="connsiteX4" fmla="*/ 21491 w 36019"/>
                <a:gd name="connsiteY4" fmla="*/ 16506 h 17597"/>
                <a:gd name="connsiteX5" fmla="*/ 34159 w 36019"/>
                <a:gd name="connsiteY5" fmla="*/ 9267 h 17597"/>
                <a:gd name="connsiteX6" fmla="*/ 35684 w 36019"/>
                <a:gd name="connsiteY6" fmla="*/ 6981 h 17597"/>
                <a:gd name="connsiteX7" fmla="*/ 35684 w 36019"/>
                <a:gd name="connsiteY7" fmla="*/ -163 h 17597"/>
                <a:gd name="connsiteX8" fmla="*/ 34159 w 36019"/>
                <a:gd name="connsiteY8" fmla="*/ 2028 h 17597"/>
                <a:gd name="connsiteX9" fmla="*/ 31397 w 36019"/>
                <a:gd name="connsiteY9" fmla="*/ 3647 h 17597"/>
                <a:gd name="connsiteX10" fmla="*/ 21110 w 36019"/>
                <a:gd name="connsiteY10" fmla="*/ 9457 h 17597"/>
                <a:gd name="connsiteX11" fmla="*/ 13490 w 36019"/>
                <a:gd name="connsiteY11" fmla="*/ 9457 h 17597"/>
                <a:gd name="connsiteX12" fmla="*/ 3203 w 36019"/>
                <a:gd name="connsiteY12" fmla="*/ 3647 h 17597"/>
                <a:gd name="connsiteX13" fmla="*/ 822 w 36019"/>
                <a:gd name="connsiteY13" fmla="*/ 2219 h 17597"/>
                <a:gd name="connsiteX14" fmla="*/ -321 w 3601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19" h="17597">
                  <a:moveTo>
                    <a:pt x="-321" y="-163"/>
                  </a:moveTo>
                  <a:lnTo>
                    <a:pt x="-321" y="7076"/>
                  </a:lnTo>
                  <a:cubicBezTo>
                    <a:pt x="-226" y="8019"/>
                    <a:pt x="355" y="8848"/>
                    <a:pt x="1203" y="9267"/>
                  </a:cubicBezTo>
                  <a:lnTo>
                    <a:pt x="13871" y="16506"/>
                  </a:lnTo>
                  <a:cubicBezTo>
                    <a:pt x="16262" y="17744"/>
                    <a:pt x="19101" y="17744"/>
                    <a:pt x="21491" y="16506"/>
                  </a:cubicBezTo>
                  <a:lnTo>
                    <a:pt x="34159" y="9267"/>
                  </a:lnTo>
                  <a:cubicBezTo>
                    <a:pt x="35026" y="8819"/>
                    <a:pt x="35598" y="7953"/>
                    <a:pt x="35684" y="6981"/>
                  </a:cubicBezTo>
                  <a:lnTo>
                    <a:pt x="35684" y="-163"/>
                  </a:lnTo>
                  <a:cubicBezTo>
                    <a:pt x="35645" y="799"/>
                    <a:pt x="35055" y="1656"/>
                    <a:pt x="34159" y="2028"/>
                  </a:cubicBezTo>
                  <a:lnTo>
                    <a:pt x="31397" y="3647"/>
                  </a:lnTo>
                  <a:lnTo>
                    <a:pt x="21110" y="9457"/>
                  </a:lnTo>
                  <a:cubicBezTo>
                    <a:pt x="18748" y="10801"/>
                    <a:pt x="15852" y="10801"/>
                    <a:pt x="13490" y="9457"/>
                  </a:cubicBezTo>
                  <a:lnTo>
                    <a:pt x="3203" y="3647"/>
                  </a:lnTo>
                  <a:lnTo>
                    <a:pt x="822" y="2219"/>
                  </a:lnTo>
                  <a:cubicBezTo>
                    <a:pt x="12" y="1714"/>
                    <a:pt x="-426" y="780"/>
                    <a:pt x="-321" y="-163"/>
                  </a:cubicBezTo>
                  <a:close/>
                </a:path>
              </a:pathLst>
            </a:custGeom>
            <a:solidFill>
              <a:srgbClr val="BF4200"/>
            </a:solidFill>
            <a:ln w="9525" cap="flat">
              <a:noFill/>
              <a:prstDash val="solid"/>
              <a:miter/>
            </a:ln>
          </p:spPr>
          <p:txBody>
            <a:bodyPr rtlCol="0" anchor="ctr"/>
            <a:lstStyle/>
            <a:p>
              <a:endParaRPr lang="zh-CN" altLang="en-US"/>
            </a:p>
          </p:txBody>
        </p:sp>
        <p:sp>
          <p:nvSpPr>
            <p:cNvPr id="485" name="iṣļîḋè">
              <a:extLst>
                <a:ext uri="{FF2B5EF4-FFF2-40B4-BE49-F238E27FC236}">
                  <a16:creationId xmlns:a16="http://schemas.microsoft.com/office/drawing/2014/main" id="{49528070-970C-4F96-B98A-CC8232E2AB54}"/>
                </a:ext>
              </a:extLst>
            </p:cNvPr>
            <p:cNvSpPr/>
            <p:nvPr/>
          </p:nvSpPr>
          <p:spPr>
            <a:xfrm>
              <a:off x="5889757" y="5379102"/>
              <a:ext cx="109450" cy="63350"/>
            </a:xfrm>
            <a:custGeom>
              <a:avLst/>
              <a:gdLst>
                <a:gd name="connsiteX0" fmla="*/ -336 w 35957"/>
                <a:gd name="connsiteY0" fmla="*/ 10196 h 20812"/>
                <a:gd name="connsiteX1" fmla="*/ 1188 w 35957"/>
                <a:gd name="connsiteY1" fmla="*/ 12482 h 20812"/>
                <a:gd name="connsiteX2" fmla="*/ 3569 w 35957"/>
                <a:gd name="connsiteY2" fmla="*/ 13815 h 20812"/>
                <a:gd name="connsiteX3" fmla="*/ 13761 w 35957"/>
                <a:gd name="connsiteY3" fmla="*/ 19721 h 20812"/>
                <a:gd name="connsiteX4" fmla="*/ 21476 w 35957"/>
                <a:gd name="connsiteY4" fmla="*/ 19721 h 20812"/>
                <a:gd name="connsiteX5" fmla="*/ 31763 w 35957"/>
                <a:gd name="connsiteY5" fmla="*/ 13815 h 20812"/>
                <a:gd name="connsiteX6" fmla="*/ 34049 w 35957"/>
                <a:gd name="connsiteY6" fmla="*/ 12482 h 20812"/>
                <a:gd name="connsiteX7" fmla="*/ 35478 w 35957"/>
                <a:gd name="connsiteY7" fmla="*/ 9434 h 20812"/>
                <a:gd name="connsiteX8" fmla="*/ 34049 w 35957"/>
                <a:gd name="connsiteY8" fmla="*/ 8005 h 20812"/>
                <a:gd name="connsiteX9" fmla="*/ 21476 w 35957"/>
                <a:gd name="connsiteY9" fmla="*/ 766 h 20812"/>
                <a:gd name="connsiteX10" fmla="*/ 13761 w 35957"/>
                <a:gd name="connsiteY10" fmla="*/ 766 h 20812"/>
                <a:gd name="connsiteX11" fmla="*/ 1188 w 35957"/>
                <a:gd name="connsiteY11" fmla="*/ 8005 h 20812"/>
                <a:gd name="connsiteX12" fmla="*/ -336 w 35957"/>
                <a:gd name="connsiteY12" fmla="*/ 10196 h 20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957" h="20812">
                  <a:moveTo>
                    <a:pt x="-336" y="10196"/>
                  </a:moveTo>
                  <a:cubicBezTo>
                    <a:pt x="-269" y="11177"/>
                    <a:pt x="312" y="12044"/>
                    <a:pt x="1188" y="12482"/>
                  </a:cubicBezTo>
                  <a:lnTo>
                    <a:pt x="3569" y="13815"/>
                  </a:lnTo>
                  <a:lnTo>
                    <a:pt x="13761" y="19721"/>
                  </a:lnTo>
                  <a:cubicBezTo>
                    <a:pt x="16180" y="20959"/>
                    <a:pt x="19057" y="20959"/>
                    <a:pt x="21476" y="19721"/>
                  </a:cubicBezTo>
                  <a:lnTo>
                    <a:pt x="31763" y="13815"/>
                  </a:lnTo>
                  <a:lnTo>
                    <a:pt x="34049" y="12482"/>
                  </a:lnTo>
                  <a:cubicBezTo>
                    <a:pt x="35287" y="12034"/>
                    <a:pt x="35925" y="10662"/>
                    <a:pt x="35478" y="9434"/>
                  </a:cubicBezTo>
                  <a:cubicBezTo>
                    <a:pt x="35230" y="8767"/>
                    <a:pt x="34716" y="8243"/>
                    <a:pt x="34049" y="8005"/>
                  </a:cubicBezTo>
                  <a:lnTo>
                    <a:pt x="21476" y="766"/>
                  </a:lnTo>
                  <a:cubicBezTo>
                    <a:pt x="19057" y="-472"/>
                    <a:pt x="16180" y="-472"/>
                    <a:pt x="13761" y="766"/>
                  </a:cubicBezTo>
                  <a:lnTo>
                    <a:pt x="1188" y="8005"/>
                  </a:lnTo>
                  <a:cubicBezTo>
                    <a:pt x="340" y="8424"/>
                    <a:pt x="-241" y="925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486" name="îŝļïdé">
              <a:extLst>
                <a:ext uri="{FF2B5EF4-FFF2-40B4-BE49-F238E27FC236}">
                  <a16:creationId xmlns:a16="http://schemas.microsoft.com/office/drawing/2014/main" id="{75DEEAC6-3ABE-42E6-864F-8A73D293419C}"/>
                </a:ext>
              </a:extLst>
            </p:cNvPr>
            <p:cNvSpPr/>
            <p:nvPr/>
          </p:nvSpPr>
          <p:spPr>
            <a:xfrm>
              <a:off x="5891602" y="5380189"/>
              <a:ext cx="105618" cy="61174"/>
            </a:xfrm>
            <a:custGeom>
              <a:avLst/>
              <a:gdLst>
                <a:gd name="connsiteX0" fmla="*/ 1154 w 34698"/>
                <a:gd name="connsiteY0" fmla="*/ 12029 h 20097"/>
                <a:gd name="connsiteX1" fmla="*/ 13346 w 34698"/>
                <a:gd name="connsiteY1" fmla="*/ 19078 h 20097"/>
                <a:gd name="connsiteX2" fmla="*/ 20775 w 34698"/>
                <a:gd name="connsiteY2" fmla="*/ 19078 h 20097"/>
                <a:gd name="connsiteX3" fmla="*/ 32872 w 34698"/>
                <a:gd name="connsiteY3" fmla="*/ 12029 h 20097"/>
                <a:gd name="connsiteX4" fmla="*/ 34215 w 34698"/>
                <a:gd name="connsiteY4" fmla="*/ 9086 h 20097"/>
                <a:gd name="connsiteX5" fmla="*/ 32872 w 34698"/>
                <a:gd name="connsiteY5" fmla="*/ 7743 h 20097"/>
                <a:gd name="connsiteX6" fmla="*/ 20775 w 34698"/>
                <a:gd name="connsiteY6" fmla="*/ 695 h 20097"/>
                <a:gd name="connsiteX7" fmla="*/ 13346 w 34698"/>
                <a:gd name="connsiteY7" fmla="*/ 695 h 20097"/>
                <a:gd name="connsiteX8" fmla="*/ 1154 w 34698"/>
                <a:gd name="connsiteY8" fmla="*/ 7743 h 20097"/>
                <a:gd name="connsiteX9" fmla="*/ -189 w 34698"/>
                <a:gd name="connsiteY9" fmla="*/ 10686 h 20097"/>
                <a:gd name="connsiteX10" fmla="*/ 1154 w 34698"/>
                <a:gd name="connsiteY10" fmla="*/ 12029 h 20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698" h="20097">
                  <a:moveTo>
                    <a:pt x="1154" y="12029"/>
                  </a:moveTo>
                  <a:lnTo>
                    <a:pt x="13346" y="19078"/>
                  </a:lnTo>
                  <a:cubicBezTo>
                    <a:pt x="15689" y="20221"/>
                    <a:pt x="18432" y="20221"/>
                    <a:pt x="20775" y="19078"/>
                  </a:cubicBezTo>
                  <a:lnTo>
                    <a:pt x="32872" y="12029"/>
                  </a:lnTo>
                  <a:cubicBezTo>
                    <a:pt x="34053" y="11591"/>
                    <a:pt x="34663" y="10277"/>
                    <a:pt x="34215" y="9086"/>
                  </a:cubicBezTo>
                  <a:cubicBezTo>
                    <a:pt x="33987" y="8467"/>
                    <a:pt x="33491" y="7972"/>
                    <a:pt x="32872" y="7743"/>
                  </a:cubicBezTo>
                  <a:lnTo>
                    <a:pt x="20775" y="695"/>
                  </a:lnTo>
                  <a:cubicBezTo>
                    <a:pt x="18432" y="-448"/>
                    <a:pt x="15689" y="-448"/>
                    <a:pt x="13346" y="695"/>
                  </a:cubicBezTo>
                  <a:lnTo>
                    <a:pt x="1154" y="7743"/>
                  </a:lnTo>
                  <a:cubicBezTo>
                    <a:pt x="-27" y="8181"/>
                    <a:pt x="-637" y="9496"/>
                    <a:pt x="-189" y="10686"/>
                  </a:cubicBezTo>
                  <a:cubicBezTo>
                    <a:pt x="40" y="11305"/>
                    <a:pt x="525" y="11801"/>
                    <a:pt x="1154" y="12029"/>
                  </a:cubicBezTo>
                  <a:close/>
                </a:path>
              </a:pathLst>
            </a:custGeom>
            <a:solidFill>
              <a:srgbClr val="D1D9E8"/>
            </a:solidFill>
            <a:ln w="9525" cap="flat">
              <a:noFill/>
              <a:prstDash val="solid"/>
              <a:miter/>
            </a:ln>
          </p:spPr>
          <p:txBody>
            <a:bodyPr rtlCol="0" anchor="ctr"/>
            <a:lstStyle/>
            <a:p>
              <a:endParaRPr lang="zh-CN" altLang="en-US"/>
            </a:p>
          </p:txBody>
        </p:sp>
        <p:sp>
          <p:nvSpPr>
            <p:cNvPr id="487" name="ïṣḻïdé">
              <a:extLst>
                <a:ext uri="{FF2B5EF4-FFF2-40B4-BE49-F238E27FC236}">
                  <a16:creationId xmlns:a16="http://schemas.microsoft.com/office/drawing/2014/main" id="{39EBEDFC-93F2-42AA-8D72-BBCE7BC11854}"/>
                </a:ext>
              </a:extLst>
            </p:cNvPr>
            <p:cNvSpPr/>
            <p:nvPr/>
          </p:nvSpPr>
          <p:spPr>
            <a:xfrm>
              <a:off x="5889757" y="5410631"/>
              <a:ext cx="109594" cy="53801"/>
            </a:xfrm>
            <a:custGeom>
              <a:avLst/>
              <a:gdLst>
                <a:gd name="connsiteX0" fmla="*/ -336 w 36004"/>
                <a:gd name="connsiteY0" fmla="*/ -163 h 17675"/>
                <a:gd name="connsiteX1" fmla="*/ -336 w 36004"/>
                <a:gd name="connsiteY1" fmla="*/ 7076 h 17675"/>
                <a:gd name="connsiteX2" fmla="*/ 1188 w 36004"/>
                <a:gd name="connsiteY2" fmla="*/ 9267 h 17675"/>
                <a:gd name="connsiteX3" fmla="*/ 13761 w 36004"/>
                <a:gd name="connsiteY3" fmla="*/ 16506 h 17675"/>
                <a:gd name="connsiteX4" fmla="*/ 21476 w 36004"/>
                <a:gd name="connsiteY4" fmla="*/ 16506 h 17675"/>
                <a:gd name="connsiteX5" fmla="*/ 34049 w 36004"/>
                <a:gd name="connsiteY5" fmla="*/ 9267 h 17675"/>
                <a:gd name="connsiteX6" fmla="*/ 35668 w 36004"/>
                <a:gd name="connsiteY6" fmla="*/ 7076 h 17675"/>
                <a:gd name="connsiteX7" fmla="*/ 35668 w 36004"/>
                <a:gd name="connsiteY7" fmla="*/ -163 h 17675"/>
                <a:gd name="connsiteX8" fmla="*/ 34049 w 36004"/>
                <a:gd name="connsiteY8" fmla="*/ 2123 h 17675"/>
                <a:gd name="connsiteX9" fmla="*/ 31763 w 36004"/>
                <a:gd name="connsiteY9" fmla="*/ 3457 h 17675"/>
                <a:gd name="connsiteX10" fmla="*/ 21476 w 36004"/>
                <a:gd name="connsiteY10" fmla="*/ 9362 h 17675"/>
                <a:gd name="connsiteX11" fmla="*/ 13761 w 36004"/>
                <a:gd name="connsiteY11" fmla="*/ 9362 h 17675"/>
                <a:gd name="connsiteX12" fmla="*/ 3569 w 36004"/>
                <a:gd name="connsiteY12" fmla="*/ 3457 h 17675"/>
                <a:gd name="connsiteX13" fmla="*/ 1188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79" y="8038"/>
                    <a:pt x="312" y="8877"/>
                    <a:pt x="1188" y="9267"/>
                  </a:cubicBezTo>
                  <a:lnTo>
                    <a:pt x="13761" y="16506"/>
                  </a:lnTo>
                  <a:cubicBezTo>
                    <a:pt x="16161" y="17849"/>
                    <a:pt x="19076" y="17849"/>
                    <a:pt x="21476" y="16506"/>
                  </a:cubicBezTo>
                  <a:lnTo>
                    <a:pt x="34049" y="9267"/>
                  </a:lnTo>
                  <a:cubicBezTo>
                    <a:pt x="34964" y="8905"/>
                    <a:pt x="35592" y="8058"/>
                    <a:pt x="35668" y="7076"/>
                  </a:cubicBezTo>
                  <a:lnTo>
                    <a:pt x="35668" y="-163"/>
                  </a:lnTo>
                  <a:cubicBezTo>
                    <a:pt x="35602" y="847"/>
                    <a:pt x="34973" y="1733"/>
                    <a:pt x="34049" y="2123"/>
                  </a:cubicBezTo>
                  <a:lnTo>
                    <a:pt x="31763" y="3457"/>
                  </a:lnTo>
                  <a:lnTo>
                    <a:pt x="21476" y="9362"/>
                  </a:lnTo>
                  <a:cubicBezTo>
                    <a:pt x="19057" y="10601"/>
                    <a:pt x="16180" y="10601"/>
                    <a:pt x="13761" y="9362"/>
                  </a:cubicBezTo>
                  <a:lnTo>
                    <a:pt x="3569" y="3457"/>
                  </a:lnTo>
                  <a:lnTo>
                    <a:pt x="1188" y="2123"/>
                  </a:lnTo>
                  <a:cubicBezTo>
                    <a:pt x="312"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488" name="îś1ïḍe">
              <a:extLst>
                <a:ext uri="{FF2B5EF4-FFF2-40B4-BE49-F238E27FC236}">
                  <a16:creationId xmlns:a16="http://schemas.microsoft.com/office/drawing/2014/main" id="{8DB7D58B-7182-49CF-A928-5EED729A02BE}"/>
                </a:ext>
              </a:extLst>
            </p:cNvPr>
            <p:cNvSpPr/>
            <p:nvPr/>
          </p:nvSpPr>
          <p:spPr>
            <a:xfrm>
              <a:off x="5997905" y="5423656"/>
              <a:ext cx="78716" cy="45467"/>
            </a:xfrm>
            <a:custGeom>
              <a:avLst/>
              <a:gdLst>
                <a:gd name="connsiteX0" fmla="*/ -336 w 25860"/>
                <a:gd name="connsiteY0" fmla="*/ 4321 h 14937"/>
                <a:gd name="connsiteX1" fmla="*/ 1283 w 25860"/>
                <a:gd name="connsiteY1" fmla="*/ 6607 h 14937"/>
                <a:gd name="connsiteX2" fmla="*/ 3569 w 25860"/>
                <a:gd name="connsiteY2" fmla="*/ 7941 h 14937"/>
                <a:gd name="connsiteX3" fmla="*/ 13856 w 25860"/>
                <a:gd name="connsiteY3" fmla="*/ 13846 h 14937"/>
                <a:gd name="connsiteX4" fmla="*/ 21571 w 25860"/>
                <a:gd name="connsiteY4" fmla="*/ 13846 h 14937"/>
                <a:gd name="connsiteX5" fmla="*/ 21571 w 25860"/>
                <a:gd name="connsiteY5" fmla="*/ 13846 h 14937"/>
                <a:gd name="connsiteX6" fmla="*/ 23952 w 25860"/>
                <a:gd name="connsiteY6" fmla="*/ 12513 h 14937"/>
                <a:gd name="connsiteX7" fmla="*/ 25381 w 25860"/>
                <a:gd name="connsiteY7" fmla="*/ 9465 h 14937"/>
                <a:gd name="connsiteX8" fmla="*/ 23952 w 25860"/>
                <a:gd name="connsiteY8" fmla="*/ 8036 h 14937"/>
                <a:gd name="connsiteX9" fmla="*/ 11284 w 25860"/>
                <a:gd name="connsiteY9" fmla="*/ 702 h 14937"/>
                <a:gd name="connsiteX10" fmla="*/ 3664 w 25860"/>
                <a:gd name="connsiteY10" fmla="*/ 702 h 14937"/>
                <a:gd name="connsiteX11" fmla="*/ 1283 w 25860"/>
                <a:gd name="connsiteY11" fmla="*/ 2130 h 14937"/>
                <a:gd name="connsiteX12" fmla="*/ -336 w 25860"/>
                <a:gd name="connsiteY12" fmla="*/ 4321 h 149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5860" h="14937">
                  <a:moveTo>
                    <a:pt x="-336" y="4321"/>
                  </a:moveTo>
                  <a:cubicBezTo>
                    <a:pt x="-231" y="5312"/>
                    <a:pt x="378" y="6178"/>
                    <a:pt x="1283" y="6607"/>
                  </a:cubicBezTo>
                  <a:lnTo>
                    <a:pt x="3569" y="7941"/>
                  </a:lnTo>
                  <a:lnTo>
                    <a:pt x="13856" y="13846"/>
                  </a:lnTo>
                  <a:cubicBezTo>
                    <a:pt x="16275" y="15084"/>
                    <a:pt x="19152" y="15084"/>
                    <a:pt x="21571" y="13846"/>
                  </a:cubicBezTo>
                  <a:lnTo>
                    <a:pt x="21571" y="13846"/>
                  </a:lnTo>
                  <a:lnTo>
                    <a:pt x="23952" y="12513"/>
                  </a:lnTo>
                  <a:cubicBezTo>
                    <a:pt x="25191" y="12065"/>
                    <a:pt x="25829" y="10693"/>
                    <a:pt x="25381" y="9465"/>
                  </a:cubicBezTo>
                  <a:cubicBezTo>
                    <a:pt x="25134" y="8798"/>
                    <a:pt x="24619" y="8274"/>
                    <a:pt x="23952" y="8036"/>
                  </a:cubicBezTo>
                  <a:lnTo>
                    <a:pt x="11284" y="702"/>
                  </a:lnTo>
                  <a:cubicBezTo>
                    <a:pt x="8874" y="-451"/>
                    <a:pt x="6074" y="-451"/>
                    <a:pt x="3664" y="702"/>
                  </a:cubicBezTo>
                  <a:lnTo>
                    <a:pt x="1283" y="2130"/>
                  </a:lnTo>
                  <a:cubicBezTo>
                    <a:pt x="397" y="2521"/>
                    <a:pt x="-222" y="3359"/>
                    <a:pt x="-336" y="4321"/>
                  </a:cubicBezTo>
                  <a:close/>
                </a:path>
              </a:pathLst>
            </a:custGeom>
            <a:solidFill>
              <a:srgbClr val="FFFFFF"/>
            </a:solidFill>
            <a:ln w="9525" cap="flat">
              <a:noFill/>
              <a:prstDash val="solid"/>
              <a:miter/>
            </a:ln>
          </p:spPr>
          <p:txBody>
            <a:bodyPr rtlCol="0" anchor="ctr"/>
            <a:lstStyle/>
            <a:p>
              <a:endParaRPr lang="zh-CN" altLang="en-US"/>
            </a:p>
          </p:txBody>
        </p:sp>
        <p:sp>
          <p:nvSpPr>
            <p:cNvPr id="489" name="iṥ1îdé">
              <a:extLst>
                <a:ext uri="{FF2B5EF4-FFF2-40B4-BE49-F238E27FC236}">
                  <a16:creationId xmlns:a16="http://schemas.microsoft.com/office/drawing/2014/main" id="{1E398909-6A2C-4004-B69E-0D7AC8965EDB}"/>
                </a:ext>
              </a:extLst>
            </p:cNvPr>
            <p:cNvSpPr/>
            <p:nvPr/>
          </p:nvSpPr>
          <p:spPr>
            <a:xfrm>
              <a:off x="6000005" y="5424837"/>
              <a:ext cx="74585" cy="42910"/>
            </a:xfrm>
            <a:custGeom>
              <a:avLst/>
              <a:gdLst>
                <a:gd name="connsiteX0" fmla="*/ 1164 w 24503"/>
                <a:gd name="connsiteY0" fmla="*/ 6029 h 14097"/>
                <a:gd name="connsiteX1" fmla="*/ 13261 w 24503"/>
                <a:gd name="connsiteY1" fmla="*/ 13077 h 14097"/>
                <a:gd name="connsiteX2" fmla="*/ 20690 w 24503"/>
                <a:gd name="connsiteY2" fmla="*/ 13077 h 14097"/>
                <a:gd name="connsiteX3" fmla="*/ 22595 w 24503"/>
                <a:gd name="connsiteY3" fmla="*/ 12029 h 14097"/>
                <a:gd name="connsiteX4" fmla="*/ 22595 w 24503"/>
                <a:gd name="connsiteY4" fmla="*/ 7743 h 14097"/>
                <a:gd name="connsiteX5" fmla="*/ 10498 w 24503"/>
                <a:gd name="connsiteY5" fmla="*/ 695 h 14097"/>
                <a:gd name="connsiteX6" fmla="*/ 3069 w 24503"/>
                <a:gd name="connsiteY6" fmla="*/ 695 h 14097"/>
                <a:gd name="connsiteX7" fmla="*/ 1164 w 24503"/>
                <a:gd name="connsiteY7" fmla="*/ 1742 h 14097"/>
                <a:gd name="connsiteX8" fmla="*/ 1164 w 24503"/>
                <a:gd name="connsiteY8" fmla="*/ 6029 h 14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503" h="14097">
                  <a:moveTo>
                    <a:pt x="1164" y="6029"/>
                  </a:moveTo>
                  <a:lnTo>
                    <a:pt x="13261" y="13077"/>
                  </a:lnTo>
                  <a:cubicBezTo>
                    <a:pt x="15604" y="14220"/>
                    <a:pt x="18347" y="14220"/>
                    <a:pt x="20690" y="13077"/>
                  </a:cubicBezTo>
                  <a:lnTo>
                    <a:pt x="22595" y="12029"/>
                  </a:lnTo>
                  <a:cubicBezTo>
                    <a:pt x="24691" y="10791"/>
                    <a:pt x="24691" y="8886"/>
                    <a:pt x="22595" y="7743"/>
                  </a:cubicBezTo>
                  <a:lnTo>
                    <a:pt x="10498" y="695"/>
                  </a:lnTo>
                  <a:cubicBezTo>
                    <a:pt x="8155" y="-448"/>
                    <a:pt x="5412" y="-448"/>
                    <a:pt x="3069" y="695"/>
                  </a:cubicBezTo>
                  <a:lnTo>
                    <a:pt x="1164" y="1742"/>
                  </a:lnTo>
                  <a:cubicBezTo>
                    <a:pt x="-836" y="3457"/>
                    <a:pt x="-836" y="4886"/>
                    <a:pt x="1164" y="6029"/>
                  </a:cubicBezTo>
                  <a:close/>
                </a:path>
              </a:pathLst>
            </a:custGeom>
            <a:solidFill>
              <a:srgbClr val="D1D9E8"/>
            </a:solidFill>
            <a:ln w="9525" cap="flat">
              <a:noFill/>
              <a:prstDash val="solid"/>
              <a:miter/>
            </a:ln>
          </p:spPr>
          <p:txBody>
            <a:bodyPr rtlCol="0" anchor="ctr"/>
            <a:lstStyle/>
            <a:p>
              <a:endParaRPr lang="zh-CN" altLang="en-US"/>
            </a:p>
          </p:txBody>
        </p:sp>
        <p:sp>
          <p:nvSpPr>
            <p:cNvPr id="490" name="î$ḷíďê">
              <a:extLst>
                <a:ext uri="{FF2B5EF4-FFF2-40B4-BE49-F238E27FC236}">
                  <a16:creationId xmlns:a16="http://schemas.microsoft.com/office/drawing/2014/main" id="{8FF434E8-3CFE-4172-8F4B-6767CCA19592}"/>
                </a:ext>
              </a:extLst>
            </p:cNvPr>
            <p:cNvSpPr/>
            <p:nvPr/>
          </p:nvSpPr>
          <p:spPr>
            <a:xfrm>
              <a:off x="5997905" y="5437305"/>
              <a:ext cx="78570" cy="53564"/>
            </a:xfrm>
            <a:custGeom>
              <a:avLst/>
              <a:gdLst>
                <a:gd name="connsiteX0" fmla="*/ -336 w 25812"/>
                <a:gd name="connsiteY0" fmla="*/ -163 h 17597"/>
                <a:gd name="connsiteX1" fmla="*/ -336 w 25812"/>
                <a:gd name="connsiteY1" fmla="*/ 7076 h 17597"/>
                <a:gd name="connsiteX2" fmla="*/ 1283 w 25812"/>
                <a:gd name="connsiteY2" fmla="*/ 9267 h 17597"/>
                <a:gd name="connsiteX3" fmla="*/ 13856 w 25812"/>
                <a:gd name="connsiteY3" fmla="*/ 16506 h 17597"/>
                <a:gd name="connsiteX4" fmla="*/ 21571 w 25812"/>
                <a:gd name="connsiteY4" fmla="*/ 16506 h 17597"/>
                <a:gd name="connsiteX5" fmla="*/ 23952 w 25812"/>
                <a:gd name="connsiteY5" fmla="*/ 15173 h 17597"/>
                <a:gd name="connsiteX6" fmla="*/ 25476 w 25812"/>
                <a:gd name="connsiteY6" fmla="*/ 12887 h 17597"/>
                <a:gd name="connsiteX7" fmla="*/ 25476 w 25812"/>
                <a:gd name="connsiteY7" fmla="*/ 5743 h 17597"/>
                <a:gd name="connsiteX8" fmla="*/ 23952 w 25812"/>
                <a:gd name="connsiteY8" fmla="*/ 8029 h 17597"/>
                <a:gd name="connsiteX9" fmla="*/ 21571 w 25812"/>
                <a:gd name="connsiteY9" fmla="*/ 9362 h 17597"/>
                <a:gd name="connsiteX10" fmla="*/ 21571 w 25812"/>
                <a:gd name="connsiteY10" fmla="*/ 9362 h 17597"/>
                <a:gd name="connsiteX11" fmla="*/ 13856 w 25812"/>
                <a:gd name="connsiteY11" fmla="*/ 9362 h 17597"/>
                <a:gd name="connsiteX12" fmla="*/ 3569 w 25812"/>
                <a:gd name="connsiteY12" fmla="*/ 3457 h 17597"/>
                <a:gd name="connsiteX13" fmla="*/ 1283 w 25812"/>
                <a:gd name="connsiteY13" fmla="*/ 2124 h 17597"/>
                <a:gd name="connsiteX14" fmla="*/ -336 w 25812"/>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5812" h="17597">
                  <a:moveTo>
                    <a:pt x="-336" y="-163"/>
                  </a:moveTo>
                  <a:lnTo>
                    <a:pt x="-336" y="7076"/>
                  </a:lnTo>
                  <a:cubicBezTo>
                    <a:pt x="-203" y="8029"/>
                    <a:pt x="407" y="8858"/>
                    <a:pt x="1283" y="9267"/>
                  </a:cubicBezTo>
                  <a:lnTo>
                    <a:pt x="13856" y="16506"/>
                  </a:lnTo>
                  <a:cubicBezTo>
                    <a:pt x="16275" y="17744"/>
                    <a:pt x="19152" y="17744"/>
                    <a:pt x="21571" y="16506"/>
                  </a:cubicBezTo>
                  <a:lnTo>
                    <a:pt x="23952" y="15173"/>
                  </a:lnTo>
                  <a:cubicBezTo>
                    <a:pt x="24819" y="14725"/>
                    <a:pt x="25391" y="13858"/>
                    <a:pt x="25476" y="12887"/>
                  </a:cubicBezTo>
                  <a:lnTo>
                    <a:pt x="25476" y="5743"/>
                  </a:lnTo>
                  <a:cubicBezTo>
                    <a:pt x="25410" y="6724"/>
                    <a:pt x="24829" y="7591"/>
                    <a:pt x="23952" y="8029"/>
                  </a:cubicBezTo>
                  <a:lnTo>
                    <a:pt x="21571" y="9362"/>
                  </a:lnTo>
                  <a:lnTo>
                    <a:pt x="21571" y="9362"/>
                  </a:lnTo>
                  <a:cubicBezTo>
                    <a:pt x="19152" y="10601"/>
                    <a:pt x="16275" y="10601"/>
                    <a:pt x="13856" y="9362"/>
                  </a:cubicBezTo>
                  <a:lnTo>
                    <a:pt x="3569" y="3457"/>
                  </a:lnTo>
                  <a:lnTo>
                    <a:pt x="1283" y="2124"/>
                  </a:lnTo>
                  <a:cubicBezTo>
                    <a:pt x="378" y="1695"/>
                    <a:pt x="-231"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491" name="iṧḷïḓè">
              <a:extLst>
                <a:ext uri="{FF2B5EF4-FFF2-40B4-BE49-F238E27FC236}">
                  <a16:creationId xmlns:a16="http://schemas.microsoft.com/office/drawing/2014/main" id="{42A3CDAC-99FA-439F-BB72-50234BAA68F4}"/>
                </a:ext>
              </a:extLst>
            </p:cNvPr>
            <p:cNvSpPr/>
            <p:nvPr/>
          </p:nvSpPr>
          <p:spPr>
            <a:xfrm>
              <a:off x="5967170" y="5441436"/>
              <a:ext cx="78603" cy="45902"/>
            </a:xfrm>
            <a:custGeom>
              <a:avLst/>
              <a:gdLst>
                <a:gd name="connsiteX0" fmla="*/ -336 w 25823"/>
                <a:gd name="connsiteY0" fmla="*/ 4386 h 15080"/>
                <a:gd name="connsiteX1" fmla="*/ 1283 w 25823"/>
                <a:gd name="connsiteY1" fmla="*/ 6672 h 15080"/>
                <a:gd name="connsiteX2" fmla="*/ 3569 w 25823"/>
                <a:gd name="connsiteY2" fmla="*/ 8005 h 15080"/>
                <a:gd name="connsiteX3" fmla="*/ 13856 w 25823"/>
                <a:gd name="connsiteY3" fmla="*/ 13911 h 15080"/>
                <a:gd name="connsiteX4" fmla="*/ 21571 w 25823"/>
                <a:gd name="connsiteY4" fmla="*/ 13911 h 15080"/>
                <a:gd name="connsiteX5" fmla="*/ 21571 w 25823"/>
                <a:gd name="connsiteY5" fmla="*/ 13911 h 15080"/>
                <a:gd name="connsiteX6" fmla="*/ 23857 w 25823"/>
                <a:gd name="connsiteY6" fmla="*/ 12482 h 15080"/>
                <a:gd name="connsiteX7" fmla="*/ 25391 w 25823"/>
                <a:gd name="connsiteY7" fmla="*/ 9634 h 15080"/>
                <a:gd name="connsiteX8" fmla="*/ 23857 w 25823"/>
                <a:gd name="connsiteY8" fmla="*/ 8100 h 15080"/>
                <a:gd name="connsiteX9" fmla="*/ 11284 w 25823"/>
                <a:gd name="connsiteY9" fmla="*/ 766 h 15080"/>
                <a:gd name="connsiteX10" fmla="*/ 3569 w 25823"/>
                <a:gd name="connsiteY10" fmla="*/ 766 h 15080"/>
                <a:gd name="connsiteX11" fmla="*/ 1283 w 25823"/>
                <a:gd name="connsiteY11" fmla="*/ 2099 h 15080"/>
                <a:gd name="connsiteX12" fmla="*/ -336 w 25823"/>
                <a:gd name="connsiteY12" fmla="*/ 4386 h 15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5823" h="15080">
                  <a:moveTo>
                    <a:pt x="-336" y="4386"/>
                  </a:moveTo>
                  <a:cubicBezTo>
                    <a:pt x="-298" y="5405"/>
                    <a:pt x="340" y="6300"/>
                    <a:pt x="1283" y="6672"/>
                  </a:cubicBezTo>
                  <a:lnTo>
                    <a:pt x="3569" y="8005"/>
                  </a:lnTo>
                  <a:lnTo>
                    <a:pt x="13856" y="13911"/>
                  </a:lnTo>
                  <a:cubicBezTo>
                    <a:pt x="16256" y="15254"/>
                    <a:pt x="19171" y="15254"/>
                    <a:pt x="21571" y="13911"/>
                  </a:cubicBezTo>
                  <a:lnTo>
                    <a:pt x="21571" y="13911"/>
                  </a:lnTo>
                  <a:lnTo>
                    <a:pt x="23857" y="12482"/>
                  </a:lnTo>
                  <a:cubicBezTo>
                    <a:pt x="25067" y="12120"/>
                    <a:pt x="25753" y="10843"/>
                    <a:pt x="25391" y="9634"/>
                  </a:cubicBezTo>
                  <a:cubicBezTo>
                    <a:pt x="25172" y="8900"/>
                    <a:pt x="24600" y="8319"/>
                    <a:pt x="23857" y="8100"/>
                  </a:cubicBezTo>
                  <a:lnTo>
                    <a:pt x="11284" y="766"/>
                  </a:lnTo>
                  <a:cubicBezTo>
                    <a:pt x="8865" y="-472"/>
                    <a:pt x="5988" y="-472"/>
                    <a:pt x="3569" y="766"/>
                  </a:cubicBezTo>
                  <a:lnTo>
                    <a:pt x="1283" y="2099"/>
                  </a:lnTo>
                  <a:cubicBezTo>
                    <a:pt x="359" y="2490"/>
                    <a:pt x="-270" y="3376"/>
                    <a:pt x="-336" y="4386"/>
                  </a:cubicBezTo>
                  <a:close/>
                </a:path>
              </a:pathLst>
            </a:custGeom>
            <a:solidFill>
              <a:srgbClr val="FFFFFF"/>
            </a:solidFill>
            <a:ln w="9525" cap="flat">
              <a:noFill/>
              <a:prstDash val="solid"/>
              <a:miter/>
            </a:ln>
          </p:spPr>
          <p:txBody>
            <a:bodyPr rtlCol="0" anchor="ctr"/>
            <a:lstStyle/>
            <a:p>
              <a:endParaRPr lang="zh-CN" altLang="en-US"/>
            </a:p>
          </p:txBody>
        </p:sp>
        <p:sp>
          <p:nvSpPr>
            <p:cNvPr id="492" name="ïṣ1ïdê">
              <a:extLst>
                <a:ext uri="{FF2B5EF4-FFF2-40B4-BE49-F238E27FC236}">
                  <a16:creationId xmlns:a16="http://schemas.microsoft.com/office/drawing/2014/main" id="{1E5E0525-CB0F-48F2-92D5-3E8B28631E6C}"/>
                </a:ext>
              </a:extLst>
            </p:cNvPr>
            <p:cNvSpPr/>
            <p:nvPr/>
          </p:nvSpPr>
          <p:spPr>
            <a:xfrm>
              <a:off x="5968692" y="5442885"/>
              <a:ext cx="74585" cy="43126"/>
            </a:xfrm>
            <a:custGeom>
              <a:avLst/>
              <a:gdLst>
                <a:gd name="connsiteX0" fmla="*/ 1164 w 24503"/>
                <a:gd name="connsiteY0" fmla="*/ 6100 h 14168"/>
                <a:gd name="connsiteX1" fmla="*/ 13261 w 24503"/>
                <a:gd name="connsiteY1" fmla="*/ 13149 h 14168"/>
                <a:gd name="connsiteX2" fmla="*/ 20690 w 24503"/>
                <a:gd name="connsiteY2" fmla="*/ 13149 h 14168"/>
                <a:gd name="connsiteX3" fmla="*/ 22595 w 24503"/>
                <a:gd name="connsiteY3" fmla="*/ 12006 h 14168"/>
                <a:gd name="connsiteX4" fmla="*/ 22595 w 24503"/>
                <a:gd name="connsiteY4" fmla="*/ 7719 h 14168"/>
                <a:gd name="connsiteX5" fmla="*/ 10498 w 24503"/>
                <a:gd name="connsiteY5" fmla="*/ 766 h 14168"/>
                <a:gd name="connsiteX6" fmla="*/ 3069 w 24503"/>
                <a:gd name="connsiteY6" fmla="*/ 766 h 14168"/>
                <a:gd name="connsiteX7" fmla="*/ 1164 w 24503"/>
                <a:gd name="connsiteY7" fmla="*/ 1814 h 14168"/>
                <a:gd name="connsiteX8" fmla="*/ 1164 w 24503"/>
                <a:gd name="connsiteY8" fmla="*/ 6100 h 14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503" h="14168">
                  <a:moveTo>
                    <a:pt x="1164" y="6100"/>
                  </a:moveTo>
                  <a:lnTo>
                    <a:pt x="13261" y="13149"/>
                  </a:lnTo>
                  <a:cubicBezTo>
                    <a:pt x="15604" y="14292"/>
                    <a:pt x="18347" y="14292"/>
                    <a:pt x="20690" y="13149"/>
                  </a:cubicBezTo>
                  <a:lnTo>
                    <a:pt x="22595" y="12006"/>
                  </a:lnTo>
                  <a:cubicBezTo>
                    <a:pt x="24691" y="10863"/>
                    <a:pt x="24691" y="8958"/>
                    <a:pt x="22595" y="7719"/>
                  </a:cubicBezTo>
                  <a:lnTo>
                    <a:pt x="10498" y="766"/>
                  </a:lnTo>
                  <a:cubicBezTo>
                    <a:pt x="8174" y="-472"/>
                    <a:pt x="5393" y="-472"/>
                    <a:pt x="3069" y="766"/>
                  </a:cubicBezTo>
                  <a:lnTo>
                    <a:pt x="1164" y="1814"/>
                  </a:lnTo>
                  <a:cubicBezTo>
                    <a:pt x="-836" y="3052"/>
                    <a:pt x="-836" y="4957"/>
                    <a:pt x="1164" y="6100"/>
                  </a:cubicBezTo>
                  <a:close/>
                </a:path>
              </a:pathLst>
            </a:custGeom>
            <a:solidFill>
              <a:srgbClr val="D1D9E8"/>
            </a:solidFill>
            <a:ln w="9525" cap="flat">
              <a:noFill/>
              <a:prstDash val="solid"/>
              <a:miter/>
            </a:ln>
          </p:spPr>
          <p:txBody>
            <a:bodyPr rtlCol="0" anchor="ctr"/>
            <a:lstStyle/>
            <a:p>
              <a:endParaRPr lang="zh-CN" altLang="en-US"/>
            </a:p>
          </p:txBody>
        </p:sp>
        <p:sp>
          <p:nvSpPr>
            <p:cNvPr id="493" name="îŝḷïďè">
              <a:extLst>
                <a:ext uri="{FF2B5EF4-FFF2-40B4-BE49-F238E27FC236}">
                  <a16:creationId xmlns:a16="http://schemas.microsoft.com/office/drawing/2014/main" id="{44597149-144F-4460-A8B9-8490DD3FBC68}"/>
                </a:ext>
              </a:extLst>
            </p:cNvPr>
            <p:cNvSpPr/>
            <p:nvPr/>
          </p:nvSpPr>
          <p:spPr>
            <a:xfrm>
              <a:off x="5967170" y="5455283"/>
              <a:ext cx="78570" cy="53801"/>
            </a:xfrm>
            <a:custGeom>
              <a:avLst/>
              <a:gdLst>
                <a:gd name="connsiteX0" fmla="*/ -336 w 25812"/>
                <a:gd name="connsiteY0" fmla="*/ -163 h 17675"/>
                <a:gd name="connsiteX1" fmla="*/ -336 w 25812"/>
                <a:gd name="connsiteY1" fmla="*/ 7076 h 17675"/>
                <a:gd name="connsiteX2" fmla="*/ 1283 w 25812"/>
                <a:gd name="connsiteY2" fmla="*/ 9267 h 17675"/>
                <a:gd name="connsiteX3" fmla="*/ 13856 w 25812"/>
                <a:gd name="connsiteY3" fmla="*/ 16506 h 17675"/>
                <a:gd name="connsiteX4" fmla="*/ 21571 w 25812"/>
                <a:gd name="connsiteY4" fmla="*/ 16506 h 17675"/>
                <a:gd name="connsiteX5" fmla="*/ 23857 w 25812"/>
                <a:gd name="connsiteY5" fmla="*/ 15268 h 17675"/>
                <a:gd name="connsiteX6" fmla="*/ 25476 w 25812"/>
                <a:gd name="connsiteY6" fmla="*/ 12982 h 17675"/>
                <a:gd name="connsiteX7" fmla="*/ 25476 w 25812"/>
                <a:gd name="connsiteY7" fmla="*/ 5838 h 17675"/>
                <a:gd name="connsiteX8" fmla="*/ 23857 w 25812"/>
                <a:gd name="connsiteY8" fmla="*/ 8029 h 17675"/>
                <a:gd name="connsiteX9" fmla="*/ 21571 w 25812"/>
                <a:gd name="connsiteY9" fmla="*/ 9457 h 17675"/>
                <a:gd name="connsiteX10" fmla="*/ 21571 w 25812"/>
                <a:gd name="connsiteY10" fmla="*/ 9457 h 17675"/>
                <a:gd name="connsiteX11" fmla="*/ 13856 w 25812"/>
                <a:gd name="connsiteY11" fmla="*/ 9457 h 17675"/>
                <a:gd name="connsiteX12" fmla="*/ 3569 w 25812"/>
                <a:gd name="connsiteY12" fmla="*/ 3552 h 17675"/>
                <a:gd name="connsiteX13" fmla="*/ 1283 w 25812"/>
                <a:gd name="connsiteY13" fmla="*/ 2219 h 17675"/>
                <a:gd name="connsiteX14" fmla="*/ -336 w 25812"/>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5812" h="17675">
                  <a:moveTo>
                    <a:pt x="-336" y="-163"/>
                  </a:moveTo>
                  <a:lnTo>
                    <a:pt x="-336" y="7076"/>
                  </a:lnTo>
                  <a:cubicBezTo>
                    <a:pt x="-279" y="8067"/>
                    <a:pt x="349" y="8924"/>
                    <a:pt x="1283" y="9267"/>
                  </a:cubicBezTo>
                  <a:lnTo>
                    <a:pt x="13856" y="16506"/>
                  </a:lnTo>
                  <a:cubicBezTo>
                    <a:pt x="16256" y="17849"/>
                    <a:pt x="19171" y="17849"/>
                    <a:pt x="21571" y="16506"/>
                  </a:cubicBezTo>
                  <a:lnTo>
                    <a:pt x="23857" y="15268"/>
                  </a:lnTo>
                  <a:cubicBezTo>
                    <a:pt x="24771" y="14858"/>
                    <a:pt x="25391" y="13982"/>
                    <a:pt x="25476" y="12982"/>
                  </a:cubicBezTo>
                  <a:lnTo>
                    <a:pt x="25476" y="5838"/>
                  </a:lnTo>
                  <a:cubicBezTo>
                    <a:pt x="25419" y="6829"/>
                    <a:pt x="24791" y="7686"/>
                    <a:pt x="23857" y="8029"/>
                  </a:cubicBezTo>
                  <a:lnTo>
                    <a:pt x="21571" y="9457"/>
                  </a:lnTo>
                  <a:lnTo>
                    <a:pt x="21571" y="9457"/>
                  </a:lnTo>
                  <a:cubicBezTo>
                    <a:pt x="19171" y="10801"/>
                    <a:pt x="16256" y="10801"/>
                    <a:pt x="13856" y="9457"/>
                  </a:cubicBezTo>
                  <a:lnTo>
                    <a:pt x="3569" y="3552"/>
                  </a:lnTo>
                  <a:lnTo>
                    <a:pt x="1283" y="2219"/>
                  </a:lnTo>
                  <a:cubicBezTo>
                    <a:pt x="311" y="1828"/>
                    <a:pt x="-336" y="885"/>
                    <a:pt x="-336" y="-163"/>
                  </a:cubicBezTo>
                  <a:close/>
                </a:path>
              </a:pathLst>
            </a:custGeom>
            <a:solidFill>
              <a:srgbClr val="BF4200"/>
            </a:solidFill>
            <a:ln w="9525" cap="flat">
              <a:noFill/>
              <a:prstDash val="solid"/>
              <a:miter/>
            </a:ln>
          </p:spPr>
          <p:txBody>
            <a:bodyPr rtlCol="0" anchor="ctr"/>
            <a:lstStyle/>
            <a:p>
              <a:endParaRPr lang="zh-CN" altLang="en-US"/>
            </a:p>
          </p:txBody>
        </p:sp>
        <p:sp>
          <p:nvSpPr>
            <p:cNvPr id="494" name="islíḋé">
              <a:extLst>
                <a:ext uri="{FF2B5EF4-FFF2-40B4-BE49-F238E27FC236}">
                  <a16:creationId xmlns:a16="http://schemas.microsoft.com/office/drawing/2014/main" id="{A2BCFBA5-FE76-4E84-8F0D-758D8BA9E3C1}"/>
                </a:ext>
              </a:extLst>
            </p:cNvPr>
            <p:cNvSpPr/>
            <p:nvPr/>
          </p:nvSpPr>
          <p:spPr>
            <a:xfrm>
              <a:off x="6044294" y="5468110"/>
              <a:ext cx="109594" cy="63588"/>
            </a:xfrm>
            <a:custGeom>
              <a:avLst/>
              <a:gdLst>
                <a:gd name="connsiteX0" fmla="*/ -336 w 36004"/>
                <a:gd name="connsiteY0" fmla="*/ 10291 h 20890"/>
                <a:gd name="connsiteX1" fmla="*/ 1188 w 36004"/>
                <a:gd name="connsiteY1" fmla="*/ 12577 h 20890"/>
                <a:gd name="connsiteX2" fmla="*/ 3569 w 36004"/>
                <a:gd name="connsiteY2" fmla="*/ 13911 h 20890"/>
                <a:gd name="connsiteX3" fmla="*/ 13856 w 36004"/>
                <a:gd name="connsiteY3" fmla="*/ 19721 h 20890"/>
                <a:gd name="connsiteX4" fmla="*/ 21476 w 36004"/>
                <a:gd name="connsiteY4" fmla="*/ 19721 h 20890"/>
                <a:gd name="connsiteX5" fmla="*/ 31763 w 36004"/>
                <a:gd name="connsiteY5" fmla="*/ 13911 h 20890"/>
                <a:gd name="connsiteX6" fmla="*/ 34144 w 36004"/>
                <a:gd name="connsiteY6" fmla="*/ 12577 h 20890"/>
                <a:gd name="connsiteX7" fmla="*/ 35668 w 36004"/>
                <a:gd name="connsiteY7" fmla="*/ 10291 h 20890"/>
                <a:gd name="connsiteX8" fmla="*/ 34144 w 36004"/>
                <a:gd name="connsiteY8" fmla="*/ 8101 h 20890"/>
                <a:gd name="connsiteX9" fmla="*/ 21476 w 36004"/>
                <a:gd name="connsiteY9" fmla="*/ 766 h 20890"/>
                <a:gd name="connsiteX10" fmla="*/ 13856 w 36004"/>
                <a:gd name="connsiteY10" fmla="*/ 766 h 20890"/>
                <a:gd name="connsiteX11" fmla="*/ 1188 w 36004"/>
                <a:gd name="connsiteY11" fmla="*/ 8101 h 20890"/>
                <a:gd name="connsiteX12" fmla="*/ -336 w 36004"/>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291"/>
                  </a:moveTo>
                  <a:cubicBezTo>
                    <a:pt x="-270" y="11272"/>
                    <a:pt x="311" y="12139"/>
                    <a:pt x="1188" y="12577"/>
                  </a:cubicBezTo>
                  <a:lnTo>
                    <a:pt x="3569" y="13911"/>
                  </a:lnTo>
                  <a:lnTo>
                    <a:pt x="13856" y="19721"/>
                  </a:lnTo>
                  <a:cubicBezTo>
                    <a:pt x="16218" y="21064"/>
                    <a:pt x="19114" y="21064"/>
                    <a:pt x="21476" y="19721"/>
                  </a:cubicBezTo>
                  <a:lnTo>
                    <a:pt x="31763" y="13911"/>
                  </a:lnTo>
                  <a:lnTo>
                    <a:pt x="34144" y="12577"/>
                  </a:lnTo>
                  <a:cubicBezTo>
                    <a:pt x="35021" y="12139"/>
                    <a:pt x="35602" y="11272"/>
                    <a:pt x="35668" y="10291"/>
                  </a:cubicBezTo>
                  <a:cubicBezTo>
                    <a:pt x="35611" y="9339"/>
                    <a:pt x="35021" y="8491"/>
                    <a:pt x="34144" y="8101"/>
                  </a:cubicBezTo>
                  <a:lnTo>
                    <a:pt x="21476" y="766"/>
                  </a:lnTo>
                  <a:cubicBezTo>
                    <a:pt x="19085" y="-472"/>
                    <a:pt x="16247" y="-472"/>
                    <a:pt x="13856" y="766"/>
                  </a:cubicBezTo>
                  <a:lnTo>
                    <a:pt x="1188" y="8101"/>
                  </a:lnTo>
                  <a:cubicBezTo>
                    <a:pt x="311" y="8491"/>
                    <a:pt x="-279"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495" name="íşļïdê">
              <a:extLst>
                <a:ext uri="{FF2B5EF4-FFF2-40B4-BE49-F238E27FC236}">
                  <a16:creationId xmlns:a16="http://schemas.microsoft.com/office/drawing/2014/main" id="{C94FA479-5BB5-458C-8883-3DB4FF96A42F}"/>
                </a:ext>
              </a:extLst>
            </p:cNvPr>
            <p:cNvSpPr/>
            <p:nvPr/>
          </p:nvSpPr>
          <p:spPr>
            <a:xfrm>
              <a:off x="6046179" y="5469269"/>
              <a:ext cx="105825" cy="61104"/>
            </a:xfrm>
            <a:custGeom>
              <a:avLst/>
              <a:gdLst>
                <a:gd name="connsiteX0" fmla="*/ 1235 w 34766"/>
                <a:gd name="connsiteY0" fmla="*/ 12006 h 20074"/>
                <a:gd name="connsiteX1" fmla="*/ 13332 w 34766"/>
                <a:gd name="connsiteY1" fmla="*/ 19054 h 20074"/>
                <a:gd name="connsiteX2" fmla="*/ 20761 w 34766"/>
                <a:gd name="connsiteY2" fmla="*/ 19054 h 20074"/>
                <a:gd name="connsiteX3" fmla="*/ 32858 w 34766"/>
                <a:gd name="connsiteY3" fmla="*/ 12006 h 20074"/>
                <a:gd name="connsiteX4" fmla="*/ 32858 w 34766"/>
                <a:gd name="connsiteY4" fmla="*/ 7719 h 20074"/>
                <a:gd name="connsiteX5" fmla="*/ 20761 w 34766"/>
                <a:gd name="connsiteY5" fmla="*/ 766 h 20074"/>
                <a:gd name="connsiteX6" fmla="*/ 13332 w 34766"/>
                <a:gd name="connsiteY6" fmla="*/ 766 h 20074"/>
                <a:gd name="connsiteX7" fmla="*/ 1235 w 34766"/>
                <a:gd name="connsiteY7" fmla="*/ 7719 h 20074"/>
                <a:gd name="connsiteX8" fmla="*/ 1235 w 34766"/>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6" h="20074">
                  <a:moveTo>
                    <a:pt x="1235" y="12006"/>
                  </a:moveTo>
                  <a:lnTo>
                    <a:pt x="13332" y="19054"/>
                  </a:lnTo>
                  <a:cubicBezTo>
                    <a:pt x="15675" y="20197"/>
                    <a:pt x="18418" y="20197"/>
                    <a:pt x="20761" y="19054"/>
                  </a:cubicBezTo>
                  <a:lnTo>
                    <a:pt x="32858" y="12006"/>
                  </a:lnTo>
                  <a:cubicBezTo>
                    <a:pt x="34954" y="10863"/>
                    <a:pt x="34954" y="8957"/>
                    <a:pt x="32858" y="7719"/>
                  </a:cubicBezTo>
                  <a:lnTo>
                    <a:pt x="20761" y="766"/>
                  </a:lnTo>
                  <a:cubicBezTo>
                    <a:pt x="18437" y="-472"/>
                    <a:pt x="15656" y="-472"/>
                    <a:pt x="13332" y="766"/>
                  </a:cubicBezTo>
                  <a:lnTo>
                    <a:pt x="1235" y="7719"/>
                  </a:lnTo>
                  <a:cubicBezTo>
                    <a:pt x="-860" y="8957"/>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496" name="îṣḷïḓè">
              <a:extLst>
                <a:ext uri="{FF2B5EF4-FFF2-40B4-BE49-F238E27FC236}">
                  <a16:creationId xmlns:a16="http://schemas.microsoft.com/office/drawing/2014/main" id="{09489470-0C34-47CD-B0F6-3D7E963EE67B}"/>
                </a:ext>
              </a:extLst>
            </p:cNvPr>
            <p:cNvSpPr/>
            <p:nvPr/>
          </p:nvSpPr>
          <p:spPr>
            <a:xfrm>
              <a:off x="6044288" y="5499931"/>
              <a:ext cx="109600" cy="54435"/>
            </a:xfrm>
            <a:custGeom>
              <a:avLst/>
              <a:gdLst>
                <a:gd name="connsiteX0" fmla="*/ -335 w 36006"/>
                <a:gd name="connsiteY0" fmla="*/ -163 h 17883"/>
                <a:gd name="connsiteX1" fmla="*/ -335 w 36006"/>
                <a:gd name="connsiteY1" fmla="*/ 7362 h 17883"/>
                <a:gd name="connsiteX2" fmla="*/ 1189 w 36006"/>
                <a:gd name="connsiteY2" fmla="*/ 9553 h 17883"/>
                <a:gd name="connsiteX3" fmla="*/ 13858 w 36006"/>
                <a:gd name="connsiteY3" fmla="*/ 16792 h 17883"/>
                <a:gd name="connsiteX4" fmla="*/ 21478 w 36006"/>
                <a:gd name="connsiteY4" fmla="*/ 16792 h 17883"/>
                <a:gd name="connsiteX5" fmla="*/ 34146 w 36006"/>
                <a:gd name="connsiteY5" fmla="*/ 9553 h 17883"/>
                <a:gd name="connsiteX6" fmla="*/ 35670 w 36006"/>
                <a:gd name="connsiteY6" fmla="*/ 7267 h 17883"/>
                <a:gd name="connsiteX7" fmla="*/ 35670 w 36006"/>
                <a:gd name="connsiteY7" fmla="*/ 123 h 17883"/>
                <a:gd name="connsiteX8" fmla="*/ 34146 w 36006"/>
                <a:gd name="connsiteY8" fmla="*/ 2409 h 17883"/>
                <a:gd name="connsiteX9" fmla="*/ 31765 w 36006"/>
                <a:gd name="connsiteY9" fmla="*/ 3743 h 17883"/>
                <a:gd name="connsiteX10" fmla="*/ 21478 w 36006"/>
                <a:gd name="connsiteY10" fmla="*/ 9553 h 17883"/>
                <a:gd name="connsiteX11" fmla="*/ 13858 w 36006"/>
                <a:gd name="connsiteY11" fmla="*/ 9553 h 17883"/>
                <a:gd name="connsiteX12" fmla="*/ 3571 w 36006"/>
                <a:gd name="connsiteY12" fmla="*/ 3743 h 17883"/>
                <a:gd name="connsiteX13" fmla="*/ 1189 w 36006"/>
                <a:gd name="connsiteY13" fmla="*/ 2409 h 17883"/>
                <a:gd name="connsiteX14" fmla="*/ -335 w 36006"/>
                <a:gd name="connsiteY14" fmla="*/ -163 h 17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6" h="17883">
                  <a:moveTo>
                    <a:pt x="-335" y="-163"/>
                  </a:moveTo>
                  <a:lnTo>
                    <a:pt x="-335" y="7362"/>
                  </a:lnTo>
                  <a:cubicBezTo>
                    <a:pt x="-239" y="8305"/>
                    <a:pt x="342" y="9134"/>
                    <a:pt x="1189" y="9553"/>
                  </a:cubicBezTo>
                  <a:lnTo>
                    <a:pt x="13858" y="16792"/>
                  </a:lnTo>
                  <a:cubicBezTo>
                    <a:pt x="16248" y="18030"/>
                    <a:pt x="19087" y="18030"/>
                    <a:pt x="21478" y="16792"/>
                  </a:cubicBezTo>
                  <a:lnTo>
                    <a:pt x="34146" y="9553"/>
                  </a:lnTo>
                  <a:cubicBezTo>
                    <a:pt x="35013" y="9105"/>
                    <a:pt x="35584" y="8239"/>
                    <a:pt x="35670" y="7267"/>
                  </a:cubicBezTo>
                  <a:lnTo>
                    <a:pt x="35670" y="123"/>
                  </a:lnTo>
                  <a:cubicBezTo>
                    <a:pt x="35603" y="1104"/>
                    <a:pt x="35022" y="1971"/>
                    <a:pt x="34146" y="2409"/>
                  </a:cubicBezTo>
                  <a:lnTo>
                    <a:pt x="31765" y="3743"/>
                  </a:lnTo>
                  <a:lnTo>
                    <a:pt x="21478" y="9553"/>
                  </a:lnTo>
                  <a:cubicBezTo>
                    <a:pt x="19115" y="10896"/>
                    <a:pt x="16220" y="10896"/>
                    <a:pt x="13858" y="9553"/>
                  </a:cubicBezTo>
                  <a:lnTo>
                    <a:pt x="3571" y="3743"/>
                  </a:lnTo>
                  <a:lnTo>
                    <a:pt x="1189" y="2409"/>
                  </a:lnTo>
                  <a:cubicBezTo>
                    <a:pt x="218" y="1923"/>
                    <a:pt x="-373" y="923"/>
                    <a:pt x="-335" y="-163"/>
                  </a:cubicBezTo>
                  <a:close/>
                </a:path>
              </a:pathLst>
            </a:custGeom>
            <a:solidFill>
              <a:srgbClr val="BF4200"/>
            </a:solidFill>
            <a:ln w="9525" cap="flat">
              <a:noFill/>
              <a:prstDash val="solid"/>
              <a:miter/>
            </a:ln>
          </p:spPr>
          <p:txBody>
            <a:bodyPr rtlCol="0" anchor="ctr"/>
            <a:lstStyle/>
            <a:p>
              <a:endParaRPr lang="zh-CN" altLang="en-US"/>
            </a:p>
          </p:txBody>
        </p:sp>
        <p:sp>
          <p:nvSpPr>
            <p:cNvPr id="497" name="ïŝľîdê">
              <a:extLst>
                <a:ext uri="{FF2B5EF4-FFF2-40B4-BE49-F238E27FC236}">
                  <a16:creationId xmlns:a16="http://schemas.microsoft.com/office/drawing/2014/main" id="{ADB2656A-244B-412A-AF24-74CB13D73D03}"/>
                </a:ext>
              </a:extLst>
            </p:cNvPr>
            <p:cNvSpPr/>
            <p:nvPr/>
          </p:nvSpPr>
          <p:spPr>
            <a:xfrm>
              <a:off x="5927812" y="4346502"/>
              <a:ext cx="1038326" cy="599437"/>
            </a:xfrm>
            <a:custGeom>
              <a:avLst/>
              <a:gdLst>
                <a:gd name="connsiteX0" fmla="*/ 126894 w 341114"/>
                <a:gd name="connsiteY0" fmla="*/ 182551 h 196929"/>
                <a:gd name="connsiteX1" fmla="*/ 24310 w 341114"/>
                <a:gd name="connsiteY1" fmla="*/ 123305 h 196929"/>
                <a:gd name="connsiteX2" fmla="*/ 24310 w 341114"/>
                <a:gd name="connsiteY2" fmla="*/ 54630 h 196929"/>
                <a:gd name="connsiteX3" fmla="*/ 94509 w 341114"/>
                <a:gd name="connsiteY3" fmla="*/ 14053 h 196929"/>
                <a:gd name="connsiteX4" fmla="*/ 213571 w 341114"/>
                <a:gd name="connsiteY4" fmla="*/ 14053 h 196929"/>
                <a:gd name="connsiteX5" fmla="*/ 316060 w 341114"/>
                <a:gd name="connsiteY5" fmla="*/ 73299 h 196929"/>
                <a:gd name="connsiteX6" fmla="*/ 316060 w 341114"/>
                <a:gd name="connsiteY6" fmla="*/ 141974 h 196929"/>
                <a:gd name="connsiteX7" fmla="*/ 245861 w 341114"/>
                <a:gd name="connsiteY7" fmla="*/ 182551 h 196929"/>
                <a:gd name="connsiteX8" fmla="*/ 126894 w 341114"/>
                <a:gd name="connsiteY8" fmla="*/ 182551 h 196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1114" h="196929">
                  <a:moveTo>
                    <a:pt x="126894" y="182551"/>
                  </a:moveTo>
                  <a:lnTo>
                    <a:pt x="24310" y="123305"/>
                  </a:lnTo>
                  <a:cubicBezTo>
                    <a:pt x="-8552" y="104255"/>
                    <a:pt x="-8552" y="73585"/>
                    <a:pt x="24310" y="54630"/>
                  </a:cubicBezTo>
                  <a:lnTo>
                    <a:pt x="94509" y="14053"/>
                  </a:lnTo>
                  <a:cubicBezTo>
                    <a:pt x="131932" y="-4901"/>
                    <a:pt x="176148" y="-4901"/>
                    <a:pt x="213571" y="14053"/>
                  </a:cubicBezTo>
                  <a:lnTo>
                    <a:pt x="316060" y="73299"/>
                  </a:lnTo>
                  <a:cubicBezTo>
                    <a:pt x="349017" y="92349"/>
                    <a:pt x="349017" y="123019"/>
                    <a:pt x="316060" y="141974"/>
                  </a:cubicBezTo>
                  <a:lnTo>
                    <a:pt x="245861" y="182551"/>
                  </a:lnTo>
                  <a:cubicBezTo>
                    <a:pt x="208475" y="201506"/>
                    <a:pt x="164279" y="201506"/>
                    <a:pt x="126894" y="182551"/>
                  </a:cubicBezTo>
                  <a:close/>
                </a:path>
              </a:pathLst>
            </a:custGeom>
            <a:solidFill>
              <a:srgbClr val="BF4200"/>
            </a:solidFill>
            <a:ln w="9525" cap="flat">
              <a:noFill/>
              <a:prstDash val="solid"/>
              <a:miter/>
            </a:ln>
          </p:spPr>
          <p:txBody>
            <a:bodyPr rtlCol="0" anchor="ctr"/>
            <a:lstStyle/>
            <a:p>
              <a:endParaRPr lang="zh-CN" altLang="en-US"/>
            </a:p>
          </p:txBody>
        </p:sp>
        <p:sp>
          <p:nvSpPr>
            <p:cNvPr id="498" name="iśľidè">
              <a:extLst>
                <a:ext uri="{FF2B5EF4-FFF2-40B4-BE49-F238E27FC236}">
                  <a16:creationId xmlns:a16="http://schemas.microsoft.com/office/drawing/2014/main" id="{ADAFE166-250E-4604-B46A-26EAF60FFBD4}"/>
                </a:ext>
              </a:extLst>
            </p:cNvPr>
            <p:cNvSpPr/>
            <p:nvPr/>
          </p:nvSpPr>
          <p:spPr>
            <a:xfrm>
              <a:off x="5927812" y="4311710"/>
              <a:ext cx="1038326" cy="599437"/>
            </a:xfrm>
            <a:custGeom>
              <a:avLst/>
              <a:gdLst>
                <a:gd name="connsiteX0" fmla="*/ 126894 w 341114"/>
                <a:gd name="connsiteY0" fmla="*/ 182551 h 196929"/>
                <a:gd name="connsiteX1" fmla="*/ 24310 w 341114"/>
                <a:gd name="connsiteY1" fmla="*/ 123305 h 196929"/>
                <a:gd name="connsiteX2" fmla="*/ 24310 w 341114"/>
                <a:gd name="connsiteY2" fmla="*/ 54630 h 196929"/>
                <a:gd name="connsiteX3" fmla="*/ 94509 w 341114"/>
                <a:gd name="connsiteY3" fmla="*/ 14053 h 196929"/>
                <a:gd name="connsiteX4" fmla="*/ 213571 w 341114"/>
                <a:gd name="connsiteY4" fmla="*/ 14053 h 196929"/>
                <a:gd name="connsiteX5" fmla="*/ 316060 w 341114"/>
                <a:gd name="connsiteY5" fmla="*/ 73299 h 196929"/>
                <a:gd name="connsiteX6" fmla="*/ 316060 w 341114"/>
                <a:gd name="connsiteY6" fmla="*/ 141974 h 196929"/>
                <a:gd name="connsiteX7" fmla="*/ 245861 w 341114"/>
                <a:gd name="connsiteY7" fmla="*/ 182551 h 196929"/>
                <a:gd name="connsiteX8" fmla="*/ 126894 w 341114"/>
                <a:gd name="connsiteY8" fmla="*/ 182551 h 196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1114" h="196929">
                  <a:moveTo>
                    <a:pt x="126894" y="182551"/>
                  </a:moveTo>
                  <a:lnTo>
                    <a:pt x="24310" y="123305"/>
                  </a:lnTo>
                  <a:cubicBezTo>
                    <a:pt x="-8552" y="104255"/>
                    <a:pt x="-8552" y="73585"/>
                    <a:pt x="24310" y="54630"/>
                  </a:cubicBezTo>
                  <a:lnTo>
                    <a:pt x="94509" y="14053"/>
                  </a:lnTo>
                  <a:cubicBezTo>
                    <a:pt x="131932" y="-4901"/>
                    <a:pt x="176148" y="-4901"/>
                    <a:pt x="213571" y="14053"/>
                  </a:cubicBezTo>
                  <a:lnTo>
                    <a:pt x="316060" y="73299"/>
                  </a:lnTo>
                  <a:cubicBezTo>
                    <a:pt x="349017" y="92349"/>
                    <a:pt x="349017" y="123019"/>
                    <a:pt x="316060" y="141974"/>
                  </a:cubicBezTo>
                  <a:lnTo>
                    <a:pt x="245861" y="182551"/>
                  </a:lnTo>
                  <a:cubicBezTo>
                    <a:pt x="208475" y="201505"/>
                    <a:pt x="164279" y="201505"/>
                    <a:pt x="126894" y="182551"/>
                  </a:cubicBezTo>
                  <a:close/>
                </a:path>
              </a:pathLst>
            </a:custGeom>
            <a:solidFill>
              <a:srgbClr val="FF7D33"/>
            </a:solidFill>
            <a:ln w="9525" cap="flat">
              <a:noFill/>
              <a:prstDash val="solid"/>
              <a:miter/>
            </a:ln>
          </p:spPr>
          <p:txBody>
            <a:bodyPr rtlCol="0" anchor="ctr"/>
            <a:lstStyle/>
            <a:p>
              <a:endParaRPr lang="zh-CN" altLang="en-US"/>
            </a:p>
          </p:txBody>
        </p:sp>
        <p:sp>
          <p:nvSpPr>
            <p:cNvPr id="499" name="ïšlídé">
              <a:extLst>
                <a:ext uri="{FF2B5EF4-FFF2-40B4-BE49-F238E27FC236}">
                  <a16:creationId xmlns:a16="http://schemas.microsoft.com/office/drawing/2014/main" id="{D8FA254E-CB3C-43ED-8556-E384DC7E2B24}"/>
                </a:ext>
              </a:extLst>
            </p:cNvPr>
            <p:cNvSpPr/>
            <p:nvPr/>
          </p:nvSpPr>
          <p:spPr>
            <a:xfrm>
              <a:off x="6375915" y="4006641"/>
              <a:ext cx="260198" cy="150440"/>
            </a:xfrm>
            <a:custGeom>
              <a:avLst/>
              <a:gdLst>
                <a:gd name="connsiteX0" fmla="*/ 71979 w 85481"/>
                <a:gd name="connsiteY0" fmla="*/ 6737 h 49423"/>
                <a:gd name="connsiteX1" fmla="*/ 73218 w 85481"/>
                <a:gd name="connsiteY1" fmla="*/ 41694 h 49423"/>
                <a:gd name="connsiteX2" fmla="*/ 12829 w 85481"/>
                <a:gd name="connsiteY2" fmla="*/ 42361 h 49423"/>
                <a:gd name="connsiteX3" fmla="*/ 11591 w 85481"/>
                <a:gd name="connsiteY3" fmla="*/ 7404 h 49423"/>
                <a:gd name="connsiteX4" fmla="*/ 71979 w 85481"/>
                <a:gd name="connsiteY4" fmla="*/ 6737 h 49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481" h="49423">
                  <a:moveTo>
                    <a:pt x="71979" y="6737"/>
                  </a:moveTo>
                  <a:cubicBezTo>
                    <a:pt x="89029" y="16262"/>
                    <a:pt x="89601" y="31884"/>
                    <a:pt x="73218" y="41694"/>
                  </a:cubicBezTo>
                  <a:cubicBezTo>
                    <a:pt x="54349" y="51543"/>
                    <a:pt x="31908" y="51791"/>
                    <a:pt x="12829" y="42361"/>
                  </a:cubicBezTo>
                  <a:cubicBezTo>
                    <a:pt x="-4221" y="32836"/>
                    <a:pt x="-4792" y="17215"/>
                    <a:pt x="11591" y="7404"/>
                  </a:cubicBezTo>
                  <a:cubicBezTo>
                    <a:pt x="30460" y="-2445"/>
                    <a:pt x="52901" y="-2692"/>
                    <a:pt x="71979" y="6737"/>
                  </a:cubicBezTo>
                  <a:close/>
                </a:path>
              </a:pathLst>
            </a:custGeom>
            <a:solidFill>
              <a:srgbClr val="E73E1E"/>
            </a:solidFill>
            <a:ln w="9525" cap="flat">
              <a:noFill/>
              <a:prstDash val="solid"/>
              <a:miter/>
            </a:ln>
          </p:spPr>
          <p:txBody>
            <a:bodyPr rtlCol="0" anchor="ctr"/>
            <a:lstStyle/>
            <a:p>
              <a:endParaRPr lang="zh-CN" altLang="en-US"/>
            </a:p>
          </p:txBody>
        </p:sp>
        <p:sp>
          <p:nvSpPr>
            <p:cNvPr id="500" name="ïŝľiḑê">
              <a:extLst>
                <a:ext uri="{FF2B5EF4-FFF2-40B4-BE49-F238E27FC236}">
                  <a16:creationId xmlns:a16="http://schemas.microsoft.com/office/drawing/2014/main" id="{2D6A3053-63C9-41DB-8442-FFDCA3C0CA80}"/>
                </a:ext>
              </a:extLst>
            </p:cNvPr>
            <p:cNvSpPr/>
            <p:nvPr/>
          </p:nvSpPr>
          <p:spPr>
            <a:xfrm>
              <a:off x="6375398" y="4081863"/>
              <a:ext cx="260070" cy="535488"/>
            </a:xfrm>
            <a:custGeom>
              <a:avLst/>
              <a:gdLst>
                <a:gd name="connsiteX0" fmla="*/ 85103 w 85439"/>
                <a:gd name="connsiteY0" fmla="*/ 151190 h 175920"/>
                <a:gd name="connsiteX1" fmla="*/ 85103 w 85439"/>
                <a:gd name="connsiteY1" fmla="*/ 123 h 175920"/>
                <a:gd name="connsiteX2" fmla="*/ 73197 w 85439"/>
                <a:gd name="connsiteY2" fmla="*/ 17173 h 175920"/>
                <a:gd name="connsiteX3" fmla="*/ 12808 w 85439"/>
                <a:gd name="connsiteY3" fmla="*/ 17744 h 175920"/>
                <a:gd name="connsiteX4" fmla="*/ -336 w 85439"/>
                <a:gd name="connsiteY4" fmla="*/ -163 h 175920"/>
                <a:gd name="connsiteX5" fmla="*/ -336 w 85439"/>
                <a:gd name="connsiteY5" fmla="*/ 150904 h 175920"/>
                <a:gd name="connsiteX6" fmla="*/ 12808 w 85439"/>
                <a:gd name="connsiteY6" fmla="*/ 168811 h 175920"/>
                <a:gd name="connsiteX7" fmla="*/ 73197 w 85439"/>
                <a:gd name="connsiteY7" fmla="*/ 168239 h 175920"/>
                <a:gd name="connsiteX8" fmla="*/ 85103 w 85439"/>
                <a:gd name="connsiteY8" fmla="*/ 151190 h 175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5439" h="175920">
                  <a:moveTo>
                    <a:pt x="85103" y="151190"/>
                  </a:moveTo>
                  <a:lnTo>
                    <a:pt x="85103" y="123"/>
                  </a:lnTo>
                  <a:cubicBezTo>
                    <a:pt x="84436" y="7515"/>
                    <a:pt x="79902" y="14001"/>
                    <a:pt x="73197" y="17173"/>
                  </a:cubicBezTo>
                  <a:cubicBezTo>
                    <a:pt x="54309" y="26993"/>
                    <a:pt x="31877" y="27203"/>
                    <a:pt x="12808" y="17744"/>
                  </a:cubicBezTo>
                  <a:cubicBezTo>
                    <a:pt x="5474" y="14639"/>
                    <a:pt x="426" y="7762"/>
                    <a:pt x="-336" y="-163"/>
                  </a:cubicBezTo>
                  <a:lnTo>
                    <a:pt x="-336" y="150904"/>
                  </a:lnTo>
                  <a:cubicBezTo>
                    <a:pt x="426" y="158829"/>
                    <a:pt x="5474" y="165706"/>
                    <a:pt x="12808" y="168811"/>
                  </a:cubicBezTo>
                  <a:cubicBezTo>
                    <a:pt x="31877" y="178269"/>
                    <a:pt x="54309" y="178059"/>
                    <a:pt x="73197" y="168239"/>
                  </a:cubicBezTo>
                  <a:cubicBezTo>
                    <a:pt x="79902" y="165068"/>
                    <a:pt x="84436" y="158581"/>
                    <a:pt x="85103" y="151190"/>
                  </a:cubicBezTo>
                  <a:close/>
                </a:path>
              </a:pathLst>
            </a:custGeom>
            <a:solidFill>
              <a:srgbClr val="BF4200"/>
            </a:solidFill>
            <a:ln w="9525" cap="flat">
              <a:noFill/>
              <a:prstDash val="solid"/>
              <a:miter/>
            </a:ln>
          </p:spPr>
          <p:txBody>
            <a:bodyPr rtlCol="0" anchor="ctr"/>
            <a:lstStyle/>
            <a:p>
              <a:endParaRPr lang="zh-CN" altLang="en-US"/>
            </a:p>
          </p:txBody>
        </p:sp>
        <p:sp>
          <p:nvSpPr>
            <p:cNvPr id="501" name="ïšļiḋè">
              <a:extLst>
                <a:ext uri="{FF2B5EF4-FFF2-40B4-BE49-F238E27FC236}">
                  <a16:creationId xmlns:a16="http://schemas.microsoft.com/office/drawing/2014/main" id="{B37AE371-C088-4EA0-A603-138189463B17}"/>
                </a:ext>
              </a:extLst>
            </p:cNvPr>
            <p:cNvSpPr/>
            <p:nvPr/>
          </p:nvSpPr>
          <p:spPr>
            <a:xfrm>
              <a:off x="7368421" y="4755091"/>
              <a:ext cx="168451" cy="100264"/>
            </a:xfrm>
            <a:custGeom>
              <a:avLst/>
              <a:gdLst>
                <a:gd name="connsiteX0" fmla="*/ 32811 w 55340"/>
                <a:gd name="connsiteY0" fmla="*/ 27746 h 32939"/>
                <a:gd name="connsiteX1" fmla="*/ 32811 w 55340"/>
                <a:gd name="connsiteY1" fmla="*/ 27746 h 32939"/>
                <a:gd name="connsiteX2" fmla="*/ 36335 w 55340"/>
                <a:gd name="connsiteY2" fmla="*/ 25650 h 32939"/>
                <a:gd name="connsiteX3" fmla="*/ 44146 w 55340"/>
                <a:gd name="connsiteY3" fmla="*/ 20221 h 32939"/>
                <a:gd name="connsiteX4" fmla="*/ 50432 w 55340"/>
                <a:gd name="connsiteY4" fmla="*/ 13553 h 32939"/>
                <a:gd name="connsiteX5" fmla="*/ 53575 w 55340"/>
                <a:gd name="connsiteY5" fmla="*/ 7362 h 32939"/>
                <a:gd name="connsiteX6" fmla="*/ 55004 w 55340"/>
                <a:gd name="connsiteY6" fmla="*/ -163 h 32939"/>
                <a:gd name="connsiteX7" fmla="*/ 55004 w 55340"/>
                <a:gd name="connsiteY7" fmla="*/ -163 h 32939"/>
                <a:gd name="connsiteX8" fmla="*/ 53671 w 55340"/>
                <a:gd name="connsiteY8" fmla="*/ 2219 h 32939"/>
                <a:gd name="connsiteX9" fmla="*/ 53671 w 55340"/>
                <a:gd name="connsiteY9" fmla="*/ 2219 h 32939"/>
                <a:gd name="connsiteX10" fmla="*/ 53194 w 55340"/>
                <a:gd name="connsiteY10" fmla="*/ 2695 h 32939"/>
                <a:gd name="connsiteX11" fmla="*/ 53194 w 55340"/>
                <a:gd name="connsiteY11" fmla="*/ 2695 h 32939"/>
                <a:gd name="connsiteX12" fmla="*/ 52528 w 55340"/>
                <a:gd name="connsiteY12" fmla="*/ 3362 h 32939"/>
                <a:gd name="connsiteX13" fmla="*/ 51861 w 55340"/>
                <a:gd name="connsiteY13" fmla="*/ 3933 h 32939"/>
                <a:gd name="connsiteX14" fmla="*/ 49480 w 55340"/>
                <a:gd name="connsiteY14" fmla="*/ 5743 h 32939"/>
                <a:gd name="connsiteX15" fmla="*/ 48813 w 55340"/>
                <a:gd name="connsiteY15" fmla="*/ 6315 h 32939"/>
                <a:gd name="connsiteX16" fmla="*/ 48813 w 55340"/>
                <a:gd name="connsiteY16" fmla="*/ 6315 h 32939"/>
                <a:gd name="connsiteX17" fmla="*/ 48051 w 55340"/>
                <a:gd name="connsiteY17" fmla="*/ 6886 h 32939"/>
                <a:gd name="connsiteX18" fmla="*/ 45098 w 55340"/>
                <a:gd name="connsiteY18" fmla="*/ 8696 h 32939"/>
                <a:gd name="connsiteX19" fmla="*/ 41574 w 55340"/>
                <a:gd name="connsiteY19" fmla="*/ 10696 h 32939"/>
                <a:gd name="connsiteX20" fmla="*/ 23476 w 55340"/>
                <a:gd name="connsiteY20" fmla="*/ 16030 h 32939"/>
                <a:gd name="connsiteX21" fmla="*/ 23476 w 55340"/>
                <a:gd name="connsiteY21" fmla="*/ 16030 h 32939"/>
                <a:gd name="connsiteX22" fmla="*/ 22619 w 55340"/>
                <a:gd name="connsiteY22" fmla="*/ 21269 h 32939"/>
                <a:gd name="connsiteX23" fmla="*/ 22143 w 55340"/>
                <a:gd name="connsiteY23" fmla="*/ 22793 h 32939"/>
                <a:gd name="connsiteX24" fmla="*/ 22143 w 55340"/>
                <a:gd name="connsiteY24" fmla="*/ 22793 h 32939"/>
                <a:gd name="connsiteX25" fmla="*/ 21476 w 55340"/>
                <a:gd name="connsiteY25" fmla="*/ 24317 h 32939"/>
                <a:gd name="connsiteX26" fmla="*/ 21476 w 55340"/>
                <a:gd name="connsiteY26" fmla="*/ 24317 h 32939"/>
                <a:gd name="connsiteX27" fmla="*/ 16523 w 55340"/>
                <a:gd name="connsiteY27" fmla="*/ 29651 h 32939"/>
                <a:gd name="connsiteX28" fmla="*/ 9189 w 55340"/>
                <a:gd name="connsiteY28" fmla="*/ 31175 h 32939"/>
                <a:gd name="connsiteX29" fmla="*/ -336 w 55340"/>
                <a:gd name="connsiteY29" fmla="*/ 28222 h 32939"/>
                <a:gd name="connsiteX30" fmla="*/ 10903 w 55340"/>
                <a:gd name="connsiteY30" fmla="*/ 32699 h 32939"/>
                <a:gd name="connsiteX31" fmla="*/ 14142 w 55340"/>
                <a:gd name="connsiteY31" fmla="*/ 32699 h 32939"/>
                <a:gd name="connsiteX32" fmla="*/ 18333 w 55340"/>
                <a:gd name="connsiteY32" fmla="*/ 32223 h 32939"/>
                <a:gd name="connsiteX33" fmla="*/ 18333 w 55340"/>
                <a:gd name="connsiteY33" fmla="*/ 32223 h 32939"/>
                <a:gd name="connsiteX34" fmla="*/ 31858 w 55340"/>
                <a:gd name="connsiteY34" fmla="*/ 27269 h 32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55340" h="32939">
                  <a:moveTo>
                    <a:pt x="32811" y="27746"/>
                  </a:moveTo>
                  <a:lnTo>
                    <a:pt x="32811" y="27746"/>
                  </a:lnTo>
                  <a:lnTo>
                    <a:pt x="36335" y="25650"/>
                  </a:lnTo>
                  <a:cubicBezTo>
                    <a:pt x="39088" y="24069"/>
                    <a:pt x="41707" y="22259"/>
                    <a:pt x="44146" y="20221"/>
                  </a:cubicBezTo>
                  <a:cubicBezTo>
                    <a:pt x="46498" y="18259"/>
                    <a:pt x="48613" y="16020"/>
                    <a:pt x="50432" y="13553"/>
                  </a:cubicBezTo>
                  <a:cubicBezTo>
                    <a:pt x="51737" y="11629"/>
                    <a:pt x="52794" y="9553"/>
                    <a:pt x="53575" y="7362"/>
                  </a:cubicBezTo>
                  <a:cubicBezTo>
                    <a:pt x="54423" y="4933"/>
                    <a:pt x="54899" y="2400"/>
                    <a:pt x="55004" y="-163"/>
                  </a:cubicBezTo>
                  <a:lnTo>
                    <a:pt x="55004" y="-163"/>
                  </a:lnTo>
                  <a:cubicBezTo>
                    <a:pt x="54785" y="742"/>
                    <a:pt x="54328" y="1561"/>
                    <a:pt x="53671" y="2219"/>
                  </a:cubicBezTo>
                  <a:lnTo>
                    <a:pt x="53671" y="2219"/>
                  </a:lnTo>
                  <a:cubicBezTo>
                    <a:pt x="53671" y="2219"/>
                    <a:pt x="53671" y="2219"/>
                    <a:pt x="53194" y="2695"/>
                  </a:cubicBezTo>
                  <a:lnTo>
                    <a:pt x="53194" y="2695"/>
                  </a:lnTo>
                  <a:lnTo>
                    <a:pt x="52528" y="3362"/>
                  </a:lnTo>
                  <a:lnTo>
                    <a:pt x="51861" y="3933"/>
                  </a:lnTo>
                  <a:lnTo>
                    <a:pt x="49480" y="5743"/>
                  </a:lnTo>
                  <a:lnTo>
                    <a:pt x="48813" y="6315"/>
                  </a:lnTo>
                  <a:lnTo>
                    <a:pt x="48813" y="6315"/>
                  </a:lnTo>
                  <a:lnTo>
                    <a:pt x="48051" y="6886"/>
                  </a:lnTo>
                  <a:lnTo>
                    <a:pt x="45098" y="8696"/>
                  </a:lnTo>
                  <a:lnTo>
                    <a:pt x="41574" y="10696"/>
                  </a:lnTo>
                  <a:cubicBezTo>
                    <a:pt x="33954" y="15173"/>
                    <a:pt x="25762" y="17554"/>
                    <a:pt x="23476" y="16030"/>
                  </a:cubicBezTo>
                  <a:lnTo>
                    <a:pt x="23476" y="16030"/>
                  </a:lnTo>
                  <a:cubicBezTo>
                    <a:pt x="23305" y="17792"/>
                    <a:pt x="23019" y="19545"/>
                    <a:pt x="22619" y="21269"/>
                  </a:cubicBezTo>
                  <a:cubicBezTo>
                    <a:pt x="22619" y="21840"/>
                    <a:pt x="22619" y="22317"/>
                    <a:pt x="22143" y="22793"/>
                  </a:cubicBezTo>
                  <a:lnTo>
                    <a:pt x="22143" y="22793"/>
                  </a:lnTo>
                  <a:cubicBezTo>
                    <a:pt x="21981" y="23326"/>
                    <a:pt x="21752" y="23831"/>
                    <a:pt x="21476" y="24317"/>
                  </a:cubicBezTo>
                  <a:lnTo>
                    <a:pt x="21476" y="24317"/>
                  </a:lnTo>
                  <a:cubicBezTo>
                    <a:pt x="20352" y="26517"/>
                    <a:pt x="18638" y="28365"/>
                    <a:pt x="16523" y="29651"/>
                  </a:cubicBezTo>
                  <a:cubicBezTo>
                    <a:pt x="14275" y="30851"/>
                    <a:pt x="11732" y="31384"/>
                    <a:pt x="9189" y="31175"/>
                  </a:cubicBezTo>
                  <a:cubicBezTo>
                    <a:pt x="5826" y="30946"/>
                    <a:pt x="2569" y="29936"/>
                    <a:pt x="-336" y="28222"/>
                  </a:cubicBezTo>
                  <a:cubicBezTo>
                    <a:pt x="3159" y="30279"/>
                    <a:pt x="6950" y="31784"/>
                    <a:pt x="10903" y="32699"/>
                  </a:cubicBezTo>
                  <a:cubicBezTo>
                    <a:pt x="11979" y="32803"/>
                    <a:pt x="13065" y="32803"/>
                    <a:pt x="14142" y="32699"/>
                  </a:cubicBezTo>
                  <a:cubicBezTo>
                    <a:pt x="15551" y="32651"/>
                    <a:pt x="16952" y="32489"/>
                    <a:pt x="18333" y="32223"/>
                  </a:cubicBezTo>
                  <a:lnTo>
                    <a:pt x="18333" y="32223"/>
                  </a:lnTo>
                  <a:cubicBezTo>
                    <a:pt x="23076" y="31289"/>
                    <a:pt x="27639" y="29622"/>
                    <a:pt x="31858" y="27269"/>
                  </a:cubicBezTo>
                  <a:close/>
                </a:path>
              </a:pathLst>
            </a:custGeom>
            <a:solidFill>
              <a:srgbClr val="BF4200"/>
            </a:solidFill>
            <a:ln w="9525" cap="flat">
              <a:noFill/>
              <a:prstDash val="solid"/>
              <a:miter/>
            </a:ln>
          </p:spPr>
          <p:txBody>
            <a:bodyPr rtlCol="0" anchor="ctr"/>
            <a:lstStyle/>
            <a:p>
              <a:endParaRPr lang="zh-CN" altLang="en-US"/>
            </a:p>
          </p:txBody>
        </p:sp>
        <p:sp>
          <p:nvSpPr>
            <p:cNvPr id="502" name="iṣḻíďè">
              <a:extLst>
                <a:ext uri="{FF2B5EF4-FFF2-40B4-BE49-F238E27FC236}">
                  <a16:creationId xmlns:a16="http://schemas.microsoft.com/office/drawing/2014/main" id="{6E2B2BA7-4D7D-4353-B040-0DBA45EBB608}"/>
                </a:ext>
              </a:extLst>
            </p:cNvPr>
            <p:cNvSpPr/>
            <p:nvPr/>
          </p:nvSpPr>
          <p:spPr>
            <a:xfrm>
              <a:off x="5454710" y="1859559"/>
              <a:ext cx="166278" cy="110425"/>
            </a:xfrm>
            <a:custGeom>
              <a:avLst/>
              <a:gdLst>
                <a:gd name="connsiteX0" fmla="*/ 37621 w 54626"/>
                <a:gd name="connsiteY0" fmla="*/ 9826 h 36277"/>
                <a:gd name="connsiteX1" fmla="*/ 41050 w 54626"/>
                <a:gd name="connsiteY1" fmla="*/ 7825 h 36277"/>
                <a:gd name="connsiteX2" fmla="*/ 43622 w 54626"/>
                <a:gd name="connsiteY2" fmla="*/ 6492 h 36277"/>
                <a:gd name="connsiteX3" fmla="*/ 45241 w 54626"/>
                <a:gd name="connsiteY3" fmla="*/ 5635 h 36277"/>
                <a:gd name="connsiteX4" fmla="*/ 50671 w 54626"/>
                <a:gd name="connsiteY4" fmla="*/ 3634 h 36277"/>
                <a:gd name="connsiteX5" fmla="*/ 51147 w 54626"/>
                <a:gd name="connsiteY5" fmla="*/ 3634 h 36277"/>
                <a:gd name="connsiteX6" fmla="*/ 54290 w 54626"/>
                <a:gd name="connsiteY6" fmla="*/ 3634 h 36277"/>
                <a:gd name="connsiteX7" fmla="*/ 46099 w 54626"/>
                <a:gd name="connsiteY7" fmla="*/ 491 h 36277"/>
                <a:gd name="connsiteX8" fmla="*/ 38574 w 54626"/>
                <a:gd name="connsiteY8" fmla="*/ -80 h 36277"/>
                <a:gd name="connsiteX9" fmla="*/ 21238 w 54626"/>
                <a:gd name="connsiteY9" fmla="*/ 5730 h 36277"/>
                <a:gd name="connsiteX10" fmla="*/ 21238 w 54626"/>
                <a:gd name="connsiteY10" fmla="*/ 5730 h 36277"/>
                <a:gd name="connsiteX11" fmla="*/ 17809 w 54626"/>
                <a:gd name="connsiteY11" fmla="*/ 7730 h 36277"/>
                <a:gd name="connsiteX12" fmla="*/ 9522 w 54626"/>
                <a:gd name="connsiteY12" fmla="*/ 13540 h 36277"/>
                <a:gd name="connsiteX13" fmla="*/ 3141 w 54626"/>
                <a:gd name="connsiteY13" fmla="*/ 20684 h 36277"/>
                <a:gd name="connsiteX14" fmla="*/ 379 w 54626"/>
                <a:gd name="connsiteY14" fmla="*/ 27256 h 36277"/>
                <a:gd name="connsiteX15" fmla="*/ -288 w 54626"/>
                <a:gd name="connsiteY15" fmla="*/ 36115 h 36277"/>
                <a:gd name="connsiteX16" fmla="*/ 6855 w 54626"/>
                <a:gd name="connsiteY16" fmla="*/ 20970 h 36277"/>
                <a:gd name="connsiteX17" fmla="*/ 12380 w 54626"/>
                <a:gd name="connsiteY17" fmla="*/ 19446 h 36277"/>
                <a:gd name="connsiteX18" fmla="*/ 13047 w 54626"/>
                <a:gd name="connsiteY18" fmla="*/ 19446 h 36277"/>
                <a:gd name="connsiteX19" fmla="*/ 15428 w 54626"/>
                <a:gd name="connsiteY19" fmla="*/ 19446 h 36277"/>
                <a:gd name="connsiteX20" fmla="*/ 16666 w 54626"/>
                <a:gd name="connsiteY20" fmla="*/ 19446 h 36277"/>
                <a:gd name="connsiteX21" fmla="*/ 17428 w 54626"/>
                <a:gd name="connsiteY21" fmla="*/ 19446 h 36277"/>
                <a:gd name="connsiteX22" fmla="*/ 18095 w 54626"/>
                <a:gd name="connsiteY22" fmla="*/ 19446 h 36277"/>
                <a:gd name="connsiteX23" fmla="*/ 18857 w 54626"/>
                <a:gd name="connsiteY23" fmla="*/ 19446 h 36277"/>
                <a:gd name="connsiteX24" fmla="*/ 19619 w 54626"/>
                <a:gd name="connsiteY24" fmla="*/ 19446 h 36277"/>
                <a:gd name="connsiteX25" fmla="*/ 20571 w 54626"/>
                <a:gd name="connsiteY25" fmla="*/ 19446 h 36277"/>
                <a:gd name="connsiteX26" fmla="*/ 21524 w 54626"/>
                <a:gd name="connsiteY26" fmla="*/ 19446 h 36277"/>
                <a:gd name="connsiteX27" fmla="*/ 22191 w 54626"/>
                <a:gd name="connsiteY27" fmla="*/ 19446 h 36277"/>
                <a:gd name="connsiteX28" fmla="*/ 23905 w 54626"/>
                <a:gd name="connsiteY28" fmla="*/ 20303 h 36277"/>
                <a:gd name="connsiteX29" fmla="*/ 23905 w 54626"/>
                <a:gd name="connsiteY29" fmla="*/ 20303 h 36277"/>
                <a:gd name="connsiteX30" fmla="*/ 37621 w 54626"/>
                <a:gd name="connsiteY30" fmla="*/ 9826 h 36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54626" h="36277">
                  <a:moveTo>
                    <a:pt x="37621" y="9826"/>
                  </a:moveTo>
                  <a:lnTo>
                    <a:pt x="41050" y="7825"/>
                  </a:lnTo>
                  <a:lnTo>
                    <a:pt x="43622" y="6492"/>
                  </a:lnTo>
                  <a:cubicBezTo>
                    <a:pt x="44117" y="6130"/>
                    <a:pt x="44660" y="5844"/>
                    <a:pt x="45241" y="5635"/>
                  </a:cubicBezTo>
                  <a:cubicBezTo>
                    <a:pt x="46984" y="4806"/>
                    <a:pt x="48804" y="4139"/>
                    <a:pt x="50671" y="3634"/>
                  </a:cubicBezTo>
                  <a:lnTo>
                    <a:pt x="51147" y="3634"/>
                  </a:lnTo>
                  <a:lnTo>
                    <a:pt x="54290" y="3634"/>
                  </a:lnTo>
                  <a:cubicBezTo>
                    <a:pt x="51699" y="2244"/>
                    <a:pt x="48946" y="1196"/>
                    <a:pt x="46099" y="491"/>
                  </a:cubicBezTo>
                  <a:cubicBezTo>
                    <a:pt x="43641" y="-99"/>
                    <a:pt x="41098" y="-290"/>
                    <a:pt x="38574" y="-80"/>
                  </a:cubicBezTo>
                  <a:cubicBezTo>
                    <a:pt x="32440" y="567"/>
                    <a:pt x="26525" y="2549"/>
                    <a:pt x="21238" y="5730"/>
                  </a:cubicBezTo>
                  <a:lnTo>
                    <a:pt x="21238" y="5730"/>
                  </a:lnTo>
                  <a:lnTo>
                    <a:pt x="17809" y="7730"/>
                  </a:lnTo>
                  <a:cubicBezTo>
                    <a:pt x="14866" y="9397"/>
                    <a:pt x="12094" y="11340"/>
                    <a:pt x="9522" y="13540"/>
                  </a:cubicBezTo>
                  <a:cubicBezTo>
                    <a:pt x="7084" y="15626"/>
                    <a:pt x="4941" y="18027"/>
                    <a:pt x="3141" y="20684"/>
                  </a:cubicBezTo>
                  <a:cubicBezTo>
                    <a:pt x="1950" y="22751"/>
                    <a:pt x="1017" y="24961"/>
                    <a:pt x="379" y="27256"/>
                  </a:cubicBezTo>
                  <a:cubicBezTo>
                    <a:pt x="-117" y="30181"/>
                    <a:pt x="-345" y="33143"/>
                    <a:pt x="-288" y="36115"/>
                  </a:cubicBezTo>
                  <a:cubicBezTo>
                    <a:pt x="-736" y="30162"/>
                    <a:pt x="1969" y="24408"/>
                    <a:pt x="6855" y="20970"/>
                  </a:cubicBezTo>
                  <a:cubicBezTo>
                    <a:pt x="8551" y="20027"/>
                    <a:pt x="10447" y="19503"/>
                    <a:pt x="12380" y="19446"/>
                  </a:cubicBezTo>
                  <a:lnTo>
                    <a:pt x="13047" y="19446"/>
                  </a:lnTo>
                  <a:cubicBezTo>
                    <a:pt x="13837" y="19360"/>
                    <a:pt x="14638" y="19360"/>
                    <a:pt x="15428" y="19446"/>
                  </a:cubicBezTo>
                  <a:lnTo>
                    <a:pt x="16666" y="19446"/>
                  </a:lnTo>
                  <a:lnTo>
                    <a:pt x="17428" y="19446"/>
                  </a:lnTo>
                  <a:lnTo>
                    <a:pt x="18095" y="19446"/>
                  </a:lnTo>
                  <a:lnTo>
                    <a:pt x="18857" y="19446"/>
                  </a:lnTo>
                  <a:cubicBezTo>
                    <a:pt x="18857" y="19446"/>
                    <a:pt x="18857" y="19446"/>
                    <a:pt x="19619" y="19446"/>
                  </a:cubicBezTo>
                  <a:lnTo>
                    <a:pt x="20571" y="19446"/>
                  </a:lnTo>
                  <a:lnTo>
                    <a:pt x="21524" y="19446"/>
                  </a:lnTo>
                  <a:lnTo>
                    <a:pt x="22191" y="19446"/>
                  </a:lnTo>
                  <a:lnTo>
                    <a:pt x="23905" y="20303"/>
                  </a:lnTo>
                  <a:lnTo>
                    <a:pt x="23905" y="20303"/>
                  </a:lnTo>
                  <a:cubicBezTo>
                    <a:pt x="23620" y="20113"/>
                    <a:pt x="29906" y="14302"/>
                    <a:pt x="37621" y="9826"/>
                  </a:cubicBezTo>
                  <a:close/>
                </a:path>
              </a:pathLst>
            </a:custGeom>
            <a:solidFill>
              <a:srgbClr val="D9530B"/>
            </a:solidFill>
            <a:ln w="9525" cap="flat">
              <a:noFill/>
              <a:prstDash val="solid"/>
              <a:miter/>
            </a:ln>
          </p:spPr>
          <p:txBody>
            <a:bodyPr rtlCol="0" anchor="ctr"/>
            <a:lstStyle/>
            <a:p>
              <a:endParaRPr lang="zh-CN" altLang="en-US"/>
            </a:p>
          </p:txBody>
        </p:sp>
        <p:sp>
          <p:nvSpPr>
            <p:cNvPr id="503" name="ïṩ1íḋe">
              <a:extLst>
                <a:ext uri="{FF2B5EF4-FFF2-40B4-BE49-F238E27FC236}">
                  <a16:creationId xmlns:a16="http://schemas.microsoft.com/office/drawing/2014/main" id="{8E052EA0-E3F2-4EB4-B3D7-895BE991E5A3}"/>
                </a:ext>
              </a:extLst>
            </p:cNvPr>
            <p:cNvSpPr/>
            <p:nvPr/>
          </p:nvSpPr>
          <p:spPr>
            <a:xfrm>
              <a:off x="5527630" y="1869668"/>
              <a:ext cx="1931250" cy="1119145"/>
            </a:xfrm>
            <a:custGeom>
              <a:avLst/>
              <a:gdLst>
                <a:gd name="connsiteX0" fmla="*/ 617265 w 634460"/>
                <a:gd name="connsiteY0" fmla="*/ 355025 h 367665"/>
                <a:gd name="connsiteX1" fmla="*/ 620694 w 634460"/>
                <a:gd name="connsiteY1" fmla="*/ 353024 h 367665"/>
                <a:gd name="connsiteX2" fmla="*/ 634124 w 634460"/>
                <a:gd name="connsiteY2" fmla="*/ 348738 h 367665"/>
                <a:gd name="connsiteX3" fmla="*/ 30525 w 634460"/>
                <a:gd name="connsiteY3" fmla="*/ -163 h 367665"/>
                <a:gd name="connsiteX4" fmla="*/ 27191 w 634460"/>
                <a:gd name="connsiteY4" fmla="*/ -163 h 367665"/>
                <a:gd name="connsiteX5" fmla="*/ 26715 w 634460"/>
                <a:gd name="connsiteY5" fmla="*/ -163 h 367665"/>
                <a:gd name="connsiteX6" fmla="*/ 21285 w 634460"/>
                <a:gd name="connsiteY6" fmla="*/ 1838 h 367665"/>
                <a:gd name="connsiteX7" fmla="*/ 19666 w 634460"/>
                <a:gd name="connsiteY7" fmla="*/ 2695 h 367665"/>
                <a:gd name="connsiteX8" fmla="*/ 17095 w 634460"/>
                <a:gd name="connsiteY8" fmla="*/ 4028 h 367665"/>
                <a:gd name="connsiteX9" fmla="*/ 13665 w 634460"/>
                <a:gd name="connsiteY9" fmla="*/ 6029 h 367665"/>
                <a:gd name="connsiteX10" fmla="*/ -336 w 634460"/>
                <a:gd name="connsiteY10" fmla="*/ 18983 h 367665"/>
                <a:gd name="connsiteX11" fmla="*/ 603263 w 634460"/>
                <a:gd name="connsiteY11" fmla="*/ 367502 h 367665"/>
                <a:gd name="connsiteX12" fmla="*/ 617265 w 634460"/>
                <a:gd name="connsiteY12" fmla="*/ 355025 h 3676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34460" h="367665">
                  <a:moveTo>
                    <a:pt x="617265" y="355025"/>
                  </a:moveTo>
                  <a:lnTo>
                    <a:pt x="620694" y="353024"/>
                  </a:lnTo>
                  <a:cubicBezTo>
                    <a:pt x="627075" y="349405"/>
                    <a:pt x="632409" y="347786"/>
                    <a:pt x="634124" y="348738"/>
                  </a:cubicBezTo>
                  <a:lnTo>
                    <a:pt x="30525" y="-163"/>
                  </a:lnTo>
                  <a:lnTo>
                    <a:pt x="27191" y="-163"/>
                  </a:lnTo>
                  <a:lnTo>
                    <a:pt x="26715" y="-163"/>
                  </a:lnTo>
                  <a:cubicBezTo>
                    <a:pt x="24848" y="342"/>
                    <a:pt x="23029" y="1009"/>
                    <a:pt x="21285" y="1838"/>
                  </a:cubicBezTo>
                  <a:cubicBezTo>
                    <a:pt x="20705" y="2047"/>
                    <a:pt x="20162" y="2333"/>
                    <a:pt x="19666" y="2695"/>
                  </a:cubicBezTo>
                  <a:lnTo>
                    <a:pt x="17095" y="4028"/>
                  </a:lnTo>
                  <a:lnTo>
                    <a:pt x="13665" y="6029"/>
                  </a:lnTo>
                  <a:cubicBezTo>
                    <a:pt x="5950" y="10505"/>
                    <a:pt x="-336" y="16316"/>
                    <a:pt x="-336" y="18983"/>
                  </a:cubicBezTo>
                  <a:lnTo>
                    <a:pt x="603263" y="367502"/>
                  </a:lnTo>
                  <a:cubicBezTo>
                    <a:pt x="603263" y="365312"/>
                    <a:pt x="609549" y="359501"/>
                    <a:pt x="617265" y="355025"/>
                  </a:cubicBezTo>
                  <a:close/>
                </a:path>
              </a:pathLst>
            </a:custGeom>
            <a:solidFill>
              <a:srgbClr val="FF7D33"/>
            </a:solidFill>
            <a:ln w="9525" cap="flat">
              <a:noFill/>
              <a:prstDash val="solid"/>
              <a:miter/>
            </a:ln>
          </p:spPr>
          <p:txBody>
            <a:bodyPr rtlCol="0" anchor="ctr"/>
            <a:lstStyle/>
            <a:p>
              <a:endParaRPr lang="zh-CN" altLang="en-US"/>
            </a:p>
          </p:txBody>
        </p:sp>
        <p:sp>
          <p:nvSpPr>
            <p:cNvPr id="504" name="i$ḻiďe">
              <a:extLst>
                <a:ext uri="{FF2B5EF4-FFF2-40B4-BE49-F238E27FC236}">
                  <a16:creationId xmlns:a16="http://schemas.microsoft.com/office/drawing/2014/main" id="{D948C81B-9BC4-456B-95C3-CF00072A1BAD}"/>
                </a:ext>
              </a:extLst>
            </p:cNvPr>
            <p:cNvSpPr/>
            <p:nvPr/>
          </p:nvSpPr>
          <p:spPr>
            <a:xfrm>
              <a:off x="7437716" y="3069702"/>
              <a:ext cx="97707" cy="1739361"/>
            </a:xfrm>
            <a:custGeom>
              <a:avLst/>
              <a:gdLst>
                <a:gd name="connsiteX0" fmla="*/ 18333 w 32099"/>
                <a:gd name="connsiteY0" fmla="*/ 564956 h 571420"/>
                <a:gd name="connsiteX1" fmla="*/ 21857 w 32099"/>
                <a:gd name="connsiteY1" fmla="*/ 562956 h 571420"/>
                <a:gd name="connsiteX2" fmla="*/ 24810 w 32099"/>
                <a:gd name="connsiteY2" fmla="*/ 561146 h 571420"/>
                <a:gd name="connsiteX3" fmla="*/ 25572 w 32099"/>
                <a:gd name="connsiteY3" fmla="*/ 560574 h 571420"/>
                <a:gd name="connsiteX4" fmla="*/ 25572 w 32099"/>
                <a:gd name="connsiteY4" fmla="*/ 560574 h 571420"/>
                <a:gd name="connsiteX5" fmla="*/ 26239 w 32099"/>
                <a:gd name="connsiteY5" fmla="*/ 560003 h 571420"/>
                <a:gd name="connsiteX6" fmla="*/ 28620 w 32099"/>
                <a:gd name="connsiteY6" fmla="*/ 558193 h 571420"/>
                <a:gd name="connsiteX7" fmla="*/ 29286 w 32099"/>
                <a:gd name="connsiteY7" fmla="*/ 557622 h 571420"/>
                <a:gd name="connsiteX8" fmla="*/ 29953 w 32099"/>
                <a:gd name="connsiteY8" fmla="*/ 556955 h 571420"/>
                <a:gd name="connsiteX9" fmla="*/ 29953 w 32099"/>
                <a:gd name="connsiteY9" fmla="*/ 556955 h 571420"/>
                <a:gd name="connsiteX10" fmla="*/ 30430 w 32099"/>
                <a:gd name="connsiteY10" fmla="*/ 556478 h 571420"/>
                <a:gd name="connsiteX11" fmla="*/ 30430 w 32099"/>
                <a:gd name="connsiteY11" fmla="*/ 556478 h 571420"/>
                <a:gd name="connsiteX12" fmla="*/ 31763 w 32099"/>
                <a:gd name="connsiteY12" fmla="*/ 554097 h 571420"/>
                <a:gd name="connsiteX13" fmla="*/ 31763 w 32099"/>
                <a:gd name="connsiteY13" fmla="*/ 554097 h 571420"/>
                <a:gd name="connsiteX14" fmla="*/ 31763 w 32099"/>
                <a:gd name="connsiteY14" fmla="*/ -163 h 571420"/>
                <a:gd name="connsiteX15" fmla="*/ 21285 w 32099"/>
                <a:gd name="connsiteY15" fmla="*/ 9362 h 571420"/>
                <a:gd name="connsiteX16" fmla="*/ 17856 w 32099"/>
                <a:gd name="connsiteY16" fmla="*/ 11363 h 571420"/>
                <a:gd name="connsiteX17" fmla="*/ -336 w 32099"/>
                <a:gd name="connsiteY17" fmla="*/ 16982 h 571420"/>
                <a:gd name="connsiteX18" fmla="*/ -336 w 32099"/>
                <a:gd name="connsiteY18" fmla="*/ 571147 h 571420"/>
                <a:gd name="connsiteX19" fmla="*/ -336 w 32099"/>
                <a:gd name="connsiteY19" fmla="*/ 571147 h 571420"/>
                <a:gd name="connsiteX20" fmla="*/ 18333 w 32099"/>
                <a:gd name="connsiteY20" fmla="*/ 564956 h 571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2099" h="571420">
                  <a:moveTo>
                    <a:pt x="18333" y="564956"/>
                  </a:moveTo>
                  <a:lnTo>
                    <a:pt x="21857" y="562956"/>
                  </a:lnTo>
                  <a:lnTo>
                    <a:pt x="24810" y="561146"/>
                  </a:lnTo>
                  <a:lnTo>
                    <a:pt x="25572" y="560574"/>
                  </a:lnTo>
                  <a:lnTo>
                    <a:pt x="25572" y="560574"/>
                  </a:lnTo>
                  <a:lnTo>
                    <a:pt x="26239" y="560003"/>
                  </a:lnTo>
                  <a:lnTo>
                    <a:pt x="28620" y="558193"/>
                  </a:lnTo>
                  <a:lnTo>
                    <a:pt x="29286" y="557622"/>
                  </a:lnTo>
                  <a:lnTo>
                    <a:pt x="29953" y="556955"/>
                  </a:lnTo>
                  <a:lnTo>
                    <a:pt x="29953" y="556955"/>
                  </a:lnTo>
                  <a:cubicBezTo>
                    <a:pt x="29953" y="556955"/>
                    <a:pt x="29953" y="556955"/>
                    <a:pt x="30430" y="556478"/>
                  </a:cubicBezTo>
                  <a:lnTo>
                    <a:pt x="30430" y="556478"/>
                  </a:lnTo>
                  <a:cubicBezTo>
                    <a:pt x="31087" y="555821"/>
                    <a:pt x="31544" y="555002"/>
                    <a:pt x="31763" y="554097"/>
                  </a:cubicBezTo>
                  <a:lnTo>
                    <a:pt x="31763" y="554097"/>
                  </a:lnTo>
                  <a:cubicBezTo>
                    <a:pt x="31763" y="321116"/>
                    <a:pt x="31763" y="232819"/>
                    <a:pt x="31763" y="-163"/>
                  </a:cubicBezTo>
                  <a:cubicBezTo>
                    <a:pt x="31763" y="1838"/>
                    <a:pt x="27667" y="5648"/>
                    <a:pt x="21285" y="9362"/>
                  </a:cubicBezTo>
                  <a:lnTo>
                    <a:pt x="17856" y="11363"/>
                  </a:lnTo>
                  <a:cubicBezTo>
                    <a:pt x="10046" y="15744"/>
                    <a:pt x="1950" y="18316"/>
                    <a:pt x="-336" y="16982"/>
                  </a:cubicBezTo>
                  <a:cubicBezTo>
                    <a:pt x="-336" y="249869"/>
                    <a:pt x="-336" y="338261"/>
                    <a:pt x="-336" y="571147"/>
                  </a:cubicBezTo>
                  <a:lnTo>
                    <a:pt x="-336" y="571147"/>
                  </a:lnTo>
                  <a:cubicBezTo>
                    <a:pt x="2331" y="571814"/>
                    <a:pt x="10713" y="569432"/>
                    <a:pt x="18333" y="564956"/>
                  </a:cubicBezTo>
                  <a:close/>
                </a:path>
              </a:pathLst>
            </a:custGeom>
            <a:solidFill>
              <a:srgbClr val="BF4200"/>
            </a:solidFill>
            <a:ln w="9525" cap="flat">
              <a:noFill/>
              <a:prstDash val="solid"/>
              <a:miter/>
            </a:ln>
          </p:spPr>
          <p:txBody>
            <a:bodyPr rtlCol="0" anchor="ctr"/>
            <a:lstStyle/>
            <a:p>
              <a:endParaRPr lang="zh-CN" altLang="en-US"/>
            </a:p>
          </p:txBody>
        </p:sp>
        <p:sp>
          <p:nvSpPr>
            <p:cNvPr id="505" name="îśľiḋe">
              <a:extLst>
                <a:ext uri="{FF2B5EF4-FFF2-40B4-BE49-F238E27FC236}">
                  <a16:creationId xmlns:a16="http://schemas.microsoft.com/office/drawing/2014/main" id="{9D35F7AB-9D77-4819-91AE-D2DE743D501A}"/>
                </a:ext>
              </a:extLst>
            </p:cNvPr>
            <p:cNvSpPr/>
            <p:nvPr/>
          </p:nvSpPr>
          <p:spPr>
            <a:xfrm>
              <a:off x="5452829" y="1919241"/>
              <a:ext cx="1985758" cy="2934488"/>
            </a:xfrm>
            <a:custGeom>
              <a:avLst/>
              <a:gdLst>
                <a:gd name="connsiteX0" fmla="*/ 6712 w 652367"/>
                <a:gd name="connsiteY0" fmla="*/ 593818 h 964047"/>
                <a:gd name="connsiteX1" fmla="*/ 22428 w 652367"/>
                <a:gd name="connsiteY1" fmla="*/ 611153 h 964047"/>
                <a:gd name="connsiteX2" fmla="*/ 24048 w 652367"/>
                <a:gd name="connsiteY2" fmla="*/ 612106 h 964047"/>
                <a:gd name="connsiteX3" fmla="*/ 627552 w 652367"/>
                <a:gd name="connsiteY3" fmla="*/ 960530 h 964047"/>
                <a:gd name="connsiteX4" fmla="*/ 652031 w 652367"/>
                <a:gd name="connsiteY4" fmla="*/ 946433 h 964047"/>
                <a:gd name="connsiteX5" fmla="*/ 652031 w 652367"/>
                <a:gd name="connsiteY5" fmla="*/ 393983 h 964047"/>
                <a:gd name="connsiteX6" fmla="*/ 652031 w 652367"/>
                <a:gd name="connsiteY6" fmla="*/ 392174 h 964047"/>
                <a:gd name="connsiteX7" fmla="*/ 644887 w 652367"/>
                <a:gd name="connsiteY7" fmla="*/ 369885 h 964047"/>
                <a:gd name="connsiteX8" fmla="*/ 627647 w 652367"/>
                <a:gd name="connsiteY8" fmla="*/ 351597 h 964047"/>
                <a:gd name="connsiteX9" fmla="*/ 24143 w 652367"/>
                <a:gd name="connsiteY9" fmla="*/ 3173 h 964047"/>
                <a:gd name="connsiteX10" fmla="*/ -336 w 652367"/>
                <a:gd name="connsiteY10" fmla="*/ 17365 h 964047"/>
                <a:gd name="connsiteX11" fmla="*/ -336 w 652367"/>
                <a:gd name="connsiteY11" fmla="*/ 569815 h 964047"/>
                <a:gd name="connsiteX12" fmla="*/ 6712 w 652367"/>
                <a:gd name="connsiteY12" fmla="*/ 593818 h 9640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2367" h="964047">
                  <a:moveTo>
                    <a:pt x="6712" y="593818"/>
                  </a:moveTo>
                  <a:cubicBezTo>
                    <a:pt x="10570" y="600714"/>
                    <a:pt x="15951" y="606639"/>
                    <a:pt x="22428" y="611153"/>
                  </a:cubicBezTo>
                  <a:lnTo>
                    <a:pt x="24048" y="612106"/>
                  </a:lnTo>
                  <a:lnTo>
                    <a:pt x="627552" y="960530"/>
                  </a:lnTo>
                  <a:cubicBezTo>
                    <a:pt x="641077" y="968341"/>
                    <a:pt x="652031" y="962054"/>
                    <a:pt x="652031" y="946433"/>
                  </a:cubicBezTo>
                  <a:lnTo>
                    <a:pt x="652031" y="393983"/>
                  </a:lnTo>
                  <a:cubicBezTo>
                    <a:pt x="651983" y="393383"/>
                    <a:pt x="651983" y="392774"/>
                    <a:pt x="652031" y="392174"/>
                  </a:cubicBezTo>
                  <a:cubicBezTo>
                    <a:pt x="651412" y="384287"/>
                    <a:pt x="648964" y="376657"/>
                    <a:pt x="644887" y="369885"/>
                  </a:cubicBezTo>
                  <a:cubicBezTo>
                    <a:pt x="640791" y="362418"/>
                    <a:pt x="634857" y="356122"/>
                    <a:pt x="627647" y="351597"/>
                  </a:cubicBezTo>
                  <a:lnTo>
                    <a:pt x="24143" y="3173"/>
                  </a:lnTo>
                  <a:cubicBezTo>
                    <a:pt x="10617" y="-4638"/>
                    <a:pt x="-336" y="1744"/>
                    <a:pt x="-336" y="17365"/>
                  </a:cubicBezTo>
                  <a:lnTo>
                    <a:pt x="-336" y="569815"/>
                  </a:lnTo>
                  <a:cubicBezTo>
                    <a:pt x="-89" y="578292"/>
                    <a:pt x="2340" y="586560"/>
                    <a:pt x="6712" y="593818"/>
                  </a:cubicBezTo>
                  <a:close/>
                </a:path>
              </a:pathLst>
            </a:custGeom>
            <a:solidFill>
              <a:srgbClr val="D9530B"/>
            </a:solidFill>
            <a:ln w="9525" cap="flat">
              <a:noFill/>
              <a:prstDash val="solid"/>
              <a:miter/>
            </a:ln>
          </p:spPr>
          <p:txBody>
            <a:bodyPr rtlCol="0" anchor="ctr"/>
            <a:lstStyle/>
            <a:p>
              <a:endParaRPr lang="zh-CN" altLang="en-US"/>
            </a:p>
          </p:txBody>
        </p:sp>
        <p:sp>
          <p:nvSpPr>
            <p:cNvPr id="506" name="ïš1îďe">
              <a:extLst>
                <a:ext uri="{FF2B5EF4-FFF2-40B4-BE49-F238E27FC236}">
                  <a16:creationId xmlns:a16="http://schemas.microsoft.com/office/drawing/2014/main" id="{1A2F6992-CF15-4266-92E2-8C627E6C1CC4}"/>
                </a:ext>
              </a:extLst>
            </p:cNvPr>
            <p:cNvSpPr/>
            <p:nvPr/>
          </p:nvSpPr>
          <p:spPr>
            <a:xfrm>
              <a:off x="5540969" y="2067691"/>
              <a:ext cx="1810348" cy="2427035"/>
            </a:xfrm>
            <a:custGeom>
              <a:avLst/>
              <a:gdLst>
                <a:gd name="connsiteX0" fmla="*/ 594741 w 594741"/>
                <a:gd name="connsiteY0" fmla="*/ 797338 h 797337"/>
                <a:gd name="connsiteX1" fmla="*/ 594741 w 594741"/>
                <a:gd name="connsiteY1" fmla="*/ 343376 h 797337"/>
                <a:gd name="connsiteX2" fmla="*/ 0 w 594741"/>
                <a:gd name="connsiteY2" fmla="*/ 0 h 797337"/>
                <a:gd name="connsiteX3" fmla="*/ 0 w 594741"/>
                <a:gd name="connsiteY3" fmla="*/ 453962 h 797337"/>
                <a:gd name="connsiteX4" fmla="*/ 594741 w 594741"/>
                <a:gd name="connsiteY4" fmla="*/ 797338 h 7973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4741" h="797337">
                  <a:moveTo>
                    <a:pt x="594741" y="797338"/>
                  </a:moveTo>
                  <a:lnTo>
                    <a:pt x="594741" y="343376"/>
                  </a:lnTo>
                  <a:lnTo>
                    <a:pt x="0" y="0"/>
                  </a:lnTo>
                  <a:lnTo>
                    <a:pt x="0" y="453962"/>
                  </a:lnTo>
                  <a:lnTo>
                    <a:pt x="594741" y="797338"/>
                  </a:lnTo>
                  <a:close/>
                </a:path>
              </a:pathLst>
            </a:custGeom>
            <a:solidFill>
              <a:srgbClr val="73A1FF"/>
            </a:solidFill>
            <a:ln w="9525" cap="flat">
              <a:noFill/>
              <a:prstDash val="solid"/>
              <a:miter/>
            </a:ln>
          </p:spPr>
          <p:txBody>
            <a:bodyPr rtlCol="0" anchor="ctr"/>
            <a:lstStyle/>
            <a:p>
              <a:endParaRPr lang="zh-CN" altLang="en-US"/>
            </a:p>
          </p:txBody>
        </p:sp>
        <p:sp>
          <p:nvSpPr>
            <p:cNvPr id="507" name="íş1iďè">
              <a:extLst>
                <a:ext uri="{FF2B5EF4-FFF2-40B4-BE49-F238E27FC236}">
                  <a16:creationId xmlns:a16="http://schemas.microsoft.com/office/drawing/2014/main" id="{A118FC89-23AF-42C9-B170-C7BDECAA3B9B}"/>
                </a:ext>
              </a:extLst>
            </p:cNvPr>
            <p:cNvSpPr/>
            <p:nvPr/>
          </p:nvSpPr>
          <p:spPr>
            <a:xfrm>
              <a:off x="6426426" y="2495140"/>
              <a:ext cx="39720" cy="50864"/>
            </a:xfrm>
            <a:custGeom>
              <a:avLst/>
              <a:gdLst>
                <a:gd name="connsiteX0" fmla="*/ 6236 w 13049"/>
                <a:gd name="connsiteY0" fmla="*/ 15716 h 16710"/>
                <a:gd name="connsiteX1" fmla="*/ 12713 w 13049"/>
                <a:gd name="connsiteY1" fmla="*/ 12002 h 16710"/>
                <a:gd name="connsiteX2" fmla="*/ 6236 w 13049"/>
                <a:gd name="connsiteY2" fmla="*/ 667 h 16710"/>
                <a:gd name="connsiteX3" fmla="*/ -336 w 13049"/>
                <a:gd name="connsiteY3" fmla="*/ 4477 h 16710"/>
                <a:gd name="connsiteX4" fmla="*/ 6236 w 13049"/>
                <a:gd name="connsiteY4" fmla="*/ 15716 h 167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49" h="16710">
                  <a:moveTo>
                    <a:pt x="6236" y="15716"/>
                  </a:moveTo>
                  <a:cubicBezTo>
                    <a:pt x="9760" y="17812"/>
                    <a:pt x="12713" y="15716"/>
                    <a:pt x="12713" y="12002"/>
                  </a:cubicBezTo>
                  <a:cubicBezTo>
                    <a:pt x="12446" y="7420"/>
                    <a:pt x="10046" y="3220"/>
                    <a:pt x="6236" y="667"/>
                  </a:cubicBezTo>
                  <a:cubicBezTo>
                    <a:pt x="2616" y="-1429"/>
                    <a:pt x="-336" y="667"/>
                    <a:pt x="-336" y="4477"/>
                  </a:cubicBezTo>
                  <a:cubicBezTo>
                    <a:pt x="-51" y="9049"/>
                    <a:pt x="2388" y="13221"/>
                    <a:pt x="6236" y="15716"/>
                  </a:cubicBezTo>
                  <a:close/>
                </a:path>
              </a:pathLst>
            </a:custGeom>
            <a:solidFill>
              <a:srgbClr val="BF4200"/>
            </a:solidFill>
            <a:ln w="9525" cap="flat">
              <a:noFill/>
              <a:prstDash val="solid"/>
              <a:miter/>
            </a:ln>
          </p:spPr>
          <p:txBody>
            <a:bodyPr rtlCol="0" anchor="ctr"/>
            <a:lstStyle/>
            <a:p>
              <a:endParaRPr lang="zh-CN" altLang="en-US"/>
            </a:p>
          </p:txBody>
        </p:sp>
        <p:sp>
          <p:nvSpPr>
            <p:cNvPr id="508" name="íṣḻïḑé">
              <a:extLst>
                <a:ext uri="{FF2B5EF4-FFF2-40B4-BE49-F238E27FC236}">
                  <a16:creationId xmlns:a16="http://schemas.microsoft.com/office/drawing/2014/main" id="{65347974-4BE3-42EE-BEC7-37BE5AABB5D8}"/>
                </a:ext>
              </a:extLst>
            </p:cNvPr>
            <p:cNvSpPr/>
            <p:nvPr/>
          </p:nvSpPr>
          <p:spPr>
            <a:xfrm>
              <a:off x="6433966" y="2504747"/>
              <a:ext cx="24644" cy="31642"/>
            </a:xfrm>
            <a:custGeom>
              <a:avLst/>
              <a:gdLst>
                <a:gd name="connsiteX0" fmla="*/ 3759 w 8096"/>
                <a:gd name="connsiteY0" fmla="*/ 9703 h 10395"/>
                <a:gd name="connsiteX1" fmla="*/ 7760 w 8096"/>
                <a:gd name="connsiteY1" fmla="*/ 7416 h 10395"/>
                <a:gd name="connsiteX2" fmla="*/ 3759 w 8096"/>
                <a:gd name="connsiteY2" fmla="*/ 368 h 10395"/>
                <a:gd name="connsiteX3" fmla="*/ -336 w 8096"/>
                <a:gd name="connsiteY3" fmla="*/ 2654 h 10395"/>
                <a:gd name="connsiteX4" fmla="*/ 3759 w 8096"/>
                <a:gd name="connsiteY4" fmla="*/ 9703 h 103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96" h="10395">
                  <a:moveTo>
                    <a:pt x="3759" y="9703"/>
                  </a:moveTo>
                  <a:cubicBezTo>
                    <a:pt x="5950" y="11036"/>
                    <a:pt x="7760" y="9703"/>
                    <a:pt x="7760" y="7416"/>
                  </a:cubicBezTo>
                  <a:cubicBezTo>
                    <a:pt x="7645" y="4559"/>
                    <a:pt x="6150" y="1930"/>
                    <a:pt x="3759" y="368"/>
                  </a:cubicBezTo>
                  <a:cubicBezTo>
                    <a:pt x="1473" y="-965"/>
                    <a:pt x="-336" y="368"/>
                    <a:pt x="-336" y="2654"/>
                  </a:cubicBezTo>
                  <a:cubicBezTo>
                    <a:pt x="-213" y="5531"/>
                    <a:pt x="1321" y="8169"/>
                    <a:pt x="3759" y="9703"/>
                  </a:cubicBezTo>
                  <a:close/>
                </a:path>
              </a:pathLst>
            </a:custGeom>
            <a:solidFill>
              <a:srgbClr val="171A42"/>
            </a:solidFill>
            <a:ln w="9525" cap="flat">
              <a:noFill/>
              <a:prstDash val="solid"/>
              <a:miter/>
            </a:ln>
          </p:spPr>
          <p:txBody>
            <a:bodyPr rtlCol="0" anchor="ctr"/>
            <a:lstStyle/>
            <a:p>
              <a:endParaRPr lang="zh-CN" altLang="en-US"/>
            </a:p>
          </p:txBody>
        </p:sp>
        <p:sp>
          <p:nvSpPr>
            <p:cNvPr id="509" name="îṩľíďè">
              <a:extLst>
                <a:ext uri="{FF2B5EF4-FFF2-40B4-BE49-F238E27FC236}">
                  <a16:creationId xmlns:a16="http://schemas.microsoft.com/office/drawing/2014/main" id="{0F4358EA-5312-4CB5-9F14-ABCCE4D7417F}"/>
                </a:ext>
              </a:extLst>
            </p:cNvPr>
            <p:cNvSpPr/>
            <p:nvPr/>
          </p:nvSpPr>
          <p:spPr>
            <a:xfrm>
              <a:off x="5453100" y="1919957"/>
              <a:ext cx="1987164" cy="2935252"/>
            </a:xfrm>
            <a:custGeom>
              <a:avLst/>
              <a:gdLst>
                <a:gd name="connsiteX0" fmla="*/ 9005 w 652829"/>
                <a:gd name="connsiteY0" fmla="*/ 4938 h 964298"/>
                <a:gd name="connsiteX1" fmla="*/ 25388 w 652829"/>
                <a:gd name="connsiteY1" fmla="*/ 6557 h 964298"/>
                <a:gd name="connsiteX2" fmla="*/ 628891 w 652829"/>
                <a:gd name="connsiteY2" fmla="*/ 354791 h 964298"/>
                <a:gd name="connsiteX3" fmla="*/ 643846 w 652829"/>
                <a:gd name="connsiteY3" fmla="*/ 370222 h 964298"/>
                <a:gd name="connsiteX4" fmla="*/ 649751 w 652829"/>
                <a:gd name="connsiteY4" fmla="*/ 389272 h 964298"/>
                <a:gd name="connsiteX5" fmla="*/ 649751 w 652829"/>
                <a:gd name="connsiteY5" fmla="*/ 943246 h 964298"/>
                <a:gd name="connsiteX6" fmla="*/ 642893 w 652829"/>
                <a:gd name="connsiteY6" fmla="*/ 958295 h 964298"/>
                <a:gd name="connsiteX7" fmla="*/ 626510 w 652829"/>
                <a:gd name="connsiteY7" fmla="*/ 956676 h 964298"/>
                <a:gd name="connsiteX8" fmla="*/ 23006 w 652829"/>
                <a:gd name="connsiteY8" fmla="*/ 608251 h 964298"/>
                <a:gd name="connsiteX9" fmla="*/ 21578 w 652829"/>
                <a:gd name="connsiteY9" fmla="*/ 607394 h 964298"/>
                <a:gd name="connsiteX10" fmla="*/ 8147 w 652829"/>
                <a:gd name="connsiteY10" fmla="*/ 592821 h 964298"/>
                <a:gd name="connsiteX11" fmla="*/ 2147 w 652829"/>
                <a:gd name="connsiteY11" fmla="*/ 572152 h 964298"/>
                <a:gd name="connsiteX12" fmla="*/ 2147 w 652829"/>
                <a:gd name="connsiteY12" fmla="*/ 19702 h 964298"/>
                <a:gd name="connsiteX13" fmla="*/ 9005 w 652829"/>
                <a:gd name="connsiteY13" fmla="*/ 4652 h 964298"/>
                <a:gd name="connsiteX14" fmla="*/ 6909 w 652829"/>
                <a:gd name="connsiteY14" fmla="*/ 1318 h 964298"/>
                <a:gd name="connsiteX15" fmla="*/ -235 w 652829"/>
                <a:gd name="connsiteY15" fmla="*/ 17225 h 964298"/>
                <a:gd name="connsiteX16" fmla="*/ -235 w 652829"/>
                <a:gd name="connsiteY16" fmla="*/ 569675 h 964298"/>
                <a:gd name="connsiteX17" fmla="*/ 6909 w 652829"/>
                <a:gd name="connsiteY17" fmla="*/ 593773 h 964298"/>
                <a:gd name="connsiteX18" fmla="*/ 22625 w 652829"/>
                <a:gd name="connsiteY18" fmla="*/ 611109 h 964298"/>
                <a:gd name="connsiteX19" fmla="*/ 24245 w 652829"/>
                <a:gd name="connsiteY19" fmla="*/ 612061 h 964298"/>
                <a:gd name="connsiteX20" fmla="*/ 627748 w 652829"/>
                <a:gd name="connsiteY20" fmla="*/ 960486 h 964298"/>
                <a:gd name="connsiteX21" fmla="*/ 648846 w 652829"/>
                <a:gd name="connsiteY21" fmla="*/ 958971 h 964298"/>
                <a:gd name="connsiteX22" fmla="*/ 652228 w 652829"/>
                <a:gd name="connsiteY22" fmla="*/ 946389 h 964298"/>
                <a:gd name="connsiteX23" fmla="*/ 652228 w 652829"/>
                <a:gd name="connsiteY23" fmla="*/ 393939 h 964298"/>
                <a:gd name="connsiteX24" fmla="*/ 652228 w 652829"/>
                <a:gd name="connsiteY24" fmla="*/ 392129 h 964298"/>
                <a:gd name="connsiteX25" fmla="*/ 645084 w 652829"/>
                <a:gd name="connsiteY25" fmla="*/ 369841 h 964298"/>
                <a:gd name="connsiteX26" fmla="*/ 627844 w 652829"/>
                <a:gd name="connsiteY26" fmla="*/ 351553 h 964298"/>
                <a:gd name="connsiteX27" fmla="*/ 24340 w 652829"/>
                <a:gd name="connsiteY27" fmla="*/ 3128 h 964298"/>
                <a:gd name="connsiteX28" fmla="*/ 7004 w 652829"/>
                <a:gd name="connsiteY28" fmla="*/ 1414 h 964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652829" h="964298">
                  <a:moveTo>
                    <a:pt x="9005" y="4938"/>
                  </a:moveTo>
                  <a:cubicBezTo>
                    <a:pt x="14367" y="2519"/>
                    <a:pt x="20606" y="3128"/>
                    <a:pt x="25388" y="6557"/>
                  </a:cubicBezTo>
                  <a:lnTo>
                    <a:pt x="628891" y="354791"/>
                  </a:lnTo>
                  <a:cubicBezTo>
                    <a:pt x="635102" y="358592"/>
                    <a:pt x="640245" y="363897"/>
                    <a:pt x="643846" y="370222"/>
                  </a:cubicBezTo>
                  <a:cubicBezTo>
                    <a:pt x="647208" y="376051"/>
                    <a:pt x="649227" y="382566"/>
                    <a:pt x="649751" y="389272"/>
                  </a:cubicBezTo>
                  <a:lnTo>
                    <a:pt x="649751" y="943246"/>
                  </a:lnTo>
                  <a:cubicBezTo>
                    <a:pt x="650370" y="949132"/>
                    <a:pt x="647741" y="954895"/>
                    <a:pt x="642893" y="958295"/>
                  </a:cubicBezTo>
                  <a:cubicBezTo>
                    <a:pt x="637550" y="960800"/>
                    <a:pt x="631263" y="960181"/>
                    <a:pt x="626510" y="956676"/>
                  </a:cubicBezTo>
                  <a:lnTo>
                    <a:pt x="23006" y="608251"/>
                  </a:lnTo>
                  <a:lnTo>
                    <a:pt x="21578" y="607394"/>
                  </a:lnTo>
                  <a:cubicBezTo>
                    <a:pt x="16034" y="603641"/>
                    <a:pt x="11433" y="598650"/>
                    <a:pt x="8147" y="592821"/>
                  </a:cubicBezTo>
                  <a:cubicBezTo>
                    <a:pt x="4375" y="586573"/>
                    <a:pt x="2308" y="579448"/>
                    <a:pt x="2147" y="572152"/>
                  </a:cubicBezTo>
                  <a:lnTo>
                    <a:pt x="2147" y="19702"/>
                  </a:lnTo>
                  <a:cubicBezTo>
                    <a:pt x="1565" y="13815"/>
                    <a:pt x="4185" y="8072"/>
                    <a:pt x="9005" y="4652"/>
                  </a:cubicBezTo>
                  <a:close/>
                  <a:moveTo>
                    <a:pt x="6909" y="1318"/>
                  </a:moveTo>
                  <a:cubicBezTo>
                    <a:pt x="1823" y="4938"/>
                    <a:pt x="-911" y="11024"/>
                    <a:pt x="-235" y="17225"/>
                  </a:cubicBezTo>
                  <a:lnTo>
                    <a:pt x="-235" y="569675"/>
                  </a:lnTo>
                  <a:cubicBezTo>
                    <a:pt x="23" y="578191"/>
                    <a:pt x="2480" y="586496"/>
                    <a:pt x="6909" y="593773"/>
                  </a:cubicBezTo>
                  <a:cubicBezTo>
                    <a:pt x="10767" y="600670"/>
                    <a:pt x="16148" y="606594"/>
                    <a:pt x="22625" y="611109"/>
                  </a:cubicBezTo>
                  <a:lnTo>
                    <a:pt x="24245" y="612061"/>
                  </a:lnTo>
                  <a:lnTo>
                    <a:pt x="627748" y="960486"/>
                  </a:lnTo>
                  <a:cubicBezTo>
                    <a:pt x="633997" y="965896"/>
                    <a:pt x="643436" y="965210"/>
                    <a:pt x="648846" y="958971"/>
                  </a:cubicBezTo>
                  <a:cubicBezTo>
                    <a:pt x="651837" y="955514"/>
                    <a:pt x="653085" y="950875"/>
                    <a:pt x="652228" y="946389"/>
                  </a:cubicBezTo>
                  <a:lnTo>
                    <a:pt x="652228" y="393939"/>
                  </a:lnTo>
                  <a:cubicBezTo>
                    <a:pt x="652180" y="393339"/>
                    <a:pt x="652180" y="392729"/>
                    <a:pt x="652228" y="392129"/>
                  </a:cubicBezTo>
                  <a:cubicBezTo>
                    <a:pt x="651609" y="384242"/>
                    <a:pt x="649161" y="376613"/>
                    <a:pt x="645084" y="369841"/>
                  </a:cubicBezTo>
                  <a:cubicBezTo>
                    <a:pt x="640988" y="362373"/>
                    <a:pt x="635054" y="356077"/>
                    <a:pt x="627844" y="351553"/>
                  </a:cubicBezTo>
                  <a:lnTo>
                    <a:pt x="24340" y="3128"/>
                  </a:lnTo>
                  <a:cubicBezTo>
                    <a:pt x="19291" y="-539"/>
                    <a:pt x="12672" y="-1187"/>
                    <a:pt x="7004" y="1414"/>
                  </a:cubicBezTo>
                  <a:close/>
                </a:path>
              </a:pathLst>
            </a:custGeom>
            <a:solidFill>
              <a:srgbClr val="D1D9E8"/>
            </a:solidFill>
            <a:ln w="9525" cap="flat">
              <a:noFill/>
              <a:prstDash val="solid"/>
              <a:miter/>
            </a:ln>
          </p:spPr>
          <p:txBody>
            <a:bodyPr rtlCol="0" anchor="ctr"/>
            <a:lstStyle/>
            <a:p>
              <a:endParaRPr lang="zh-CN" altLang="en-US"/>
            </a:p>
          </p:txBody>
        </p:sp>
        <p:sp>
          <p:nvSpPr>
            <p:cNvPr id="510" name="ïṥḻíḍê">
              <a:extLst>
                <a:ext uri="{FF2B5EF4-FFF2-40B4-BE49-F238E27FC236}">
                  <a16:creationId xmlns:a16="http://schemas.microsoft.com/office/drawing/2014/main" id="{AA0554F0-88D8-4531-B4AA-5B83B55D4FE3}"/>
                </a:ext>
              </a:extLst>
            </p:cNvPr>
            <p:cNvSpPr/>
            <p:nvPr/>
          </p:nvSpPr>
          <p:spPr>
            <a:xfrm>
              <a:off x="5541258" y="2067694"/>
              <a:ext cx="1810348" cy="2425586"/>
            </a:xfrm>
            <a:custGeom>
              <a:avLst/>
              <a:gdLst>
                <a:gd name="connsiteX0" fmla="*/ 2045 w 594741"/>
                <a:gd name="connsiteY0" fmla="*/ 4028 h 796861"/>
                <a:gd name="connsiteX1" fmla="*/ 591928 w 594741"/>
                <a:gd name="connsiteY1" fmla="*/ 344357 h 796861"/>
                <a:gd name="connsiteX2" fmla="*/ 591928 w 594741"/>
                <a:gd name="connsiteY2" fmla="*/ 792984 h 796861"/>
                <a:gd name="connsiteX3" fmla="*/ 2045 w 594741"/>
                <a:gd name="connsiteY3" fmla="*/ 452370 h 796861"/>
                <a:gd name="connsiteX4" fmla="*/ 2045 w 594741"/>
                <a:gd name="connsiteY4" fmla="*/ 4028 h 796861"/>
                <a:gd name="connsiteX5" fmla="*/ -336 w 594741"/>
                <a:gd name="connsiteY5" fmla="*/ -163 h 796861"/>
                <a:gd name="connsiteX6" fmla="*/ -336 w 594741"/>
                <a:gd name="connsiteY6" fmla="*/ 453799 h 796861"/>
                <a:gd name="connsiteX7" fmla="*/ 594405 w 594741"/>
                <a:gd name="connsiteY7" fmla="*/ 796699 h 796861"/>
                <a:gd name="connsiteX8" fmla="*/ 594405 w 594741"/>
                <a:gd name="connsiteY8" fmla="*/ 343214 h 796861"/>
                <a:gd name="connsiteX9" fmla="*/ -336 w 594741"/>
                <a:gd name="connsiteY9" fmla="*/ 314 h 796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94741" h="796861">
                  <a:moveTo>
                    <a:pt x="2045" y="4028"/>
                  </a:moveTo>
                  <a:lnTo>
                    <a:pt x="591928" y="344357"/>
                  </a:lnTo>
                  <a:lnTo>
                    <a:pt x="591928" y="792984"/>
                  </a:lnTo>
                  <a:lnTo>
                    <a:pt x="2045" y="452370"/>
                  </a:lnTo>
                  <a:lnTo>
                    <a:pt x="2045" y="4028"/>
                  </a:lnTo>
                  <a:close/>
                  <a:moveTo>
                    <a:pt x="-336" y="-163"/>
                  </a:moveTo>
                  <a:lnTo>
                    <a:pt x="-336" y="453799"/>
                  </a:lnTo>
                  <a:lnTo>
                    <a:pt x="594405" y="796699"/>
                  </a:lnTo>
                  <a:lnTo>
                    <a:pt x="594405" y="343214"/>
                  </a:lnTo>
                  <a:lnTo>
                    <a:pt x="-336" y="314"/>
                  </a:lnTo>
                  <a:close/>
                </a:path>
              </a:pathLst>
            </a:custGeom>
            <a:solidFill>
              <a:srgbClr val="316DE6"/>
            </a:solidFill>
            <a:ln w="9525" cap="flat">
              <a:noFill/>
              <a:prstDash val="solid"/>
              <a:miter/>
            </a:ln>
          </p:spPr>
          <p:txBody>
            <a:bodyPr rtlCol="0" anchor="ctr"/>
            <a:lstStyle/>
            <a:p>
              <a:endParaRPr lang="zh-CN" altLang="en-US"/>
            </a:p>
          </p:txBody>
        </p:sp>
        <p:sp>
          <p:nvSpPr>
            <p:cNvPr id="511" name="ïsľïḍe">
              <a:extLst>
                <a:ext uri="{FF2B5EF4-FFF2-40B4-BE49-F238E27FC236}">
                  <a16:creationId xmlns:a16="http://schemas.microsoft.com/office/drawing/2014/main" id="{AC21A816-E9BB-4098-B48C-7C2C08CC55E9}"/>
                </a:ext>
              </a:extLst>
            </p:cNvPr>
            <p:cNvSpPr/>
            <p:nvPr/>
          </p:nvSpPr>
          <p:spPr>
            <a:xfrm>
              <a:off x="6693165" y="2844613"/>
              <a:ext cx="510479" cy="888747"/>
            </a:xfrm>
            <a:custGeom>
              <a:avLst/>
              <a:gdLst>
                <a:gd name="connsiteX0" fmla="*/ 167304 w 167704"/>
                <a:gd name="connsiteY0" fmla="*/ 111504 h 291974"/>
                <a:gd name="connsiteX1" fmla="*/ 167304 w 167704"/>
                <a:gd name="connsiteY1" fmla="*/ 268380 h 291974"/>
                <a:gd name="connsiteX2" fmla="*/ 160636 w 167704"/>
                <a:gd name="connsiteY2" fmla="*/ 284478 h 291974"/>
                <a:gd name="connsiteX3" fmla="*/ 158636 w 167704"/>
                <a:gd name="connsiteY3" fmla="*/ 285621 h 291974"/>
                <a:gd name="connsiteX4" fmla="*/ 147873 w 167704"/>
                <a:gd name="connsiteY4" fmla="*/ 291812 h 291974"/>
                <a:gd name="connsiteX5" fmla="*/ 152159 w 167704"/>
                <a:gd name="connsiteY5" fmla="*/ 286668 h 291974"/>
                <a:gd name="connsiteX6" fmla="*/ 154445 w 167704"/>
                <a:gd name="connsiteY6" fmla="*/ 275810 h 291974"/>
                <a:gd name="connsiteX7" fmla="*/ 154445 w 167704"/>
                <a:gd name="connsiteY7" fmla="*/ 118933 h 291974"/>
                <a:gd name="connsiteX8" fmla="*/ 152254 w 167704"/>
                <a:gd name="connsiteY8" fmla="*/ 105693 h 291974"/>
                <a:gd name="connsiteX9" fmla="*/ 128823 w 167704"/>
                <a:gd name="connsiteY9" fmla="*/ 74451 h 291974"/>
                <a:gd name="connsiteX10" fmla="*/ 17761 w 167704"/>
                <a:gd name="connsiteY10" fmla="*/ 10443 h 291974"/>
                <a:gd name="connsiteX11" fmla="*/ 7188 w 167704"/>
                <a:gd name="connsiteY11" fmla="*/ 6919 h 291974"/>
                <a:gd name="connsiteX12" fmla="*/ -336 w 167704"/>
                <a:gd name="connsiteY12" fmla="*/ 8634 h 291974"/>
                <a:gd name="connsiteX13" fmla="*/ 12046 w 167704"/>
                <a:gd name="connsiteY13" fmla="*/ 1490 h 291974"/>
                <a:gd name="connsiteX14" fmla="*/ 12046 w 167704"/>
                <a:gd name="connsiteY14" fmla="*/ 1490 h 291974"/>
                <a:gd name="connsiteX15" fmla="*/ 30239 w 167704"/>
                <a:gd name="connsiteY15" fmla="*/ 3300 h 291974"/>
                <a:gd name="connsiteX16" fmla="*/ 141205 w 167704"/>
                <a:gd name="connsiteY16" fmla="*/ 67403 h 291974"/>
                <a:gd name="connsiteX17" fmla="*/ 167304 w 167704"/>
                <a:gd name="connsiteY17" fmla="*/ 111504 h 2919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67704" h="291974">
                  <a:moveTo>
                    <a:pt x="167304" y="111504"/>
                  </a:moveTo>
                  <a:lnTo>
                    <a:pt x="167304" y="268380"/>
                  </a:lnTo>
                  <a:cubicBezTo>
                    <a:pt x="167808" y="274505"/>
                    <a:pt x="165322" y="280506"/>
                    <a:pt x="160636" y="284478"/>
                  </a:cubicBezTo>
                  <a:lnTo>
                    <a:pt x="158636" y="285621"/>
                  </a:lnTo>
                  <a:lnTo>
                    <a:pt x="147873" y="291812"/>
                  </a:lnTo>
                  <a:cubicBezTo>
                    <a:pt x="149711" y="290488"/>
                    <a:pt x="151187" y="288716"/>
                    <a:pt x="152159" y="286668"/>
                  </a:cubicBezTo>
                  <a:cubicBezTo>
                    <a:pt x="153797" y="283287"/>
                    <a:pt x="154578" y="279563"/>
                    <a:pt x="154445" y="275810"/>
                  </a:cubicBezTo>
                  <a:lnTo>
                    <a:pt x="154445" y="118933"/>
                  </a:lnTo>
                  <a:cubicBezTo>
                    <a:pt x="154397" y="114437"/>
                    <a:pt x="153664" y="109970"/>
                    <a:pt x="152254" y="105693"/>
                  </a:cubicBezTo>
                  <a:cubicBezTo>
                    <a:pt x="148358" y="92854"/>
                    <a:pt x="140062" y="81795"/>
                    <a:pt x="128823" y="74451"/>
                  </a:cubicBezTo>
                  <a:lnTo>
                    <a:pt x="17761" y="10443"/>
                  </a:lnTo>
                  <a:cubicBezTo>
                    <a:pt x="14561" y="8453"/>
                    <a:pt x="10941" y="7243"/>
                    <a:pt x="7188" y="6919"/>
                  </a:cubicBezTo>
                  <a:cubicBezTo>
                    <a:pt x="4569" y="6776"/>
                    <a:pt x="1959" y="7367"/>
                    <a:pt x="-336" y="8634"/>
                  </a:cubicBezTo>
                  <a:lnTo>
                    <a:pt x="12046" y="1490"/>
                  </a:lnTo>
                  <a:lnTo>
                    <a:pt x="12046" y="1490"/>
                  </a:lnTo>
                  <a:cubicBezTo>
                    <a:pt x="17990" y="-1244"/>
                    <a:pt x="24943" y="-549"/>
                    <a:pt x="30239" y="3300"/>
                  </a:cubicBezTo>
                  <a:lnTo>
                    <a:pt x="141205" y="67403"/>
                  </a:lnTo>
                  <a:cubicBezTo>
                    <a:pt x="156455" y="77080"/>
                    <a:pt x="166160" y="93473"/>
                    <a:pt x="167304" y="111504"/>
                  </a:cubicBezTo>
                  <a:close/>
                </a:path>
              </a:pathLst>
            </a:custGeom>
            <a:solidFill>
              <a:srgbClr val="D9530B"/>
            </a:solidFill>
            <a:ln w="9525" cap="flat">
              <a:noFill/>
              <a:prstDash val="solid"/>
              <a:miter/>
            </a:ln>
          </p:spPr>
          <p:txBody>
            <a:bodyPr rtlCol="0" anchor="ctr"/>
            <a:lstStyle/>
            <a:p>
              <a:endParaRPr lang="zh-CN" altLang="en-US"/>
            </a:p>
          </p:txBody>
        </p:sp>
        <p:sp>
          <p:nvSpPr>
            <p:cNvPr id="512" name="i$ļïďè">
              <a:extLst>
                <a:ext uri="{FF2B5EF4-FFF2-40B4-BE49-F238E27FC236}">
                  <a16:creationId xmlns:a16="http://schemas.microsoft.com/office/drawing/2014/main" id="{8293DB5B-33B0-4F7F-9AC4-F214DE8A1B7E}"/>
                </a:ext>
              </a:extLst>
            </p:cNvPr>
            <p:cNvSpPr/>
            <p:nvPr/>
          </p:nvSpPr>
          <p:spPr>
            <a:xfrm>
              <a:off x="6669977" y="2868426"/>
              <a:ext cx="494331" cy="347114"/>
            </a:xfrm>
            <a:custGeom>
              <a:avLst/>
              <a:gdLst>
                <a:gd name="connsiteX0" fmla="*/ 162063 w 162399"/>
                <a:gd name="connsiteY0" fmla="*/ 111110 h 114035"/>
                <a:gd name="connsiteX1" fmla="*/ 162063 w 162399"/>
                <a:gd name="connsiteY1" fmla="*/ 113873 h 114035"/>
                <a:gd name="connsiteX2" fmla="*/ 12616 w 162399"/>
                <a:gd name="connsiteY2" fmla="*/ 28148 h 114035"/>
                <a:gd name="connsiteX3" fmla="*/ -243 w 162399"/>
                <a:gd name="connsiteY3" fmla="*/ 20718 h 114035"/>
                <a:gd name="connsiteX4" fmla="*/ -243 w 162399"/>
                <a:gd name="connsiteY4" fmla="*/ 17861 h 114035"/>
                <a:gd name="connsiteX5" fmla="*/ 6805 w 162399"/>
                <a:gd name="connsiteY5" fmla="*/ 1573 h 114035"/>
                <a:gd name="connsiteX6" fmla="*/ 7282 w 162399"/>
                <a:gd name="connsiteY6" fmla="*/ 1573 h 114035"/>
                <a:gd name="connsiteX7" fmla="*/ 14806 w 162399"/>
                <a:gd name="connsiteY7" fmla="*/ -142 h 114035"/>
                <a:gd name="connsiteX8" fmla="*/ 25379 w 162399"/>
                <a:gd name="connsiteY8" fmla="*/ 3383 h 114035"/>
                <a:gd name="connsiteX9" fmla="*/ 136441 w 162399"/>
                <a:gd name="connsiteY9" fmla="*/ 67391 h 114035"/>
                <a:gd name="connsiteX10" fmla="*/ 159872 w 162399"/>
                <a:gd name="connsiteY10" fmla="*/ 98633 h 114035"/>
                <a:gd name="connsiteX11" fmla="*/ 162063 w 162399"/>
                <a:gd name="connsiteY11" fmla="*/ 111110 h 1140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2399" h="114035">
                  <a:moveTo>
                    <a:pt x="162063" y="111110"/>
                  </a:moveTo>
                  <a:lnTo>
                    <a:pt x="162063" y="113873"/>
                  </a:lnTo>
                  <a:lnTo>
                    <a:pt x="12616" y="28148"/>
                  </a:lnTo>
                  <a:lnTo>
                    <a:pt x="-243" y="20718"/>
                  </a:lnTo>
                  <a:lnTo>
                    <a:pt x="-243" y="17861"/>
                  </a:lnTo>
                  <a:cubicBezTo>
                    <a:pt x="-881" y="11574"/>
                    <a:pt x="1786" y="5411"/>
                    <a:pt x="6805" y="1573"/>
                  </a:cubicBezTo>
                  <a:lnTo>
                    <a:pt x="7282" y="1573"/>
                  </a:lnTo>
                  <a:cubicBezTo>
                    <a:pt x="9577" y="306"/>
                    <a:pt x="12187" y="-285"/>
                    <a:pt x="14806" y="-142"/>
                  </a:cubicBezTo>
                  <a:cubicBezTo>
                    <a:pt x="18559" y="182"/>
                    <a:pt x="22179" y="1392"/>
                    <a:pt x="25379" y="3383"/>
                  </a:cubicBezTo>
                  <a:lnTo>
                    <a:pt x="136441" y="67391"/>
                  </a:lnTo>
                  <a:cubicBezTo>
                    <a:pt x="147680" y="74734"/>
                    <a:pt x="155976" y="85793"/>
                    <a:pt x="159872" y="98633"/>
                  </a:cubicBezTo>
                  <a:cubicBezTo>
                    <a:pt x="161206" y="102662"/>
                    <a:pt x="161939" y="106862"/>
                    <a:pt x="162063" y="111110"/>
                  </a:cubicBezTo>
                  <a:close/>
                </a:path>
              </a:pathLst>
            </a:custGeom>
            <a:solidFill>
              <a:srgbClr val="FF7D33"/>
            </a:solidFill>
            <a:ln w="9525" cap="flat">
              <a:noFill/>
              <a:prstDash val="solid"/>
              <a:miter/>
            </a:ln>
          </p:spPr>
          <p:txBody>
            <a:bodyPr rtlCol="0" anchor="ctr"/>
            <a:lstStyle/>
            <a:p>
              <a:endParaRPr lang="zh-CN" altLang="en-US"/>
            </a:p>
          </p:txBody>
        </p:sp>
        <p:sp>
          <p:nvSpPr>
            <p:cNvPr id="513" name="ïslíḓè">
              <a:extLst>
                <a:ext uri="{FF2B5EF4-FFF2-40B4-BE49-F238E27FC236}">
                  <a16:creationId xmlns:a16="http://schemas.microsoft.com/office/drawing/2014/main" id="{0DC5CFFF-D522-4F38-AA96-3AB0E2F667AD}"/>
                </a:ext>
              </a:extLst>
            </p:cNvPr>
            <p:cNvSpPr/>
            <p:nvPr/>
          </p:nvSpPr>
          <p:spPr>
            <a:xfrm>
              <a:off x="6670263" y="3390952"/>
              <a:ext cx="494090" cy="349053"/>
            </a:xfrm>
            <a:custGeom>
              <a:avLst/>
              <a:gdLst>
                <a:gd name="connsiteX0" fmla="*/ 161970 w 162320"/>
                <a:gd name="connsiteY0" fmla="*/ 93468 h 114672"/>
                <a:gd name="connsiteX1" fmla="*/ 161970 w 162320"/>
                <a:gd name="connsiteY1" fmla="*/ 96326 h 114672"/>
                <a:gd name="connsiteX2" fmla="*/ 159684 w 162320"/>
                <a:gd name="connsiteY2" fmla="*/ 107184 h 114672"/>
                <a:gd name="connsiteX3" fmla="*/ 155397 w 162320"/>
                <a:gd name="connsiteY3" fmla="*/ 112328 h 114672"/>
                <a:gd name="connsiteX4" fmla="*/ 153302 w 162320"/>
                <a:gd name="connsiteY4" fmla="*/ 113471 h 114672"/>
                <a:gd name="connsiteX5" fmla="*/ 136347 w 162320"/>
                <a:gd name="connsiteY5" fmla="*/ 111185 h 114672"/>
                <a:gd name="connsiteX6" fmla="*/ 25286 w 162320"/>
                <a:gd name="connsiteY6" fmla="*/ 47081 h 114672"/>
                <a:gd name="connsiteX7" fmla="*/ -336 w 162320"/>
                <a:gd name="connsiteY7" fmla="*/ 2600 h 114672"/>
                <a:gd name="connsiteX8" fmla="*/ -336 w 162320"/>
                <a:gd name="connsiteY8" fmla="*/ -163 h 114672"/>
                <a:gd name="connsiteX9" fmla="*/ 14713 w 162320"/>
                <a:gd name="connsiteY9" fmla="*/ 8505 h 114672"/>
                <a:gd name="connsiteX10" fmla="*/ 25762 w 162320"/>
                <a:gd name="connsiteY10" fmla="*/ 14887 h 114672"/>
                <a:gd name="connsiteX11" fmla="*/ 37002 w 162320"/>
                <a:gd name="connsiteY11" fmla="*/ 21364 h 114672"/>
                <a:gd name="connsiteX12" fmla="*/ 128823 w 162320"/>
                <a:gd name="connsiteY12" fmla="*/ 74418 h 114672"/>
                <a:gd name="connsiteX13" fmla="*/ 141491 w 162320"/>
                <a:gd name="connsiteY13" fmla="*/ 81752 h 114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2320" h="114672">
                  <a:moveTo>
                    <a:pt x="161970" y="93468"/>
                  </a:moveTo>
                  <a:lnTo>
                    <a:pt x="161970" y="96326"/>
                  </a:lnTo>
                  <a:cubicBezTo>
                    <a:pt x="162103" y="100078"/>
                    <a:pt x="161322" y="103803"/>
                    <a:pt x="159684" y="107184"/>
                  </a:cubicBezTo>
                  <a:cubicBezTo>
                    <a:pt x="158712" y="109232"/>
                    <a:pt x="157236" y="111004"/>
                    <a:pt x="155397" y="112328"/>
                  </a:cubicBezTo>
                  <a:lnTo>
                    <a:pt x="153302" y="113471"/>
                  </a:lnTo>
                  <a:cubicBezTo>
                    <a:pt x="147606" y="115433"/>
                    <a:pt x="141320" y="114585"/>
                    <a:pt x="136347" y="111185"/>
                  </a:cubicBezTo>
                  <a:lnTo>
                    <a:pt x="25286" y="47081"/>
                  </a:lnTo>
                  <a:cubicBezTo>
                    <a:pt x="10189" y="37137"/>
                    <a:pt x="692" y="20640"/>
                    <a:pt x="-336" y="2600"/>
                  </a:cubicBezTo>
                  <a:lnTo>
                    <a:pt x="-336" y="-163"/>
                  </a:lnTo>
                  <a:lnTo>
                    <a:pt x="14713" y="8505"/>
                  </a:lnTo>
                  <a:lnTo>
                    <a:pt x="25762" y="14887"/>
                  </a:lnTo>
                  <a:lnTo>
                    <a:pt x="37002" y="21364"/>
                  </a:lnTo>
                  <a:lnTo>
                    <a:pt x="128823" y="74418"/>
                  </a:lnTo>
                  <a:lnTo>
                    <a:pt x="141491" y="81752"/>
                  </a:lnTo>
                  <a:close/>
                </a:path>
              </a:pathLst>
            </a:custGeom>
            <a:solidFill>
              <a:srgbClr val="FF7D33"/>
            </a:solidFill>
            <a:ln w="9525" cap="flat">
              <a:noFill/>
              <a:prstDash val="solid"/>
              <a:miter/>
            </a:ln>
          </p:spPr>
          <p:txBody>
            <a:bodyPr rtlCol="0" anchor="ctr"/>
            <a:lstStyle/>
            <a:p>
              <a:endParaRPr lang="zh-CN" altLang="en-US"/>
            </a:p>
          </p:txBody>
        </p:sp>
        <p:sp>
          <p:nvSpPr>
            <p:cNvPr id="514" name="íŝḷïḍé">
              <a:extLst>
                <a:ext uri="{FF2B5EF4-FFF2-40B4-BE49-F238E27FC236}">
                  <a16:creationId xmlns:a16="http://schemas.microsoft.com/office/drawing/2014/main" id="{0250F932-7436-4644-B6F3-F29AF67D7F44}"/>
                </a:ext>
              </a:extLst>
            </p:cNvPr>
            <p:cNvSpPr/>
            <p:nvPr/>
          </p:nvSpPr>
          <p:spPr>
            <a:xfrm>
              <a:off x="6669971" y="2930245"/>
              <a:ext cx="494337" cy="745707"/>
            </a:xfrm>
            <a:custGeom>
              <a:avLst/>
              <a:gdLst>
                <a:gd name="connsiteX0" fmla="*/ 162401 w 162401"/>
                <a:gd name="connsiteY0" fmla="*/ 93726 h 244982"/>
                <a:gd name="connsiteX1" fmla="*/ 162401 w 162401"/>
                <a:gd name="connsiteY1" fmla="*/ 244983 h 244982"/>
                <a:gd name="connsiteX2" fmla="*/ 141922 w 162401"/>
                <a:gd name="connsiteY2" fmla="*/ 233172 h 244982"/>
                <a:gd name="connsiteX3" fmla="*/ 129254 w 162401"/>
                <a:gd name="connsiteY3" fmla="*/ 225838 h 244982"/>
                <a:gd name="connsiteX4" fmla="*/ 37433 w 162401"/>
                <a:gd name="connsiteY4" fmla="*/ 172879 h 244982"/>
                <a:gd name="connsiteX5" fmla="*/ 26194 w 162401"/>
                <a:gd name="connsiteY5" fmla="*/ 166306 h 244982"/>
                <a:gd name="connsiteX6" fmla="*/ 15050 w 162401"/>
                <a:gd name="connsiteY6" fmla="*/ 159925 h 244982"/>
                <a:gd name="connsiteX7" fmla="*/ 0 w 162401"/>
                <a:gd name="connsiteY7" fmla="*/ 151257 h 244982"/>
                <a:gd name="connsiteX8" fmla="*/ 0 w 162401"/>
                <a:gd name="connsiteY8" fmla="*/ 0 h 244982"/>
                <a:gd name="connsiteX9" fmla="*/ 12859 w 162401"/>
                <a:gd name="connsiteY9" fmla="*/ 7429 h 244982"/>
                <a:gd name="connsiteX10" fmla="*/ 162401 w 162401"/>
                <a:gd name="connsiteY10" fmla="*/ 93726 h 244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2401" h="244982">
                  <a:moveTo>
                    <a:pt x="162401" y="93726"/>
                  </a:moveTo>
                  <a:lnTo>
                    <a:pt x="162401" y="244983"/>
                  </a:lnTo>
                  <a:lnTo>
                    <a:pt x="141922" y="233172"/>
                  </a:lnTo>
                  <a:lnTo>
                    <a:pt x="129254" y="225838"/>
                  </a:lnTo>
                  <a:lnTo>
                    <a:pt x="37433" y="172879"/>
                  </a:lnTo>
                  <a:lnTo>
                    <a:pt x="26194" y="166306"/>
                  </a:lnTo>
                  <a:lnTo>
                    <a:pt x="15050" y="159925"/>
                  </a:lnTo>
                  <a:lnTo>
                    <a:pt x="0" y="151257"/>
                  </a:lnTo>
                  <a:lnTo>
                    <a:pt x="0" y="0"/>
                  </a:lnTo>
                  <a:lnTo>
                    <a:pt x="12859" y="7429"/>
                  </a:lnTo>
                  <a:lnTo>
                    <a:pt x="162401" y="93726"/>
                  </a:lnTo>
                  <a:close/>
                </a:path>
              </a:pathLst>
            </a:custGeom>
            <a:solidFill>
              <a:srgbClr val="EDF4FF"/>
            </a:solidFill>
            <a:ln w="9525" cap="flat">
              <a:noFill/>
              <a:prstDash val="solid"/>
              <a:miter/>
            </a:ln>
          </p:spPr>
          <p:txBody>
            <a:bodyPr rtlCol="0" anchor="ctr"/>
            <a:lstStyle/>
            <a:p>
              <a:endParaRPr lang="zh-CN" altLang="en-US"/>
            </a:p>
          </p:txBody>
        </p:sp>
        <p:sp>
          <p:nvSpPr>
            <p:cNvPr id="515" name="îṡḻîḓè">
              <a:extLst>
                <a:ext uri="{FF2B5EF4-FFF2-40B4-BE49-F238E27FC236}">
                  <a16:creationId xmlns:a16="http://schemas.microsoft.com/office/drawing/2014/main" id="{7435C042-062D-4B8A-BEC7-A86A47AA566A}"/>
                </a:ext>
              </a:extLst>
            </p:cNvPr>
            <p:cNvSpPr/>
            <p:nvPr/>
          </p:nvSpPr>
          <p:spPr>
            <a:xfrm>
              <a:off x="6809955" y="3127117"/>
              <a:ext cx="227363" cy="241797"/>
            </a:xfrm>
            <a:custGeom>
              <a:avLst/>
              <a:gdLst>
                <a:gd name="connsiteX0" fmla="*/ 74358 w 74694"/>
                <a:gd name="connsiteY0" fmla="*/ 69749 h 79436"/>
                <a:gd name="connsiteX1" fmla="*/ 73215 w 74694"/>
                <a:gd name="connsiteY1" fmla="*/ 79274 h 79436"/>
                <a:gd name="connsiteX2" fmla="*/ 65595 w 74694"/>
                <a:gd name="connsiteY2" fmla="*/ 74988 h 79436"/>
                <a:gd name="connsiteX3" fmla="*/ 67119 w 74694"/>
                <a:gd name="connsiteY3" fmla="*/ 65463 h 79436"/>
                <a:gd name="connsiteX4" fmla="*/ 62261 w 74694"/>
                <a:gd name="connsiteY4" fmla="*/ 43841 h 79436"/>
                <a:gd name="connsiteX5" fmla="*/ 11779 w 74694"/>
                <a:gd name="connsiteY5" fmla="*/ 14599 h 79436"/>
                <a:gd name="connsiteX6" fmla="*/ 6921 w 74694"/>
                <a:gd name="connsiteY6" fmla="*/ 30697 h 79436"/>
                <a:gd name="connsiteX7" fmla="*/ 8350 w 74694"/>
                <a:gd name="connsiteY7" fmla="*/ 42222 h 79436"/>
                <a:gd name="connsiteX8" fmla="*/ 825 w 74694"/>
                <a:gd name="connsiteY8" fmla="*/ 37840 h 79436"/>
                <a:gd name="connsiteX9" fmla="*/ -318 w 74694"/>
                <a:gd name="connsiteY9" fmla="*/ 26506 h 79436"/>
                <a:gd name="connsiteX10" fmla="*/ 3397 w 74694"/>
                <a:gd name="connsiteY10" fmla="*/ 9837 h 79436"/>
                <a:gd name="connsiteX11" fmla="*/ 37020 w 74694"/>
                <a:gd name="connsiteY11" fmla="*/ 4884 h 79436"/>
                <a:gd name="connsiteX12" fmla="*/ 70548 w 74694"/>
                <a:gd name="connsiteY12" fmla="*/ 48604 h 79436"/>
                <a:gd name="connsiteX13" fmla="*/ 74358 w 74694"/>
                <a:gd name="connsiteY13" fmla="*/ 69749 h 794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4694" h="79436">
                  <a:moveTo>
                    <a:pt x="74358" y="69749"/>
                  </a:moveTo>
                  <a:cubicBezTo>
                    <a:pt x="74320" y="72959"/>
                    <a:pt x="73929" y="76150"/>
                    <a:pt x="73215" y="79274"/>
                  </a:cubicBezTo>
                  <a:lnTo>
                    <a:pt x="65595" y="74988"/>
                  </a:lnTo>
                  <a:cubicBezTo>
                    <a:pt x="66605" y="71911"/>
                    <a:pt x="67119" y="68701"/>
                    <a:pt x="67119" y="65463"/>
                  </a:cubicBezTo>
                  <a:cubicBezTo>
                    <a:pt x="66957" y="58005"/>
                    <a:pt x="65309" y="50652"/>
                    <a:pt x="62261" y="43841"/>
                  </a:cubicBezTo>
                  <a:lnTo>
                    <a:pt x="11779" y="14599"/>
                  </a:lnTo>
                  <a:cubicBezTo>
                    <a:pt x="8350" y="19238"/>
                    <a:pt x="6626" y="24934"/>
                    <a:pt x="6921" y="30697"/>
                  </a:cubicBezTo>
                  <a:cubicBezTo>
                    <a:pt x="6940" y="34583"/>
                    <a:pt x="7416" y="38450"/>
                    <a:pt x="8350" y="42222"/>
                  </a:cubicBezTo>
                  <a:lnTo>
                    <a:pt x="825" y="37840"/>
                  </a:lnTo>
                  <a:cubicBezTo>
                    <a:pt x="82" y="34107"/>
                    <a:pt x="-299" y="30316"/>
                    <a:pt x="-318" y="26506"/>
                  </a:cubicBezTo>
                  <a:cubicBezTo>
                    <a:pt x="-509" y="20724"/>
                    <a:pt x="777" y="14990"/>
                    <a:pt x="3397" y="9837"/>
                  </a:cubicBezTo>
                  <a:cubicBezTo>
                    <a:pt x="9493" y="-1022"/>
                    <a:pt x="22447" y="-3593"/>
                    <a:pt x="37020" y="4884"/>
                  </a:cubicBezTo>
                  <a:cubicBezTo>
                    <a:pt x="52879" y="15180"/>
                    <a:pt x="64719" y="30611"/>
                    <a:pt x="70548" y="48604"/>
                  </a:cubicBezTo>
                  <a:cubicBezTo>
                    <a:pt x="73006" y="55385"/>
                    <a:pt x="74292" y="62539"/>
                    <a:pt x="74358" y="69749"/>
                  </a:cubicBezTo>
                  <a:close/>
                </a:path>
              </a:pathLst>
            </a:custGeom>
            <a:solidFill>
              <a:srgbClr val="D9530B"/>
            </a:solidFill>
            <a:ln w="9525" cap="flat">
              <a:noFill/>
              <a:prstDash val="solid"/>
              <a:miter/>
            </a:ln>
          </p:spPr>
          <p:txBody>
            <a:bodyPr rtlCol="0" anchor="ctr"/>
            <a:lstStyle/>
            <a:p>
              <a:endParaRPr lang="zh-CN" altLang="en-US"/>
            </a:p>
          </p:txBody>
        </p:sp>
        <p:sp>
          <p:nvSpPr>
            <p:cNvPr id="516" name="íSľidê">
              <a:extLst>
                <a:ext uri="{FF2B5EF4-FFF2-40B4-BE49-F238E27FC236}">
                  <a16:creationId xmlns:a16="http://schemas.microsoft.com/office/drawing/2014/main" id="{932F3A8F-B253-4E14-8EC2-CC6E51169FED}"/>
                </a:ext>
              </a:extLst>
            </p:cNvPr>
            <p:cNvSpPr/>
            <p:nvPr/>
          </p:nvSpPr>
          <p:spPr>
            <a:xfrm>
              <a:off x="6783917" y="3350940"/>
              <a:ext cx="279493" cy="267028"/>
            </a:xfrm>
            <a:custGeom>
              <a:avLst/>
              <a:gdLst>
                <a:gd name="connsiteX0" fmla="*/ 91485 w 91820"/>
                <a:gd name="connsiteY0" fmla="*/ 87563 h 87725"/>
                <a:gd name="connsiteX1" fmla="*/ -336 w 91820"/>
                <a:gd name="connsiteY1" fmla="*/ 34508 h 87725"/>
                <a:gd name="connsiteX2" fmla="*/ 19952 w 91820"/>
                <a:gd name="connsiteY2" fmla="*/ 409 h 87725"/>
                <a:gd name="connsiteX3" fmla="*/ 25762 w 91820"/>
                <a:gd name="connsiteY3" fmla="*/ -163 h 87725"/>
                <a:gd name="connsiteX4" fmla="*/ 33096 w 91820"/>
                <a:gd name="connsiteY4" fmla="*/ 790 h 87725"/>
                <a:gd name="connsiteX5" fmla="*/ 35192 w 91820"/>
                <a:gd name="connsiteY5" fmla="*/ 1266 h 87725"/>
                <a:gd name="connsiteX6" fmla="*/ 45574 w 91820"/>
                <a:gd name="connsiteY6" fmla="*/ 9458 h 87725"/>
                <a:gd name="connsiteX7" fmla="*/ 55956 w 91820"/>
                <a:gd name="connsiteY7" fmla="*/ 13363 h 87725"/>
                <a:gd name="connsiteX8" fmla="*/ 58052 w 91820"/>
                <a:gd name="connsiteY8" fmla="*/ 15077 h 87725"/>
                <a:gd name="connsiteX9" fmla="*/ 65386 w 91820"/>
                <a:gd name="connsiteY9" fmla="*/ 22697 h 87725"/>
                <a:gd name="connsiteX10" fmla="*/ 71101 w 91820"/>
                <a:gd name="connsiteY10" fmla="*/ 29936 h 87725"/>
                <a:gd name="connsiteX11" fmla="*/ 91485 w 91820"/>
                <a:gd name="connsiteY11" fmla="*/ 87563 h 87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1820" h="87725">
                  <a:moveTo>
                    <a:pt x="91485" y="87563"/>
                  </a:moveTo>
                  <a:lnTo>
                    <a:pt x="-336" y="34508"/>
                  </a:lnTo>
                  <a:cubicBezTo>
                    <a:pt x="-336" y="15458"/>
                    <a:pt x="7760" y="3266"/>
                    <a:pt x="19952" y="409"/>
                  </a:cubicBezTo>
                  <a:cubicBezTo>
                    <a:pt x="21866" y="28"/>
                    <a:pt x="23809" y="-163"/>
                    <a:pt x="25762" y="-163"/>
                  </a:cubicBezTo>
                  <a:cubicBezTo>
                    <a:pt x="28239" y="-163"/>
                    <a:pt x="30705" y="152"/>
                    <a:pt x="33096" y="790"/>
                  </a:cubicBezTo>
                  <a:lnTo>
                    <a:pt x="35192" y="1266"/>
                  </a:lnTo>
                  <a:cubicBezTo>
                    <a:pt x="38240" y="4476"/>
                    <a:pt x="41736" y="7238"/>
                    <a:pt x="45574" y="9458"/>
                  </a:cubicBezTo>
                  <a:cubicBezTo>
                    <a:pt x="48755" y="11401"/>
                    <a:pt x="52280" y="12725"/>
                    <a:pt x="55956" y="13363"/>
                  </a:cubicBezTo>
                  <a:lnTo>
                    <a:pt x="58052" y="15077"/>
                  </a:lnTo>
                  <a:cubicBezTo>
                    <a:pt x="60528" y="17459"/>
                    <a:pt x="63005" y="19935"/>
                    <a:pt x="65386" y="22697"/>
                  </a:cubicBezTo>
                  <a:cubicBezTo>
                    <a:pt x="67415" y="25012"/>
                    <a:pt x="69329" y="27422"/>
                    <a:pt x="71101" y="29936"/>
                  </a:cubicBezTo>
                  <a:cubicBezTo>
                    <a:pt x="83550" y="46653"/>
                    <a:pt x="90656" y="66741"/>
                    <a:pt x="91485" y="87563"/>
                  </a:cubicBezTo>
                  <a:close/>
                </a:path>
              </a:pathLst>
            </a:custGeom>
            <a:solidFill>
              <a:srgbClr val="316DE6"/>
            </a:solidFill>
            <a:ln w="9525" cap="flat">
              <a:noFill/>
              <a:prstDash val="solid"/>
              <a:miter/>
            </a:ln>
          </p:spPr>
          <p:txBody>
            <a:bodyPr rtlCol="0" anchor="ctr"/>
            <a:lstStyle/>
            <a:p>
              <a:endParaRPr lang="zh-CN" altLang="en-US"/>
            </a:p>
          </p:txBody>
        </p:sp>
        <p:sp>
          <p:nvSpPr>
            <p:cNvPr id="517" name="iŝ1ïḓè">
              <a:extLst>
                <a:ext uri="{FF2B5EF4-FFF2-40B4-BE49-F238E27FC236}">
                  <a16:creationId xmlns:a16="http://schemas.microsoft.com/office/drawing/2014/main" id="{DB8257D6-8F6F-4127-BD39-D5D6D209F36F}"/>
                </a:ext>
              </a:extLst>
            </p:cNvPr>
            <p:cNvSpPr/>
            <p:nvPr/>
          </p:nvSpPr>
          <p:spPr>
            <a:xfrm>
              <a:off x="6831944" y="3171762"/>
              <a:ext cx="183336" cy="220411"/>
            </a:xfrm>
            <a:custGeom>
              <a:avLst/>
              <a:gdLst>
                <a:gd name="connsiteX0" fmla="*/ 59894 w 60230"/>
                <a:gd name="connsiteY0" fmla="*/ 50987 h 72410"/>
                <a:gd name="connsiteX1" fmla="*/ 58370 w 60230"/>
                <a:gd name="connsiteY1" fmla="*/ 60512 h 72410"/>
                <a:gd name="connsiteX2" fmla="*/ 40177 w 60230"/>
                <a:gd name="connsiteY2" fmla="*/ 71942 h 72410"/>
                <a:gd name="connsiteX3" fmla="*/ 29795 w 60230"/>
                <a:gd name="connsiteY3" fmla="*/ 68036 h 72410"/>
                <a:gd name="connsiteX4" fmla="*/ 19413 w 60230"/>
                <a:gd name="connsiteY4" fmla="*/ 59845 h 72410"/>
                <a:gd name="connsiteX5" fmla="*/ 1125 w 60230"/>
                <a:gd name="connsiteY5" fmla="*/ 27460 h 72410"/>
                <a:gd name="connsiteX6" fmla="*/ -304 w 60230"/>
                <a:gd name="connsiteY6" fmla="*/ 15935 h 72410"/>
                <a:gd name="connsiteX7" fmla="*/ 4554 w 60230"/>
                <a:gd name="connsiteY7" fmla="*/ -163 h 72410"/>
                <a:gd name="connsiteX8" fmla="*/ 55037 w 60230"/>
                <a:gd name="connsiteY8" fmla="*/ 29079 h 72410"/>
                <a:gd name="connsiteX9" fmla="*/ 59894 w 60230"/>
                <a:gd name="connsiteY9" fmla="*/ 50987 h 72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0230" h="72410">
                  <a:moveTo>
                    <a:pt x="59894" y="50987"/>
                  </a:moveTo>
                  <a:cubicBezTo>
                    <a:pt x="59894" y="54225"/>
                    <a:pt x="59380" y="57435"/>
                    <a:pt x="58370" y="60512"/>
                  </a:cubicBezTo>
                  <a:cubicBezTo>
                    <a:pt x="56303" y="68551"/>
                    <a:pt x="48312" y="73570"/>
                    <a:pt x="40177" y="71942"/>
                  </a:cubicBezTo>
                  <a:cubicBezTo>
                    <a:pt x="36501" y="71303"/>
                    <a:pt x="32977" y="69979"/>
                    <a:pt x="29795" y="68036"/>
                  </a:cubicBezTo>
                  <a:cubicBezTo>
                    <a:pt x="25957" y="65817"/>
                    <a:pt x="22461" y="63055"/>
                    <a:pt x="19413" y="59845"/>
                  </a:cubicBezTo>
                  <a:cubicBezTo>
                    <a:pt x="10564" y="50853"/>
                    <a:pt x="4259" y="39680"/>
                    <a:pt x="1125" y="27460"/>
                  </a:cubicBezTo>
                  <a:cubicBezTo>
                    <a:pt x="191" y="23688"/>
                    <a:pt x="-285" y="19821"/>
                    <a:pt x="-304" y="15935"/>
                  </a:cubicBezTo>
                  <a:cubicBezTo>
                    <a:pt x="-599" y="10172"/>
                    <a:pt x="1125" y="4476"/>
                    <a:pt x="4554" y="-163"/>
                  </a:cubicBezTo>
                  <a:lnTo>
                    <a:pt x="55037" y="29079"/>
                  </a:lnTo>
                  <a:cubicBezTo>
                    <a:pt x="58123" y="35975"/>
                    <a:pt x="59770" y="43433"/>
                    <a:pt x="59894" y="50987"/>
                  </a:cubicBezTo>
                  <a:close/>
                </a:path>
              </a:pathLst>
            </a:custGeom>
            <a:solidFill>
              <a:srgbClr val="FFB4A1"/>
            </a:solidFill>
            <a:ln w="9525" cap="flat">
              <a:noFill/>
              <a:prstDash val="solid"/>
              <a:miter/>
            </a:ln>
          </p:spPr>
          <p:txBody>
            <a:bodyPr rtlCol="0" anchor="ctr"/>
            <a:lstStyle/>
            <a:p>
              <a:endParaRPr lang="zh-CN" altLang="en-US"/>
            </a:p>
          </p:txBody>
        </p:sp>
        <p:sp>
          <p:nvSpPr>
            <p:cNvPr id="518" name="išļiḍê">
              <a:extLst>
                <a:ext uri="{FF2B5EF4-FFF2-40B4-BE49-F238E27FC236}">
                  <a16:creationId xmlns:a16="http://schemas.microsoft.com/office/drawing/2014/main" id="{5EBF4F95-25D0-4AFE-82AF-DCD33C3127AA}"/>
                </a:ext>
              </a:extLst>
            </p:cNvPr>
            <p:cNvSpPr/>
            <p:nvPr/>
          </p:nvSpPr>
          <p:spPr>
            <a:xfrm>
              <a:off x="7048915" y="3088934"/>
              <a:ext cx="80116" cy="105728"/>
            </a:xfrm>
            <a:custGeom>
              <a:avLst/>
              <a:gdLst>
                <a:gd name="connsiteX0" fmla="*/ 25953 w 26320"/>
                <a:gd name="connsiteY0" fmla="*/ 23523 h 34734"/>
                <a:gd name="connsiteX1" fmla="*/ 22429 w 26320"/>
                <a:gd name="connsiteY1" fmla="*/ 31715 h 34734"/>
                <a:gd name="connsiteX2" fmla="*/ 17475 w 26320"/>
                <a:gd name="connsiteY2" fmla="*/ 34572 h 34734"/>
                <a:gd name="connsiteX3" fmla="*/ 19380 w 26320"/>
                <a:gd name="connsiteY3" fmla="*/ 32572 h 34734"/>
                <a:gd name="connsiteX4" fmla="*/ 21000 w 26320"/>
                <a:gd name="connsiteY4" fmla="*/ 26381 h 34734"/>
                <a:gd name="connsiteX5" fmla="*/ 8331 w 26320"/>
                <a:gd name="connsiteY5" fmla="*/ 4378 h 34734"/>
                <a:gd name="connsiteX6" fmla="*/ 2140 w 26320"/>
                <a:gd name="connsiteY6" fmla="*/ 2664 h 34734"/>
                <a:gd name="connsiteX7" fmla="*/ -336 w 26320"/>
                <a:gd name="connsiteY7" fmla="*/ 3330 h 34734"/>
                <a:gd name="connsiteX8" fmla="*/ 3855 w 26320"/>
                <a:gd name="connsiteY8" fmla="*/ 949 h 34734"/>
                <a:gd name="connsiteX9" fmla="*/ 3855 w 26320"/>
                <a:gd name="connsiteY9" fmla="*/ 949 h 34734"/>
                <a:gd name="connsiteX10" fmla="*/ 4712 w 26320"/>
                <a:gd name="connsiteY10" fmla="*/ 378 h 34734"/>
                <a:gd name="connsiteX11" fmla="*/ 13284 w 26320"/>
                <a:gd name="connsiteY11" fmla="*/ 1521 h 34734"/>
                <a:gd name="connsiteX12" fmla="*/ 25953 w 26320"/>
                <a:gd name="connsiteY12" fmla="*/ 23523 h 34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320" h="34734">
                  <a:moveTo>
                    <a:pt x="25953" y="23523"/>
                  </a:moveTo>
                  <a:cubicBezTo>
                    <a:pt x="26210" y="26667"/>
                    <a:pt x="24886" y="29734"/>
                    <a:pt x="22429" y="31715"/>
                  </a:cubicBezTo>
                  <a:lnTo>
                    <a:pt x="17475" y="34572"/>
                  </a:lnTo>
                  <a:cubicBezTo>
                    <a:pt x="18266" y="34077"/>
                    <a:pt x="18923" y="33391"/>
                    <a:pt x="19380" y="32572"/>
                  </a:cubicBezTo>
                  <a:cubicBezTo>
                    <a:pt x="20533" y="30715"/>
                    <a:pt x="21095" y="28562"/>
                    <a:pt x="21000" y="26381"/>
                  </a:cubicBezTo>
                  <a:cubicBezTo>
                    <a:pt x="20447" y="17475"/>
                    <a:pt x="15761" y="9331"/>
                    <a:pt x="8331" y="4378"/>
                  </a:cubicBezTo>
                  <a:cubicBezTo>
                    <a:pt x="6464" y="3254"/>
                    <a:pt x="4322" y="2664"/>
                    <a:pt x="2140" y="2664"/>
                  </a:cubicBezTo>
                  <a:cubicBezTo>
                    <a:pt x="1283" y="2740"/>
                    <a:pt x="445" y="2968"/>
                    <a:pt x="-336" y="3330"/>
                  </a:cubicBezTo>
                  <a:lnTo>
                    <a:pt x="3855" y="949"/>
                  </a:lnTo>
                  <a:lnTo>
                    <a:pt x="3855" y="949"/>
                  </a:lnTo>
                  <a:lnTo>
                    <a:pt x="4712" y="378"/>
                  </a:lnTo>
                  <a:cubicBezTo>
                    <a:pt x="7588" y="-632"/>
                    <a:pt x="10779" y="-213"/>
                    <a:pt x="13284" y="1521"/>
                  </a:cubicBezTo>
                  <a:cubicBezTo>
                    <a:pt x="20790" y="6397"/>
                    <a:pt x="25505" y="14579"/>
                    <a:pt x="25953" y="23523"/>
                  </a:cubicBezTo>
                  <a:close/>
                </a:path>
              </a:pathLst>
            </a:custGeom>
            <a:solidFill>
              <a:srgbClr val="BF4200"/>
            </a:solidFill>
            <a:ln w="9525" cap="flat">
              <a:noFill/>
              <a:prstDash val="solid"/>
              <a:miter/>
            </a:ln>
          </p:spPr>
          <p:txBody>
            <a:bodyPr rtlCol="0" anchor="ctr"/>
            <a:lstStyle/>
            <a:p>
              <a:endParaRPr lang="zh-CN" altLang="en-US"/>
            </a:p>
          </p:txBody>
        </p:sp>
        <p:sp>
          <p:nvSpPr>
            <p:cNvPr id="519" name="iṥḷîďê">
              <a:extLst>
                <a:ext uri="{FF2B5EF4-FFF2-40B4-BE49-F238E27FC236}">
                  <a16:creationId xmlns:a16="http://schemas.microsoft.com/office/drawing/2014/main" id="{E5DB3C64-0B12-409E-9295-70FD03254879}"/>
                </a:ext>
              </a:extLst>
            </p:cNvPr>
            <p:cNvSpPr/>
            <p:nvPr/>
          </p:nvSpPr>
          <p:spPr>
            <a:xfrm>
              <a:off x="7035218" y="3097539"/>
              <a:ext cx="78670" cy="100237"/>
            </a:xfrm>
            <a:custGeom>
              <a:avLst/>
              <a:gdLst>
                <a:gd name="connsiteX0" fmla="*/ 25499 w 25845"/>
                <a:gd name="connsiteY0" fmla="*/ 23555 h 32930"/>
                <a:gd name="connsiteX1" fmla="*/ 23880 w 25845"/>
                <a:gd name="connsiteY1" fmla="*/ 29746 h 32930"/>
                <a:gd name="connsiteX2" fmla="*/ 21975 w 25845"/>
                <a:gd name="connsiteY2" fmla="*/ 31746 h 32930"/>
                <a:gd name="connsiteX3" fmla="*/ 12450 w 25845"/>
                <a:gd name="connsiteY3" fmla="*/ 30889 h 32930"/>
                <a:gd name="connsiteX4" fmla="*/ -313 w 25845"/>
                <a:gd name="connsiteY4" fmla="*/ 8886 h 32930"/>
                <a:gd name="connsiteX5" fmla="*/ 3020 w 25845"/>
                <a:gd name="connsiteY5" fmla="*/ 980 h 32930"/>
                <a:gd name="connsiteX6" fmla="*/ 3020 w 25845"/>
                <a:gd name="connsiteY6" fmla="*/ 980 h 32930"/>
                <a:gd name="connsiteX7" fmla="*/ 3782 w 25845"/>
                <a:gd name="connsiteY7" fmla="*/ 504 h 32930"/>
                <a:gd name="connsiteX8" fmla="*/ 6259 w 25845"/>
                <a:gd name="connsiteY8" fmla="*/ -163 h 32930"/>
                <a:gd name="connsiteX9" fmla="*/ 12450 w 25845"/>
                <a:gd name="connsiteY9" fmla="*/ 1552 h 32930"/>
                <a:gd name="connsiteX10" fmla="*/ 25499 w 25845"/>
                <a:gd name="connsiteY10" fmla="*/ 23555 h 329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5845" h="32930">
                  <a:moveTo>
                    <a:pt x="25499" y="23555"/>
                  </a:moveTo>
                  <a:cubicBezTo>
                    <a:pt x="25595" y="25736"/>
                    <a:pt x="25033" y="27888"/>
                    <a:pt x="23880" y="29746"/>
                  </a:cubicBezTo>
                  <a:cubicBezTo>
                    <a:pt x="23423" y="30565"/>
                    <a:pt x="22766" y="31251"/>
                    <a:pt x="21975" y="31746"/>
                  </a:cubicBezTo>
                  <a:cubicBezTo>
                    <a:pt x="18908" y="33375"/>
                    <a:pt x="15174" y="33032"/>
                    <a:pt x="12450" y="30889"/>
                  </a:cubicBezTo>
                  <a:cubicBezTo>
                    <a:pt x="4916" y="26022"/>
                    <a:pt x="172" y="17840"/>
                    <a:pt x="-313" y="8886"/>
                  </a:cubicBezTo>
                  <a:cubicBezTo>
                    <a:pt x="-523" y="5867"/>
                    <a:pt x="715" y="2933"/>
                    <a:pt x="3020" y="980"/>
                  </a:cubicBezTo>
                  <a:lnTo>
                    <a:pt x="3020" y="980"/>
                  </a:lnTo>
                  <a:lnTo>
                    <a:pt x="3782" y="504"/>
                  </a:lnTo>
                  <a:cubicBezTo>
                    <a:pt x="4563" y="142"/>
                    <a:pt x="5402" y="-86"/>
                    <a:pt x="6259" y="-163"/>
                  </a:cubicBezTo>
                  <a:cubicBezTo>
                    <a:pt x="8440" y="-163"/>
                    <a:pt x="10583" y="428"/>
                    <a:pt x="12450" y="1552"/>
                  </a:cubicBezTo>
                  <a:cubicBezTo>
                    <a:pt x="20023" y="6419"/>
                    <a:pt x="24861" y="14573"/>
                    <a:pt x="25499" y="23555"/>
                  </a:cubicBezTo>
                  <a:close/>
                </a:path>
              </a:pathLst>
            </a:custGeom>
            <a:solidFill>
              <a:srgbClr val="D9530B"/>
            </a:solidFill>
            <a:ln w="9525" cap="flat">
              <a:noFill/>
              <a:prstDash val="solid"/>
              <a:miter/>
            </a:ln>
          </p:spPr>
          <p:txBody>
            <a:bodyPr rtlCol="0" anchor="ctr"/>
            <a:lstStyle/>
            <a:p>
              <a:endParaRPr lang="zh-CN" altLang="en-US"/>
            </a:p>
          </p:txBody>
        </p:sp>
        <p:sp>
          <p:nvSpPr>
            <p:cNvPr id="520" name="í$ḷîde">
              <a:extLst>
                <a:ext uri="{FF2B5EF4-FFF2-40B4-BE49-F238E27FC236}">
                  <a16:creationId xmlns:a16="http://schemas.microsoft.com/office/drawing/2014/main" id="{861E9F79-58AF-4D8D-BBC1-ADB793270DB9}"/>
                </a:ext>
              </a:extLst>
            </p:cNvPr>
            <p:cNvSpPr/>
            <p:nvPr/>
          </p:nvSpPr>
          <p:spPr>
            <a:xfrm>
              <a:off x="5661292" y="2264030"/>
              <a:ext cx="830368" cy="1632674"/>
            </a:xfrm>
            <a:custGeom>
              <a:avLst/>
              <a:gdLst>
                <a:gd name="connsiteX0" fmla="*/ -336 w 272795"/>
                <a:gd name="connsiteY0" fmla="*/ 357674 h 536371"/>
                <a:gd name="connsiteX1" fmla="*/ -336 w 272795"/>
                <a:gd name="connsiteY1" fmla="*/ 20966 h 536371"/>
                <a:gd name="connsiteX2" fmla="*/ 29096 w 272795"/>
                <a:gd name="connsiteY2" fmla="*/ 3916 h 536371"/>
                <a:gd name="connsiteX3" fmla="*/ 243027 w 272795"/>
                <a:gd name="connsiteY3" fmla="*/ 127455 h 536371"/>
                <a:gd name="connsiteX4" fmla="*/ 272460 w 272795"/>
                <a:gd name="connsiteY4" fmla="*/ 178509 h 536371"/>
                <a:gd name="connsiteX5" fmla="*/ 272460 w 272795"/>
                <a:gd name="connsiteY5" fmla="*/ 515123 h 536371"/>
                <a:gd name="connsiteX6" fmla="*/ 243027 w 272795"/>
                <a:gd name="connsiteY6" fmla="*/ 532172 h 536371"/>
                <a:gd name="connsiteX7" fmla="*/ 29191 w 272795"/>
                <a:gd name="connsiteY7" fmla="*/ 408347 h 536371"/>
                <a:gd name="connsiteX8" fmla="*/ -336 w 272795"/>
                <a:gd name="connsiteY8" fmla="*/ 357674 h 536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2795" h="536371">
                  <a:moveTo>
                    <a:pt x="-336" y="357674"/>
                  </a:moveTo>
                  <a:lnTo>
                    <a:pt x="-336" y="20966"/>
                  </a:lnTo>
                  <a:cubicBezTo>
                    <a:pt x="-336" y="1916"/>
                    <a:pt x="12808" y="-5514"/>
                    <a:pt x="29096" y="3916"/>
                  </a:cubicBezTo>
                  <a:lnTo>
                    <a:pt x="243027" y="127455"/>
                  </a:lnTo>
                  <a:cubicBezTo>
                    <a:pt x="260411" y="138809"/>
                    <a:pt x="271345" y="157773"/>
                    <a:pt x="272460" y="178509"/>
                  </a:cubicBezTo>
                  <a:lnTo>
                    <a:pt x="272460" y="515123"/>
                  </a:lnTo>
                  <a:cubicBezTo>
                    <a:pt x="272460" y="534173"/>
                    <a:pt x="259315" y="541507"/>
                    <a:pt x="243027" y="532172"/>
                  </a:cubicBezTo>
                  <a:lnTo>
                    <a:pt x="29191" y="408347"/>
                  </a:lnTo>
                  <a:cubicBezTo>
                    <a:pt x="11875" y="397089"/>
                    <a:pt x="921" y="378286"/>
                    <a:pt x="-336" y="357674"/>
                  </a:cubicBezTo>
                  <a:close/>
                </a:path>
              </a:pathLst>
            </a:custGeom>
            <a:solidFill>
              <a:srgbClr val="D1D9E8"/>
            </a:solidFill>
            <a:ln w="9525" cap="flat">
              <a:noFill/>
              <a:prstDash val="solid"/>
              <a:miter/>
            </a:ln>
          </p:spPr>
          <p:txBody>
            <a:bodyPr rtlCol="0" anchor="ctr"/>
            <a:lstStyle/>
            <a:p>
              <a:endParaRPr lang="zh-CN" altLang="en-US"/>
            </a:p>
          </p:txBody>
        </p:sp>
        <p:sp>
          <p:nvSpPr>
            <p:cNvPr id="521" name="iṩļíḍê">
              <a:extLst>
                <a:ext uri="{FF2B5EF4-FFF2-40B4-BE49-F238E27FC236}">
                  <a16:creationId xmlns:a16="http://schemas.microsoft.com/office/drawing/2014/main" id="{68DAAF74-2F31-4911-9130-71AE66381506}"/>
                </a:ext>
              </a:extLst>
            </p:cNvPr>
            <p:cNvSpPr/>
            <p:nvPr/>
          </p:nvSpPr>
          <p:spPr>
            <a:xfrm>
              <a:off x="5643026" y="2274595"/>
              <a:ext cx="830368" cy="1633834"/>
            </a:xfrm>
            <a:custGeom>
              <a:avLst/>
              <a:gdLst>
                <a:gd name="connsiteX0" fmla="*/ -336 w 272795"/>
                <a:gd name="connsiteY0" fmla="*/ 357633 h 536752"/>
                <a:gd name="connsiteX1" fmla="*/ -336 w 272795"/>
                <a:gd name="connsiteY1" fmla="*/ 20924 h 536752"/>
                <a:gd name="connsiteX2" fmla="*/ 29191 w 272795"/>
                <a:gd name="connsiteY2" fmla="*/ 3874 h 536752"/>
                <a:gd name="connsiteX3" fmla="*/ 242932 w 272795"/>
                <a:gd name="connsiteY3" fmla="*/ 127699 h 536752"/>
                <a:gd name="connsiteX4" fmla="*/ 272460 w 272795"/>
                <a:gd name="connsiteY4" fmla="*/ 178753 h 536752"/>
                <a:gd name="connsiteX5" fmla="*/ 272460 w 272795"/>
                <a:gd name="connsiteY5" fmla="*/ 515462 h 536752"/>
                <a:gd name="connsiteX6" fmla="*/ 242932 w 272795"/>
                <a:gd name="connsiteY6" fmla="*/ 532512 h 536752"/>
                <a:gd name="connsiteX7" fmla="*/ 29191 w 272795"/>
                <a:gd name="connsiteY7" fmla="*/ 408687 h 536752"/>
                <a:gd name="connsiteX8" fmla="*/ -336 w 272795"/>
                <a:gd name="connsiteY8" fmla="*/ 357633 h 5367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2795" h="536752">
                  <a:moveTo>
                    <a:pt x="-336" y="357633"/>
                  </a:moveTo>
                  <a:lnTo>
                    <a:pt x="-336" y="20924"/>
                  </a:lnTo>
                  <a:cubicBezTo>
                    <a:pt x="-336" y="1874"/>
                    <a:pt x="12903" y="-5460"/>
                    <a:pt x="29191" y="3874"/>
                  </a:cubicBezTo>
                  <a:lnTo>
                    <a:pt x="242932" y="127699"/>
                  </a:lnTo>
                  <a:cubicBezTo>
                    <a:pt x="260344" y="139043"/>
                    <a:pt x="271307" y="158008"/>
                    <a:pt x="272460" y="178753"/>
                  </a:cubicBezTo>
                  <a:lnTo>
                    <a:pt x="272460" y="515462"/>
                  </a:lnTo>
                  <a:cubicBezTo>
                    <a:pt x="272460" y="534512"/>
                    <a:pt x="259220" y="541941"/>
                    <a:pt x="242932" y="532512"/>
                  </a:cubicBezTo>
                  <a:lnTo>
                    <a:pt x="29191" y="408687"/>
                  </a:lnTo>
                  <a:cubicBezTo>
                    <a:pt x="11780" y="397342"/>
                    <a:pt x="816" y="378378"/>
                    <a:pt x="-336" y="357633"/>
                  </a:cubicBezTo>
                  <a:close/>
                </a:path>
              </a:pathLst>
            </a:custGeom>
            <a:solidFill>
              <a:srgbClr val="EDF4FF"/>
            </a:solidFill>
            <a:ln w="9525" cap="flat">
              <a:noFill/>
              <a:prstDash val="solid"/>
              <a:miter/>
            </a:ln>
          </p:spPr>
          <p:txBody>
            <a:bodyPr rtlCol="0" anchor="ctr"/>
            <a:lstStyle/>
            <a:p>
              <a:endParaRPr lang="zh-CN" altLang="en-US"/>
            </a:p>
          </p:txBody>
        </p:sp>
        <p:sp>
          <p:nvSpPr>
            <p:cNvPr id="522" name="ïş1íḍe">
              <a:extLst>
                <a:ext uri="{FF2B5EF4-FFF2-40B4-BE49-F238E27FC236}">
                  <a16:creationId xmlns:a16="http://schemas.microsoft.com/office/drawing/2014/main" id="{8C5ACDAA-9147-41FB-BF1B-62AC028B50EF}"/>
                </a:ext>
              </a:extLst>
            </p:cNvPr>
            <p:cNvSpPr/>
            <p:nvPr/>
          </p:nvSpPr>
          <p:spPr>
            <a:xfrm>
              <a:off x="5963819" y="2599522"/>
              <a:ext cx="431315" cy="268967"/>
            </a:xfrm>
            <a:custGeom>
              <a:avLst/>
              <a:gdLst>
                <a:gd name="connsiteX0" fmla="*/ 134115 w 141697"/>
                <a:gd name="connsiteY0" fmla="*/ 88009 h 88362"/>
                <a:gd name="connsiteX1" fmla="*/ 130400 w 141697"/>
                <a:gd name="connsiteY1" fmla="*/ 87057 h 88362"/>
                <a:gd name="connsiteX2" fmla="*/ 2670 w 141697"/>
                <a:gd name="connsiteY2" fmla="*/ 13238 h 88362"/>
                <a:gd name="connsiteX3" fmla="*/ 1127 w 141697"/>
                <a:gd name="connsiteY3" fmla="*/ 2846 h 88362"/>
                <a:gd name="connsiteX4" fmla="*/ 10100 w 141697"/>
                <a:gd name="connsiteY4" fmla="*/ 474 h 88362"/>
                <a:gd name="connsiteX5" fmla="*/ 137735 w 141697"/>
                <a:gd name="connsiteY5" fmla="*/ 74388 h 88362"/>
                <a:gd name="connsiteX6" fmla="*/ 140316 w 141697"/>
                <a:gd name="connsiteY6" fmla="*/ 84571 h 88362"/>
                <a:gd name="connsiteX7" fmla="*/ 134020 w 141697"/>
                <a:gd name="connsiteY7" fmla="*/ 88200 h 883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1697" h="88362">
                  <a:moveTo>
                    <a:pt x="134115" y="88009"/>
                  </a:moveTo>
                  <a:cubicBezTo>
                    <a:pt x="132820" y="88009"/>
                    <a:pt x="131544" y="87685"/>
                    <a:pt x="130400" y="87057"/>
                  </a:cubicBezTo>
                  <a:lnTo>
                    <a:pt x="2670" y="13238"/>
                  </a:lnTo>
                  <a:cubicBezTo>
                    <a:pt x="-625" y="10800"/>
                    <a:pt x="-1321" y="6142"/>
                    <a:pt x="1127" y="2846"/>
                  </a:cubicBezTo>
                  <a:cubicBezTo>
                    <a:pt x="3194" y="55"/>
                    <a:pt x="6918" y="-935"/>
                    <a:pt x="10100" y="474"/>
                  </a:cubicBezTo>
                  <a:lnTo>
                    <a:pt x="137735" y="74388"/>
                  </a:lnTo>
                  <a:cubicBezTo>
                    <a:pt x="141259" y="76493"/>
                    <a:pt x="142412" y="81046"/>
                    <a:pt x="140316" y="84571"/>
                  </a:cubicBezTo>
                  <a:cubicBezTo>
                    <a:pt x="138992" y="86799"/>
                    <a:pt x="136611" y="88171"/>
                    <a:pt x="134020" y="88200"/>
                  </a:cubicBezTo>
                  <a:close/>
                </a:path>
              </a:pathLst>
            </a:custGeom>
            <a:solidFill>
              <a:srgbClr val="D1D9E8"/>
            </a:solidFill>
            <a:ln w="9525" cap="flat">
              <a:noFill/>
              <a:prstDash val="solid"/>
              <a:miter/>
            </a:ln>
          </p:spPr>
          <p:txBody>
            <a:bodyPr rtlCol="0" anchor="ctr"/>
            <a:lstStyle/>
            <a:p>
              <a:endParaRPr lang="zh-CN" altLang="en-US"/>
            </a:p>
          </p:txBody>
        </p:sp>
        <p:sp>
          <p:nvSpPr>
            <p:cNvPr id="523" name="iṩḻíḓè">
              <a:extLst>
                <a:ext uri="{FF2B5EF4-FFF2-40B4-BE49-F238E27FC236}">
                  <a16:creationId xmlns:a16="http://schemas.microsoft.com/office/drawing/2014/main" id="{315FC18A-E5F2-4357-A87A-1BB8420D53CB}"/>
                </a:ext>
              </a:extLst>
            </p:cNvPr>
            <p:cNvSpPr/>
            <p:nvPr/>
          </p:nvSpPr>
          <p:spPr>
            <a:xfrm>
              <a:off x="5962318" y="2676789"/>
              <a:ext cx="433108" cy="269111"/>
            </a:xfrm>
            <a:custGeom>
              <a:avLst/>
              <a:gdLst>
                <a:gd name="connsiteX0" fmla="*/ 134608 w 142286"/>
                <a:gd name="connsiteY0" fmla="*/ 88247 h 88409"/>
                <a:gd name="connsiteX1" fmla="*/ 130893 w 142286"/>
                <a:gd name="connsiteY1" fmla="*/ 87295 h 88409"/>
                <a:gd name="connsiteX2" fmla="*/ 3163 w 142286"/>
                <a:gd name="connsiteY2" fmla="*/ 13571 h 88409"/>
                <a:gd name="connsiteX3" fmla="*/ 792 w 142286"/>
                <a:gd name="connsiteY3" fmla="*/ 3341 h 88409"/>
                <a:gd name="connsiteX4" fmla="*/ 10593 w 142286"/>
                <a:gd name="connsiteY4" fmla="*/ 713 h 88409"/>
                <a:gd name="connsiteX5" fmla="*/ 138323 w 142286"/>
                <a:gd name="connsiteY5" fmla="*/ 74436 h 88409"/>
                <a:gd name="connsiteX6" fmla="*/ 140905 w 142286"/>
                <a:gd name="connsiteY6" fmla="*/ 84618 h 88409"/>
                <a:gd name="connsiteX7" fmla="*/ 134608 w 142286"/>
                <a:gd name="connsiteY7" fmla="*/ 88247 h 88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2286" h="88409">
                  <a:moveTo>
                    <a:pt x="134608" y="88247"/>
                  </a:moveTo>
                  <a:cubicBezTo>
                    <a:pt x="133313" y="88247"/>
                    <a:pt x="132037" y="87923"/>
                    <a:pt x="130893" y="87295"/>
                  </a:cubicBezTo>
                  <a:lnTo>
                    <a:pt x="3163" y="13571"/>
                  </a:lnTo>
                  <a:cubicBezTo>
                    <a:pt x="-323" y="11400"/>
                    <a:pt x="-1380" y="6818"/>
                    <a:pt x="792" y="3341"/>
                  </a:cubicBezTo>
                  <a:cubicBezTo>
                    <a:pt x="2859" y="17"/>
                    <a:pt x="7145" y="-1126"/>
                    <a:pt x="10593" y="713"/>
                  </a:cubicBezTo>
                  <a:lnTo>
                    <a:pt x="138323" y="74436"/>
                  </a:lnTo>
                  <a:cubicBezTo>
                    <a:pt x="141847" y="76541"/>
                    <a:pt x="143000" y="81094"/>
                    <a:pt x="140905" y="84618"/>
                  </a:cubicBezTo>
                  <a:cubicBezTo>
                    <a:pt x="139580" y="86847"/>
                    <a:pt x="137199" y="88219"/>
                    <a:pt x="134608" y="88247"/>
                  </a:cubicBezTo>
                  <a:close/>
                </a:path>
              </a:pathLst>
            </a:custGeom>
            <a:solidFill>
              <a:srgbClr val="D1D9E8"/>
            </a:solidFill>
            <a:ln w="9525" cap="flat">
              <a:noFill/>
              <a:prstDash val="solid"/>
              <a:miter/>
            </a:ln>
          </p:spPr>
          <p:txBody>
            <a:bodyPr rtlCol="0" anchor="ctr"/>
            <a:lstStyle/>
            <a:p>
              <a:endParaRPr lang="zh-CN" altLang="en-US"/>
            </a:p>
          </p:txBody>
        </p:sp>
        <p:sp>
          <p:nvSpPr>
            <p:cNvPr id="524" name="iŝḻiḑe">
              <a:extLst>
                <a:ext uri="{FF2B5EF4-FFF2-40B4-BE49-F238E27FC236}">
                  <a16:creationId xmlns:a16="http://schemas.microsoft.com/office/drawing/2014/main" id="{3E5C57BA-825C-4837-B50D-B6360B00876D}"/>
                </a:ext>
              </a:extLst>
            </p:cNvPr>
            <p:cNvSpPr/>
            <p:nvPr/>
          </p:nvSpPr>
          <p:spPr>
            <a:xfrm>
              <a:off x="5716743" y="3357576"/>
              <a:ext cx="433985" cy="269668"/>
            </a:xfrm>
            <a:custGeom>
              <a:avLst/>
              <a:gdLst>
                <a:gd name="connsiteX0" fmla="*/ 134798 w 142574"/>
                <a:gd name="connsiteY0" fmla="*/ 88430 h 88592"/>
                <a:gd name="connsiteX1" fmla="*/ 131084 w 142574"/>
                <a:gd name="connsiteY1" fmla="*/ 87383 h 88592"/>
                <a:gd name="connsiteX2" fmla="*/ 3353 w 142574"/>
                <a:gd name="connsiteY2" fmla="*/ 13659 h 88592"/>
                <a:gd name="connsiteX3" fmla="*/ 639 w 142574"/>
                <a:gd name="connsiteY3" fmla="*/ 3648 h 88592"/>
                <a:gd name="connsiteX4" fmla="*/ 686 w 142574"/>
                <a:gd name="connsiteY4" fmla="*/ 3563 h 88592"/>
                <a:gd name="connsiteX5" fmla="*/ 10783 w 142574"/>
                <a:gd name="connsiteY5" fmla="*/ 800 h 88592"/>
                <a:gd name="connsiteX6" fmla="*/ 138513 w 142574"/>
                <a:gd name="connsiteY6" fmla="*/ 74619 h 88592"/>
                <a:gd name="connsiteX7" fmla="*/ 141275 w 142574"/>
                <a:gd name="connsiteY7" fmla="*/ 84716 h 88592"/>
                <a:gd name="connsiteX8" fmla="*/ 134798 w 142574"/>
                <a:gd name="connsiteY8" fmla="*/ 88430 h 885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574" h="88592">
                  <a:moveTo>
                    <a:pt x="134798" y="88430"/>
                  </a:moveTo>
                  <a:cubicBezTo>
                    <a:pt x="133493" y="88402"/>
                    <a:pt x="132217" y="88040"/>
                    <a:pt x="131084" y="87383"/>
                  </a:cubicBezTo>
                  <a:lnTo>
                    <a:pt x="3353" y="13659"/>
                  </a:lnTo>
                  <a:cubicBezTo>
                    <a:pt x="-161" y="11649"/>
                    <a:pt x="-1381" y="7163"/>
                    <a:pt x="639" y="3648"/>
                  </a:cubicBezTo>
                  <a:cubicBezTo>
                    <a:pt x="648" y="3620"/>
                    <a:pt x="667" y="3591"/>
                    <a:pt x="686" y="3563"/>
                  </a:cubicBezTo>
                  <a:cubicBezTo>
                    <a:pt x="2725" y="29"/>
                    <a:pt x="7230" y="-1209"/>
                    <a:pt x="10783" y="800"/>
                  </a:cubicBezTo>
                  <a:lnTo>
                    <a:pt x="138513" y="74619"/>
                  </a:lnTo>
                  <a:cubicBezTo>
                    <a:pt x="142047" y="76658"/>
                    <a:pt x="143285" y="81163"/>
                    <a:pt x="141275" y="84716"/>
                  </a:cubicBezTo>
                  <a:cubicBezTo>
                    <a:pt x="139923" y="87011"/>
                    <a:pt x="137465" y="88430"/>
                    <a:pt x="134798" y="88430"/>
                  </a:cubicBezTo>
                  <a:close/>
                </a:path>
              </a:pathLst>
            </a:custGeom>
            <a:solidFill>
              <a:srgbClr val="D1D9E8"/>
            </a:solidFill>
            <a:ln w="9525" cap="flat">
              <a:noFill/>
              <a:prstDash val="solid"/>
              <a:miter/>
            </a:ln>
          </p:spPr>
          <p:txBody>
            <a:bodyPr rtlCol="0" anchor="ctr"/>
            <a:lstStyle/>
            <a:p>
              <a:endParaRPr lang="zh-CN" altLang="en-US"/>
            </a:p>
          </p:txBody>
        </p:sp>
        <p:sp>
          <p:nvSpPr>
            <p:cNvPr id="525" name="íṧ1îḓê">
              <a:extLst>
                <a:ext uri="{FF2B5EF4-FFF2-40B4-BE49-F238E27FC236}">
                  <a16:creationId xmlns:a16="http://schemas.microsoft.com/office/drawing/2014/main" id="{B0561443-4366-4458-BE1A-9379CE42C2D2}"/>
                </a:ext>
              </a:extLst>
            </p:cNvPr>
            <p:cNvSpPr/>
            <p:nvPr/>
          </p:nvSpPr>
          <p:spPr>
            <a:xfrm>
              <a:off x="5721017" y="2673928"/>
              <a:ext cx="674397" cy="922602"/>
            </a:xfrm>
            <a:custGeom>
              <a:avLst/>
              <a:gdLst>
                <a:gd name="connsiteX0" fmla="*/ 192640 w 221555"/>
                <a:gd name="connsiteY0" fmla="*/ 299023 h 303096"/>
                <a:gd name="connsiteX1" fmla="*/ 28239 w 221555"/>
                <a:gd name="connsiteY1" fmla="*/ 203773 h 303096"/>
                <a:gd name="connsiteX2" fmla="*/ -336 w 221555"/>
                <a:gd name="connsiteY2" fmla="*/ 153767 h 303096"/>
                <a:gd name="connsiteX3" fmla="*/ -336 w 221555"/>
                <a:gd name="connsiteY3" fmla="*/ 20417 h 303096"/>
                <a:gd name="connsiteX4" fmla="*/ 28239 w 221555"/>
                <a:gd name="connsiteY4" fmla="*/ 3748 h 303096"/>
                <a:gd name="connsiteX5" fmla="*/ 192640 w 221555"/>
                <a:gd name="connsiteY5" fmla="*/ 98998 h 303096"/>
                <a:gd name="connsiteX6" fmla="*/ 221215 w 221555"/>
                <a:gd name="connsiteY6" fmla="*/ 149004 h 303096"/>
                <a:gd name="connsiteX7" fmla="*/ 221215 w 221555"/>
                <a:gd name="connsiteY7" fmla="*/ 282354 h 303096"/>
                <a:gd name="connsiteX8" fmla="*/ 192640 w 221555"/>
                <a:gd name="connsiteY8" fmla="*/ 299023 h 303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1555" h="303096">
                  <a:moveTo>
                    <a:pt x="192640" y="299023"/>
                  </a:moveTo>
                  <a:lnTo>
                    <a:pt x="28239" y="203773"/>
                  </a:lnTo>
                  <a:cubicBezTo>
                    <a:pt x="11293" y="192610"/>
                    <a:pt x="683" y="174036"/>
                    <a:pt x="-336" y="153767"/>
                  </a:cubicBezTo>
                  <a:lnTo>
                    <a:pt x="-336" y="20417"/>
                  </a:lnTo>
                  <a:cubicBezTo>
                    <a:pt x="-336" y="2034"/>
                    <a:pt x="12618" y="-5396"/>
                    <a:pt x="28239" y="3748"/>
                  </a:cubicBezTo>
                  <a:lnTo>
                    <a:pt x="192640" y="98998"/>
                  </a:lnTo>
                  <a:cubicBezTo>
                    <a:pt x="209547" y="110200"/>
                    <a:pt x="220148" y="128754"/>
                    <a:pt x="221215" y="149004"/>
                  </a:cubicBezTo>
                  <a:lnTo>
                    <a:pt x="221215" y="282354"/>
                  </a:lnTo>
                  <a:cubicBezTo>
                    <a:pt x="221501" y="300738"/>
                    <a:pt x="208547" y="308167"/>
                    <a:pt x="192640" y="299023"/>
                  </a:cubicBezTo>
                  <a:close/>
                </a:path>
              </a:pathLst>
            </a:custGeom>
            <a:solidFill>
              <a:srgbClr val="D1D9E8"/>
            </a:solidFill>
            <a:ln w="9525" cap="flat">
              <a:noFill/>
              <a:prstDash val="solid"/>
              <a:miter/>
            </a:ln>
          </p:spPr>
          <p:txBody>
            <a:bodyPr rtlCol="0" anchor="ctr"/>
            <a:lstStyle/>
            <a:p>
              <a:endParaRPr lang="zh-CN" altLang="en-US"/>
            </a:p>
          </p:txBody>
        </p:sp>
        <p:sp>
          <p:nvSpPr>
            <p:cNvPr id="526" name="iṡļiḑè">
              <a:extLst>
                <a:ext uri="{FF2B5EF4-FFF2-40B4-BE49-F238E27FC236}">
                  <a16:creationId xmlns:a16="http://schemas.microsoft.com/office/drawing/2014/main" id="{20C440AA-F5C9-40C3-B04C-E01DEDCEBB09}"/>
                </a:ext>
              </a:extLst>
            </p:cNvPr>
            <p:cNvSpPr/>
            <p:nvPr/>
          </p:nvSpPr>
          <p:spPr>
            <a:xfrm>
              <a:off x="5684667" y="2813404"/>
              <a:ext cx="92307" cy="154534"/>
            </a:xfrm>
            <a:custGeom>
              <a:avLst/>
              <a:gdLst>
                <a:gd name="connsiteX0" fmla="*/ 12272 w 30325"/>
                <a:gd name="connsiteY0" fmla="*/ 50606 h 50768"/>
                <a:gd name="connsiteX1" fmla="*/ 29989 w 30325"/>
                <a:gd name="connsiteY1" fmla="*/ 40414 h 50768"/>
                <a:gd name="connsiteX2" fmla="*/ 17416 w 30325"/>
                <a:gd name="connsiteY2" fmla="*/ 3171 h 50768"/>
                <a:gd name="connsiteX3" fmla="*/ 17416 w 30325"/>
                <a:gd name="connsiteY3" fmla="*/ -163 h 50768"/>
                <a:gd name="connsiteX4" fmla="*/ -301 w 30325"/>
                <a:gd name="connsiteY4" fmla="*/ 10029 h 50768"/>
                <a:gd name="connsiteX5" fmla="*/ -301 w 30325"/>
                <a:gd name="connsiteY5" fmla="*/ 12220 h 50768"/>
                <a:gd name="connsiteX6" fmla="*/ -301 w 30325"/>
                <a:gd name="connsiteY6" fmla="*/ 12220 h 50768"/>
                <a:gd name="connsiteX7" fmla="*/ -301 w 30325"/>
                <a:gd name="connsiteY7" fmla="*/ 13363 h 50768"/>
                <a:gd name="connsiteX8" fmla="*/ 12272 w 30325"/>
                <a:gd name="connsiteY8" fmla="*/ 50606 h 50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325" h="50768">
                  <a:moveTo>
                    <a:pt x="12272" y="50606"/>
                  </a:moveTo>
                  <a:lnTo>
                    <a:pt x="29989" y="40414"/>
                  </a:lnTo>
                  <a:cubicBezTo>
                    <a:pt x="22321" y="29460"/>
                    <a:pt x="17949" y="16535"/>
                    <a:pt x="17416" y="3171"/>
                  </a:cubicBezTo>
                  <a:cubicBezTo>
                    <a:pt x="17416" y="2028"/>
                    <a:pt x="17416" y="885"/>
                    <a:pt x="17416" y="-163"/>
                  </a:cubicBezTo>
                  <a:lnTo>
                    <a:pt x="-301" y="10029"/>
                  </a:lnTo>
                  <a:cubicBezTo>
                    <a:pt x="-301" y="10696"/>
                    <a:pt x="-301" y="11458"/>
                    <a:pt x="-301" y="12220"/>
                  </a:cubicBezTo>
                  <a:lnTo>
                    <a:pt x="-301" y="12220"/>
                  </a:lnTo>
                  <a:cubicBezTo>
                    <a:pt x="-348" y="12601"/>
                    <a:pt x="-348" y="12982"/>
                    <a:pt x="-301" y="13363"/>
                  </a:cubicBezTo>
                  <a:cubicBezTo>
                    <a:pt x="233" y="26726"/>
                    <a:pt x="4605" y="39652"/>
                    <a:pt x="12272" y="50606"/>
                  </a:cubicBezTo>
                  <a:close/>
                </a:path>
              </a:pathLst>
            </a:custGeom>
            <a:solidFill>
              <a:srgbClr val="214EA6"/>
            </a:solidFill>
            <a:ln w="9525" cap="flat">
              <a:noFill/>
              <a:prstDash val="solid"/>
              <a:miter/>
            </a:ln>
          </p:spPr>
          <p:txBody>
            <a:bodyPr rtlCol="0" anchor="ctr"/>
            <a:lstStyle/>
            <a:p>
              <a:endParaRPr lang="zh-CN" altLang="en-US"/>
            </a:p>
          </p:txBody>
        </p:sp>
        <p:sp>
          <p:nvSpPr>
            <p:cNvPr id="527" name="ïṧľîdé">
              <a:extLst>
                <a:ext uri="{FF2B5EF4-FFF2-40B4-BE49-F238E27FC236}">
                  <a16:creationId xmlns:a16="http://schemas.microsoft.com/office/drawing/2014/main" id="{9187EADF-A17F-4EE3-A617-7FF3982DECA0}"/>
                </a:ext>
              </a:extLst>
            </p:cNvPr>
            <p:cNvSpPr/>
            <p:nvPr/>
          </p:nvSpPr>
          <p:spPr>
            <a:xfrm>
              <a:off x="5623021" y="2802385"/>
              <a:ext cx="100026" cy="199475"/>
            </a:xfrm>
            <a:custGeom>
              <a:avLst/>
              <a:gdLst>
                <a:gd name="connsiteX0" fmla="*/ 19761 w 32861"/>
                <a:gd name="connsiteY0" fmla="*/ 65369 h 65532"/>
                <a:gd name="connsiteX1" fmla="*/ 32525 w 32861"/>
                <a:gd name="connsiteY1" fmla="*/ 54225 h 65532"/>
                <a:gd name="connsiteX2" fmla="*/ 19952 w 32861"/>
                <a:gd name="connsiteY2" fmla="*/ 16982 h 65532"/>
                <a:gd name="connsiteX3" fmla="*/ 19952 w 32861"/>
                <a:gd name="connsiteY3" fmla="*/ 15839 h 65532"/>
                <a:gd name="connsiteX4" fmla="*/ 19952 w 32861"/>
                <a:gd name="connsiteY4" fmla="*/ 15839 h 65532"/>
                <a:gd name="connsiteX5" fmla="*/ 19952 w 32861"/>
                <a:gd name="connsiteY5" fmla="*/ 13649 h 65532"/>
                <a:gd name="connsiteX6" fmla="*/ 19190 w 32861"/>
                <a:gd name="connsiteY6" fmla="*/ 13077 h 65532"/>
                <a:gd name="connsiteX7" fmla="*/ -336 w 32861"/>
                <a:gd name="connsiteY7" fmla="*/ -163 h 65532"/>
                <a:gd name="connsiteX8" fmla="*/ -336 w 32861"/>
                <a:gd name="connsiteY8" fmla="*/ 5171 h 65532"/>
                <a:gd name="connsiteX9" fmla="*/ 19761 w 32861"/>
                <a:gd name="connsiteY9" fmla="*/ 65369 h 65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2861" h="65532">
                  <a:moveTo>
                    <a:pt x="19761" y="65369"/>
                  </a:moveTo>
                  <a:lnTo>
                    <a:pt x="32525" y="54225"/>
                  </a:lnTo>
                  <a:cubicBezTo>
                    <a:pt x="24857" y="43271"/>
                    <a:pt x="20485" y="30346"/>
                    <a:pt x="19952" y="16982"/>
                  </a:cubicBezTo>
                  <a:cubicBezTo>
                    <a:pt x="19904" y="16601"/>
                    <a:pt x="19904" y="16220"/>
                    <a:pt x="19952" y="15839"/>
                  </a:cubicBezTo>
                  <a:lnTo>
                    <a:pt x="19952" y="15839"/>
                  </a:lnTo>
                  <a:cubicBezTo>
                    <a:pt x="19952" y="15077"/>
                    <a:pt x="19952" y="14315"/>
                    <a:pt x="19952" y="13649"/>
                  </a:cubicBezTo>
                  <a:lnTo>
                    <a:pt x="19190" y="13077"/>
                  </a:lnTo>
                  <a:lnTo>
                    <a:pt x="-336" y="-163"/>
                  </a:lnTo>
                  <a:cubicBezTo>
                    <a:pt x="-336" y="1552"/>
                    <a:pt x="-336" y="3266"/>
                    <a:pt x="-336" y="5171"/>
                  </a:cubicBezTo>
                  <a:cubicBezTo>
                    <a:pt x="549" y="26736"/>
                    <a:pt x="7512" y="47605"/>
                    <a:pt x="19761" y="65369"/>
                  </a:cubicBezTo>
                  <a:close/>
                </a:path>
              </a:pathLst>
            </a:custGeom>
            <a:solidFill>
              <a:srgbClr val="316DE6"/>
            </a:solidFill>
            <a:ln w="9525" cap="flat">
              <a:noFill/>
              <a:prstDash val="solid"/>
              <a:miter/>
            </a:ln>
          </p:spPr>
          <p:txBody>
            <a:bodyPr rtlCol="0" anchor="ctr"/>
            <a:lstStyle/>
            <a:p>
              <a:endParaRPr lang="zh-CN" altLang="en-US"/>
            </a:p>
          </p:txBody>
        </p:sp>
        <p:sp>
          <p:nvSpPr>
            <p:cNvPr id="528" name="îŝlîḍé">
              <a:extLst>
                <a:ext uri="{FF2B5EF4-FFF2-40B4-BE49-F238E27FC236}">
                  <a16:creationId xmlns:a16="http://schemas.microsoft.com/office/drawing/2014/main" id="{D41F7288-329F-489A-8815-062C302FBE7A}"/>
                </a:ext>
              </a:extLst>
            </p:cNvPr>
            <p:cNvSpPr/>
            <p:nvPr/>
          </p:nvSpPr>
          <p:spPr>
            <a:xfrm>
              <a:off x="5623599" y="2757444"/>
              <a:ext cx="115392" cy="86688"/>
            </a:xfrm>
            <a:custGeom>
              <a:avLst/>
              <a:gdLst>
                <a:gd name="connsiteX0" fmla="*/ 0 w 37909"/>
                <a:gd name="connsiteY0" fmla="*/ 14668 h 28479"/>
                <a:gd name="connsiteX1" fmla="*/ 25527 w 37909"/>
                <a:gd name="connsiteY1" fmla="*/ 0 h 28479"/>
                <a:gd name="connsiteX2" fmla="*/ 37909 w 37909"/>
                <a:gd name="connsiteY2" fmla="*/ 18288 h 28479"/>
                <a:gd name="connsiteX3" fmla="*/ 20288 w 37909"/>
                <a:gd name="connsiteY3" fmla="*/ 28480 h 28479"/>
                <a:gd name="connsiteX4" fmla="*/ 0 w 37909"/>
                <a:gd name="connsiteY4" fmla="*/ 14668 h 284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09" h="28479">
                  <a:moveTo>
                    <a:pt x="0" y="14668"/>
                  </a:moveTo>
                  <a:lnTo>
                    <a:pt x="25527" y="0"/>
                  </a:lnTo>
                  <a:lnTo>
                    <a:pt x="37909" y="18288"/>
                  </a:lnTo>
                  <a:lnTo>
                    <a:pt x="20288" y="28480"/>
                  </a:lnTo>
                  <a:lnTo>
                    <a:pt x="0" y="14668"/>
                  </a:lnTo>
                  <a:close/>
                </a:path>
              </a:pathLst>
            </a:custGeom>
            <a:solidFill>
              <a:srgbClr val="323A82"/>
            </a:solidFill>
            <a:ln w="9525" cap="flat">
              <a:noFill/>
              <a:prstDash val="solid"/>
              <a:miter/>
            </a:ln>
          </p:spPr>
          <p:txBody>
            <a:bodyPr rtlCol="0" anchor="ctr"/>
            <a:lstStyle/>
            <a:p>
              <a:endParaRPr lang="zh-CN" altLang="en-US"/>
            </a:p>
          </p:txBody>
        </p:sp>
        <p:sp>
          <p:nvSpPr>
            <p:cNvPr id="529" name="ïšļíḑè">
              <a:extLst>
                <a:ext uri="{FF2B5EF4-FFF2-40B4-BE49-F238E27FC236}">
                  <a16:creationId xmlns:a16="http://schemas.microsoft.com/office/drawing/2014/main" id="{7F8E1B6A-0057-425A-AA04-03BC117A10D6}"/>
                </a:ext>
              </a:extLst>
            </p:cNvPr>
            <p:cNvSpPr/>
            <p:nvPr/>
          </p:nvSpPr>
          <p:spPr>
            <a:xfrm>
              <a:off x="5684195" y="2936914"/>
              <a:ext cx="92487" cy="64653"/>
            </a:xfrm>
            <a:custGeom>
              <a:avLst/>
              <a:gdLst>
                <a:gd name="connsiteX0" fmla="*/ 0 w 30384"/>
                <a:gd name="connsiteY0" fmla="*/ 21241 h 21240"/>
                <a:gd name="connsiteX1" fmla="*/ 23622 w 30384"/>
                <a:gd name="connsiteY1" fmla="*/ 7715 h 21240"/>
                <a:gd name="connsiteX2" fmla="*/ 30385 w 30384"/>
                <a:gd name="connsiteY2" fmla="*/ 0 h 21240"/>
                <a:gd name="connsiteX3" fmla="*/ 12668 w 30384"/>
                <a:gd name="connsiteY3" fmla="*/ 10192 h 21240"/>
                <a:gd name="connsiteX4" fmla="*/ 0 w 30384"/>
                <a:gd name="connsiteY4" fmla="*/ 21241 h 212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384" h="21240">
                  <a:moveTo>
                    <a:pt x="0" y="21241"/>
                  </a:moveTo>
                  <a:lnTo>
                    <a:pt x="23622" y="7715"/>
                  </a:lnTo>
                  <a:lnTo>
                    <a:pt x="30385" y="0"/>
                  </a:lnTo>
                  <a:lnTo>
                    <a:pt x="12668" y="10192"/>
                  </a:lnTo>
                  <a:lnTo>
                    <a:pt x="0" y="21241"/>
                  </a:lnTo>
                  <a:close/>
                </a:path>
              </a:pathLst>
            </a:custGeom>
            <a:solidFill>
              <a:srgbClr val="171A42"/>
            </a:solidFill>
            <a:ln w="9525" cap="flat">
              <a:noFill/>
              <a:prstDash val="solid"/>
              <a:miter/>
            </a:ln>
          </p:spPr>
          <p:txBody>
            <a:bodyPr rtlCol="0" anchor="ctr"/>
            <a:lstStyle/>
            <a:p>
              <a:endParaRPr lang="zh-CN" altLang="en-US"/>
            </a:p>
          </p:txBody>
        </p:sp>
        <p:sp>
          <p:nvSpPr>
            <p:cNvPr id="530" name="isḻíḓé">
              <a:extLst>
                <a:ext uri="{FF2B5EF4-FFF2-40B4-BE49-F238E27FC236}">
                  <a16:creationId xmlns:a16="http://schemas.microsoft.com/office/drawing/2014/main" id="{4BD42C2D-F8B4-4852-A716-008F5C9A74DA}"/>
                </a:ext>
              </a:extLst>
            </p:cNvPr>
            <p:cNvSpPr/>
            <p:nvPr/>
          </p:nvSpPr>
          <p:spPr>
            <a:xfrm>
              <a:off x="5735223" y="2763243"/>
              <a:ext cx="31021" cy="17685"/>
            </a:xfrm>
            <a:custGeom>
              <a:avLst/>
              <a:gdLst>
                <a:gd name="connsiteX0" fmla="*/ -336 w 10191"/>
                <a:gd name="connsiteY0" fmla="*/ 5647 h 5810"/>
                <a:gd name="connsiteX1" fmla="*/ 9855 w 10191"/>
                <a:gd name="connsiteY1" fmla="*/ -163 h 5810"/>
                <a:gd name="connsiteX2" fmla="*/ 2331 w 10191"/>
                <a:gd name="connsiteY2" fmla="*/ 2980 h 5810"/>
                <a:gd name="connsiteX3" fmla="*/ -336 w 10191"/>
                <a:gd name="connsiteY3" fmla="*/ 5647 h 5810"/>
              </a:gdLst>
              <a:ahLst/>
              <a:cxnLst>
                <a:cxn ang="0">
                  <a:pos x="connsiteX0" y="connsiteY0"/>
                </a:cxn>
                <a:cxn ang="0">
                  <a:pos x="connsiteX1" y="connsiteY1"/>
                </a:cxn>
                <a:cxn ang="0">
                  <a:pos x="connsiteX2" y="connsiteY2"/>
                </a:cxn>
                <a:cxn ang="0">
                  <a:pos x="connsiteX3" y="connsiteY3"/>
                </a:cxn>
              </a:cxnLst>
              <a:rect l="l" t="t" r="r" b="b"/>
              <a:pathLst>
                <a:path w="10191" h="5810">
                  <a:moveTo>
                    <a:pt x="-336" y="5647"/>
                  </a:moveTo>
                  <a:lnTo>
                    <a:pt x="9855" y="-163"/>
                  </a:lnTo>
                  <a:cubicBezTo>
                    <a:pt x="7122" y="218"/>
                    <a:pt x="4531" y="1304"/>
                    <a:pt x="2331" y="2980"/>
                  </a:cubicBezTo>
                  <a:cubicBezTo>
                    <a:pt x="1350" y="3771"/>
                    <a:pt x="454" y="4666"/>
                    <a:pt x="-336" y="5647"/>
                  </a:cubicBezTo>
                  <a:close/>
                </a:path>
              </a:pathLst>
            </a:custGeom>
            <a:solidFill>
              <a:srgbClr val="D9530B"/>
            </a:solidFill>
            <a:ln w="9525" cap="flat">
              <a:noFill/>
              <a:prstDash val="solid"/>
              <a:miter/>
            </a:ln>
          </p:spPr>
          <p:txBody>
            <a:bodyPr rtlCol="0" anchor="ctr"/>
            <a:lstStyle/>
            <a:p>
              <a:endParaRPr lang="zh-CN" altLang="en-US"/>
            </a:p>
          </p:txBody>
        </p:sp>
        <p:sp>
          <p:nvSpPr>
            <p:cNvPr id="531" name="ïśliḋê">
              <a:extLst>
                <a:ext uri="{FF2B5EF4-FFF2-40B4-BE49-F238E27FC236}">
                  <a16:creationId xmlns:a16="http://schemas.microsoft.com/office/drawing/2014/main" id="{10B72A1A-30F8-431A-9E11-D878285C6ECD}"/>
                </a:ext>
              </a:extLst>
            </p:cNvPr>
            <p:cNvSpPr/>
            <p:nvPr/>
          </p:nvSpPr>
          <p:spPr>
            <a:xfrm>
              <a:off x="5706230" y="2651093"/>
              <a:ext cx="281816" cy="172168"/>
            </a:xfrm>
            <a:custGeom>
              <a:avLst/>
              <a:gdLst>
                <a:gd name="connsiteX0" fmla="*/ 74530 w 92583"/>
                <a:gd name="connsiteY0" fmla="*/ 56399 h 56561"/>
                <a:gd name="connsiteX1" fmla="*/ 92247 w 92583"/>
                <a:gd name="connsiteY1" fmla="*/ 46207 h 56561"/>
                <a:gd name="connsiteX2" fmla="*/ 55099 w 92583"/>
                <a:gd name="connsiteY2" fmla="*/ 7250 h 56561"/>
                <a:gd name="connsiteX3" fmla="*/ 16999 w 92583"/>
                <a:gd name="connsiteY3" fmla="*/ 3440 h 56561"/>
                <a:gd name="connsiteX4" fmla="*/ -336 w 92583"/>
                <a:gd name="connsiteY4" fmla="*/ 13631 h 56561"/>
                <a:gd name="connsiteX5" fmla="*/ 9189 w 92583"/>
                <a:gd name="connsiteY5" fmla="*/ 10393 h 56561"/>
                <a:gd name="connsiteX6" fmla="*/ 10141 w 92583"/>
                <a:gd name="connsiteY6" fmla="*/ 10393 h 56561"/>
                <a:gd name="connsiteX7" fmla="*/ 37192 w 92583"/>
                <a:gd name="connsiteY7" fmla="*/ 17632 h 56561"/>
                <a:gd name="connsiteX8" fmla="*/ 53956 w 92583"/>
                <a:gd name="connsiteY8" fmla="*/ 30491 h 56561"/>
                <a:gd name="connsiteX9" fmla="*/ 53956 w 92583"/>
                <a:gd name="connsiteY9" fmla="*/ 30491 h 56561"/>
                <a:gd name="connsiteX10" fmla="*/ 74530 w 92583"/>
                <a:gd name="connsiteY10" fmla="*/ 56399 h 565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2583" h="56561">
                  <a:moveTo>
                    <a:pt x="74530" y="56399"/>
                  </a:moveTo>
                  <a:lnTo>
                    <a:pt x="92247" y="46207"/>
                  </a:lnTo>
                  <a:cubicBezTo>
                    <a:pt x="83303" y="30329"/>
                    <a:pt x="70539" y="16936"/>
                    <a:pt x="55099" y="7250"/>
                  </a:cubicBezTo>
                  <a:cubicBezTo>
                    <a:pt x="40240" y="-1323"/>
                    <a:pt x="26524" y="-2275"/>
                    <a:pt x="16999" y="3440"/>
                  </a:cubicBezTo>
                  <a:lnTo>
                    <a:pt x="-336" y="13631"/>
                  </a:lnTo>
                  <a:cubicBezTo>
                    <a:pt x="2588" y="11917"/>
                    <a:pt x="5826" y="10812"/>
                    <a:pt x="9189" y="10393"/>
                  </a:cubicBezTo>
                  <a:lnTo>
                    <a:pt x="10141" y="10393"/>
                  </a:lnTo>
                  <a:cubicBezTo>
                    <a:pt x="19695" y="9945"/>
                    <a:pt x="29144" y="12479"/>
                    <a:pt x="37192" y="17632"/>
                  </a:cubicBezTo>
                  <a:cubicBezTo>
                    <a:pt x="43260" y="21251"/>
                    <a:pt x="48879" y="25576"/>
                    <a:pt x="53956" y="30491"/>
                  </a:cubicBezTo>
                  <a:lnTo>
                    <a:pt x="53956" y="30491"/>
                  </a:lnTo>
                  <a:cubicBezTo>
                    <a:pt x="61948" y="38158"/>
                    <a:pt x="68872" y="46874"/>
                    <a:pt x="74530" y="56399"/>
                  </a:cubicBezTo>
                  <a:close/>
                </a:path>
              </a:pathLst>
            </a:custGeom>
            <a:solidFill>
              <a:srgbClr val="D9530B"/>
            </a:solidFill>
            <a:ln w="9525" cap="flat">
              <a:noFill/>
              <a:prstDash val="solid"/>
              <a:miter/>
            </a:ln>
          </p:spPr>
          <p:txBody>
            <a:bodyPr rtlCol="0" anchor="ctr"/>
            <a:lstStyle/>
            <a:p>
              <a:endParaRPr lang="zh-CN" altLang="en-US"/>
            </a:p>
          </p:txBody>
        </p:sp>
        <p:sp>
          <p:nvSpPr>
            <p:cNvPr id="532" name="îsḻîḑê">
              <a:extLst>
                <a:ext uri="{FF2B5EF4-FFF2-40B4-BE49-F238E27FC236}">
                  <a16:creationId xmlns:a16="http://schemas.microsoft.com/office/drawing/2014/main" id="{548A6113-DD6C-46E3-85EB-D02F719B9CF3}"/>
                </a:ext>
              </a:extLst>
            </p:cNvPr>
            <p:cNvSpPr/>
            <p:nvPr/>
          </p:nvSpPr>
          <p:spPr>
            <a:xfrm>
              <a:off x="5685936" y="2682488"/>
              <a:ext cx="248181" cy="167154"/>
            </a:xfrm>
            <a:custGeom>
              <a:avLst/>
              <a:gdLst>
                <a:gd name="connsiteX0" fmla="*/ 67005 w 81533"/>
                <a:gd name="connsiteY0" fmla="*/ 54752 h 54914"/>
                <a:gd name="connsiteX1" fmla="*/ 81198 w 81533"/>
                <a:gd name="connsiteY1" fmla="*/ 46084 h 54914"/>
                <a:gd name="connsiteX2" fmla="*/ 60814 w 81533"/>
                <a:gd name="connsiteY2" fmla="*/ 19986 h 54914"/>
                <a:gd name="connsiteX3" fmla="*/ 60814 w 81533"/>
                <a:gd name="connsiteY3" fmla="*/ 19986 h 54914"/>
                <a:gd name="connsiteX4" fmla="*/ 44431 w 81533"/>
                <a:gd name="connsiteY4" fmla="*/ 7127 h 54914"/>
                <a:gd name="connsiteX5" fmla="*/ 17380 w 81533"/>
                <a:gd name="connsiteY5" fmla="*/ -112 h 54914"/>
                <a:gd name="connsiteX6" fmla="*/ 16428 w 81533"/>
                <a:gd name="connsiteY6" fmla="*/ -112 h 54914"/>
                <a:gd name="connsiteX7" fmla="*/ 6903 w 81533"/>
                <a:gd name="connsiteY7" fmla="*/ 3127 h 54914"/>
                <a:gd name="connsiteX8" fmla="*/ -336 w 81533"/>
                <a:gd name="connsiteY8" fmla="*/ 9318 h 54914"/>
                <a:gd name="connsiteX9" fmla="*/ 9189 w 81533"/>
                <a:gd name="connsiteY9" fmla="*/ 21891 h 54914"/>
                <a:gd name="connsiteX10" fmla="*/ 9855 w 81533"/>
                <a:gd name="connsiteY10" fmla="*/ 22748 h 54914"/>
                <a:gd name="connsiteX11" fmla="*/ 9855 w 81533"/>
                <a:gd name="connsiteY11" fmla="*/ 22748 h 54914"/>
                <a:gd name="connsiteX12" fmla="*/ 16809 w 81533"/>
                <a:gd name="connsiteY12" fmla="*/ 32273 h 54914"/>
                <a:gd name="connsiteX13" fmla="*/ 19476 w 81533"/>
                <a:gd name="connsiteY13" fmla="*/ 29606 h 54914"/>
                <a:gd name="connsiteX14" fmla="*/ 27001 w 81533"/>
                <a:gd name="connsiteY14" fmla="*/ 26463 h 54914"/>
                <a:gd name="connsiteX15" fmla="*/ 31954 w 81533"/>
                <a:gd name="connsiteY15" fmla="*/ 26463 h 54914"/>
                <a:gd name="connsiteX16" fmla="*/ 44812 w 81533"/>
                <a:gd name="connsiteY16" fmla="*/ 30940 h 54914"/>
                <a:gd name="connsiteX17" fmla="*/ 67005 w 81533"/>
                <a:gd name="connsiteY17" fmla="*/ 54752 h 54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1533" h="54914">
                  <a:moveTo>
                    <a:pt x="67005" y="54752"/>
                  </a:moveTo>
                  <a:lnTo>
                    <a:pt x="81198" y="46084"/>
                  </a:lnTo>
                  <a:cubicBezTo>
                    <a:pt x="75607" y="36502"/>
                    <a:pt x="68749" y="27730"/>
                    <a:pt x="60814" y="19986"/>
                  </a:cubicBezTo>
                  <a:lnTo>
                    <a:pt x="60814" y="19986"/>
                  </a:lnTo>
                  <a:cubicBezTo>
                    <a:pt x="55861" y="15090"/>
                    <a:pt x="50365" y="10775"/>
                    <a:pt x="44431" y="7127"/>
                  </a:cubicBezTo>
                  <a:cubicBezTo>
                    <a:pt x="36383" y="1974"/>
                    <a:pt x="26934" y="-560"/>
                    <a:pt x="17380" y="-112"/>
                  </a:cubicBezTo>
                  <a:lnTo>
                    <a:pt x="16428" y="-112"/>
                  </a:lnTo>
                  <a:cubicBezTo>
                    <a:pt x="13065" y="307"/>
                    <a:pt x="9827" y="1412"/>
                    <a:pt x="6903" y="3127"/>
                  </a:cubicBezTo>
                  <a:cubicBezTo>
                    <a:pt x="4131" y="4736"/>
                    <a:pt x="1683" y="6832"/>
                    <a:pt x="-336" y="9318"/>
                  </a:cubicBezTo>
                  <a:lnTo>
                    <a:pt x="9189" y="21891"/>
                  </a:lnTo>
                  <a:lnTo>
                    <a:pt x="9855" y="22748"/>
                  </a:lnTo>
                  <a:lnTo>
                    <a:pt x="9855" y="22748"/>
                  </a:lnTo>
                  <a:lnTo>
                    <a:pt x="16809" y="32273"/>
                  </a:lnTo>
                  <a:cubicBezTo>
                    <a:pt x="17599" y="31292"/>
                    <a:pt x="18495" y="30397"/>
                    <a:pt x="19476" y="29606"/>
                  </a:cubicBezTo>
                  <a:cubicBezTo>
                    <a:pt x="21676" y="27930"/>
                    <a:pt x="24267" y="26844"/>
                    <a:pt x="27001" y="26463"/>
                  </a:cubicBezTo>
                  <a:cubicBezTo>
                    <a:pt x="28639" y="26215"/>
                    <a:pt x="30315" y="26215"/>
                    <a:pt x="31954" y="26463"/>
                  </a:cubicBezTo>
                  <a:cubicBezTo>
                    <a:pt x="36516" y="27015"/>
                    <a:pt x="40897" y="28539"/>
                    <a:pt x="44812" y="30940"/>
                  </a:cubicBezTo>
                  <a:cubicBezTo>
                    <a:pt x="54061" y="36921"/>
                    <a:pt x="61691" y="45103"/>
                    <a:pt x="67005" y="54752"/>
                  </a:cubicBezTo>
                  <a:close/>
                </a:path>
              </a:pathLst>
            </a:custGeom>
            <a:solidFill>
              <a:srgbClr val="FF7D33"/>
            </a:solidFill>
            <a:ln w="9525" cap="flat">
              <a:noFill/>
              <a:prstDash val="solid"/>
              <a:miter/>
            </a:ln>
          </p:spPr>
          <p:txBody>
            <a:bodyPr rtlCol="0" anchor="ctr"/>
            <a:lstStyle/>
            <a:p>
              <a:endParaRPr lang="zh-CN" altLang="en-US"/>
            </a:p>
          </p:txBody>
        </p:sp>
        <p:sp>
          <p:nvSpPr>
            <p:cNvPr id="533" name="ïṥļíḍê">
              <a:extLst>
                <a:ext uri="{FF2B5EF4-FFF2-40B4-BE49-F238E27FC236}">
                  <a16:creationId xmlns:a16="http://schemas.microsoft.com/office/drawing/2014/main" id="{F16AAC2D-46B8-4179-94CA-6F31F4457C4F}"/>
                </a:ext>
              </a:extLst>
            </p:cNvPr>
            <p:cNvSpPr/>
            <p:nvPr/>
          </p:nvSpPr>
          <p:spPr>
            <a:xfrm>
              <a:off x="5934119" y="2792236"/>
              <a:ext cx="104041" cy="300950"/>
            </a:xfrm>
            <a:custGeom>
              <a:avLst/>
              <a:gdLst>
                <a:gd name="connsiteX0" fmla="*/ 140 w 34180"/>
                <a:gd name="connsiteY0" fmla="*/ 98707 h 98869"/>
                <a:gd name="connsiteX1" fmla="*/ 17856 w 34180"/>
                <a:gd name="connsiteY1" fmla="*/ 88515 h 98869"/>
                <a:gd name="connsiteX2" fmla="*/ 33668 w 34180"/>
                <a:gd name="connsiteY2" fmla="*/ 53844 h 98869"/>
                <a:gd name="connsiteX3" fmla="*/ 17380 w 34180"/>
                <a:gd name="connsiteY3" fmla="*/ -163 h 98869"/>
                <a:gd name="connsiteX4" fmla="*/ -336 w 34180"/>
                <a:gd name="connsiteY4" fmla="*/ 10029 h 98869"/>
                <a:gd name="connsiteX5" fmla="*/ 13285 w 34180"/>
                <a:gd name="connsiteY5" fmla="*/ 43081 h 98869"/>
                <a:gd name="connsiteX6" fmla="*/ 15952 w 34180"/>
                <a:gd name="connsiteY6" fmla="*/ 64036 h 98869"/>
                <a:gd name="connsiteX7" fmla="*/ 10998 w 34180"/>
                <a:gd name="connsiteY7" fmla="*/ 86991 h 98869"/>
                <a:gd name="connsiteX8" fmla="*/ 7951 w 34180"/>
                <a:gd name="connsiteY8" fmla="*/ 91754 h 98869"/>
                <a:gd name="connsiteX9" fmla="*/ 140 w 34180"/>
                <a:gd name="connsiteY9" fmla="*/ 98707 h 98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4180" h="98869">
                  <a:moveTo>
                    <a:pt x="140" y="98707"/>
                  </a:moveTo>
                  <a:lnTo>
                    <a:pt x="17856" y="88515"/>
                  </a:lnTo>
                  <a:cubicBezTo>
                    <a:pt x="28944" y="80609"/>
                    <a:pt x="34973" y="67398"/>
                    <a:pt x="33668" y="53844"/>
                  </a:cubicBezTo>
                  <a:cubicBezTo>
                    <a:pt x="32982" y="34737"/>
                    <a:pt x="27372" y="16135"/>
                    <a:pt x="17380" y="-163"/>
                  </a:cubicBezTo>
                  <a:lnTo>
                    <a:pt x="-336" y="10029"/>
                  </a:lnTo>
                  <a:cubicBezTo>
                    <a:pt x="5779" y="20326"/>
                    <a:pt x="10370" y="31460"/>
                    <a:pt x="13285" y="43081"/>
                  </a:cubicBezTo>
                  <a:cubicBezTo>
                    <a:pt x="14989" y="49939"/>
                    <a:pt x="15885" y="56968"/>
                    <a:pt x="15952" y="64036"/>
                  </a:cubicBezTo>
                  <a:cubicBezTo>
                    <a:pt x="16104" y="71970"/>
                    <a:pt x="14408" y="79828"/>
                    <a:pt x="10998" y="86991"/>
                  </a:cubicBezTo>
                  <a:cubicBezTo>
                    <a:pt x="10151" y="88677"/>
                    <a:pt x="9132" y="90277"/>
                    <a:pt x="7951" y="91754"/>
                  </a:cubicBezTo>
                  <a:cubicBezTo>
                    <a:pt x="5855" y="94582"/>
                    <a:pt x="3188" y="96945"/>
                    <a:pt x="140" y="98707"/>
                  </a:cubicBezTo>
                  <a:close/>
                </a:path>
              </a:pathLst>
            </a:custGeom>
            <a:solidFill>
              <a:srgbClr val="171A42"/>
            </a:solidFill>
            <a:ln w="9525" cap="flat">
              <a:noFill/>
              <a:prstDash val="solid"/>
              <a:miter/>
            </a:ln>
          </p:spPr>
          <p:txBody>
            <a:bodyPr rtlCol="0" anchor="ctr"/>
            <a:lstStyle/>
            <a:p>
              <a:endParaRPr lang="zh-CN" altLang="en-US"/>
            </a:p>
          </p:txBody>
        </p:sp>
        <p:sp>
          <p:nvSpPr>
            <p:cNvPr id="534" name="ïṧľîďê">
              <a:extLst>
                <a:ext uri="{FF2B5EF4-FFF2-40B4-BE49-F238E27FC236}">
                  <a16:creationId xmlns:a16="http://schemas.microsoft.com/office/drawing/2014/main" id="{C0E405A1-E8B6-4353-B7F4-7492A8850334}"/>
                </a:ext>
              </a:extLst>
            </p:cNvPr>
            <p:cNvSpPr/>
            <p:nvPr/>
          </p:nvSpPr>
          <p:spPr>
            <a:xfrm>
              <a:off x="5882510" y="2823260"/>
              <a:ext cx="101214" cy="276596"/>
            </a:xfrm>
            <a:custGeom>
              <a:avLst/>
              <a:gdLst>
                <a:gd name="connsiteX0" fmla="*/ 17095 w 33251"/>
                <a:gd name="connsiteY0" fmla="*/ 88515 h 90868"/>
                <a:gd name="connsiteX1" fmla="*/ 24905 w 33251"/>
                <a:gd name="connsiteY1" fmla="*/ 81562 h 90868"/>
                <a:gd name="connsiteX2" fmla="*/ 27953 w 33251"/>
                <a:gd name="connsiteY2" fmla="*/ 76799 h 90868"/>
                <a:gd name="connsiteX3" fmla="*/ 32906 w 33251"/>
                <a:gd name="connsiteY3" fmla="*/ 53844 h 90868"/>
                <a:gd name="connsiteX4" fmla="*/ 30239 w 33251"/>
                <a:gd name="connsiteY4" fmla="*/ 32889 h 90868"/>
                <a:gd name="connsiteX5" fmla="*/ 16618 w 33251"/>
                <a:gd name="connsiteY5" fmla="*/ -163 h 90868"/>
                <a:gd name="connsiteX6" fmla="*/ 2426 w 33251"/>
                <a:gd name="connsiteY6" fmla="*/ 8505 h 90868"/>
                <a:gd name="connsiteX7" fmla="*/ 12522 w 33251"/>
                <a:gd name="connsiteY7" fmla="*/ 42033 h 90868"/>
                <a:gd name="connsiteX8" fmla="*/ 9951 w 33251"/>
                <a:gd name="connsiteY8" fmla="*/ 55463 h 90868"/>
                <a:gd name="connsiteX9" fmla="*/ 5474 w 33251"/>
                <a:gd name="connsiteY9" fmla="*/ 61559 h 90868"/>
                <a:gd name="connsiteX10" fmla="*/ -336 w 33251"/>
                <a:gd name="connsiteY10" fmla="*/ 64893 h 90868"/>
                <a:gd name="connsiteX11" fmla="*/ 6522 w 33251"/>
                <a:gd name="connsiteY11" fmla="*/ 79085 h 90868"/>
                <a:gd name="connsiteX12" fmla="*/ 12142 w 33251"/>
                <a:gd name="connsiteY12" fmla="*/ 90706 h 90868"/>
                <a:gd name="connsiteX13" fmla="*/ 17095 w 33251"/>
                <a:gd name="connsiteY13" fmla="*/ 88515 h 90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3251" h="90868">
                  <a:moveTo>
                    <a:pt x="17095" y="88515"/>
                  </a:moveTo>
                  <a:cubicBezTo>
                    <a:pt x="20143" y="86753"/>
                    <a:pt x="22810" y="84391"/>
                    <a:pt x="24905" y="81562"/>
                  </a:cubicBezTo>
                  <a:cubicBezTo>
                    <a:pt x="26086" y="80086"/>
                    <a:pt x="27105" y="78485"/>
                    <a:pt x="27953" y="76799"/>
                  </a:cubicBezTo>
                  <a:cubicBezTo>
                    <a:pt x="31363" y="69637"/>
                    <a:pt x="33058" y="61779"/>
                    <a:pt x="32906" y="53844"/>
                  </a:cubicBezTo>
                  <a:cubicBezTo>
                    <a:pt x="32839" y="46777"/>
                    <a:pt x="31944" y="39747"/>
                    <a:pt x="30239" y="32889"/>
                  </a:cubicBezTo>
                  <a:cubicBezTo>
                    <a:pt x="27324" y="21269"/>
                    <a:pt x="22733" y="10134"/>
                    <a:pt x="16618" y="-163"/>
                  </a:cubicBezTo>
                  <a:lnTo>
                    <a:pt x="2426" y="8505"/>
                  </a:lnTo>
                  <a:cubicBezTo>
                    <a:pt x="8646" y="18611"/>
                    <a:pt x="12132" y="30165"/>
                    <a:pt x="12522" y="42033"/>
                  </a:cubicBezTo>
                  <a:cubicBezTo>
                    <a:pt x="12618" y="46643"/>
                    <a:pt x="11741" y="51215"/>
                    <a:pt x="9951" y="55463"/>
                  </a:cubicBezTo>
                  <a:cubicBezTo>
                    <a:pt x="8865" y="57768"/>
                    <a:pt x="7341" y="59835"/>
                    <a:pt x="5474" y="61559"/>
                  </a:cubicBezTo>
                  <a:cubicBezTo>
                    <a:pt x="3807" y="63083"/>
                    <a:pt x="1826" y="64217"/>
                    <a:pt x="-336" y="64893"/>
                  </a:cubicBezTo>
                  <a:lnTo>
                    <a:pt x="6522" y="79085"/>
                  </a:lnTo>
                  <a:lnTo>
                    <a:pt x="12142" y="90706"/>
                  </a:lnTo>
                  <a:cubicBezTo>
                    <a:pt x="13856" y="90134"/>
                    <a:pt x="15513" y="89401"/>
                    <a:pt x="17095" y="88515"/>
                  </a:cubicBezTo>
                  <a:close/>
                </a:path>
              </a:pathLst>
            </a:custGeom>
            <a:solidFill>
              <a:srgbClr val="323A82"/>
            </a:solidFill>
            <a:ln w="9525" cap="flat">
              <a:noFill/>
              <a:prstDash val="solid"/>
              <a:miter/>
            </a:ln>
          </p:spPr>
          <p:txBody>
            <a:bodyPr rtlCol="0" anchor="ctr"/>
            <a:lstStyle/>
            <a:p>
              <a:endParaRPr lang="zh-CN" altLang="en-US"/>
            </a:p>
          </p:txBody>
        </p:sp>
        <p:sp>
          <p:nvSpPr>
            <p:cNvPr id="535" name="íṧḻidé">
              <a:extLst>
                <a:ext uri="{FF2B5EF4-FFF2-40B4-BE49-F238E27FC236}">
                  <a16:creationId xmlns:a16="http://schemas.microsoft.com/office/drawing/2014/main" id="{9BB3FF6A-BF01-471F-BB45-7A6342AA689C}"/>
                </a:ext>
              </a:extLst>
            </p:cNvPr>
            <p:cNvSpPr/>
            <p:nvPr/>
          </p:nvSpPr>
          <p:spPr>
            <a:xfrm>
              <a:off x="5757547" y="2917199"/>
              <a:ext cx="156272" cy="104623"/>
            </a:xfrm>
            <a:custGeom>
              <a:avLst/>
              <a:gdLst>
                <a:gd name="connsiteX0" fmla="*/ 46527 w 51339"/>
                <a:gd name="connsiteY0" fmla="*/ 30698 h 34371"/>
                <a:gd name="connsiteX1" fmla="*/ 51004 w 51339"/>
                <a:gd name="connsiteY1" fmla="*/ 24602 h 34371"/>
                <a:gd name="connsiteX2" fmla="*/ 38049 w 51339"/>
                <a:gd name="connsiteY2" fmla="*/ 20126 h 34371"/>
                <a:gd name="connsiteX3" fmla="*/ 17380 w 51339"/>
                <a:gd name="connsiteY3" fmla="*/ -163 h 34371"/>
                <a:gd name="connsiteX4" fmla="*/ -336 w 51339"/>
                <a:gd name="connsiteY4" fmla="*/ 9934 h 34371"/>
                <a:gd name="connsiteX5" fmla="*/ 20333 w 51339"/>
                <a:gd name="connsiteY5" fmla="*/ 30317 h 34371"/>
                <a:gd name="connsiteX6" fmla="*/ 21286 w 51339"/>
                <a:gd name="connsiteY6" fmla="*/ 30317 h 34371"/>
                <a:gd name="connsiteX7" fmla="*/ 40336 w 51339"/>
                <a:gd name="connsiteY7" fmla="*/ 33556 h 34371"/>
                <a:gd name="connsiteX8" fmla="*/ 46527 w 51339"/>
                <a:gd name="connsiteY8" fmla="*/ 30698 h 34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339" h="34371">
                  <a:moveTo>
                    <a:pt x="46527" y="30698"/>
                  </a:moveTo>
                  <a:cubicBezTo>
                    <a:pt x="48394" y="28974"/>
                    <a:pt x="49918" y="26907"/>
                    <a:pt x="51004" y="24602"/>
                  </a:cubicBezTo>
                  <a:cubicBezTo>
                    <a:pt x="46413" y="24069"/>
                    <a:pt x="41993" y="22535"/>
                    <a:pt x="38049" y="20126"/>
                  </a:cubicBezTo>
                  <a:cubicBezTo>
                    <a:pt x="29734" y="14992"/>
                    <a:pt x="22667" y="8057"/>
                    <a:pt x="17380" y="-163"/>
                  </a:cubicBezTo>
                  <a:lnTo>
                    <a:pt x="-336" y="9934"/>
                  </a:lnTo>
                  <a:cubicBezTo>
                    <a:pt x="4950" y="18182"/>
                    <a:pt x="12008" y="25145"/>
                    <a:pt x="20333" y="30317"/>
                  </a:cubicBezTo>
                  <a:cubicBezTo>
                    <a:pt x="20647" y="30365"/>
                    <a:pt x="20971" y="30365"/>
                    <a:pt x="21286" y="30317"/>
                  </a:cubicBezTo>
                  <a:cubicBezTo>
                    <a:pt x="26943" y="33908"/>
                    <a:pt x="33811" y="35080"/>
                    <a:pt x="40336" y="33556"/>
                  </a:cubicBezTo>
                  <a:cubicBezTo>
                    <a:pt x="42583" y="33080"/>
                    <a:pt x="44698" y="32098"/>
                    <a:pt x="46527" y="30698"/>
                  </a:cubicBezTo>
                  <a:close/>
                </a:path>
              </a:pathLst>
            </a:custGeom>
            <a:solidFill>
              <a:srgbClr val="171A42"/>
            </a:solidFill>
            <a:ln w="9525" cap="flat">
              <a:noFill/>
              <a:prstDash val="solid"/>
              <a:miter/>
            </a:ln>
          </p:spPr>
          <p:txBody>
            <a:bodyPr rtlCol="0" anchor="ctr"/>
            <a:lstStyle/>
            <a:p>
              <a:endParaRPr lang="zh-CN" altLang="en-US"/>
            </a:p>
          </p:txBody>
        </p:sp>
        <p:sp>
          <p:nvSpPr>
            <p:cNvPr id="536" name="íṡḻîḓê">
              <a:extLst>
                <a:ext uri="{FF2B5EF4-FFF2-40B4-BE49-F238E27FC236}">
                  <a16:creationId xmlns:a16="http://schemas.microsoft.com/office/drawing/2014/main" id="{75840C2D-C140-4A8E-BE17-14F3E859FFDB}"/>
                </a:ext>
              </a:extLst>
            </p:cNvPr>
            <p:cNvSpPr/>
            <p:nvPr/>
          </p:nvSpPr>
          <p:spPr>
            <a:xfrm>
              <a:off x="5720147" y="2949382"/>
              <a:ext cx="200342" cy="154096"/>
            </a:xfrm>
            <a:custGeom>
              <a:avLst/>
              <a:gdLst>
                <a:gd name="connsiteX0" fmla="*/ 65481 w 65817"/>
                <a:gd name="connsiteY0" fmla="*/ 49272 h 50624"/>
                <a:gd name="connsiteX1" fmla="*/ 59861 w 65817"/>
                <a:gd name="connsiteY1" fmla="*/ 37652 h 50624"/>
                <a:gd name="connsiteX2" fmla="*/ 53003 w 65817"/>
                <a:gd name="connsiteY2" fmla="*/ 23459 h 50624"/>
                <a:gd name="connsiteX3" fmla="*/ 33953 w 65817"/>
                <a:gd name="connsiteY3" fmla="*/ 20221 h 50624"/>
                <a:gd name="connsiteX4" fmla="*/ 33001 w 65817"/>
                <a:gd name="connsiteY4" fmla="*/ 20221 h 50624"/>
                <a:gd name="connsiteX5" fmla="*/ 12332 w 65817"/>
                <a:gd name="connsiteY5" fmla="*/ -163 h 50624"/>
                <a:gd name="connsiteX6" fmla="*/ -336 w 65817"/>
                <a:gd name="connsiteY6" fmla="*/ 10982 h 50624"/>
                <a:gd name="connsiteX7" fmla="*/ 32906 w 65817"/>
                <a:gd name="connsiteY7" fmla="*/ 43748 h 50624"/>
                <a:gd name="connsiteX8" fmla="*/ 65481 w 65817"/>
                <a:gd name="connsiteY8" fmla="*/ 49272 h 506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5817" h="50624">
                  <a:moveTo>
                    <a:pt x="65481" y="49272"/>
                  </a:moveTo>
                  <a:lnTo>
                    <a:pt x="59861" y="37652"/>
                  </a:lnTo>
                  <a:lnTo>
                    <a:pt x="53003" y="23459"/>
                  </a:lnTo>
                  <a:cubicBezTo>
                    <a:pt x="46479" y="24983"/>
                    <a:pt x="39612" y="23812"/>
                    <a:pt x="33953" y="20221"/>
                  </a:cubicBezTo>
                  <a:cubicBezTo>
                    <a:pt x="33639" y="20268"/>
                    <a:pt x="33315" y="20268"/>
                    <a:pt x="33001" y="20221"/>
                  </a:cubicBezTo>
                  <a:cubicBezTo>
                    <a:pt x="24676" y="15049"/>
                    <a:pt x="17618" y="8086"/>
                    <a:pt x="12332" y="-163"/>
                  </a:cubicBezTo>
                  <a:lnTo>
                    <a:pt x="-336" y="10982"/>
                  </a:lnTo>
                  <a:cubicBezTo>
                    <a:pt x="8160" y="24250"/>
                    <a:pt x="19523" y="35442"/>
                    <a:pt x="32906" y="43748"/>
                  </a:cubicBezTo>
                  <a:cubicBezTo>
                    <a:pt x="42545" y="49996"/>
                    <a:pt x="54327" y="51996"/>
                    <a:pt x="65481" y="49272"/>
                  </a:cubicBezTo>
                  <a:close/>
                </a:path>
              </a:pathLst>
            </a:custGeom>
            <a:solidFill>
              <a:srgbClr val="323A82"/>
            </a:solidFill>
            <a:ln w="9525" cap="flat">
              <a:noFill/>
              <a:prstDash val="solid"/>
              <a:miter/>
            </a:ln>
          </p:spPr>
          <p:txBody>
            <a:bodyPr rtlCol="0" anchor="ctr"/>
            <a:lstStyle/>
            <a:p>
              <a:endParaRPr lang="zh-CN" altLang="en-US"/>
            </a:p>
          </p:txBody>
        </p:sp>
        <p:sp>
          <p:nvSpPr>
            <p:cNvPr id="537" name="íṩľíḋe">
              <a:extLst>
                <a:ext uri="{FF2B5EF4-FFF2-40B4-BE49-F238E27FC236}">
                  <a16:creationId xmlns:a16="http://schemas.microsoft.com/office/drawing/2014/main" id="{AFD48327-DB52-4ED8-B104-E48F027A64D6}"/>
                </a:ext>
              </a:extLst>
            </p:cNvPr>
            <p:cNvSpPr/>
            <p:nvPr/>
          </p:nvSpPr>
          <p:spPr>
            <a:xfrm>
              <a:off x="5719857" y="2762229"/>
              <a:ext cx="61755" cy="62190"/>
            </a:xfrm>
            <a:custGeom>
              <a:avLst/>
              <a:gdLst>
                <a:gd name="connsiteX0" fmla="*/ -336 w 20288"/>
                <a:gd name="connsiteY0" fmla="*/ 20268 h 20431"/>
                <a:gd name="connsiteX1" fmla="*/ 17380 w 20288"/>
                <a:gd name="connsiteY1" fmla="*/ 10077 h 20431"/>
                <a:gd name="connsiteX2" fmla="*/ 19952 w 20288"/>
                <a:gd name="connsiteY2" fmla="*/ -20 h 20431"/>
                <a:gd name="connsiteX3" fmla="*/ 15094 w 20288"/>
                <a:gd name="connsiteY3" fmla="*/ -20 h 20431"/>
                <a:gd name="connsiteX4" fmla="*/ 4902 w 20288"/>
                <a:gd name="connsiteY4" fmla="*/ 5791 h 20431"/>
                <a:gd name="connsiteX5" fmla="*/ -336 w 20288"/>
                <a:gd name="connsiteY5" fmla="*/ 20268 h 20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288" h="20431">
                  <a:moveTo>
                    <a:pt x="-336" y="20268"/>
                  </a:moveTo>
                  <a:lnTo>
                    <a:pt x="17380" y="10077"/>
                  </a:lnTo>
                  <a:cubicBezTo>
                    <a:pt x="17656" y="6591"/>
                    <a:pt x="18523" y="3171"/>
                    <a:pt x="19952" y="-20"/>
                  </a:cubicBezTo>
                  <a:cubicBezTo>
                    <a:pt x="18342" y="-210"/>
                    <a:pt x="16704" y="-210"/>
                    <a:pt x="15094" y="-20"/>
                  </a:cubicBezTo>
                  <a:lnTo>
                    <a:pt x="4902" y="5791"/>
                  </a:lnTo>
                  <a:cubicBezTo>
                    <a:pt x="1759" y="9991"/>
                    <a:pt x="-60" y="15030"/>
                    <a:pt x="-336" y="20268"/>
                  </a:cubicBezTo>
                  <a:close/>
                </a:path>
              </a:pathLst>
            </a:custGeom>
            <a:solidFill>
              <a:srgbClr val="BF4200"/>
            </a:solidFill>
            <a:ln w="9525" cap="flat">
              <a:noFill/>
              <a:prstDash val="solid"/>
              <a:miter/>
            </a:ln>
          </p:spPr>
          <p:txBody>
            <a:bodyPr rtlCol="0" anchor="ctr"/>
            <a:lstStyle/>
            <a:p>
              <a:endParaRPr lang="zh-CN" altLang="en-US"/>
            </a:p>
          </p:txBody>
        </p:sp>
        <p:sp>
          <p:nvSpPr>
            <p:cNvPr id="538" name="î$lîḋê">
              <a:extLst>
                <a:ext uri="{FF2B5EF4-FFF2-40B4-BE49-F238E27FC236}">
                  <a16:creationId xmlns:a16="http://schemas.microsoft.com/office/drawing/2014/main" id="{1986BCF3-822C-49B8-8FB6-9E4B8B537E25}"/>
                </a:ext>
              </a:extLst>
            </p:cNvPr>
            <p:cNvSpPr/>
            <p:nvPr/>
          </p:nvSpPr>
          <p:spPr>
            <a:xfrm>
              <a:off x="5658102" y="2711055"/>
              <a:ext cx="77410" cy="113362"/>
            </a:xfrm>
            <a:custGeom>
              <a:avLst/>
              <a:gdLst>
                <a:gd name="connsiteX0" fmla="*/ 19952 w 25431"/>
                <a:gd name="connsiteY0" fmla="*/ 37080 h 37242"/>
                <a:gd name="connsiteX1" fmla="*/ 25096 w 25431"/>
                <a:gd name="connsiteY1" fmla="*/ 22793 h 37242"/>
                <a:gd name="connsiteX2" fmla="*/ 18142 w 25431"/>
                <a:gd name="connsiteY2" fmla="*/ 13268 h 37242"/>
                <a:gd name="connsiteX3" fmla="*/ 18142 w 25431"/>
                <a:gd name="connsiteY3" fmla="*/ 13268 h 37242"/>
                <a:gd name="connsiteX4" fmla="*/ 17475 w 25431"/>
                <a:gd name="connsiteY4" fmla="*/ 12410 h 37242"/>
                <a:gd name="connsiteX5" fmla="*/ 7950 w 25431"/>
                <a:gd name="connsiteY5" fmla="*/ -163 h 37242"/>
                <a:gd name="connsiteX6" fmla="*/ -336 w 25431"/>
                <a:gd name="connsiteY6" fmla="*/ 22983 h 37242"/>
                <a:gd name="connsiteX7" fmla="*/ 18714 w 25431"/>
                <a:gd name="connsiteY7" fmla="*/ 36318 h 37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431" h="37242">
                  <a:moveTo>
                    <a:pt x="19952" y="37080"/>
                  </a:moveTo>
                  <a:cubicBezTo>
                    <a:pt x="20238" y="31918"/>
                    <a:pt x="22028" y="26955"/>
                    <a:pt x="25096" y="22793"/>
                  </a:cubicBezTo>
                  <a:lnTo>
                    <a:pt x="18142" y="13268"/>
                  </a:lnTo>
                  <a:lnTo>
                    <a:pt x="18142" y="13268"/>
                  </a:lnTo>
                  <a:lnTo>
                    <a:pt x="17475" y="12410"/>
                  </a:lnTo>
                  <a:lnTo>
                    <a:pt x="7950" y="-163"/>
                  </a:lnTo>
                  <a:cubicBezTo>
                    <a:pt x="2902" y="6533"/>
                    <a:pt x="7" y="14601"/>
                    <a:pt x="-336" y="22983"/>
                  </a:cubicBezTo>
                  <a:lnTo>
                    <a:pt x="18714" y="36318"/>
                  </a:lnTo>
                  <a:close/>
                </a:path>
              </a:pathLst>
            </a:custGeom>
            <a:solidFill>
              <a:srgbClr val="D9530B"/>
            </a:solidFill>
            <a:ln w="9525" cap="flat">
              <a:noFill/>
              <a:prstDash val="solid"/>
              <a:miter/>
            </a:ln>
          </p:spPr>
          <p:txBody>
            <a:bodyPr rtlCol="0" anchor="ctr"/>
            <a:lstStyle/>
            <a:p>
              <a:endParaRPr lang="zh-CN" altLang="en-US"/>
            </a:p>
          </p:txBody>
        </p:sp>
        <p:sp>
          <p:nvSpPr>
            <p:cNvPr id="539" name="ïŝļiḍe">
              <a:extLst>
                <a:ext uri="{FF2B5EF4-FFF2-40B4-BE49-F238E27FC236}">
                  <a16:creationId xmlns:a16="http://schemas.microsoft.com/office/drawing/2014/main" id="{251B3ABE-F55C-4F34-A4B6-984E52CC8D32}"/>
                </a:ext>
              </a:extLst>
            </p:cNvPr>
            <p:cNvSpPr/>
            <p:nvPr/>
          </p:nvSpPr>
          <p:spPr>
            <a:xfrm>
              <a:off x="6306973" y="3583469"/>
              <a:ext cx="84661" cy="51318"/>
            </a:xfrm>
            <a:custGeom>
              <a:avLst/>
              <a:gdLst>
                <a:gd name="connsiteX0" fmla="*/ -336 w 27813"/>
                <a:gd name="connsiteY0" fmla="*/ 16697 h 16859"/>
                <a:gd name="connsiteX1" fmla="*/ 21381 w 27813"/>
                <a:gd name="connsiteY1" fmla="*/ 4314 h 16859"/>
                <a:gd name="connsiteX2" fmla="*/ 27477 w 27813"/>
                <a:gd name="connsiteY2" fmla="*/ -163 h 16859"/>
                <a:gd name="connsiteX3" fmla="*/ 5855 w 27813"/>
                <a:gd name="connsiteY3" fmla="*/ 12315 h 16859"/>
                <a:gd name="connsiteX4" fmla="*/ -336 w 27813"/>
                <a:gd name="connsiteY4" fmla="*/ 16697 h 16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813" h="16859">
                  <a:moveTo>
                    <a:pt x="-336" y="16697"/>
                  </a:moveTo>
                  <a:lnTo>
                    <a:pt x="21381" y="4314"/>
                  </a:lnTo>
                  <a:cubicBezTo>
                    <a:pt x="23572" y="3047"/>
                    <a:pt x="25610" y="1552"/>
                    <a:pt x="27477" y="-163"/>
                  </a:cubicBezTo>
                  <a:lnTo>
                    <a:pt x="5855" y="12315"/>
                  </a:lnTo>
                  <a:cubicBezTo>
                    <a:pt x="3959" y="14001"/>
                    <a:pt x="1883" y="15468"/>
                    <a:pt x="-336" y="16697"/>
                  </a:cubicBezTo>
                  <a:close/>
                </a:path>
              </a:pathLst>
            </a:custGeom>
            <a:solidFill>
              <a:srgbClr val="171A42"/>
            </a:solidFill>
            <a:ln w="9525" cap="flat">
              <a:noFill/>
              <a:prstDash val="solid"/>
              <a:miter/>
            </a:ln>
          </p:spPr>
          <p:txBody>
            <a:bodyPr rtlCol="0" anchor="ctr"/>
            <a:lstStyle/>
            <a:p>
              <a:endParaRPr lang="zh-CN" altLang="en-US"/>
            </a:p>
          </p:txBody>
        </p:sp>
        <p:sp>
          <p:nvSpPr>
            <p:cNvPr id="540" name="íśľíďé">
              <a:extLst>
                <a:ext uri="{FF2B5EF4-FFF2-40B4-BE49-F238E27FC236}">
                  <a16:creationId xmlns:a16="http://schemas.microsoft.com/office/drawing/2014/main" id="{3E86404A-CA72-43F4-ABEB-33F6693B9F99}"/>
                </a:ext>
              </a:extLst>
            </p:cNvPr>
            <p:cNvSpPr/>
            <p:nvPr/>
          </p:nvSpPr>
          <p:spPr>
            <a:xfrm>
              <a:off x="6148089" y="3357320"/>
              <a:ext cx="28993" cy="578"/>
            </a:xfrm>
            <a:custGeom>
              <a:avLst/>
              <a:gdLst>
                <a:gd name="connsiteX0" fmla="*/ 0 w 9525"/>
                <a:gd name="connsiteY0" fmla="*/ 191 h 190"/>
                <a:gd name="connsiteX1" fmla="*/ 0 w 9525"/>
                <a:gd name="connsiteY1" fmla="*/ 95 h 190"/>
                <a:gd name="connsiteX2" fmla="*/ 0 w 9525"/>
                <a:gd name="connsiteY2" fmla="*/ 0 h 190"/>
                <a:gd name="connsiteX3" fmla="*/ 0 w 9525"/>
                <a:gd name="connsiteY3" fmla="*/ 95 h 190"/>
                <a:gd name="connsiteX4" fmla="*/ 0 w 9525"/>
                <a:gd name="connsiteY4" fmla="*/ 95 h 190"/>
                <a:gd name="connsiteX5" fmla="*/ 0 w 9525"/>
                <a:gd name="connsiteY5" fmla="*/ 191 h 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525" h="190">
                  <a:moveTo>
                    <a:pt x="0" y="191"/>
                  </a:moveTo>
                  <a:lnTo>
                    <a:pt x="0" y="95"/>
                  </a:lnTo>
                  <a:lnTo>
                    <a:pt x="0" y="0"/>
                  </a:lnTo>
                  <a:lnTo>
                    <a:pt x="0" y="95"/>
                  </a:lnTo>
                  <a:lnTo>
                    <a:pt x="0" y="95"/>
                  </a:lnTo>
                  <a:lnTo>
                    <a:pt x="0" y="191"/>
                  </a:lnTo>
                  <a:close/>
                </a:path>
              </a:pathLst>
            </a:custGeom>
            <a:solidFill>
              <a:srgbClr val="2E3192"/>
            </a:solidFill>
            <a:ln w="9525" cap="flat">
              <a:noFill/>
              <a:prstDash val="solid"/>
              <a:miter/>
            </a:ln>
          </p:spPr>
          <p:txBody>
            <a:bodyPr rtlCol="0" anchor="ctr"/>
            <a:lstStyle/>
            <a:p>
              <a:endParaRPr lang="zh-CN" altLang="en-US"/>
            </a:p>
          </p:txBody>
        </p:sp>
        <p:sp>
          <p:nvSpPr>
            <p:cNvPr id="541" name="iṡ1íḋe">
              <a:extLst>
                <a:ext uri="{FF2B5EF4-FFF2-40B4-BE49-F238E27FC236}">
                  <a16:creationId xmlns:a16="http://schemas.microsoft.com/office/drawing/2014/main" id="{8E31489C-0C66-4687-A4F7-764EFB5EC246}"/>
                </a:ext>
              </a:extLst>
            </p:cNvPr>
            <p:cNvSpPr/>
            <p:nvPr/>
          </p:nvSpPr>
          <p:spPr>
            <a:xfrm>
              <a:off x="5957603" y="3373553"/>
              <a:ext cx="340381" cy="292068"/>
            </a:xfrm>
            <a:custGeom>
              <a:avLst/>
              <a:gdLst>
                <a:gd name="connsiteX0" fmla="*/ 105391 w 111823"/>
                <a:gd name="connsiteY0" fmla="*/ 90896 h 95951"/>
                <a:gd name="connsiteX1" fmla="*/ 111487 w 111823"/>
                <a:gd name="connsiteY1" fmla="*/ 86420 h 95951"/>
                <a:gd name="connsiteX2" fmla="*/ 53099 w 111823"/>
                <a:gd name="connsiteY2" fmla="*/ -163 h 95951"/>
                <a:gd name="connsiteX3" fmla="*/ -336 w 111823"/>
                <a:gd name="connsiteY3" fmla="*/ 28412 h 95951"/>
                <a:gd name="connsiteX4" fmla="*/ 52908 w 111823"/>
                <a:gd name="connsiteY4" fmla="*/ 85562 h 95951"/>
                <a:gd name="connsiteX5" fmla="*/ 105391 w 111823"/>
                <a:gd name="connsiteY5" fmla="*/ 90896 h 95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1823" h="95951">
                  <a:moveTo>
                    <a:pt x="105391" y="90896"/>
                  </a:moveTo>
                  <a:cubicBezTo>
                    <a:pt x="107582" y="89630"/>
                    <a:pt x="109620" y="88134"/>
                    <a:pt x="111487" y="86420"/>
                  </a:cubicBezTo>
                  <a:lnTo>
                    <a:pt x="53099" y="-163"/>
                  </a:lnTo>
                  <a:lnTo>
                    <a:pt x="-336" y="28412"/>
                  </a:lnTo>
                  <a:cubicBezTo>
                    <a:pt x="12141" y="51768"/>
                    <a:pt x="30496" y="71465"/>
                    <a:pt x="52908" y="85562"/>
                  </a:cubicBezTo>
                  <a:cubicBezTo>
                    <a:pt x="73387" y="97469"/>
                    <a:pt x="91866" y="98612"/>
                    <a:pt x="105391" y="90896"/>
                  </a:cubicBezTo>
                  <a:close/>
                </a:path>
              </a:pathLst>
            </a:custGeom>
            <a:solidFill>
              <a:srgbClr val="323A82"/>
            </a:solidFill>
            <a:ln w="9525" cap="flat">
              <a:noFill/>
              <a:prstDash val="solid"/>
              <a:miter/>
            </a:ln>
          </p:spPr>
          <p:txBody>
            <a:bodyPr rtlCol="0" anchor="ctr"/>
            <a:lstStyle/>
            <a:p>
              <a:endParaRPr lang="zh-CN" altLang="en-US"/>
            </a:p>
          </p:txBody>
        </p:sp>
        <p:sp>
          <p:nvSpPr>
            <p:cNvPr id="542" name="ï$ḷïdê">
              <a:extLst>
                <a:ext uri="{FF2B5EF4-FFF2-40B4-BE49-F238E27FC236}">
                  <a16:creationId xmlns:a16="http://schemas.microsoft.com/office/drawing/2014/main" id="{D5D503FB-C796-4F1F-BA36-3987E27E0D4C}"/>
                </a:ext>
              </a:extLst>
            </p:cNvPr>
            <p:cNvSpPr/>
            <p:nvPr/>
          </p:nvSpPr>
          <p:spPr>
            <a:xfrm>
              <a:off x="6120256" y="3328616"/>
              <a:ext cx="250792" cy="308490"/>
            </a:xfrm>
            <a:custGeom>
              <a:avLst/>
              <a:gdLst>
                <a:gd name="connsiteX0" fmla="*/ 58388 w 82391"/>
                <a:gd name="connsiteY0" fmla="*/ 101346 h 101346"/>
                <a:gd name="connsiteX1" fmla="*/ 82391 w 82391"/>
                <a:gd name="connsiteY1" fmla="*/ 87535 h 101346"/>
                <a:gd name="connsiteX2" fmla="*/ 78105 w 82391"/>
                <a:gd name="connsiteY2" fmla="*/ 80867 h 101346"/>
                <a:gd name="connsiteX3" fmla="*/ 27813 w 82391"/>
                <a:gd name="connsiteY3" fmla="*/ 3143 h 101346"/>
                <a:gd name="connsiteX4" fmla="*/ 25718 w 82391"/>
                <a:gd name="connsiteY4" fmla="*/ 0 h 101346"/>
                <a:gd name="connsiteX5" fmla="*/ 0 w 82391"/>
                <a:gd name="connsiteY5" fmla="*/ 14764 h 101346"/>
                <a:gd name="connsiteX6" fmla="*/ 58388 w 82391"/>
                <a:gd name="connsiteY6" fmla="*/ 101346 h 101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391" h="101346">
                  <a:moveTo>
                    <a:pt x="58388" y="101346"/>
                  </a:moveTo>
                  <a:lnTo>
                    <a:pt x="82391" y="87535"/>
                  </a:lnTo>
                  <a:lnTo>
                    <a:pt x="78105" y="80867"/>
                  </a:lnTo>
                  <a:lnTo>
                    <a:pt x="27813" y="3143"/>
                  </a:lnTo>
                  <a:lnTo>
                    <a:pt x="25718" y="0"/>
                  </a:lnTo>
                  <a:lnTo>
                    <a:pt x="0" y="14764"/>
                  </a:lnTo>
                  <a:lnTo>
                    <a:pt x="58388" y="101346"/>
                  </a:lnTo>
                  <a:close/>
                </a:path>
              </a:pathLst>
            </a:custGeom>
            <a:solidFill>
              <a:srgbClr val="171A42"/>
            </a:solidFill>
            <a:ln w="9525" cap="flat">
              <a:noFill/>
              <a:prstDash val="solid"/>
              <a:miter/>
            </a:ln>
          </p:spPr>
          <p:txBody>
            <a:bodyPr rtlCol="0" anchor="ctr"/>
            <a:lstStyle/>
            <a:p>
              <a:endParaRPr lang="zh-CN" altLang="en-US"/>
            </a:p>
          </p:txBody>
        </p:sp>
        <p:sp>
          <p:nvSpPr>
            <p:cNvPr id="543" name="íŝļiďé">
              <a:extLst>
                <a:ext uri="{FF2B5EF4-FFF2-40B4-BE49-F238E27FC236}">
                  <a16:creationId xmlns:a16="http://schemas.microsoft.com/office/drawing/2014/main" id="{8265D060-D981-4AD7-BA2E-E4F9E951D1A7}"/>
                </a:ext>
              </a:extLst>
            </p:cNvPr>
            <p:cNvSpPr/>
            <p:nvPr/>
          </p:nvSpPr>
          <p:spPr>
            <a:xfrm>
              <a:off x="5957314" y="3328616"/>
              <a:ext cx="241222" cy="131918"/>
            </a:xfrm>
            <a:custGeom>
              <a:avLst/>
              <a:gdLst>
                <a:gd name="connsiteX0" fmla="*/ 0 w 79247"/>
                <a:gd name="connsiteY0" fmla="*/ 43339 h 43338"/>
                <a:gd name="connsiteX1" fmla="*/ 73914 w 79247"/>
                <a:gd name="connsiteY1" fmla="*/ 857 h 43338"/>
                <a:gd name="connsiteX2" fmla="*/ 79248 w 79247"/>
                <a:gd name="connsiteY2" fmla="*/ 0 h 43338"/>
                <a:gd name="connsiteX3" fmla="*/ 53530 w 79247"/>
                <a:gd name="connsiteY3" fmla="*/ 14764 h 43338"/>
                <a:gd name="connsiteX4" fmla="*/ 0 w 79247"/>
                <a:gd name="connsiteY4" fmla="*/ 43339 h 433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247" h="43338">
                  <a:moveTo>
                    <a:pt x="0" y="43339"/>
                  </a:moveTo>
                  <a:lnTo>
                    <a:pt x="73914" y="857"/>
                  </a:lnTo>
                  <a:lnTo>
                    <a:pt x="79248" y="0"/>
                  </a:lnTo>
                  <a:lnTo>
                    <a:pt x="53530" y="14764"/>
                  </a:lnTo>
                  <a:lnTo>
                    <a:pt x="0" y="43339"/>
                  </a:lnTo>
                  <a:close/>
                </a:path>
              </a:pathLst>
            </a:custGeom>
            <a:solidFill>
              <a:srgbClr val="171A42"/>
            </a:solidFill>
            <a:ln w="9525" cap="flat">
              <a:noFill/>
              <a:prstDash val="solid"/>
              <a:miter/>
            </a:ln>
          </p:spPr>
          <p:txBody>
            <a:bodyPr rtlCol="0" anchor="ctr"/>
            <a:lstStyle/>
            <a:p>
              <a:endParaRPr lang="zh-CN" altLang="en-US"/>
            </a:p>
          </p:txBody>
        </p:sp>
        <p:sp>
          <p:nvSpPr>
            <p:cNvPr id="544" name="îŝľïḋè">
              <a:extLst>
                <a:ext uri="{FF2B5EF4-FFF2-40B4-BE49-F238E27FC236}">
                  <a16:creationId xmlns:a16="http://schemas.microsoft.com/office/drawing/2014/main" id="{9C95ABED-24C3-4D9B-9E74-B866D5FFA345}"/>
                </a:ext>
              </a:extLst>
            </p:cNvPr>
            <p:cNvSpPr/>
            <p:nvPr/>
          </p:nvSpPr>
          <p:spPr>
            <a:xfrm>
              <a:off x="6279429" y="3621448"/>
              <a:ext cx="47838" cy="29283"/>
            </a:xfrm>
            <a:custGeom>
              <a:avLst/>
              <a:gdLst>
                <a:gd name="connsiteX0" fmla="*/ -336 w 15716"/>
                <a:gd name="connsiteY0" fmla="*/ 9458 h 9620"/>
                <a:gd name="connsiteX1" fmla="*/ 9189 w 15716"/>
                <a:gd name="connsiteY1" fmla="*/ 4219 h 9620"/>
                <a:gd name="connsiteX2" fmla="*/ 15380 w 15716"/>
                <a:gd name="connsiteY2" fmla="*/ -163 h 9620"/>
                <a:gd name="connsiteX3" fmla="*/ 5855 w 15716"/>
                <a:gd name="connsiteY3" fmla="*/ 4981 h 9620"/>
                <a:gd name="connsiteX4" fmla="*/ -336 w 15716"/>
                <a:gd name="connsiteY4" fmla="*/ 9458 h 9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16" h="9620">
                  <a:moveTo>
                    <a:pt x="-336" y="9458"/>
                  </a:moveTo>
                  <a:lnTo>
                    <a:pt x="9189" y="4219"/>
                  </a:lnTo>
                  <a:cubicBezTo>
                    <a:pt x="11408" y="2990"/>
                    <a:pt x="13485" y="1523"/>
                    <a:pt x="15380" y="-163"/>
                  </a:cubicBezTo>
                  <a:lnTo>
                    <a:pt x="5855" y="4981"/>
                  </a:lnTo>
                  <a:cubicBezTo>
                    <a:pt x="3960" y="6695"/>
                    <a:pt x="1883" y="8200"/>
                    <a:pt x="-336" y="9458"/>
                  </a:cubicBezTo>
                  <a:close/>
                </a:path>
              </a:pathLst>
            </a:custGeom>
            <a:solidFill>
              <a:srgbClr val="171A42"/>
            </a:solidFill>
            <a:ln w="9525" cap="flat">
              <a:noFill/>
              <a:prstDash val="solid"/>
              <a:miter/>
            </a:ln>
          </p:spPr>
          <p:txBody>
            <a:bodyPr rtlCol="0" anchor="ctr"/>
            <a:lstStyle/>
            <a:p>
              <a:endParaRPr lang="zh-CN" altLang="en-US"/>
            </a:p>
          </p:txBody>
        </p:sp>
        <p:sp>
          <p:nvSpPr>
            <p:cNvPr id="545" name="ïśḻïḍè">
              <a:extLst>
                <a:ext uri="{FF2B5EF4-FFF2-40B4-BE49-F238E27FC236}">
                  <a16:creationId xmlns:a16="http://schemas.microsoft.com/office/drawing/2014/main" id="{E7BB29C3-D716-446A-8369-F96927092948}"/>
                </a:ext>
              </a:extLst>
            </p:cNvPr>
            <p:cNvSpPr/>
            <p:nvPr/>
          </p:nvSpPr>
          <p:spPr>
            <a:xfrm>
              <a:off x="6325240" y="3260191"/>
              <a:ext cx="114933" cy="361256"/>
            </a:xfrm>
            <a:custGeom>
              <a:avLst/>
              <a:gdLst>
                <a:gd name="connsiteX0" fmla="*/ -146 w 37758"/>
                <a:gd name="connsiteY0" fmla="*/ 118519 h 118681"/>
                <a:gd name="connsiteX1" fmla="*/ 21476 w 37758"/>
                <a:gd name="connsiteY1" fmla="*/ 106041 h 118681"/>
                <a:gd name="connsiteX2" fmla="*/ 37287 w 37758"/>
                <a:gd name="connsiteY2" fmla="*/ 62512 h 118681"/>
                <a:gd name="connsiteX3" fmla="*/ 21285 w 37758"/>
                <a:gd name="connsiteY3" fmla="*/ -163 h 118681"/>
                <a:gd name="connsiteX4" fmla="*/ -336 w 37758"/>
                <a:gd name="connsiteY4" fmla="*/ 12220 h 118681"/>
                <a:gd name="connsiteX5" fmla="*/ 15570 w 37758"/>
                <a:gd name="connsiteY5" fmla="*/ 74894 h 118681"/>
                <a:gd name="connsiteX6" fmla="*/ 13475 w 37758"/>
                <a:gd name="connsiteY6" fmla="*/ 93944 h 118681"/>
                <a:gd name="connsiteX7" fmla="*/ 3378 w 37758"/>
                <a:gd name="connsiteY7" fmla="*/ 114709 h 118681"/>
                <a:gd name="connsiteX8" fmla="*/ -146 w 37758"/>
                <a:gd name="connsiteY8" fmla="*/ 118519 h 118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758" h="118681">
                  <a:moveTo>
                    <a:pt x="-146" y="118519"/>
                  </a:moveTo>
                  <a:lnTo>
                    <a:pt x="21476" y="106041"/>
                  </a:lnTo>
                  <a:cubicBezTo>
                    <a:pt x="32649" y="94411"/>
                    <a:pt x="38392" y="78600"/>
                    <a:pt x="37287" y="62512"/>
                  </a:cubicBezTo>
                  <a:cubicBezTo>
                    <a:pt x="36687" y="40690"/>
                    <a:pt x="31220" y="19278"/>
                    <a:pt x="21285" y="-163"/>
                  </a:cubicBezTo>
                  <a:lnTo>
                    <a:pt x="-336" y="12220"/>
                  </a:lnTo>
                  <a:cubicBezTo>
                    <a:pt x="9598" y="31651"/>
                    <a:pt x="15037" y="53072"/>
                    <a:pt x="15570" y="74894"/>
                  </a:cubicBezTo>
                  <a:cubicBezTo>
                    <a:pt x="15599" y="81305"/>
                    <a:pt x="14894" y="87696"/>
                    <a:pt x="13475" y="93944"/>
                  </a:cubicBezTo>
                  <a:cubicBezTo>
                    <a:pt x="11741" y="101545"/>
                    <a:pt x="8284" y="108651"/>
                    <a:pt x="3378" y="114709"/>
                  </a:cubicBezTo>
                  <a:cubicBezTo>
                    <a:pt x="2311" y="116071"/>
                    <a:pt x="1130" y="117347"/>
                    <a:pt x="-146" y="118519"/>
                  </a:cubicBezTo>
                  <a:close/>
                </a:path>
              </a:pathLst>
            </a:custGeom>
            <a:solidFill>
              <a:srgbClr val="323A82"/>
            </a:solidFill>
            <a:ln w="9525" cap="flat">
              <a:noFill/>
              <a:prstDash val="solid"/>
              <a:miter/>
            </a:ln>
          </p:spPr>
          <p:txBody>
            <a:bodyPr rtlCol="0" anchor="ctr"/>
            <a:lstStyle/>
            <a:p>
              <a:endParaRPr lang="zh-CN" altLang="en-US"/>
            </a:p>
          </p:txBody>
        </p:sp>
        <p:sp>
          <p:nvSpPr>
            <p:cNvPr id="546" name="íSļïḋê">
              <a:extLst>
                <a:ext uri="{FF2B5EF4-FFF2-40B4-BE49-F238E27FC236}">
                  <a16:creationId xmlns:a16="http://schemas.microsoft.com/office/drawing/2014/main" id="{8C859C71-7D8F-44B2-A591-4DE8E3D4C6F6}"/>
                </a:ext>
              </a:extLst>
            </p:cNvPr>
            <p:cNvSpPr/>
            <p:nvPr/>
          </p:nvSpPr>
          <p:spPr>
            <a:xfrm>
              <a:off x="6147511" y="3298174"/>
              <a:ext cx="226149" cy="323274"/>
            </a:xfrm>
            <a:custGeom>
              <a:avLst/>
              <a:gdLst>
                <a:gd name="connsiteX0" fmla="*/ 58242 w 74295"/>
                <a:gd name="connsiteY0" fmla="*/ 106041 h 106203"/>
                <a:gd name="connsiteX1" fmla="*/ 61767 w 74295"/>
                <a:gd name="connsiteY1" fmla="*/ 102326 h 106203"/>
                <a:gd name="connsiteX2" fmla="*/ 71863 w 74295"/>
                <a:gd name="connsiteY2" fmla="*/ 81562 h 106203"/>
                <a:gd name="connsiteX3" fmla="*/ 73959 w 74295"/>
                <a:gd name="connsiteY3" fmla="*/ 62512 h 106203"/>
                <a:gd name="connsiteX4" fmla="*/ 58052 w 74295"/>
                <a:gd name="connsiteY4" fmla="*/ -163 h 106203"/>
                <a:gd name="connsiteX5" fmla="*/ 35668 w 74295"/>
                <a:gd name="connsiteY5" fmla="*/ 6791 h 106203"/>
                <a:gd name="connsiteX6" fmla="*/ 24143 w 74295"/>
                <a:gd name="connsiteY6" fmla="*/ 10696 h 106203"/>
                <a:gd name="connsiteX7" fmla="*/ -336 w 74295"/>
                <a:gd name="connsiteY7" fmla="*/ 18887 h 106203"/>
                <a:gd name="connsiteX8" fmla="*/ -336 w 74295"/>
                <a:gd name="connsiteY8" fmla="*/ 18887 h 106203"/>
                <a:gd name="connsiteX9" fmla="*/ 35668 w 74295"/>
                <a:gd name="connsiteY9" fmla="*/ 73466 h 106203"/>
                <a:gd name="connsiteX10" fmla="*/ 55766 w 74295"/>
                <a:gd name="connsiteY10" fmla="*/ 103279 h 106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4295" h="106203">
                  <a:moveTo>
                    <a:pt x="58242" y="106041"/>
                  </a:moveTo>
                  <a:cubicBezTo>
                    <a:pt x="59509" y="104898"/>
                    <a:pt x="60690" y="103660"/>
                    <a:pt x="61767" y="102326"/>
                  </a:cubicBezTo>
                  <a:cubicBezTo>
                    <a:pt x="66672" y="96268"/>
                    <a:pt x="70130" y="89163"/>
                    <a:pt x="71863" y="81562"/>
                  </a:cubicBezTo>
                  <a:cubicBezTo>
                    <a:pt x="73282" y="75313"/>
                    <a:pt x="73987" y="68922"/>
                    <a:pt x="73959" y="62512"/>
                  </a:cubicBezTo>
                  <a:cubicBezTo>
                    <a:pt x="73425" y="40690"/>
                    <a:pt x="67987" y="19268"/>
                    <a:pt x="58052" y="-163"/>
                  </a:cubicBezTo>
                  <a:lnTo>
                    <a:pt x="35668" y="6791"/>
                  </a:lnTo>
                  <a:lnTo>
                    <a:pt x="24143" y="10696"/>
                  </a:lnTo>
                  <a:lnTo>
                    <a:pt x="-336" y="18887"/>
                  </a:lnTo>
                  <a:lnTo>
                    <a:pt x="-336" y="18887"/>
                  </a:lnTo>
                  <a:lnTo>
                    <a:pt x="35668" y="73466"/>
                  </a:lnTo>
                  <a:lnTo>
                    <a:pt x="55766" y="103279"/>
                  </a:lnTo>
                  <a:close/>
                </a:path>
              </a:pathLst>
            </a:custGeom>
            <a:solidFill>
              <a:srgbClr val="316DE6"/>
            </a:solidFill>
            <a:ln w="9525" cap="flat">
              <a:noFill/>
              <a:prstDash val="solid"/>
              <a:miter/>
            </a:ln>
          </p:spPr>
          <p:txBody>
            <a:bodyPr rtlCol="0" anchor="ctr"/>
            <a:lstStyle/>
            <a:p>
              <a:endParaRPr lang="zh-CN" altLang="en-US"/>
            </a:p>
          </p:txBody>
        </p:sp>
        <p:sp>
          <p:nvSpPr>
            <p:cNvPr id="547" name="iṡḻiḓe">
              <a:extLst>
                <a:ext uri="{FF2B5EF4-FFF2-40B4-BE49-F238E27FC236}">
                  <a16:creationId xmlns:a16="http://schemas.microsoft.com/office/drawing/2014/main" id="{7E1CFF34-A09B-4BE5-B4EF-506FD9F473F1}"/>
                </a:ext>
              </a:extLst>
            </p:cNvPr>
            <p:cNvSpPr/>
            <p:nvPr/>
          </p:nvSpPr>
          <p:spPr>
            <a:xfrm>
              <a:off x="6027188" y="3029337"/>
              <a:ext cx="167580" cy="58051"/>
            </a:xfrm>
            <a:custGeom>
              <a:avLst/>
              <a:gdLst>
                <a:gd name="connsiteX0" fmla="*/ 33096 w 55054"/>
                <a:gd name="connsiteY0" fmla="*/ 18909 h 19071"/>
                <a:gd name="connsiteX1" fmla="*/ 54718 w 55054"/>
                <a:gd name="connsiteY1" fmla="*/ 6431 h 19071"/>
                <a:gd name="connsiteX2" fmla="*/ 21285 w 55054"/>
                <a:gd name="connsiteY2" fmla="*/ 240 h 19071"/>
                <a:gd name="connsiteX3" fmla="*/ -336 w 55054"/>
                <a:gd name="connsiteY3" fmla="*/ 12622 h 19071"/>
                <a:gd name="connsiteX4" fmla="*/ 28239 w 55054"/>
                <a:gd name="connsiteY4" fmla="*/ 16718 h 19071"/>
                <a:gd name="connsiteX5" fmla="*/ 33096 w 55054"/>
                <a:gd name="connsiteY5" fmla="*/ 18909 h 190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5054" h="19071">
                  <a:moveTo>
                    <a:pt x="33096" y="18909"/>
                  </a:moveTo>
                  <a:lnTo>
                    <a:pt x="54718" y="6431"/>
                  </a:lnTo>
                  <a:cubicBezTo>
                    <a:pt x="44460" y="1021"/>
                    <a:pt x="32801" y="-1132"/>
                    <a:pt x="21285" y="240"/>
                  </a:cubicBezTo>
                  <a:lnTo>
                    <a:pt x="-336" y="12622"/>
                  </a:lnTo>
                  <a:cubicBezTo>
                    <a:pt x="9389" y="11355"/>
                    <a:pt x="19266" y="12775"/>
                    <a:pt x="28239" y="16718"/>
                  </a:cubicBezTo>
                  <a:cubicBezTo>
                    <a:pt x="29763" y="17004"/>
                    <a:pt x="31382" y="17670"/>
                    <a:pt x="33096" y="18909"/>
                  </a:cubicBezTo>
                  <a:close/>
                </a:path>
              </a:pathLst>
            </a:custGeom>
            <a:solidFill>
              <a:srgbClr val="D9530B"/>
            </a:solidFill>
            <a:ln w="9525" cap="flat">
              <a:noFill/>
              <a:prstDash val="solid"/>
              <a:miter/>
            </a:ln>
          </p:spPr>
          <p:txBody>
            <a:bodyPr rtlCol="0" anchor="ctr"/>
            <a:lstStyle/>
            <a:p>
              <a:endParaRPr lang="zh-CN" altLang="en-US"/>
            </a:p>
          </p:txBody>
        </p:sp>
        <p:sp>
          <p:nvSpPr>
            <p:cNvPr id="548" name="iSḷîḓé">
              <a:extLst>
                <a:ext uri="{FF2B5EF4-FFF2-40B4-BE49-F238E27FC236}">
                  <a16:creationId xmlns:a16="http://schemas.microsoft.com/office/drawing/2014/main" id="{88F8401C-990C-4892-956B-C1F7F72EEAD5}"/>
                </a:ext>
              </a:extLst>
            </p:cNvPr>
            <p:cNvSpPr/>
            <p:nvPr/>
          </p:nvSpPr>
          <p:spPr>
            <a:xfrm>
              <a:off x="6027188" y="3065724"/>
              <a:ext cx="120902" cy="291593"/>
            </a:xfrm>
            <a:custGeom>
              <a:avLst/>
              <a:gdLst>
                <a:gd name="connsiteX0" fmla="*/ 39383 w 39719"/>
                <a:gd name="connsiteY0" fmla="*/ 95633 h 95795"/>
                <a:gd name="connsiteX1" fmla="*/ 39383 w 39719"/>
                <a:gd name="connsiteY1" fmla="*/ 94966 h 95795"/>
                <a:gd name="connsiteX2" fmla="*/ 35573 w 39719"/>
                <a:gd name="connsiteY2" fmla="*/ 40388 h 95795"/>
                <a:gd name="connsiteX3" fmla="*/ 33954 w 39719"/>
                <a:gd name="connsiteY3" fmla="*/ 18099 h 95795"/>
                <a:gd name="connsiteX4" fmla="*/ 33954 w 39719"/>
                <a:gd name="connsiteY4" fmla="*/ 18099 h 95795"/>
                <a:gd name="connsiteX5" fmla="*/ 33192 w 39719"/>
                <a:gd name="connsiteY5" fmla="*/ 6574 h 95795"/>
                <a:gd name="connsiteX6" fmla="*/ 28239 w 39719"/>
                <a:gd name="connsiteY6" fmla="*/ 4383 h 95795"/>
                <a:gd name="connsiteX7" fmla="*/ -336 w 39719"/>
                <a:gd name="connsiteY7" fmla="*/ 288 h 95795"/>
                <a:gd name="connsiteX8" fmla="*/ 14713 w 39719"/>
                <a:gd name="connsiteY8" fmla="*/ 36578 h 95795"/>
                <a:gd name="connsiteX9" fmla="*/ 39097 w 39719"/>
                <a:gd name="connsiteY9" fmla="*/ 95061 h 95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719" h="95795">
                  <a:moveTo>
                    <a:pt x="39383" y="95633"/>
                  </a:moveTo>
                  <a:lnTo>
                    <a:pt x="39383" y="94966"/>
                  </a:lnTo>
                  <a:lnTo>
                    <a:pt x="35573" y="40388"/>
                  </a:lnTo>
                  <a:lnTo>
                    <a:pt x="33954" y="18099"/>
                  </a:lnTo>
                  <a:lnTo>
                    <a:pt x="33954" y="18099"/>
                  </a:lnTo>
                  <a:lnTo>
                    <a:pt x="33192" y="6574"/>
                  </a:lnTo>
                  <a:cubicBezTo>
                    <a:pt x="31477" y="5717"/>
                    <a:pt x="29858" y="5050"/>
                    <a:pt x="28239" y="4383"/>
                  </a:cubicBezTo>
                  <a:cubicBezTo>
                    <a:pt x="19266" y="440"/>
                    <a:pt x="9389" y="-979"/>
                    <a:pt x="-336" y="288"/>
                  </a:cubicBezTo>
                  <a:lnTo>
                    <a:pt x="14713" y="36578"/>
                  </a:lnTo>
                  <a:lnTo>
                    <a:pt x="39097" y="95061"/>
                  </a:lnTo>
                  <a:close/>
                </a:path>
              </a:pathLst>
            </a:custGeom>
            <a:solidFill>
              <a:srgbClr val="FF7D33"/>
            </a:solidFill>
            <a:ln w="9525" cap="flat">
              <a:noFill/>
              <a:prstDash val="solid"/>
              <a:miter/>
            </a:ln>
          </p:spPr>
          <p:txBody>
            <a:bodyPr rtlCol="0" anchor="ctr"/>
            <a:lstStyle/>
            <a:p>
              <a:endParaRPr lang="zh-CN" altLang="en-US"/>
            </a:p>
          </p:txBody>
        </p:sp>
        <p:sp>
          <p:nvSpPr>
            <p:cNvPr id="549" name="îsľîḓe">
              <a:extLst>
                <a:ext uri="{FF2B5EF4-FFF2-40B4-BE49-F238E27FC236}">
                  <a16:creationId xmlns:a16="http://schemas.microsoft.com/office/drawing/2014/main" id="{70C8300C-A6D0-4189-B9CE-1B833E1C6836}"/>
                </a:ext>
              </a:extLst>
            </p:cNvPr>
            <p:cNvSpPr/>
            <p:nvPr/>
          </p:nvSpPr>
          <p:spPr>
            <a:xfrm>
              <a:off x="5988916" y="3029404"/>
              <a:ext cx="104084" cy="51025"/>
            </a:xfrm>
            <a:custGeom>
              <a:avLst/>
              <a:gdLst>
                <a:gd name="connsiteX0" fmla="*/ 12237 w 34194"/>
                <a:gd name="connsiteY0" fmla="*/ 12220 h 16763"/>
                <a:gd name="connsiteX1" fmla="*/ 33858 w 34194"/>
                <a:gd name="connsiteY1" fmla="*/ -163 h 16763"/>
                <a:gd name="connsiteX2" fmla="*/ 21381 w 34194"/>
                <a:gd name="connsiteY2" fmla="*/ 4219 h 16763"/>
                <a:gd name="connsiteX3" fmla="*/ -336 w 34194"/>
                <a:gd name="connsiteY3" fmla="*/ 16601 h 16763"/>
                <a:gd name="connsiteX4" fmla="*/ 11665 w 34194"/>
                <a:gd name="connsiteY4" fmla="*/ 12315 h 16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194" h="16763">
                  <a:moveTo>
                    <a:pt x="12237" y="12220"/>
                  </a:moveTo>
                  <a:lnTo>
                    <a:pt x="33858" y="-163"/>
                  </a:lnTo>
                  <a:cubicBezTo>
                    <a:pt x="29458" y="485"/>
                    <a:pt x="25219" y="1971"/>
                    <a:pt x="21381" y="4219"/>
                  </a:cubicBezTo>
                  <a:lnTo>
                    <a:pt x="-336" y="16601"/>
                  </a:lnTo>
                  <a:cubicBezTo>
                    <a:pt x="3379" y="14468"/>
                    <a:pt x="7445" y="13020"/>
                    <a:pt x="11665" y="12315"/>
                  </a:cubicBezTo>
                  <a:close/>
                </a:path>
              </a:pathLst>
            </a:custGeom>
            <a:solidFill>
              <a:srgbClr val="E1E8F2"/>
            </a:solidFill>
            <a:ln w="9525" cap="flat">
              <a:noFill/>
              <a:prstDash val="solid"/>
              <a:miter/>
            </a:ln>
          </p:spPr>
          <p:txBody>
            <a:bodyPr rtlCol="0" anchor="ctr"/>
            <a:lstStyle/>
            <a:p>
              <a:endParaRPr lang="zh-CN" altLang="en-US"/>
            </a:p>
          </p:txBody>
        </p:sp>
        <p:sp>
          <p:nvSpPr>
            <p:cNvPr id="550" name="iS1ïḍe">
              <a:extLst>
                <a:ext uri="{FF2B5EF4-FFF2-40B4-BE49-F238E27FC236}">
                  <a16:creationId xmlns:a16="http://schemas.microsoft.com/office/drawing/2014/main" id="{17A4E233-76D7-4A29-B0B0-8BDD03766D4C}"/>
                </a:ext>
              </a:extLst>
            </p:cNvPr>
            <p:cNvSpPr/>
            <p:nvPr/>
          </p:nvSpPr>
          <p:spPr>
            <a:xfrm>
              <a:off x="5922233" y="3067383"/>
              <a:ext cx="225856" cy="376044"/>
            </a:xfrm>
            <a:custGeom>
              <a:avLst/>
              <a:gdLst>
                <a:gd name="connsiteX0" fmla="*/ 73863 w 74199"/>
                <a:gd name="connsiteY0" fmla="*/ 95183 h 123539"/>
                <a:gd name="connsiteX1" fmla="*/ 73863 w 74199"/>
                <a:gd name="connsiteY1" fmla="*/ 95183 h 123539"/>
                <a:gd name="connsiteX2" fmla="*/ 73863 w 74199"/>
                <a:gd name="connsiteY2" fmla="*/ 94611 h 123539"/>
                <a:gd name="connsiteX3" fmla="*/ 49479 w 74199"/>
                <a:gd name="connsiteY3" fmla="*/ 36128 h 123539"/>
                <a:gd name="connsiteX4" fmla="*/ 34430 w 74199"/>
                <a:gd name="connsiteY4" fmla="*/ -163 h 123539"/>
                <a:gd name="connsiteX5" fmla="*/ 33477 w 74199"/>
                <a:gd name="connsiteY5" fmla="*/ -163 h 123539"/>
                <a:gd name="connsiteX6" fmla="*/ 21476 w 74199"/>
                <a:gd name="connsiteY6" fmla="*/ 4124 h 123539"/>
                <a:gd name="connsiteX7" fmla="*/ -336 w 74199"/>
                <a:gd name="connsiteY7" fmla="*/ 51749 h 123539"/>
                <a:gd name="connsiteX8" fmla="*/ 20237 w 74199"/>
                <a:gd name="connsiteY8" fmla="*/ 123377 h 123539"/>
                <a:gd name="connsiteX9" fmla="*/ 40621 w 74199"/>
                <a:gd name="connsiteY9" fmla="*/ 112518 h 123539"/>
                <a:gd name="connsiteX10" fmla="*/ 42335 w 74199"/>
                <a:gd name="connsiteY10" fmla="*/ 111661 h 123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4199" h="123539">
                  <a:moveTo>
                    <a:pt x="73863" y="95183"/>
                  </a:moveTo>
                  <a:lnTo>
                    <a:pt x="73863" y="95183"/>
                  </a:lnTo>
                  <a:lnTo>
                    <a:pt x="73863" y="94611"/>
                  </a:lnTo>
                  <a:lnTo>
                    <a:pt x="49479" y="36128"/>
                  </a:lnTo>
                  <a:lnTo>
                    <a:pt x="34430" y="-163"/>
                  </a:lnTo>
                  <a:lnTo>
                    <a:pt x="33477" y="-163"/>
                  </a:lnTo>
                  <a:cubicBezTo>
                    <a:pt x="29258" y="542"/>
                    <a:pt x="25191" y="1990"/>
                    <a:pt x="21476" y="4124"/>
                  </a:cubicBezTo>
                  <a:cubicBezTo>
                    <a:pt x="8045" y="11839"/>
                    <a:pt x="-336" y="28412"/>
                    <a:pt x="-336" y="51749"/>
                  </a:cubicBezTo>
                  <a:cubicBezTo>
                    <a:pt x="426" y="76971"/>
                    <a:pt x="7503" y="101593"/>
                    <a:pt x="20237" y="123377"/>
                  </a:cubicBezTo>
                  <a:lnTo>
                    <a:pt x="40621" y="112518"/>
                  </a:lnTo>
                  <a:lnTo>
                    <a:pt x="42335" y="111661"/>
                  </a:lnTo>
                  <a:close/>
                </a:path>
              </a:pathLst>
            </a:custGeom>
            <a:solidFill>
              <a:srgbClr val="EDF4FF"/>
            </a:solidFill>
            <a:ln w="9525" cap="flat">
              <a:noFill/>
              <a:prstDash val="solid"/>
              <a:miter/>
            </a:ln>
          </p:spPr>
          <p:txBody>
            <a:bodyPr rtlCol="0" anchor="ctr"/>
            <a:lstStyle/>
            <a:p>
              <a:endParaRPr lang="zh-CN" altLang="en-US"/>
            </a:p>
          </p:txBody>
        </p:sp>
        <p:sp>
          <p:nvSpPr>
            <p:cNvPr id="551" name="iSḷíḍê">
              <a:extLst>
                <a:ext uri="{FF2B5EF4-FFF2-40B4-BE49-F238E27FC236}">
                  <a16:creationId xmlns:a16="http://schemas.microsoft.com/office/drawing/2014/main" id="{F76D0AA9-6476-4107-AC10-596F4FD2EB7F}"/>
                </a:ext>
              </a:extLst>
            </p:cNvPr>
            <p:cNvSpPr/>
            <p:nvPr/>
          </p:nvSpPr>
          <p:spPr>
            <a:xfrm>
              <a:off x="6128955" y="3086231"/>
              <a:ext cx="196285" cy="271086"/>
            </a:xfrm>
            <a:custGeom>
              <a:avLst/>
              <a:gdLst>
                <a:gd name="connsiteX0" fmla="*/ 64148 w 64484"/>
                <a:gd name="connsiteY0" fmla="*/ 69370 h 89058"/>
                <a:gd name="connsiteX1" fmla="*/ 61862 w 64484"/>
                <a:gd name="connsiteY1" fmla="*/ 64988 h 89058"/>
                <a:gd name="connsiteX2" fmla="*/ 23286 w 64484"/>
                <a:gd name="connsiteY2" fmla="*/ 15554 h 89058"/>
                <a:gd name="connsiteX3" fmla="*/ 6141 w 64484"/>
                <a:gd name="connsiteY3" fmla="*/ 3266 h 89058"/>
                <a:gd name="connsiteX4" fmla="*/ -336 w 64484"/>
                <a:gd name="connsiteY4" fmla="*/ -163 h 89058"/>
                <a:gd name="connsiteX5" fmla="*/ 426 w 64484"/>
                <a:gd name="connsiteY5" fmla="*/ 11363 h 89058"/>
                <a:gd name="connsiteX6" fmla="*/ 426 w 64484"/>
                <a:gd name="connsiteY6" fmla="*/ 11363 h 89058"/>
                <a:gd name="connsiteX7" fmla="*/ 2045 w 64484"/>
                <a:gd name="connsiteY7" fmla="*/ 33651 h 89058"/>
                <a:gd name="connsiteX8" fmla="*/ 5855 w 64484"/>
                <a:gd name="connsiteY8" fmla="*/ 88229 h 89058"/>
                <a:gd name="connsiteX9" fmla="*/ 5855 w 64484"/>
                <a:gd name="connsiteY9" fmla="*/ 88896 h 89058"/>
                <a:gd name="connsiteX10" fmla="*/ 5855 w 64484"/>
                <a:gd name="connsiteY10" fmla="*/ 88896 h 89058"/>
                <a:gd name="connsiteX11" fmla="*/ 30334 w 64484"/>
                <a:gd name="connsiteY11" fmla="*/ 80705 h 89058"/>
                <a:gd name="connsiteX12" fmla="*/ 41764 w 64484"/>
                <a:gd name="connsiteY12" fmla="*/ 76418 h 890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4484" h="89058">
                  <a:moveTo>
                    <a:pt x="64148" y="69370"/>
                  </a:moveTo>
                  <a:lnTo>
                    <a:pt x="61862" y="64988"/>
                  </a:lnTo>
                  <a:cubicBezTo>
                    <a:pt x="52204" y="46243"/>
                    <a:pt x="39126" y="29479"/>
                    <a:pt x="23286" y="15554"/>
                  </a:cubicBezTo>
                  <a:cubicBezTo>
                    <a:pt x="17961" y="10934"/>
                    <a:pt x="12218" y="6829"/>
                    <a:pt x="6141" y="3266"/>
                  </a:cubicBezTo>
                  <a:lnTo>
                    <a:pt x="-336" y="-163"/>
                  </a:lnTo>
                  <a:lnTo>
                    <a:pt x="426" y="11363"/>
                  </a:lnTo>
                  <a:lnTo>
                    <a:pt x="426" y="11363"/>
                  </a:lnTo>
                  <a:lnTo>
                    <a:pt x="2045" y="33651"/>
                  </a:lnTo>
                  <a:lnTo>
                    <a:pt x="5855" y="88229"/>
                  </a:lnTo>
                  <a:lnTo>
                    <a:pt x="5855" y="88896"/>
                  </a:lnTo>
                  <a:lnTo>
                    <a:pt x="5855" y="88896"/>
                  </a:lnTo>
                  <a:lnTo>
                    <a:pt x="30334" y="80705"/>
                  </a:lnTo>
                  <a:lnTo>
                    <a:pt x="41764" y="76418"/>
                  </a:lnTo>
                  <a:close/>
                </a:path>
              </a:pathLst>
            </a:custGeom>
            <a:solidFill>
              <a:srgbClr val="D9530B"/>
            </a:solidFill>
            <a:ln w="9525" cap="flat">
              <a:noFill/>
              <a:prstDash val="solid"/>
              <a:miter/>
            </a:ln>
          </p:spPr>
          <p:txBody>
            <a:bodyPr rtlCol="0" anchor="ctr"/>
            <a:lstStyle/>
            <a:p>
              <a:endParaRPr lang="zh-CN" altLang="en-US"/>
            </a:p>
          </p:txBody>
        </p:sp>
        <p:sp>
          <p:nvSpPr>
            <p:cNvPr id="552" name="íṥľîdé">
              <a:extLst>
                <a:ext uri="{FF2B5EF4-FFF2-40B4-BE49-F238E27FC236}">
                  <a16:creationId xmlns:a16="http://schemas.microsoft.com/office/drawing/2014/main" id="{9D306BBB-758A-4E40-A679-D8AAA3B8B3C6}"/>
                </a:ext>
              </a:extLst>
            </p:cNvPr>
            <p:cNvSpPr/>
            <p:nvPr/>
          </p:nvSpPr>
          <p:spPr>
            <a:xfrm>
              <a:off x="6128955" y="3048249"/>
              <a:ext cx="262100" cy="249632"/>
            </a:xfrm>
            <a:custGeom>
              <a:avLst/>
              <a:gdLst>
                <a:gd name="connsiteX0" fmla="*/ 64148 w 86106"/>
                <a:gd name="connsiteY0" fmla="*/ 81848 h 82010"/>
                <a:gd name="connsiteX1" fmla="*/ 85770 w 86106"/>
                <a:gd name="connsiteY1" fmla="*/ 69465 h 82010"/>
                <a:gd name="connsiteX2" fmla="*/ 27858 w 86106"/>
                <a:gd name="connsiteY2" fmla="*/ 3362 h 82010"/>
                <a:gd name="connsiteX3" fmla="*/ 21286 w 86106"/>
                <a:gd name="connsiteY3" fmla="*/ -163 h 82010"/>
                <a:gd name="connsiteX4" fmla="*/ -336 w 86106"/>
                <a:gd name="connsiteY4" fmla="*/ 12696 h 82010"/>
                <a:gd name="connsiteX5" fmla="*/ 6141 w 86106"/>
                <a:gd name="connsiteY5" fmla="*/ 16125 h 82010"/>
                <a:gd name="connsiteX6" fmla="*/ 23286 w 86106"/>
                <a:gd name="connsiteY6" fmla="*/ 28412 h 82010"/>
                <a:gd name="connsiteX7" fmla="*/ 61862 w 86106"/>
                <a:gd name="connsiteY7" fmla="*/ 77847 h 82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6106" h="82010">
                  <a:moveTo>
                    <a:pt x="64148" y="81848"/>
                  </a:moveTo>
                  <a:lnTo>
                    <a:pt x="85770" y="69465"/>
                  </a:lnTo>
                  <a:cubicBezTo>
                    <a:pt x="73168" y="42357"/>
                    <a:pt x="53071" y="19421"/>
                    <a:pt x="27858" y="3362"/>
                  </a:cubicBezTo>
                  <a:cubicBezTo>
                    <a:pt x="25724" y="2076"/>
                    <a:pt x="23533" y="904"/>
                    <a:pt x="21286" y="-163"/>
                  </a:cubicBezTo>
                  <a:lnTo>
                    <a:pt x="-336" y="12696"/>
                  </a:lnTo>
                  <a:lnTo>
                    <a:pt x="6141" y="16125"/>
                  </a:lnTo>
                  <a:cubicBezTo>
                    <a:pt x="12218" y="19687"/>
                    <a:pt x="17961" y="23793"/>
                    <a:pt x="23286" y="28412"/>
                  </a:cubicBezTo>
                  <a:cubicBezTo>
                    <a:pt x="39126" y="42338"/>
                    <a:pt x="52204" y="59102"/>
                    <a:pt x="61862" y="77847"/>
                  </a:cubicBezTo>
                  <a:close/>
                </a:path>
              </a:pathLst>
            </a:custGeom>
            <a:solidFill>
              <a:srgbClr val="BF4200"/>
            </a:solidFill>
            <a:ln w="9525" cap="flat">
              <a:noFill/>
              <a:prstDash val="solid"/>
              <a:miter/>
            </a:ln>
          </p:spPr>
          <p:txBody>
            <a:bodyPr rtlCol="0" anchor="ctr"/>
            <a:lstStyle/>
            <a:p>
              <a:endParaRPr lang="zh-CN" altLang="en-US"/>
            </a:p>
          </p:txBody>
        </p:sp>
        <p:sp>
          <p:nvSpPr>
            <p:cNvPr id="553" name="ïṩḻíḓè">
              <a:extLst>
                <a:ext uri="{FF2B5EF4-FFF2-40B4-BE49-F238E27FC236}">
                  <a16:creationId xmlns:a16="http://schemas.microsoft.com/office/drawing/2014/main" id="{C4FEAF1C-8CAB-4EBE-98DA-0FB4A65E0B3E}"/>
                </a:ext>
              </a:extLst>
            </p:cNvPr>
            <p:cNvSpPr/>
            <p:nvPr/>
          </p:nvSpPr>
          <p:spPr>
            <a:xfrm>
              <a:off x="6765069" y="3674485"/>
              <a:ext cx="227887" cy="124981"/>
            </a:xfrm>
            <a:custGeom>
              <a:avLst/>
              <a:gdLst>
                <a:gd name="connsiteX0" fmla="*/ -336 w 74866"/>
                <a:gd name="connsiteY0" fmla="*/ 3940 h 41059"/>
                <a:gd name="connsiteX1" fmla="*/ 2045 w 74866"/>
                <a:gd name="connsiteY1" fmla="*/ 3178 h 41059"/>
                <a:gd name="connsiteX2" fmla="*/ 12141 w 74866"/>
                <a:gd name="connsiteY2" fmla="*/ 5654 h 41059"/>
                <a:gd name="connsiteX3" fmla="*/ 67672 w 74866"/>
                <a:gd name="connsiteY3" fmla="*/ 37658 h 41059"/>
                <a:gd name="connsiteX4" fmla="*/ 73292 w 74866"/>
                <a:gd name="connsiteY4" fmla="*/ 40897 h 41059"/>
                <a:gd name="connsiteX5" fmla="*/ 74530 w 74866"/>
                <a:gd name="connsiteY5" fmla="*/ 35087 h 41059"/>
                <a:gd name="connsiteX6" fmla="*/ 74530 w 74866"/>
                <a:gd name="connsiteY6" fmla="*/ 35087 h 41059"/>
                <a:gd name="connsiteX7" fmla="*/ 73292 w 74866"/>
                <a:gd name="connsiteY7" fmla="*/ 34420 h 41059"/>
                <a:gd name="connsiteX8" fmla="*/ 17761 w 74866"/>
                <a:gd name="connsiteY8" fmla="*/ 2321 h 41059"/>
                <a:gd name="connsiteX9" fmla="*/ 5283 w 74866"/>
                <a:gd name="connsiteY9" fmla="*/ 606 h 41059"/>
                <a:gd name="connsiteX10" fmla="*/ 3950 w 74866"/>
                <a:gd name="connsiteY10" fmla="*/ 1463 h 41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4866" h="41059">
                  <a:moveTo>
                    <a:pt x="-336" y="3940"/>
                  </a:moveTo>
                  <a:cubicBezTo>
                    <a:pt x="416" y="3578"/>
                    <a:pt x="1226" y="3330"/>
                    <a:pt x="2045" y="3178"/>
                  </a:cubicBezTo>
                  <a:cubicBezTo>
                    <a:pt x="5598" y="2806"/>
                    <a:pt x="9160" y="3683"/>
                    <a:pt x="12141" y="5654"/>
                  </a:cubicBezTo>
                  <a:lnTo>
                    <a:pt x="67672" y="37658"/>
                  </a:lnTo>
                  <a:lnTo>
                    <a:pt x="73292" y="40897"/>
                  </a:lnTo>
                  <a:cubicBezTo>
                    <a:pt x="73254" y="38887"/>
                    <a:pt x="73682" y="36906"/>
                    <a:pt x="74530" y="35087"/>
                  </a:cubicBezTo>
                  <a:lnTo>
                    <a:pt x="74530" y="35087"/>
                  </a:lnTo>
                  <a:lnTo>
                    <a:pt x="73292" y="34420"/>
                  </a:lnTo>
                  <a:lnTo>
                    <a:pt x="17761" y="2321"/>
                  </a:lnTo>
                  <a:cubicBezTo>
                    <a:pt x="14113" y="-213"/>
                    <a:pt x="9474" y="-851"/>
                    <a:pt x="5283" y="606"/>
                  </a:cubicBezTo>
                  <a:lnTo>
                    <a:pt x="3950" y="1463"/>
                  </a:lnTo>
                  <a:close/>
                </a:path>
              </a:pathLst>
            </a:custGeom>
            <a:solidFill>
              <a:srgbClr val="316DE6"/>
            </a:solidFill>
            <a:ln w="9525" cap="flat">
              <a:noFill/>
              <a:prstDash val="solid"/>
              <a:miter/>
            </a:ln>
          </p:spPr>
          <p:txBody>
            <a:bodyPr rtlCol="0" anchor="ctr"/>
            <a:lstStyle/>
            <a:p>
              <a:endParaRPr lang="zh-CN" altLang="en-US"/>
            </a:p>
          </p:txBody>
        </p:sp>
        <p:sp>
          <p:nvSpPr>
            <p:cNvPr id="554" name="î$ļíḍè">
              <a:extLst>
                <a:ext uri="{FF2B5EF4-FFF2-40B4-BE49-F238E27FC236}">
                  <a16:creationId xmlns:a16="http://schemas.microsoft.com/office/drawing/2014/main" id="{C2BEA9DC-A6A3-4CD2-AC28-E529CDF85665}"/>
                </a:ext>
              </a:extLst>
            </p:cNvPr>
            <p:cNvSpPr/>
            <p:nvPr/>
          </p:nvSpPr>
          <p:spPr>
            <a:xfrm>
              <a:off x="6745907" y="3685848"/>
              <a:ext cx="390855" cy="518177"/>
            </a:xfrm>
            <a:custGeom>
              <a:avLst/>
              <a:gdLst>
                <a:gd name="connsiteX0" fmla="*/ -328 w 128405"/>
                <a:gd name="connsiteY0" fmla="*/ 12780 h 170233"/>
                <a:gd name="connsiteX1" fmla="*/ -328 w 128405"/>
                <a:gd name="connsiteY1" fmla="*/ 17066 h 170233"/>
                <a:gd name="connsiteX2" fmla="*/ 5292 w 128405"/>
                <a:gd name="connsiteY2" fmla="*/ 20400 h 170233"/>
                <a:gd name="connsiteX3" fmla="*/ 51488 w 128405"/>
                <a:gd name="connsiteY3" fmla="*/ 46974 h 170233"/>
                <a:gd name="connsiteX4" fmla="*/ 86730 w 128405"/>
                <a:gd name="connsiteY4" fmla="*/ 67072 h 170233"/>
                <a:gd name="connsiteX5" fmla="*/ 105780 w 128405"/>
                <a:gd name="connsiteY5" fmla="*/ 99552 h 170233"/>
                <a:gd name="connsiteX6" fmla="*/ 105780 w 128405"/>
                <a:gd name="connsiteY6" fmla="*/ 162989 h 170233"/>
                <a:gd name="connsiteX7" fmla="*/ 116829 w 128405"/>
                <a:gd name="connsiteY7" fmla="*/ 168609 h 170233"/>
                <a:gd name="connsiteX8" fmla="*/ 116829 w 128405"/>
                <a:gd name="connsiteY8" fmla="*/ 168609 h 170233"/>
                <a:gd name="connsiteX9" fmla="*/ 128069 w 128405"/>
                <a:gd name="connsiteY9" fmla="*/ 149559 h 170233"/>
                <a:gd name="connsiteX10" fmla="*/ 128069 w 128405"/>
                <a:gd name="connsiteY10" fmla="*/ 65358 h 170233"/>
                <a:gd name="connsiteX11" fmla="*/ 114353 w 128405"/>
                <a:gd name="connsiteY11" fmla="*/ 41640 h 170233"/>
                <a:gd name="connsiteX12" fmla="*/ 93779 w 128405"/>
                <a:gd name="connsiteY12" fmla="*/ 29734 h 170233"/>
                <a:gd name="connsiteX13" fmla="*/ 87302 w 128405"/>
                <a:gd name="connsiteY13" fmla="*/ 27924 h 170233"/>
                <a:gd name="connsiteX14" fmla="*/ 84635 w 128405"/>
                <a:gd name="connsiteY14" fmla="*/ 28496 h 170233"/>
                <a:gd name="connsiteX15" fmla="*/ 83778 w 128405"/>
                <a:gd name="connsiteY15" fmla="*/ 28972 h 170233"/>
                <a:gd name="connsiteX16" fmla="*/ 81301 w 128405"/>
                <a:gd name="connsiteY16" fmla="*/ 31830 h 170233"/>
                <a:gd name="connsiteX17" fmla="*/ 81301 w 128405"/>
                <a:gd name="connsiteY17" fmla="*/ 31830 h 170233"/>
                <a:gd name="connsiteX18" fmla="*/ 80063 w 128405"/>
                <a:gd name="connsiteY18" fmla="*/ 37640 h 170233"/>
                <a:gd name="connsiteX19" fmla="*/ 74443 w 128405"/>
                <a:gd name="connsiteY19" fmla="*/ 34401 h 170233"/>
                <a:gd name="connsiteX20" fmla="*/ 18913 w 128405"/>
                <a:gd name="connsiteY20" fmla="*/ 2397 h 170233"/>
                <a:gd name="connsiteX21" fmla="*/ 8816 w 128405"/>
                <a:gd name="connsiteY21" fmla="*/ -79 h 170233"/>
                <a:gd name="connsiteX22" fmla="*/ 6435 w 128405"/>
                <a:gd name="connsiteY22" fmla="*/ 683 h 170233"/>
                <a:gd name="connsiteX23" fmla="*/ 5006 w 128405"/>
                <a:gd name="connsiteY23" fmla="*/ 1445 h 170233"/>
                <a:gd name="connsiteX24" fmla="*/ -328 w 128405"/>
                <a:gd name="connsiteY24" fmla="*/ 12780 h 170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28405" h="170233">
                  <a:moveTo>
                    <a:pt x="-328" y="12780"/>
                  </a:moveTo>
                  <a:lnTo>
                    <a:pt x="-328" y="17066"/>
                  </a:lnTo>
                  <a:lnTo>
                    <a:pt x="5292" y="20400"/>
                  </a:lnTo>
                  <a:lnTo>
                    <a:pt x="51488" y="46974"/>
                  </a:lnTo>
                  <a:lnTo>
                    <a:pt x="86730" y="67072"/>
                  </a:lnTo>
                  <a:cubicBezTo>
                    <a:pt x="97932" y="74206"/>
                    <a:pt x="105019" y="86294"/>
                    <a:pt x="105780" y="99552"/>
                  </a:cubicBezTo>
                  <a:lnTo>
                    <a:pt x="105780" y="162989"/>
                  </a:lnTo>
                  <a:cubicBezTo>
                    <a:pt x="105780" y="169371"/>
                    <a:pt x="110924" y="171942"/>
                    <a:pt x="116829" y="168609"/>
                  </a:cubicBezTo>
                  <a:lnTo>
                    <a:pt x="116829" y="168609"/>
                  </a:lnTo>
                  <a:cubicBezTo>
                    <a:pt x="123364" y="164380"/>
                    <a:pt x="127526" y="157322"/>
                    <a:pt x="128069" y="149559"/>
                  </a:cubicBezTo>
                  <a:lnTo>
                    <a:pt x="128069" y="65358"/>
                  </a:lnTo>
                  <a:cubicBezTo>
                    <a:pt x="127526" y="55718"/>
                    <a:pt x="122430" y="46917"/>
                    <a:pt x="114353" y="41640"/>
                  </a:cubicBezTo>
                  <a:lnTo>
                    <a:pt x="93779" y="29734"/>
                  </a:lnTo>
                  <a:cubicBezTo>
                    <a:pt x="91836" y="28524"/>
                    <a:pt x="89588" y="27896"/>
                    <a:pt x="87302" y="27924"/>
                  </a:cubicBezTo>
                  <a:cubicBezTo>
                    <a:pt x="86387" y="27953"/>
                    <a:pt x="85483" y="28153"/>
                    <a:pt x="84635" y="28496"/>
                  </a:cubicBezTo>
                  <a:lnTo>
                    <a:pt x="83778" y="28972"/>
                  </a:lnTo>
                  <a:cubicBezTo>
                    <a:pt x="82721" y="29696"/>
                    <a:pt x="81863" y="30677"/>
                    <a:pt x="81301" y="31830"/>
                  </a:cubicBezTo>
                  <a:lnTo>
                    <a:pt x="81301" y="31830"/>
                  </a:lnTo>
                  <a:cubicBezTo>
                    <a:pt x="80454" y="33649"/>
                    <a:pt x="80025" y="35630"/>
                    <a:pt x="80063" y="37640"/>
                  </a:cubicBezTo>
                  <a:lnTo>
                    <a:pt x="74443" y="34401"/>
                  </a:lnTo>
                  <a:lnTo>
                    <a:pt x="18913" y="2397"/>
                  </a:lnTo>
                  <a:cubicBezTo>
                    <a:pt x="15931" y="426"/>
                    <a:pt x="12369" y="-451"/>
                    <a:pt x="8816" y="-79"/>
                  </a:cubicBezTo>
                  <a:cubicBezTo>
                    <a:pt x="7997" y="73"/>
                    <a:pt x="7187" y="321"/>
                    <a:pt x="6435" y="683"/>
                  </a:cubicBezTo>
                  <a:lnTo>
                    <a:pt x="5006" y="1445"/>
                  </a:lnTo>
                  <a:cubicBezTo>
                    <a:pt x="1510" y="4140"/>
                    <a:pt x="-480" y="8360"/>
                    <a:pt x="-328" y="12780"/>
                  </a:cubicBezTo>
                  <a:close/>
                </a:path>
              </a:pathLst>
            </a:custGeom>
            <a:solidFill>
              <a:srgbClr val="323A82"/>
            </a:solidFill>
            <a:ln w="9525" cap="flat">
              <a:noFill/>
              <a:prstDash val="solid"/>
              <a:miter/>
            </a:ln>
          </p:spPr>
          <p:txBody>
            <a:bodyPr rtlCol="0" anchor="ctr"/>
            <a:lstStyle/>
            <a:p>
              <a:endParaRPr lang="zh-CN" altLang="en-US"/>
            </a:p>
          </p:txBody>
        </p:sp>
        <p:sp>
          <p:nvSpPr>
            <p:cNvPr id="555" name="ïṣlíḓe">
              <a:extLst>
                <a:ext uri="{FF2B5EF4-FFF2-40B4-BE49-F238E27FC236}">
                  <a16:creationId xmlns:a16="http://schemas.microsoft.com/office/drawing/2014/main" id="{CDA81D9D-9092-4193-B7B5-6076AB688EB0}"/>
                </a:ext>
              </a:extLst>
            </p:cNvPr>
            <p:cNvSpPr/>
            <p:nvPr/>
          </p:nvSpPr>
          <p:spPr>
            <a:xfrm>
              <a:off x="6754053" y="3705265"/>
              <a:ext cx="322114" cy="451667"/>
            </a:xfrm>
            <a:custGeom>
              <a:avLst/>
              <a:gdLst>
                <a:gd name="connsiteX0" fmla="*/ 8522 w 105822"/>
                <a:gd name="connsiteY0" fmla="*/ 96127 h 148383"/>
                <a:gd name="connsiteX1" fmla="*/ 96628 w 105822"/>
                <a:gd name="connsiteY1" fmla="*/ 146991 h 148383"/>
                <a:gd name="connsiteX2" fmla="*/ 105486 w 105822"/>
                <a:gd name="connsiteY2" fmla="*/ 141847 h 148383"/>
                <a:gd name="connsiteX3" fmla="*/ 105486 w 105822"/>
                <a:gd name="connsiteY3" fmla="*/ 67266 h 148383"/>
                <a:gd name="connsiteX4" fmla="*/ 96628 w 105822"/>
                <a:gd name="connsiteY4" fmla="*/ 51931 h 148383"/>
                <a:gd name="connsiteX5" fmla="*/ 8522 w 105822"/>
                <a:gd name="connsiteY5" fmla="*/ 1068 h 148383"/>
                <a:gd name="connsiteX6" fmla="*/ -336 w 105822"/>
                <a:gd name="connsiteY6" fmla="*/ 6211 h 148383"/>
                <a:gd name="connsiteX7" fmla="*/ -336 w 105822"/>
                <a:gd name="connsiteY7" fmla="*/ 80697 h 148383"/>
                <a:gd name="connsiteX8" fmla="*/ 8522 w 105822"/>
                <a:gd name="connsiteY8" fmla="*/ 96127 h 1483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822" h="148383">
                  <a:moveTo>
                    <a:pt x="8522" y="96127"/>
                  </a:moveTo>
                  <a:lnTo>
                    <a:pt x="96628" y="146991"/>
                  </a:lnTo>
                  <a:cubicBezTo>
                    <a:pt x="101486" y="149848"/>
                    <a:pt x="105486" y="147562"/>
                    <a:pt x="105486" y="141847"/>
                  </a:cubicBezTo>
                  <a:lnTo>
                    <a:pt x="105486" y="67266"/>
                  </a:lnTo>
                  <a:cubicBezTo>
                    <a:pt x="105143" y="61037"/>
                    <a:pt x="101848" y="55341"/>
                    <a:pt x="96628" y="51931"/>
                  </a:cubicBezTo>
                  <a:lnTo>
                    <a:pt x="8522" y="1068"/>
                  </a:lnTo>
                  <a:cubicBezTo>
                    <a:pt x="3664" y="-1790"/>
                    <a:pt x="-336" y="496"/>
                    <a:pt x="-336" y="6211"/>
                  </a:cubicBezTo>
                  <a:lnTo>
                    <a:pt x="-336" y="80697"/>
                  </a:lnTo>
                  <a:cubicBezTo>
                    <a:pt x="-22" y="86964"/>
                    <a:pt x="3274" y="92698"/>
                    <a:pt x="8522" y="96127"/>
                  </a:cubicBezTo>
                  <a:close/>
                </a:path>
              </a:pathLst>
            </a:custGeom>
            <a:solidFill>
              <a:srgbClr val="D1D9E8"/>
            </a:solidFill>
            <a:ln w="9525" cap="flat">
              <a:noFill/>
              <a:prstDash val="solid"/>
              <a:miter/>
            </a:ln>
          </p:spPr>
          <p:txBody>
            <a:bodyPr rtlCol="0" anchor="ctr"/>
            <a:lstStyle/>
            <a:p>
              <a:endParaRPr lang="zh-CN" altLang="en-US"/>
            </a:p>
          </p:txBody>
        </p:sp>
        <p:sp>
          <p:nvSpPr>
            <p:cNvPr id="556" name="ïśḻïďé">
              <a:extLst>
                <a:ext uri="{FF2B5EF4-FFF2-40B4-BE49-F238E27FC236}">
                  <a16:creationId xmlns:a16="http://schemas.microsoft.com/office/drawing/2014/main" id="{47198294-6260-4732-9E8F-604111619567}"/>
                </a:ext>
              </a:extLst>
            </p:cNvPr>
            <p:cNvSpPr/>
            <p:nvPr/>
          </p:nvSpPr>
          <p:spPr>
            <a:xfrm>
              <a:off x="6736946" y="3715121"/>
              <a:ext cx="322114" cy="451667"/>
            </a:xfrm>
            <a:custGeom>
              <a:avLst/>
              <a:gdLst>
                <a:gd name="connsiteX0" fmla="*/ 8522 w 105822"/>
                <a:gd name="connsiteY0" fmla="*/ 96127 h 148383"/>
                <a:gd name="connsiteX1" fmla="*/ 96628 w 105822"/>
                <a:gd name="connsiteY1" fmla="*/ 146991 h 148383"/>
                <a:gd name="connsiteX2" fmla="*/ 105487 w 105822"/>
                <a:gd name="connsiteY2" fmla="*/ 141847 h 148383"/>
                <a:gd name="connsiteX3" fmla="*/ 105487 w 105822"/>
                <a:gd name="connsiteY3" fmla="*/ 67362 h 148383"/>
                <a:gd name="connsiteX4" fmla="*/ 96628 w 105822"/>
                <a:gd name="connsiteY4" fmla="*/ 51931 h 148383"/>
                <a:gd name="connsiteX5" fmla="*/ 8522 w 105822"/>
                <a:gd name="connsiteY5" fmla="*/ 1068 h 148383"/>
                <a:gd name="connsiteX6" fmla="*/ -336 w 105822"/>
                <a:gd name="connsiteY6" fmla="*/ 6211 h 148383"/>
                <a:gd name="connsiteX7" fmla="*/ -336 w 105822"/>
                <a:gd name="connsiteY7" fmla="*/ 80792 h 148383"/>
                <a:gd name="connsiteX8" fmla="*/ 8522 w 105822"/>
                <a:gd name="connsiteY8" fmla="*/ 96127 h 1483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822" h="148383">
                  <a:moveTo>
                    <a:pt x="8522" y="96127"/>
                  </a:moveTo>
                  <a:lnTo>
                    <a:pt x="96628" y="146991"/>
                  </a:lnTo>
                  <a:cubicBezTo>
                    <a:pt x="101486" y="149848"/>
                    <a:pt x="105487" y="147562"/>
                    <a:pt x="105487" y="141847"/>
                  </a:cubicBezTo>
                  <a:lnTo>
                    <a:pt x="105487" y="67362"/>
                  </a:lnTo>
                  <a:cubicBezTo>
                    <a:pt x="105172" y="61094"/>
                    <a:pt x="101877" y="55360"/>
                    <a:pt x="96628" y="51931"/>
                  </a:cubicBezTo>
                  <a:lnTo>
                    <a:pt x="8522" y="1068"/>
                  </a:lnTo>
                  <a:cubicBezTo>
                    <a:pt x="3664" y="-1790"/>
                    <a:pt x="-336" y="496"/>
                    <a:pt x="-336" y="6211"/>
                  </a:cubicBezTo>
                  <a:lnTo>
                    <a:pt x="-336" y="80792"/>
                  </a:lnTo>
                  <a:cubicBezTo>
                    <a:pt x="7" y="87021"/>
                    <a:pt x="3302" y="92717"/>
                    <a:pt x="8522" y="96127"/>
                  </a:cubicBezTo>
                  <a:close/>
                </a:path>
              </a:pathLst>
            </a:custGeom>
            <a:solidFill>
              <a:srgbClr val="EDF4FF"/>
            </a:solidFill>
            <a:ln w="9525" cap="flat">
              <a:noFill/>
              <a:prstDash val="solid"/>
              <a:miter/>
            </a:ln>
          </p:spPr>
          <p:txBody>
            <a:bodyPr rtlCol="0" anchor="ctr"/>
            <a:lstStyle/>
            <a:p>
              <a:endParaRPr lang="zh-CN" altLang="en-US"/>
            </a:p>
          </p:txBody>
        </p:sp>
        <p:sp>
          <p:nvSpPr>
            <p:cNvPr id="557" name="íṧḷïḋe">
              <a:extLst>
                <a:ext uri="{FF2B5EF4-FFF2-40B4-BE49-F238E27FC236}">
                  <a16:creationId xmlns:a16="http://schemas.microsoft.com/office/drawing/2014/main" id="{70FBC7E9-2415-4502-A225-7E398BFDF377}"/>
                </a:ext>
              </a:extLst>
            </p:cNvPr>
            <p:cNvSpPr/>
            <p:nvPr/>
          </p:nvSpPr>
          <p:spPr>
            <a:xfrm>
              <a:off x="6660525" y="3735385"/>
              <a:ext cx="390146" cy="528581"/>
            </a:xfrm>
            <a:custGeom>
              <a:avLst/>
              <a:gdLst>
                <a:gd name="connsiteX0" fmla="*/ -281 w 128172"/>
                <a:gd name="connsiteY0" fmla="*/ 12698 h 173651"/>
                <a:gd name="connsiteX1" fmla="*/ -281 w 128172"/>
                <a:gd name="connsiteY1" fmla="*/ 86327 h 173651"/>
                <a:gd name="connsiteX2" fmla="*/ 18769 w 128172"/>
                <a:gd name="connsiteY2" fmla="*/ 118807 h 173651"/>
                <a:gd name="connsiteX3" fmla="*/ 109066 w 128172"/>
                <a:gd name="connsiteY3" fmla="*/ 171004 h 173651"/>
                <a:gd name="connsiteX4" fmla="*/ 121639 w 128172"/>
                <a:gd name="connsiteY4" fmla="*/ 172623 h 173651"/>
                <a:gd name="connsiteX5" fmla="*/ 122782 w 128172"/>
                <a:gd name="connsiteY5" fmla="*/ 172052 h 173651"/>
                <a:gd name="connsiteX6" fmla="*/ 124878 w 128172"/>
                <a:gd name="connsiteY6" fmla="*/ 170147 h 173651"/>
                <a:gd name="connsiteX7" fmla="*/ 127830 w 128172"/>
                <a:gd name="connsiteY7" fmla="*/ 160622 h 173651"/>
                <a:gd name="connsiteX8" fmla="*/ 127830 w 128172"/>
                <a:gd name="connsiteY8" fmla="*/ 86993 h 173651"/>
                <a:gd name="connsiteX9" fmla="*/ 108780 w 128172"/>
                <a:gd name="connsiteY9" fmla="*/ 54513 h 173651"/>
                <a:gd name="connsiteX10" fmla="*/ 33343 w 128172"/>
                <a:gd name="connsiteY10" fmla="*/ 10984 h 173651"/>
                <a:gd name="connsiteX11" fmla="*/ 27723 w 128172"/>
                <a:gd name="connsiteY11" fmla="*/ 7745 h 173651"/>
                <a:gd name="connsiteX12" fmla="*/ 18198 w 128172"/>
                <a:gd name="connsiteY12" fmla="*/ 2316 h 173651"/>
                <a:gd name="connsiteX13" fmla="*/ 8006 w 128172"/>
                <a:gd name="connsiteY13" fmla="*/ -65 h 173651"/>
                <a:gd name="connsiteX14" fmla="*/ 4672 w 128172"/>
                <a:gd name="connsiteY14" fmla="*/ 1173 h 173651"/>
                <a:gd name="connsiteX15" fmla="*/ -281 w 128172"/>
                <a:gd name="connsiteY15" fmla="*/ 12698 h 173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8172" h="173651">
                  <a:moveTo>
                    <a:pt x="-281" y="12698"/>
                  </a:moveTo>
                  <a:lnTo>
                    <a:pt x="-281" y="86327"/>
                  </a:lnTo>
                  <a:cubicBezTo>
                    <a:pt x="481" y="99586"/>
                    <a:pt x="7568" y="111673"/>
                    <a:pt x="18769" y="118807"/>
                  </a:cubicBezTo>
                  <a:lnTo>
                    <a:pt x="109066" y="171004"/>
                  </a:lnTo>
                  <a:cubicBezTo>
                    <a:pt x="112733" y="173595"/>
                    <a:pt x="117439" y="174204"/>
                    <a:pt x="121639" y="172623"/>
                  </a:cubicBezTo>
                  <a:lnTo>
                    <a:pt x="122782" y="172052"/>
                  </a:lnTo>
                  <a:cubicBezTo>
                    <a:pt x="123544" y="171499"/>
                    <a:pt x="124249" y="170852"/>
                    <a:pt x="124878" y="170147"/>
                  </a:cubicBezTo>
                  <a:cubicBezTo>
                    <a:pt x="126888" y="167384"/>
                    <a:pt x="127926" y="164032"/>
                    <a:pt x="127830" y="160622"/>
                  </a:cubicBezTo>
                  <a:lnTo>
                    <a:pt x="127830" y="86993"/>
                  </a:lnTo>
                  <a:cubicBezTo>
                    <a:pt x="127040" y="73744"/>
                    <a:pt x="119953" y="61676"/>
                    <a:pt x="108780" y="54513"/>
                  </a:cubicBezTo>
                  <a:lnTo>
                    <a:pt x="33343" y="10984"/>
                  </a:lnTo>
                  <a:lnTo>
                    <a:pt x="27723" y="7745"/>
                  </a:lnTo>
                  <a:lnTo>
                    <a:pt x="18198" y="2316"/>
                  </a:lnTo>
                  <a:cubicBezTo>
                    <a:pt x="15178" y="373"/>
                    <a:pt x="11578" y="-465"/>
                    <a:pt x="8006" y="-65"/>
                  </a:cubicBezTo>
                  <a:cubicBezTo>
                    <a:pt x="6825" y="135"/>
                    <a:pt x="5691" y="554"/>
                    <a:pt x="4672" y="1173"/>
                  </a:cubicBezTo>
                  <a:cubicBezTo>
                    <a:pt x="1177" y="3926"/>
                    <a:pt x="-690" y="8269"/>
                    <a:pt x="-281" y="12698"/>
                  </a:cubicBezTo>
                  <a:close/>
                </a:path>
              </a:pathLst>
            </a:custGeom>
            <a:solidFill>
              <a:srgbClr val="214EA6"/>
            </a:solidFill>
            <a:ln w="9525" cap="flat">
              <a:noFill/>
              <a:prstDash val="solid"/>
              <a:miter/>
            </a:ln>
          </p:spPr>
          <p:txBody>
            <a:bodyPr rtlCol="0" anchor="ctr"/>
            <a:lstStyle/>
            <a:p>
              <a:endParaRPr lang="zh-CN" altLang="en-US"/>
            </a:p>
          </p:txBody>
        </p:sp>
        <p:sp>
          <p:nvSpPr>
            <p:cNvPr id="558" name="iš1ïďè">
              <a:extLst>
                <a:ext uri="{FF2B5EF4-FFF2-40B4-BE49-F238E27FC236}">
                  <a16:creationId xmlns:a16="http://schemas.microsoft.com/office/drawing/2014/main" id="{2C534D3B-94BC-4D65-AB59-57A0B8F67E48}"/>
                </a:ext>
              </a:extLst>
            </p:cNvPr>
            <p:cNvSpPr/>
            <p:nvPr/>
          </p:nvSpPr>
          <p:spPr>
            <a:xfrm>
              <a:off x="6676640" y="3721158"/>
              <a:ext cx="477717" cy="536982"/>
            </a:xfrm>
            <a:custGeom>
              <a:avLst/>
              <a:gdLst>
                <a:gd name="connsiteX0" fmla="*/ -336 w 156941"/>
                <a:gd name="connsiteY0" fmla="*/ 5371 h 176411"/>
                <a:gd name="connsiteX1" fmla="*/ 2997 w 156941"/>
                <a:gd name="connsiteY1" fmla="*/ 4132 h 176411"/>
                <a:gd name="connsiteX2" fmla="*/ 13189 w 156941"/>
                <a:gd name="connsiteY2" fmla="*/ 6514 h 176411"/>
                <a:gd name="connsiteX3" fmla="*/ 22714 w 156941"/>
                <a:gd name="connsiteY3" fmla="*/ 11943 h 176411"/>
                <a:gd name="connsiteX4" fmla="*/ 28334 w 156941"/>
                <a:gd name="connsiteY4" fmla="*/ 15181 h 176411"/>
                <a:gd name="connsiteX5" fmla="*/ 103772 w 156941"/>
                <a:gd name="connsiteY5" fmla="*/ 58711 h 176411"/>
                <a:gd name="connsiteX6" fmla="*/ 122822 w 156941"/>
                <a:gd name="connsiteY6" fmla="*/ 91191 h 176411"/>
                <a:gd name="connsiteX7" fmla="*/ 122822 w 156941"/>
                <a:gd name="connsiteY7" fmla="*/ 164819 h 176411"/>
                <a:gd name="connsiteX8" fmla="*/ 119869 w 156941"/>
                <a:gd name="connsiteY8" fmla="*/ 174344 h 176411"/>
                <a:gd name="connsiteX9" fmla="*/ 117774 w 156941"/>
                <a:gd name="connsiteY9" fmla="*/ 176249 h 176411"/>
                <a:gd name="connsiteX10" fmla="*/ 122250 w 156941"/>
                <a:gd name="connsiteY10" fmla="*/ 173582 h 176411"/>
                <a:gd name="connsiteX11" fmla="*/ 123489 w 156941"/>
                <a:gd name="connsiteY11" fmla="*/ 172915 h 176411"/>
                <a:gd name="connsiteX12" fmla="*/ 151302 w 156941"/>
                <a:gd name="connsiteY12" fmla="*/ 156818 h 176411"/>
                <a:gd name="connsiteX13" fmla="*/ 156540 w 156941"/>
                <a:gd name="connsiteY13" fmla="*/ 144817 h 176411"/>
                <a:gd name="connsiteX14" fmla="*/ 156540 w 156941"/>
                <a:gd name="connsiteY14" fmla="*/ 49567 h 176411"/>
                <a:gd name="connsiteX15" fmla="*/ 142824 w 156941"/>
                <a:gd name="connsiteY15" fmla="*/ 25849 h 176411"/>
                <a:gd name="connsiteX16" fmla="*/ 122250 w 156941"/>
                <a:gd name="connsiteY16" fmla="*/ 13943 h 176411"/>
                <a:gd name="connsiteX17" fmla="*/ 112725 w 156941"/>
                <a:gd name="connsiteY17" fmla="*/ 12705 h 176411"/>
                <a:gd name="connsiteX18" fmla="*/ 112725 w 156941"/>
                <a:gd name="connsiteY18" fmla="*/ 12705 h 176411"/>
                <a:gd name="connsiteX19" fmla="*/ 111773 w 156941"/>
                <a:gd name="connsiteY19" fmla="*/ 13276 h 176411"/>
                <a:gd name="connsiteX20" fmla="*/ 107106 w 156941"/>
                <a:gd name="connsiteY20" fmla="*/ 15943 h 176411"/>
                <a:gd name="connsiteX21" fmla="*/ 109773 w 156941"/>
                <a:gd name="connsiteY21" fmla="*/ 15372 h 176411"/>
                <a:gd name="connsiteX22" fmla="*/ 116250 w 156941"/>
                <a:gd name="connsiteY22" fmla="*/ 17182 h 176411"/>
                <a:gd name="connsiteX23" fmla="*/ 136824 w 156941"/>
                <a:gd name="connsiteY23" fmla="*/ 29088 h 176411"/>
                <a:gd name="connsiteX24" fmla="*/ 150540 w 156941"/>
                <a:gd name="connsiteY24" fmla="*/ 52805 h 176411"/>
                <a:gd name="connsiteX25" fmla="*/ 150540 w 156941"/>
                <a:gd name="connsiteY25" fmla="*/ 137006 h 176411"/>
                <a:gd name="connsiteX26" fmla="*/ 139300 w 156941"/>
                <a:gd name="connsiteY26" fmla="*/ 156056 h 176411"/>
                <a:gd name="connsiteX27" fmla="*/ 139300 w 156941"/>
                <a:gd name="connsiteY27" fmla="*/ 156056 h 176411"/>
                <a:gd name="connsiteX28" fmla="*/ 128251 w 156941"/>
                <a:gd name="connsiteY28" fmla="*/ 150436 h 176411"/>
                <a:gd name="connsiteX29" fmla="*/ 128251 w 156941"/>
                <a:gd name="connsiteY29" fmla="*/ 87000 h 176411"/>
                <a:gd name="connsiteX30" fmla="*/ 109201 w 156941"/>
                <a:gd name="connsiteY30" fmla="*/ 54520 h 176411"/>
                <a:gd name="connsiteX31" fmla="*/ 74340 w 156941"/>
                <a:gd name="connsiteY31" fmla="*/ 34327 h 176411"/>
                <a:gd name="connsiteX32" fmla="*/ 28143 w 156941"/>
                <a:gd name="connsiteY32" fmla="*/ 7752 h 176411"/>
                <a:gd name="connsiteX33" fmla="*/ 22524 w 156941"/>
                <a:gd name="connsiteY33" fmla="*/ 4418 h 176411"/>
                <a:gd name="connsiteX34" fmla="*/ 18904 w 156941"/>
                <a:gd name="connsiteY34" fmla="*/ 2323 h 176411"/>
                <a:gd name="connsiteX35" fmla="*/ 6236 w 156941"/>
                <a:gd name="connsiteY35" fmla="*/ 703 h 176411"/>
                <a:gd name="connsiteX36" fmla="*/ 5664 w 156941"/>
                <a:gd name="connsiteY36" fmla="*/ 703 h 176411"/>
                <a:gd name="connsiteX37" fmla="*/ 5664 w 156941"/>
                <a:gd name="connsiteY37" fmla="*/ 703 h 1764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56941" h="176411">
                  <a:moveTo>
                    <a:pt x="-336" y="5371"/>
                  </a:moveTo>
                  <a:cubicBezTo>
                    <a:pt x="683" y="4751"/>
                    <a:pt x="1816" y="4332"/>
                    <a:pt x="2997" y="4132"/>
                  </a:cubicBezTo>
                  <a:cubicBezTo>
                    <a:pt x="6569" y="3732"/>
                    <a:pt x="10170" y="4571"/>
                    <a:pt x="13189" y="6514"/>
                  </a:cubicBezTo>
                  <a:lnTo>
                    <a:pt x="22714" y="11943"/>
                  </a:lnTo>
                  <a:lnTo>
                    <a:pt x="28334" y="15181"/>
                  </a:lnTo>
                  <a:lnTo>
                    <a:pt x="103772" y="58711"/>
                  </a:lnTo>
                  <a:cubicBezTo>
                    <a:pt x="114945" y="65873"/>
                    <a:pt x="122031" y="77942"/>
                    <a:pt x="122822" y="91191"/>
                  </a:cubicBezTo>
                  <a:lnTo>
                    <a:pt x="122822" y="164819"/>
                  </a:lnTo>
                  <a:cubicBezTo>
                    <a:pt x="122917" y="168229"/>
                    <a:pt x="121879" y="171582"/>
                    <a:pt x="119869" y="174344"/>
                  </a:cubicBezTo>
                  <a:cubicBezTo>
                    <a:pt x="119240" y="175049"/>
                    <a:pt x="118536" y="175697"/>
                    <a:pt x="117774" y="176249"/>
                  </a:cubicBezTo>
                  <a:lnTo>
                    <a:pt x="122250" y="173582"/>
                  </a:lnTo>
                  <a:lnTo>
                    <a:pt x="123489" y="172915"/>
                  </a:lnTo>
                  <a:lnTo>
                    <a:pt x="151302" y="156818"/>
                  </a:lnTo>
                  <a:cubicBezTo>
                    <a:pt x="155016" y="153999"/>
                    <a:pt x="156998" y="149455"/>
                    <a:pt x="156540" y="144817"/>
                  </a:cubicBezTo>
                  <a:lnTo>
                    <a:pt x="156540" y="49567"/>
                  </a:lnTo>
                  <a:cubicBezTo>
                    <a:pt x="155997" y="39927"/>
                    <a:pt x="150902" y="31126"/>
                    <a:pt x="142824" y="25849"/>
                  </a:cubicBezTo>
                  <a:lnTo>
                    <a:pt x="122250" y="13943"/>
                  </a:lnTo>
                  <a:cubicBezTo>
                    <a:pt x="119498" y="11933"/>
                    <a:pt x="115907" y="11467"/>
                    <a:pt x="112725" y="12705"/>
                  </a:cubicBezTo>
                  <a:lnTo>
                    <a:pt x="112725" y="12705"/>
                  </a:lnTo>
                  <a:lnTo>
                    <a:pt x="111773" y="13276"/>
                  </a:lnTo>
                  <a:lnTo>
                    <a:pt x="107106" y="15943"/>
                  </a:lnTo>
                  <a:cubicBezTo>
                    <a:pt x="107953" y="15601"/>
                    <a:pt x="108858" y="15400"/>
                    <a:pt x="109773" y="15372"/>
                  </a:cubicBezTo>
                  <a:cubicBezTo>
                    <a:pt x="112059" y="15343"/>
                    <a:pt x="114307" y="15972"/>
                    <a:pt x="116250" y="17182"/>
                  </a:cubicBezTo>
                  <a:lnTo>
                    <a:pt x="136824" y="29088"/>
                  </a:lnTo>
                  <a:cubicBezTo>
                    <a:pt x="144901" y="34365"/>
                    <a:pt x="149997" y="43166"/>
                    <a:pt x="150540" y="52805"/>
                  </a:cubicBezTo>
                  <a:lnTo>
                    <a:pt x="150540" y="137006"/>
                  </a:lnTo>
                  <a:cubicBezTo>
                    <a:pt x="149997" y="144769"/>
                    <a:pt x="145834" y="151827"/>
                    <a:pt x="139300" y="156056"/>
                  </a:cubicBezTo>
                  <a:lnTo>
                    <a:pt x="139300" y="156056"/>
                  </a:lnTo>
                  <a:cubicBezTo>
                    <a:pt x="133395" y="159390"/>
                    <a:pt x="128632" y="156818"/>
                    <a:pt x="128251" y="150436"/>
                  </a:cubicBezTo>
                  <a:lnTo>
                    <a:pt x="128251" y="87000"/>
                  </a:lnTo>
                  <a:cubicBezTo>
                    <a:pt x="127489" y="73741"/>
                    <a:pt x="120403" y="61654"/>
                    <a:pt x="109201" y="54520"/>
                  </a:cubicBezTo>
                  <a:lnTo>
                    <a:pt x="74340" y="34327"/>
                  </a:lnTo>
                  <a:lnTo>
                    <a:pt x="28143" y="7752"/>
                  </a:lnTo>
                  <a:lnTo>
                    <a:pt x="22524" y="4418"/>
                  </a:lnTo>
                  <a:lnTo>
                    <a:pt x="18904" y="2323"/>
                  </a:lnTo>
                  <a:cubicBezTo>
                    <a:pt x="15208" y="-268"/>
                    <a:pt x="10465" y="-878"/>
                    <a:pt x="6236" y="703"/>
                  </a:cubicBezTo>
                  <a:lnTo>
                    <a:pt x="5664" y="703"/>
                  </a:lnTo>
                  <a:lnTo>
                    <a:pt x="5664" y="703"/>
                  </a:lnTo>
                  <a:close/>
                </a:path>
              </a:pathLst>
            </a:custGeom>
            <a:solidFill>
              <a:srgbClr val="316DE6"/>
            </a:solidFill>
            <a:ln w="9525" cap="flat">
              <a:noFill/>
              <a:prstDash val="solid"/>
              <a:miter/>
            </a:ln>
          </p:spPr>
          <p:txBody>
            <a:bodyPr rtlCol="0" anchor="ctr"/>
            <a:lstStyle/>
            <a:p>
              <a:endParaRPr lang="zh-CN" altLang="en-US"/>
            </a:p>
          </p:txBody>
        </p:sp>
      </p:grpSp>
    </p:spTree>
    <p:custDataLst>
      <p:tags r:id="rId1"/>
    </p:custDataLst>
    <p:extLst>
      <p:ext uri="{BB962C8B-B14F-4D97-AF65-F5344CB8AC3E}">
        <p14:creationId xmlns:p14="http://schemas.microsoft.com/office/powerpoint/2010/main" val="2428195583"/>
      </p:ext>
    </p:extLst>
  </p:cSld>
  <p:clrMapOvr>
    <a:masterClrMapping/>
  </p:clrMapOvr>
  <mc:AlternateContent xmlns:mc="http://schemas.openxmlformats.org/markup-compatibility/2006">
    <mc:Choice xmlns:p14="http://schemas.microsoft.com/office/powerpoint/2010/main" Requires="p14">
      <p:transition spd="slow" p14:dur="1250">
        <p:blinds dir="vert"/>
      </p:transition>
    </mc:Choice>
    <mc:Fallback>
      <p:transition spd="slow">
        <p:blinds dir="vert"/>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灯片编号占位符 3">
            <a:extLst>
              <a:ext uri="{FF2B5EF4-FFF2-40B4-BE49-F238E27FC236}">
                <a16:creationId xmlns:a16="http://schemas.microsoft.com/office/drawing/2014/main" id="{2A5C0DA9-421E-435E-A37F-75EEA4A204CB}"/>
              </a:ext>
            </a:extLst>
          </p:cNvPr>
          <p:cNvSpPr>
            <a:spLocks noGrp="1"/>
          </p:cNvSpPr>
          <p:nvPr>
            <p:ph type="sldNum" sz="quarter" idx="12"/>
          </p:nvPr>
        </p:nvSpPr>
        <p:spPr/>
        <p:txBody>
          <a:bodyPr/>
          <a:lstStyle/>
          <a:p>
            <a:fld id="{5DD3DB80-B894-403A-B48E-6FDC1A72010E}" type="slidenum">
              <a:rPr lang="zh-CN" altLang="en-US" smtClean="0"/>
              <a:pPr/>
              <a:t>11</a:t>
            </a:fld>
            <a:endParaRPr lang="zh-CN" altLang="en-US"/>
          </a:p>
        </p:txBody>
      </p:sp>
      <p:sp>
        <p:nvSpPr>
          <p:cNvPr id="5" name="标题 1">
            <a:extLst>
              <a:ext uri="{FF2B5EF4-FFF2-40B4-BE49-F238E27FC236}">
                <a16:creationId xmlns:a16="http://schemas.microsoft.com/office/drawing/2014/main" id="{A66C21BB-C083-4C2F-A2AE-920B8A20D84E}"/>
              </a:ext>
            </a:extLst>
          </p:cNvPr>
          <p:cNvSpPr>
            <a:spLocks noGrp="1"/>
          </p:cNvSpPr>
          <p:nvPr>
            <p:ph type="title"/>
          </p:nvPr>
        </p:nvSpPr>
        <p:spPr>
          <a:xfrm>
            <a:off x="669924" y="1"/>
            <a:ext cx="10850563" cy="1028699"/>
          </a:xfrm>
        </p:spPr>
        <p:txBody>
          <a:bodyPr/>
          <a:lstStyle/>
          <a:p>
            <a:r>
              <a:rPr lang="en-US" altLang="zh-CN" dirty="0"/>
              <a:t>UML</a:t>
            </a:r>
            <a:r>
              <a:rPr lang="zh-CN" altLang="en-US" dirty="0"/>
              <a:t>类图</a:t>
            </a:r>
          </a:p>
        </p:txBody>
      </p:sp>
      <p:sp>
        <p:nvSpPr>
          <p:cNvPr id="6" name="文本框 5">
            <a:extLst>
              <a:ext uri="{FF2B5EF4-FFF2-40B4-BE49-F238E27FC236}">
                <a16:creationId xmlns:a16="http://schemas.microsoft.com/office/drawing/2014/main" id="{AD4EF72B-B237-4531-96CB-FAD2B6E29EE8}"/>
              </a:ext>
            </a:extLst>
          </p:cNvPr>
          <p:cNvSpPr txBox="1"/>
          <p:nvPr/>
        </p:nvSpPr>
        <p:spPr>
          <a:xfrm>
            <a:off x="669924" y="1238348"/>
            <a:ext cx="7588572" cy="646331"/>
          </a:xfrm>
          <a:prstGeom prst="rect">
            <a:avLst/>
          </a:prstGeom>
          <a:noFill/>
        </p:spPr>
        <p:txBody>
          <a:bodyPr wrap="square" rtlCol="0">
            <a:spAutoFit/>
          </a:bodyPr>
          <a:lstStyle/>
          <a:p>
            <a:pPr algn="l"/>
            <a:r>
              <a:rPr lang="en-US" altLang="zh-CN" b="1" i="0" dirty="0">
                <a:effectLst/>
                <a:latin typeface="+mj-ea"/>
                <a:ea typeface="+mj-ea"/>
              </a:rPr>
              <a:t>2</a:t>
            </a:r>
            <a:r>
              <a:rPr lang="zh-CN" altLang="en-US" b="1" i="0" dirty="0">
                <a:effectLst/>
                <a:latin typeface="+mj-ea"/>
                <a:ea typeface="+mj-ea"/>
              </a:rPr>
              <a:t>、接口</a:t>
            </a:r>
          </a:p>
          <a:p>
            <a:pPr algn="l"/>
            <a:r>
              <a:rPr lang="zh-CN" altLang="en-US" b="0" i="0" dirty="0">
                <a:effectLst/>
                <a:latin typeface="-apple-system"/>
              </a:rPr>
              <a:t>​ 一组操作的集合，只有操作的声明而没有实现</a:t>
            </a:r>
          </a:p>
        </p:txBody>
      </p:sp>
      <p:grpSp>
        <p:nvGrpSpPr>
          <p:cNvPr id="126" name="组合 125">
            <a:extLst>
              <a:ext uri="{FF2B5EF4-FFF2-40B4-BE49-F238E27FC236}">
                <a16:creationId xmlns:a16="http://schemas.microsoft.com/office/drawing/2014/main" id="{1DC0C2F1-9738-41E7-81F6-362198F3177B}"/>
              </a:ext>
            </a:extLst>
          </p:cNvPr>
          <p:cNvGrpSpPr/>
          <p:nvPr/>
        </p:nvGrpSpPr>
        <p:grpSpPr>
          <a:xfrm>
            <a:off x="10440193" y="68734"/>
            <a:ext cx="1080294" cy="1067017"/>
            <a:chOff x="4239419" y="1802606"/>
            <a:chExt cx="3713163" cy="3938588"/>
          </a:xfrm>
        </p:grpSpPr>
        <p:sp>
          <p:nvSpPr>
            <p:cNvPr id="127" name="Freeform 5">
              <a:extLst>
                <a:ext uri="{FF2B5EF4-FFF2-40B4-BE49-F238E27FC236}">
                  <a16:creationId xmlns:a16="http://schemas.microsoft.com/office/drawing/2014/main" id="{EFC19AB8-DD1E-4452-82DE-EF85C5345860}"/>
                </a:ext>
              </a:extLst>
            </p:cNvPr>
            <p:cNvSpPr>
              <a:spLocks/>
            </p:cNvSpPr>
            <p:nvPr/>
          </p:nvSpPr>
          <p:spPr bwMode="auto">
            <a:xfrm>
              <a:off x="4888706" y="1837531"/>
              <a:ext cx="3008313" cy="3455988"/>
            </a:xfrm>
            <a:custGeom>
              <a:avLst/>
              <a:gdLst>
                <a:gd name="T0" fmla="*/ 1061 w 1706"/>
                <a:gd name="T1" fmla="*/ 1952 h 1960"/>
                <a:gd name="T2" fmla="*/ 32 w 1706"/>
                <a:gd name="T3" fmla="*/ 1539 h 1960"/>
                <a:gd name="T4" fmla="*/ 9 w 1706"/>
                <a:gd name="T5" fmla="*/ 1485 h 1960"/>
                <a:gd name="T6" fmla="*/ 592 w 1706"/>
                <a:gd name="T7" fmla="*/ 32 h 1960"/>
                <a:gd name="T8" fmla="*/ 646 w 1706"/>
                <a:gd name="T9" fmla="*/ 9 h 1960"/>
                <a:gd name="T10" fmla="*/ 1674 w 1706"/>
                <a:gd name="T11" fmla="*/ 421 h 1960"/>
                <a:gd name="T12" fmla="*/ 1698 w 1706"/>
                <a:gd name="T13" fmla="*/ 475 h 1960"/>
                <a:gd name="T14" fmla="*/ 1115 w 1706"/>
                <a:gd name="T15" fmla="*/ 1929 h 1960"/>
                <a:gd name="T16" fmla="*/ 1061 w 1706"/>
                <a:gd name="T17" fmla="*/ 1952 h 19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06" h="1960">
                  <a:moveTo>
                    <a:pt x="1061" y="1952"/>
                  </a:moveTo>
                  <a:cubicBezTo>
                    <a:pt x="32" y="1539"/>
                    <a:pt x="32" y="1539"/>
                    <a:pt x="32" y="1539"/>
                  </a:cubicBezTo>
                  <a:cubicBezTo>
                    <a:pt x="11" y="1531"/>
                    <a:pt x="0" y="1507"/>
                    <a:pt x="9" y="1485"/>
                  </a:cubicBezTo>
                  <a:cubicBezTo>
                    <a:pt x="592" y="32"/>
                    <a:pt x="592" y="32"/>
                    <a:pt x="592" y="32"/>
                  </a:cubicBezTo>
                  <a:cubicBezTo>
                    <a:pt x="601" y="11"/>
                    <a:pt x="625" y="0"/>
                    <a:pt x="646" y="9"/>
                  </a:cubicBezTo>
                  <a:cubicBezTo>
                    <a:pt x="1674" y="421"/>
                    <a:pt x="1674" y="421"/>
                    <a:pt x="1674" y="421"/>
                  </a:cubicBezTo>
                  <a:cubicBezTo>
                    <a:pt x="1696" y="430"/>
                    <a:pt x="1706" y="454"/>
                    <a:pt x="1698" y="475"/>
                  </a:cubicBezTo>
                  <a:cubicBezTo>
                    <a:pt x="1115" y="1929"/>
                    <a:pt x="1115" y="1929"/>
                    <a:pt x="1115" y="1929"/>
                  </a:cubicBezTo>
                  <a:cubicBezTo>
                    <a:pt x="1106" y="1950"/>
                    <a:pt x="1082" y="1960"/>
                    <a:pt x="1061" y="1952"/>
                  </a:cubicBezTo>
                  <a:close/>
                </a:path>
              </a:pathLst>
            </a:custGeom>
            <a:solidFill>
              <a:srgbClr val="424242">
                <a:alpha val="20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8" name="Freeform 6">
              <a:extLst>
                <a:ext uri="{FF2B5EF4-FFF2-40B4-BE49-F238E27FC236}">
                  <a16:creationId xmlns:a16="http://schemas.microsoft.com/office/drawing/2014/main" id="{DC027539-F95C-4F53-80F9-00814C589D1A}"/>
                </a:ext>
              </a:extLst>
            </p:cNvPr>
            <p:cNvSpPr>
              <a:spLocks/>
            </p:cNvSpPr>
            <p:nvPr/>
          </p:nvSpPr>
          <p:spPr bwMode="auto">
            <a:xfrm>
              <a:off x="4944269" y="1802606"/>
              <a:ext cx="3008313" cy="3455988"/>
            </a:xfrm>
            <a:custGeom>
              <a:avLst/>
              <a:gdLst>
                <a:gd name="T0" fmla="*/ 1061 w 1706"/>
                <a:gd name="T1" fmla="*/ 1952 h 1960"/>
                <a:gd name="T2" fmla="*/ 32 w 1706"/>
                <a:gd name="T3" fmla="*/ 1539 h 1960"/>
                <a:gd name="T4" fmla="*/ 9 w 1706"/>
                <a:gd name="T5" fmla="*/ 1485 h 1960"/>
                <a:gd name="T6" fmla="*/ 592 w 1706"/>
                <a:gd name="T7" fmla="*/ 32 h 1960"/>
                <a:gd name="T8" fmla="*/ 646 w 1706"/>
                <a:gd name="T9" fmla="*/ 9 h 1960"/>
                <a:gd name="T10" fmla="*/ 1674 w 1706"/>
                <a:gd name="T11" fmla="*/ 421 h 1960"/>
                <a:gd name="T12" fmla="*/ 1698 w 1706"/>
                <a:gd name="T13" fmla="*/ 475 h 1960"/>
                <a:gd name="T14" fmla="*/ 1115 w 1706"/>
                <a:gd name="T15" fmla="*/ 1929 h 1960"/>
                <a:gd name="T16" fmla="*/ 1061 w 1706"/>
                <a:gd name="T17" fmla="*/ 1952 h 19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06" h="1960">
                  <a:moveTo>
                    <a:pt x="1061" y="1952"/>
                  </a:moveTo>
                  <a:cubicBezTo>
                    <a:pt x="32" y="1539"/>
                    <a:pt x="32" y="1539"/>
                    <a:pt x="32" y="1539"/>
                  </a:cubicBezTo>
                  <a:cubicBezTo>
                    <a:pt x="11" y="1531"/>
                    <a:pt x="0" y="1507"/>
                    <a:pt x="9" y="1485"/>
                  </a:cubicBezTo>
                  <a:cubicBezTo>
                    <a:pt x="592" y="32"/>
                    <a:pt x="592" y="32"/>
                    <a:pt x="592" y="32"/>
                  </a:cubicBezTo>
                  <a:cubicBezTo>
                    <a:pt x="601" y="11"/>
                    <a:pt x="625" y="0"/>
                    <a:pt x="646" y="9"/>
                  </a:cubicBezTo>
                  <a:cubicBezTo>
                    <a:pt x="1674" y="421"/>
                    <a:pt x="1674" y="421"/>
                    <a:pt x="1674" y="421"/>
                  </a:cubicBezTo>
                  <a:cubicBezTo>
                    <a:pt x="1696" y="430"/>
                    <a:pt x="1706" y="454"/>
                    <a:pt x="1698" y="475"/>
                  </a:cubicBezTo>
                  <a:cubicBezTo>
                    <a:pt x="1115" y="1929"/>
                    <a:pt x="1115" y="1929"/>
                    <a:pt x="1115" y="1929"/>
                  </a:cubicBezTo>
                  <a:cubicBezTo>
                    <a:pt x="1106" y="1950"/>
                    <a:pt x="1082" y="1960"/>
                    <a:pt x="1061" y="1952"/>
                  </a:cubicBezTo>
                  <a:close/>
                </a:path>
              </a:pathLst>
            </a:custGeom>
            <a:solidFill>
              <a:srgbClr val="E4E4E4"/>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29" name="Freeform 7">
              <a:extLst>
                <a:ext uri="{FF2B5EF4-FFF2-40B4-BE49-F238E27FC236}">
                  <a16:creationId xmlns:a16="http://schemas.microsoft.com/office/drawing/2014/main" id="{86C72124-010E-4EAB-AF5E-A53C0D0B786F}"/>
                </a:ext>
              </a:extLst>
            </p:cNvPr>
            <p:cNvSpPr>
              <a:spLocks/>
            </p:cNvSpPr>
            <p:nvPr/>
          </p:nvSpPr>
          <p:spPr bwMode="auto">
            <a:xfrm>
              <a:off x="4944269" y="1802606"/>
              <a:ext cx="1427163" cy="2827338"/>
            </a:xfrm>
            <a:custGeom>
              <a:avLst/>
              <a:gdLst>
                <a:gd name="T0" fmla="*/ 194 w 809"/>
                <a:gd name="T1" fmla="*/ 1604 h 1604"/>
                <a:gd name="T2" fmla="*/ 32 w 809"/>
                <a:gd name="T3" fmla="*/ 1539 h 1604"/>
                <a:gd name="T4" fmla="*/ 9 w 809"/>
                <a:gd name="T5" fmla="*/ 1486 h 1604"/>
                <a:gd name="T6" fmla="*/ 592 w 809"/>
                <a:gd name="T7" fmla="*/ 32 h 1604"/>
                <a:gd name="T8" fmla="*/ 646 w 809"/>
                <a:gd name="T9" fmla="*/ 9 h 1604"/>
                <a:gd name="T10" fmla="*/ 809 w 809"/>
                <a:gd name="T11" fmla="*/ 74 h 1604"/>
                <a:gd name="T12" fmla="*/ 195 w 809"/>
                <a:gd name="T13" fmla="*/ 1604 h 1604"/>
                <a:gd name="T14" fmla="*/ 194 w 809"/>
                <a:gd name="T15" fmla="*/ 1604 h 16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9" h="1604">
                  <a:moveTo>
                    <a:pt x="194" y="1604"/>
                  </a:moveTo>
                  <a:cubicBezTo>
                    <a:pt x="32" y="1539"/>
                    <a:pt x="32" y="1539"/>
                    <a:pt x="32" y="1539"/>
                  </a:cubicBezTo>
                  <a:cubicBezTo>
                    <a:pt x="11" y="1531"/>
                    <a:pt x="0" y="1507"/>
                    <a:pt x="9" y="1486"/>
                  </a:cubicBezTo>
                  <a:cubicBezTo>
                    <a:pt x="592" y="32"/>
                    <a:pt x="592" y="32"/>
                    <a:pt x="592" y="32"/>
                  </a:cubicBezTo>
                  <a:cubicBezTo>
                    <a:pt x="601" y="10"/>
                    <a:pt x="625" y="0"/>
                    <a:pt x="646" y="9"/>
                  </a:cubicBezTo>
                  <a:cubicBezTo>
                    <a:pt x="809" y="74"/>
                    <a:pt x="809" y="74"/>
                    <a:pt x="809" y="74"/>
                  </a:cubicBezTo>
                  <a:cubicBezTo>
                    <a:pt x="195" y="1604"/>
                    <a:pt x="195" y="1604"/>
                    <a:pt x="195" y="1604"/>
                  </a:cubicBezTo>
                  <a:cubicBezTo>
                    <a:pt x="195" y="1604"/>
                    <a:pt x="194" y="1604"/>
                    <a:pt x="194" y="1604"/>
                  </a:cubicBezTo>
                  <a:close/>
                </a:path>
              </a:pathLst>
            </a:custGeom>
            <a:solidFill>
              <a:srgbClr val="C1C0BF"/>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30" name="Freeform 8">
              <a:extLst>
                <a:ext uri="{FF2B5EF4-FFF2-40B4-BE49-F238E27FC236}">
                  <a16:creationId xmlns:a16="http://schemas.microsoft.com/office/drawing/2014/main" id="{8571DE63-0356-4765-A3E4-5C55AF1CDE96}"/>
                </a:ext>
              </a:extLst>
            </p:cNvPr>
            <p:cNvSpPr>
              <a:spLocks/>
            </p:cNvSpPr>
            <p:nvPr/>
          </p:nvSpPr>
          <p:spPr bwMode="auto">
            <a:xfrm>
              <a:off x="4291806" y="1967706"/>
              <a:ext cx="1431925" cy="2081213"/>
            </a:xfrm>
            <a:custGeom>
              <a:avLst/>
              <a:gdLst>
                <a:gd name="T0" fmla="*/ 775 w 812"/>
                <a:gd name="T1" fmla="*/ 1108 h 1180"/>
                <a:gd name="T2" fmla="*/ 163 w 812"/>
                <a:gd name="T3" fmla="*/ 1178 h 1180"/>
                <a:gd name="T4" fmla="*/ 120 w 812"/>
                <a:gd name="T5" fmla="*/ 1144 h 1180"/>
                <a:gd name="T6" fmla="*/ 2 w 812"/>
                <a:gd name="T7" fmla="*/ 115 h 1180"/>
                <a:gd name="T8" fmla="*/ 36 w 812"/>
                <a:gd name="T9" fmla="*/ 72 h 1180"/>
                <a:gd name="T10" fmla="*/ 649 w 812"/>
                <a:gd name="T11" fmla="*/ 2 h 1180"/>
                <a:gd name="T12" fmla="*/ 692 w 812"/>
                <a:gd name="T13" fmla="*/ 36 h 1180"/>
                <a:gd name="T14" fmla="*/ 809 w 812"/>
                <a:gd name="T15" fmla="*/ 1065 h 1180"/>
                <a:gd name="T16" fmla="*/ 775 w 812"/>
                <a:gd name="T17" fmla="*/ 1108 h 1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2" h="1180">
                  <a:moveTo>
                    <a:pt x="775" y="1108"/>
                  </a:moveTo>
                  <a:cubicBezTo>
                    <a:pt x="163" y="1178"/>
                    <a:pt x="163" y="1178"/>
                    <a:pt x="163" y="1178"/>
                  </a:cubicBezTo>
                  <a:cubicBezTo>
                    <a:pt x="141" y="1180"/>
                    <a:pt x="122" y="1165"/>
                    <a:pt x="120" y="1144"/>
                  </a:cubicBezTo>
                  <a:cubicBezTo>
                    <a:pt x="2" y="115"/>
                    <a:pt x="2" y="115"/>
                    <a:pt x="2" y="115"/>
                  </a:cubicBezTo>
                  <a:cubicBezTo>
                    <a:pt x="0" y="94"/>
                    <a:pt x="15" y="75"/>
                    <a:pt x="36" y="72"/>
                  </a:cubicBezTo>
                  <a:cubicBezTo>
                    <a:pt x="649" y="2"/>
                    <a:pt x="649" y="2"/>
                    <a:pt x="649" y="2"/>
                  </a:cubicBezTo>
                  <a:cubicBezTo>
                    <a:pt x="670" y="0"/>
                    <a:pt x="689" y="15"/>
                    <a:pt x="692" y="36"/>
                  </a:cubicBezTo>
                  <a:cubicBezTo>
                    <a:pt x="809" y="1065"/>
                    <a:pt x="809" y="1065"/>
                    <a:pt x="809" y="1065"/>
                  </a:cubicBezTo>
                  <a:cubicBezTo>
                    <a:pt x="812" y="1086"/>
                    <a:pt x="796" y="1105"/>
                    <a:pt x="775" y="1108"/>
                  </a:cubicBezTo>
                  <a:close/>
                </a:path>
              </a:pathLst>
            </a:custGeom>
            <a:solidFill>
              <a:srgbClr val="424242">
                <a:alpha val="20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31" name="Freeform 9">
              <a:extLst>
                <a:ext uri="{FF2B5EF4-FFF2-40B4-BE49-F238E27FC236}">
                  <a16:creationId xmlns:a16="http://schemas.microsoft.com/office/drawing/2014/main" id="{875D7BCF-A630-497B-8704-AEA1F08B7D18}"/>
                </a:ext>
              </a:extLst>
            </p:cNvPr>
            <p:cNvSpPr>
              <a:spLocks/>
            </p:cNvSpPr>
            <p:nvPr/>
          </p:nvSpPr>
          <p:spPr bwMode="auto">
            <a:xfrm>
              <a:off x="4334669" y="1918494"/>
              <a:ext cx="1431925" cy="2081213"/>
            </a:xfrm>
            <a:custGeom>
              <a:avLst/>
              <a:gdLst>
                <a:gd name="T0" fmla="*/ 775 w 812"/>
                <a:gd name="T1" fmla="*/ 1108 h 1180"/>
                <a:gd name="T2" fmla="*/ 163 w 812"/>
                <a:gd name="T3" fmla="*/ 1178 h 1180"/>
                <a:gd name="T4" fmla="*/ 120 w 812"/>
                <a:gd name="T5" fmla="*/ 1144 h 1180"/>
                <a:gd name="T6" fmla="*/ 2 w 812"/>
                <a:gd name="T7" fmla="*/ 115 h 1180"/>
                <a:gd name="T8" fmla="*/ 36 w 812"/>
                <a:gd name="T9" fmla="*/ 72 h 1180"/>
                <a:gd name="T10" fmla="*/ 649 w 812"/>
                <a:gd name="T11" fmla="*/ 2 h 1180"/>
                <a:gd name="T12" fmla="*/ 692 w 812"/>
                <a:gd name="T13" fmla="*/ 36 h 1180"/>
                <a:gd name="T14" fmla="*/ 809 w 812"/>
                <a:gd name="T15" fmla="*/ 1065 h 1180"/>
                <a:gd name="T16" fmla="*/ 775 w 812"/>
                <a:gd name="T17" fmla="*/ 1108 h 1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2" h="1180">
                  <a:moveTo>
                    <a:pt x="775" y="1108"/>
                  </a:moveTo>
                  <a:cubicBezTo>
                    <a:pt x="163" y="1178"/>
                    <a:pt x="163" y="1178"/>
                    <a:pt x="163" y="1178"/>
                  </a:cubicBezTo>
                  <a:cubicBezTo>
                    <a:pt x="141" y="1180"/>
                    <a:pt x="122" y="1165"/>
                    <a:pt x="120" y="1144"/>
                  </a:cubicBezTo>
                  <a:cubicBezTo>
                    <a:pt x="2" y="115"/>
                    <a:pt x="2" y="115"/>
                    <a:pt x="2" y="115"/>
                  </a:cubicBezTo>
                  <a:cubicBezTo>
                    <a:pt x="0" y="94"/>
                    <a:pt x="15" y="75"/>
                    <a:pt x="36" y="72"/>
                  </a:cubicBezTo>
                  <a:cubicBezTo>
                    <a:pt x="649" y="2"/>
                    <a:pt x="649" y="2"/>
                    <a:pt x="649" y="2"/>
                  </a:cubicBezTo>
                  <a:cubicBezTo>
                    <a:pt x="670" y="0"/>
                    <a:pt x="689" y="15"/>
                    <a:pt x="692" y="36"/>
                  </a:cubicBezTo>
                  <a:cubicBezTo>
                    <a:pt x="809" y="1065"/>
                    <a:pt x="809" y="1065"/>
                    <a:pt x="809" y="1065"/>
                  </a:cubicBezTo>
                  <a:cubicBezTo>
                    <a:pt x="812" y="1086"/>
                    <a:pt x="796" y="1105"/>
                    <a:pt x="775" y="1108"/>
                  </a:cubicBezTo>
                  <a:close/>
                </a:path>
              </a:pathLst>
            </a:custGeom>
            <a:solidFill>
              <a:srgbClr val="1B4771"/>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32" name="Freeform 10">
              <a:extLst>
                <a:ext uri="{FF2B5EF4-FFF2-40B4-BE49-F238E27FC236}">
                  <a16:creationId xmlns:a16="http://schemas.microsoft.com/office/drawing/2014/main" id="{BAA0F5BB-A4A7-4D56-83DE-AC83AF98351B}"/>
                </a:ext>
              </a:extLst>
            </p:cNvPr>
            <p:cNvSpPr>
              <a:spLocks/>
            </p:cNvSpPr>
            <p:nvPr/>
          </p:nvSpPr>
          <p:spPr bwMode="auto">
            <a:xfrm>
              <a:off x="4415631" y="1918494"/>
              <a:ext cx="1350963" cy="2071688"/>
            </a:xfrm>
            <a:custGeom>
              <a:avLst/>
              <a:gdLst>
                <a:gd name="T0" fmla="*/ 730 w 766"/>
                <a:gd name="T1" fmla="*/ 1108 h 1175"/>
                <a:gd name="T2" fmla="*/ 162 w 766"/>
                <a:gd name="T3" fmla="*/ 1173 h 1175"/>
                <a:gd name="T4" fmla="*/ 120 w 766"/>
                <a:gd name="T5" fmla="*/ 1140 h 1175"/>
                <a:gd name="T6" fmla="*/ 2 w 766"/>
                <a:gd name="T7" fmla="*/ 109 h 1175"/>
                <a:gd name="T8" fmla="*/ 35 w 766"/>
                <a:gd name="T9" fmla="*/ 67 h 1175"/>
                <a:gd name="T10" fmla="*/ 604 w 766"/>
                <a:gd name="T11" fmla="*/ 2 h 1175"/>
                <a:gd name="T12" fmla="*/ 646 w 766"/>
                <a:gd name="T13" fmla="*/ 35 h 1175"/>
                <a:gd name="T14" fmla="*/ 763 w 766"/>
                <a:gd name="T15" fmla="*/ 1066 h 1175"/>
                <a:gd name="T16" fmla="*/ 730 w 766"/>
                <a:gd name="T17" fmla="*/ 1108 h 1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6" h="1175">
                  <a:moveTo>
                    <a:pt x="730" y="1108"/>
                  </a:moveTo>
                  <a:cubicBezTo>
                    <a:pt x="162" y="1173"/>
                    <a:pt x="162" y="1173"/>
                    <a:pt x="162" y="1173"/>
                  </a:cubicBezTo>
                  <a:cubicBezTo>
                    <a:pt x="141" y="1175"/>
                    <a:pt x="122" y="1160"/>
                    <a:pt x="120" y="1140"/>
                  </a:cubicBezTo>
                  <a:cubicBezTo>
                    <a:pt x="2" y="109"/>
                    <a:pt x="2" y="109"/>
                    <a:pt x="2" y="109"/>
                  </a:cubicBezTo>
                  <a:cubicBezTo>
                    <a:pt x="0" y="88"/>
                    <a:pt x="15" y="69"/>
                    <a:pt x="35" y="67"/>
                  </a:cubicBezTo>
                  <a:cubicBezTo>
                    <a:pt x="604" y="2"/>
                    <a:pt x="604" y="2"/>
                    <a:pt x="604" y="2"/>
                  </a:cubicBezTo>
                  <a:cubicBezTo>
                    <a:pt x="625" y="0"/>
                    <a:pt x="643" y="14"/>
                    <a:pt x="646" y="35"/>
                  </a:cubicBezTo>
                  <a:cubicBezTo>
                    <a:pt x="763" y="1066"/>
                    <a:pt x="763" y="1066"/>
                    <a:pt x="763" y="1066"/>
                  </a:cubicBezTo>
                  <a:cubicBezTo>
                    <a:pt x="766" y="1087"/>
                    <a:pt x="751" y="1105"/>
                    <a:pt x="730" y="1108"/>
                  </a:cubicBezTo>
                  <a:close/>
                </a:path>
              </a:pathLst>
            </a:custGeom>
            <a:solidFill>
              <a:srgbClr val="417DBB"/>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33" name="Freeform 11">
              <a:extLst>
                <a:ext uri="{FF2B5EF4-FFF2-40B4-BE49-F238E27FC236}">
                  <a16:creationId xmlns:a16="http://schemas.microsoft.com/office/drawing/2014/main" id="{F97D3F5B-4953-4582-B499-512E9B8B9C1D}"/>
                </a:ext>
              </a:extLst>
            </p:cNvPr>
            <p:cNvSpPr>
              <a:spLocks/>
            </p:cNvSpPr>
            <p:nvPr/>
          </p:nvSpPr>
          <p:spPr bwMode="auto">
            <a:xfrm>
              <a:off x="4415631" y="1918494"/>
              <a:ext cx="1209675" cy="819150"/>
            </a:xfrm>
            <a:custGeom>
              <a:avLst/>
              <a:gdLst>
                <a:gd name="T0" fmla="*/ 686 w 686"/>
                <a:gd name="T1" fmla="*/ 391 h 465"/>
                <a:gd name="T2" fmla="*/ 646 w 686"/>
                <a:gd name="T3" fmla="*/ 35 h 465"/>
                <a:gd name="T4" fmla="*/ 604 w 686"/>
                <a:gd name="T5" fmla="*/ 2 h 465"/>
                <a:gd name="T6" fmla="*/ 35 w 686"/>
                <a:gd name="T7" fmla="*/ 67 h 465"/>
                <a:gd name="T8" fmla="*/ 2 w 686"/>
                <a:gd name="T9" fmla="*/ 109 h 465"/>
                <a:gd name="T10" fmla="*/ 43 w 686"/>
                <a:gd name="T11" fmla="*/ 465 h 465"/>
                <a:gd name="T12" fmla="*/ 686 w 686"/>
                <a:gd name="T13" fmla="*/ 391 h 465"/>
              </a:gdLst>
              <a:ahLst/>
              <a:cxnLst>
                <a:cxn ang="0">
                  <a:pos x="T0" y="T1"/>
                </a:cxn>
                <a:cxn ang="0">
                  <a:pos x="T2" y="T3"/>
                </a:cxn>
                <a:cxn ang="0">
                  <a:pos x="T4" y="T5"/>
                </a:cxn>
                <a:cxn ang="0">
                  <a:pos x="T6" y="T7"/>
                </a:cxn>
                <a:cxn ang="0">
                  <a:pos x="T8" y="T9"/>
                </a:cxn>
                <a:cxn ang="0">
                  <a:pos x="T10" y="T11"/>
                </a:cxn>
                <a:cxn ang="0">
                  <a:pos x="T12" y="T13"/>
                </a:cxn>
              </a:cxnLst>
              <a:rect l="0" t="0" r="r" b="b"/>
              <a:pathLst>
                <a:path w="686" h="465">
                  <a:moveTo>
                    <a:pt x="686" y="391"/>
                  </a:moveTo>
                  <a:cubicBezTo>
                    <a:pt x="646" y="35"/>
                    <a:pt x="646" y="35"/>
                    <a:pt x="646" y="35"/>
                  </a:cubicBezTo>
                  <a:cubicBezTo>
                    <a:pt x="643" y="14"/>
                    <a:pt x="625" y="0"/>
                    <a:pt x="604" y="2"/>
                  </a:cubicBezTo>
                  <a:cubicBezTo>
                    <a:pt x="35" y="67"/>
                    <a:pt x="35" y="67"/>
                    <a:pt x="35" y="67"/>
                  </a:cubicBezTo>
                  <a:cubicBezTo>
                    <a:pt x="15" y="69"/>
                    <a:pt x="0" y="88"/>
                    <a:pt x="2" y="109"/>
                  </a:cubicBezTo>
                  <a:cubicBezTo>
                    <a:pt x="43" y="465"/>
                    <a:pt x="43" y="465"/>
                    <a:pt x="43" y="465"/>
                  </a:cubicBezTo>
                  <a:lnTo>
                    <a:pt x="686" y="391"/>
                  </a:lnTo>
                  <a:close/>
                </a:path>
              </a:pathLst>
            </a:custGeom>
            <a:solidFill>
              <a:srgbClr val="336290"/>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34" name="Freeform 12">
              <a:extLst>
                <a:ext uri="{FF2B5EF4-FFF2-40B4-BE49-F238E27FC236}">
                  <a16:creationId xmlns:a16="http://schemas.microsoft.com/office/drawing/2014/main" id="{636A327B-0A95-4CEB-A5AC-3AE3BBD3EF25}"/>
                </a:ext>
              </a:extLst>
            </p:cNvPr>
            <p:cNvSpPr>
              <a:spLocks/>
            </p:cNvSpPr>
            <p:nvPr/>
          </p:nvSpPr>
          <p:spPr bwMode="auto">
            <a:xfrm>
              <a:off x="4542631" y="2067719"/>
              <a:ext cx="957263" cy="555625"/>
            </a:xfrm>
            <a:custGeom>
              <a:avLst/>
              <a:gdLst>
                <a:gd name="T0" fmla="*/ 527 w 543"/>
                <a:gd name="T1" fmla="*/ 259 h 315"/>
                <a:gd name="T2" fmla="*/ 46 w 543"/>
                <a:gd name="T3" fmla="*/ 314 h 315"/>
                <a:gd name="T4" fmla="*/ 27 w 543"/>
                <a:gd name="T5" fmla="*/ 299 h 315"/>
                <a:gd name="T6" fmla="*/ 1 w 543"/>
                <a:gd name="T7" fmla="*/ 75 h 315"/>
                <a:gd name="T8" fmla="*/ 16 w 543"/>
                <a:gd name="T9" fmla="*/ 56 h 315"/>
                <a:gd name="T10" fmla="*/ 498 w 543"/>
                <a:gd name="T11" fmla="*/ 1 h 315"/>
                <a:gd name="T12" fmla="*/ 516 w 543"/>
                <a:gd name="T13" fmla="*/ 16 h 315"/>
                <a:gd name="T14" fmla="*/ 542 w 543"/>
                <a:gd name="T15" fmla="*/ 241 h 315"/>
                <a:gd name="T16" fmla="*/ 527 w 543"/>
                <a:gd name="T17" fmla="*/ 259 h 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3" h="315">
                  <a:moveTo>
                    <a:pt x="527" y="259"/>
                  </a:moveTo>
                  <a:cubicBezTo>
                    <a:pt x="46" y="314"/>
                    <a:pt x="46" y="314"/>
                    <a:pt x="46" y="314"/>
                  </a:cubicBezTo>
                  <a:cubicBezTo>
                    <a:pt x="36" y="315"/>
                    <a:pt x="28" y="309"/>
                    <a:pt x="27" y="299"/>
                  </a:cubicBezTo>
                  <a:cubicBezTo>
                    <a:pt x="1" y="75"/>
                    <a:pt x="1" y="75"/>
                    <a:pt x="1" y="75"/>
                  </a:cubicBezTo>
                  <a:cubicBezTo>
                    <a:pt x="0" y="66"/>
                    <a:pt x="7" y="57"/>
                    <a:pt x="16" y="56"/>
                  </a:cubicBezTo>
                  <a:cubicBezTo>
                    <a:pt x="498" y="1"/>
                    <a:pt x="498" y="1"/>
                    <a:pt x="498" y="1"/>
                  </a:cubicBezTo>
                  <a:cubicBezTo>
                    <a:pt x="507" y="0"/>
                    <a:pt x="515" y="7"/>
                    <a:pt x="516" y="16"/>
                  </a:cubicBezTo>
                  <a:cubicBezTo>
                    <a:pt x="542" y="241"/>
                    <a:pt x="542" y="241"/>
                    <a:pt x="542" y="241"/>
                  </a:cubicBezTo>
                  <a:cubicBezTo>
                    <a:pt x="543" y="250"/>
                    <a:pt x="536" y="258"/>
                    <a:pt x="527" y="259"/>
                  </a:cubicBezTo>
                  <a:close/>
                </a:path>
              </a:pathLst>
            </a:custGeom>
            <a:solidFill>
              <a:srgbClr val="01B1E9"/>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35" name="Freeform 13">
              <a:extLst>
                <a:ext uri="{FF2B5EF4-FFF2-40B4-BE49-F238E27FC236}">
                  <a16:creationId xmlns:a16="http://schemas.microsoft.com/office/drawing/2014/main" id="{A2CD11F0-9BEA-409C-B692-31B8F733EE84}"/>
                </a:ext>
              </a:extLst>
            </p:cNvPr>
            <p:cNvSpPr>
              <a:spLocks/>
            </p:cNvSpPr>
            <p:nvPr/>
          </p:nvSpPr>
          <p:spPr bwMode="auto">
            <a:xfrm>
              <a:off x="5409406" y="2971006"/>
              <a:ext cx="217488" cy="320675"/>
            </a:xfrm>
            <a:custGeom>
              <a:avLst/>
              <a:gdLst>
                <a:gd name="T0" fmla="*/ 95 w 123"/>
                <a:gd name="T1" fmla="*/ 174 h 182"/>
                <a:gd name="T2" fmla="*/ 47 w 123"/>
                <a:gd name="T3" fmla="*/ 180 h 182"/>
                <a:gd name="T4" fmla="*/ 15 w 123"/>
                <a:gd name="T5" fmla="*/ 154 h 182"/>
                <a:gd name="T6" fmla="*/ 2 w 123"/>
                <a:gd name="T7" fmla="*/ 40 h 182"/>
                <a:gd name="T8" fmla="*/ 28 w 123"/>
                <a:gd name="T9" fmla="*/ 7 h 182"/>
                <a:gd name="T10" fmla="*/ 75 w 123"/>
                <a:gd name="T11" fmla="*/ 2 h 182"/>
                <a:gd name="T12" fmla="*/ 108 w 123"/>
                <a:gd name="T13" fmla="*/ 28 h 182"/>
                <a:gd name="T14" fmla="*/ 121 w 123"/>
                <a:gd name="T15" fmla="*/ 142 h 182"/>
                <a:gd name="T16" fmla="*/ 95 w 123"/>
                <a:gd name="T17" fmla="*/ 174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182">
                  <a:moveTo>
                    <a:pt x="95" y="174"/>
                  </a:moveTo>
                  <a:cubicBezTo>
                    <a:pt x="47" y="180"/>
                    <a:pt x="47" y="180"/>
                    <a:pt x="47" y="180"/>
                  </a:cubicBezTo>
                  <a:cubicBezTo>
                    <a:pt x="31" y="182"/>
                    <a:pt x="16" y="170"/>
                    <a:pt x="15" y="154"/>
                  </a:cubicBezTo>
                  <a:cubicBezTo>
                    <a:pt x="2" y="40"/>
                    <a:pt x="2" y="40"/>
                    <a:pt x="2" y="40"/>
                  </a:cubicBezTo>
                  <a:cubicBezTo>
                    <a:pt x="0" y="24"/>
                    <a:pt x="11" y="9"/>
                    <a:pt x="28" y="7"/>
                  </a:cubicBezTo>
                  <a:cubicBezTo>
                    <a:pt x="75" y="2"/>
                    <a:pt x="75" y="2"/>
                    <a:pt x="75" y="2"/>
                  </a:cubicBezTo>
                  <a:cubicBezTo>
                    <a:pt x="91" y="0"/>
                    <a:pt x="106" y="11"/>
                    <a:pt x="108" y="28"/>
                  </a:cubicBezTo>
                  <a:cubicBezTo>
                    <a:pt x="121" y="142"/>
                    <a:pt x="121" y="142"/>
                    <a:pt x="121" y="142"/>
                  </a:cubicBezTo>
                  <a:cubicBezTo>
                    <a:pt x="123" y="158"/>
                    <a:pt x="111" y="172"/>
                    <a:pt x="95" y="174"/>
                  </a:cubicBezTo>
                  <a:close/>
                </a:path>
              </a:pathLst>
            </a:custGeom>
            <a:solidFill>
              <a:srgbClr val="06AEED"/>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36" name="Freeform 14">
              <a:extLst>
                <a:ext uri="{FF2B5EF4-FFF2-40B4-BE49-F238E27FC236}">
                  <a16:creationId xmlns:a16="http://schemas.microsoft.com/office/drawing/2014/main" id="{C8B0A36D-71F5-4D3A-97E1-765AE8611816}"/>
                </a:ext>
              </a:extLst>
            </p:cNvPr>
            <p:cNvSpPr>
              <a:spLocks/>
            </p:cNvSpPr>
            <p:nvPr/>
          </p:nvSpPr>
          <p:spPr bwMode="auto">
            <a:xfrm>
              <a:off x="5447506" y="3309144"/>
              <a:ext cx="200025" cy="168275"/>
            </a:xfrm>
            <a:custGeom>
              <a:avLst/>
              <a:gdLst>
                <a:gd name="T0" fmla="*/ 85 w 114"/>
                <a:gd name="T1" fmla="*/ 1 h 95"/>
                <a:gd name="T2" fmla="*/ 20 w 114"/>
                <a:gd name="T3" fmla="*/ 8 h 95"/>
                <a:gd name="T4" fmla="*/ 2 w 114"/>
                <a:gd name="T5" fmla="*/ 31 h 95"/>
                <a:gd name="T6" fmla="*/ 7 w 114"/>
                <a:gd name="T7" fmla="*/ 75 h 95"/>
                <a:gd name="T8" fmla="*/ 30 w 114"/>
                <a:gd name="T9" fmla="*/ 93 h 95"/>
                <a:gd name="T10" fmla="*/ 94 w 114"/>
                <a:gd name="T11" fmla="*/ 86 h 95"/>
                <a:gd name="T12" fmla="*/ 113 w 114"/>
                <a:gd name="T13" fmla="*/ 63 h 95"/>
                <a:gd name="T14" fmla="*/ 108 w 114"/>
                <a:gd name="T15" fmla="*/ 19 h 95"/>
                <a:gd name="T16" fmla="*/ 85 w 114"/>
                <a:gd name="T17" fmla="*/ 1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4" h="95">
                  <a:moveTo>
                    <a:pt x="85" y="1"/>
                  </a:moveTo>
                  <a:cubicBezTo>
                    <a:pt x="20" y="8"/>
                    <a:pt x="20" y="8"/>
                    <a:pt x="20" y="8"/>
                  </a:cubicBezTo>
                  <a:cubicBezTo>
                    <a:pt x="8" y="10"/>
                    <a:pt x="0" y="20"/>
                    <a:pt x="2" y="31"/>
                  </a:cubicBezTo>
                  <a:cubicBezTo>
                    <a:pt x="7" y="75"/>
                    <a:pt x="7" y="75"/>
                    <a:pt x="7" y="75"/>
                  </a:cubicBezTo>
                  <a:cubicBezTo>
                    <a:pt x="8" y="86"/>
                    <a:pt x="18" y="95"/>
                    <a:pt x="30" y="93"/>
                  </a:cubicBezTo>
                  <a:cubicBezTo>
                    <a:pt x="94" y="86"/>
                    <a:pt x="94" y="86"/>
                    <a:pt x="94" y="86"/>
                  </a:cubicBezTo>
                  <a:cubicBezTo>
                    <a:pt x="106" y="85"/>
                    <a:pt x="114" y="74"/>
                    <a:pt x="113" y="63"/>
                  </a:cubicBezTo>
                  <a:cubicBezTo>
                    <a:pt x="108" y="19"/>
                    <a:pt x="108" y="19"/>
                    <a:pt x="108" y="19"/>
                  </a:cubicBezTo>
                  <a:cubicBezTo>
                    <a:pt x="106" y="8"/>
                    <a:pt x="96" y="0"/>
                    <a:pt x="85" y="1"/>
                  </a:cubicBezTo>
                  <a:close/>
                </a:path>
              </a:pathLst>
            </a:custGeom>
            <a:solidFill>
              <a:srgbClr val="06AEED"/>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37" name="Freeform 15">
              <a:extLst>
                <a:ext uri="{FF2B5EF4-FFF2-40B4-BE49-F238E27FC236}">
                  <a16:creationId xmlns:a16="http://schemas.microsoft.com/office/drawing/2014/main" id="{1AAF0803-2FD3-400E-AC3E-C021C37D151B}"/>
                </a:ext>
              </a:extLst>
            </p:cNvPr>
            <p:cNvSpPr>
              <a:spLocks/>
            </p:cNvSpPr>
            <p:nvPr/>
          </p:nvSpPr>
          <p:spPr bwMode="auto">
            <a:xfrm>
              <a:off x="5469731" y="3505994"/>
              <a:ext cx="201613" cy="166688"/>
            </a:xfrm>
            <a:custGeom>
              <a:avLst/>
              <a:gdLst>
                <a:gd name="T0" fmla="*/ 84 w 114"/>
                <a:gd name="T1" fmla="*/ 1 h 95"/>
                <a:gd name="T2" fmla="*/ 20 w 114"/>
                <a:gd name="T3" fmla="*/ 8 h 95"/>
                <a:gd name="T4" fmla="*/ 1 w 114"/>
                <a:gd name="T5" fmla="*/ 31 h 95"/>
                <a:gd name="T6" fmla="*/ 6 w 114"/>
                <a:gd name="T7" fmla="*/ 75 h 95"/>
                <a:gd name="T8" fmla="*/ 29 w 114"/>
                <a:gd name="T9" fmla="*/ 93 h 95"/>
                <a:gd name="T10" fmla="*/ 94 w 114"/>
                <a:gd name="T11" fmla="*/ 86 h 95"/>
                <a:gd name="T12" fmla="*/ 112 w 114"/>
                <a:gd name="T13" fmla="*/ 63 h 95"/>
                <a:gd name="T14" fmla="*/ 107 w 114"/>
                <a:gd name="T15" fmla="*/ 19 h 95"/>
                <a:gd name="T16" fmla="*/ 84 w 114"/>
                <a:gd name="T17" fmla="*/ 1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4" h="95">
                  <a:moveTo>
                    <a:pt x="84" y="1"/>
                  </a:moveTo>
                  <a:cubicBezTo>
                    <a:pt x="20" y="8"/>
                    <a:pt x="20" y="8"/>
                    <a:pt x="20" y="8"/>
                  </a:cubicBezTo>
                  <a:cubicBezTo>
                    <a:pt x="8" y="10"/>
                    <a:pt x="0" y="20"/>
                    <a:pt x="1" y="31"/>
                  </a:cubicBezTo>
                  <a:cubicBezTo>
                    <a:pt x="6" y="75"/>
                    <a:pt x="6" y="75"/>
                    <a:pt x="6" y="75"/>
                  </a:cubicBezTo>
                  <a:cubicBezTo>
                    <a:pt x="8" y="86"/>
                    <a:pt x="18" y="95"/>
                    <a:pt x="29" y="93"/>
                  </a:cubicBezTo>
                  <a:cubicBezTo>
                    <a:pt x="94" y="86"/>
                    <a:pt x="94" y="86"/>
                    <a:pt x="94" y="86"/>
                  </a:cubicBezTo>
                  <a:cubicBezTo>
                    <a:pt x="106" y="85"/>
                    <a:pt x="114" y="74"/>
                    <a:pt x="112" y="63"/>
                  </a:cubicBezTo>
                  <a:cubicBezTo>
                    <a:pt x="107" y="19"/>
                    <a:pt x="107" y="19"/>
                    <a:pt x="107" y="19"/>
                  </a:cubicBezTo>
                  <a:cubicBezTo>
                    <a:pt x="106" y="8"/>
                    <a:pt x="96" y="0"/>
                    <a:pt x="84" y="1"/>
                  </a:cubicBezTo>
                  <a:close/>
                </a:path>
              </a:pathLst>
            </a:custGeom>
            <a:solidFill>
              <a:srgbClr val="06AEED"/>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38" name="Freeform 16">
              <a:extLst>
                <a:ext uri="{FF2B5EF4-FFF2-40B4-BE49-F238E27FC236}">
                  <a16:creationId xmlns:a16="http://schemas.microsoft.com/office/drawing/2014/main" id="{35961C2F-4A42-40C0-BB13-4FC120B9EC86}"/>
                </a:ext>
              </a:extLst>
            </p:cNvPr>
            <p:cNvSpPr>
              <a:spLocks/>
            </p:cNvSpPr>
            <p:nvPr/>
          </p:nvSpPr>
          <p:spPr bwMode="auto">
            <a:xfrm>
              <a:off x="4669631" y="3053556"/>
              <a:ext cx="196850" cy="133350"/>
            </a:xfrm>
            <a:custGeom>
              <a:avLst/>
              <a:gdLst>
                <a:gd name="T0" fmla="*/ 95 w 112"/>
                <a:gd name="T1" fmla="*/ 66 h 75"/>
                <a:gd name="T2" fmla="*/ 25 w 112"/>
                <a:gd name="T3" fmla="*/ 74 h 75"/>
                <a:gd name="T4" fmla="*/ 5 w 112"/>
                <a:gd name="T5" fmla="*/ 58 h 75"/>
                <a:gd name="T6" fmla="*/ 2 w 112"/>
                <a:gd name="T7" fmla="*/ 29 h 75"/>
                <a:gd name="T8" fmla="*/ 17 w 112"/>
                <a:gd name="T9" fmla="*/ 9 h 75"/>
                <a:gd name="T10" fmla="*/ 88 w 112"/>
                <a:gd name="T11" fmla="*/ 1 h 75"/>
                <a:gd name="T12" fmla="*/ 108 w 112"/>
                <a:gd name="T13" fmla="*/ 17 h 75"/>
                <a:gd name="T14" fmla="*/ 111 w 112"/>
                <a:gd name="T15" fmla="*/ 46 h 75"/>
                <a:gd name="T16" fmla="*/ 95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5" y="66"/>
                  </a:moveTo>
                  <a:cubicBezTo>
                    <a:pt x="25" y="74"/>
                    <a:pt x="25" y="74"/>
                    <a:pt x="25" y="74"/>
                  </a:cubicBezTo>
                  <a:cubicBezTo>
                    <a:pt x="15" y="75"/>
                    <a:pt x="6" y="68"/>
                    <a:pt x="5" y="58"/>
                  </a:cubicBezTo>
                  <a:cubicBezTo>
                    <a:pt x="2" y="29"/>
                    <a:pt x="2" y="29"/>
                    <a:pt x="2" y="29"/>
                  </a:cubicBezTo>
                  <a:cubicBezTo>
                    <a:pt x="0" y="19"/>
                    <a:pt x="7" y="10"/>
                    <a:pt x="17" y="9"/>
                  </a:cubicBezTo>
                  <a:cubicBezTo>
                    <a:pt x="88" y="1"/>
                    <a:pt x="88" y="1"/>
                    <a:pt x="88" y="1"/>
                  </a:cubicBezTo>
                  <a:cubicBezTo>
                    <a:pt x="98" y="0"/>
                    <a:pt x="107" y="7"/>
                    <a:pt x="108" y="17"/>
                  </a:cubicBezTo>
                  <a:cubicBezTo>
                    <a:pt x="111" y="46"/>
                    <a:pt x="111" y="46"/>
                    <a:pt x="111" y="46"/>
                  </a:cubicBezTo>
                  <a:cubicBezTo>
                    <a:pt x="112" y="56"/>
                    <a:pt x="105" y="65"/>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39" name="Freeform 17">
              <a:extLst>
                <a:ext uri="{FF2B5EF4-FFF2-40B4-BE49-F238E27FC236}">
                  <a16:creationId xmlns:a16="http://schemas.microsoft.com/office/drawing/2014/main" id="{FC6B66F9-870B-4EF0-9E56-4EA64F481A5C}"/>
                </a:ext>
              </a:extLst>
            </p:cNvPr>
            <p:cNvSpPr>
              <a:spLocks/>
            </p:cNvSpPr>
            <p:nvPr/>
          </p:nvSpPr>
          <p:spPr bwMode="auto">
            <a:xfrm>
              <a:off x="4923631" y="3024981"/>
              <a:ext cx="196850" cy="133350"/>
            </a:xfrm>
            <a:custGeom>
              <a:avLst/>
              <a:gdLst>
                <a:gd name="T0" fmla="*/ 95 w 112"/>
                <a:gd name="T1" fmla="*/ 66 h 75"/>
                <a:gd name="T2" fmla="*/ 24 w 112"/>
                <a:gd name="T3" fmla="*/ 74 h 75"/>
                <a:gd name="T4" fmla="*/ 4 w 112"/>
                <a:gd name="T5" fmla="*/ 58 h 75"/>
                <a:gd name="T6" fmla="*/ 1 w 112"/>
                <a:gd name="T7" fmla="*/ 29 h 75"/>
                <a:gd name="T8" fmla="*/ 16 w 112"/>
                <a:gd name="T9" fmla="*/ 9 h 75"/>
                <a:gd name="T10" fmla="*/ 87 w 112"/>
                <a:gd name="T11" fmla="*/ 1 h 75"/>
                <a:gd name="T12" fmla="*/ 107 w 112"/>
                <a:gd name="T13" fmla="*/ 16 h 75"/>
                <a:gd name="T14" fmla="*/ 110 w 112"/>
                <a:gd name="T15" fmla="*/ 46 h 75"/>
                <a:gd name="T16" fmla="*/ 95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5" y="66"/>
                  </a:moveTo>
                  <a:cubicBezTo>
                    <a:pt x="24" y="74"/>
                    <a:pt x="24" y="74"/>
                    <a:pt x="24" y="74"/>
                  </a:cubicBezTo>
                  <a:cubicBezTo>
                    <a:pt x="14" y="75"/>
                    <a:pt x="5" y="68"/>
                    <a:pt x="4" y="58"/>
                  </a:cubicBezTo>
                  <a:cubicBezTo>
                    <a:pt x="1" y="29"/>
                    <a:pt x="1" y="29"/>
                    <a:pt x="1" y="29"/>
                  </a:cubicBezTo>
                  <a:cubicBezTo>
                    <a:pt x="0" y="19"/>
                    <a:pt x="7" y="10"/>
                    <a:pt x="16" y="9"/>
                  </a:cubicBezTo>
                  <a:cubicBezTo>
                    <a:pt x="87" y="1"/>
                    <a:pt x="87" y="1"/>
                    <a:pt x="87" y="1"/>
                  </a:cubicBezTo>
                  <a:cubicBezTo>
                    <a:pt x="97" y="0"/>
                    <a:pt x="106" y="7"/>
                    <a:pt x="107" y="16"/>
                  </a:cubicBezTo>
                  <a:cubicBezTo>
                    <a:pt x="110" y="46"/>
                    <a:pt x="110" y="46"/>
                    <a:pt x="110" y="46"/>
                  </a:cubicBezTo>
                  <a:cubicBezTo>
                    <a:pt x="112" y="56"/>
                    <a:pt x="104" y="64"/>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40" name="Freeform 18">
              <a:extLst>
                <a:ext uri="{FF2B5EF4-FFF2-40B4-BE49-F238E27FC236}">
                  <a16:creationId xmlns:a16="http://schemas.microsoft.com/office/drawing/2014/main" id="{02D85F2C-3CB1-4795-990C-DD4BD3BBD223}"/>
                </a:ext>
              </a:extLst>
            </p:cNvPr>
            <p:cNvSpPr>
              <a:spLocks/>
            </p:cNvSpPr>
            <p:nvPr/>
          </p:nvSpPr>
          <p:spPr bwMode="auto">
            <a:xfrm>
              <a:off x="5176044" y="2996406"/>
              <a:ext cx="196850" cy="131763"/>
            </a:xfrm>
            <a:custGeom>
              <a:avLst/>
              <a:gdLst>
                <a:gd name="T0" fmla="*/ 95 w 112"/>
                <a:gd name="T1" fmla="*/ 66 h 75"/>
                <a:gd name="T2" fmla="*/ 24 w 112"/>
                <a:gd name="T3" fmla="*/ 74 h 75"/>
                <a:gd name="T4" fmla="*/ 4 w 112"/>
                <a:gd name="T5" fmla="*/ 59 h 75"/>
                <a:gd name="T6" fmla="*/ 1 w 112"/>
                <a:gd name="T7" fmla="*/ 29 h 75"/>
                <a:gd name="T8" fmla="*/ 17 w 112"/>
                <a:gd name="T9" fmla="*/ 10 h 75"/>
                <a:gd name="T10" fmla="*/ 88 w 112"/>
                <a:gd name="T11" fmla="*/ 1 h 75"/>
                <a:gd name="T12" fmla="*/ 107 w 112"/>
                <a:gd name="T13" fmla="*/ 17 h 75"/>
                <a:gd name="T14" fmla="*/ 111 w 112"/>
                <a:gd name="T15" fmla="*/ 47 h 75"/>
                <a:gd name="T16" fmla="*/ 95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5" y="66"/>
                  </a:moveTo>
                  <a:cubicBezTo>
                    <a:pt x="24" y="74"/>
                    <a:pt x="24" y="74"/>
                    <a:pt x="24" y="74"/>
                  </a:cubicBezTo>
                  <a:cubicBezTo>
                    <a:pt x="14" y="75"/>
                    <a:pt x="6" y="68"/>
                    <a:pt x="4" y="59"/>
                  </a:cubicBezTo>
                  <a:cubicBezTo>
                    <a:pt x="1" y="29"/>
                    <a:pt x="1" y="29"/>
                    <a:pt x="1" y="29"/>
                  </a:cubicBezTo>
                  <a:cubicBezTo>
                    <a:pt x="0" y="19"/>
                    <a:pt x="7" y="11"/>
                    <a:pt x="17" y="10"/>
                  </a:cubicBezTo>
                  <a:cubicBezTo>
                    <a:pt x="88" y="1"/>
                    <a:pt x="88" y="1"/>
                    <a:pt x="88" y="1"/>
                  </a:cubicBezTo>
                  <a:cubicBezTo>
                    <a:pt x="97" y="0"/>
                    <a:pt x="106" y="7"/>
                    <a:pt x="107" y="17"/>
                  </a:cubicBezTo>
                  <a:cubicBezTo>
                    <a:pt x="111" y="47"/>
                    <a:pt x="111" y="47"/>
                    <a:pt x="111" y="47"/>
                  </a:cubicBezTo>
                  <a:cubicBezTo>
                    <a:pt x="112" y="56"/>
                    <a:pt x="105" y="65"/>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41" name="Freeform 19">
              <a:extLst>
                <a:ext uri="{FF2B5EF4-FFF2-40B4-BE49-F238E27FC236}">
                  <a16:creationId xmlns:a16="http://schemas.microsoft.com/office/drawing/2014/main" id="{91487641-3D51-4C1B-B331-6C6FB4BCD232}"/>
                </a:ext>
              </a:extLst>
            </p:cNvPr>
            <p:cNvSpPr>
              <a:spLocks/>
            </p:cNvSpPr>
            <p:nvPr/>
          </p:nvSpPr>
          <p:spPr bwMode="auto">
            <a:xfrm>
              <a:off x="4691856" y="3242469"/>
              <a:ext cx="196850" cy="131763"/>
            </a:xfrm>
            <a:custGeom>
              <a:avLst/>
              <a:gdLst>
                <a:gd name="T0" fmla="*/ 95 w 111"/>
                <a:gd name="T1" fmla="*/ 66 h 75"/>
                <a:gd name="T2" fmla="*/ 24 w 111"/>
                <a:gd name="T3" fmla="*/ 74 h 75"/>
                <a:gd name="T4" fmla="*/ 4 w 111"/>
                <a:gd name="T5" fmla="*/ 59 h 75"/>
                <a:gd name="T6" fmla="*/ 1 w 111"/>
                <a:gd name="T7" fmla="*/ 29 h 75"/>
                <a:gd name="T8" fmla="*/ 16 w 111"/>
                <a:gd name="T9" fmla="*/ 10 h 75"/>
                <a:gd name="T10" fmla="*/ 87 w 111"/>
                <a:gd name="T11" fmla="*/ 2 h 75"/>
                <a:gd name="T12" fmla="*/ 107 w 111"/>
                <a:gd name="T13" fmla="*/ 17 h 75"/>
                <a:gd name="T14" fmla="*/ 110 w 111"/>
                <a:gd name="T15" fmla="*/ 47 h 75"/>
                <a:gd name="T16" fmla="*/ 95 w 111"/>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1" h="75">
                  <a:moveTo>
                    <a:pt x="95" y="66"/>
                  </a:moveTo>
                  <a:cubicBezTo>
                    <a:pt x="24" y="74"/>
                    <a:pt x="24" y="74"/>
                    <a:pt x="24" y="74"/>
                  </a:cubicBezTo>
                  <a:cubicBezTo>
                    <a:pt x="14" y="75"/>
                    <a:pt x="5" y="68"/>
                    <a:pt x="4" y="59"/>
                  </a:cubicBezTo>
                  <a:cubicBezTo>
                    <a:pt x="1" y="29"/>
                    <a:pt x="1" y="29"/>
                    <a:pt x="1" y="29"/>
                  </a:cubicBezTo>
                  <a:cubicBezTo>
                    <a:pt x="0" y="20"/>
                    <a:pt x="7" y="11"/>
                    <a:pt x="16" y="10"/>
                  </a:cubicBezTo>
                  <a:cubicBezTo>
                    <a:pt x="87" y="2"/>
                    <a:pt x="87" y="2"/>
                    <a:pt x="87" y="2"/>
                  </a:cubicBezTo>
                  <a:cubicBezTo>
                    <a:pt x="97" y="0"/>
                    <a:pt x="106" y="7"/>
                    <a:pt x="107" y="17"/>
                  </a:cubicBezTo>
                  <a:cubicBezTo>
                    <a:pt x="110" y="47"/>
                    <a:pt x="110" y="47"/>
                    <a:pt x="110" y="47"/>
                  </a:cubicBezTo>
                  <a:cubicBezTo>
                    <a:pt x="111" y="56"/>
                    <a:pt x="104" y="65"/>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42" name="Freeform 20">
              <a:extLst>
                <a:ext uri="{FF2B5EF4-FFF2-40B4-BE49-F238E27FC236}">
                  <a16:creationId xmlns:a16="http://schemas.microsoft.com/office/drawing/2014/main" id="{11DFDB89-C0EE-46BE-86B9-C7D1F6A9FBFD}"/>
                </a:ext>
              </a:extLst>
            </p:cNvPr>
            <p:cNvSpPr>
              <a:spLocks/>
            </p:cNvSpPr>
            <p:nvPr/>
          </p:nvSpPr>
          <p:spPr bwMode="auto">
            <a:xfrm>
              <a:off x="4944269" y="3213894"/>
              <a:ext cx="198438" cy="133350"/>
            </a:xfrm>
            <a:custGeom>
              <a:avLst/>
              <a:gdLst>
                <a:gd name="T0" fmla="*/ 95 w 112"/>
                <a:gd name="T1" fmla="*/ 66 h 75"/>
                <a:gd name="T2" fmla="*/ 24 w 112"/>
                <a:gd name="T3" fmla="*/ 74 h 75"/>
                <a:gd name="T4" fmla="*/ 4 w 112"/>
                <a:gd name="T5" fmla="*/ 58 h 75"/>
                <a:gd name="T6" fmla="*/ 1 w 112"/>
                <a:gd name="T7" fmla="*/ 29 h 75"/>
                <a:gd name="T8" fmla="*/ 17 w 112"/>
                <a:gd name="T9" fmla="*/ 9 h 75"/>
                <a:gd name="T10" fmla="*/ 88 w 112"/>
                <a:gd name="T11" fmla="*/ 1 h 75"/>
                <a:gd name="T12" fmla="*/ 107 w 112"/>
                <a:gd name="T13" fmla="*/ 17 h 75"/>
                <a:gd name="T14" fmla="*/ 111 w 112"/>
                <a:gd name="T15" fmla="*/ 46 h 75"/>
                <a:gd name="T16" fmla="*/ 95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5" y="66"/>
                  </a:moveTo>
                  <a:cubicBezTo>
                    <a:pt x="24" y="74"/>
                    <a:pt x="24" y="74"/>
                    <a:pt x="24" y="74"/>
                  </a:cubicBezTo>
                  <a:cubicBezTo>
                    <a:pt x="14" y="75"/>
                    <a:pt x="6" y="68"/>
                    <a:pt x="4" y="58"/>
                  </a:cubicBezTo>
                  <a:cubicBezTo>
                    <a:pt x="1" y="29"/>
                    <a:pt x="1" y="29"/>
                    <a:pt x="1" y="29"/>
                  </a:cubicBezTo>
                  <a:cubicBezTo>
                    <a:pt x="0" y="19"/>
                    <a:pt x="7" y="10"/>
                    <a:pt x="17" y="9"/>
                  </a:cubicBezTo>
                  <a:cubicBezTo>
                    <a:pt x="88" y="1"/>
                    <a:pt x="88" y="1"/>
                    <a:pt x="88" y="1"/>
                  </a:cubicBezTo>
                  <a:cubicBezTo>
                    <a:pt x="97" y="0"/>
                    <a:pt x="106" y="7"/>
                    <a:pt x="107" y="17"/>
                  </a:cubicBezTo>
                  <a:cubicBezTo>
                    <a:pt x="111" y="46"/>
                    <a:pt x="111" y="46"/>
                    <a:pt x="111" y="46"/>
                  </a:cubicBezTo>
                  <a:cubicBezTo>
                    <a:pt x="112" y="56"/>
                    <a:pt x="105" y="65"/>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43" name="Freeform 21">
              <a:extLst>
                <a:ext uri="{FF2B5EF4-FFF2-40B4-BE49-F238E27FC236}">
                  <a16:creationId xmlns:a16="http://schemas.microsoft.com/office/drawing/2014/main" id="{1CC49FE5-8864-40E1-9E8A-BFF4988BC072}"/>
                </a:ext>
              </a:extLst>
            </p:cNvPr>
            <p:cNvSpPr>
              <a:spLocks/>
            </p:cNvSpPr>
            <p:nvPr/>
          </p:nvSpPr>
          <p:spPr bwMode="auto">
            <a:xfrm>
              <a:off x="5196681" y="3186906"/>
              <a:ext cx="196850" cy="131763"/>
            </a:xfrm>
            <a:custGeom>
              <a:avLst/>
              <a:gdLst>
                <a:gd name="T0" fmla="*/ 95 w 112"/>
                <a:gd name="T1" fmla="*/ 66 h 75"/>
                <a:gd name="T2" fmla="*/ 24 w 112"/>
                <a:gd name="T3" fmla="*/ 74 h 75"/>
                <a:gd name="T4" fmla="*/ 5 w 112"/>
                <a:gd name="T5" fmla="*/ 58 h 75"/>
                <a:gd name="T6" fmla="*/ 1 w 112"/>
                <a:gd name="T7" fmla="*/ 29 h 75"/>
                <a:gd name="T8" fmla="*/ 17 w 112"/>
                <a:gd name="T9" fmla="*/ 9 h 75"/>
                <a:gd name="T10" fmla="*/ 88 w 112"/>
                <a:gd name="T11" fmla="*/ 1 h 75"/>
                <a:gd name="T12" fmla="*/ 108 w 112"/>
                <a:gd name="T13" fmla="*/ 16 h 75"/>
                <a:gd name="T14" fmla="*/ 111 w 112"/>
                <a:gd name="T15" fmla="*/ 46 h 75"/>
                <a:gd name="T16" fmla="*/ 95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5" y="66"/>
                  </a:moveTo>
                  <a:cubicBezTo>
                    <a:pt x="24" y="74"/>
                    <a:pt x="24" y="74"/>
                    <a:pt x="24" y="74"/>
                  </a:cubicBezTo>
                  <a:cubicBezTo>
                    <a:pt x="15" y="75"/>
                    <a:pt x="6" y="68"/>
                    <a:pt x="5" y="58"/>
                  </a:cubicBezTo>
                  <a:cubicBezTo>
                    <a:pt x="1" y="29"/>
                    <a:pt x="1" y="29"/>
                    <a:pt x="1" y="29"/>
                  </a:cubicBezTo>
                  <a:cubicBezTo>
                    <a:pt x="0" y="19"/>
                    <a:pt x="7" y="10"/>
                    <a:pt x="17" y="9"/>
                  </a:cubicBezTo>
                  <a:cubicBezTo>
                    <a:pt x="88" y="1"/>
                    <a:pt x="88" y="1"/>
                    <a:pt x="88" y="1"/>
                  </a:cubicBezTo>
                  <a:cubicBezTo>
                    <a:pt x="98" y="0"/>
                    <a:pt x="106" y="7"/>
                    <a:pt x="108" y="16"/>
                  </a:cubicBezTo>
                  <a:cubicBezTo>
                    <a:pt x="111" y="46"/>
                    <a:pt x="111" y="46"/>
                    <a:pt x="111" y="46"/>
                  </a:cubicBezTo>
                  <a:cubicBezTo>
                    <a:pt x="112" y="56"/>
                    <a:pt x="105" y="64"/>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44" name="Freeform 22">
              <a:extLst>
                <a:ext uri="{FF2B5EF4-FFF2-40B4-BE49-F238E27FC236}">
                  <a16:creationId xmlns:a16="http://schemas.microsoft.com/office/drawing/2014/main" id="{E7B68CD4-AFAC-4479-8A9E-EA6E26B660FA}"/>
                </a:ext>
              </a:extLst>
            </p:cNvPr>
            <p:cNvSpPr>
              <a:spLocks/>
            </p:cNvSpPr>
            <p:nvPr/>
          </p:nvSpPr>
          <p:spPr bwMode="auto">
            <a:xfrm>
              <a:off x="4714081" y="3432969"/>
              <a:ext cx="196850" cy="131763"/>
            </a:xfrm>
            <a:custGeom>
              <a:avLst/>
              <a:gdLst>
                <a:gd name="T0" fmla="*/ 95 w 112"/>
                <a:gd name="T1" fmla="*/ 66 h 75"/>
                <a:gd name="T2" fmla="*/ 24 w 112"/>
                <a:gd name="T3" fmla="*/ 74 h 75"/>
                <a:gd name="T4" fmla="*/ 4 w 112"/>
                <a:gd name="T5" fmla="*/ 58 h 75"/>
                <a:gd name="T6" fmla="*/ 1 w 112"/>
                <a:gd name="T7" fmla="*/ 29 h 75"/>
                <a:gd name="T8" fmla="*/ 17 w 112"/>
                <a:gd name="T9" fmla="*/ 9 h 75"/>
                <a:gd name="T10" fmla="*/ 88 w 112"/>
                <a:gd name="T11" fmla="*/ 1 h 75"/>
                <a:gd name="T12" fmla="*/ 107 w 112"/>
                <a:gd name="T13" fmla="*/ 17 h 75"/>
                <a:gd name="T14" fmla="*/ 111 w 112"/>
                <a:gd name="T15" fmla="*/ 46 h 75"/>
                <a:gd name="T16" fmla="*/ 95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5" y="66"/>
                  </a:moveTo>
                  <a:cubicBezTo>
                    <a:pt x="24" y="74"/>
                    <a:pt x="24" y="74"/>
                    <a:pt x="24" y="74"/>
                  </a:cubicBezTo>
                  <a:cubicBezTo>
                    <a:pt x="14" y="75"/>
                    <a:pt x="6" y="68"/>
                    <a:pt x="4" y="58"/>
                  </a:cubicBezTo>
                  <a:cubicBezTo>
                    <a:pt x="1" y="29"/>
                    <a:pt x="1" y="29"/>
                    <a:pt x="1" y="29"/>
                  </a:cubicBezTo>
                  <a:cubicBezTo>
                    <a:pt x="0" y="19"/>
                    <a:pt x="7" y="10"/>
                    <a:pt x="17" y="9"/>
                  </a:cubicBezTo>
                  <a:cubicBezTo>
                    <a:pt x="88" y="1"/>
                    <a:pt x="88" y="1"/>
                    <a:pt x="88" y="1"/>
                  </a:cubicBezTo>
                  <a:cubicBezTo>
                    <a:pt x="97" y="0"/>
                    <a:pt x="106" y="7"/>
                    <a:pt x="107" y="17"/>
                  </a:cubicBezTo>
                  <a:cubicBezTo>
                    <a:pt x="111" y="46"/>
                    <a:pt x="111" y="46"/>
                    <a:pt x="111" y="46"/>
                  </a:cubicBezTo>
                  <a:cubicBezTo>
                    <a:pt x="112" y="56"/>
                    <a:pt x="105" y="65"/>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45" name="Freeform 23">
              <a:extLst>
                <a:ext uri="{FF2B5EF4-FFF2-40B4-BE49-F238E27FC236}">
                  <a16:creationId xmlns:a16="http://schemas.microsoft.com/office/drawing/2014/main" id="{4B522A4F-34F8-4233-9239-0479B165DEB3}"/>
                </a:ext>
              </a:extLst>
            </p:cNvPr>
            <p:cNvSpPr>
              <a:spLocks/>
            </p:cNvSpPr>
            <p:nvPr/>
          </p:nvSpPr>
          <p:spPr bwMode="auto">
            <a:xfrm>
              <a:off x="4966494" y="3402806"/>
              <a:ext cx="196850" cy="131763"/>
            </a:xfrm>
            <a:custGeom>
              <a:avLst/>
              <a:gdLst>
                <a:gd name="T0" fmla="*/ 95 w 112"/>
                <a:gd name="T1" fmla="*/ 66 h 75"/>
                <a:gd name="T2" fmla="*/ 24 w 112"/>
                <a:gd name="T3" fmla="*/ 74 h 75"/>
                <a:gd name="T4" fmla="*/ 5 w 112"/>
                <a:gd name="T5" fmla="*/ 59 h 75"/>
                <a:gd name="T6" fmla="*/ 1 w 112"/>
                <a:gd name="T7" fmla="*/ 29 h 75"/>
                <a:gd name="T8" fmla="*/ 17 w 112"/>
                <a:gd name="T9" fmla="*/ 10 h 75"/>
                <a:gd name="T10" fmla="*/ 88 w 112"/>
                <a:gd name="T11" fmla="*/ 2 h 75"/>
                <a:gd name="T12" fmla="*/ 108 w 112"/>
                <a:gd name="T13" fmla="*/ 17 h 75"/>
                <a:gd name="T14" fmla="*/ 111 w 112"/>
                <a:gd name="T15" fmla="*/ 47 h 75"/>
                <a:gd name="T16" fmla="*/ 95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5" y="66"/>
                  </a:moveTo>
                  <a:cubicBezTo>
                    <a:pt x="24" y="74"/>
                    <a:pt x="24" y="74"/>
                    <a:pt x="24" y="74"/>
                  </a:cubicBezTo>
                  <a:cubicBezTo>
                    <a:pt x="15" y="75"/>
                    <a:pt x="6" y="68"/>
                    <a:pt x="5" y="59"/>
                  </a:cubicBezTo>
                  <a:cubicBezTo>
                    <a:pt x="1" y="29"/>
                    <a:pt x="1" y="29"/>
                    <a:pt x="1" y="29"/>
                  </a:cubicBezTo>
                  <a:cubicBezTo>
                    <a:pt x="0" y="20"/>
                    <a:pt x="7" y="11"/>
                    <a:pt x="17" y="10"/>
                  </a:cubicBezTo>
                  <a:cubicBezTo>
                    <a:pt x="88" y="2"/>
                    <a:pt x="88" y="2"/>
                    <a:pt x="88" y="2"/>
                  </a:cubicBezTo>
                  <a:cubicBezTo>
                    <a:pt x="98" y="0"/>
                    <a:pt x="106" y="7"/>
                    <a:pt x="108" y="17"/>
                  </a:cubicBezTo>
                  <a:cubicBezTo>
                    <a:pt x="111" y="47"/>
                    <a:pt x="111" y="47"/>
                    <a:pt x="111" y="47"/>
                  </a:cubicBezTo>
                  <a:cubicBezTo>
                    <a:pt x="112" y="56"/>
                    <a:pt x="105" y="65"/>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46" name="Freeform 24">
              <a:extLst>
                <a:ext uri="{FF2B5EF4-FFF2-40B4-BE49-F238E27FC236}">
                  <a16:creationId xmlns:a16="http://schemas.microsoft.com/office/drawing/2014/main" id="{ED862C7D-08D2-492D-B1F3-E4C7C11ED2DB}"/>
                </a:ext>
              </a:extLst>
            </p:cNvPr>
            <p:cNvSpPr>
              <a:spLocks/>
            </p:cNvSpPr>
            <p:nvPr/>
          </p:nvSpPr>
          <p:spPr bwMode="auto">
            <a:xfrm>
              <a:off x="5220494" y="3374231"/>
              <a:ext cx="195263" cy="133350"/>
            </a:xfrm>
            <a:custGeom>
              <a:avLst/>
              <a:gdLst>
                <a:gd name="T0" fmla="*/ 95 w 111"/>
                <a:gd name="T1" fmla="*/ 66 h 75"/>
                <a:gd name="T2" fmla="*/ 24 w 111"/>
                <a:gd name="T3" fmla="*/ 74 h 75"/>
                <a:gd name="T4" fmla="*/ 4 w 111"/>
                <a:gd name="T5" fmla="*/ 58 h 75"/>
                <a:gd name="T6" fmla="*/ 1 w 111"/>
                <a:gd name="T7" fmla="*/ 29 h 75"/>
                <a:gd name="T8" fmla="*/ 16 w 111"/>
                <a:gd name="T9" fmla="*/ 9 h 75"/>
                <a:gd name="T10" fmla="*/ 87 w 111"/>
                <a:gd name="T11" fmla="*/ 1 h 75"/>
                <a:gd name="T12" fmla="*/ 107 w 111"/>
                <a:gd name="T13" fmla="*/ 17 h 75"/>
                <a:gd name="T14" fmla="*/ 110 w 111"/>
                <a:gd name="T15" fmla="*/ 46 h 75"/>
                <a:gd name="T16" fmla="*/ 95 w 111"/>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1" h="75">
                  <a:moveTo>
                    <a:pt x="95" y="66"/>
                  </a:moveTo>
                  <a:cubicBezTo>
                    <a:pt x="24" y="74"/>
                    <a:pt x="24" y="74"/>
                    <a:pt x="24" y="74"/>
                  </a:cubicBezTo>
                  <a:cubicBezTo>
                    <a:pt x="14" y="75"/>
                    <a:pt x="5" y="68"/>
                    <a:pt x="4" y="58"/>
                  </a:cubicBezTo>
                  <a:cubicBezTo>
                    <a:pt x="1" y="29"/>
                    <a:pt x="1" y="29"/>
                    <a:pt x="1" y="29"/>
                  </a:cubicBezTo>
                  <a:cubicBezTo>
                    <a:pt x="0" y="19"/>
                    <a:pt x="7" y="10"/>
                    <a:pt x="16" y="9"/>
                  </a:cubicBezTo>
                  <a:cubicBezTo>
                    <a:pt x="87" y="1"/>
                    <a:pt x="87" y="1"/>
                    <a:pt x="87" y="1"/>
                  </a:cubicBezTo>
                  <a:cubicBezTo>
                    <a:pt x="97" y="0"/>
                    <a:pt x="106" y="7"/>
                    <a:pt x="107" y="17"/>
                  </a:cubicBezTo>
                  <a:cubicBezTo>
                    <a:pt x="110" y="46"/>
                    <a:pt x="110" y="46"/>
                    <a:pt x="110" y="46"/>
                  </a:cubicBezTo>
                  <a:cubicBezTo>
                    <a:pt x="111" y="56"/>
                    <a:pt x="104" y="65"/>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47" name="Freeform 25">
              <a:extLst>
                <a:ext uri="{FF2B5EF4-FFF2-40B4-BE49-F238E27FC236}">
                  <a16:creationId xmlns:a16="http://schemas.microsoft.com/office/drawing/2014/main" id="{55307F43-A12C-4428-AFA2-B5B77B77F107}"/>
                </a:ext>
              </a:extLst>
            </p:cNvPr>
            <p:cNvSpPr>
              <a:spLocks/>
            </p:cNvSpPr>
            <p:nvPr/>
          </p:nvSpPr>
          <p:spPr bwMode="auto">
            <a:xfrm>
              <a:off x="4734719" y="3621881"/>
              <a:ext cx="196850" cy="131763"/>
            </a:xfrm>
            <a:custGeom>
              <a:avLst/>
              <a:gdLst>
                <a:gd name="T0" fmla="*/ 95 w 112"/>
                <a:gd name="T1" fmla="*/ 66 h 75"/>
                <a:gd name="T2" fmla="*/ 24 w 112"/>
                <a:gd name="T3" fmla="*/ 74 h 75"/>
                <a:gd name="T4" fmla="*/ 5 w 112"/>
                <a:gd name="T5" fmla="*/ 58 h 75"/>
                <a:gd name="T6" fmla="*/ 1 w 112"/>
                <a:gd name="T7" fmla="*/ 29 h 75"/>
                <a:gd name="T8" fmla="*/ 17 w 112"/>
                <a:gd name="T9" fmla="*/ 9 h 75"/>
                <a:gd name="T10" fmla="*/ 88 w 112"/>
                <a:gd name="T11" fmla="*/ 1 h 75"/>
                <a:gd name="T12" fmla="*/ 108 w 112"/>
                <a:gd name="T13" fmla="*/ 17 h 75"/>
                <a:gd name="T14" fmla="*/ 111 w 112"/>
                <a:gd name="T15" fmla="*/ 46 h 75"/>
                <a:gd name="T16" fmla="*/ 95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5" y="66"/>
                  </a:moveTo>
                  <a:cubicBezTo>
                    <a:pt x="24" y="74"/>
                    <a:pt x="24" y="74"/>
                    <a:pt x="24" y="74"/>
                  </a:cubicBezTo>
                  <a:cubicBezTo>
                    <a:pt x="15" y="75"/>
                    <a:pt x="6" y="68"/>
                    <a:pt x="5" y="58"/>
                  </a:cubicBezTo>
                  <a:cubicBezTo>
                    <a:pt x="1" y="29"/>
                    <a:pt x="1" y="29"/>
                    <a:pt x="1" y="29"/>
                  </a:cubicBezTo>
                  <a:cubicBezTo>
                    <a:pt x="0" y="19"/>
                    <a:pt x="7" y="10"/>
                    <a:pt x="17" y="9"/>
                  </a:cubicBezTo>
                  <a:cubicBezTo>
                    <a:pt x="88" y="1"/>
                    <a:pt x="88" y="1"/>
                    <a:pt x="88" y="1"/>
                  </a:cubicBezTo>
                  <a:cubicBezTo>
                    <a:pt x="98" y="0"/>
                    <a:pt x="106" y="7"/>
                    <a:pt x="108" y="17"/>
                  </a:cubicBezTo>
                  <a:cubicBezTo>
                    <a:pt x="111" y="46"/>
                    <a:pt x="111" y="46"/>
                    <a:pt x="111" y="46"/>
                  </a:cubicBezTo>
                  <a:cubicBezTo>
                    <a:pt x="112" y="56"/>
                    <a:pt x="105" y="65"/>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48" name="Freeform 26">
              <a:extLst>
                <a:ext uri="{FF2B5EF4-FFF2-40B4-BE49-F238E27FC236}">
                  <a16:creationId xmlns:a16="http://schemas.microsoft.com/office/drawing/2014/main" id="{AC31A7FF-D4E9-4B66-B0A5-4482D3E29EA0}"/>
                </a:ext>
              </a:extLst>
            </p:cNvPr>
            <p:cNvSpPr>
              <a:spLocks/>
            </p:cNvSpPr>
            <p:nvPr/>
          </p:nvSpPr>
          <p:spPr bwMode="auto">
            <a:xfrm>
              <a:off x="4987131" y="3593306"/>
              <a:ext cx="196850" cy="131763"/>
            </a:xfrm>
            <a:custGeom>
              <a:avLst/>
              <a:gdLst>
                <a:gd name="T0" fmla="*/ 96 w 112"/>
                <a:gd name="T1" fmla="*/ 66 h 75"/>
                <a:gd name="T2" fmla="*/ 25 w 112"/>
                <a:gd name="T3" fmla="*/ 74 h 75"/>
                <a:gd name="T4" fmla="*/ 5 w 112"/>
                <a:gd name="T5" fmla="*/ 58 h 75"/>
                <a:gd name="T6" fmla="*/ 2 w 112"/>
                <a:gd name="T7" fmla="*/ 29 h 75"/>
                <a:gd name="T8" fmla="*/ 17 w 112"/>
                <a:gd name="T9" fmla="*/ 9 h 75"/>
                <a:gd name="T10" fmla="*/ 88 w 112"/>
                <a:gd name="T11" fmla="*/ 1 h 75"/>
                <a:gd name="T12" fmla="*/ 108 w 112"/>
                <a:gd name="T13" fmla="*/ 16 h 75"/>
                <a:gd name="T14" fmla="*/ 111 w 112"/>
                <a:gd name="T15" fmla="*/ 46 h 75"/>
                <a:gd name="T16" fmla="*/ 96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6" y="66"/>
                  </a:moveTo>
                  <a:cubicBezTo>
                    <a:pt x="25" y="74"/>
                    <a:pt x="25" y="74"/>
                    <a:pt x="25" y="74"/>
                  </a:cubicBezTo>
                  <a:cubicBezTo>
                    <a:pt x="15" y="75"/>
                    <a:pt x="6" y="68"/>
                    <a:pt x="5" y="58"/>
                  </a:cubicBezTo>
                  <a:cubicBezTo>
                    <a:pt x="2" y="29"/>
                    <a:pt x="2" y="29"/>
                    <a:pt x="2" y="29"/>
                  </a:cubicBezTo>
                  <a:cubicBezTo>
                    <a:pt x="0" y="19"/>
                    <a:pt x="7" y="10"/>
                    <a:pt x="17" y="9"/>
                  </a:cubicBezTo>
                  <a:cubicBezTo>
                    <a:pt x="88" y="1"/>
                    <a:pt x="88" y="1"/>
                    <a:pt x="88" y="1"/>
                  </a:cubicBezTo>
                  <a:cubicBezTo>
                    <a:pt x="98" y="0"/>
                    <a:pt x="107" y="7"/>
                    <a:pt x="108" y="16"/>
                  </a:cubicBezTo>
                  <a:cubicBezTo>
                    <a:pt x="111" y="46"/>
                    <a:pt x="111" y="46"/>
                    <a:pt x="111" y="46"/>
                  </a:cubicBezTo>
                  <a:cubicBezTo>
                    <a:pt x="112" y="56"/>
                    <a:pt x="105" y="64"/>
                    <a:pt x="96"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49" name="Freeform 27">
              <a:extLst>
                <a:ext uri="{FF2B5EF4-FFF2-40B4-BE49-F238E27FC236}">
                  <a16:creationId xmlns:a16="http://schemas.microsoft.com/office/drawing/2014/main" id="{47D7A0A4-25D0-4C24-BE0A-90C54A0E2C88}"/>
                </a:ext>
              </a:extLst>
            </p:cNvPr>
            <p:cNvSpPr>
              <a:spLocks/>
            </p:cNvSpPr>
            <p:nvPr/>
          </p:nvSpPr>
          <p:spPr bwMode="auto">
            <a:xfrm>
              <a:off x="5241131" y="3563144"/>
              <a:ext cx="196850" cy="133350"/>
            </a:xfrm>
            <a:custGeom>
              <a:avLst/>
              <a:gdLst>
                <a:gd name="T0" fmla="*/ 95 w 112"/>
                <a:gd name="T1" fmla="*/ 66 h 75"/>
                <a:gd name="T2" fmla="*/ 24 w 112"/>
                <a:gd name="T3" fmla="*/ 74 h 75"/>
                <a:gd name="T4" fmla="*/ 4 w 112"/>
                <a:gd name="T5" fmla="*/ 59 h 75"/>
                <a:gd name="T6" fmla="*/ 1 w 112"/>
                <a:gd name="T7" fmla="*/ 29 h 75"/>
                <a:gd name="T8" fmla="*/ 17 w 112"/>
                <a:gd name="T9" fmla="*/ 10 h 75"/>
                <a:gd name="T10" fmla="*/ 87 w 112"/>
                <a:gd name="T11" fmla="*/ 1 h 75"/>
                <a:gd name="T12" fmla="*/ 107 w 112"/>
                <a:gd name="T13" fmla="*/ 17 h 75"/>
                <a:gd name="T14" fmla="*/ 110 w 112"/>
                <a:gd name="T15" fmla="*/ 47 h 75"/>
                <a:gd name="T16" fmla="*/ 95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5" y="66"/>
                  </a:moveTo>
                  <a:cubicBezTo>
                    <a:pt x="24" y="74"/>
                    <a:pt x="24" y="74"/>
                    <a:pt x="24" y="74"/>
                  </a:cubicBezTo>
                  <a:cubicBezTo>
                    <a:pt x="14" y="75"/>
                    <a:pt x="5" y="68"/>
                    <a:pt x="4" y="59"/>
                  </a:cubicBezTo>
                  <a:cubicBezTo>
                    <a:pt x="1" y="29"/>
                    <a:pt x="1" y="29"/>
                    <a:pt x="1" y="29"/>
                  </a:cubicBezTo>
                  <a:cubicBezTo>
                    <a:pt x="0" y="20"/>
                    <a:pt x="7" y="11"/>
                    <a:pt x="17" y="10"/>
                  </a:cubicBezTo>
                  <a:cubicBezTo>
                    <a:pt x="87" y="1"/>
                    <a:pt x="87" y="1"/>
                    <a:pt x="87" y="1"/>
                  </a:cubicBezTo>
                  <a:cubicBezTo>
                    <a:pt x="97" y="0"/>
                    <a:pt x="106" y="7"/>
                    <a:pt x="107" y="17"/>
                  </a:cubicBezTo>
                  <a:cubicBezTo>
                    <a:pt x="110" y="47"/>
                    <a:pt x="110" y="47"/>
                    <a:pt x="110" y="47"/>
                  </a:cubicBezTo>
                  <a:cubicBezTo>
                    <a:pt x="112" y="56"/>
                    <a:pt x="105" y="65"/>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50" name="Freeform 28">
              <a:extLst>
                <a:ext uri="{FF2B5EF4-FFF2-40B4-BE49-F238E27FC236}">
                  <a16:creationId xmlns:a16="http://schemas.microsoft.com/office/drawing/2014/main" id="{2B7B555B-AF6C-4643-86CD-5C85C8C903AA}"/>
                </a:ext>
              </a:extLst>
            </p:cNvPr>
            <p:cNvSpPr>
              <a:spLocks/>
            </p:cNvSpPr>
            <p:nvPr/>
          </p:nvSpPr>
          <p:spPr bwMode="auto">
            <a:xfrm>
              <a:off x="5865019" y="3144044"/>
              <a:ext cx="652463" cy="684213"/>
            </a:xfrm>
            <a:custGeom>
              <a:avLst/>
              <a:gdLst>
                <a:gd name="T0" fmla="*/ 363 w 370"/>
                <a:gd name="T1" fmla="*/ 265 h 388"/>
                <a:gd name="T2" fmla="*/ 355 w 370"/>
                <a:gd name="T3" fmla="*/ 256 h 388"/>
                <a:gd name="T4" fmla="*/ 355 w 370"/>
                <a:gd name="T5" fmla="*/ 256 h 388"/>
                <a:gd name="T6" fmla="*/ 148 w 370"/>
                <a:gd name="T7" fmla="*/ 21 h 388"/>
                <a:gd name="T8" fmla="*/ 137 w 370"/>
                <a:gd name="T9" fmla="*/ 9 h 388"/>
                <a:gd name="T10" fmla="*/ 110 w 370"/>
                <a:gd name="T11" fmla="*/ 7 h 388"/>
                <a:gd name="T12" fmla="*/ 12 w 370"/>
                <a:gd name="T13" fmla="*/ 93 h 388"/>
                <a:gd name="T14" fmla="*/ 12 w 370"/>
                <a:gd name="T15" fmla="*/ 93 h 388"/>
                <a:gd name="T16" fmla="*/ 10 w 370"/>
                <a:gd name="T17" fmla="*/ 95 h 388"/>
                <a:gd name="T18" fmla="*/ 8 w 370"/>
                <a:gd name="T19" fmla="*/ 125 h 388"/>
                <a:gd name="T20" fmla="*/ 18 w 370"/>
                <a:gd name="T21" fmla="*/ 136 h 388"/>
                <a:gd name="T22" fmla="*/ 18 w 370"/>
                <a:gd name="T23" fmla="*/ 136 h 388"/>
                <a:gd name="T24" fmla="*/ 224 w 370"/>
                <a:gd name="T25" fmla="*/ 371 h 388"/>
                <a:gd name="T26" fmla="*/ 224 w 370"/>
                <a:gd name="T27" fmla="*/ 371 h 388"/>
                <a:gd name="T28" fmla="*/ 231 w 370"/>
                <a:gd name="T29" fmla="*/ 379 h 388"/>
                <a:gd name="T30" fmla="*/ 261 w 370"/>
                <a:gd name="T31" fmla="*/ 380 h 388"/>
                <a:gd name="T32" fmla="*/ 263 w 370"/>
                <a:gd name="T33" fmla="*/ 379 h 388"/>
                <a:gd name="T34" fmla="*/ 263 w 370"/>
                <a:gd name="T35" fmla="*/ 379 h 388"/>
                <a:gd name="T36" fmla="*/ 361 w 370"/>
                <a:gd name="T37" fmla="*/ 292 h 388"/>
                <a:gd name="T38" fmla="*/ 363 w 370"/>
                <a:gd name="T39" fmla="*/ 265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70" h="388">
                  <a:moveTo>
                    <a:pt x="363" y="265"/>
                  </a:moveTo>
                  <a:cubicBezTo>
                    <a:pt x="355" y="256"/>
                    <a:pt x="355" y="256"/>
                    <a:pt x="355" y="256"/>
                  </a:cubicBezTo>
                  <a:cubicBezTo>
                    <a:pt x="355" y="256"/>
                    <a:pt x="355" y="256"/>
                    <a:pt x="355" y="256"/>
                  </a:cubicBezTo>
                  <a:cubicBezTo>
                    <a:pt x="148" y="21"/>
                    <a:pt x="148" y="21"/>
                    <a:pt x="148" y="21"/>
                  </a:cubicBezTo>
                  <a:cubicBezTo>
                    <a:pt x="137" y="9"/>
                    <a:pt x="137" y="9"/>
                    <a:pt x="137" y="9"/>
                  </a:cubicBezTo>
                  <a:cubicBezTo>
                    <a:pt x="130" y="1"/>
                    <a:pt x="118" y="0"/>
                    <a:pt x="110" y="7"/>
                  </a:cubicBezTo>
                  <a:cubicBezTo>
                    <a:pt x="12" y="93"/>
                    <a:pt x="12" y="93"/>
                    <a:pt x="12" y="93"/>
                  </a:cubicBezTo>
                  <a:cubicBezTo>
                    <a:pt x="12" y="93"/>
                    <a:pt x="12" y="93"/>
                    <a:pt x="12" y="93"/>
                  </a:cubicBezTo>
                  <a:cubicBezTo>
                    <a:pt x="10" y="95"/>
                    <a:pt x="10" y="95"/>
                    <a:pt x="10" y="95"/>
                  </a:cubicBezTo>
                  <a:cubicBezTo>
                    <a:pt x="1" y="103"/>
                    <a:pt x="0" y="116"/>
                    <a:pt x="8" y="125"/>
                  </a:cubicBezTo>
                  <a:cubicBezTo>
                    <a:pt x="18" y="136"/>
                    <a:pt x="18" y="136"/>
                    <a:pt x="18" y="136"/>
                  </a:cubicBezTo>
                  <a:cubicBezTo>
                    <a:pt x="18" y="136"/>
                    <a:pt x="18" y="136"/>
                    <a:pt x="18" y="136"/>
                  </a:cubicBezTo>
                  <a:cubicBezTo>
                    <a:pt x="224" y="371"/>
                    <a:pt x="224" y="371"/>
                    <a:pt x="224" y="371"/>
                  </a:cubicBezTo>
                  <a:cubicBezTo>
                    <a:pt x="224" y="371"/>
                    <a:pt x="224" y="371"/>
                    <a:pt x="224" y="371"/>
                  </a:cubicBezTo>
                  <a:cubicBezTo>
                    <a:pt x="231" y="379"/>
                    <a:pt x="231" y="379"/>
                    <a:pt x="231" y="379"/>
                  </a:cubicBezTo>
                  <a:cubicBezTo>
                    <a:pt x="239" y="387"/>
                    <a:pt x="252" y="388"/>
                    <a:pt x="261" y="380"/>
                  </a:cubicBezTo>
                  <a:cubicBezTo>
                    <a:pt x="263" y="379"/>
                    <a:pt x="263" y="379"/>
                    <a:pt x="263" y="379"/>
                  </a:cubicBezTo>
                  <a:cubicBezTo>
                    <a:pt x="263" y="379"/>
                    <a:pt x="263" y="379"/>
                    <a:pt x="263" y="379"/>
                  </a:cubicBezTo>
                  <a:cubicBezTo>
                    <a:pt x="361" y="292"/>
                    <a:pt x="361" y="292"/>
                    <a:pt x="361" y="292"/>
                  </a:cubicBezTo>
                  <a:cubicBezTo>
                    <a:pt x="369" y="285"/>
                    <a:pt x="370" y="273"/>
                    <a:pt x="363" y="265"/>
                  </a:cubicBezTo>
                  <a:close/>
                </a:path>
              </a:pathLst>
            </a:custGeom>
            <a:solidFill>
              <a:srgbClr val="424242">
                <a:alpha val="20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51" name="Freeform 29">
              <a:extLst>
                <a:ext uri="{FF2B5EF4-FFF2-40B4-BE49-F238E27FC236}">
                  <a16:creationId xmlns:a16="http://schemas.microsoft.com/office/drawing/2014/main" id="{B7E2F6E1-FD53-415D-A818-54C56265C04A}"/>
                </a:ext>
              </a:extLst>
            </p:cNvPr>
            <p:cNvSpPr>
              <a:spLocks/>
            </p:cNvSpPr>
            <p:nvPr/>
          </p:nvSpPr>
          <p:spPr bwMode="auto">
            <a:xfrm>
              <a:off x="5879306" y="3101181"/>
              <a:ext cx="650875" cy="684213"/>
            </a:xfrm>
            <a:custGeom>
              <a:avLst/>
              <a:gdLst>
                <a:gd name="T0" fmla="*/ 360 w 369"/>
                <a:gd name="T1" fmla="*/ 293 h 388"/>
                <a:gd name="T2" fmla="*/ 261 w 369"/>
                <a:gd name="T3" fmla="*/ 380 h 388"/>
                <a:gd name="T4" fmla="*/ 231 w 369"/>
                <a:gd name="T5" fmla="*/ 379 h 388"/>
                <a:gd name="T6" fmla="*/ 8 w 369"/>
                <a:gd name="T7" fmla="*/ 125 h 388"/>
                <a:gd name="T8" fmla="*/ 10 w 369"/>
                <a:gd name="T9" fmla="*/ 95 h 388"/>
                <a:gd name="T10" fmla="*/ 109 w 369"/>
                <a:gd name="T11" fmla="*/ 8 h 388"/>
                <a:gd name="T12" fmla="*/ 138 w 369"/>
                <a:gd name="T13" fmla="*/ 10 h 388"/>
                <a:gd name="T14" fmla="*/ 361 w 369"/>
                <a:gd name="T15" fmla="*/ 264 h 388"/>
                <a:gd name="T16" fmla="*/ 360 w 369"/>
                <a:gd name="T17" fmla="*/ 293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9" h="388">
                  <a:moveTo>
                    <a:pt x="360" y="293"/>
                  </a:moveTo>
                  <a:cubicBezTo>
                    <a:pt x="261" y="380"/>
                    <a:pt x="261" y="380"/>
                    <a:pt x="261" y="380"/>
                  </a:cubicBezTo>
                  <a:cubicBezTo>
                    <a:pt x="252" y="388"/>
                    <a:pt x="239" y="387"/>
                    <a:pt x="231" y="379"/>
                  </a:cubicBezTo>
                  <a:cubicBezTo>
                    <a:pt x="8" y="125"/>
                    <a:pt x="8" y="125"/>
                    <a:pt x="8" y="125"/>
                  </a:cubicBezTo>
                  <a:cubicBezTo>
                    <a:pt x="0" y="116"/>
                    <a:pt x="1" y="103"/>
                    <a:pt x="10" y="95"/>
                  </a:cubicBezTo>
                  <a:cubicBezTo>
                    <a:pt x="109" y="8"/>
                    <a:pt x="109" y="8"/>
                    <a:pt x="109" y="8"/>
                  </a:cubicBezTo>
                  <a:cubicBezTo>
                    <a:pt x="117" y="0"/>
                    <a:pt x="131" y="1"/>
                    <a:pt x="138" y="10"/>
                  </a:cubicBezTo>
                  <a:cubicBezTo>
                    <a:pt x="361" y="264"/>
                    <a:pt x="361" y="264"/>
                    <a:pt x="361" y="264"/>
                  </a:cubicBezTo>
                  <a:cubicBezTo>
                    <a:pt x="369" y="272"/>
                    <a:pt x="368" y="286"/>
                    <a:pt x="360" y="293"/>
                  </a:cubicBezTo>
                  <a:close/>
                </a:path>
              </a:pathLst>
            </a:custGeom>
            <a:solidFill>
              <a:srgbClr val="376790"/>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52" name="Freeform 30">
              <a:extLst>
                <a:ext uri="{FF2B5EF4-FFF2-40B4-BE49-F238E27FC236}">
                  <a16:creationId xmlns:a16="http://schemas.microsoft.com/office/drawing/2014/main" id="{5D71CB71-3825-497F-AB26-8782BED9031A}"/>
                </a:ext>
              </a:extLst>
            </p:cNvPr>
            <p:cNvSpPr>
              <a:spLocks/>
            </p:cNvSpPr>
            <p:nvPr/>
          </p:nvSpPr>
          <p:spPr bwMode="auto">
            <a:xfrm>
              <a:off x="5911056" y="3139281"/>
              <a:ext cx="593725" cy="615950"/>
            </a:xfrm>
            <a:custGeom>
              <a:avLst/>
              <a:gdLst>
                <a:gd name="T0" fmla="*/ 374 w 374"/>
                <a:gd name="T1" fmla="*/ 261 h 388"/>
                <a:gd name="T2" fmla="*/ 229 w 374"/>
                <a:gd name="T3" fmla="*/ 388 h 388"/>
                <a:gd name="T4" fmla="*/ 0 w 374"/>
                <a:gd name="T5" fmla="*/ 127 h 388"/>
                <a:gd name="T6" fmla="*/ 144 w 374"/>
                <a:gd name="T7" fmla="*/ 0 h 388"/>
                <a:gd name="T8" fmla="*/ 374 w 374"/>
                <a:gd name="T9" fmla="*/ 261 h 388"/>
              </a:gdLst>
              <a:ahLst/>
              <a:cxnLst>
                <a:cxn ang="0">
                  <a:pos x="T0" y="T1"/>
                </a:cxn>
                <a:cxn ang="0">
                  <a:pos x="T2" y="T3"/>
                </a:cxn>
                <a:cxn ang="0">
                  <a:pos x="T4" y="T5"/>
                </a:cxn>
                <a:cxn ang="0">
                  <a:pos x="T6" y="T7"/>
                </a:cxn>
                <a:cxn ang="0">
                  <a:pos x="T8" y="T9"/>
                </a:cxn>
              </a:cxnLst>
              <a:rect l="0" t="0" r="r" b="b"/>
              <a:pathLst>
                <a:path w="374" h="388">
                  <a:moveTo>
                    <a:pt x="374" y="261"/>
                  </a:moveTo>
                  <a:lnTo>
                    <a:pt x="229" y="388"/>
                  </a:lnTo>
                  <a:lnTo>
                    <a:pt x="0" y="127"/>
                  </a:lnTo>
                  <a:lnTo>
                    <a:pt x="144" y="0"/>
                  </a:lnTo>
                  <a:lnTo>
                    <a:pt x="374" y="261"/>
                  </a:lnTo>
                  <a:close/>
                </a:path>
              </a:pathLst>
            </a:custGeom>
            <a:solidFill>
              <a:srgbClr val="353B61"/>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53" name="Freeform 31">
              <a:extLst>
                <a:ext uri="{FF2B5EF4-FFF2-40B4-BE49-F238E27FC236}">
                  <a16:creationId xmlns:a16="http://schemas.microsoft.com/office/drawing/2014/main" id="{FEEB0F9D-EA0F-480D-98F8-522C59F9F8C1}"/>
                </a:ext>
              </a:extLst>
            </p:cNvPr>
            <p:cNvSpPr>
              <a:spLocks/>
            </p:cNvSpPr>
            <p:nvPr/>
          </p:nvSpPr>
          <p:spPr bwMode="auto">
            <a:xfrm>
              <a:off x="5911056" y="3139281"/>
              <a:ext cx="495300" cy="504825"/>
            </a:xfrm>
            <a:custGeom>
              <a:avLst/>
              <a:gdLst>
                <a:gd name="T0" fmla="*/ 312 w 312"/>
                <a:gd name="T1" fmla="*/ 191 h 318"/>
                <a:gd name="T2" fmla="*/ 168 w 312"/>
                <a:gd name="T3" fmla="*/ 318 h 318"/>
                <a:gd name="T4" fmla="*/ 0 w 312"/>
                <a:gd name="T5" fmla="*/ 127 h 318"/>
                <a:gd name="T6" fmla="*/ 144 w 312"/>
                <a:gd name="T7" fmla="*/ 0 h 318"/>
                <a:gd name="T8" fmla="*/ 312 w 312"/>
                <a:gd name="T9" fmla="*/ 191 h 318"/>
              </a:gdLst>
              <a:ahLst/>
              <a:cxnLst>
                <a:cxn ang="0">
                  <a:pos x="T0" y="T1"/>
                </a:cxn>
                <a:cxn ang="0">
                  <a:pos x="T2" y="T3"/>
                </a:cxn>
                <a:cxn ang="0">
                  <a:pos x="T4" y="T5"/>
                </a:cxn>
                <a:cxn ang="0">
                  <a:pos x="T6" y="T7"/>
                </a:cxn>
                <a:cxn ang="0">
                  <a:pos x="T8" y="T9"/>
                </a:cxn>
              </a:cxnLst>
              <a:rect l="0" t="0" r="r" b="b"/>
              <a:pathLst>
                <a:path w="312" h="318">
                  <a:moveTo>
                    <a:pt x="312" y="191"/>
                  </a:moveTo>
                  <a:lnTo>
                    <a:pt x="168" y="318"/>
                  </a:lnTo>
                  <a:lnTo>
                    <a:pt x="0" y="127"/>
                  </a:lnTo>
                  <a:lnTo>
                    <a:pt x="144" y="0"/>
                  </a:lnTo>
                  <a:lnTo>
                    <a:pt x="312" y="191"/>
                  </a:lnTo>
                  <a:close/>
                </a:path>
              </a:pathLst>
            </a:custGeom>
            <a:solidFill>
              <a:srgbClr val="92406C"/>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54" name="Freeform 32">
              <a:extLst>
                <a:ext uri="{FF2B5EF4-FFF2-40B4-BE49-F238E27FC236}">
                  <a16:creationId xmlns:a16="http://schemas.microsoft.com/office/drawing/2014/main" id="{6EB897AF-0BCA-4DAF-934D-44A4930A79A8}"/>
                </a:ext>
              </a:extLst>
            </p:cNvPr>
            <p:cNvSpPr>
              <a:spLocks/>
            </p:cNvSpPr>
            <p:nvPr/>
          </p:nvSpPr>
          <p:spPr bwMode="auto">
            <a:xfrm>
              <a:off x="5899944" y="3101181"/>
              <a:ext cx="631825" cy="668338"/>
            </a:xfrm>
            <a:custGeom>
              <a:avLst/>
              <a:gdLst>
                <a:gd name="T0" fmla="*/ 349 w 358"/>
                <a:gd name="T1" fmla="*/ 292 h 379"/>
                <a:gd name="T2" fmla="*/ 251 w 358"/>
                <a:gd name="T3" fmla="*/ 379 h 379"/>
                <a:gd name="T4" fmla="*/ 0 w 358"/>
                <a:gd name="T5" fmla="*/ 93 h 379"/>
                <a:gd name="T6" fmla="*/ 98 w 358"/>
                <a:gd name="T7" fmla="*/ 7 h 379"/>
                <a:gd name="T8" fmla="*/ 125 w 358"/>
                <a:gd name="T9" fmla="*/ 9 h 379"/>
                <a:gd name="T10" fmla="*/ 351 w 358"/>
                <a:gd name="T11" fmla="*/ 265 h 379"/>
                <a:gd name="T12" fmla="*/ 349 w 358"/>
                <a:gd name="T13" fmla="*/ 292 h 379"/>
              </a:gdLst>
              <a:ahLst/>
              <a:cxnLst>
                <a:cxn ang="0">
                  <a:pos x="T0" y="T1"/>
                </a:cxn>
                <a:cxn ang="0">
                  <a:pos x="T2" y="T3"/>
                </a:cxn>
                <a:cxn ang="0">
                  <a:pos x="T4" y="T5"/>
                </a:cxn>
                <a:cxn ang="0">
                  <a:pos x="T6" y="T7"/>
                </a:cxn>
                <a:cxn ang="0">
                  <a:pos x="T8" y="T9"/>
                </a:cxn>
                <a:cxn ang="0">
                  <a:pos x="T10" y="T11"/>
                </a:cxn>
                <a:cxn ang="0">
                  <a:pos x="T12" y="T13"/>
                </a:cxn>
              </a:cxnLst>
              <a:rect l="0" t="0" r="r" b="b"/>
              <a:pathLst>
                <a:path w="358" h="379">
                  <a:moveTo>
                    <a:pt x="349" y="292"/>
                  </a:moveTo>
                  <a:cubicBezTo>
                    <a:pt x="251" y="379"/>
                    <a:pt x="251" y="379"/>
                    <a:pt x="251" y="379"/>
                  </a:cubicBezTo>
                  <a:cubicBezTo>
                    <a:pt x="0" y="93"/>
                    <a:pt x="0" y="93"/>
                    <a:pt x="0" y="93"/>
                  </a:cubicBezTo>
                  <a:cubicBezTo>
                    <a:pt x="98" y="7"/>
                    <a:pt x="98" y="7"/>
                    <a:pt x="98" y="7"/>
                  </a:cubicBezTo>
                  <a:cubicBezTo>
                    <a:pt x="106" y="0"/>
                    <a:pt x="118" y="1"/>
                    <a:pt x="125" y="9"/>
                  </a:cubicBezTo>
                  <a:cubicBezTo>
                    <a:pt x="351" y="265"/>
                    <a:pt x="351" y="265"/>
                    <a:pt x="351" y="265"/>
                  </a:cubicBezTo>
                  <a:cubicBezTo>
                    <a:pt x="358" y="273"/>
                    <a:pt x="357" y="285"/>
                    <a:pt x="349" y="292"/>
                  </a:cubicBezTo>
                  <a:close/>
                </a:path>
              </a:pathLst>
            </a:custGeom>
            <a:noFill/>
            <a:ln w="6350" cap="flat">
              <a:solidFill>
                <a:srgbClr val="1E1D1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155" name="Freeform 33">
              <a:extLst>
                <a:ext uri="{FF2B5EF4-FFF2-40B4-BE49-F238E27FC236}">
                  <a16:creationId xmlns:a16="http://schemas.microsoft.com/office/drawing/2014/main" id="{D38452C9-FB85-4882-A589-FBFE5F5CF974}"/>
                </a:ext>
              </a:extLst>
            </p:cNvPr>
            <p:cNvSpPr>
              <a:spLocks/>
            </p:cNvSpPr>
            <p:nvPr/>
          </p:nvSpPr>
          <p:spPr bwMode="auto">
            <a:xfrm>
              <a:off x="5899944" y="3101181"/>
              <a:ext cx="239713" cy="212725"/>
            </a:xfrm>
            <a:custGeom>
              <a:avLst/>
              <a:gdLst>
                <a:gd name="T0" fmla="*/ 136 w 136"/>
                <a:gd name="T1" fmla="*/ 21 h 120"/>
                <a:gd name="T2" fmla="*/ 24 w 136"/>
                <a:gd name="T3" fmla="*/ 120 h 120"/>
                <a:gd name="T4" fmla="*/ 0 w 136"/>
                <a:gd name="T5" fmla="*/ 93 h 120"/>
                <a:gd name="T6" fmla="*/ 98 w 136"/>
                <a:gd name="T7" fmla="*/ 7 h 120"/>
                <a:gd name="T8" fmla="*/ 125 w 136"/>
                <a:gd name="T9" fmla="*/ 9 h 120"/>
                <a:gd name="T10" fmla="*/ 136 w 136"/>
                <a:gd name="T11" fmla="*/ 21 h 120"/>
              </a:gdLst>
              <a:ahLst/>
              <a:cxnLst>
                <a:cxn ang="0">
                  <a:pos x="T0" y="T1"/>
                </a:cxn>
                <a:cxn ang="0">
                  <a:pos x="T2" y="T3"/>
                </a:cxn>
                <a:cxn ang="0">
                  <a:pos x="T4" y="T5"/>
                </a:cxn>
                <a:cxn ang="0">
                  <a:pos x="T6" y="T7"/>
                </a:cxn>
                <a:cxn ang="0">
                  <a:pos x="T8" y="T9"/>
                </a:cxn>
                <a:cxn ang="0">
                  <a:pos x="T10" y="T11"/>
                </a:cxn>
              </a:cxnLst>
              <a:rect l="0" t="0" r="r" b="b"/>
              <a:pathLst>
                <a:path w="136" h="120">
                  <a:moveTo>
                    <a:pt x="136" y="21"/>
                  </a:moveTo>
                  <a:cubicBezTo>
                    <a:pt x="24" y="120"/>
                    <a:pt x="24" y="120"/>
                    <a:pt x="24" y="120"/>
                  </a:cubicBezTo>
                  <a:cubicBezTo>
                    <a:pt x="0" y="93"/>
                    <a:pt x="0" y="93"/>
                    <a:pt x="0" y="93"/>
                  </a:cubicBezTo>
                  <a:cubicBezTo>
                    <a:pt x="98" y="7"/>
                    <a:pt x="98" y="7"/>
                    <a:pt x="98" y="7"/>
                  </a:cubicBezTo>
                  <a:cubicBezTo>
                    <a:pt x="106" y="0"/>
                    <a:pt x="118" y="1"/>
                    <a:pt x="125" y="9"/>
                  </a:cubicBezTo>
                  <a:lnTo>
                    <a:pt x="136" y="21"/>
                  </a:lnTo>
                  <a:close/>
                </a:path>
              </a:pathLst>
            </a:custGeom>
            <a:solidFill>
              <a:srgbClr val="D0598C"/>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56" name="Freeform 34">
              <a:extLst>
                <a:ext uri="{FF2B5EF4-FFF2-40B4-BE49-F238E27FC236}">
                  <a16:creationId xmlns:a16="http://schemas.microsoft.com/office/drawing/2014/main" id="{FCB983BE-46AB-4479-90B0-F7BC8E249815}"/>
                </a:ext>
              </a:extLst>
            </p:cNvPr>
            <p:cNvSpPr>
              <a:spLocks/>
            </p:cNvSpPr>
            <p:nvPr/>
          </p:nvSpPr>
          <p:spPr bwMode="auto">
            <a:xfrm>
              <a:off x="5942806" y="3139281"/>
              <a:ext cx="463550" cy="477838"/>
            </a:xfrm>
            <a:custGeom>
              <a:avLst/>
              <a:gdLst>
                <a:gd name="T0" fmla="*/ 124 w 292"/>
                <a:gd name="T1" fmla="*/ 0 h 301"/>
                <a:gd name="T2" fmla="*/ 0 w 292"/>
                <a:gd name="T3" fmla="*/ 110 h 301"/>
                <a:gd name="T4" fmla="*/ 168 w 292"/>
                <a:gd name="T5" fmla="*/ 301 h 301"/>
                <a:gd name="T6" fmla="*/ 292 w 292"/>
                <a:gd name="T7" fmla="*/ 191 h 301"/>
                <a:gd name="T8" fmla="*/ 124 w 292"/>
                <a:gd name="T9" fmla="*/ 0 h 301"/>
              </a:gdLst>
              <a:ahLst/>
              <a:cxnLst>
                <a:cxn ang="0">
                  <a:pos x="T0" y="T1"/>
                </a:cxn>
                <a:cxn ang="0">
                  <a:pos x="T2" y="T3"/>
                </a:cxn>
                <a:cxn ang="0">
                  <a:pos x="T4" y="T5"/>
                </a:cxn>
                <a:cxn ang="0">
                  <a:pos x="T6" y="T7"/>
                </a:cxn>
                <a:cxn ang="0">
                  <a:pos x="T8" y="T9"/>
                </a:cxn>
              </a:cxnLst>
              <a:rect l="0" t="0" r="r" b="b"/>
              <a:pathLst>
                <a:path w="292" h="301">
                  <a:moveTo>
                    <a:pt x="124" y="0"/>
                  </a:moveTo>
                  <a:lnTo>
                    <a:pt x="0" y="110"/>
                  </a:lnTo>
                  <a:lnTo>
                    <a:pt x="168" y="301"/>
                  </a:lnTo>
                  <a:lnTo>
                    <a:pt x="292" y="191"/>
                  </a:lnTo>
                  <a:lnTo>
                    <a:pt x="124" y="0"/>
                  </a:lnTo>
                  <a:close/>
                </a:path>
              </a:pathLst>
            </a:custGeom>
            <a:solidFill>
              <a:srgbClr val="D86D91"/>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57" name="Freeform 35">
              <a:extLst>
                <a:ext uri="{FF2B5EF4-FFF2-40B4-BE49-F238E27FC236}">
                  <a16:creationId xmlns:a16="http://schemas.microsoft.com/office/drawing/2014/main" id="{A0175249-EE24-469E-87DC-8FC803FDAA25}"/>
                </a:ext>
              </a:extLst>
            </p:cNvPr>
            <p:cNvSpPr>
              <a:spLocks/>
            </p:cNvSpPr>
            <p:nvPr/>
          </p:nvSpPr>
          <p:spPr bwMode="auto">
            <a:xfrm>
              <a:off x="6209506" y="3442494"/>
              <a:ext cx="295275" cy="285750"/>
            </a:xfrm>
            <a:custGeom>
              <a:avLst/>
              <a:gdLst>
                <a:gd name="T0" fmla="*/ 186 w 186"/>
                <a:gd name="T1" fmla="*/ 70 h 180"/>
                <a:gd name="T2" fmla="*/ 61 w 186"/>
                <a:gd name="T3" fmla="*/ 180 h 180"/>
                <a:gd name="T4" fmla="*/ 0 w 186"/>
                <a:gd name="T5" fmla="*/ 110 h 180"/>
                <a:gd name="T6" fmla="*/ 124 w 186"/>
                <a:gd name="T7" fmla="*/ 0 h 180"/>
                <a:gd name="T8" fmla="*/ 186 w 186"/>
                <a:gd name="T9" fmla="*/ 70 h 180"/>
              </a:gdLst>
              <a:ahLst/>
              <a:cxnLst>
                <a:cxn ang="0">
                  <a:pos x="T0" y="T1"/>
                </a:cxn>
                <a:cxn ang="0">
                  <a:pos x="T2" y="T3"/>
                </a:cxn>
                <a:cxn ang="0">
                  <a:pos x="T4" y="T5"/>
                </a:cxn>
                <a:cxn ang="0">
                  <a:pos x="T6" y="T7"/>
                </a:cxn>
                <a:cxn ang="0">
                  <a:pos x="T8" y="T9"/>
                </a:cxn>
              </a:cxnLst>
              <a:rect l="0" t="0" r="r" b="b"/>
              <a:pathLst>
                <a:path w="186" h="180">
                  <a:moveTo>
                    <a:pt x="186" y="70"/>
                  </a:moveTo>
                  <a:lnTo>
                    <a:pt x="61" y="180"/>
                  </a:lnTo>
                  <a:lnTo>
                    <a:pt x="0" y="110"/>
                  </a:lnTo>
                  <a:lnTo>
                    <a:pt x="124" y="0"/>
                  </a:lnTo>
                  <a:lnTo>
                    <a:pt x="186" y="70"/>
                  </a:lnTo>
                  <a:close/>
                </a:path>
              </a:pathLst>
            </a:custGeom>
            <a:solidFill>
              <a:srgbClr val="437BBF"/>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58" name="Freeform 36">
              <a:extLst>
                <a:ext uri="{FF2B5EF4-FFF2-40B4-BE49-F238E27FC236}">
                  <a16:creationId xmlns:a16="http://schemas.microsoft.com/office/drawing/2014/main" id="{25155317-2FBB-41EE-BC02-7650BB8A9D1D}"/>
                </a:ext>
              </a:extLst>
            </p:cNvPr>
            <p:cNvSpPr>
              <a:spLocks noEditPoints="1"/>
            </p:cNvSpPr>
            <p:nvPr/>
          </p:nvSpPr>
          <p:spPr bwMode="auto">
            <a:xfrm>
              <a:off x="4239419" y="4534694"/>
              <a:ext cx="3562350" cy="585788"/>
            </a:xfrm>
            <a:custGeom>
              <a:avLst/>
              <a:gdLst>
                <a:gd name="T0" fmla="*/ 1970 w 2020"/>
                <a:gd name="T1" fmla="*/ 0 h 332"/>
                <a:gd name="T2" fmla="*/ 0 w 2020"/>
                <a:gd name="T3" fmla="*/ 0 h 332"/>
                <a:gd name="T4" fmla="*/ 0 w 2020"/>
                <a:gd name="T5" fmla="*/ 332 h 332"/>
                <a:gd name="T6" fmla="*/ 1970 w 2020"/>
                <a:gd name="T7" fmla="*/ 332 h 332"/>
                <a:gd name="T8" fmla="*/ 2020 w 2020"/>
                <a:gd name="T9" fmla="*/ 166 h 332"/>
                <a:gd name="T10" fmla="*/ 1970 w 2020"/>
                <a:gd name="T11" fmla="*/ 0 h 332"/>
                <a:gd name="T12" fmla="*/ 1879 w 2020"/>
                <a:gd name="T13" fmla="*/ 226 h 332"/>
                <a:gd name="T14" fmla="*/ 1819 w 2020"/>
                <a:gd name="T15" fmla="*/ 166 h 332"/>
                <a:gd name="T16" fmla="*/ 1879 w 2020"/>
                <a:gd name="T17" fmla="*/ 106 h 332"/>
                <a:gd name="T18" fmla="*/ 1939 w 2020"/>
                <a:gd name="T19" fmla="*/ 166 h 332"/>
                <a:gd name="T20" fmla="*/ 1879 w 2020"/>
                <a:gd name="T21" fmla="*/ 226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20" h="332">
                  <a:moveTo>
                    <a:pt x="1970" y="0"/>
                  </a:moveTo>
                  <a:cubicBezTo>
                    <a:pt x="0" y="0"/>
                    <a:pt x="0" y="0"/>
                    <a:pt x="0" y="0"/>
                  </a:cubicBezTo>
                  <a:cubicBezTo>
                    <a:pt x="0" y="332"/>
                    <a:pt x="0" y="332"/>
                    <a:pt x="0" y="332"/>
                  </a:cubicBezTo>
                  <a:cubicBezTo>
                    <a:pt x="1970" y="332"/>
                    <a:pt x="1970" y="332"/>
                    <a:pt x="1970" y="332"/>
                  </a:cubicBezTo>
                  <a:cubicBezTo>
                    <a:pt x="1997" y="332"/>
                    <a:pt x="2020" y="258"/>
                    <a:pt x="2020" y="166"/>
                  </a:cubicBezTo>
                  <a:cubicBezTo>
                    <a:pt x="2020" y="75"/>
                    <a:pt x="1997" y="0"/>
                    <a:pt x="1970" y="0"/>
                  </a:cubicBezTo>
                  <a:close/>
                  <a:moveTo>
                    <a:pt x="1879" y="226"/>
                  </a:moveTo>
                  <a:cubicBezTo>
                    <a:pt x="1846" y="226"/>
                    <a:pt x="1819" y="199"/>
                    <a:pt x="1819" y="166"/>
                  </a:cubicBezTo>
                  <a:cubicBezTo>
                    <a:pt x="1819" y="133"/>
                    <a:pt x="1846" y="106"/>
                    <a:pt x="1879" y="106"/>
                  </a:cubicBezTo>
                  <a:cubicBezTo>
                    <a:pt x="1912" y="106"/>
                    <a:pt x="1939" y="133"/>
                    <a:pt x="1939" y="166"/>
                  </a:cubicBezTo>
                  <a:cubicBezTo>
                    <a:pt x="1939" y="199"/>
                    <a:pt x="1912" y="226"/>
                    <a:pt x="1879" y="226"/>
                  </a:cubicBezTo>
                  <a:close/>
                </a:path>
              </a:pathLst>
            </a:custGeom>
            <a:solidFill>
              <a:srgbClr val="424242">
                <a:alpha val="20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59" name="Freeform 37">
              <a:extLst>
                <a:ext uri="{FF2B5EF4-FFF2-40B4-BE49-F238E27FC236}">
                  <a16:creationId xmlns:a16="http://schemas.microsoft.com/office/drawing/2014/main" id="{E465FC26-18BE-432B-A8A6-157C76D4C7D7}"/>
                </a:ext>
              </a:extLst>
            </p:cNvPr>
            <p:cNvSpPr>
              <a:spLocks noEditPoints="1"/>
            </p:cNvSpPr>
            <p:nvPr/>
          </p:nvSpPr>
          <p:spPr bwMode="auto">
            <a:xfrm>
              <a:off x="4274344" y="4479131"/>
              <a:ext cx="3562350" cy="585788"/>
            </a:xfrm>
            <a:custGeom>
              <a:avLst/>
              <a:gdLst>
                <a:gd name="T0" fmla="*/ 1970 w 2020"/>
                <a:gd name="T1" fmla="*/ 0 h 332"/>
                <a:gd name="T2" fmla="*/ 0 w 2020"/>
                <a:gd name="T3" fmla="*/ 0 h 332"/>
                <a:gd name="T4" fmla="*/ 0 w 2020"/>
                <a:gd name="T5" fmla="*/ 332 h 332"/>
                <a:gd name="T6" fmla="*/ 1970 w 2020"/>
                <a:gd name="T7" fmla="*/ 332 h 332"/>
                <a:gd name="T8" fmla="*/ 2020 w 2020"/>
                <a:gd name="T9" fmla="*/ 166 h 332"/>
                <a:gd name="T10" fmla="*/ 1970 w 2020"/>
                <a:gd name="T11" fmla="*/ 0 h 332"/>
                <a:gd name="T12" fmla="*/ 1879 w 2020"/>
                <a:gd name="T13" fmla="*/ 226 h 332"/>
                <a:gd name="T14" fmla="*/ 1819 w 2020"/>
                <a:gd name="T15" fmla="*/ 166 h 332"/>
                <a:gd name="T16" fmla="*/ 1879 w 2020"/>
                <a:gd name="T17" fmla="*/ 106 h 332"/>
                <a:gd name="T18" fmla="*/ 1939 w 2020"/>
                <a:gd name="T19" fmla="*/ 166 h 332"/>
                <a:gd name="T20" fmla="*/ 1879 w 2020"/>
                <a:gd name="T21" fmla="*/ 226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20" h="332">
                  <a:moveTo>
                    <a:pt x="1970" y="0"/>
                  </a:moveTo>
                  <a:cubicBezTo>
                    <a:pt x="0" y="0"/>
                    <a:pt x="0" y="0"/>
                    <a:pt x="0" y="0"/>
                  </a:cubicBezTo>
                  <a:cubicBezTo>
                    <a:pt x="0" y="332"/>
                    <a:pt x="0" y="332"/>
                    <a:pt x="0" y="332"/>
                  </a:cubicBezTo>
                  <a:cubicBezTo>
                    <a:pt x="1970" y="332"/>
                    <a:pt x="1970" y="332"/>
                    <a:pt x="1970" y="332"/>
                  </a:cubicBezTo>
                  <a:cubicBezTo>
                    <a:pt x="1997" y="332"/>
                    <a:pt x="2020" y="258"/>
                    <a:pt x="2020" y="166"/>
                  </a:cubicBezTo>
                  <a:cubicBezTo>
                    <a:pt x="2020" y="75"/>
                    <a:pt x="1997" y="0"/>
                    <a:pt x="1970" y="0"/>
                  </a:cubicBezTo>
                  <a:close/>
                  <a:moveTo>
                    <a:pt x="1879" y="226"/>
                  </a:moveTo>
                  <a:cubicBezTo>
                    <a:pt x="1846" y="226"/>
                    <a:pt x="1819" y="199"/>
                    <a:pt x="1819" y="166"/>
                  </a:cubicBezTo>
                  <a:cubicBezTo>
                    <a:pt x="1819" y="133"/>
                    <a:pt x="1846" y="106"/>
                    <a:pt x="1879" y="106"/>
                  </a:cubicBezTo>
                  <a:cubicBezTo>
                    <a:pt x="1912" y="106"/>
                    <a:pt x="1939" y="133"/>
                    <a:pt x="1939" y="166"/>
                  </a:cubicBezTo>
                  <a:cubicBezTo>
                    <a:pt x="1939" y="199"/>
                    <a:pt x="1912" y="226"/>
                    <a:pt x="1879" y="226"/>
                  </a:cubicBezTo>
                  <a:close/>
                </a:path>
              </a:pathLst>
            </a:custGeom>
            <a:solidFill>
              <a:srgbClr val="00B3E7"/>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60" name="Freeform 38">
              <a:extLst>
                <a:ext uri="{FF2B5EF4-FFF2-40B4-BE49-F238E27FC236}">
                  <a16:creationId xmlns:a16="http://schemas.microsoft.com/office/drawing/2014/main" id="{BA7E7289-13AB-456D-924C-0FFDC23C701D}"/>
                </a:ext>
              </a:extLst>
            </p:cNvPr>
            <p:cNvSpPr>
              <a:spLocks/>
            </p:cNvSpPr>
            <p:nvPr/>
          </p:nvSpPr>
          <p:spPr bwMode="auto">
            <a:xfrm>
              <a:off x="4274344" y="4771231"/>
              <a:ext cx="3562350" cy="293688"/>
            </a:xfrm>
            <a:custGeom>
              <a:avLst/>
              <a:gdLst>
                <a:gd name="T0" fmla="*/ 1939 w 2020"/>
                <a:gd name="T1" fmla="*/ 0 h 166"/>
                <a:gd name="T2" fmla="*/ 1879 w 2020"/>
                <a:gd name="T3" fmla="*/ 60 h 166"/>
                <a:gd name="T4" fmla="*/ 1819 w 2020"/>
                <a:gd name="T5" fmla="*/ 0 h 166"/>
                <a:gd name="T6" fmla="*/ 0 w 2020"/>
                <a:gd name="T7" fmla="*/ 0 h 166"/>
                <a:gd name="T8" fmla="*/ 0 w 2020"/>
                <a:gd name="T9" fmla="*/ 166 h 166"/>
                <a:gd name="T10" fmla="*/ 1970 w 2020"/>
                <a:gd name="T11" fmla="*/ 166 h 166"/>
                <a:gd name="T12" fmla="*/ 2020 w 2020"/>
                <a:gd name="T13" fmla="*/ 0 h 166"/>
                <a:gd name="T14" fmla="*/ 1939 w 2020"/>
                <a:gd name="T15" fmla="*/ 0 h 1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20" h="166">
                  <a:moveTo>
                    <a:pt x="1939" y="0"/>
                  </a:moveTo>
                  <a:cubicBezTo>
                    <a:pt x="1939" y="33"/>
                    <a:pt x="1912" y="60"/>
                    <a:pt x="1879" y="60"/>
                  </a:cubicBezTo>
                  <a:cubicBezTo>
                    <a:pt x="1846" y="60"/>
                    <a:pt x="1819" y="33"/>
                    <a:pt x="1819" y="0"/>
                  </a:cubicBezTo>
                  <a:cubicBezTo>
                    <a:pt x="0" y="0"/>
                    <a:pt x="0" y="0"/>
                    <a:pt x="0" y="0"/>
                  </a:cubicBezTo>
                  <a:cubicBezTo>
                    <a:pt x="0" y="166"/>
                    <a:pt x="0" y="166"/>
                    <a:pt x="0" y="166"/>
                  </a:cubicBezTo>
                  <a:cubicBezTo>
                    <a:pt x="1970" y="166"/>
                    <a:pt x="1970" y="166"/>
                    <a:pt x="1970" y="166"/>
                  </a:cubicBezTo>
                  <a:cubicBezTo>
                    <a:pt x="1997" y="166"/>
                    <a:pt x="2020" y="92"/>
                    <a:pt x="2020" y="0"/>
                  </a:cubicBezTo>
                  <a:lnTo>
                    <a:pt x="1939" y="0"/>
                  </a:lnTo>
                  <a:close/>
                </a:path>
              </a:pathLst>
            </a:custGeom>
            <a:solidFill>
              <a:srgbClr val="316296"/>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61" name="Freeform 39">
              <a:extLst>
                <a:ext uri="{FF2B5EF4-FFF2-40B4-BE49-F238E27FC236}">
                  <a16:creationId xmlns:a16="http://schemas.microsoft.com/office/drawing/2014/main" id="{B868C8DB-8C92-4431-9063-13AB3EABB8C7}"/>
                </a:ext>
              </a:extLst>
            </p:cNvPr>
            <p:cNvSpPr>
              <a:spLocks/>
            </p:cNvSpPr>
            <p:nvPr/>
          </p:nvSpPr>
          <p:spPr bwMode="auto">
            <a:xfrm>
              <a:off x="4506119" y="4152106"/>
              <a:ext cx="1322388" cy="1589088"/>
            </a:xfrm>
            <a:custGeom>
              <a:avLst/>
              <a:gdLst>
                <a:gd name="T0" fmla="*/ 141 w 750"/>
                <a:gd name="T1" fmla="*/ 87 h 901"/>
                <a:gd name="T2" fmla="*/ 35 w 750"/>
                <a:gd name="T3" fmla="*/ 20 h 901"/>
                <a:gd name="T4" fmla="*/ 35 w 750"/>
                <a:gd name="T5" fmla="*/ 20 h 901"/>
                <a:gd name="T6" fmla="*/ 6 w 750"/>
                <a:gd name="T7" fmla="*/ 1 h 901"/>
                <a:gd name="T8" fmla="*/ 2 w 750"/>
                <a:gd name="T9" fmla="*/ 5 h 901"/>
                <a:gd name="T10" fmla="*/ 62 w 750"/>
                <a:gd name="T11" fmla="*/ 151 h 901"/>
                <a:gd name="T12" fmla="*/ 671 w 750"/>
                <a:gd name="T13" fmla="*/ 901 h 901"/>
                <a:gd name="T14" fmla="*/ 750 w 750"/>
                <a:gd name="T15" fmla="*/ 837 h 901"/>
                <a:gd name="T16" fmla="*/ 141 w 750"/>
                <a:gd name="T17" fmla="*/ 87 h 9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0" h="901">
                  <a:moveTo>
                    <a:pt x="141" y="87"/>
                  </a:moveTo>
                  <a:cubicBezTo>
                    <a:pt x="35" y="20"/>
                    <a:pt x="35" y="20"/>
                    <a:pt x="35" y="20"/>
                  </a:cubicBezTo>
                  <a:cubicBezTo>
                    <a:pt x="35" y="20"/>
                    <a:pt x="35" y="20"/>
                    <a:pt x="35" y="20"/>
                  </a:cubicBezTo>
                  <a:cubicBezTo>
                    <a:pt x="6" y="1"/>
                    <a:pt x="6" y="1"/>
                    <a:pt x="6" y="1"/>
                  </a:cubicBezTo>
                  <a:cubicBezTo>
                    <a:pt x="4" y="0"/>
                    <a:pt x="0" y="2"/>
                    <a:pt x="2" y="5"/>
                  </a:cubicBezTo>
                  <a:cubicBezTo>
                    <a:pt x="62" y="151"/>
                    <a:pt x="62" y="151"/>
                    <a:pt x="62" y="151"/>
                  </a:cubicBezTo>
                  <a:cubicBezTo>
                    <a:pt x="671" y="901"/>
                    <a:pt x="671" y="901"/>
                    <a:pt x="671" y="901"/>
                  </a:cubicBezTo>
                  <a:cubicBezTo>
                    <a:pt x="750" y="837"/>
                    <a:pt x="750" y="837"/>
                    <a:pt x="750" y="837"/>
                  </a:cubicBezTo>
                  <a:lnTo>
                    <a:pt x="141" y="87"/>
                  </a:lnTo>
                  <a:close/>
                </a:path>
              </a:pathLst>
            </a:custGeom>
            <a:solidFill>
              <a:srgbClr val="424242">
                <a:alpha val="20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62" name="Freeform 40">
              <a:extLst>
                <a:ext uri="{FF2B5EF4-FFF2-40B4-BE49-F238E27FC236}">
                  <a16:creationId xmlns:a16="http://schemas.microsoft.com/office/drawing/2014/main" id="{E645C0B1-F81B-4E8A-85E2-98265F8B724A}"/>
                </a:ext>
              </a:extLst>
            </p:cNvPr>
            <p:cNvSpPr>
              <a:spLocks/>
            </p:cNvSpPr>
            <p:nvPr/>
          </p:nvSpPr>
          <p:spPr bwMode="auto">
            <a:xfrm>
              <a:off x="4615656" y="4256881"/>
              <a:ext cx="1212850" cy="1435100"/>
            </a:xfrm>
            <a:custGeom>
              <a:avLst/>
              <a:gdLst>
                <a:gd name="T0" fmla="*/ 764 w 764"/>
                <a:gd name="T1" fmla="*/ 833 h 904"/>
                <a:gd name="T2" fmla="*/ 676 w 764"/>
                <a:gd name="T3" fmla="*/ 904 h 904"/>
                <a:gd name="T4" fmla="*/ 0 w 764"/>
                <a:gd name="T5" fmla="*/ 71 h 904"/>
                <a:gd name="T6" fmla="*/ 87 w 764"/>
                <a:gd name="T7" fmla="*/ 0 h 904"/>
                <a:gd name="T8" fmla="*/ 764 w 764"/>
                <a:gd name="T9" fmla="*/ 833 h 904"/>
              </a:gdLst>
              <a:ahLst/>
              <a:cxnLst>
                <a:cxn ang="0">
                  <a:pos x="T0" y="T1"/>
                </a:cxn>
                <a:cxn ang="0">
                  <a:pos x="T2" y="T3"/>
                </a:cxn>
                <a:cxn ang="0">
                  <a:pos x="T4" y="T5"/>
                </a:cxn>
                <a:cxn ang="0">
                  <a:pos x="T6" y="T7"/>
                </a:cxn>
                <a:cxn ang="0">
                  <a:pos x="T8" y="T9"/>
                </a:cxn>
              </a:cxnLst>
              <a:rect l="0" t="0" r="r" b="b"/>
              <a:pathLst>
                <a:path w="764" h="904">
                  <a:moveTo>
                    <a:pt x="764" y="833"/>
                  </a:moveTo>
                  <a:lnTo>
                    <a:pt x="676" y="904"/>
                  </a:lnTo>
                  <a:lnTo>
                    <a:pt x="0" y="71"/>
                  </a:lnTo>
                  <a:lnTo>
                    <a:pt x="87" y="0"/>
                  </a:lnTo>
                  <a:lnTo>
                    <a:pt x="764" y="833"/>
                  </a:lnTo>
                  <a:close/>
                </a:path>
              </a:pathLst>
            </a:custGeom>
            <a:solidFill>
              <a:srgbClr val="3D5D91"/>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63" name="Freeform 41">
              <a:extLst>
                <a:ext uri="{FF2B5EF4-FFF2-40B4-BE49-F238E27FC236}">
                  <a16:creationId xmlns:a16="http://schemas.microsoft.com/office/drawing/2014/main" id="{5AF757D5-CBDB-4F6E-B920-990A6E27C70E}"/>
                </a:ext>
              </a:extLst>
            </p:cNvPr>
            <p:cNvSpPr>
              <a:spLocks/>
            </p:cNvSpPr>
            <p:nvPr/>
          </p:nvSpPr>
          <p:spPr bwMode="auto">
            <a:xfrm>
              <a:off x="4656931" y="4291806"/>
              <a:ext cx="1127125" cy="1365250"/>
            </a:xfrm>
            <a:custGeom>
              <a:avLst/>
              <a:gdLst>
                <a:gd name="T0" fmla="*/ 710 w 710"/>
                <a:gd name="T1" fmla="*/ 833 h 860"/>
                <a:gd name="T2" fmla="*/ 677 w 710"/>
                <a:gd name="T3" fmla="*/ 860 h 860"/>
                <a:gd name="T4" fmla="*/ 0 w 710"/>
                <a:gd name="T5" fmla="*/ 27 h 860"/>
                <a:gd name="T6" fmla="*/ 34 w 710"/>
                <a:gd name="T7" fmla="*/ 0 h 860"/>
                <a:gd name="T8" fmla="*/ 710 w 710"/>
                <a:gd name="T9" fmla="*/ 833 h 860"/>
              </a:gdLst>
              <a:ahLst/>
              <a:cxnLst>
                <a:cxn ang="0">
                  <a:pos x="T0" y="T1"/>
                </a:cxn>
                <a:cxn ang="0">
                  <a:pos x="T2" y="T3"/>
                </a:cxn>
                <a:cxn ang="0">
                  <a:pos x="T4" y="T5"/>
                </a:cxn>
                <a:cxn ang="0">
                  <a:pos x="T6" y="T7"/>
                </a:cxn>
                <a:cxn ang="0">
                  <a:pos x="T8" y="T9"/>
                </a:cxn>
              </a:cxnLst>
              <a:rect l="0" t="0" r="r" b="b"/>
              <a:pathLst>
                <a:path w="710" h="860">
                  <a:moveTo>
                    <a:pt x="710" y="833"/>
                  </a:moveTo>
                  <a:lnTo>
                    <a:pt x="677" y="860"/>
                  </a:lnTo>
                  <a:lnTo>
                    <a:pt x="0" y="27"/>
                  </a:lnTo>
                  <a:lnTo>
                    <a:pt x="34" y="0"/>
                  </a:lnTo>
                  <a:lnTo>
                    <a:pt x="710" y="833"/>
                  </a:lnTo>
                  <a:close/>
                </a:path>
              </a:pathLst>
            </a:custGeom>
            <a:solidFill>
              <a:srgbClr val="00B3E7"/>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64" name="Freeform 42">
              <a:extLst>
                <a:ext uri="{FF2B5EF4-FFF2-40B4-BE49-F238E27FC236}">
                  <a16:creationId xmlns:a16="http://schemas.microsoft.com/office/drawing/2014/main" id="{14A9096D-4798-43B3-B1AF-F92DEFA757B8}"/>
                </a:ext>
              </a:extLst>
            </p:cNvPr>
            <p:cNvSpPr>
              <a:spLocks/>
            </p:cNvSpPr>
            <p:nvPr/>
          </p:nvSpPr>
          <p:spPr bwMode="auto">
            <a:xfrm>
              <a:off x="4506119" y="4102894"/>
              <a:ext cx="247650" cy="266700"/>
            </a:xfrm>
            <a:custGeom>
              <a:avLst/>
              <a:gdLst>
                <a:gd name="T0" fmla="*/ 2 w 141"/>
                <a:gd name="T1" fmla="*/ 5 h 151"/>
                <a:gd name="T2" fmla="*/ 62 w 141"/>
                <a:gd name="T3" fmla="*/ 151 h 151"/>
                <a:gd name="T4" fmla="*/ 141 w 141"/>
                <a:gd name="T5" fmla="*/ 87 h 151"/>
                <a:gd name="T6" fmla="*/ 6 w 141"/>
                <a:gd name="T7" fmla="*/ 1 h 151"/>
                <a:gd name="T8" fmla="*/ 2 w 141"/>
                <a:gd name="T9" fmla="*/ 5 h 151"/>
              </a:gdLst>
              <a:ahLst/>
              <a:cxnLst>
                <a:cxn ang="0">
                  <a:pos x="T0" y="T1"/>
                </a:cxn>
                <a:cxn ang="0">
                  <a:pos x="T2" y="T3"/>
                </a:cxn>
                <a:cxn ang="0">
                  <a:pos x="T4" y="T5"/>
                </a:cxn>
                <a:cxn ang="0">
                  <a:pos x="T6" y="T7"/>
                </a:cxn>
                <a:cxn ang="0">
                  <a:pos x="T8" y="T9"/>
                </a:cxn>
              </a:cxnLst>
              <a:rect l="0" t="0" r="r" b="b"/>
              <a:pathLst>
                <a:path w="141" h="151">
                  <a:moveTo>
                    <a:pt x="2" y="5"/>
                  </a:moveTo>
                  <a:cubicBezTo>
                    <a:pt x="62" y="151"/>
                    <a:pt x="62" y="151"/>
                    <a:pt x="62" y="151"/>
                  </a:cubicBezTo>
                  <a:cubicBezTo>
                    <a:pt x="141" y="87"/>
                    <a:pt x="141" y="87"/>
                    <a:pt x="141" y="87"/>
                  </a:cubicBezTo>
                  <a:cubicBezTo>
                    <a:pt x="6" y="1"/>
                    <a:pt x="6" y="1"/>
                    <a:pt x="6" y="1"/>
                  </a:cubicBezTo>
                  <a:cubicBezTo>
                    <a:pt x="4" y="0"/>
                    <a:pt x="0" y="2"/>
                    <a:pt x="2" y="5"/>
                  </a:cubicBezTo>
                  <a:close/>
                </a:path>
              </a:pathLst>
            </a:custGeom>
            <a:solidFill>
              <a:srgbClr val="D37187"/>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65" name="Freeform 43">
              <a:extLst>
                <a:ext uri="{FF2B5EF4-FFF2-40B4-BE49-F238E27FC236}">
                  <a16:creationId xmlns:a16="http://schemas.microsoft.com/office/drawing/2014/main" id="{4C4FB20B-DDE7-4E75-9E9B-A548D91B8C43}"/>
                </a:ext>
              </a:extLst>
            </p:cNvPr>
            <p:cNvSpPr>
              <a:spLocks/>
            </p:cNvSpPr>
            <p:nvPr/>
          </p:nvSpPr>
          <p:spPr bwMode="auto">
            <a:xfrm>
              <a:off x="4506119" y="4102894"/>
              <a:ext cx="61913" cy="66675"/>
            </a:xfrm>
            <a:custGeom>
              <a:avLst/>
              <a:gdLst>
                <a:gd name="T0" fmla="*/ 35 w 35"/>
                <a:gd name="T1" fmla="*/ 20 h 38"/>
                <a:gd name="T2" fmla="*/ 6 w 35"/>
                <a:gd name="T3" fmla="*/ 1 h 38"/>
                <a:gd name="T4" fmla="*/ 2 w 35"/>
                <a:gd name="T5" fmla="*/ 5 h 38"/>
                <a:gd name="T6" fmla="*/ 15 w 35"/>
                <a:gd name="T7" fmla="*/ 38 h 38"/>
                <a:gd name="T8" fmla="*/ 35 w 35"/>
                <a:gd name="T9" fmla="*/ 20 h 38"/>
              </a:gdLst>
              <a:ahLst/>
              <a:cxnLst>
                <a:cxn ang="0">
                  <a:pos x="T0" y="T1"/>
                </a:cxn>
                <a:cxn ang="0">
                  <a:pos x="T2" y="T3"/>
                </a:cxn>
                <a:cxn ang="0">
                  <a:pos x="T4" y="T5"/>
                </a:cxn>
                <a:cxn ang="0">
                  <a:pos x="T6" y="T7"/>
                </a:cxn>
                <a:cxn ang="0">
                  <a:pos x="T8" y="T9"/>
                </a:cxn>
              </a:cxnLst>
              <a:rect l="0" t="0" r="r" b="b"/>
              <a:pathLst>
                <a:path w="35" h="38">
                  <a:moveTo>
                    <a:pt x="35" y="20"/>
                  </a:moveTo>
                  <a:cubicBezTo>
                    <a:pt x="6" y="1"/>
                    <a:pt x="6" y="1"/>
                    <a:pt x="6" y="1"/>
                  </a:cubicBezTo>
                  <a:cubicBezTo>
                    <a:pt x="4" y="0"/>
                    <a:pt x="0" y="2"/>
                    <a:pt x="2" y="5"/>
                  </a:cubicBezTo>
                  <a:cubicBezTo>
                    <a:pt x="15" y="38"/>
                    <a:pt x="15" y="38"/>
                    <a:pt x="15" y="38"/>
                  </a:cubicBezTo>
                  <a:lnTo>
                    <a:pt x="35" y="20"/>
                  </a:lnTo>
                  <a:close/>
                </a:path>
              </a:pathLst>
            </a:custGeom>
            <a:solidFill>
              <a:srgbClr val="3D5D91"/>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66" name="Freeform 44">
              <a:extLst>
                <a:ext uri="{FF2B5EF4-FFF2-40B4-BE49-F238E27FC236}">
                  <a16:creationId xmlns:a16="http://schemas.microsoft.com/office/drawing/2014/main" id="{A9C444C7-6D1B-47C7-A781-EDAC61DD9836}"/>
                </a:ext>
              </a:extLst>
            </p:cNvPr>
            <p:cNvSpPr>
              <a:spLocks/>
            </p:cNvSpPr>
            <p:nvPr/>
          </p:nvSpPr>
          <p:spPr bwMode="auto">
            <a:xfrm>
              <a:off x="6315869" y="3950494"/>
              <a:ext cx="604838" cy="1592263"/>
            </a:xfrm>
            <a:custGeom>
              <a:avLst/>
              <a:gdLst>
                <a:gd name="T0" fmla="*/ 285 w 343"/>
                <a:gd name="T1" fmla="*/ 14 h 903"/>
                <a:gd name="T2" fmla="*/ 252 w 343"/>
                <a:gd name="T3" fmla="*/ 129 h 903"/>
                <a:gd name="T4" fmla="*/ 292 w 343"/>
                <a:gd name="T5" fmla="*/ 141 h 903"/>
                <a:gd name="T6" fmla="*/ 330 w 343"/>
                <a:gd name="T7" fmla="*/ 221 h 903"/>
                <a:gd name="T8" fmla="*/ 75 w 343"/>
                <a:gd name="T9" fmla="*/ 865 h 903"/>
                <a:gd name="T10" fmla="*/ 16 w 343"/>
                <a:gd name="T11" fmla="*/ 900 h 903"/>
                <a:gd name="T12" fmla="*/ 0 w 343"/>
                <a:gd name="T13" fmla="*/ 898 h 903"/>
                <a:gd name="T14" fmla="*/ 224 w 343"/>
                <a:gd name="T15" fmla="*/ 0 h 903"/>
                <a:gd name="T16" fmla="*/ 285 w 343"/>
                <a:gd name="T17" fmla="*/ 14 h 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3" h="903">
                  <a:moveTo>
                    <a:pt x="285" y="14"/>
                  </a:moveTo>
                  <a:cubicBezTo>
                    <a:pt x="252" y="129"/>
                    <a:pt x="252" y="129"/>
                    <a:pt x="252" y="129"/>
                  </a:cubicBezTo>
                  <a:cubicBezTo>
                    <a:pt x="292" y="141"/>
                    <a:pt x="292" y="141"/>
                    <a:pt x="292" y="141"/>
                  </a:cubicBezTo>
                  <a:cubicBezTo>
                    <a:pt x="326" y="152"/>
                    <a:pt x="343" y="188"/>
                    <a:pt x="330" y="221"/>
                  </a:cubicBezTo>
                  <a:cubicBezTo>
                    <a:pt x="75" y="865"/>
                    <a:pt x="75" y="865"/>
                    <a:pt x="75" y="865"/>
                  </a:cubicBezTo>
                  <a:cubicBezTo>
                    <a:pt x="65" y="889"/>
                    <a:pt x="41" y="903"/>
                    <a:pt x="16" y="900"/>
                  </a:cubicBezTo>
                  <a:cubicBezTo>
                    <a:pt x="0" y="898"/>
                    <a:pt x="0" y="898"/>
                    <a:pt x="0" y="898"/>
                  </a:cubicBezTo>
                  <a:cubicBezTo>
                    <a:pt x="224" y="0"/>
                    <a:pt x="224" y="0"/>
                    <a:pt x="224" y="0"/>
                  </a:cubicBezTo>
                  <a:lnTo>
                    <a:pt x="285" y="14"/>
                  </a:lnTo>
                  <a:close/>
                </a:path>
              </a:pathLst>
            </a:custGeom>
            <a:solidFill>
              <a:srgbClr val="424242">
                <a:alpha val="20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67" name="Freeform 45">
              <a:extLst>
                <a:ext uri="{FF2B5EF4-FFF2-40B4-BE49-F238E27FC236}">
                  <a16:creationId xmlns:a16="http://schemas.microsoft.com/office/drawing/2014/main" id="{06F436F2-8642-44F3-BAC5-592561B00DBD}"/>
                </a:ext>
              </a:extLst>
            </p:cNvPr>
            <p:cNvSpPr>
              <a:spLocks noEditPoints="1"/>
            </p:cNvSpPr>
            <p:nvPr/>
          </p:nvSpPr>
          <p:spPr bwMode="auto">
            <a:xfrm>
              <a:off x="6611144" y="3237706"/>
              <a:ext cx="538163" cy="747713"/>
            </a:xfrm>
            <a:custGeom>
              <a:avLst/>
              <a:gdLst>
                <a:gd name="T0" fmla="*/ 305 w 305"/>
                <a:gd name="T1" fmla="*/ 153 h 424"/>
                <a:gd name="T2" fmla="*/ 152 w 305"/>
                <a:gd name="T3" fmla="*/ 0 h 424"/>
                <a:gd name="T4" fmla="*/ 0 w 305"/>
                <a:gd name="T5" fmla="*/ 153 h 424"/>
                <a:gd name="T6" fmla="*/ 74 w 305"/>
                <a:gd name="T7" fmla="*/ 284 h 424"/>
                <a:gd name="T8" fmla="*/ 50 w 305"/>
                <a:gd name="T9" fmla="*/ 395 h 424"/>
                <a:gd name="T10" fmla="*/ 50 w 305"/>
                <a:gd name="T11" fmla="*/ 395 h 424"/>
                <a:gd name="T12" fmla="*/ 50 w 305"/>
                <a:gd name="T13" fmla="*/ 395 h 424"/>
                <a:gd name="T14" fmla="*/ 88 w 305"/>
                <a:gd name="T15" fmla="*/ 419 h 424"/>
                <a:gd name="T16" fmla="*/ 132 w 305"/>
                <a:gd name="T17" fmla="*/ 413 h 424"/>
                <a:gd name="T18" fmla="*/ 132 w 305"/>
                <a:gd name="T19" fmla="*/ 413 h 424"/>
                <a:gd name="T20" fmla="*/ 132 w 305"/>
                <a:gd name="T21" fmla="*/ 413 h 424"/>
                <a:gd name="T22" fmla="*/ 156 w 305"/>
                <a:gd name="T23" fmla="*/ 305 h 424"/>
                <a:gd name="T24" fmla="*/ 305 w 305"/>
                <a:gd name="T25" fmla="*/ 153 h 424"/>
                <a:gd name="T26" fmla="*/ 152 w 305"/>
                <a:gd name="T27" fmla="*/ 229 h 424"/>
                <a:gd name="T28" fmla="*/ 76 w 305"/>
                <a:gd name="T29" fmla="*/ 153 h 424"/>
                <a:gd name="T30" fmla="*/ 152 w 305"/>
                <a:gd name="T31" fmla="*/ 77 h 424"/>
                <a:gd name="T32" fmla="*/ 228 w 305"/>
                <a:gd name="T33" fmla="*/ 153 h 424"/>
                <a:gd name="T34" fmla="*/ 152 w 305"/>
                <a:gd name="T35" fmla="*/ 229 h 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5" h="424">
                  <a:moveTo>
                    <a:pt x="305" y="153"/>
                  </a:moveTo>
                  <a:cubicBezTo>
                    <a:pt x="305" y="68"/>
                    <a:pt x="237" y="0"/>
                    <a:pt x="152" y="0"/>
                  </a:cubicBezTo>
                  <a:cubicBezTo>
                    <a:pt x="68" y="0"/>
                    <a:pt x="0" y="68"/>
                    <a:pt x="0" y="153"/>
                  </a:cubicBezTo>
                  <a:cubicBezTo>
                    <a:pt x="0" y="208"/>
                    <a:pt x="30" y="257"/>
                    <a:pt x="74" y="284"/>
                  </a:cubicBezTo>
                  <a:cubicBezTo>
                    <a:pt x="50" y="395"/>
                    <a:pt x="50" y="395"/>
                    <a:pt x="50" y="395"/>
                  </a:cubicBezTo>
                  <a:cubicBezTo>
                    <a:pt x="50" y="395"/>
                    <a:pt x="50" y="395"/>
                    <a:pt x="50" y="395"/>
                  </a:cubicBezTo>
                  <a:cubicBezTo>
                    <a:pt x="50" y="395"/>
                    <a:pt x="50" y="395"/>
                    <a:pt x="50" y="395"/>
                  </a:cubicBezTo>
                  <a:cubicBezTo>
                    <a:pt x="48" y="403"/>
                    <a:pt x="65" y="414"/>
                    <a:pt x="88" y="419"/>
                  </a:cubicBezTo>
                  <a:cubicBezTo>
                    <a:pt x="111" y="424"/>
                    <a:pt x="131" y="421"/>
                    <a:pt x="132" y="413"/>
                  </a:cubicBezTo>
                  <a:cubicBezTo>
                    <a:pt x="132" y="413"/>
                    <a:pt x="132" y="413"/>
                    <a:pt x="132" y="413"/>
                  </a:cubicBezTo>
                  <a:cubicBezTo>
                    <a:pt x="132" y="413"/>
                    <a:pt x="132" y="413"/>
                    <a:pt x="132" y="413"/>
                  </a:cubicBezTo>
                  <a:cubicBezTo>
                    <a:pt x="156" y="305"/>
                    <a:pt x="156" y="305"/>
                    <a:pt x="156" y="305"/>
                  </a:cubicBezTo>
                  <a:cubicBezTo>
                    <a:pt x="239" y="303"/>
                    <a:pt x="305" y="235"/>
                    <a:pt x="305" y="153"/>
                  </a:cubicBezTo>
                  <a:close/>
                  <a:moveTo>
                    <a:pt x="152" y="229"/>
                  </a:moveTo>
                  <a:cubicBezTo>
                    <a:pt x="110" y="229"/>
                    <a:pt x="76" y="195"/>
                    <a:pt x="76" y="153"/>
                  </a:cubicBezTo>
                  <a:cubicBezTo>
                    <a:pt x="76" y="111"/>
                    <a:pt x="110" y="77"/>
                    <a:pt x="152" y="77"/>
                  </a:cubicBezTo>
                  <a:cubicBezTo>
                    <a:pt x="194" y="77"/>
                    <a:pt x="228" y="111"/>
                    <a:pt x="228" y="153"/>
                  </a:cubicBezTo>
                  <a:cubicBezTo>
                    <a:pt x="228" y="195"/>
                    <a:pt x="194" y="229"/>
                    <a:pt x="152" y="229"/>
                  </a:cubicBezTo>
                  <a:close/>
                </a:path>
              </a:pathLst>
            </a:custGeom>
            <a:solidFill>
              <a:srgbClr val="424242">
                <a:alpha val="20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68" name="Freeform 46">
              <a:extLst>
                <a:ext uri="{FF2B5EF4-FFF2-40B4-BE49-F238E27FC236}">
                  <a16:creationId xmlns:a16="http://schemas.microsoft.com/office/drawing/2014/main" id="{7DB2F2FE-56F6-4713-8705-CDD85199EB72}"/>
                </a:ext>
              </a:extLst>
            </p:cNvPr>
            <p:cNvSpPr>
              <a:spLocks/>
            </p:cNvSpPr>
            <p:nvPr/>
          </p:nvSpPr>
          <p:spPr bwMode="auto">
            <a:xfrm>
              <a:off x="5634831" y="4144169"/>
              <a:ext cx="1497013" cy="842963"/>
            </a:xfrm>
            <a:custGeom>
              <a:avLst/>
              <a:gdLst>
                <a:gd name="T0" fmla="*/ 823 w 849"/>
                <a:gd name="T1" fmla="*/ 22 h 478"/>
                <a:gd name="T2" fmla="*/ 717 w 849"/>
                <a:gd name="T3" fmla="*/ 77 h 478"/>
                <a:gd name="T4" fmla="*/ 697 w 849"/>
                <a:gd name="T5" fmla="*/ 40 h 478"/>
                <a:gd name="T6" fmla="*/ 611 w 849"/>
                <a:gd name="T7" fmla="*/ 19 h 478"/>
                <a:gd name="T8" fmla="*/ 31 w 849"/>
                <a:gd name="T9" fmla="*/ 398 h 478"/>
                <a:gd name="T10" fmla="*/ 9 w 849"/>
                <a:gd name="T11" fmla="*/ 463 h 478"/>
                <a:gd name="T12" fmla="*/ 14 w 849"/>
                <a:gd name="T13" fmla="*/ 478 h 478"/>
                <a:gd name="T14" fmla="*/ 849 w 849"/>
                <a:gd name="T15" fmla="*/ 79 h 478"/>
                <a:gd name="T16" fmla="*/ 823 w 849"/>
                <a:gd name="T17" fmla="*/ 22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9" h="478">
                  <a:moveTo>
                    <a:pt x="823" y="22"/>
                  </a:moveTo>
                  <a:cubicBezTo>
                    <a:pt x="717" y="77"/>
                    <a:pt x="717" y="77"/>
                    <a:pt x="717" y="77"/>
                  </a:cubicBezTo>
                  <a:cubicBezTo>
                    <a:pt x="697" y="40"/>
                    <a:pt x="697" y="40"/>
                    <a:pt x="697" y="40"/>
                  </a:cubicBezTo>
                  <a:cubicBezTo>
                    <a:pt x="680" y="10"/>
                    <a:pt x="641" y="0"/>
                    <a:pt x="611" y="19"/>
                  </a:cubicBezTo>
                  <a:cubicBezTo>
                    <a:pt x="31" y="398"/>
                    <a:pt x="31" y="398"/>
                    <a:pt x="31" y="398"/>
                  </a:cubicBezTo>
                  <a:cubicBezTo>
                    <a:pt x="10" y="412"/>
                    <a:pt x="0" y="438"/>
                    <a:pt x="9" y="463"/>
                  </a:cubicBezTo>
                  <a:cubicBezTo>
                    <a:pt x="14" y="478"/>
                    <a:pt x="14" y="478"/>
                    <a:pt x="14" y="478"/>
                  </a:cubicBezTo>
                  <a:cubicBezTo>
                    <a:pt x="849" y="79"/>
                    <a:pt x="849" y="79"/>
                    <a:pt x="849" y="79"/>
                  </a:cubicBezTo>
                  <a:lnTo>
                    <a:pt x="823" y="22"/>
                  </a:lnTo>
                  <a:close/>
                </a:path>
              </a:pathLst>
            </a:custGeom>
            <a:solidFill>
              <a:srgbClr val="4242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69" name="Oval 47">
              <a:extLst>
                <a:ext uri="{FF2B5EF4-FFF2-40B4-BE49-F238E27FC236}">
                  <a16:creationId xmlns:a16="http://schemas.microsoft.com/office/drawing/2014/main" id="{19718902-5D53-4FF1-B8E8-04EAB413AEE3}"/>
                </a:ext>
              </a:extLst>
            </p:cNvPr>
            <p:cNvSpPr>
              <a:spLocks noChangeArrowheads="1"/>
            </p:cNvSpPr>
            <p:nvPr/>
          </p:nvSpPr>
          <p:spPr bwMode="auto">
            <a:xfrm>
              <a:off x="6711156" y="4255294"/>
              <a:ext cx="119063" cy="119063"/>
            </a:xfrm>
            <a:prstGeom prst="ellipse">
              <a:avLst/>
            </a:prstGeom>
            <a:solidFill>
              <a:srgbClr val="4242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70" name="Freeform 48">
              <a:extLst>
                <a:ext uri="{FF2B5EF4-FFF2-40B4-BE49-F238E27FC236}">
                  <a16:creationId xmlns:a16="http://schemas.microsoft.com/office/drawing/2014/main" id="{D60DE2E3-411C-4FB0-A100-3CDF0CC1B7AC}"/>
                </a:ext>
              </a:extLst>
            </p:cNvPr>
            <p:cNvSpPr>
              <a:spLocks noEditPoints="1"/>
            </p:cNvSpPr>
            <p:nvPr/>
          </p:nvSpPr>
          <p:spPr bwMode="auto">
            <a:xfrm>
              <a:off x="7079456" y="3734594"/>
              <a:ext cx="762000" cy="603250"/>
            </a:xfrm>
            <a:custGeom>
              <a:avLst/>
              <a:gdLst>
                <a:gd name="T0" fmla="*/ 356 w 432"/>
                <a:gd name="T1" fmla="*/ 291 h 342"/>
                <a:gd name="T2" fmla="*/ 380 w 432"/>
                <a:gd name="T3" fmla="*/ 76 h 342"/>
                <a:gd name="T4" fmla="*/ 166 w 432"/>
                <a:gd name="T5" fmla="*/ 52 h 342"/>
                <a:gd name="T6" fmla="*/ 110 w 432"/>
                <a:gd name="T7" fmla="*/ 192 h 342"/>
                <a:gd name="T8" fmla="*/ 8 w 432"/>
                <a:gd name="T9" fmla="*/ 241 h 342"/>
                <a:gd name="T10" fmla="*/ 8 w 432"/>
                <a:gd name="T11" fmla="*/ 241 h 342"/>
                <a:gd name="T12" fmla="*/ 7 w 432"/>
                <a:gd name="T13" fmla="*/ 242 h 342"/>
                <a:gd name="T14" fmla="*/ 12 w 432"/>
                <a:gd name="T15" fmla="*/ 286 h 342"/>
                <a:gd name="T16" fmla="*/ 44 w 432"/>
                <a:gd name="T17" fmla="*/ 318 h 342"/>
                <a:gd name="T18" fmla="*/ 45 w 432"/>
                <a:gd name="T19" fmla="*/ 317 h 342"/>
                <a:gd name="T20" fmla="*/ 45 w 432"/>
                <a:gd name="T21" fmla="*/ 317 h 342"/>
                <a:gd name="T22" fmla="*/ 144 w 432"/>
                <a:gd name="T23" fmla="*/ 269 h 342"/>
                <a:gd name="T24" fmla="*/ 356 w 432"/>
                <a:gd name="T25" fmla="*/ 291 h 342"/>
                <a:gd name="T26" fmla="*/ 201 w 432"/>
                <a:gd name="T27" fmla="*/ 219 h 342"/>
                <a:gd name="T28" fmla="*/ 213 w 432"/>
                <a:gd name="T29" fmla="*/ 112 h 342"/>
                <a:gd name="T30" fmla="*/ 320 w 432"/>
                <a:gd name="T31" fmla="*/ 124 h 342"/>
                <a:gd name="T32" fmla="*/ 308 w 432"/>
                <a:gd name="T33" fmla="*/ 231 h 342"/>
                <a:gd name="T34" fmla="*/ 201 w 432"/>
                <a:gd name="T35" fmla="*/ 21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32" h="342">
                  <a:moveTo>
                    <a:pt x="356" y="291"/>
                  </a:moveTo>
                  <a:cubicBezTo>
                    <a:pt x="421" y="238"/>
                    <a:pt x="432" y="142"/>
                    <a:pt x="380" y="76"/>
                  </a:cubicBezTo>
                  <a:cubicBezTo>
                    <a:pt x="328" y="11"/>
                    <a:pt x="232" y="0"/>
                    <a:pt x="166" y="52"/>
                  </a:cubicBezTo>
                  <a:cubicBezTo>
                    <a:pt x="122" y="87"/>
                    <a:pt x="103" y="140"/>
                    <a:pt x="110" y="192"/>
                  </a:cubicBezTo>
                  <a:cubicBezTo>
                    <a:pt x="8" y="241"/>
                    <a:pt x="8" y="241"/>
                    <a:pt x="8" y="241"/>
                  </a:cubicBezTo>
                  <a:cubicBezTo>
                    <a:pt x="8" y="241"/>
                    <a:pt x="8" y="241"/>
                    <a:pt x="8" y="241"/>
                  </a:cubicBezTo>
                  <a:cubicBezTo>
                    <a:pt x="8" y="242"/>
                    <a:pt x="7" y="242"/>
                    <a:pt x="7" y="242"/>
                  </a:cubicBezTo>
                  <a:cubicBezTo>
                    <a:pt x="0" y="245"/>
                    <a:pt x="2" y="265"/>
                    <a:pt x="12" y="286"/>
                  </a:cubicBezTo>
                  <a:cubicBezTo>
                    <a:pt x="22" y="307"/>
                    <a:pt x="37" y="321"/>
                    <a:pt x="44" y="318"/>
                  </a:cubicBezTo>
                  <a:cubicBezTo>
                    <a:pt x="45" y="318"/>
                    <a:pt x="45" y="317"/>
                    <a:pt x="45" y="317"/>
                  </a:cubicBezTo>
                  <a:cubicBezTo>
                    <a:pt x="45" y="317"/>
                    <a:pt x="45" y="317"/>
                    <a:pt x="45" y="317"/>
                  </a:cubicBezTo>
                  <a:cubicBezTo>
                    <a:pt x="144" y="269"/>
                    <a:pt x="144" y="269"/>
                    <a:pt x="144" y="269"/>
                  </a:cubicBezTo>
                  <a:cubicBezTo>
                    <a:pt x="197" y="332"/>
                    <a:pt x="291" y="342"/>
                    <a:pt x="356" y="291"/>
                  </a:cubicBezTo>
                  <a:close/>
                  <a:moveTo>
                    <a:pt x="201" y="219"/>
                  </a:moveTo>
                  <a:cubicBezTo>
                    <a:pt x="175" y="186"/>
                    <a:pt x="181" y="138"/>
                    <a:pt x="213" y="112"/>
                  </a:cubicBezTo>
                  <a:cubicBezTo>
                    <a:pt x="246" y="86"/>
                    <a:pt x="294" y="91"/>
                    <a:pt x="320" y="124"/>
                  </a:cubicBezTo>
                  <a:cubicBezTo>
                    <a:pt x="346" y="157"/>
                    <a:pt x="341" y="205"/>
                    <a:pt x="308" y="231"/>
                  </a:cubicBezTo>
                  <a:cubicBezTo>
                    <a:pt x="275" y="257"/>
                    <a:pt x="227" y="251"/>
                    <a:pt x="201" y="219"/>
                  </a:cubicBezTo>
                  <a:close/>
                </a:path>
              </a:pathLst>
            </a:custGeom>
            <a:solidFill>
              <a:srgbClr val="424242">
                <a:alpha val="20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71" name="Freeform 49">
              <a:extLst>
                <a:ext uri="{FF2B5EF4-FFF2-40B4-BE49-F238E27FC236}">
                  <a16:creationId xmlns:a16="http://schemas.microsoft.com/office/drawing/2014/main" id="{A3A42B01-FA46-404F-98CA-8194965B0D31}"/>
                </a:ext>
              </a:extLst>
            </p:cNvPr>
            <p:cNvSpPr>
              <a:spLocks/>
            </p:cNvSpPr>
            <p:nvPr/>
          </p:nvSpPr>
          <p:spPr bwMode="auto">
            <a:xfrm>
              <a:off x="6352381" y="3913981"/>
              <a:ext cx="604838" cy="1592263"/>
            </a:xfrm>
            <a:custGeom>
              <a:avLst/>
              <a:gdLst>
                <a:gd name="T0" fmla="*/ 285 w 343"/>
                <a:gd name="T1" fmla="*/ 14 h 903"/>
                <a:gd name="T2" fmla="*/ 252 w 343"/>
                <a:gd name="T3" fmla="*/ 129 h 903"/>
                <a:gd name="T4" fmla="*/ 292 w 343"/>
                <a:gd name="T5" fmla="*/ 141 h 903"/>
                <a:gd name="T6" fmla="*/ 330 w 343"/>
                <a:gd name="T7" fmla="*/ 221 h 903"/>
                <a:gd name="T8" fmla="*/ 75 w 343"/>
                <a:gd name="T9" fmla="*/ 865 h 903"/>
                <a:gd name="T10" fmla="*/ 16 w 343"/>
                <a:gd name="T11" fmla="*/ 900 h 903"/>
                <a:gd name="T12" fmla="*/ 0 w 343"/>
                <a:gd name="T13" fmla="*/ 898 h 903"/>
                <a:gd name="T14" fmla="*/ 224 w 343"/>
                <a:gd name="T15" fmla="*/ 0 h 903"/>
                <a:gd name="T16" fmla="*/ 285 w 343"/>
                <a:gd name="T17" fmla="*/ 14 h 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3" h="903">
                  <a:moveTo>
                    <a:pt x="285" y="14"/>
                  </a:moveTo>
                  <a:cubicBezTo>
                    <a:pt x="252" y="129"/>
                    <a:pt x="252" y="129"/>
                    <a:pt x="252" y="129"/>
                  </a:cubicBezTo>
                  <a:cubicBezTo>
                    <a:pt x="292" y="141"/>
                    <a:pt x="292" y="141"/>
                    <a:pt x="292" y="141"/>
                  </a:cubicBezTo>
                  <a:cubicBezTo>
                    <a:pt x="326" y="152"/>
                    <a:pt x="343" y="188"/>
                    <a:pt x="330" y="221"/>
                  </a:cubicBezTo>
                  <a:cubicBezTo>
                    <a:pt x="75" y="865"/>
                    <a:pt x="75" y="865"/>
                    <a:pt x="75" y="865"/>
                  </a:cubicBezTo>
                  <a:cubicBezTo>
                    <a:pt x="65" y="889"/>
                    <a:pt x="41" y="903"/>
                    <a:pt x="16" y="900"/>
                  </a:cubicBezTo>
                  <a:cubicBezTo>
                    <a:pt x="0" y="898"/>
                    <a:pt x="0" y="898"/>
                    <a:pt x="0" y="898"/>
                  </a:cubicBezTo>
                  <a:cubicBezTo>
                    <a:pt x="224" y="0"/>
                    <a:pt x="224" y="0"/>
                    <a:pt x="224" y="0"/>
                  </a:cubicBezTo>
                  <a:lnTo>
                    <a:pt x="285" y="14"/>
                  </a:lnTo>
                  <a:close/>
                </a:path>
              </a:pathLst>
            </a:custGeom>
            <a:solidFill>
              <a:srgbClr val="ACA5A5"/>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72" name="Freeform 50">
              <a:extLst>
                <a:ext uri="{FF2B5EF4-FFF2-40B4-BE49-F238E27FC236}">
                  <a16:creationId xmlns:a16="http://schemas.microsoft.com/office/drawing/2014/main" id="{0BF1A98E-1AC7-48CD-9C66-2E3393D49E30}"/>
                </a:ext>
              </a:extLst>
            </p:cNvPr>
            <p:cNvSpPr>
              <a:spLocks noEditPoints="1"/>
            </p:cNvSpPr>
            <p:nvPr/>
          </p:nvSpPr>
          <p:spPr bwMode="auto">
            <a:xfrm>
              <a:off x="6646069" y="3202781"/>
              <a:ext cx="538163" cy="747713"/>
            </a:xfrm>
            <a:custGeom>
              <a:avLst/>
              <a:gdLst>
                <a:gd name="T0" fmla="*/ 305 w 305"/>
                <a:gd name="T1" fmla="*/ 153 h 424"/>
                <a:gd name="T2" fmla="*/ 152 w 305"/>
                <a:gd name="T3" fmla="*/ 0 h 424"/>
                <a:gd name="T4" fmla="*/ 0 w 305"/>
                <a:gd name="T5" fmla="*/ 153 h 424"/>
                <a:gd name="T6" fmla="*/ 74 w 305"/>
                <a:gd name="T7" fmla="*/ 284 h 424"/>
                <a:gd name="T8" fmla="*/ 50 w 305"/>
                <a:gd name="T9" fmla="*/ 395 h 424"/>
                <a:gd name="T10" fmla="*/ 50 w 305"/>
                <a:gd name="T11" fmla="*/ 395 h 424"/>
                <a:gd name="T12" fmla="*/ 50 w 305"/>
                <a:gd name="T13" fmla="*/ 395 h 424"/>
                <a:gd name="T14" fmla="*/ 88 w 305"/>
                <a:gd name="T15" fmla="*/ 419 h 424"/>
                <a:gd name="T16" fmla="*/ 132 w 305"/>
                <a:gd name="T17" fmla="*/ 413 h 424"/>
                <a:gd name="T18" fmla="*/ 132 w 305"/>
                <a:gd name="T19" fmla="*/ 413 h 424"/>
                <a:gd name="T20" fmla="*/ 132 w 305"/>
                <a:gd name="T21" fmla="*/ 413 h 424"/>
                <a:gd name="T22" fmla="*/ 156 w 305"/>
                <a:gd name="T23" fmla="*/ 305 h 424"/>
                <a:gd name="T24" fmla="*/ 305 w 305"/>
                <a:gd name="T25" fmla="*/ 153 h 424"/>
                <a:gd name="T26" fmla="*/ 152 w 305"/>
                <a:gd name="T27" fmla="*/ 229 h 424"/>
                <a:gd name="T28" fmla="*/ 76 w 305"/>
                <a:gd name="T29" fmla="*/ 153 h 424"/>
                <a:gd name="T30" fmla="*/ 152 w 305"/>
                <a:gd name="T31" fmla="*/ 77 h 424"/>
                <a:gd name="T32" fmla="*/ 228 w 305"/>
                <a:gd name="T33" fmla="*/ 153 h 424"/>
                <a:gd name="T34" fmla="*/ 152 w 305"/>
                <a:gd name="T35" fmla="*/ 229 h 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5" h="424">
                  <a:moveTo>
                    <a:pt x="305" y="153"/>
                  </a:moveTo>
                  <a:cubicBezTo>
                    <a:pt x="305" y="68"/>
                    <a:pt x="237" y="0"/>
                    <a:pt x="152" y="0"/>
                  </a:cubicBezTo>
                  <a:cubicBezTo>
                    <a:pt x="68" y="0"/>
                    <a:pt x="0" y="68"/>
                    <a:pt x="0" y="153"/>
                  </a:cubicBezTo>
                  <a:cubicBezTo>
                    <a:pt x="0" y="208"/>
                    <a:pt x="30" y="257"/>
                    <a:pt x="74" y="284"/>
                  </a:cubicBezTo>
                  <a:cubicBezTo>
                    <a:pt x="50" y="395"/>
                    <a:pt x="50" y="395"/>
                    <a:pt x="50" y="395"/>
                  </a:cubicBezTo>
                  <a:cubicBezTo>
                    <a:pt x="50" y="395"/>
                    <a:pt x="50" y="395"/>
                    <a:pt x="50" y="395"/>
                  </a:cubicBezTo>
                  <a:cubicBezTo>
                    <a:pt x="50" y="395"/>
                    <a:pt x="50" y="395"/>
                    <a:pt x="50" y="395"/>
                  </a:cubicBezTo>
                  <a:cubicBezTo>
                    <a:pt x="48" y="403"/>
                    <a:pt x="65" y="414"/>
                    <a:pt x="88" y="419"/>
                  </a:cubicBezTo>
                  <a:cubicBezTo>
                    <a:pt x="111" y="424"/>
                    <a:pt x="131" y="421"/>
                    <a:pt x="132" y="413"/>
                  </a:cubicBezTo>
                  <a:cubicBezTo>
                    <a:pt x="132" y="413"/>
                    <a:pt x="132" y="413"/>
                    <a:pt x="132" y="413"/>
                  </a:cubicBezTo>
                  <a:cubicBezTo>
                    <a:pt x="132" y="413"/>
                    <a:pt x="132" y="413"/>
                    <a:pt x="132" y="413"/>
                  </a:cubicBezTo>
                  <a:cubicBezTo>
                    <a:pt x="156" y="305"/>
                    <a:pt x="156" y="305"/>
                    <a:pt x="156" y="305"/>
                  </a:cubicBezTo>
                  <a:cubicBezTo>
                    <a:pt x="239" y="303"/>
                    <a:pt x="305" y="235"/>
                    <a:pt x="305" y="153"/>
                  </a:cubicBezTo>
                  <a:close/>
                  <a:moveTo>
                    <a:pt x="152" y="229"/>
                  </a:moveTo>
                  <a:cubicBezTo>
                    <a:pt x="110" y="229"/>
                    <a:pt x="76" y="195"/>
                    <a:pt x="76" y="153"/>
                  </a:cubicBezTo>
                  <a:cubicBezTo>
                    <a:pt x="76" y="111"/>
                    <a:pt x="110" y="77"/>
                    <a:pt x="152" y="77"/>
                  </a:cubicBezTo>
                  <a:cubicBezTo>
                    <a:pt x="194" y="77"/>
                    <a:pt x="228" y="111"/>
                    <a:pt x="228" y="153"/>
                  </a:cubicBezTo>
                  <a:cubicBezTo>
                    <a:pt x="228" y="195"/>
                    <a:pt x="194" y="229"/>
                    <a:pt x="152" y="229"/>
                  </a:cubicBezTo>
                  <a:close/>
                </a:path>
              </a:pathLst>
            </a:custGeom>
            <a:solidFill>
              <a:srgbClr val="194A76"/>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73" name="Freeform 51">
              <a:extLst>
                <a:ext uri="{FF2B5EF4-FFF2-40B4-BE49-F238E27FC236}">
                  <a16:creationId xmlns:a16="http://schemas.microsoft.com/office/drawing/2014/main" id="{B2B566EB-8C81-417D-8B61-B470A3B01C34}"/>
                </a:ext>
              </a:extLst>
            </p:cNvPr>
            <p:cNvSpPr>
              <a:spLocks/>
            </p:cNvSpPr>
            <p:nvPr/>
          </p:nvSpPr>
          <p:spPr bwMode="auto">
            <a:xfrm>
              <a:off x="5669756" y="4107656"/>
              <a:ext cx="1497013" cy="842963"/>
            </a:xfrm>
            <a:custGeom>
              <a:avLst/>
              <a:gdLst>
                <a:gd name="T0" fmla="*/ 823 w 849"/>
                <a:gd name="T1" fmla="*/ 22 h 478"/>
                <a:gd name="T2" fmla="*/ 717 w 849"/>
                <a:gd name="T3" fmla="*/ 77 h 478"/>
                <a:gd name="T4" fmla="*/ 697 w 849"/>
                <a:gd name="T5" fmla="*/ 40 h 478"/>
                <a:gd name="T6" fmla="*/ 611 w 849"/>
                <a:gd name="T7" fmla="*/ 19 h 478"/>
                <a:gd name="T8" fmla="*/ 31 w 849"/>
                <a:gd name="T9" fmla="*/ 398 h 478"/>
                <a:gd name="T10" fmla="*/ 9 w 849"/>
                <a:gd name="T11" fmla="*/ 463 h 478"/>
                <a:gd name="T12" fmla="*/ 14 w 849"/>
                <a:gd name="T13" fmla="*/ 478 h 478"/>
                <a:gd name="T14" fmla="*/ 849 w 849"/>
                <a:gd name="T15" fmla="*/ 79 h 478"/>
                <a:gd name="T16" fmla="*/ 823 w 849"/>
                <a:gd name="T17" fmla="*/ 22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9" h="478">
                  <a:moveTo>
                    <a:pt x="823" y="22"/>
                  </a:moveTo>
                  <a:cubicBezTo>
                    <a:pt x="717" y="77"/>
                    <a:pt x="717" y="77"/>
                    <a:pt x="717" y="77"/>
                  </a:cubicBezTo>
                  <a:cubicBezTo>
                    <a:pt x="697" y="40"/>
                    <a:pt x="697" y="40"/>
                    <a:pt x="697" y="40"/>
                  </a:cubicBezTo>
                  <a:cubicBezTo>
                    <a:pt x="680" y="10"/>
                    <a:pt x="641" y="0"/>
                    <a:pt x="611" y="19"/>
                  </a:cubicBezTo>
                  <a:cubicBezTo>
                    <a:pt x="31" y="398"/>
                    <a:pt x="31" y="398"/>
                    <a:pt x="31" y="398"/>
                  </a:cubicBezTo>
                  <a:cubicBezTo>
                    <a:pt x="10" y="412"/>
                    <a:pt x="0" y="438"/>
                    <a:pt x="9" y="463"/>
                  </a:cubicBezTo>
                  <a:cubicBezTo>
                    <a:pt x="14" y="478"/>
                    <a:pt x="14" y="478"/>
                    <a:pt x="14" y="478"/>
                  </a:cubicBezTo>
                  <a:cubicBezTo>
                    <a:pt x="849" y="79"/>
                    <a:pt x="849" y="79"/>
                    <a:pt x="849" y="79"/>
                  </a:cubicBezTo>
                  <a:lnTo>
                    <a:pt x="823" y="22"/>
                  </a:lnTo>
                  <a:close/>
                </a:path>
              </a:pathLst>
            </a:custGeom>
            <a:solidFill>
              <a:srgbClr val="DDD0D5"/>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74" name="Oval 52">
              <a:extLst>
                <a:ext uri="{FF2B5EF4-FFF2-40B4-BE49-F238E27FC236}">
                  <a16:creationId xmlns:a16="http://schemas.microsoft.com/office/drawing/2014/main" id="{CF8A5320-AFC6-4E3B-9A79-F71F5510B86E}"/>
                </a:ext>
              </a:extLst>
            </p:cNvPr>
            <p:cNvSpPr>
              <a:spLocks noChangeArrowheads="1"/>
            </p:cNvSpPr>
            <p:nvPr/>
          </p:nvSpPr>
          <p:spPr bwMode="auto">
            <a:xfrm>
              <a:off x="6746081" y="4218781"/>
              <a:ext cx="119063" cy="120650"/>
            </a:xfrm>
            <a:prstGeom prst="ellipse">
              <a:avLst/>
            </a:prstGeom>
            <a:solidFill>
              <a:srgbClr val="AC9FA9"/>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75" name="Freeform 53">
              <a:extLst>
                <a:ext uri="{FF2B5EF4-FFF2-40B4-BE49-F238E27FC236}">
                  <a16:creationId xmlns:a16="http://schemas.microsoft.com/office/drawing/2014/main" id="{B7FBDDF1-2BD7-4051-ACB3-742A38413A18}"/>
                </a:ext>
              </a:extLst>
            </p:cNvPr>
            <p:cNvSpPr>
              <a:spLocks noEditPoints="1"/>
            </p:cNvSpPr>
            <p:nvPr/>
          </p:nvSpPr>
          <p:spPr bwMode="auto">
            <a:xfrm>
              <a:off x="7115969" y="3699669"/>
              <a:ext cx="760413" cy="603250"/>
            </a:xfrm>
            <a:custGeom>
              <a:avLst/>
              <a:gdLst>
                <a:gd name="T0" fmla="*/ 356 w 432"/>
                <a:gd name="T1" fmla="*/ 291 h 342"/>
                <a:gd name="T2" fmla="*/ 380 w 432"/>
                <a:gd name="T3" fmla="*/ 76 h 342"/>
                <a:gd name="T4" fmla="*/ 166 w 432"/>
                <a:gd name="T5" fmla="*/ 52 h 342"/>
                <a:gd name="T6" fmla="*/ 110 w 432"/>
                <a:gd name="T7" fmla="*/ 192 h 342"/>
                <a:gd name="T8" fmla="*/ 8 w 432"/>
                <a:gd name="T9" fmla="*/ 241 h 342"/>
                <a:gd name="T10" fmla="*/ 8 w 432"/>
                <a:gd name="T11" fmla="*/ 241 h 342"/>
                <a:gd name="T12" fmla="*/ 7 w 432"/>
                <a:gd name="T13" fmla="*/ 242 h 342"/>
                <a:gd name="T14" fmla="*/ 12 w 432"/>
                <a:gd name="T15" fmla="*/ 286 h 342"/>
                <a:gd name="T16" fmla="*/ 44 w 432"/>
                <a:gd name="T17" fmla="*/ 318 h 342"/>
                <a:gd name="T18" fmla="*/ 45 w 432"/>
                <a:gd name="T19" fmla="*/ 317 h 342"/>
                <a:gd name="T20" fmla="*/ 45 w 432"/>
                <a:gd name="T21" fmla="*/ 317 h 342"/>
                <a:gd name="T22" fmla="*/ 144 w 432"/>
                <a:gd name="T23" fmla="*/ 269 h 342"/>
                <a:gd name="T24" fmla="*/ 356 w 432"/>
                <a:gd name="T25" fmla="*/ 291 h 342"/>
                <a:gd name="T26" fmla="*/ 201 w 432"/>
                <a:gd name="T27" fmla="*/ 219 h 342"/>
                <a:gd name="T28" fmla="*/ 213 w 432"/>
                <a:gd name="T29" fmla="*/ 112 h 342"/>
                <a:gd name="T30" fmla="*/ 320 w 432"/>
                <a:gd name="T31" fmla="*/ 124 h 342"/>
                <a:gd name="T32" fmla="*/ 308 w 432"/>
                <a:gd name="T33" fmla="*/ 231 h 342"/>
                <a:gd name="T34" fmla="*/ 201 w 432"/>
                <a:gd name="T35" fmla="*/ 21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32" h="342">
                  <a:moveTo>
                    <a:pt x="356" y="291"/>
                  </a:moveTo>
                  <a:cubicBezTo>
                    <a:pt x="421" y="238"/>
                    <a:pt x="432" y="142"/>
                    <a:pt x="380" y="76"/>
                  </a:cubicBezTo>
                  <a:cubicBezTo>
                    <a:pt x="328" y="11"/>
                    <a:pt x="232" y="0"/>
                    <a:pt x="166" y="52"/>
                  </a:cubicBezTo>
                  <a:cubicBezTo>
                    <a:pt x="122" y="87"/>
                    <a:pt x="103" y="140"/>
                    <a:pt x="110" y="192"/>
                  </a:cubicBezTo>
                  <a:cubicBezTo>
                    <a:pt x="8" y="241"/>
                    <a:pt x="8" y="241"/>
                    <a:pt x="8" y="241"/>
                  </a:cubicBezTo>
                  <a:cubicBezTo>
                    <a:pt x="8" y="241"/>
                    <a:pt x="8" y="241"/>
                    <a:pt x="8" y="241"/>
                  </a:cubicBezTo>
                  <a:cubicBezTo>
                    <a:pt x="8" y="242"/>
                    <a:pt x="7" y="242"/>
                    <a:pt x="7" y="242"/>
                  </a:cubicBezTo>
                  <a:cubicBezTo>
                    <a:pt x="0" y="245"/>
                    <a:pt x="2" y="265"/>
                    <a:pt x="12" y="286"/>
                  </a:cubicBezTo>
                  <a:cubicBezTo>
                    <a:pt x="22" y="307"/>
                    <a:pt x="37" y="321"/>
                    <a:pt x="44" y="318"/>
                  </a:cubicBezTo>
                  <a:cubicBezTo>
                    <a:pt x="45" y="318"/>
                    <a:pt x="45" y="317"/>
                    <a:pt x="45" y="317"/>
                  </a:cubicBezTo>
                  <a:cubicBezTo>
                    <a:pt x="45" y="317"/>
                    <a:pt x="45" y="317"/>
                    <a:pt x="45" y="317"/>
                  </a:cubicBezTo>
                  <a:cubicBezTo>
                    <a:pt x="144" y="269"/>
                    <a:pt x="144" y="269"/>
                    <a:pt x="144" y="269"/>
                  </a:cubicBezTo>
                  <a:cubicBezTo>
                    <a:pt x="197" y="332"/>
                    <a:pt x="291" y="342"/>
                    <a:pt x="356" y="291"/>
                  </a:cubicBezTo>
                  <a:close/>
                  <a:moveTo>
                    <a:pt x="201" y="219"/>
                  </a:moveTo>
                  <a:cubicBezTo>
                    <a:pt x="175" y="186"/>
                    <a:pt x="181" y="138"/>
                    <a:pt x="213" y="112"/>
                  </a:cubicBezTo>
                  <a:cubicBezTo>
                    <a:pt x="246" y="86"/>
                    <a:pt x="294" y="91"/>
                    <a:pt x="320" y="124"/>
                  </a:cubicBezTo>
                  <a:cubicBezTo>
                    <a:pt x="346" y="157"/>
                    <a:pt x="341" y="205"/>
                    <a:pt x="308" y="231"/>
                  </a:cubicBezTo>
                  <a:cubicBezTo>
                    <a:pt x="275" y="257"/>
                    <a:pt x="227" y="251"/>
                    <a:pt x="201" y="219"/>
                  </a:cubicBezTo>
                  <a:close/>
                </a:path>
              </a:pathLst>
            </a:custGeom>
            <a:solidFill>
              <a:srgbClr val="3461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grpSp>
      <p:grpSp>
        <p:nvGrpSpPr>
          <p:cNvPr id="177" name="组合 176">
            <a:extLst>
              <a:ext uri="{FF2B5EF4-FFF2-40B4-BE49-F238E27FC236}">
                <a16:creationId xmlns:a16="http://schemas.microsoft.com/office/drawing/2014/main" id="{981576BA-3EF2-4923-A2B6-7F5C9C00D5AB}"/>
              </a:ext>
            </a:extLst>
          </p:cNvPr>
          <p:cNvGrpSpPr/>
          <p:nvPr/>
        </p:nvGrpSpPr>
        <p:grpSpPr>
          <a:xfrm>
            <a:off x="8635062" y="1600251"/>
            <a:ext cx="2661884" cy="3969810"/>
            <a:chOff x="4874988" y="1859559"/>
            <a:chExt cx="2661884" cy="3969810"/>
          </a:xfrm>
        </p:grpSpPr>
        <p:grpSp>
          <p:nvGrpSpPr>
            <p:cNvPr id="178" name="íŝḻïḑè">
              <a:extLst>
                <a:ext uri="{FF2B5EF4-FFF2-40B4-BE49-F238E27FC236}">
                  <a16:creationId xmlns:a16="http://schemas.microsoft.com/office/drawing/2014/main" id="{CA924EC1-E776-4FF5-8478-E34C970BCDBF}"/>
                </a:ext>
              </a:extLst>
            </p:cNvPr>
            <p:cNvGrpSpPr/>
            <p:nvPr/>
          </p:nvGrpSpPr>
          <p:grpSpPr>
            <a:xfrm>
              <a:off x="6480535" y="5493164"/>
              <a:ext cx="520250" cy="336205"/>
              <a:chOff x="6185308" y="3970463"/>
              <a:chExt cx="170914" cy="110451"/>
            </a:xfrm>
          </p:grpSpPr>
          <p:sp>
            <p:nvSpPr>
              <p:cNvPr id="559" name="ïSľidè">
                <a:extLst>
                  <a:ext uri="{FF2B5EF4-FFF2-40B4-BE49-F238E27FC236}">
                    <a16:creationId xmlns:a16="http://schemas.microsoft.com/office/drawing/2014/main" id="{A02E79D5-BB64-4E9D-8891-A9C714C198FE}"/>
                  </a:ext>
                </a:extLst>
              </p:cNvPr>
              <p:cNvSpPr/>
              <p:nvPr/>
            </p:nvSpPr>
            <p:spPr>
              <a:xfrm>
                <a:off x="6241161" y="3970463"/>
                <a:ext cx="78771" cy="21749"/>
              </a:xfrm>
              <a:custGeom>
                <a:avLst/>
                <a:gdLst>
                  <a:gd name="connsiteX0" fmla="*/ -336 w 78771"/>
                  <a:gd name="connsiteY0" fmla="*/ 13014 h 21749"/>
                  <a:gd name="connsiteX1" fmla="*/ 807 w 78771"/>
                  <a:gd name="connsiteY1" fmla="*/ 13014 h 21749"/>
                  <a:gd name="connsiteX2" fmla="*/ 5188 w 78771"/>
                  <a:gd name="connsiteY2" fmla="*/ 13014 h 21749"/>
                  <a:gd name="connsiteX3" fmla="*/ 5188 w 78771"/>
                  <a:gd name="connsiteY3" fmla="*/ 13014 h 21749"/>
                  <a:gd name="connsiteX4" fmla="*/ 8808 w 78771"/>
                  <a:gd name="connsiteY4" fmla="*/ 13966 h 21749"/>
                  <a:gd name="connsiteX5" fmla="*/ 13189 w 78771"/>
                  <a:gd name="connsiteY5" fmla="*/ 15586 h 21749"/>
                  <a:gd name="connsiteX6" fmla="*/ 16427 w 78771"/>
                  <a:gd name="connsiteY6" fmla="*/ 17014 h 21749"/>
                  <a:gd name="connsiteX7" fmla="*/ 18142 w 78771"/>
                  <a:gd name="connsiteY7" fmla="*/ 17776 h 21749"/>
                  <a:gd name="connsiteX8" fmla="*/ 21666 w 78771"/>
                  <a:gd name="connsiteY8" fmla="*/ 19586 h 21749"/>
                  <a:gd name="connsiteX9" fmla="*/ 25286 w 78771"/>
                  <a:gd name="connsiteY9" fmla="*/ 21586 h 21749"/>
                  <a:gd name="connsiteX10" fmla="*/ 78435 w 78771"/>
                  <a:gd name="connsiteY10" fmla="*/ 12061 h 21749"/>
                  <a:gd name="connsiteX11" fmla="*/ 57957 w 78771"/>
                  <a:gd name="connsiteY11" fmla="*/ 2536 h 21749"/>
                  <a:gd name="connsiteX12" fmla="*/ 40050 w 78771"/>
                  <a:gd name="connsiteY12" fmla="*/ -131 h 21749"/>
                  <a:gd name="connsiteX13" fmla="*/ 21000 w 78771"/>
                  <a:gd name="connsiteY13" fmla="*/ 3584 h 21749"/>
                  <a:gd name="connsiteX14" fmla="*/ -336 w 78771"/>
                  <a:gd name="connsiteY14" fmla="*/ 13014 h 217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8771" h="21749">
                    <a:moveTo>
                      <a:pt x="-336" y="13014"/>
                    </a:moveTo>
                    <a:cubicBezTo>
                      <a:pt x="35" y="12899"/>
                      <a:pt x="435" y="12899"/>
                      <a:pt x="807" y="13014"/>
                    </a:cubicBezTo>
                    <a:cubicBezTo>
                      <a:pt x="2255" y="12728"/>
                      <a:pt x="3740" y="12728"/>
                      <a:pt x="5188" y="13014"/>
                    </a:cubicBezTo>
                    <a:lnTo>
                      <a:pt x="5188" y="13014"/>
                    </a:lnTo>
                    <a:cubicBezTo>
                      <a:pt x="6407" y="13261"/>
                      <a:pt x="7617" y="13585"/>
                      <a:pt x="8808" y="13966"/>
                    </a:cubicBezTo>
                    <a:cubicBezTo>
                      <a:pt x="10303" y="14414"/>
                      <a:pt x="11770" y="14947"/>
                      <a:pt x="13189" y="15586"/>
                    </a:cubicBezTo>
                    <a:lnTo>
                      <a:pt x="16427" y="17014"/>
                    </a:lnTo>
                    <a:lnTo>
                      <a:pt x="18142" y="17776"/>
                    </a:lnTo>
                    <a:lnTo>
                      <a:pt x="21666" y="19586"/>
                    </a:lnTo>
                    <a:lnTo>
                      <a:pt x="25286" y="21586"/>
                    </a:lnTo>
                    <a:cubicBezTo>
                      <a:pt x="47860" y="8537"/>
                      <a:pt x="67672" y="5489"/>
                      <a:pt x="78435" y="12061"/>
                    </a:cubicBezTo>
                    <a:cubicBezTo>
                      <a:pt x="71949" y="8204"/>
                      <a:pt x="65091" y="5003"/>
                      <a:pt x="57957" y="2536"/>
                    </a:cubicBezTo>
                    <a:cubicBezTo>
                      <a:pt x="52203" y="555"/>
                      <a:pt x="46136" y="-350"/>
                      <a:pt x="40050" y="-131"/>
                    </a:cubicBezTo>
                    <a:cubicBezTo>
                      <a:pt x="33553" y="193"/>
                      <a:pt x="27143" y="1450"/>
                      <a:pt x="21000" y="3584"/>
                    </a:cubicBezTo>
                    <a:cubicBezTo>
                      <a:pt x="13580" y="5975"/>
                      <a:pt x="6426" y="9137"/>
                      <a:pt x="-336" y="13014"/>
                    </a:cubicBezTo>
                    <a:close/>
                  </a:path>
                </a:pathLst>
              </a:custGeom>
              <a:solidFill>
                <a:srgbClr val="FF7D33"/>
              </a:solidFill>
              <a:ln w="9525" cap="flat">
                <a:noFill/>
                <a:prstDash val="solid"/>
                <a:miter/>
              </a:ln>
            </p:spPr>
            <p:txBody>
              <a:bodyPr rtlCol="0" anchor="ctr"/>
              <a:lstStyle/>
              <a:p>
                <a:endParaRPr lang="zh-CN" altLang="en-US"/>
              </a:p>
            </p:txBody>
          </p:sp>
          <p:sp>
            <p:nvSpPr>
              <p:cNvPr id="560" name="ïślíde">
                <a:extLst>
                  <a:ext uri="{FF2B5EF4-FFF2-40B4-BE49-F238E27FC236}">
                    <a16:creationId xmlns:a16="http://schemas.microsoft.com/office/drawing/2014/main" id="{DB9CAF45-0841-473A-A451-0EFEE79D851E}"/>
                  </a:ext>
                </a:extLst>
              </p:cNvPr>
              <p:cNvSpPr/>
              <p:nvPr/>
            </p:nvSpPr>
            <p:spPr>
              <a:xfrm>
                <a:off x="6267164" y="3979144"/>
                <a:ext cx="60007" cy="16878"/>
              </a:xfrm>
              <a:custGeom>
                <a:avLst/>
                <a:gdLst>
                  <a:gd name="connsiteX0" fmla="*/ -336 w 60007"/>
                  <a:gd name="connsiteY0" fmla="*/ 12715 h 16878"/>
                  <a:gd name="connsiteX1" fmla="*/ 6427 w 60007"/>
                  <a:gd name="connsiteY1" fmla="*/ 16715 h 16878"/>
                  <a:gd name="connsiteX2" fmla="*/ 59671 w 60007"/>
                  <a:gd name="connsiteY2" fmla="*/ 7190 h 16878"/>
                  <a:gd name="connsiteX3" fmla="*/ 52813 w 60007"/>
                  <a:gd name="connsiteY3" fmla="*/ 3190 h 16878"/>
                  <a:gd name="connsiteX4" fmla="*/ -336 w 60007"/>
                  <a:gd name="connsiteY4" fmla="*/ 12715 h 168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16878">
                    <a:moveTo>
                      <a:pt x="-336" y="12715"/>
                    </a:moveTo>
                    <a:lnTo>
                      <a:pt x="6427" y="16715"/>
                    </a:lnTo>
                    <a:cubicBezTo>
                      <a:pt x="29096" y="3666"/>
                      <a:pt x="48908" y="618"/>
                      <a:pt x="59671" y="7190"/>
                    </a:cubicBezTo>
                    <a:lnTo>
                      <a:pt x="52813" y="3190"/>
                    </a:lnTo>
                    <a:cubicBezTo>
                      <a:pt x="42050" y="-3382"/>
                      <a:pt x="22238" y="-334"/>
                      <a:pt x="-336" y="12715"/>
                    </a:cubicBezTo>
                    <a:close/>
                  </a:path>
                </a:pathLst>
              </a:custGeom>
              <a:solidFill>
                <a:srgbClr val="D1D9E8"/>
              </a:solidFill>
              <a:ln w="9525" cap="flat">
                <a:noFill/>
                <a:prstDash val="solid"/>
                <a:miter/>
              </a:ln>
            </p:spPr>
            <p:txBody>
              <a:bodyPr rtlCol="0" anchor="ctr"/>
              <a:lstStyle/>
              <a:p>
                <a:endParaRPr lang="zh-CN" altLang="en-US"/>
              </a:p>
            </p:txBody>
          </p:sp>
          <p:sp>
            <p:nvSpPr>
              <p:cNvPr id="561" name="îṧ1îdê">
                <a:extLst>
                  <a:ext uri="{FF2B5EF4-FFF2-40B4-BE49-F238E27FC236}">
                    <a16:creationId xmlns:a16="http://schemas.microsoft.com/office/drawing/2014/main" id="{83385C43-0360-4222-85D1-2972BEFC39A1}"/>
                  </a:ext>
                </a:extLst>
              </p:cNvPr>
              <p:cNvSpPr/>
              <p:nvPr/>
            </p:nvSpPr>
            <p:spPr>
              <a:xfrm>
                <a:off x="6273831" y="3983188"/>
                <a:ext cx="82105" cy="38075"/>
              </a:xfrm>
              <a:custGeom>
                <a:avLst/>
                <a:gdLst>
                  <a:gd name="connsiteX0" fmla="*/ -336 w 82105"/>
                  <a:gd name="connsiteY0" fmla="*/ 12671 h 38075"/>
                  <a:gd name="connsiteX1" fmla="*/ 27000 w 82105"/>
                  <a:gd name="connsiteY1" fmla="*/ 37913 h 38075"/>
                  <a:gd name="connsiteX2" fmla="*/ 80531 w 82105"/>
                  <a:gd name="connsiteY2" fmla="*/ 30578 h 38075"/>
                  <a:gd name="connsiteX3" fmla="*/ 81769 w 82105"/>
                  <a:gd name="connsiteY3" fmla="*/ 31340 h 38075"/>
                  <a:gd name="connsiteX4" fmla="*/ 80055 w 82105"/>
                  <a:gd name="connsiteY4" fmla="*/ 25816 h 38075"/>
                  <a:gd name="connsiteX5" fmla="*/ 73482 w 82105"/>
                  <a:gd name="connsiteY5" fmla="*/ 18005 h 38075"/>
                  <a:gd name="connsiteX6" fmla="*/ 52908 w 82105"/>
                  <a:gd name="connsiteY6" fmla="*/ 2861 h 38075"/>
                  <a:gd name="connsiteX7" fmla="*/ -336 w 82105"/>
                  <a:gd name="connsiteY7" fmla="*/ 12671 h 38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2105" h="38075">
                    <a:moveTo>
                      <a:pt x="-336" y="12671"/>
                    </a:moveTo>
                    <a:cubicBezTo>
                      <a:pt x="14713" y="21339"/>
                      <a:pt x="27000" y="32674"/>
                      <a:pt x="27000" y="37913"/>
                    </a:cubicBezTo>
                    <a:cubicBezTo>
                      <a:pt x="57957" y="20101"/>
                      <a:pt x="80817" y="23530"/>
                      <a:pt x="80531" y="30578"/>
                    </a:cubicBezTo>
                    <a:lnTo>
                      <a:pt x="81769" y="31340"/>
                    </a:lnTo>
                    <a:cubicBezTo>
                      <a:pt x="81703" y="29378"/>
                      <a:pt x="81112" y="27473"/>
                      <a:pt x="80055" y="25816"/>
                    </a:cubicBezTo>
                    <a:cubicBezTo>
                      <a:pt x="78169" y="22968"/>
                      <a:pt x="75968" y="20349"/>
                      <a:pt x="73482" y="18005"/>
                    </a:cubicBezTo>
                    <a:cubicBezTo>
                      <a:pt x="67253" y="12148"/>
                      <a:pt x="60347" y="7061"/>
                      <a:pt x="52908" y="2861"/>
                    </a:cubicBezTo>
                    <a:cubicBezTo>
                      <a:pt x="42240" y="-3140"/>
                      <a:pt x="22429" y="-378"/>
                      <a:pt x="-336" y="12671"/>
                    </a:cubicBezTo>
                    <a:close/>
                  </a:path>
                </a:pathLst>
              </a:custGeom>
              <a:solidFill>
                <a:srgbClr val="FF7D33"/>
              </a:solidFill>
              <a:ln w="9525" cap="flat">
                <a:noFill/>
                <a:prstDash val="solid"/>
                <a:miter/>
              </a:ln>
            </p:spPr>
            <p:txBody>
              <a:bodyPr rtlCol="0" anchor="ctr"/>
              <a:lstStyle/>
              <a:p>
                <a:endParaRPr lang="zh-CN" altLang="en-US"/>
              </a:p>
            </p:txBody>
          </p:sp>
          <p:sp>
            <p:nvSpPr>
              <p:cNvPr id="562" name="íšļîḍê">
                <a:extLst>
                  <a:ext uri="{FF2B5EF4-FFF2-40B4-BE49-F238E27FC236}">
                    <a16:creationId xmlns:a16="http://schemas.microsoft.com/office/drawing/2014/main" id="{051FD2CC-9AC6-4478-B0AC-26465B8D3751}"/>
                  </a:ext>
                </a:extLst>
              </p:cNvPr>
              <p:cNvSpPr/>
              <p:nvPr/>
            </p:nvSpPr>
            <p:spPr>
              <a:xfrm>
                <a:off x="6245256" y="4013929"/>
                <a:ext cx="110966" cy="64769"/>
              </a:xfrm>
              <a:custGeom>
                <a:avLst/>
                <a:gdLst>
                  <a:gd name="connsiteX0" fmla="*/ -336 w 110966"/>
                  <a:gd name="connsiteY0" fmla="*/ 64607 h 64769"/>
                  <a:gd name="connsiteX1" fmla="*/ 110630 w 110966"/>
                  <a:gd name="connsiteY1" fmla="*/ 599 h 64769"/>
                  <a:gd name="connsiteX2" fmla="*/ 109392 w 110966"/>
                  <a:gd name="connsiteY2" fmla="*/ -163 h 64769"/>
                  <a:gd name="connsiteX3" fmla="*/ 2235 w 110966"/>
                  <a:gd name="connsiteY3" fmla="*/ 61369 h 64769"/>
                  <a:gd name="connsiteX4" fmla="*/ 1283 w 110966"/>
                  <a:gd name="connsiteY4" fmla="*/ 62607 h 64769"/>
                  <a:gd name="connsiteX5" fmla="*/ 426 w 110966"/>
                  <a:gd name="connsiteY5" fmla="*/ 63560 h 64769"/>
                  <a:gd name="connsiteX6" fmla="*/ -51 w 110966"/>
                  <a:gd name="connsiteY6" fmla="*/ 63560 h 64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0966" h="64769">
                    <a:moveTo>
                      <a:pt x="-336" y="64607"/>
                    </a:moveTo>
                    <a:lnTo>
                      <a:pt x="110630" y="599"/>
                    </a:lnTo>
                    <a:lnTo>
                      <a:pt x="109392" y="-163"/>
                    </a:lnTo>
                    <a:lnTo>
                      <a:pt x="2235" y="61369"/>
                    </a:lnTo>
                    <a:cubicBezTo>
                      <a:pt x="1969" y="61816"/>
                      <a:pt x="1655" y="62236"/>
                      <a:pt x="1283" y="62607"/>
                    </a:cubicBezTo>
                    <a:lnTo>
                      <a:pt x="426" y="63560"/>
                    </a:lnTo>
                    <a:lnTo>
                      <a:pt x="-51" y="63560"/>
                    </a:lnTo>
                    <a:close/>
                  </a:path>
                </a:pathLst>
              </a:custGeom>
              <a:solidFill>
                <a:srgbClr val="BF4200"/>
              </a:solidFill>
              <a:ln w="9525" cap="flat">
                <a:noFill/>
                <a:prstDash val="solid"/>
                <a:miter/>
              </a:ln>
            </p:spPr>
            <p:txBody>
              <a:bodyPr rtlCol="0" anchor="ctr"/>
              <a:lstStyle/>
              <a:p>
                <a:endParaRPr lang="zh-CN" altLang="en-US"/>
              </a:p>
            </p:txBody>
          </p:sp>
          <p:sp>
            <p:nvSpPr>
              <p:cNvPr id="563" name="íşľîḍè">
                <a:extLst>
                  <a:ext uri="{FF2B5EF4-FFF2-40B4-BE49-F238E27FC236}">
                    <a16:creationId xmlns:a16="http://schemas.microsoft.com/office/drawing/2014/main" id="{11FCDAE2-98D2-4171-9751-635374F54025}"/>
                  </a:ext>
                </a:extLst>
              </p:cNvPr>
              <p:cNvSpPr/>
              <p:nvPr/>
            </p:nvSpPr>
            <p:spPr>
              <a:xfrm>
                <a:off x="6247823" y="4007929"/>
                <a:ext cx="106970" cy="67531"/>
              </a:xfrm>
              <a:custGeom>
                <a:avLst/>
                <a:gdLst>
                  <a:gd name="connsiteX0" fmla="*/ -332 w 106970"/>
                  <a:gd name="connsiteY0" fmla="*/ 67369 h 67531"/>
                  <a:gd name="connsiteX1" fmla="*/ 106634 w 106970"/>
                  <a:gd name="connsiteY1" fmla="*/ 5552 h 67531"/>
                  <a:gd name="connsiteX2" fmla="*/ 53104 w 106970"/>
                  <a:gd name="connsiteY2" fmla="*/ 12886 h 67531"/>
                  <a:gd name="connsiteX3" fmla="*/ -332 w 106970"/>
                  <a:gd name="connsiteY3" fmla="*/ 67369 h 67531"/>
                </a:gdLst>
                <a:ahLst/>
                <a:cxnLst>
                  <a:cxn ang="0">
                    <a:pos x="connsiteX0" y="connsiteY0"/>
                  </a:cxn>
                  <a:cxn ang="0">
                    <a:pos x="connsiteX1" y="connsiteY1"/>
                  </a:cxn>
                  <a:cxn ang="0">
                    <a:pos x="connsiteX2" y="connsiteY2"/>
                  </a:cxn>
                  <a:cxn ang="0">
                    <a:pos x="connsiteX3" y="connsiteY3"/>
                  </a:cxn>
                </a:cxnLst>
                <a:rect l="l" t="t" r="r" b="b"/>
                <a:pathLst>
                  <a:path w="106970" h="67531">
                    <a:moveTo>
                      <a:pt x="-332" y="67369"/>
                    </a:moveTo>
                    <a:lnTo>
                      <a:pt x="106634" y="5552"/>
                    </a:lnTo>
                    <a:cubicBezTo>
                      <a:pt x="106634" y="-1497"/>
                      <a:pt x="84060" y="-4926"/>
                      <a:pt x="53104" y="12886"/>
                    </a:cubicBezTo>
                    <a:cubicBezTo>
                      <a:pt x="22148" y="30697"/>
                      <a:pt x="-712" y="60987"/>
                      <a:pt x="-332" y="67369"/>
                    </a:cubicBezTo>
                    <a:close/>
                  </a:path>
                </a:pathLst>
              </a:custGeom>
              <a:solidFill>
                <a:srgbClr val="BF4200"/>
              </a:solidFill>
              <a:ln w="9525" cap="flat">
                <a:noFill/>
                <a:prstDash val="solid"/>
                <a:miter/>
              </a:ln>
            </p:spPr>
            <p:txBody>
              <a:bodyPr rtlCol="0" anchor="ctr"/>
              <a:lstStyle/>
              <a:p>
                <a:endParaRPr lang="zh-CN" altLang="en-US"/>
              </a:p>
            </p:txBody>
          </p:sp>
          <p:sp>
            <p:nvSpPr>
              <p:cNvPr id="564" name="íṩľidé">
                <a:extLst>
                  <a:ext uri="{FF2B5EF4-FFF2-40B4-BE49-F238E27FC236}">
                    <a16:creationId xmlns:a16="http://schemas.microsoft.com/office/drawing/2014/main" id="{610DA44A-D3FC-4052-BC34-CDCF4A312C3F}"/>
                  </a:ext>
                </a:extLst>
              </p:cNvPr>
              <p:cNvSpPr/>
              <p:nvPr/>
            </p:nvSpPr>
            <p:spPr>
              <a:xfrm>
                <a:off x="6185308" y="3984473"/>
                <a:ext cx="115192" cy="96441"/>
              </a:xfrm>
              <a:custGeom>
                <a:avLst/>
                <a:gdLst>
                  <a:gd name="connsiteX0" fmla="*/ -301 w 115192"/>
                  <a:gd name="connsiteY0" fmla="*/ 60535 h 96441"/>
                  <a:gd name="connsiteX1" fmla="*/ 19987 w 115192"/>
                  <a:gd name="connsiteY1" fmla="*/ 85491 h 96441"/>
                  <a:gd name="connsiteX2" fmla="*/ 26750 w 115192"/>
                  <a:gd name="connsiteY2" fmla="*/ 89491 h 96441"/>
                  <a:gd name="connsiteX3" fmla="*/ 58659 w 115192"/>
                  <a:gd name="connsiteY3" fmla="*/ 94540 h 96441"/>
                  <a:gd name="connsiteX4" fmla="*/ 58659 w 115192"/>
                  <a:gd name="connsiteY4" fmla="*/ 94540 h 96441"/>
                  <a:gd name="connsiteX5" fmla="*/ 59135 w 115192"/>
                  <a:gd name="connsiteY5" fmla="*/ 94540 h 96441"/>
                  <a:gd name="connsiteX6" fmla="*/ 59135 w 115192"/>
                  <a:gd name="connsiteY6" fmla="*/ 94540 h 96441"/>
                  <a:gd name="connsiteX7" fmla="*/ 59612 w 115192"/>
                  <a:gd name="connsiteY7" fmla="*/ 94540 h 96441"/>
                  <a:gd name="connsiteX8" fmla="*/ 60469 w 115192"/>
                  <a:gd name="connsiteY8" fmla="*/ 93587 h 96441"/>
                  <a:gd name="connsiteX9" fmla="*/ 61421 w 115192"/>
                  <a:gd name="connsiteY9" fmla="*/ 92349 h 96441"/>
                  <a:gd name="connsiteX10" fmla="*/ 114856 w 115192"/>
                  <a:gd name="connsiteY10" fmla="*/ 37866 h 96441"/>
                  <a:gd name="connsiteX11" fmla="*/ 87520 w 115192"/>
                  <a:gd name="connsiteY11" fmla="*/ 12625 h 96441"/>
                  <a:gd name="connsiteX12" fmla="*/ 80757 w 115192"/>
                  <a:gd name="connsiteY12" fmla="*/ 8624 h 96441"/>
                  <a:gd name="connsiteX13" fmla="*/ 77137 w 115192"/>
                  <a:gd name="connsiteY13" fmla="*/ 6624 h 96441"/>
                  <a:gd name="connsiteX14" fmla="*/ 73613 w 115192"/>
                  <a:gd name="connsiteY14" fmla="*/ 4814 h 96441"/>
                  <a:gd name="connsiteX15" fmla="*/ 71899 w 115192"/>
                  <a:gd name="connsiteY15" fmla="*/ 4052 h 96441"/>
                  <a:gd name="connsiteX16" fmla="*/ 68660 w 115192"/>
                  <a:gd name="connsiteY16" fmla="*/ 2623 h 96441"/>
                  <a:gd name="connsiteX17" fmla="*/ 64279 w 115192"/>
                  <a:gd name="connsiteY17" fmla="*/ 1004 h 96441"/>
                  <a:gd name="connsiteX18" fmla="*/ 60659 w 115192"/>
                  <a:gd name="connsiteY18" fmla="*/ 52 h 96441"/>
                  <a:gd name="connsiteX19" fmla="*/ 60659 w 115192"/>
                  <a:gd name="connsiteY19" fmla="*/ 52 h 96441"/>
                  <a:gd name="connsiteX20" fmla="*/ 56278 w 115192"/>
                  <a:gd name="connsiteY20" fmla="*/ 52 h 96441"/>
                  <a:gd name="connsiteX21" fmla="*/ 55135 w 115192"/>
                  <a:gd name="connsiteY21" fmla="*/ 52 h 96441"/>
                  <a:gd name="connsiteX22" fmla="*/ 45610 w 115192"/>
                  <a:gd name="connsiteY22" fmla="*/ 5957 h 96441"/>
                  <a:gd name="connsiteX23" fmla="*/ 36752 w 115192"/>
                  <a:gd name="connsiteY23" fmla="*/ 12529 h 96441"/>
                  <a:gd name="connsiteX24" fmla="*/ 28655 w 115192"/>
                  <a:gd name="connsiteY24" fmla="*/ 19387 h 96441"/>
                  <a:gd name="connsiteX25" fmla="*/ 17987 w 115192"/>
                  <a:gd name="connsiteY25" fmla="*/ 29770 h 96441"/>
                  <a:gd name="connsiteX26" fmla="*/ 9605 w 115192"/>
                  <a:gd name="connsiteY26" fmla="*/ 39295 h 96441"/>
                  <a:gd name="connsiteX27" fmla="*/ 3509 w 115192"/>
                  <a:gd name="connsiteY27" fmla="*/ 48058 h 96441"/>
                  <a:gd name="connsiteX28" fmla="*/ 176 w 115192"/>
                  <a:gd name="connsiteY28" fmla="*/ 55106 h 96441"/>
                  <a:gd name="connsiteX29" fmla="*/ -301 w 115192"/>
                  <a:gd name="connsiteY29" fmla="*/ 60535 h 96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15192" h="96441">
                    <a:moveTo>
                      <a:pt x="-301" y="60535"/>
                    </a:moveTo>
                    <a:cubicBezTo>
                      <a:pt x="2223" y="71556"/>
                      <a:pt x="9720" y="80776"/>
                      <a:pt x="19987" y="85491"/>
                    </a:cubicBezTo>
                    <a:lnTo>
                      <a:pt x="26750" y="89491"/>
                    </a:lnTo>
                    <a:cubicBezTo>
                      <a:pt x="35971" y="96178"/>
                      <a:pt x="47829" y="98054"/>
                      <a:pt x="58659" y="94540"/>
                    </a:cubicBezTo>
                    <a:lnTo>
                      <a:pt x="58659" y="94540"/>
                    </a:lnTo>
                    <a:lnTo>
                      <a:pt x="59135" y="94540"/>
                    </a:lnTo>
                    <a:lnTo>
                      <a:pt x="59135" y="94540"/>
                    </a:lnTo>
                    <a:lnTo>
                      <a:pt x="59612" y="94540"/>
                    </a:lnTo>
                    <a:lnTo>
                      <a:pt x="60469" y="93587"/>
                    </a:lnTo>
                    <a:cubicBezTo>
                      <a:pt x="60840" y="93216"/>
                      <a:pt x="61154" y="92797"/>
                      <a:pt x="61421" y="92349"/>
                    </a:cubicBezTo>
                    <a:cubicBezTo>
                      <a:pt x="61421" y="85681"/>
                      <a:pt x="83805" y="55868"/>
                      <a:pt x="114856" y="37866"/>
                    </a:cubicBezTo>
                    <a:cubicBezTo>
                      <a:pt x="114856" y="32627"/>
                      <a:pt x="102569" y="21293"/>
                      <a:pt x="87520" y="12625"/>
                    </a:cubicBezTo>
                    <a:lnTo>
                      <a:pt x="80757" y="8624"/>
                    </a:lnTo>
                    <a:lnTo>
                      <a:pt x="77137" y="6624"/>
                    </a:lnTo>
                    <a:lnTo>
                      <a:pt x="73613" y="4814"/>
                    </a:lnTo>
                    <a:lnTo>
                      <a:pt x="71899" y="4052"/>
                    </a:lnTo>
                    <a:lnTo>
                      <a:pt x="68660" y="2623"/>
                    </a:lnTo>
                    <a:cubicBezTo>
                      <a:pt x="67241" y="1985"/>
                      <a:pt x="65774" y="1452"/>
                      <a:pt x="64279" y="1004"/>
                    </a:cubicBezTo>
                    <a:cubicBezTo>
                      <a:pt x="63088" y="623"/>
                      <a:pt x="61879" y="299"/>
                      <a:pt x="60659" y="52"/>
                    </a:cubicBezTo>
                    <a:lnTo>
                      <a:pt x="60659" y="52"/>
                    </a:lnTo>
                    <a:cubicBezTo>
                      <a:pt x="59212" y="-234"/>
                      <a:pt x="57726" y="-234"/>
                      <a:pt x="56278" y="52"/>
                    </a:cubicBezTo>
                    <a:cubicBezTo>
                      <a:pt x="55897" y="-15"/>
                      <a:pt x="55516" y="-15"/>
                      <a:pt x="55135" y="52"/>
                    </a:cubicBezTo>
                    <a:cubicBezTo>
                      <a:pt x="52182" y="1766"/>
                      <a:pt x="48467" y="4147"/>
                      <a:pt x="45610" y="5957"/>
                    </a:cubicBezTo>
                    <a:cubicBezTo>
                      <a:pt x="40752" y="9291"/>
                      <a:pt x="36847" y="12434"/>
                      <a:pt x="36752" y="12529"/>
                    </a:cubicBezTo>
                    <a:cubicBezTo>
                      <a:pt x="33932" y="14663"/>
                      <a:pt x="31227" y="16958"/>
                      <a:pt x="28655" y="19387"/>
                    </a:cubicBezTo>
                    <a:cubicBezTo>
                      <a:pt x="25798" y="22054"/>
                      <a:pt x="21512" y="25960"/>
                      <a:pt x="17987" y="29770"/>
                    </a:cubicBezTo>
                    <a:cubicBezTo>
                      <a:pt x="14463" y="33580"/>
                      <a:pt x="12844" y="35580"/>
                      <a:pt x="9605" y="39295"/>
                    </a:cubicBezTo>
                    <a:cubicBezTo>
                      <a:pt x="7424" y="42105"/>
                      <a:pt x="5386" y="45029"/>
                      <a:pt x="3509" y="48058"/>
                    </a:cubicBezTo>
                    <a:cubicBezTo>
                      <a:pt x="2157" y="50286"/>
                      <a:pt x="1042" y="52649"/>
                      <a:pt x="176" y="55106"/>
                    </a:cubicBezTo>
                    <a:cubicBezTo>
                      <a:pt x="-253" y="56878"/>
                      <a:pt x="-415" y="58716"/>
                      <a:pt x="-301" y="60535"/>
                    </a:cubicBezTo>
                    <a:close/>
                  </a:path>
                </a:pathLst>
              </a:custGeom>
              <a:solidFill>
                <a:srgbClr val="D9530B"/>
              </a:solidFill>
              <a:ln w="9525" cap="flat">
                <a:noFill/>
                <a:prstDash val="solid"/>
                <a:miter/>
              </a:ln>
            </p:spPr>
            <p:txBody>
              <a:bodyPr rtlCol="0" anchor="ctr"/>
              <a:lstStyle/>
              <a:p>
                <a:endParaRPr lang="zh-CN" altLang="en-US"/>
              </a:p>
            </p:txBody>
          </p:sp>
        </p:grpSp>
        <p:sp>
          <p:nvSpPr>
            <p:cNvPr id="179" name="í$ḷiḍé">
              <a:extLst>
                <a:ext uri="{FF2B5EF4-FFF2-40B4-BE49-F238E27FC236}">
                  <a16:creationId xmlns:a16="http://schemas.microsoft.com/office/drawing/2014/main" id="{C3742C6D-6704-4734-A137-5E009FD31087}"/>
                </a:ext>
              </a:extLst>
            </p:cNvPr>
            <p:cNvSpPr/>
            <p:nvPr/>
          </p:nvSpPr>
          <p:spPr>
            <a:xfrm>
              <a:off x="4874988" y="4873963"/>
              <a:ext cx="1716699" cy="724850"/>
            </a:xfrm>
            <a:custGeom>
              <a:avLst/>
              <a:gdLst>
                <a:gd name="connsiteX0" fmla="*/ -336 w 563975"/>
                <a:gd name="connsiteY0" fmla="*/ -163 h 238130"/>
                <a:gd name="connsiteX1" fmla="*/ -336 w 563975"/>
                <a:gd name="connsiteY1" fmla="*/ 7553 h 238130"/>
                <a:gd name="connsiteX2" fmla="*/ 5188 w 563975"/>
                <a:gd name="connsiteY2" fmla="*/ 15839 h 238130"/>
                <a:gd name="connsiteX3" fmla="*/ 6046 w 563975"/>
                <a:gd name="connsiteY3" fmla="*/ 16506 h 238130"/>
                <a:gd name="connsiteX4" fmla="*/ 383236 w 563975"/>
                <a:gd name="connsiteY4" fmla="*/ 234248 h 238130"/>
                <a:gd name="connsiteX5" fmla="*/ 398856 w 563975"/>
                <a:gd name="connsiteY5" fmla="*/ 237962 h 238130"/>
                <a:gd name="connsiteX6" fmla="*/ 414382 w 563975"/>
                <a:gd name="connsiteY6" fmla="*/ 234248 h 238130"/>
                <a:gd name="connsiteX7" fmla="*/ 557257 w 563975"/>
                <a:gd name="connsiteY7" fmla="*/ 151666 h 238130"/>
                <a:gd name="connsiteX8" fmla="*/ 558210 w 563975"/>
                <a:gd name="connsiteY8" fmla="*/ 151094 h 238130"/>
                <a:gd name="connsiteX9" fmla="*/ 563639 w 563975"/>
                <a:gd name="connsiteY9" fmla="*/ 142712 h 238130"/>
                <a:gd name="connsiteX10" fmla="*/ 563639 w 563975"/>
                <a:gd name="connsiteY10" fmla="*/ 134997 h 238130"/>
                <a:gd name="connsiteX11" fmla="*/ 562591 w 563975"/>
                <a:gd name="connsiteY11" fmla="*/ 138807 h 238130"/>
                <a:gd name="connsiteX12" fmla="*/ 558210 w 563975"/>
                <a:gd name="connsiteY12" fmla="*/ 143379 h 238130"/>
                <a:gd name="connsiteX13" fmla="*/ 557257 w 563975"/>
                <a:gd name="connsiteY13" fmla="*/ 144046 h 238130"/>
                <a:gd name="connsiteX14" fmla="*/ 414382 w 563975"/>
                <a:gd name="connsiteY14" fmla="*/ 226533 h 238130"/>
                <a:gd name="connsiteX15" fmla="*/ 398856 w 563975"/>
                <a:gd name="connsiteY15" fmla="*/ 230247 h 238130"/>
                <a:gd name="connsiteX16" fmla="*/ 383236 w 563975"/>
                <a:gd name="connsiteY16" fmla="*/ 226533 h 238130"/>
                <a:gd name="connsiteX17" fmla="*/ 6046 w 563975"/>
                <a:gd name="connsiteY17" fmla="*/ 8791 h 238130"/>
                <a:gd name="connsiteX18" fmla="*/ 5188 w 563975"/>
                <a:gd name="connsiteY18" fmla="*/ 8219 h 238130"/>
                <a:gd name="connsiteX19" fmla="*/ 712 w 563975"/>
                <a:gd name="connsiteY19" fmla="*/ 3647 h 238130"/>
                <a:gd name="connsiteX20" fmla="*/ -336 w 563975"/>
                <a:gd name="connsiteY20" fmla="*/ -163 h 238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63975" h="238130">
                  <a:moveTo>
                    <a:pt x="-336" y="-163"/>
                  </a:moveTo>
                  <a:lnTo>
                    <a:pt x="-336" y="7553"/>
                  </a:lnTo>
                  <a:cubicBezTo>
                    <a:pt x="-41" y="11077"/>
                    <a:pt x="2045" y="14211"/>
                    <a:pt x="5188" y="15839"/>
                  </a:cubicBezTo>
                  <a:lnTo>
                    <a:pt x="6046" y="16506"/>
                  </a:lnTo>
                  <a:lnTo>
                    <a:pt x="383236" y="234248"/>
                  </a:lnTo>
                  <a:cubicBezTo>
                    <a:pt x="388046" y="236781"/>
                    <a:pt x="393418" y="238058"/>
                    <a:pt x="398856" y="237962"/>
                  </a:cubicBezTo>
                  <a:cubicBezTo>
                    <a:pt x="404267" y="238067"/>
                    <a:pt x="409610" y="236791"/>
                    <a:pt x="414382" y="234248"/>
                  </a:cubicBezTo>
                  <a:lnTo>
                    <a:pt x="557257" y="151666"/>
                  </a:lnTo>
                  <a:lnTo>
                    <a:pt x="558210" y="151094"/>
                  </a:lnTo>
                  <a:cubicBezTo>
                    <a:pt x="561306" y="149390"/>
                    <a:pt x="563344" y="146237"/>
                    <a:pt x="563639" y="142712"/>
                  </a:cubicBezTo>
                  <a:lnTo>
                    <a:pt x="563639" y="134997"/>
                  </a:lnTo>
                  <a:cubicBezTo>
                    <a:pt x="563630" y="136340"/>
                    <a:pt x="563268" y="137655"/>
                    <a:pt x="562591" y="138807"/>
                  </a:cubicBezTo>
                  <a:cubicBezTo>
                    <a:pt x="561553" y="140684"/>
                    <a:pt x="560039" y="142255"/>
                    <a:pt x="558210" y="143379"/>
                  </a:cubicBezTo>
                  <a:lnTo>
                    <a:pt x="557257" y="144046"/>
                  </a:lnTo>
                  <a:lnTo>
                    <a:pt x="414382" y="226533"/>
                  </a:lnTo>
                  <a:cubicBezTo>
                    <a:pt x="409629" y="229123"/>
                    <a:pt x="404267" y="230399"/>
                    <a:pt x="398856" y="230247"/>
                  </a:cubicBezTo>
                  <a:cubicBezTo>
                    <a:pt x="393418" y="230390"/>
                    <a:pt x="388036" y="229104"/>
                    <a:pt x="383236" y="226533"/>
                  </a:cubicBezTo>
                  <a:lnTo>
                    <a:pt x="6046" y="8791"/>
                  </a:lnTo>
                  <a:lnTo>
                    <a:pt x="5188" y="8219"/>
                  </a:lnTo>
                  <a:cubicBezTo>
                    <a:pt x="3331" y="7105"/>
                    <a:pt x="1788" y="5533"/>
                    <a:pt x="712" y="3647"/>
                  </a:cubicBezTo>
                  <a:cubicBezTo>
                    <a:pt x="45" y="2485"/>
                    <a:pt x="-317" y="1171"/>
                    <a:pt x="-336" y="-163"/>
                  </a:cubicBezTo>
                  <a:close/>
                </a:path>
              </a:pathLst>
            </a:custGeom>
            <a:solidFill>
              <a:srgbClr val="BF4200"/>
            </a:solidFill>
            <a:ln w="9525" cap="flat">
              <a:noFill/>
              <a:prstDash val="solid"/>
              <a:miter/>
            </a:ln>
          </p:spPr>
          <p:txBody>
            <a:bodyPr rtlCol="0" anchor="ctr"/>
            <a:lstStyle/>
            <a:p>
              <a:endParaRPr lang="zh-CN" altLang="en-US"/>
            </a:p>
          </p:txBody>
        </p:sp>
        <p:sp>
          <p:nvSpPr>
            <p:cNvPr id="180" name="îŝļiďè">
              <a:extLst>
                <a:ext uri="{FF2B5EF4-FFF2-40B4-BE49-F238E27FC236}">
                  <a16:creationId xmlns:a16="http://schemas.microsoft.com/office/drawing/2014/main" id="{56C52FDF-4E6C-47A2-B90F-F5C276F2E5CE}"/>
                </a:ext>
              </a:extLst>
            </p:cNvPr>
            <p:cNvSpPr/>
            <p:nvPr/>
          </p:nvSpPr>
          <p:spPr>
            <a:xfrm>
              <a:off x="4874988" y="4583739"/>
              <a:ext cx="1716699" cy="991611"/>
            </a:xfrm>
            <a:custGeom>
              <a:avLst/>
              <a:gdLst>
                <a:gd name="connsiteX0" fmla="*/ -336 w 563975"/>
                <a:gd name="connsiteY0" fmla="*/ 95182 h 325767"/>
                <a:gd name="connsiteX1" fmla="*/ 712 w 563975"/>
                <a:gd name="connsiteY1" fmla="*/ 98992 h 325767"/>
                <a:gd name="connsiteX2" fmla="*/ 5188 w 563975"/>
                <a:gd name="connsiteY2" fmla="*/ 103565 h 325767"/>
                <a:gd name="connsiteX3" fmla="*/ 6046 w 563975"/>
                <a:gd name="connsiteY3" fmla="*/ 104136 h 325767"/>
                <a:gd name="connsiteX4" fmla="*/ 383236 w 563975"/>
                <a:gd name="connsiteY4" fmla="*/ 321878 h 325767"/>
                <a:gd name="connsiteX5" fmla="*/ 398856 w 563975"/>
                <a:gd name="connsiteY5" fmla="*/ 325592 h 325767"/>
                <a:gd name="connsiteX6" fmla="*/ 414382 w 563975"/>
                <a:gd name="connsiteY6" fmla="*/ 321878 h 325767"/>
                <a:gd name="connsiteX7" fmla="*/ 557257 w 563975"/>
                <a:gd name="connsiteY7" fmla="*/ 239391 h 325767"/>
                <a:gd name="connsiteX8" fmla="*/ 558210 w 563975"/>
                <a:gd name="connsiteY8" fmla="*/ 238724 h 325767"/>
                <a:gd name="connsiteX9" fmla="*/ 562591 w 563975"/>
                <a:gd name="connsiteY9" fmla="*/ 234152 h 325767"/>
                <a:gd name="connsiteX10" fmla="*/ 563639 w 563975"/>
                <a:gd name="connsiteY10" fmla="*/ 230342 h 325767"/>
                <a:gd name="connsiteX11" fmla="*/ 557257 w 563975"/>
                <a:gd name="connsiteY11" fmla="*/ 221389 h 325767"/>
                <a:gd name="connsiteX12" fmla="*/ 180163 w 563975"/>
                <a:gd name="connsiteY12" fmla="*/ 3552 h 325767"/>
                <a:gd name="connsiteX13" fmla="*/ 149111 w 563975"/>
                <a:gd name="connsiteY13" fmla="*/ 3552 h 325767"/>
                <a:gd name="connsiteX14" fmla="*/ 6236 w 563975"/>
                <a:gd name="connsiteY14" fmla="*/ 86134 h 325767"/>
                <a:gd name="connsiteX15" fmla="*/ -336 w 563975"/>
                <a:gd name="connsiteY15" fmla="*/ 95182 h 325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63975" h="325767">
                  <a:moveTo>
                    <a:pt x="-336" y="95182"/>
                  </a:moveTo>
                  <a:cubicBezTo>
                    <a:pt x="-317" y="96516"/>
                    <a:pt x="45" y="97831"/>
                    <a:pt x="712" y="98992"/>
                  </a:cubicBezTo>
                  <a:cubicBezTo>
                    <a:pt x="1788" y="100878"/>
                    <a:pt x="3331" y="102450"/>
                    <a:pt x="5188" y="103565"/>
                  </a:cubicBezTo>
                  <a:lnTo>
                    <a:pt x="6046" y="104136"/>
                  </a:lnTo>
                  <a:lnTo>
                    <a:pt x="383236" y="321878"/>
                  </a:lnTo>
                  <a:cubicBezTo>
                    <a:pt x="388036" y="324449"/>
                    <a:pt x="393418" y="325735"/>
                    <a:pt x="398856" y="325592"/>
                  </a:cubicBezTo>
                  <a:cubicBezTo>
                    <a:pt x="404267" y="325745"/>
                    <a:pt x="409629" y="324468"/>
                    <a:pt x="414382" y="321878"/>
                  </a:cubicBezTo>
                  <a:lnTo>
                    <a:pt x="557257" y="239391"/>
                  </a:lnTo>
                  <a:lnTo>
                    <a:pt x="558210" y="238724"/>
                  </a:lnTo>
                  <a:cubicBezTo>
                    <a:pt x="560039" y="237600"/>
                    <a:pt x="561544" y="236029"/>
                    <a:pt x="562591" y="234152"/>
                  </a:cubicBezTo>
                  <a:cubicBezTo>
                    <a:pt x="563268" y="233000"/>
                    <a:pt x="563630" y="231685"/>
                    <a:pt x="563639" y="230342"/>
                  </a:cubicBezTo>
                  <a:cubicBezTo>
                    <a:pt x="563268" y="226427"/>
                    <a:pt x="560839" y="223008"/>
                    <a:pt x="557257" y="221389"/>
                  </a:cubicBezTo>
                  <a:lnTo>
                    <a:pt x="180163" y="3552"/>
                  </a:lnTo>
                  <a:cubicBezTo>
                    <a:pt x="170409" y="-1401"/>
                    <a:pt x="158865" y="-1401"/>
                    <a:pt x="149111" y="3552"/>
                  </a:cubicBezTo>
                  <a:lnTo>
                    <a:pt x="6236" y="86134"/>
                  </a:lnTo>
                  <a:cubicBezTo>
                    <a:pt x="2540" y="87705"/>
                    <a:pt x="16" y="91182"/>
                    <a:pt x="-336" y="95182"/>
                  </a:cubicBezTo>
                  <a:close/>
                </a:path>
              </a:pathLst>
            </a:custGeom>
            <a:solidFill>
              <a:srgbClr val="D9530B"/>
            </a:solidFill>
            <a:ln w="9525" cap="flat">
              <a:noFill/>
              <a:prstDash val="solid"/>
              <a:miter/>
            </a:ln>
          </p:spPr>
          <p:txBody>
            <a:bodyPr rtlCol="0" anchor="ctr"/>
            <a:lstStyle/>
            <a:p>
              <a:endParaRPr lang="zh-CN" altLang="en-US"/>
            </a:p>
          </p:txBody>
        </p:sp>
        <p:sp>
          <p:nvSpPr>
            <p:cNvPr id="181" name="îṧļïḑé">
              <a:extLst>
                <a:ext uri="{FF2B5EF4-FFF2-40B4-BE49-F238E27FC236}">
                  <a16:creationId xmlns:a16="http://schemas.microsoft.com/office/drawing/2014/main" id="{3D81B263-F86B-4B19-BD20-7D12BFE66BE6}"/>
                </a:ext>
              </a:extLst>
            </p:cNvPr>
            <p:cNvSpPr/>
            <p:nvPr/>
          </p:nvSpPr>
          <p:spPr>
            <a:xfrm>
              <a:off x="4888905" y="4592004"/>
              <a:ext cx="1690603" cy="975408"/>
            </a:xfrm>
            <a:custGeom>
              <a:avLst/>
              <a:gdLst>
                <a:gd name="connsiteX0" fmla="*/ -336 w 555402"/>
                <a:gd name="connsiteY0" fmla="*/ 92468 h 320444"/>
                <a:gd name="connsiteX1" fmla="*/ 4045 w 555402"/>
                <a:gd name="connsiteY1" fmla="*/ 99040 h 320444"/>
                <a:gd name="connsiteX2" fmla="*/ 4807 w 555402"/>
                <a:gd name="connsiteY2" fmla="*/ 99516 h 320444"/>
                <a:gd name="connsiteX3" fmla="*/ 382473 w 555402"/>
                <a:gd name="connsiteY3" fmla="*/ 317353 h 320444"/>
                <a:gd name="connsiteX4" fmla="*/ 407048 w 555402"/>
                <a:gd name="connsiteY4" fmla="*/ 317353 h 320444"/>
                <a:gd name="connsiteX5" fmla="*/ 549923 w 555402"/>
                <a:gd name="connsiteY5" fmla="*/ 234771 h 320444"/>
                <a:gd name="connsiteX6" fmla="*/ 550685 w 555402"/>
                <a:gd name="connsiteY6" fmla="*/ 234295 h 320444"/>
                <a:gd name="connsiteX7" fmla="*/ 555066 w 555402"/>
                <a:gd name="connsiteY7" fmla="*/ 227628 h 320444"/>
                <a:gd name="connsiteX8" fmla="*/ 549923 w 555402"/>
                <a:gd name="connsiteY8" fmla="*/ 220579 h 320444"/>
                <a:gd name="connsiteX9" fmla="*/ 172733 w 555402"/>
                <a:gd name="connsiteY9" fmla="*/ 2838 h 320444"/>
                <a:gd name="connsiteX10" fmla="*/ 148158 w 555402"/>
                <a:gd name="connsiteY10" fmla="*/ 2838 h 320444"/>
                <a:gd name="connsiteX11" fmla="*/ 5283 w 555402"/>
                <a:gd name="connsiteY11" fmla="*/ 85324 h 320444"/>
                <a:gd name="connsiteX12" fmla="*/ -336 w 555402"/>
                <a:gd name="connsiteY12" fmla="*/ 92468 h 320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55402" h="320444">
                  <a:moveTo>
                    <a:pt x="-336" y="92468"/>
                  </a:moveTo>
                  <a:cubicBezTo>
                    <a:pt x="-155" y="95287"/>
                    <a:pt x="1521" y="97792"/>
                    <a:pt x="4045" y="99040"/>
                  </a:cubicBezTo>
                  <a:lnTo>
                    <a:pt x="4807" y="99516"/>
                  </a:lnTo>
                  <a:lnTo>
                    <a:pt x="382473" y="317353"/>
                  </a:lnTo>
                  <a:cubicBezTo>
                    <a:pt x="390198" y="321259"/>
                    <a:pt x="399323" y="321259"/>
                    <a:pt x="407048" y="317353"/>
                  </a:cubicBezTo>
                  <a:lnTo>
                    <a:pt x="549923" y="234771"/>
                  </a:lnTo>
                  <a:lnTo>
                    <a:pt x="550685" y="234295"/>
                  </a:lnTo>
                  <a:cubicBezTo>
                    <a:pt x="553180" y="232952"/>
                    <a:pt x="554828" y="230447"/>
                    <a:pt x="555066" y="227628"/>
                  </a:cubicBezTo>
                  <a:cubicBezTo>
                    <a:pt x="554790" y="224513"/>
                    <a:pt x="552809" y="221798"/>
                    <a:pt x="549923" y="220579"/>
                  </a:cubicBezTo>
                  <a:lnTo>
                    <a:pt x="172733" y="2838"/>
                  </a:lnTo>
                  <a:cubicBezTo>
                    <a:pt x="165027" y="-1163"/>
                    <a:pt x="155864" y="-1163"/>
                    <a:pt x="148158" y="2838"/>
                  </a:cubicBezTo>
                  <a:lnTo>
                    <a:pt x="5283" y="85324"/>
                  </a:lnTo>
                  <a:cubicBezTo>
                    <a:pt x="2226" y="86467"/>
                    <a:pt x="64" y="89229"/>
                    <a:pt x="-336" y="92468"/>
                  </a:cubicBezTo>
                  <a:close/>
                </a:path>
              </a:pathLst>
            </a:custGeom>
            <a:solidFill>
              <a:srgbClr val="FF7D33"/>
            </a:solidFill>
            <a:ln w="9525" cap="flat">
              <a:noFill/>
              <a:prstDash val="solid"/>
              <a:miter/>
            </a:ln>
          </p:spPr>
          <p:txBody>
            <a:bodyPr rtlCol="0" anchor="ctr"/>
            <a:lstStyle/>
            <a:p>
              <a:endParaRPr lang="zh-CN" altLang="en-US"/>
            </a:p>
          </p:txBody>
        </p:sp>
        <p:sp>
          <p:nvSpPr>
            <p:cNvPr id="182" name="îsļîďe">
              <a:extLst>
                <a:ext uri="{FF2B5EF4-FFF2-40B4-BE49-F238E27FC236}">
                  <a16:creationId xmlns:a16="http://schemas.microsoft.com/office/drawing/2014/main" id="{44B0C30E-8E54-436F-B3FD-E9632B048B2A}"/>
                </a:ext>
              </a:extLst>
            </p:cNvPr>
            <p:cNvSpPr/>
            <p:nvPr/>
          </p:nvSpPr>
          <p:spPr>
            <a:xfrm>
              <a:off x="5313079" y="4592220"/>
              <a:ext cx="146416" cy="84804"/>
            </a:xfrm>
            <a:custGeom>
              <a:avLst/>
              <a:gdLst>
                <a:gd name="connsiteX0" fmla="*/ -336 w 48101"/>
                <a:gd name="connsiteY0" fmla="*/ 10291 h 27860"/>
                <a:gd name="connsiteX1" fmla="*/ 1188 w 48101"/>
                <a:gd name="connsiteY1" fmla="*/ 12577 h 27860"/>
                <a:gd name="connsiteX2" fmla="*/ 3569 w 48101"/>
                <a:gd name="connsiteY2" fmla="*/ 13911 h 27860"/>
                <a:gd name="connsiteX3" fmla="*/ 25857 w 48101"/>
                <a:gd name="connsiteY3" fmla="*/ 26769 h 27860"/>
                <a:gd name="connsiteX4" fmla="*/ 33668 w 48101"/>
                <a:gd name="connsiteY4" fmla="*/ 26769 h 27860"/>
                <a:gd name="connsiteX5" fmla="*/ 43860 w 48101"/>
                <a:gd name="connsiteY5" fmla="*/ 20864 h 27860"/>
                <a:gd name="connsiteX6" fmla="*/ 46241 w 48101"/>
                <a:gd name="connsiteY6" fmla="*/ 19530 h 27860"/>
                <a:gd name="connsiteX7" fmla="*/ 47765 w 48101"/>
                <a:gd name="connsiteY7" fmla="*/ 17816 h 27860"/>
                <a:gd name="connsiteX8" fmla="*/ 47765 w 48101"/>
                <a:gd name="connsiteY8" fmla="*/ 16768 h 27860"/>
                <a:gd name="connsiteX9" fmla="*/ 46241 w 48101"/>
                <a:gd name="connsiteY9" fmla="*/ 15054 h 27860"/>
                <a:gd name="connsiteX10" fmla="*/ 21476 w 48101"/>
                <a:gd name="connsiteY10" fmla="*/ 766 h 27860"/>
                <a:gd name="connsiteX11" fmla="*/ 13856 w 48101"/>
                <a:gd name="connsiteY11" fmla="*/ 766 h 27860"/>
                <a:gd name="connsiteX12" fmla="*/ 1188 w 48101"/>
                <a:gd name="connsiteY12" fmla="*/ 8100 h 27860"/>
                <a:gd name="connsiteX13" fmla="*/ -336 w 48101"/>
                <a:gd name="connsiteY13" fmla="*/ 10291 h 27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8101" h="27860">
                  <a:moveTo>
                    <a:pt x="-336" y="10291"/>
                  </a:moveTo>
                  <a:cubicBezTo>
                    <a:pt x="-270" y="11272"/>
                    <a:pt x="311" y="12139"/>
                    <a:pt x="1188" y="12577"/>
                  </a:cubicBezTo>
                  <a:lnTo>
                    <a:pt x="3569" y="13911"/>
                  </a:lnTo>
                  <a:lnTo>
                    <a:pt x="25857" y="26769"/>
                  </a:lnTo>
                  <a:cubicBezTo>
                    <a:pt x="28315" y="28007"/>
                    <a:pt x="31211" y="28007"/>
                    <a:pt x="33668" y="26769"/>
                  </a:cubicBezTo>
                  <a:lnTo>
                    <a:pt x="43860" y="20864"/>
                  </a:lnTo>
                  <a:lnTo>
                    <a:pt x="46241" y="19530"/>
                  </a:lnTo>
                  <a:cubicBezTo>
                    <a:pt x="46946" y="19168"/>
                    <a:pt x="47479" y="18559"/>
                    <a:pt x="47765" y="17816"/>
                  </a:cubicBezTo>
                  <a:lnTo>
                    <a:pt x="47765" y="16768"/>
                  </a:lnTo>
                  <a:cubicBezTo>
                    <a:pt x="47479" y="16025"/>
                    <a:pt x="46946" y="15415"/>
                    <a:pt x="46241" y="15054"/>
                  </a:cubicBezTo>
                  <a:lnTo>
                    <a:pt x="21476" y="766"/>
                  </a:lnTo>
                  <a:cubicBezTo>
                    <a:pt x="19085" y="-472"/>
                    <a:pt x="16247" y="-472"/>
                    <a:pt x="13856" y="766"/>
                  </a:cubicBezTo>
                  <a:lnTo>
                    <a:pt x="1188" y="8100"/>
                  </a:lnTo>
                  <a:cubicBezTo>
                    <a:pt x="311" y="8491"/>
                    <a:pt x="-279"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183" name="ïṡḷïḓé">
              <a:extLst>
                <a:ext uri="{FF2B5EF4-FFF2-40B4-BE49-F238E27FC236}">
                  <a16:creationId xmlns:a16="http://schemas.microsoft.com/office/drawing/2014/main" id="{2F748660-87E8-480B-B09F-C5BB1EA85BB5}"/>
                </a:ext>
              </a:extLst>
            </p:cNvPr>
            <p:cNvSpPr/>
            <p:nvPr/>
          </p:nvSpPr>
          <p:spPr>
            <a:xfrm>
              <a:off x="5314963" y="4594539"/>
              <a:ext cx="142718" cy="82484"/>
            </a:xfrm>
            <a:custGeom>
              <a:avLst/>
              <a:gdLst>
                <a:gd name="connsiteX0" fmla="*/ 25429 w 46886"/>
                <a:gd name="connsiteY0" fmla="*/ 26007 h 27098"/>
                <a:gd name="connsiteX1" fmla="*/ 1235 w 46886"/>
                <a:gd name="connsiteY1" fmla="*/ 12006 h 27098"/>
                <a:gd name="connsiteX2" fmla="*/ 1235 w 46886"/>
                <a:gd name="connsiteY2" fmla="*/ 7719 h 27098"/>
                <a:gd name="connsiteX3" fmla="*/ 13332 w 46886"/>
                <a:gd name="connsiteY3" fmla="*/ 766 h 27098"/>
                <a:gd name="connsiteX4" fmla="*/ 20761 w 46886"/>
                <a:gd name="connsiteY4" fmla="*/ 766 h 27098"/>
                <a:gd name="connsiteX5" fmla="*/ 45050 w 46886"/>
                <a:gd name="connsiteY5" fmla="*/ 14768 h 27098"/>
                <a:gd name="connsiteX6" fmla="*/ 45050 w 46886"/>
                <a:gd name="connsiteY6" fmla="*/ 19054 h 27098"/>
                <a:gd name="connsiteX7" fmla="*/ 32858 w 46886"/>
                <a:gd name="connsiteY7" fmla="*/ 26007 h 27098"/>
                <a:gd name="connsiteX8" fmla="*/ 25429 w 46886"/>
                <a:gd name="connsiteY8" fmla="*/ 26007 h 270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886" h="27098">
                  <a:moveTo>
                    <a:pt x="25429" y="26007"/>
                  </a:moveTo>
                  <a:lnTo>
                    <a:pt x="1235" y="12006"/>
                  </a:lnTo>
                  <a:cubicBezTo>
                    <a:pt x="-860" y="10863"/>
                    <a:pt x="-860" y="8958"/>
                    <a:pt x="1235" y="7719"/>
                  </a:cubicBezTo>
                  <a:lnTo>
                    <a:pt x="13332" y="766"/>
                  </a:lnTo>
                  <a:cubicBezTo>
                    <a:pt x="15656" y="-472"/>
                    <a:pt x="18437" y="-472"/>
                    <a:pt x="20761" y="766"/>
                  </a:cubicBezTo>
                  <a:lnTo>
                    <a:pt x="45050" y="14768"/>
                  </a:lnTo>
                  <a:cubicBezTo>
                    <a:pt x="47051" y="15911"/>
                    <a:pt x="47051" y="17816"/>
                    <a:pt x="45050" y="19054"/>
                  </a:cubicBezTo>
                  <a:lnTo>
                    <a:pt x="32858" y="26007"/>
                  </a:lnTo>
                  <a:cubicBezTo>
                    <a:pt x="30534" y="27245"/>
                    <a:pt x="27753" y="27245"/>
                    <a:pt x="25429" y="26007"/>
                  </a:cubicBezTo>
                  <a:close/>
                </a:path>
              </a:pathLst>
            </a:custGeom>
            <a:solidFill>
              <a:srgbClr val="D1D9E8"/>
            </a:solidFill>
            <a:ln w="9525" cap="flat">
              <a:noFill/>
              <a:prstDash val="solid"/>
              <a:miter/>
            </a:ln>
          </p:spPr>
          <p:txBody>
            <a:bodyPr rtlCol="0" anchor="ctr"/>
            <a:lstStyle/>
            <a:p>
              <a:endParaRPr lang="zh-CN" altLang="en-US"/>
            </a:p>
          </p:txBody>
        </p:sp>
        <p:sp>
          <p:nvSpPr>
            <p:cNvPr id="184" name="îṩḷíḋê">
              <a:extLst>
                <a:ext uri="{FF2B5EF4-FFF2-40B4-BE49-F238E27FC236}">
                  <a16:creationId xmlns:a16="http://schemas.microsoft.com/office/drawing/2014/main" id="{8027ECAA-F5AA-45D1-9C40-F8B16790BF5E}"/>
                </a:ext>
              </a:extLst>
            </p:cNvPr>
            <p:cNvSpPr/>
            <p:nvPr/>
          </p:nvSpPr>
          <p:spPr>
            <a:xfrm>
              <a:off x="5313079" y="4624041"/>
              <a:ext cx="146416" cy="74728"/>
            </a:xfrm>
            <a:custGeom>
              <a:avLst/>
              <a:gdLst>
                <a:gd name="connsiteX0" fmla="*/ -336 w 48101"/>
                <a:gd name="connsiteY0" fmla="*/ -163 h 24550"/>
                <a:gd name="connsiteX1" fmla="*/ -336 w 48101"/>
                <a:gd name="connsiteY1" fmla="*/ 6981 h 24550"/>
                <a:gd name="connsiteX2" fmla="*/ 1188 w 48101"/>
                <a:gd name="connsiteY2" fmla="*/ 9267 h 24550"/>
                <a:gd name="connsiteX3" fmla="*/ 25857 w 48101"/>
                <a:gd name="connsiteY3" fmla="*/ 23459 h 24550"/>
                <a:gd name="connsiteX4" fmla="*/ 33668 w 48101"/>
                <a:gd name="connsiteY4" fmla="*/ 23459 h 24550"/>
                <a:gd name="connsiteX5" fmla="*/ 46241 w 48101"/>
                <a:gd name="connsiteY5" fmla="*/ 16220 h 24550"/>
                <a:gd name="connsiteX6" fmla="*/ 47765 w 48101"/>
                <a:gd name="connsiteY6" fmla="*/ 14601 h 24550"/>
                <a:gd name="connsiteX7" fmla="*/ 47765 w 48101"/>
                <a:gd name="connsiteY7" fmla="*/ 7362 h 24550"/>
                <a:gd name="connsiteX8" fmla="*/ 46241 w 48101"/>
                <a:gd name="connsiteY8" fmla="*/ 9077 h 24550"/>
                <a:gd name="connsiteX9" fmla="*/ 43860 w 48101"/>
                <a:gd name="connsiteY9" fmla="*/ 10410 h 24550"/>
                <a:gd name="connsiteX10" fmla="*/ 33668 w 48101"/>
                <a:gd name="connsiteY10" fmla="*/ 16316 h 24550"/>
                <a:gd name="connsiteX11" fmla="*/ 25857 w 48101"/>
                <a:gd name="connsiteY11" fmla="*/ 16316 h 24550"/>
                <a:gd name="connsiteX12" fmla="*/ 3569 w 48101"/>
                <a:gd name="connsiteY12" fmla="*/ 3457 h 24550"/>
                <a:gd name="connsiteX13" fmla="*/ 1188 w 48101"/>
                <a:gd name="connsiteY13" fmla="*/ 2123 h 24550"/>
                <a:gd name="connsiteX14" fmla="*/ -336 w 48101"/>
                <a:gd name="connsiteY14" fmla="*/ -163 h 24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8101" h="24550">
                  <a:moveTo>
                    <a:pt x="-336" y="-163"/>
                  </a:moveTo>
                  <a:lnTo>
                    <a:pt x="-336" y="6981"/>
                  </a:lnTo>
                  <a:cubicBezTo>
                    <a:pt x="-251" y="7953"/>
                    <a:pt x="321" y="8819"/>
                    <a:pt x="1188" y="9267"/>
                  </a:cubicBezTo>
                  <a:lnTo>
                    <a:pt x="25857" y="23459"/>
                  </a:lnTo>
                  <a:cubicBezTo>
                    <a:pt x="28315" y="24697"/>
                    <a:pt x="31211" y="24697"/>
                    <a:pt x="33668" y="23459"/>
                  </a:cubicBezTo>
                  <a:lnTo>
                    <a:pt x="46241" y="16220"/>
                  </a:lnTo>
                  <a:cubicBezTo>
                    <a:pt x="46917" y="15868"/>
                    <a:pt x="47451" y="15296"/>
                    <a:pt x="47765" y="14601"/>
                  </a:cubicBezTo>
                  <a:lnTo>
                    <a:pt x="47765" y="7362"/>
                  </a:lnTo>
                  <a:cubicBezTo>
                    <a:pt x="47479" y="8105"/>
                    <a:pt x="46946" y="8715"/>
                    <a:pt x="46241" y="9077"/>
                  </a:cubicBezTo>
                  <a:lnTo>
                    <a:pt x="43860" y="10410"/>
                  </a:lnTo>
                  <a:lnTo>
                    <a:pt x="33668" y="16316"/>
                  </a:lnTo>
                  <a:cubicBezTo>
                    <a:pt x="31211" y="17554"/>
                    <a:pt x="28315" y="17554"/>
                    <a:pt x="25857" y="16316"/>
                  </a:cubicBezTo>
                  <a:lnTo>
                    <a:pt x="3569" y="3457"/>
                  </a:lnTo>
                  <a:lnTo>
                    <a:pt x="1188"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185" name="iṡľidé">
              <a:extLst>
                <a:ext uri="{FF2B5EF4-FFF2-40B4-BE49-F238E27FC236}">
                  <a16:creationId xmlns:a16="http://schemas.microsoft.com/office/drawing/2014/main" id="{5325BB8B-FA4D-4680-BED1-5DF83652046D}"/>
                </a:ext>
              </a:extLst>
            </p:cNvPr>
            <p:cNvSpPr/>
            <p:nvPr/>
          </p:nvSpPr>
          <p:spPr>
            <a:xfrm>
              <a:off x="5429923" y="4660839"/>
              <a:ext cx="109740" cy="63442"/>
            </a:xfrm>
            <a:custGeom>
              <a:avLst/>
              <a:gdLst>
                <a:gd name="connsiteX0" fmla="*/ -336 w 36052"/>
                <a:gd name="connsiteY0" fmla="*/ 10227 h 20842"/>
                <a:gd name="connsiteX1" fmla="*/ 1188 w 36052"/>
                <a:gd name="connsiteY1" fmla="*/ 12513 h 20842"/>
                <a:gd name="connsiteX2" fmla="*/ 3569 w 36052"/>
                <a:gd name="connsiteY2" fmla="*/ 13846 h 20842"/>
                <a:gd name="connsiteX3" fmla="*/ 13856 w 36052"/>
                <a:gd name="connsiteY3" fmla="*/ 19752 h 20842"/>
                <a:gd name="connsiteX4" fmla="*/ 21476 w 36052"/>
                <a:gd name="connsiteY4" fmla="*/ 19752 h 20842"/>
                <a:gd name="connsiteX5" fmla="*/ 31763 w 36052"/>
                <a:gd name="connsiteY5" fmla="*/ 13846 h 20842"/>
                <a:gd name="connsiteX6" fmla="*/ 34144 w 36052"/>
                <a:gd name="connsiteY6" fmla="*/ 12513 h 20842"/>
                <a:gd name="connsiteX7" fmla="*/ 35573 w 36052"/>
                <a:gd name="connsiteY7" fmla="*/ 9465 h 20842"/>
                <a:gd name="connsiteX8" fmla="*/ 34144 w 36052"/>
                <a:gd name="connsiteY8" fmla="*/ 8036 h 20842"/>
                <a:gd name="connsiteX9" fmla="*/ 21476 w 36052"/>
                <a:gd name="connsiteY9" fmla="*/ 702 h 20842"/>
                <a:gd name="connsiteX10" fmla="*/ 13856 w 36052"/>
                <a:gd name="connsiteY10" fmla="*/ 702 h 20842"/>
                <a:gd name="connsiteX11" fmla="*/ 1188 w 36052"/>
                <a:gd name="connsiteY11" fmla="*/ 8036 h 20842"/>
                <a:gd name="connsiteX12" fmla="*/ -336 w 36052"/>
                <a:gd name="connsiteY12" fmla="*/ 10227 h 20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2">
                  <a:moveTo>
                    <a:pt x="-336" y="10227"/>
                  </a:moveTo>
                  <a:cubicBezTo>
                    <a:pt x="-270" y="11208"/>
                    <a:pt x="311" y="12074"/>
                    <a:pt x="1188" y="12513"/>
                  </a:cubicBezTo>
                  <a:lnTo>
                    <a:pt x="3569" y="13846"/>
                  </a:lnTo>
                  <a:lnTo>
                    <a:pt x="13856" y="19752"/>
                  </a:lnTo>
                  <a:cubicBezTo>
                    <a:pt x="16247" y="20990"/>
                    <a:pt x="19085" y="20990"/>
                    <a:pt x="21476" y="19752"/>
                  </a:cubicBezTo>
                  <a:lnTo>
                    <a:pt x="31763" y="13846"/>
                  </a:lnTo>
                  <a:lnTo>
                    <a:pt x="34144" y="12513"/>
                  </a:lnTo>
                  <a:cubicBezTo>
                    <a:pt x="35382" y="12065"/>
                    <a:pt x="36020" y="10693"/>
                    <a:pt x="35573" y="9465"/>
                  </a:cubicBezTo>
                  <a:cubicBezTo>
                    <a:pt x="35325" y="8798"/>
                    <a:pt x="34811" y="8274"/>
                    <a:pt x="34144"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186" name="iś1ïḓé">
              <a:extLst>
                <a:ext uri="{FF2B5EF4-FFF2-40B4-BE49-F238E27FC236}">
                  <a16:creationId xmlns:a16="http://schemas.microsoft.com/office/drawing/2014/main" id="{49D73A6D-5719-462C-BFF0-1AAAB5DD5C3E}"/>
                </a:ext>
              </a:extLst>
            </p:cNvPr>
            <p:cNvSpPr/>
            <p:nvPr/>
          </p:nvSpPr>
          <p:spPr>
            <a:xfrm>
              <a:off x="5431808" y="4662020"/>
              <a:ext cx="105895" cy="61104"/>
            </a:xfrm>
            <a:custGeom>
              <a:avLst/>
              <a:gdLst>
                <a:gd name="connsiteX0" fmla="*/ 1235 w 34789"/>
                <a:gd name="connsiteY0" fmla="*/ 12029 h 20074"/>
                <a:gd name="connsiteX1" fmla="*/ 13332 w 34789"/>
                <a:gd name="connsiteY1" fmla="*/ 18983 h 20074"/>
                <a:gd name="connsiteX2" fmla="*/ 20761 w 34789"/>
                <a:gd name="connsiteY2" fmla="*/ 18983 h 20074"/>
                <a:gd name="connsiteX3" fmla="*/ 32953 w 34789"/>
                <a:gd name="connsiteY3" fmla="*/ 12029 h 20074"/>
                <a:gd name="connsiteX4" fmla="*/ 32953 w 34789"/>
                <a:gd name="connsiteY4" fmla="*/ 7743 h 20074"/>
                <a:gd name="connsiteX5" fmla="*/ 20761 w 34789"/>
                <a:gd name="connsiteY5" fmla="*/ 695 h 20074"/>
                <a:gd name="connsiteX6" fmla="*/ 13332 w 34789"/>
                <a:gd name="connsiteY6" fmla="*/ 695 h 20074"/>
                <a:gd name="connsiteX7" fmla="*/ 1235 w 34789"/>
                <a:gd name="connsiteY7" fmla="*/ 7743 h 20074"/>
                <a:gd name="connsiteX8" fmla="*/ 1235 w 34789"/>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89" h="20074">
                  <a:moveTo>
                    <a:pt x="1235" y="12029"/>
                  </a:moveTo>
                  <a:lnTo>
                    <a:pt x="13332" y="18983"/>
                  </a:lnTo>
                  <a:cubicBezTo>
                    <a:pt x="15656" y="20221"/>
                    <a:pt x="18437" y="20221"/>
                    <a:pt x="20761" y="18983"/>
                  </a:cubicBezTo>
                  <a:lnTo>
                    <a:pt x="32953" y="12029"/>
                  </a:lnTo>
                  <a:cubicBezTo>
                    <a:pt x="34954" y="10791"/>
                    <a:pt x="34954" y="8886"/>
                    <a:pt x="32953" y="7743"/>
                  </a:cubicBezTo>
                  <a:lnTo>
                    <a:pt x="20761" y="695"/>
                  </a:lnTo>
                  <a:cubicBezTo>
                    <a:pt x="18418" y="-448"/>
                    <a:pt x="15675" y="-448"/>
                    <a:pt x="13332" y="695"/>
                  </a:cubicBezTo>
                  <a:lnTo>
                    <a:pt x="1235" y="7743"/>
                  </a:lnTo>
                  <a:cubicBezTo>
                    <a:pt x="-860" y="8886"/>
                    <a:pt x="-860" y="10791"/>
                    <a:pt x="1235" y="12029"/>
                  </a:cubicBezTo>
                  <a:close/>
                </a:path>
              </a:pathLst>
            </a:custGeom>
            <a:solidFill>
              <a:srgbClr val="D1D9E8"/>
            </a:solidFill>
            <a:ln w="9525" cap="flat">
              <a:noFill/>
              <a:prstDash val="solid"/>
              <a:miter/>
            </a:ln>
          </p:spPr>
          <p:txBody>
            <a:bodyPr rtlCol="0" anchor="ctr"/>
            <a:lstStyle/>
            <a:p>
              <a:endParaRPr lang="zh-CN" altLang="en-US"/>
            </a:p>
          </p:txBody>
        </p:sp>
        <p:sp>
          <p:nvSpPr>
            <p:cNvPr id="187" name="ïṩḻîḍê">
              <a:extLst>
                <a:ext uri="{FF2B5EF4-FFF2-40B4-BE49-F238E27FC236}">
                  <a16:creationId xmlns:a16="http://schemas.microsoft.com/office/drawing/2014/main" id="{E331F050-47E4-4E9C-B54C-CB0A871ABE18}"/>
                </a:ext>
              </a:extLst>
            </p:cNvPr>
            <p:cNvSpPr/>
            <p:nvPr/>
          </p:nvSpPr>
          <p:spPr>
            <a:xfrm>
              <a:off x="5429923" y="4692465"/>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4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4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20"/>
                    <a:pt x="35582" y="7953"/>
                    <a:pt x="35668" y="6981"/>
                  </a:cubicBezTo>
                  <a:lnTo>
                    <a:pt x="35668" y="-163"/>
                  </a:lnTo>
                  <a:cubicBezTo>
                    <a:pt x="35602" y="819"/>
                    <a:pt x="35021" y="1685"/>
                    <a:pt x="34144" y="2124"/>
                  </a:cubicBezTo>
                  <a:lnTo>
                    <a:pt x="31763" y="3457"/>
                  </a:lnTo>
                  <a:lnTo>
                    <a:pt x="21476" y="9362"/>
                  </a:lnTo>
                  <a:cubicBezTo>
                    <a:pt x="19085" y="10601"/>
                    <a:pt x="16247" y="10601"/>
                    <a:pt x="13856" y="9362"/>
                  </a:cubicBezTo>
                  <a:lnTo>
                    <a:pt x="3569" y="3457"/>
                  </a:lnTo>
                  <a:lnTo>
                    <a:pt x="1188" y="2124"/>
                  </a:lnTo>
                  <a:cubicBezTo>
                    <a:pt x="311" y="1685"/>
                    <a:pt x="-270" y="819"/>
                    <a:pt x="-336" y="-163"/>
                  </a:cubicBezTo>
                  <a:close/>
                </a:path>
              </a:pathLst>
            </a:custGeom>
            <a:solidFill>
              <a:srgbClr val="BF4200"/>
            </a:solidFill>
            <a:ln w="9525" cap="flat">
              <a:noFill/>
              <a:prstDash val="solid"/>
              <a:miter/>
            </a:ln>
          </p:spPr>
          <p:txBody>
            <a:bodyPr rtlCol="0" anchor="ctr"/>
            <a:lstStyle/>
            <a:p>
              <a:endParaRPr lang="zh-CN" altLang="en-US"/>
            </a:p>
          </p:txBody>
        </p:sp>
        <p:sp>
          <p:nvSpPr>
            <p:cNvPr id="188" name="ïṣlîde">
              <a:extLst>
                <a:ext uri="{FF2B5EF4-FFF2-40B4-BE49-F238E27FC236}">
                  <a16:creationId xmlns:a16="http://schemas.microsoft.com/office/drawing/2014/main" id="{15C2AA8D-75F0-4B28-B11D-7495849FA88F}"/>
                </a:ext>
              </a:extLst>
            </p:cNvPr>
            <p:cNvSpPr/>
            <p:nvPr/>
          </p:nvSpPr>
          <p:spPr>
            <a:xfrm>
              <a:off x="5507337" y="4705293"/>
              <a:ext cx="109740" cy="63639"/>
            </a:xfrm>
            <a:custGeom>
              <a:avLst/>
              <a:gdLst>
                <a:gd name="connsiteX0" fmla="*/ -336 w 36052"/>
                <a:gd name="connsiteY0" fmla="*/ 10291 h 20907"/>
                <a:gd name="connsiteX1" fmla="*/ 1187 w 36052"/>
                <a:gd name="connsiteY1" fmla="*/ 12577 h 20907"/>
                <a:gd name="connsiteX2" fmla="*/ 3569 w 36052"/>
                <a:gd name="connsiteY2" fmla="*/ 13911 h 20907"/>
                <a:gd name="connsiteX3" fmla="*/ 13856 w 36052"/>
                <a:gd name="connsiteY3" fmla="*/ 19816 h 20907"/>
                <a:gd name="connsiteX4" fmla="*/ 21476 w 36052"/>
                <a:gd name="connsiteY4" fmla="*/ 19816 h 20907"/>
                <a:gd name="connsiteX5" fmla="*/ 31763 w 36052"/>
                <a:gd name="connsiteY5" fmla="*/ 13911 h 20907"/>
                <a:gd name="connsiteX6" fmla="*/ 34144 w 36052"/>
                <a:gd name="connsiteY6" fmla="*/ 12577 h 20907"/>
                <a:gd name="connsiteX7" fmla="*/ 35573 w 36052"/>
                <a:gd name="connsiteY7" fmla="*/ 9529 h 20907"/>
                <a:gd name="connsiteX8" fmla="*/ 34144 w 36052"/>
                <a:gd name="connsiteY8" fmla="*/ 8101 h 20907"/>
                <a:gd name="connsiteX9" fmla="*/ 21476 w 36052"/>
                <a:gd name="connsiteY9" fmla="*/ 766 h 20907"/>
                <a:gd name="connsiteX10" fmla="*/ 13856 w 36052"/>
                <a:gd name="connsiteY10" fmla="*/ 766 h 20907"/>
                <a:gd name="connsiteX11" fmla="*/ 1187 w 36052"/>
                <a:gd name="connsiteY11" fmla="*/ 8101 h 20907"/>
                <a:gd name="connsiteX12" fmla="*/ -336 w 36052"/>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907">
                  <a:moveTo>
                    <a:pt x="-336" y="10291"/>
                  </a:moveTo>
                  <a:cubicBezTo>
                    <a:pt x="-270" y="11272"/>
                    <a:pt x="311" y="12139"/>
                    <a:pt x="1187" y="12577"/>
                  </a:cubicBezTo>
                  <a:lnTo>
                    <a:pt x="3569" y="13911"/>
                  </a:lnTo>
                  <a:lnTo>
                    <a:pt x="13856" y="19816"/>
                  </a:lnTo>
                  <a:cubicBezTo>
                    <a:pt x="16247" y="21054"/>
                    <a:pt x="19085" y="21054"/>
                    <a:pt x="21476" y="19816"/>
                  </a:cubicBezTo>
                  <a:lnTo>
                    <a:pt x="31763" y="13911"/>
                  </a:lnTo>
                  <a:lnTo>
                    <a:pt x="34144" y="12577"/>
                  </a:lnTo>
                  <a:cubicBezTo>
                    <a:pt x="35382" y="12129"/>
                    <a:pt x="36020" y="10758"/>
                    <a:pt x="35573" y="9529"/>
                  </a:cubicBezTo>
                  <a:cubicBezTo>
                    <a:pt x="35325" y="8862"/>
                    <a:pt x="34811" y="8339"/>
                    <a:pt x="34144" y="8101"/>
                  </a:cubicBezTo>
                  <a:lnTo>
                    <a:pt x="21476" y="766"/>
                  </a:lnTo>
                  <a:cubicBezTo>
                    <a:pt x="19085" y="-472"/>
                    <a:pt x="16247" y="-472"/>
                    <a:pt x="13856" y="766"/>
                  </a:cubicBezTo>
                  <a:lnTo>
                    <a:pt x="1187" y="8101"/>
                  </a:lnTo>
                  <a:cubicBezTo>
                    <a:pt x="340" y="8519"/>
                    <a:pt x="-241" y="9348"/>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189" name="ïšḻïḍé">
              <a:extLst>
                <a:ext uri="{FF2B5EF4-FFF2-40B4-BE49-F238E27FC236}">
                  <a16:creationId xmlns:a16="http://schemas.microsoft.com/office/drawing/2014/main" id="{4A74B805-DD85-4469-8547-76D835CE5DFD}"/>
                </a:ext>
              </a:extLst>
            </p:cNvPr>
            <p:cNvSpPr/>
            <p:nvPr/>
          </p:nvSpPr>
          <p:spPr>
            <a:xfrm>
              <a:off x="5509148" y="4706671"/>
              <a:ext cx="105898" cy="61101"/>
            </a:xfrm>
            <a:custGeom>
              <a:avLst/>
              <a:gdLst>
                <a:gd name="connsiteX0" fmla="*/ 1164 w 34790"/>
                <a:gd name="connsiteY0" fmla="*/ 12029 h 20073"/>
                <a:gd name="connsiteX1" fmla="*/ 13356 w 34790"/>
                <a:gd name="connsiteY1" fmla="*/ 18982 h 20073"/>
                <a:gd name="connsiteX2" fmla="*/ 20786 w 34790"/>
                <a:gd name="connsiteY2" fmla="*/ 18982 h 20073"/>
                <a:gd name="connsiteX3" fmla="*/ 32882 w 34790"/>
                <a:gd name="connsiteY3" fmla="*/ 12029 h 20073"/>
                <a:gd name="connsiteX4" fmla="*/ 32882 w 34790"/>
                <a:gd name="connsiteY4" fmla="*/ 7743 h 20073"/>
                <a:gd name="connsiteX5" fmla="*/ 20786 w 34790"/>
                <a:gd name="connsiteY5" fmla="*/ 695 h 20073"/>
                <a:gd name="connsiteX6" fmla="*/ 13356 w 34790"/>
                <a:gd name="connsiteY6" fmla="*/ 695 h 20073"/>
                <a:gd name="connsiteX7" fmla="*/ 1164 w 34790"/>
                <a:gd name="connsiteY7" fmla="*/ 7743 h 20073"/>
                <a:gd name="connsiteX8" fmla="*/ 1164 w 34790"/>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3">
                  <a:moveTo>
                    <a:pt x="1164" y="12029"/>
                  </a:moveTo>
                  <a:lnTo>
                    <a:pt x="13356" y="18982"/>
                  </a:lnTo>
                  <a:cubicBezTo>
                    <a:pt x="15680" y="20221"/>
                    <a:pt x="18461" y="20221"/>
                    <a:pt x="20786" y="18982"/>
                  </a:cubicBezTo>
                  <a:lnTo>
                    <a:pt x="32882" y="12029"/>
                  </a:lnTo>
                  <a:cubicBezTo>
                    <a:pt x="34978" y="10791"/>
                    <a:pt x="34978" y="8886"/>
                    <a:pt x="32882" y="7743"/>
                  </a:cubicBezTo>
                  <a:lnTo>
                    <a:pt x="20786" y="695"/>
                  </a:lnTo>
                  <a:cubicBezTo>
                    <a:pt x="18442" y="-448"/>
                    <a:pt x="15699" y="-448"/>
                    <a:pt x="13356" y="695"/>
                  </a:cubicBezTo>
                  <a:lnTo>
                    <a:pt x="1164" y="7743"/>
                  </a:lnTo>
                  <a:cubicBezTo>
                    <a:pt x="-836" y="8886"/>
                    <a:pt x="-836" y="10791"/>
                    <a:pt x="1164" y="12029"/>
                  </a:cubicBezTo>
                  <a:close/>
                </a:path>
              </a:pathLst>
            </a:custGeom>
            <a:solidFill>
              <a:srgbClr val="D1D9E8"/>
            </a:solidFill>
            <a:ln w="9525" cap="flat">
              <a:noFill/>
              <a:prstDash val="solid"/>
              <a:miter/>
            </a:ln>
          </p:spPr>
          <p:txBody>
            <a:bodyPr rtlCol="0" anchor="ctr"/>
            <a:lstStyle/>
            <a:p>
              <a:endParaRPr lang="zh-CN" altLang="en-US"/>
            </a:p>
          </p:txBody>
        </p:sp>
        <p:sp>
          <p:nvSpPr>
            <p:cNvPr id="190" name="ïśľîḓe">
              <a:extLst>
                <a:ext uri="{FF2B5EF4-FFF2-40B4-BE49-F238E27FC236}">
                  <a16:creationId xmlns:a16="http://schemas.microsoft.com/office/drawing/2014/main" id="{DD7C22A3-BA7F-4C2B-8FCF-0582C11A1D4E}"/>
                </a:ext>
              </a:extLst>
            </p:cNvPr>
            <p:cNvSpPr/>
            <p:nvPr/>
          </p:nvSpPr>
          <p:spPr>
            <a:xfrm>
              <a:off x="5507337" y="4737114"/>
              <a:ext cx="109594" cy="53564"/>
            </a:xfrm>
            <a:custGeom>
              <a:avLst/>
              <a:gdLst>
                <a:gd name="connsiteX0" fmla="*/ -336 w 36004"/>
                <a:gd name="connsiteY0" fmla="*/ -163 h 17597"/>
                <a:gd name="connsiteX1" fmla="*/ -336 w 36004"/>
                <a:gd name="connsiteY1" fmla="*/ 7076 h 17597"/>
                <a:gd name="connsiteX2" fmla="*/ 1187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4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7 w 36004"/>
                <a:gd name="connsiteY13" fmla="*/ 2124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7" y="9267"/>
                  </a:cubicBezTo>
                  <a:lnTo>
                    <a:pt x="13856" y="16506"/>
                  </a:lnTo>
                  <a:cubicBezTo>
                    <a:pt x="16247" y="17744"/>
                    <a:pt x="19085" y="17744"/>
                    <a:pt x="21476" y="16506"/>
                  </a:cubicBezTo>
                  <a:lnTo>
                    <a:pt x="34144" y="9267"/>
                  </a:lnTo>
                  <a:cubicBezTo>
                    <a:pt x="35011" y="8819"/>
                    <a:pt x="35582" y="7953"/>
                    <a:pt x="35668" y="6981"/>
                  </a:cubicBezTo>
                  <a:lnTo>
                    <a:pt x="35668" y="-163"/>
                  </a:lnTo>
                  <a:cubicBezTo>
                    <a:pt x="35601" y="818"/>
                    <a:pt x="35020" y="1685"/>
                    <a:pt x="34144" y="2124"/>
                  </a:cubicBezTo>
                  <a:lnTo>
                    <a:pt x="31763" y="3457"/>
                  </a:lnTo>
                  <a:lnTo>
                    <a:pt x="21476" y="9362"/>
                  </a:lnTo>
                  <a:cubicBezTo>
                    <a:pt x="19085" y="10601"/>
                    <a:pt x="16247" y="10601"/>
                    <a:pt x="13856" y="9362"/>
                  </a:cubicBezTo>
                  <a:lnTo>
                    <a:pt x="3569" y="3457"/>
                  </a:lnTo>
                  <a:lnTo>
                    <a:pt x="1187" y="2124"/>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191" name="íŝ1ïḑé">
              <a:extLst>
                <a:ext uri="{FF2B5EF4-FFF2-40B4-BE49-F238E27FC236}">
                  <a16:creationId xmlns:a16="http://schemas.microsoft.com/office/drawing/2014/main" id="{5EF6DCEB-FD02-425B-B53A-09D9F7DA0F26}"/>
                </a:ext>
              </a:extLst>
            </p:cNvPr>
            <p:cNvSpPr/>
            <p:nvPr/>
          </p:nvSpPr>
          <p:spPr>
            <a:xfrm>
              <a:off x="5584457" y="4749944"/>
              <a:ext cx="109883" cy="63639"/>
            </a:xfrm>
            <a:custGeom>
              <a:avLst/>
              <a:gdLst>
                <a:gd name="connsiteX0" fmla="*/ -336 w 36099"/>
                <a:gd name="connsiteY0" fmla="*/ 10291 h 20907"/>
                <a:gd name="connsiteX1" fmla="*/ 1283 w 36099"/>
                <a:gd name="connsiteY1" fmla="*/ 12577 h 20907"/>
                <a:gd name="connsiteX2" fmla="*/ 3569 w 36099"/>
                <a:gd name="connsiteY2" fmla="*/ 13911 h 20907"/>
                <a:gd name="connsiteX3" fmla="*/ 13856 w 36099"/>
                <a:gd name="connsiteY3" fmla="*/ 19816 h 20907"/>
                <a:gd name="connsiteX4" fmla="*/ 21571 w 36099"/>
                <a:gd name="connsiteY4" fmla="*/ 19816 h 20907"/>
                <a:gd name="connsiteX5" fmla="*/ 31858 w 36099"/>
                <a:gd name="connsiteY5" fmla="*/ 13911 h 20907"/>
                <a:gd name="connsiteX6" fmla="*/ 34144 w 36099"/>
                <a:gd name="connsiteY6" fmla="*/ 12577 h 20907"/>
                <a:gd name="connsiteX7" fmla="*/ 35764 w 36099"/>
                <a:gd name="connsiteY7" fmla="*/ 10291 h 20907"/>
                <a:gd name="connsiteX8" fmla="*/ 34144 w 36099"/>
                <a:gd name="connsiteY8" fmla="*/ 8100 h 20907"/>
                <a:gd name="connsiteX9" fmla="*/ 21571 w 36099"/>
                <a:gd name="connsiteY9" fmla="*/ 766 h 20907"/>
                <a:gd name="connsiteX10" fmla="*/ 13856 w 36099"/>
                <a:gd name="connsiteY10" fmla="*/ 766 h 20907"/>
                <a:gd name="connsiteX11" fmla="*/ 1283 w 36099"/>
                <a:gd name="connsiteY11" fmla="*/ 8100 h 20907"/>
                <a:gd name="connsiteX12" fmla="*/ -336 w 36099"/>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99" h="20907">
                  <a:moveTo>
                    <a:pt x="-336" y="10291"/>
                  </a:moveTo>
                  <a:cubicBezTo>
                    <a:pt x="-269" y="11301"/>
                    <a:pt x="350" y="12187"/>
                    <a:pt x="1283" y="12577"/>
                  </a:cubicBezTo>
                  <a:lnTo>
                    <a:pt x="3569" y="13911"/>
                  </a:lnTo>
                  <a:lnTo>
                    <a:pt x="13856" y="19816"/>
                  </a:lnTo>
                  <a:cubicBezTo>
                    <a:pt x="16275" y="21054"/>
                    <a:pt x="19152" y="21054"/>
                    <a:pt x="21571" y="19816"/>
                  </a:cubicBezTo>
                  <a:lnTo>
                    <a:pt x="31858" y="13911"/>
                  </a:lnTo>
                  <a:lnTo>
                    <a:pt x="34144" y="12577"/>
                  </a:lnTo>
                  <a:cubicBezTo>
                    <a:pt x="35049" y="12149"/>
                    <a:pt x="35659" y="11282"/>
                    <a:pt x="35764" y="10291"/>
                  </a:cubicBezTo>
                  <a:cubicBezTo>
                    <a:pt x="35649" y="9329"/>
                    <a:pt x="35030" y="8491"/>
                    <a:pt x="34144" y="8100"/>
                  </a:cubicBezTo>
                  <a:lnTo>
                    <a:pt x="21571" y="766"/>
                  </a:lnTo>
                  <a:cubicBezTo>
                    <a:pt x="19152" y="-472"/>
                    <a:pt x="16275" y="-472"/>
                    <a:pt x="13856" y="766"/>
                  </a:cubicBezTo>
                  <a:lnTo>
                    <a:pt x="1283" y="8100"/>
                  </a:lnTo>
                  <a:cubicBezTo>
                    <a:pt x="369" y="8462"/>
                    <a:pt x="-260" y="9310"/>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192" name="iSļiďè">
              <a:extLst>
                <a:ext uri="{FF2B5EF4-FFF2-40B4-BE49-F238E27FC236}">
                  <a16:creationId xmlns:a16="http://schemas.microsoft.com/office/drawing/2014/main" id="{774A82DE-43FF-4253-8081-9F41DBF4EFF7}"/>
                </a:ext>
              </a:extLst>
            </p:cNvPr>
            <p:cNvSpPr/>
            <p:nvPr/>
          </p:nvSpPr>
          <p:spPr>
            <a:xfrm>
              <a:off x="5586126" y="4751104"/>
              <a:ext cx="105244" cy="61101"/>
            </a:xfrm>
            <a:custGeom>
              <a:avLst/>
              <a:gdLst>
                <a:gd name="connsiteX0" fmla="*/ 1021 w 34575"/>
                <a:gd name="connsiteY0" fmla="*/ 12006 h 20073"/>
                <a:gd name="connsiteX1" fmla="*/ 13118 w 34575"/>
                <a:gd name="connsiteY1" fmla="*/ 19054 h 20073"/>
                <a:gd name="connsiteX2" fmla="*/ 20547 w 34575"/>
                <a:gd name="connsiteY2" fmla="*/ 19054 h 20073"/>
                <a:gd name="connsiteX3" fmla="*/ 32739 w 34575"/>
                <a:gd name="connsiteY3" fmla="*/ 12006 h 20073"/>
                <a:gd name="connsiteX4" fmla="*/ 32739 w 34575"/>
                <a:gd name="connsiteY4" fmla="*/ 7719 h 20073"/>
                <a:gd name="connsiteX5" fmla="*/ 20547 w 34575"/>
                <a:gd name="connsiteY5" fmla="*/ 766 h 20073"/>
                <a:gd name="connsiteX6" fmla="*/ 13118 w 34575"/>
                <a:gd name="connsiteY6" fmla="*/ 766 h 20073"/>
                <a:gd name="connsiteX7" fmla="*/ 1021 w 34575"/>
                <a:gd name="connsiteY7" fmla="*/ 7719 h 20073"/>
                <a:gd name="connsiteX8" fmla="*/ 1021 w 34575"/>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575" h="20073">
                  <a:moveTo>
                    <a:pt x="1021" y="12006"/>
                  </a:moveTo>
                  <a:lnTo>
                    <a:pt x="13118" y="19054"/>
                  </a:lnTo>
                  <a:cubicBezTo>
                    <a:pt x="15461" y="20197"/>
                    <a:pt x="18204" y="20197"/>
                    <a:pt x="20547" y="19054"/>
                  </a:cubicBezTo>
                  <a:lnTo>
                    <a:pt x="32739" y="12006"/>
                  </a:lnTo>
                  <a:cubicBezTo>
                    <a:pt x="34740" y="10863"/>
                    <a:pt x="34740" y="8957"/>
                    <a:pt x="32739" y="7719"/>
                  </a:cubicBezTo>
                  <a:lnTo>
                    <a:pt x="20547" y="766"/>
                  </a:lnTo>
                  <a:cubicBezTo>
                    <a:pt x="18223" y="-472"/>
                    <a:pt x="15442" y="-472"/>
                    <a:pt x="13118" y="766"/>
                  </a:cubicBezTo>
                  <a:lnTo>
                    <a:pt x="1021" y="7719"/>
                  </a:lnTo>
                  <a:cubicBezTo>
                    <a:pt x="-789" y="8957"/>
                    <a:pt x="-789" y="10863"/>
                    <a:pt x="1021" y="12006"/>
                  </a:cubicBezTo>
                  <a:close/>
                </a:path>
              </a:pathLst>
            </a:custGeom>
            <a:solidFill>
              <a:srgbClr val="D1D9E8"/>
            </a:solidFill>
            <a:ln w="9525" cap="flat">
              <a:noFill/>
              <a:prstDash val="solid"/>
              <a:miter/>
            </a:ln>
          </p:spPr>
          <p:txBody>
            <a:bodyPr rtlCol="0" anchor="ctr"/>
            <a:lstStyle/>
            <a:p>
              <a:endParaRPr lang="zh-CN" altLang="en-US"/>
            </a:p>
          </p:txBody>
        </p:sp>
        <p:sp>
          <p:nvSpPr>
            <p:cNvPr id="193" name="îşḻîḑé">
              <a:extLst>
                <a:ext uri="{FF2B5EF4-FFF2-40B4-BE49-F238E27FC236}">
                  <a16:creationId xmlns:a16="http://schemas.microsoft.com/office/drawing/2014/main" id="{8F55E42D-F1E4-4D38-86F5-06F5DD7A2CE6}"/>
                </a:ext>
              </a:extLst>
            </p:cNvPr>
            <p:cNvSpPr/>
            <p:nvPr/>
          </p:nvSpPr>
          <p:spPr>
            <a:xfrm>
              <a:off x="5584457" y="4781765"/>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4 w 36099"/>
                <a:gd name="connsiteY6" fmla="*/ 6981 h 17597"/>
                <a:gd name="connsiteX7" fmla="*/ 35764 w 36099"/>
                <a:gd name="connsiteY7" fmla="*/ -163 h 17597"/>
                <a:gd name="connsiteX8" fmla="*/ 34144 w 36099"/>
                <a:gd name="connsiteY8" fmla="*/ 2123 h 17597"/>
                <a:gd name="connsiteX9" fmla="*/ 31858 w 36099"/>
                <a:gd name="connsiteY9" fmla="*/ 3457 h 17597"/>
                <a:gd name="connsiteX10" fmla="*/ 21571 w 36099"/>
                <a:gd name="connsiteY10" fmla="*/ 9362 h 17597"/>
                <a:gd name="connsiteX11" fmla="*/ 13856 w 36099"/>
                <a:gd name="connsiteY11" fmla="*/ 9362 h 17597"/>
                <a:gd name="connsiteX12" fmla="*/ 3569 w 36099"/>
                <a:gd name="connsiteY12" fmla="*/ 3457 h 17597"/>
                <a:gd name="connsiteX13" fmla="*/ 1283 w 36099"/>
                <a:gd name="connsiteY13" fmla="*/ 2123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41" y="8048"/>
                    <a:pt x="378" y="8886"/>
                    <a:pt x="1283" y="9267"/>
                  </a:cubicBezTo>
                  <a:lnTo>
                    <a:pt x="13856" y="16506"/>
                  </a:lnTo>
                  <a:cubicBezTo>
                    <a:pt x="16275" y="17744"/>
                    <a:pt x="19152" y="17744"/>
                    <a:pt x="21571" y="16506"/>
                  </a:cubicBezTo>
                  <a:lnTo>
                    <a:pt x="34144" y="9267"/>
                  </a:lnTo>
                  <a:cubicBezTo>
                    <a:pt x="35030" y="8829"/>
                    <a:pt x="35640" y="7962"/>
                    <a:pt x="35764" y="6981"/>
                  </a:cubicBezTo>
                  <a:lnTo>
                    <a:pt x="35764" y="-163"/>
                  </a:lnTo>
                  <a:cubicBezTo>
                    <a:pt x="35659" y="828"/>
                    <a:pt x="35049" y="1695"/>
                    <a:pt x="34144" y="2123"/>
                  </a:cubicBezTo>
                  <a:lnTo>
                    <a:pt x="31858" y="3457"/>
                  </a:lnTo>
                  <a:lnTo>
                    <a:pt x="21571" y="9362"/>
                  </a:lnTo>
                  <a:cubicBezTo>
                    <a:pt x="19152" y="10601"/>
                    <a:pt x="16275" y="10601"/>
                    <a:pt x="13856" y="9362"/>
                  </a:cubicBezTo>
                  <a:lnTo>
                    <a:pt x="3569" y="3457"/>
                  </a:lnTo>
                  <a:lnTo>
                    <a:pt x="1283" y="2123"/>
                  </a:lnTo>
                  <a:cubicBezTo>
                    <a:pt x="350" y="1733"/>
                    <a:pt x="-269" y="847"/>
                    <a:pt x="-336" y="-163"/>
                  </a:cubicBezTo>
                  <a:close/>
                </a:path>
              </a:pathLst>
            </a:custGeom>
            <a:solidFill>
              <a:srgbClr val="BF4200"/>
            </a:solidFill>
            <a:ln w="9525" cap="flat">
              <a:noFill/>
              <a:prstDash val="solid"/>
              <a:miter/>
            </a:ln>
          </p:spPr>
          <p:txBody>
            <a:bodyPr rtlCol="0" anchor="ctr"/>
            <a:lstStyle/>
            <a:p>
              <a:endParaRPr lang="zh-CN" altLang="en-US"/>
            </a:p>
          </p:txBody>
        </p:sp>
        <p:sp>
          <p:nvSpPr>
            <p:cNvPr id="194" name="îṣlíḋe">
              <a:extLst>
                <a:ext uri="{FF2B5EF4-FFF2-40B4-BE49-F238E27FC236}">
                  <a16:creationId xmlns:a16="http://schemas.microsoft.com/office/drawing/2014/main" id="{E063089A-017C-479E-ABFC-79AF3D5B1ADE}"/>
                </a:ext>
              </a:extLst>
            </p:cNvPr>
            <p:cNvSpPr/>
            <p:nvPr/>
          </p:nvSpPr>
          <p:spPr>
            <a:xfrm>
              <a:off x="5661871" y="4795463"/>
              <a:ext cx="110753" cy="63588"/>
            </a:xfrm>
            <a:custGeom>
              <a:avLst/>
              <a:gdLst>
                <a:gd name="connsiteX0" fmla="*/ -336 w 36385"/>
                <a:gd name="connsiteY0" fmla="*/ 10196 h 20890"/>
                <a:gd name="connsiteX1" fmla="*/ 1188 w 36385"/>
                <a:gd name="connsiteY1" fmla="*/ 12482 h 20890"/>
                <a:gd name="connsiteX2" fmla="*/ 3569 w 36385"/>
                <a:gd name="connsiteY2" fmla="*/ 13815 h 20890"/>
                <a:gd name="connsiteX3" fmla="*/ 14237 w 36385"/>
                <a:gd name="connsiteY3" fmla="*/ 19721 h 20890"/>
                <a:gd name="connsiteX4" fmla="*/ 21857 w 36385"/>
                <a:gd name="connsiteY4" fmla="*/ 19721 h 20890"/>
                <a:gd name="connsiteX5" fmla="*/ 32144 w 36385"/>
                <a:gd name="connsiteY5" fmla="*/ 13911 h 20890"/>
                <a:gd name="connsiteX6" fmla="*/ 34525 w 36385"/>
                <a:gd name="connsiteY6" fmla="*/ 12577 h 20890"/>
                <a:gd name="connsiteX7" fmla="*/ 36049 w 36385"/>
                <a:gd name="connsiteY7" fmla="*/ 10291 h 20890"/>
                <a:gd name="connsiteX8" fmla="*/ 34525 w 36385"/>
                <a:gd name="connsiteY8" fmla="*/ 8100 h 20890"/>
                <a:gd name="connsiteX9" fmla="*/ 21857 w 36385"/>
                <a:gd name="connsiteY9" fmla="*/ 766 h 20890"/>
                <a:gd name="connsiteX10" fmla="*/ 14237 w 36385"/>
                <a:gd name="connsiteY10" fmla="*/ 766 h 20890"/>
                <a:gd name="connsiteX11" fmla="*/ 1569 w 36385"/>
                <a:gd name="connsiteY11" fmla="*/ 8100 h 20890"/>
                <a:gd name="connsiteX12" fmla="*/ -336 w 36385"/>
                <a:gd name="connsiteY12" fmla="*/ 10196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385" h="20890">
                  <a:moveTo>
                    <a:pt x="-336" y="10196"/>
                  </a:moveTo>
                  <a:cubicBezTo>
                    <a:pt x="-270" y="11177"/>
                    <a:pt x="311" y="12044"/>
                    <a:pt x="1188" y="12482"/>
                  </a:cubicBezTo>
                  <a:lnTo>
                    <a:pt x="3569" y="13815"/>
                  </a:lnTo>
                  <a:lnTo>
                    <a:pt x="14237" y="19721"/>
                  </a:lnTo>
                  <a:cubicBezTo>
                    <a:pt x="16599" y="21064"/>
                    <a:pt x="19495" y="21064"/>
                    <a:pt x="21857" y="19721"/>
                  </a:cubicBezTo>
                  <a:lnTo>
                    <a:pt x="32144" y="13911"/>
                  </a:lnTo>
                  <a:lnTo>
                    <a:pt x="34525" y="12577"/>
                  </a:lnTo>
                  <a:cubicBezTo>
                    <a:pt x="35401" y="12139"/>
                    <a:pt x="35982" y="11272"/>
                    <a:pt x="36049" y="10291"/>
                  </a:cubicBezTo>
                  <a:cubicBezTo>
                    <a:pt x="35992" y="9339"/>
                    <a:pt x="35401" y="8491"/>
                    <a:pt x="34525" y="8100"/>
                  </a:cubicBezTo>
                  <a:lnTo>
                    <a:pt x="21857" y="766"/>
                  </a:lnTo>
                  <a:cubicBezTo>
                    <a:pt x="19466" y="-472"/>
                    <a:pt x="16628" y="-472"/>
                    <a:pt x="14237" y="766"/>
                  </a:cubicBezTo>
                  <a:lnTo>
                    <a:pt x="1569" y="8100"/>
                  </a:lnTo>
                  <a:cubicBezTo>
                    <a:pt x="569" y="8357"/>
                    <a:pt x="-174" y="9177"/>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195" name="î$ḻîdè">
              <a:extLst>
                <a:ext uri="{FF2B5EF4-FFF2-40B4-BE49-F238E27FC236}">
                  <a16:creationId xmlns:a16="http://schemas.microsoft.com/office/drawing/2014/main" id="{7C84951A-B1E5-4AA5-808E-C554D14E98DF}"/>
                </a:ext>
              </a:extLst>
            </p:cNvPr>
            <p:cNvSpPr/>
            <p:nvPr/>
          </p:nvSpPr>
          <p:spPr>
            <a:xfrm>
              <a:off x="5663755" y="4795755"/>
              <a:ext cx="105825" cy="61101"/>
            </a:xfrm>
            <a:custGeom>
              <a:avLst/>
              <a:gdLst>
                <a:gd name="connsiteX0" fmla="*/ 1235 w 34766"/>
                <a:gd name="connsiteY0" fmla="*/ 12006 h 20073"/>
                <a:gd name="connsiteX1" fmla="*/ 13332 w 34766"/>
                <a:gd name="connsiteY1" fmla="*/ 19054 h 20073"/>
                <a:gd name="connsiteX2" fmla="*/ 20761 w 34766"/>
                <a:gd name="connsiteY2" fmla="*/ 19054 h 20073"/>
                <a:gd name="connsiteX3" fmla="*/ 32858 w 34766"/>
                <a:gd name="connsiteY3" fmla="*/ 12006 h 20073"/>
                <a:gd name="connsiteX4" fmla="*/ 32858 w 34766"/>
                <a:gd name="connsiteY4" fmla="*/ 7719 h 20073"/>
                <a:gd name="connsiteX5" fmla="*/ 20761 w 34766"/>
                <a:gd name="connsiteY5" fmla="*/ 766 h 20073"/>
                <a:gd name="connsiteX6" fmla="*/ 13332 w 34766"/>
                <a:gd name="connsiteY6" fmla="*/ 766 h 20073"/>
                <a:gd name="connsiteX7" fmla="*/ 1235 w 34766"/>
                <a:gd name="connsiteY7" fmla="*/ 7719 h 20073"/>
                <a:gd name="connsiteX8" fmla="*/ 1235 w 34766"/>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6" h="20073">
                  <a:moveTo>
                    <a:pt x="1235" y="12006"/>
                  </a:moveTo>
                  <a:lnTo>
                    <a:pt x="13332" y="19054"/>
                  </a:lnTo>
                  <a:cubicBezTo>
                    <a:pt x="15675" y="20197"/>
                    <a:pt x="18418" y="20197"/>
                    <a:pt x="20761" y="19054"/>
                  </a:cubicBezTo>
                  <a:lnTo>
                    <a:pt x="32858" y="12006"/>
                  </a:lnTo>
                  <a:cubicBezTo>
                    <a:pt x="34954" y="10862"/>
                    <a:pt x="34954" y="8958"/>
                    <a:pt x="32858" y="7719"/>
                  </a:cubicBezTo>
                  <a:lnTo>
                    <a:pt x="20761" y="766"/>
                  </a:lnTo>
                  <a:cubicBezTo>
                    <a:pt x="18437" y="-472"/>
                    <a:pt x="15656" y="-472"/>
                    <a:pt x="13332" y="766"/>
                  </a:cubicBezTo>
                  <a:lnTo>
                    <a:pt x="1235" y="7719"/>
                  </a:lnTo>
                  <a:cubicBezTo>
                    <a:pt x="-860" y="8958"/>
                    <a:pt x="-860" y="10862"/>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196" name="i$ḷïḍê">
              <a:extLst>
                <a:ext uri="{FF2B5EF4-FFF2-40B4-BE49-F238E27FC236}">
                  <a16:creationId xmlns:a16="http://schemas.microsoft.com/office/drawing/2014/main" id="{FD613938-004E-47A0-A7D6-34E5C1EEEC5F}"/>
                </a:ext>
              </a:extLst>
            </p:cNvPr>
            <p:cNvSpPr/>
            <p:nvPr/>
          </p:nvSpPr>
          <p:spPr>
            <a:xfrm>
              <a:off x="5661871" y="4826995"/>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3 h 17597"/>
                <a:gd name="connsiteX9" fmla="*/ 31763 w 36004"/>
                <a:gd name="connsiteY9" fmla="*/ 3457 h 17597"/>
                <a:gd name="connsiteX10" fmla="*/ 21476 w 36004"/>
                <a:gd name="connsiteY10" fmla="*/ 9267 h 17597"/>
                <a:gd name="connsiteX11" fmla="*/ 13856 w 36004"/>
                <a:gd name="connsiteY11" fmla="*/ 9267 h 17597"/>
                <a:gd name="connsiteX12" fmla="*/ 3569 w 36004"/>
                <a:gd name="connsiteY12" fmla="*/ 3457 h 17597"/>
                <a:gd name="connsiteX13" fmla="*/ 1188 w 36004"/>
                <a:gd name="connsiteY13" fmla="*/ 2123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2" y="7953"/>
                    <a:pt x="35668" y="6981"/>
                  </a:cubicBezTo>
                  <a:lnTo>
                    <a:pt x="35668" y="-163"/>
                  </a:lnTo>
                  <a:cubicBezTo>
                    <a:pt x="35602" y="818"/>
                    <a:pt x="35021" y="1685"/>
                    <a:pt x="34144" y="2123"/>
                  </a:cubicBezTo>
                  <a:lnTo>
                    <a:pt x="31763" y="3457"/>
                  </a:lnTo>
                  <a:lnTo>
                    <a:pt x="21476" y="9267"/>
                  </a:lnTo>
                  <a:cubicBezTo>
                    <a:pt x="19114" y="10610"/>
                    <a:pt x="16218" y="10610"/>
                    <a:pt x="13856" y="9267"/>
                  </a:cubicBezTo>
                  <a:lnTo>
                    <a:pt x="3569" y="3457"/>
                  </a:lnTo>
                  <a:lnTo>
                    <a:pt x="1188"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197" name="ïş1îḍe">
              <a:extLst>
                <a:ext uri="{FF2B5EF4-FFF2-40B4-BE49-F238E27FC236}">
                  <a16:creationId xmlns:a16="http://schemas.microsoft.com/office/drawing/2014/main" id="{1B7BBD2C-E907-483D-BCF4-4E33A93A0EBF}"/>
                </a:ext>
              </a:extLst>
            </p:cNvPr>
            <p:cNvSpPr/>
            <p:nvPr/>
          </p:nvSpPr>
          <p:spPr>
            <a:xfrm>
              <a:off x="5738995" y="4839244"/>
              <a:ext cx="109916" cy="63588"/>
            </a:xfrm>
            <a:custGeom>
              <a:avLst/>
              <a:gdLst>
                <a:gd name="connsiteX0" fmla="*/ -336 w 36110"/>
                <a:gd name="connsiteY0" fmla="*/ 10291 h 20890"/>
                <a:gd name="connsiteX1" fmla="*/ 1283 w 36110"/>
                <a:gd name="connsiteY1" fmla="*/ 12482 h 20890"/>
                <a:gd name="connsiteX2" fmla="*/ 3569 w 36110"/>
                <a:gd name="connsiteY2" fmla="*/ 13910 h 20890"/>
                <a:gd name="connsiteX3" fmla="*/ 13856 w 36110"/>
                <a:gd name="connsiteY3" fmla="*/ 19721 h 20890"/>
                <a:gd name="connsiteX4" fmla="*/ 21571 w 36110"/>
                <a:gd name="connsiteY4" fmla="*/ 19721 h 20890"/>
                <a:gd name="connsiteX5" fmla="*/ 31858 w 36110"/>
                <a:gd name="connsiteY5" fmla="*/ 13910 h 20890"/>
                <a:gd name="connsiteX6" fmla="*/ 34144 w 36110"/>
                <a:gd name="connsiteY6" fmla="*/ 12482 h 20890"/>
                <a:gd name="connsiteX7" fmla="*/ 35678 w 36110"/>
                <a:gd name="connsiteY7" fmla="*/ 9634 h 20890"/>
                <a:gd name="connsiteX8" fmla="*/ 34144 w 36110"/>
                <a:gd name="connsiteY8" fmla="*/ 8100 h 20890"/>
                <a:gd name="connsiteX9" fmla="*/ 21571 w 36110"/>
                <a:gd name="connsiteY9" fmla="*/ 766 h 20890"/>
                <a:gd name="connsiteX10" fmla="*/ 13856 w 36110"/>
                <a:gd name="connsiteY10" fmla="*/ 766 h 20890"/>
                <a:gd name="connsiteX11" fmla="*/ 1283 w 36110"/>
                <a:gd name="connsiteY11" fmla="*/ 8100 h 20890"/>
                <a:gd name="connsiteX12" fmla="*/ -336 w 36110"/>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110" h="20890">
                  <a:moveTo>
                    <a:pt x="-336" y="10291"/>
                  </a:moveTo>
                  <a:cubicBezTo>
                    <a:pt x="-260" y="11272"/>
                    <a:pt x="369" y="12120"/>
                    <a:pt x="1283" y="12482"/>
                  </a:cubicBezTo>
                  <a:lnTo>
                    <a:pt x="3569" y="13910"/>
                  </a:lnTo>
                  <a:lnTo>
                    <a:pt x="13856" y="19721"/>
                  </a:lnTo>
                  <a:cubicBezTo>
                    <a:pt x="16256" y="21064"/>
                    <a:pt x="19171" y="21064"/>
                    <a:pt x="21571" y="19721"/>
                  </a:cubicBezTo>
                  <a:lnTo>
                    <a:pt x="31858" y="13910"/>
                  </a:lnTo>
                  <a:lnTo>
                    <a:pt x="34144" y="12482"/>
                  </a:lnTo>
                  <a:cubicBezTo>
                    <a:pt x="35354" y="12120"/>
                    <a:pt x="36040" y="10843"/>
                    <a:pt x="35678" y="9634"/>
                  </a:cubicBezTo>
                  <a:cubicBezTo>
                    <a:pt x="35459" y="8900"/>
                    <a:pt x="34887" y="8319"/>
                    <a:pt x="34144" y="8100"/>
                  </a:cubicBezTo>
                  <a:lnTo>
                    <a:pt x="21571" y="766"/>
                  </a:lnTo>
                  <a:cubicBezTo>
                    <a:pt x="19152" y="-472"/>
                    <a:pt x="16275" y="-472"/>
                    <a:pt x="13856" y="766"/>
                  </a:cubicBezTo>
                  <a:lnTo>
                    <a:pt x="1283" y="8100"/>
                  </a:lnTo>
                  <a:cubicBezTo>
                    <a:pt x="369" y="8462"/>
                    <a:pt x="-260" y="9310"/>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198" name="îṥḻîḋè">
              <a:extLst>
                <a:ext uri="{FF2B5EF4-FFF2-40B4-BE49-F238E27FC236}">
                  <a16:creationId xmlns:a16="http://schemas.microsoft.com/office/drawing/2014/main" id="{FBC6E227-7A0C-41FF-9E64-56C731AC7176}"/>
                </a:ext>
              </a:extLst>
            </p:cNvPr>
            <p:cNvSpPr/>
            <p:nvPr/>
          </p:nvSpPr>
          <p:spPr>
            <a:xfrm>
              <a:off x="5741095" y="4840403"/>
              <a:ext cx="105679" cy="61104"/>
            </a:xfrm>
            <a:custGeom>
              <a:avLst/>
              <a:gdLst>
                <a:gd name="connsiteX0" fmla="*/ 1164 w 34718"/>
                <a:gd name="connsiteY0" fmla="*/ 12006 h 20074"/>
                <a:gd name="connsiteX1" fmla="*/ 13261 w 34718"/>
                <a:gd name="connsiteY1" fmla="*/ 19054 h 20074"/>
                <a:gd name="connsiteX2" fmla="*/ 20690 w 34718"/>
                <a:gd name="connsiteY2" fmla="*/ 19054 h 20074"/>
                <a:gd name="connsiteX3" fmla="*/ 32882 w 34718"/>
                <a:gd name="connsiteY3" fmla="*/ 12006 h 20074"/>
                <a:gd name="connsiteX4" fmla="*/ 32882 w 34718"/>
                <a:gd name="connsiteY4" fmla="*/ 7719 h 20074"/>
                <a:gd name="connsiteX5" fmla="*/ 20690 w 34718"/>
                <a:gd name="connsiteY5" fmla="*/ 766 h 20074"/>
                <a:gd name="connsiteX6" fmla="*/ 13261 w 34718"/>
                <a:gd name="connsiteY6" fmla="*/ 766 h 20074"/>
                <a:gd name="connsiteX7" fmla="*/ 1164 w 34718"/>
                <a:gd name="connsiteY7" fmla="*/ 7719 h 20074"/>
                <a:gd name="connsiteX8" fmla="*/ 1164 w 34718"/>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18" h="20074">
                  <a:moveTo>
                    <a:pt x="1164" y="12006"/>
                  </a:moveTo>
                  <a:lnTo>
                    <a:pt x="13261" y="19054"/>
                  </a:lnTo>
                  <a:cubicBezTo>
                    <a:pt x="15604" y="20197"/>
                    <a:pt x="18347" y="20197"/>
                    <a:pt x="20690" y="19054"/>
                  </a:cubicBezTo>
                  <a:lnTo>
                    <a:pt x="32882" y="12006"/>
                  </a:lnTo>
                  <a:cubicBezTo>
                    <a:pt x="34882" y="10863"/>
                    <a:pt x="34882" y="8958"/>
                    <a:pt x="32882" y="7719"/>
                  </a:cubicBezTo>
                  <a:lnTo>
                    <a:pt x="20690" y="766"/>
                  </a:lnTo>
                  <a:cubicBezTo>
                    <a:pt x="18366" y="-472"/>
                    <a:pt x="15585" y="-472"/>
                    <a:pt x="13261" y="766"/>
                  </a:cubicBezTo>
                  <a:lnTo>
                    <a:pt x="1164" y="7719"/>
                  </a:lnTo>
                  <a:cubicBezTo>
                    <a:pt x="-836" y="8958"/>
                    <a:pt x="-836" y="10863"/>
                    <a:pt x="1164" y="12006"/>
                  </a:cubicBezTo>
                  <a:close/>
                </a:path>
              </a:pathLst>
            </a:custGeom>
            <a:solidFill>
              <a:srgbClr val="D1D9E8"/>
            </a:solidFill>
            <a:ln w="9525" cap="flat">
              <a:noFill/>
              <a:prstDash val="solid"/>
              <a:miter/>
            </a:ln>
          </p:spPr>
          <p:txBody>
            <a:bodyPr rtlCol="0" anchor="ctr"/>
            <a:lstStyle/>
            <a:p>
              <a:endParaRPr lang="zh-CN" altLang="en-US"/>
            </a:p>
          </p:txBody>
        </p:sp>
        <p:sp>
          <p:nvSpPr>
            <p:cNvPr id="199" name="îsḷïde">
              <a:extLst>
                <a:ext uri="{FF2B5EF4-FFF2-40B4-BE49-F238E27FC236}">
                  <a16:creationId xmlns:a16="http://schemas.microsoft.com/office/drawing/2014/main" id="{42325E54-CF99-4338-AD43-C3D6C4CFBB72}"/>
                </a:ext>
              </a:extLst>
            </p:cNvPr>
            <p:cNvSpPr/>
            <p:nvPr/>
          </p:nvSpPr>
          <p:spPr>
            <a:xfrm>
              <a:off x="5738995" y="4871065"/>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4 w 36099"/>
                <a:gd name="connsiteY6" fmla="*/ 6981 h 17597"/>
                <a:gd name="connsiteX7" fmla="*/ 35764 w 36099"/>
                <a:gd name="connsiteY7" fmla="*/ -163 h 17597"/>
                <a:gd name="connsiteX8" fmla="*/ 34144 w 36099"/>
                <a:gd name="connsiteY8" fmla="*/ 2028 h 17597"/>
                <a:gd name="connsiteX9" fmla="*/ 31858 w 36099"/>
                <a:gd name="connsiteY9" fmla="*/ 3457 h 17597"/>
                <a:gd name="connsiteX10" fmla="*/ 21571 w 36099"/>
                <a:gd name="connsiteY10" fmla="*/ 9267 h 17597"/>
                <a:gd name="connsiteX11" fmla="*/ 13856 w 36099"/>
                <a:gd name="connsiteY11" fmla="*/ 9267 h 17597"/>
                <a:gd name="connsiteX12" fmla="*/ 3569 w 36099"/>
                <a:gd name="connsiteY12" fmla="*/ 3457 h 17597"/>
                <a:gd name="connsiteX13" fmla="*/ 1283 w 36099"/>
                <a:gd name="connsiteY13" fmla="*/ 2028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03" y="8029"/>
                    <a:pt x="407" y="8858"/>
                    <a:pt x="1283" y="9267"/>
                  </a:cubicBezTo>
                  <a:lnTo>
                    <a:pt x="13856" y="16506"/>
                  </a:lnTo>
                  <a:cubicBezTo>
                    <a:pt x="16275" y="17744"/>
                    <a:pt x="19152" y="17744"/>
                    <a:pt x="21571" y="16506"/>
                  </a:cubicBezTo>
                  <a:lnTo>
                    <a:pt x="34144" y="9267"/>
                  </a:lnTo>
                  <a:cubicBezTo>
                    <a:pt x="35030" y="8829"/>
                    <a:pt x="35640" y="7972"/>
                    <a:pt x="35764" y="6981"/>
                  </a:cubicBezTo>
                  <a:lnTo>
                    <a:pt x="35764" y="-163"/>
                  </a:lnTo>
                  <a:cubicBezTo>
                    <a:pt x="35687" y="818"/>
                    <a:pt x="35059" y="1666"/>
                    <a:pt x="34144" y="2028"/>
                  </a:cubicBezTo>
                  <a:lnTo>
                    <a:pt x="31858" y="3457"/>
                  </a:lnTo>
                  <a:lnTo>
                    <a:pt x="21571" y="9267"/>
                  </a:lnTo>
                  <a:cubicBezTo>
                    <a:pt x="19171" y="10610"/>
                    <a:pt x="16256" y="10610"/>
                    <a:pt x="13856" y="9267"/>
                  </a:cubicBezTo>
                  <a:lnTo>
                    <a:pt x="3569" y="3457"/>
                  </a:lnTo>
                  <a:lnTo>
                    <a:pt x="1283" y="2028"/>
                  </a:lnTo>
                  <a:cubicBezTo>
                    <a:pt x="369" y="1666"/>
                    <a:pt x="-26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200" name="ïşľïḋè">
              <a:extLst>
                <a:ext uri="{FF2B5EF4-FFF2-40B4-BE49-F238E27FC236}">
                  <a16:creationId xmlns:a16="http://schemas.microsoft.com/office/drawing/2014/main" id="{FAE8BE3C-8C17-4F7A-97FA-A323AC93E74C}"/>
                </a:ext>
              </a:extLst>
            </p:cNvPr>
            <p:cNvSpPr/>
            <p:nvPr/>
          </p:nvSpPr>
          <p:spPr>
            <a:xfrm>
              <a:off x="5816405" y="4883895"/>
              <a:ext cx="109594" cy="63588"/>
            </a:xfrm>
            <a:custGeom>
              <a:avLst/>
              <a:gdLst>
                <a:gd name="connsiteX0" fmla="*/ -336 w 36004"/>
                <a:gd name="connsiteY0" fmla="*/ 10291 h 20890"/>
                <a:gd name="connsiteX1" fmla="*/ 1188 w 36004"/>
                <a:gd name="connsiteY1" fmla="*/ 12482 h 20890"/>
                <a:gd name="connsiteX2" fmla="*/ 3569 w 36004"/>
                <a:gd name="connsiteY2" fmla="*/ 13815 h 20890"/>
                <a:gd name="connsiteX3" fmla="*/ 13856 w 36004"/>
                <a:gd name="connsiteY3" fmla="*/ 19721 h 20890"/>
                <a:gd name="connsiteX4" fmla="*/ 21476 w 36004"/>
                <a:gd name="connsiteY4" fmla="*/ 19721 h 20890"/>
                <a:gd name="connsiteX5" fmla="*/ 31763 w 36004"/>
                <a:gd name="connsiteY5" fmla="*/ 13815 h 20890"/>
                <a:gd name="connsiteX6" fmla="*/ 34144 w 36004"/>
                <a:gd name="connsiteY6" fmla="*/ 12482 h 20890"/>
                <a:gd name="connsiteX7" fmla="*/ 35668 w 36004"/>
                <a:gd name="connsiteY7" fmla="*/ 10291 h 20890"/>
                <a:gd name="connsiteX8" fmla="*/ 34144 w 36004"/>
                <a:gd name="connsiteY8" fmla="*/ 8005 h 20890"/>
                <a:gd name="connsiteX9" fmla="*/ 21476 w 36004"/>
                <a:gd name="connsiteY9" fmla="*/ 766 h 20890"/>
                <a:gd name="connsiteX10" fmla="*/ 13856 w 36004"/>
                <a:gd name="connsiteY10" fmla="*/ 766 h 20890"/>
                <a:gd name="connsiteX11" fmla="*/ 1188 w 36004"/>
                <a:gd name="connsiteY11" fmla="*/ 8005 h 20890"/>
                <a:gd name="connsiteX12" fmla="*/ -336 w 36004"/>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291"/>
                  </a:moveTo>
                  <a:cubicBezTo>
                    <a:pt x="-279" y="11244"/>
                    <a:pt x="312" y="12091"/>
                    <a:pt x="1188" y="12482"/>
                  </a:cubicBezTo>
                  <a:lnTo>
                    <a:pt x="3569" y="13815"/>
                  </a:lnTo>
                  <a:lnTo>
                    <a:pt x="13856" y="19721"/>
                  </a:lnTo>
                  <a:cubicBezTo>
                    <a:pt x="16218" y="21064"/>
                    <a:pt x="19114" y="21064"/>
                    <a:pt x="21476" y="19721"/>
                  </a:cubicBezTo>
                  <a:lnTo>
                    <a:pt x="31763" y="13815"/>
                  </a:lnTo>
                  <a:lnTo>
                    <a:pt x="34144" y="12482"/>
                  </a:lnTo>
                  <a:cubicBezTo>
                    <a:pt x="35021" y="12091"/>
                    <a:pt x="35611" y="11253"/>
                    <a:pt x="35668" y="10291"/>
                  </a:cubicBezTo>
                  <a:cubicBezTo>
                    <a:pt x="35602" y="9310"/>
                    <a:pt x="35021" y="8443"/>
                    <a:pt x="34144" y="8005"/>
                  </a:cubicBezTo>
                  <a:lnTo>
                    <a:pt x="21476" y="766"/>
                  </a:lnTo>
                  <a:cubicBezTo>
                    <a:pt x="19085" y="-472"/>
                    <a:pt x="16247" y="-472"/>
                    <a:pt x="13856" y="766"/>
                  </a:cubicBezTo>
                  <a:lnTo>
                    <a:pt x="1188" y="8005"/>
                  </a:lnTo>
                  <a:cubicBezTo>
                    <a:pt x="312" y="8443"/>
                    <a:pt x="-269" y="9310"/>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201" name="îṣḻidê">
              <a:extLst>
                <a:ext uri="{FF2B5EF4-FFF2-40B4-BE49-F238E27FC236}">
                  <a16:creationId xmlns:a16="http://schemas.microsoft.com/office/drawing/2014/main" id="{7DF0791A-E9AD-49B8-902C-4EA4E549C200}"/>
                </a:ext>
              </a:extLst>
            </p:cNvPr>
            <p:cNvSpPr/>
            <p:nvPr/>
          </p:nvSpPr>
          <p:spPr>
            <a:xfrm>
              <a:off x="5818073" y="4885055"/>
              <a:ext cx="105174" cy="61101"/>
            </a:xfrm>
            <a:custGeom>
              <a:avLst/>
              <a:gdLst>
                <a:gd name="connsiteX0" fmla="*/ 1021 w 34552"/>
                <a:gd name="connsiteY0" fmla="*/ 12006 h 20073"/>
                <a:gd name="connsiteX1" fmla="*/ 13118 w 34552"/>
                <a:gd name="connsiteY1" fmla="*/ 19054 h 20073"/>
                <a:gd name="connsiteX2" fmla="*/ 20547 w 34552"/>
                <a:gd name="connsiteY2" fmla="*/ 19054 h 20073"/>
                <a:gd name="connsiteX3" fmla="*/ 32644 w 34552"/>
                <a:gd name="connsiteY3" fmla="*/ 12006 h 20073"/>
                <a:gd name="connsiteX4" fmla="*/ 32644 w 34552"/>
                <a:gd name="connsiteY4" fmla="*/ 7719 h 20073"/>
                <a:gd name="connsiteX5" fmla="*/ 20547 w 34552"/>
                <a:gd name="connsiteY5" fmla="*/ 766 h 20073"/>
                <a:gd name="connsiteX6" fmla="*/ 13118 w 34552"/>
                <a:gd name="connsiteY6" fmla="*/ 766 h 20073"/>
                <a:gd name="connsiteX7" fmla="*/ 1021 w 34552"/>
                <a:gd name="connsiteY7" fmla="*/ 7719 h 20073"/>
                <a:gd name="connsiteX8" fmla="*/ 1021 w 34552"/>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552" h="20073">
                  <a:moveTo>
                    <a:pt x="1021" y="12006"/>
                  </a:moveTo>
                  <a:lnTo>
                    <a:pt x="13118" y="19054"/>
                  </a:lnTo>
                  <a:cubicBezTo>
                    <a:pt x="15461" y="20197"/>
                    <a:pt x="18204" y="20197"/>
                    <a:pt x="20547" y="19054"/>
                  </a:cubicBezTo>
                  <a:lnTo>
                    <a:pt x="32644" y="12006"/>
                  </a:lnTo>
                  <a:cubicBezTo>
                    <a:pt x="34740" y="10863"/>
                    <a:pt x="34740" y="8957"/>
                    <a:pt x="32644" y="7719"/>
                  </a:cubicBezTo>
                  <a:lnTo>
                    <a:pt x="20547" y="766"/>
                  </a:lnTo>
                  <a:cubicBezTo>
                    <a:pt x="18223" y="-472"/>
                    <a:pt x="15442" y="-472"/>
                    <a:pt x="13118" y="766"/>
                  </a:cubicBezTo>
                  <a:lnTo>
                    <a:pt x="1021" y="7719"/>
                  </a:lnTo>
                  <a:cubicBezTo>
                    <a:pt x="-789" y="9339"/>
                    <a:pt x="-789" y="10863"/>
                    <a:pt x="1021" y="12006"/>
                  </a:cubicBezTo>
                  <a:close/>
                </a:path>
              </a:pathLst>
            </a:custGeom>
            <a:solidFill>
              <a:srgbClr val="D1D9E8"/>
            </a:solidFill>
            <a:ln w="9525" cap="flat">
              <a:noFill/>
              <a:prstDash val="solid"/>
              <a:miter/>
            </a:ln>
          </p:spPr>
          <p:txBody>
            <a:bodyPr rtlCol="0" anchor="ctr"/>
            <a:lstStyle/>
            <a:p>
              <a:endParaRPr lang="zh-CN" altLang="en-US"/>
            </a:p>
          </p:txBody>
        </p:sp>
        <p:sp>
          <p:nvSpPr>
            <p:cNvPr id="202" name="îṧļiḓé">
              <a:extLst>
                <a:ext uri="{FF2B5EF4-FFF2-40B4-BE49-F238E27FC236}">
                  <a16:creationId xmlns:a16="http://schemas.microsoft.com/office/drawing/2014/main" id="{D3607DC6-735A-4B22-9670-8A0EAD090BDC}"/>
                </a:ext>
              </a:extLst>
            </p:cNvPr>
            <p:cNvSpPr/>
            <p:nvPr/>
          </p:nvSpPr>
          <p:spPr>
            <a:xfrm>
              <a:off x="5816405" y="4915713"/>
              <a:ext cx="109594" cy="53564"/>
            </a:xfrm>
            <a:custGeom>
              <a:avLst/>
              <a:gdLst>
                <a:gd name="connsiteX0" fmla="*/ -336 w 36004"/>
                <a:gd name="connsiteY0" fmla="*/ -163 h 17597"/>
                <a:gd name="connsiteX1" fmla="*/ -336 w 36004"/>
                <a:gd name="connsiteY1" fmla="*/ 6981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028 h 17597"/>
                <a:gd name="connsiteX9" fmla="*/ 31763 w 36004"/>
                <a:gd name="connsiteY9" fmla="*/ 3362 h 17597"/>
                <a:gd name="connsiteX10" fmla="*/ 21476 w 36004"/>
                <a:gd name="connsiteY10" fmla="*/ 9267 h 17597"/>
                <a:gd name="connsiteX11" fmla="*/ 13856 w 36004"/>
                <a:gd name="connsiteY11" fmla="*/ 9267 h 17597"/>
                <a:gd name="connsiteX12" fmla="*/ 3569 w 36004"/>
                <a:gd name="connsiteY12" fmla="*/ 3362 h 17597"/>
                <a:gd name="connsiteX13" fmla="*/ 1188 w 36004"/>
                <a:gd name="connsiteY13" fmla="*/ 2028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6981"/>
                  </a:lnTo>
                  <a:cubicBezTo>
                    <a:pt x="-269" y="7962"/>
                    <a:pt x="312" y="8829"/>
                    <a:pt x="1188" y="9267"/>
                  </a:cubicBezTo>
                  <a:lnTo>
                    <a:pt x="13856" y="16506"/>
                  </a:lnTo>
                  <a:cubicBezTo>
                    <a:pt x="16247" y="17744"/>
                    <a:pt x="19085" y="17744"/>
                    <a:pt x="21476" y="16506"/>
                  </a:cubicBezTo>
                  <a:lnTo>
                    <a:pt x="34144" y="9267"/>
                  </a:lnTo>
                  <a:cubicBezTo>
                    <a:pt x="35011" y="8819"/>
                    <a:pt x="35583" y="7953"/>
                    <a:pt x="35668" y="6981"/>
                  </a:cubicBezTo>
                  <a:lnTo>
                    <a:pt x="35668" y="-163"/>
                  </a:lnTo>
                  <a:cubicBezTo>
                    <a:pt x="35611" y="790"/>
                    <a:pt x="35021" y="1638"/>
                    <a:pt x="34144" y="2028"/>
                  </a:cubicBezTo>
                  <a:lnTo>
                    <a:pt x="31763" y="3362"/>
                  </a:lnTo>
                  <a:lnTo>
                    <a:pt x="21476" y="9267"/>
                  </a:lnTo>
                  <a:cubicBezTo>
                    <a:pt x="19114" y="10610"/>
                    <a:pt x="16218" y="10610"/>
                    <a:pt x="13856" y="9267"/>
                  </a:cubicBezTo>
                  <a:lnTo>
                    <a:pt x="3569" y="3362"/>
                  </a:lnTo>
                  <a:lnTo>
                    <a:pt x="1188" y="2028"/>
                  </a:lnTo>
                  <a:cubicBezTo>
                    <a:pt x="312" y="1638"/>
                    <a:pt x="-279" y="800"/>
                    <a:pt x="-336" y="-163"/>
                  </a:cubicBezTo>
                  <a:close/>
                </a:path>
              </a:pathLst>
            </a:custGeom>
            <a:solidFill>
              <a:srgbClr val="BF4200"/>
            </a:solidFill>
            <a:ln w="9525" cap="flat">
              <a:noFill/>
              <a:prstDash val="solid"/>
              <a:miter/>
            </a:ln>
          </p:spPr>
          <p:txBody>
            <a:bodyPr rtlCol="0" anchor="ctr"/>
            <a:lstStyle/>
            <a:p>
              <a:endParaRPr lang="zh-CN" altLang="en-US"/>
            </a:p>
          </p:txBody>
        </p:sp>
        <p:sp>
          <p:nvSpPr>
            <p:cNvPr id="203" name="îş1iḓé">
              <a:extLst>
                <a:ext uri="{FF2B5EF4-FFF2-40B4-BE49-F238E27FC236}">
                  <a16:creationId xmlns:a16="http://schemas.microsoft.com/office/drawing/2014/main" id="{35B6B63B-9348-4296-886D-24F91DFBA79C}"/>
                </a:ext>
              </a:extLst>
            </p:cNvPr>
            <p:cNvSpPr/>
            <p:nvPr/>
          </p:nvSpPr>
          <p:spPr>
            <a:xfrm>
              <a:off x="5893818" y="4928543"/>
              <a:ext cx="109594" cy="63588"/>
            </a:xfrm>
            <a:custGeom>
              <a:avLst/>
              <a:gdLst>
                <a:gd name="connsiteX0" fmla="*/ -336 w 36004"/>
                <a:gd name="connsiteY0" fmla="*/ 10196 h 20890"/>
                <a:gd name="connsiteX1" fmla="*/ 1188 w 36004"/>
                <a:gd name="connsiteY1" fmla="*/ 12482 h 20890"/>
                <a:gd name="connsiteX2" fmla="*/ 3474 w 36004"/>
                <a:gd name="connsiteY2" fmla="*/ 13815 h 20890"/>
                <a:gd name="connsiteX3" fmla="*/ 13761 w 36004"/>
                <a:gd name="connsiteY3" fmla="*/ 19721 h 20890"/>
                <a:gd name="connsiteX4" fmla="*/ 21476 w 36004"/>
                <a:gd name="connsiteY4" fmla="*/ 19721 h 20890"/>
                <a:gd name="connsiteX5" fmla="*/ 31763 w 36004"/>
                <a:gd name="connsiteY5" fmla="*/ 13815 h 20890"/>
                <a:gd name="connsiteX6" fmla="*/ 34049 w 36004"/>
                <a:gd name="connsiteY6" fmla="*/ 12482 h 20890"/>
                <a:gd name="connsiteX7" fmla="*/ 35668 w 36004"/>
                <a:gd name="connsiteY7" fmla="*/ 10196 h 20890"/>
                <a:gd name="connsiteX8" fmla="*/ 34049 w 36004"/>
                <a:gd name="connsiteY8" fmla="*/ 8005 h 20890"/>
                <a:gd name="connsiteX9" fmla="*/ 21476 w 36004"/>
                <a:gd name="connsiteY9" fmla="*/ 766 h 20890"/>
                <a:gd name="connsiteX10" fmla="*/ 13761 w 36004"/>
                <a:gd name="connsiteY10" fmla="*/ 766 h 20890"/>
                <a:gd name="connsiteX11" fmla="*/ 1188 w 36004"/>
                <a:gd name="connsiteY11" fmla="*/ 8005 h 20890"/>
                <a:gd name="connsiteX12" fmla="*/ -336 w 36004"/>
                <a:gd name="connsiteY12" fmla="*/ 10196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196"/>
                  </a:moveTo>
                  <a:cubicBezTo>
                    <a:pt x="-308" y="11186"/>
                    <a:pt x="283" y="12082"/>
                    <a:pt x="1188" y="12482"/>
                  </a:cubicBezTo>
                  <a:lnTo>
                    <a:pt x="3474" y="13815"/>
                  </a:lnTo>
                  <a:lnTo>
                    <a:pt x="13761" y="19721"/>
                  </a:lnTo>
                  <a:cubicBezTo>
                    <a:pt x="16161" y="21064"/>
                    <a:pt x="19076" y="21064"/>
                    <a:pt x="21476" y="19721"/>
                  </a:cubicBezTo>
                  <a:lnTo>
                    <a:pt x="31763" y="13815"/>
                  </a:lnTo>
                  <a:lnTo>
                    <a:pt x="34049" y="12482"/>
                  </a:lnTo>
                  <a:cubicBezTo>
                    <a:pt x="34992" y="12110"/>
                    <a:pt x="35630" y="11215"/>
                    <a:pt x="35668" y="10196"/>
                  </a:cubicBezTo>
                  <a:cubicBezTo>
                    <a:pt x="35573" y="9224"/>
                    <a:pt x="34944" y="8386"/>
                    <a:pt x="34049" y="8005"/>
                  </a:cubicBezTo>
                  <a:lnTo>
                    <a:pt x="21476" y="766"/>
                  </a:lnTo>
                  <a:cubicBezTo>
                    <a:pt x="19057" y="-472"/>
                    <a:pt x="16180" y="-472"/>
                    <a:pt x="13761" y="766"/>
                  </a:cubicBezTo>
                  <a:lnTo>
                    <a:pt x="1188" y="8005"/>
                  </a:lnTo>
                  <a:cubicBezTo>
                    <a:pt x="340" y="8424"/>
                    <a:pt x="-241" y="925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204" name="isḻîďe">
              <a:extLst>
                <a:ext uri="{FF2B5EF4-FFF2-40B4-BE49-F238E27FC236}">
                  <a16:creationId xmlns:a16="http://schemas.microsoft.com/office/drawing/2014/main" id="{0E759E33-B3C7-4FB2-BAC4-FE0C7CAD2E1D}"/>
                </a:ext>
              </a:extLst>
            </p:cNvPr>
            <p:cNvSpPr/>
            <p:nvPr/>
          </p:nvSpPr>
          <p:spPr>
            <a:xfrm>
              <a:off x="5895659" y="4929703"/>
              <a:ext cx="105618" cy="61101"/>
            </a:xfrm>
            <a:custGeom>
              <a:avLst/>
              <a:gdLst>
                <a:gd name="connsiteX0" fmla="*/ 1154 w 34698"/>
                <a:gd name="connsiteY0" fmla="*/ 12006 h 20073"/>
                <a:gd name="connsiteX1" fmla="*/ 13346 w 34698"/>
                <a:gd name="connsiteY1" fmla="*/ 19054 h 20073"/>
                <a:gd name="connsiteX2" fmla="*/ 20775 w 34698"/>
                <a:gd name="connsiteY2" fmla="*/ 19054 h 20073"/>
                <a:gd name="connsiteX3" fmla="*/ 32872 w 34698"/>
                <a:gd name="connsiteY3" fmla="*/ 12006 h 20073"/>
                <a:gd name="connsiteX4" fmla="*/ 34215 w 34698"/>
                <a:gd name="connsiteY4" fmla="*/ 9072 h 20073"/>
                <a:gd name="connsiteX5" fmla="*/ 32872 w 34698"/>
                <a:gd name="connsiteY5" fmla="*/ 7719 h 20073"/>
                <a:gd name="connsiteX6" fmla="*/ 20775 w 34698"/>
                <a:gd name="connsiteY6" fmla="*/ 766 h 20073"/>
                <a:gd name="connsiteX7" fmla="*/ 13346 w 34698"/>
                <a:gd name="connsiteY7" fmla="*/ 766 h 20073"/>
                <a:gd name="connsiteX8" fmla="*/ 1154 w 34698"/>
                <a:gd name="connsiteY8" fmla="*/ 7719 h 20073"/>
                <a:gd name="connsiteX9" fmla="*/ -189 w 34698"/>
                <a:gd name="connsiteY9" fmla="*/ 10653 h 20073"/>
                <a:gd name="connsiteX10" fmla="*/ 1154 w 34698"/>
                <a:gd name="connsiteY10"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698" h="20073">
                  <a:moveTo>
                    <a:pt x="1154" y="12006"/>
                  </a:moveTo>
                  <a:lnTo>
                    <a:pt x="13346" y="19054"/>
                  </a:lnTo>
                  <a:cubicBezTo>
                    <a:pt x="15689" y="20197"/>
                    <a:pt x="18432" y="20197"/>
                    <a:pt x="20775" y="19054"/>
                  </a:cubicBezTo>
                  <a:lnTo>
                    <a:pt x="32872" y="12006"/>
                  </a:lnTo>
                  <a:cubicBezTo>
                    <a:pt x="34053" y="11567"/>
                    <a:pt x="34663" y="10253"/>
                    <a:pt x="34215" y="9072"/>
                  </a:cubicBezTo>
                  <a:cubicBezTo>
                    <a:pt x="33986" y="8443"/>
                    <a:pt x="33491" y="7948"/>
                    <a:pt x="32872" y="7719"/>
                  </a:cubicBezTo>
                  <a:lnTo>
                    <a:pt x="20775" y="766"/>
                  </a:lnTo>
                  <a:cubicBezTo>
                    <a:pt x="18451" y="-472"/>
                    <a:pt x="15670" y="-472"/>
                    <a:pt x="13346" y="766"/>
                  </a:cubicBezTo>
                  <a:lnTo>
                    <a:pt x="1154" y="7719"/>
                  </a:lnTo>
                  <a:cubicBezTo>
                    <a:pt x="-27" y="8157"/>
                    <a:pt x="-637" y="9472"/>
                    <a:pt x="-189" y="10653"/>
                  </a:cubicBezTo>
                  <a:cubicBezTo>
                    <a:pt x="39" y="11281"/>
                    <a:pt x="535" y="11777"/>
                    <a:pt x="1154" y="12006"/>
                  </a:cubicBezTo>
                  <a:close/>
                </a:path>
              </a:pathLst>
            </a:custGeom>
            <a:solidFill>
              <a:srgbClr val="D1D9E8"/>
            </a:solidFill>
            <a:ln w="9525" cap="flat">
              <a:noFill/>
              <a:prstDash val="solid"/>
              <a:miter/>
            </a:ln>
          </p:spPr>
          <p:txBody>
            <a:bodyPr rtlCol="0" anchor="ctr"/>
            <a:lstStyle/>
            <a:p>
              <a:endParaRPr lang="zh-CN" altLang="en-US"/>
            </a:p>
          </p:txBody>
        </p:sp>
        <p:sp>
          <p:nvSpPr>
            <p:cNvPr id="205" name="îṡ1îdè">
              <a:extLst>
                <a:ext uri="{FF2B5EF4-FFF2-40B4-BE49-F238E27FC236}">
                  <a16:creationId xmlns:a16="http://schemas.microsoft.com/office/drawing/2014/main" id="{5724B3FF-BD12-4B80-8C16-FAB5D6C0545A}"/>
                </a:ext>
              </a:extLst>
            </p:cNvPr>
            <p:cNvSpPr/>
            <p:nvPr/>
          </p:nvSpPr>
          <p:spPr>
            <a:xfrm>
              <a:off x="5893818" y="4960072"/>
              <a:ext cx="109594" cy="53801"/>
            </a:xfrm>
            <a:custGeom>
              <a:avLst/>
              <a:gdLst>
                <a:gd name="connsiteX0" fmla="*/ -336 w 36004"/>
                <a:gd name="connsiteY0" fmla="*/ -163 h 17675"/>
                <a:gd name="connsiteX1" fmla="*/ -336 w 36004"/>
                <a:gd name="connsiteY1" fmla="*/ 7076 h 17675"/>
                <a:gd name="connsiteX2" fmla="*/ 1188 w 36004"/>
                <a:gd name="connsiteY2" fmla="*/ 9267 h 17675"/>
                <a:gd name="connsiteX3" fmla="*/ 13761 w 36004"/>
                <a:gd name="connsiteY3" fmla="*/ 16506 h 17675"/>
                <a:gd name="connsiteX4" fmla="*/ 21476 w 36004"/>
                <a:gd name="connsiteY4" fmla="*/ 16506 h 17675"/>
                <a:gd name="connsiteX5" fmla="*/ 34049 w 36004"/>
                <a:gd name="connsiteY5" fmla="*/ 9267 h 17675"/>
                <a:gd name="connsiteX6" fmla="*/ 35668 w 36004"/>
                <a:gd name="connsiteY6" fmla="*/ 7076 h 17675"/>
                <a:gd name="connsiteX7" fmla="*/ 35668 w 36004"/>
                <a:gd name="connsiteY7" fmla="*/ -163 h 17675"/>
                <a:gd name="connsiteX8" fmla="*/ 34049 w 36004"/>
                <a:gd name="connsiteY8" fmla="*/ 2123 h 17675"/>
                <a:gd name="connsiteX9" fmla="*/ 31763 w 36004"/>
                <a:gd name="connsiteY9" fmla="*/ 3457 h 17675"/>
                <a:gd name="connsiteX10" fmla="*/ 21476 w 36004"/>
                <a:gd name="connsiteY10" fmla="*/ 9362 h 17675"/>
                <a:gd name="connsiteX11" fmla="*/ 13761 w 36004"/>
                <a:gd name="connsiteY11" fmla="*/ 9362 h 17675"/>
                <a:gd name="connsiteX12" fmla="*/ 3474 w 36004"/>
                <a:gd name="connsiteY12" fmla="*/ 3457 h 17675"/>
                <a:gd name="connsiteX13" fmla="*/ 1188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98" y="8038"/>
                    <a:pt x="292" y="8896"/>
                    <a:pt x="1188" y="9267"/>
                  </a:cubicBezTo>
                  <a:lnTo>
                    <a:pt x="13761" y="16506"/>
                  </a:lnTo>
                  <a:cubicBezTo>
                    <a:pt x="16161" y="17849"/>
                    <a:pt x="19076" y="17849"/>
                    <a:pt x="21476" y="16506"/>
                  </a:cubicBezTo>
                  <a:lnTo>
                    <a:pt x="34049" y="9267"/>
                  </a:lnTo>
                  <a:cubicBezTo>
                    <a:pt x="34963" y="8905"/>
                    <a:pt x="35592" y="8058"/>
                    <a:pt x="35668" y="7076"/>
                  </a:cubicBezTo>
                  <a:lnTo>
                    <a:pt x="35668" y="-163"/>
                  </a:lnTo>
                  <a:cubicBezTo>
                    <a:pt x="35630" y="856"/>
                    <a:pt x="34992" y="1752"/>
                    <a:pt x="34049" y="2123"/>
                  </a:cubicBezTo>
                  <a:lnTo>
                    <a:pt x="31763" y="3457"/>
                  </a:lnTo>
                  <a:lnTo>
                    <a:pt x="21476" y="9362"/>
                  </a:lnTo>
                  <a:cubicBezTo>
                    <a:pt x="19076" y="10705"/>
                    <a:pt x="16161" y="10705"/>
                    <a:pt x="13761" y="9362"/>
                  </a:cubicBezTo>
                  <a:lnTo>
                    <a:pt x="3474" y="3457"/>
                  </a:lnTo>
                  <a:lnTo>
                    <a:pt x="1188" y="2123"/>
                  </a:lnTo>
                  <a:cubicBezTo>
                    <a:pt x="283" y="1723"/>
                    <a:pt x="-308"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206" name="íšḷïďê">
              <a:extLst>
                <a:ext uri="{FF2B5EF4-FFF2-40B4-BE49-F238E27FC236}">
                  <a16:creationId xmlns:a16="http://schemas.microsoft.com/office/drawing/2014/main" id="{5EF43579-380D-4C25-8164-A049BE7999CC}"/>
                </a:ext>
              </a:extLst>
            </p:cNvPr>
            <p:cNvSpPr/>
            <p:nvPr/>
          </p:nvSpPr>
          <p:spPr>
            <a:xfrm>
              <a:off x="5970942" y="4973195"/>
              <a:ext cx="109740" cy="63350"/>
            </a:xfrm>
            <a:custGeom>
              <a:avLst/>
              <a:gdLst>
                <a:gd name="connsiteX0" fmla="*/ -336 w 36052"/>
                <a:gd name="connsiteY0" fmla="*/ 10196 h 20812"/>
                <a:gd name="connsiteX1" fmla="*/ 1188 w 36052"/>
                <a:gd name="connsiteY1" fmla="*/ 12482 h 20812"/>
                <a:gd name="connsiteX2" fmla="*/ 3569 w 36052"/>
                <a:gd name="connsiteY2" fmla="*/ 13815 h 20812"/>
                <a:gd name="connsiteX3" fmla="*/ 13856 w 36052"/>
                <a:gd name="connsiteY3" fmla="*/ 19721 h 20812"/>
                <a:gd name="connsiteX4" fmla="*/ 21476 w 36052"/>
                <a:gd name="connsiteY4" fmla="*/ 19721 h 20812"/>
                <a:gd name="connsiteX5" fmla="*/ 31763 w 36052"/>
                <a:gd name="connsiteY5" fmla="*/ 13815 h 20812"/>
                <a:gd name="connsiteX6" fmla="*/ 34144 w 36052"/>
                <a:gd name="connsiteY6" fmla="*/ 12482 h 20812"/>
                <a:gd name="connsiteX7" fmla="*/ 35573 w 36052"/>
                <a:gd name="connsiteY7" fmla="*/ 9434 h 20812"/>
                <a:gd name="connsiteX8" fmla="*/ 34144 w 36052"/>
                <a:gd name="connsiteY8" fmla="*/ 8005 h 20812"/>
                <a:gd name="connsiteX9" fmla="*/ 21476 w 36052"/>
                <a:gd name="connsiteY9" fmla="*/ 766 h 20812"/>
                <a:gd name="connsiteX10" fmla="*/ 13856 w 36052"/>
                <a:gd name="connsiteY10" fmla="*/ 766 h 20812"/>
                <a:gd name="connsiteX11" fmla="*/ 1188 w 36052"/>
                <a:gd name="connsiteY11" fmla="*/ 8005 h 20812"/>
                <a:gd name="connsiteX12" fmla="*/ -336 w 36052"/>
                <a:gd name="connsiteY12" fmla="*/ 10196 h 20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12">
                  <a:moveTo>
                    <a:pt x="-336" y="10196"/>
                  </a:moveTo>
                  <a:cubicBezTo>
                    <a:pt x="-270" y="11177"/>
                    <a:pt x="311" y="12044"/>
                    <a:pt x="1188" y="12482"/>
                  </a:cubicBezTo>
                  <a:lnTo>
                    <a:pt x="3569" y="13815"/>
                  </a:lnTo>
                  <a:lnTo>
                    <a:pt x="13856" y="19721"/>
                  </a:lnTo>
                  <a:cubicBezTo>
                    <a:pt x="16247" y="20959"/>
                    <a:pt x="19085" y="20959"/>
                    <a:pt x="21476" y="19721"/>
                  </a:cubicBezTo>
                  <a:lnTo>
                    <a:pt x="31763" y="13815"/>
                  </a:lnTo>
                  <a:lnTo>
                    <a:pt x="34144" y="12482"/>
                  </a:lnTo>
                  <a:cubicBezTo>
                    <a:pt x="35382" y="12034"/>
                    <a:pt x="36020" y="10662"/>
                    <a:pt x="35573" y="9434"/>
                  </a:cubicBezTo>
                  <a:cubicBezTo>
                    <a:pt x="35325" y="8767"/>
                    <a:pt x="34811" y="8243"/>
                    <a:pt x="34144" y="8005"/>
                  </a:cubicBezTo>
                  <a:lnTo>
                    <a:pt x="21476" y="766"/>
                  </a:lnTo>
                  <a:cubicBezTo>
                    <a:pt x="19085" y="-472"/>
                    <a:pt x="16247" y="-472"/>
                    <a:pt x="13856" y="766"/>
                  </a:cubicBezTo>
                  <a:lnTo>
                    <a:pt x="1188" y="8005"/>
                  </a:lnTo>
                  <a:cubicBezTo>
                    <a:pt x="340" y="8424"/>
                    <a:pt x="-241" y="925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207" name="iṥļidé">
              <a:extLst>
                <a:ext uri="{FF2B5EF4-FFF2-40B4-BE49-F238E27FC236}">
                  <a16:creationId xmlns:a16="http://schemas.microsoft.com/office/drawing/2014/main" id="{A54BB9BF-30CF-4E40-9B94-CB517AD4A311}"/>
                </a:ext>
              </a:extLst>
            </p:cNvPr>
            <p:cNvSpPr/>
            <p:nvPr/>
          </p:nvSpPr>
          <p:spPr>
            <a:xfrm>
              <a:off x="5973073" y="4974281"/>
              <a:ext cx="105618" cy="61174"/>
            </a:xfrm>
            <a:custGeom>
              <a:avLst/>
              <a:gdLst>
                <a:gd name="connsiteX0" fmla="*/ 1154 w 34698"/>
                <a:gd name="connsiteY0" fmla="*/ 12029 h 20097"/>
                <a:gd name="connsiteX1" fmla="*/ 13251 w 34698"/>
                <a:gd name="connsiteY1" fmla="*/ 19078 h 20097"/>
                <a:gd name="connsiteX2" fmla="*/ 20680 w 34698"/>
                <a:gd name="connsiteY2" fmla="*/ 19078 h 20097"/>
                <a:gd name="connsiteX3" fmla="*/ 32872 w 34698"/>
                <a:gd name="connsiteY3" fmla="*/ 12029 h 20097"/>
                <a:gd name="connsiteX4" fmla="*/ 34215 w 34698"/>
                <a:gd name="connsiteY4" fmla="*/ 9086 h 20097"/>
                <a:gd name="connsiteX5" fmla="*/ 32872 w 34698"/>
                <a:gd name="connsiteY5" fmla="*/ 7743 h 20097"/>
                <a:gd name="connsiteX6" fmla="*/ 20680 w 34698"/>
                <a:gd name="connsiteY6" fmla="*/ 695 h 20097"/>
                <a:gd name="connsiteX7" fmla="*/ 13251 w 34698"/>
                <a:gd name="connsiteY7" fmla="*/ 695 h 20097"/>
                <a:gd name="connsiteX8" fmla="*/ 1154 w 34698"/>
                <a:gd name="connsiteY8" fmla="*/ 7743 h 20097"/>
                <a:gd name="connsiteX9" fmla="*/ -189 w 34698"/>
                <a:gd name="connsiteY9" fmla="*/ 10686 h 20097"/>
                <a:gd name="connsiteX10" fmla="*/ 1154 w 34698"/>
                <a:gd name="connsiteY10" fmla="*/ 12029 h 20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698" h="20097">
                  <a:moveTo>
                    <a:pt x="1154" y="12029"/>
                  </a:moveTo>
                  <a:lnTo>
                    <a:pt x="13251" y="19078"/>
                  </a:lnTo>
                  <a:cubicBezTo>
                    <a:pt x="15594" y="20221"/>
                    <a:pt x="18337" y="20221"/>
                    <a:pt x="20680" y="19078"/>
                  </a:cubicBezTo>
                  <a:lnTo>
                    <a:pt x="32872" y="12029"/>
                  </a:lnTo>
                  <a:cubicBezTo>
                    <a:pt x="34053" y="11591"/>
                    <a:pt x="34663" y="10277"/>
                    <a:pt x="34215" y="9086"/>
                  </a:cubicBezTo>
                  <a:cubicBezTo>
                    <a:pt x="33987" y="8467"/>
                    <a:pt x="33491" y="7972"/>
                    <a:pt x="32872" y="7743"/>
                  </a:cubicBezTo>
                  <a:lnTo>
                    <a:pt x="20680" y="695"/>
                  </a:lnTo>
                  <a:cubicBezTo>
                    <a:pt x="18337" y="-448"/>
                    <a:pt x="15594" y="-448"/>
                    <a:pt x="13251" y="695"/>
                  </a:cubicBezTo>
                  <a:lnTo>
                    <a:pt x="1154" y="7743"/>
                  </a:lnTo>
                  <a:cubicBezTo>
                    <a:pt x="-27" y="8181"/>
                    <a:pt x="-637" y="9496"/>
                    <a:pt x="-189" y="10686"/>
                  </a:cubicBezTo>
                  <a:cubicBezTo>
                    <a:pt x="40" y="11305"/>
                    <a:pt x="525" y="11801"/>
                    <a:pt x="1154" y="12029"/>
                  </a:cubicBezTo>
                  <a:close/>
                </a:path>
              </a:pathLst>
            </a:custGeom>
            <a:solidFill>
              <a:srgbClr val="D1D9E8"/>
            </a:solidFill>
            <a:ln w="9525" cap="flat">
              <a:noFill/>
              <a:prstDash val="solid"/>
              <a:miter/>
            </a:ln>
          </p:spPr>
          <p:txBody>
            <a:bodyPr rtlCol="0" anchor="ctr"/>
            <a:lstStyle/>
            <a:p>
              <a:endParaRPr lang="zh-CN" altLang="en-US"/>
            </a:p>
          </p:txBody>
        </p:sp>
        <p:sp>
          <p:nvSpPr>
            <p:cNvPr id="208" name="ïślíḋe">
              <a:extLst>
                <a:ext uri="{FF2B5EF4-FFF2-40B4-BE49-F238E27FC236}">
                  <a16:creationId xmlns:a16="http://schemas.microsoft.com/office/drawing/2014/main" id="{9C880347-9DF1-456D-A3C1-17690AB53BB2}"/>
                </a:ext>
              </a:extLst>
            </p:cNvPr>
            <p:cNvSpPr/>
            <p:nvPr/>
          </p:nvSpPr>
          <p:spPr>
            <a:xfrm>
              <a:off x="5970942" y="5004724"/>
              <a:ext cx="109594" cy="53801"/>
            </a:xfrm>
            <a:custGeom>
              <a:avLst/>
              <a:gdLst>
                <a:gd name="connsiteX0" fmla="*/ -336 w 36004"/>
                <a:gd name="connsiteY0" fmla="*/ -163 h 17675"/>
                <a:gd name="connsiteX1" fmla="*/ -336 w 36004"/>
                <a:gd name="connsiteY1" fmla="*/ 7076 h 17675"/>
                <a:gd name="connsiteX2" fmla="*/ 1188 w 36004"/>
                <a:gd name="connsiteY2" fmla="*/ 9267 h 17675"/>
                <a:gd name="connsiteX3" fmla="*/ 13856 w 36004"/>
                <a:gd name="connsiteY3" fmla="*/ 16506 h 17675"/>
                <a:gd name="connsiteX4" fmla="*/ 21476 w 36004"/>
                <a:gd name="connsiteY4" fmla="*/ 16506 h 17675"/>
                <a:gd name="connsiteX5" fmla="*/ 34144 w 36004"/>
                <a:gd name="connsiteY5" fmla="*/ 9267 h 17675"/>
                <a:gd name="connsiteX6" fmla="*/ 35668 w 36004"/>
                <a:gd name="connsiteY6" fmla="*/ 7076 h 17675"/>
                <a:gd name="connsiteX7" fmla="*/ 35668 w 36004"/>
                <a:gd name="connsiteY7" fmla="*/ -163 h 17675"/>
                <a:gd name="connsiteX8" fmla="*/ 34144 w 36004"/>
                <a:gd name="connsiteY8" fmla="*/ 2123 h 17675"/>
                <a:gd name="connsiteX9" fmla="*/ 31763 w 36004"/>
                <a:gd name="connsiteY9" fmla="*/ 3457 h 17675"/>
                <a:gd name="connsiteX10" fmla="*/ 21476 w 36004"/>
                <a:gd name="connsiteY10" fmla="*/ 9362 h 17675"/>
                <a:gd name="connsiteX11" fmla="*/ 13856 w 36004"/>
                <a:gd name="connsiteY11" fmla="*/ 9362 h 17675"/>
                <a:gd name="connsiteX12" fmla="*/ 3569 w 36004"/>
                <a:gd name="connsiteY12" fmla="*/ 3457 h 17675"/>
                <a:gd name="connsiteX13" fmla="*/ 1188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79" y="8038"/>
                    <a:pt x="311" y="8877"/>
                    <a:pt x="1188" y="9267"/>
                  </a:cubicBezTo>
                  <a:lnTo>
                    <a:pt x="13856" y="16506"/>
                  </a:lnTo>
                  <a:cubicBezTo>
                    <a:pt x="16218" y="17849"/>
                    <a:pt x="19114" y="17849"/>
                    <a:pt x="21476" y="16506"/>
                  </a:cubicBezTo>
                  <a:lnTo>
                    <a:pt x="34144" y="9267"/>
                  </a:lnTo>
                  <a:cubicBezTo>
                    <a:pt x="35021" y="8877"/>
                    <a:pt x="35611" y="8038"/>
                    <a:pt x="35668" y="7076"/>
                  </a:cubicBezTo>
                  <a:lnTo>
                    <a:pt x="35668" y="-163"/>
                  </a:lnTo>
                  <a:cubicBezTo>
                    <a:pt x="35602" y="818"/>
                    <a:pt x="35021" y="1685"/>
                    <a:pt x="34144" y="2123"/>
                  </a:cubicBezTo>
                  <a:lnTo>
                    <a:pt x="31763" y="3457"/>
                  </a:lnTo>
                  <a:lnTo>
                    <a:pt x="21476" y="9362"/>
                  </a:lnTo>
                  <a:cubicBezTo>
                    <a:pt x="19085" y="10601"/>
                    <a:pt x="16247" y="10601"/>
                    <a:pt x="13856" y="9362"/>
                  </a:cubicBezTo>
                  <a:lnTo>
                    <a:pt x="3569" y="3457"/>
                  </a:lnTo>
                  <a:lnTo>
                    <a:pt x="1188"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209" name="iṥlîḓe">
              <a:extLst>
                <a:ext uri="{FF2B5EF4-FFF2-40B4-BE49-F238E27FC236}">
                  <a16:creationId xmlns:a16="http://schemas.microsoft.com/office/drawing/2014/main" id="{F0D0B48E-4A53-43D3-B2B3-30F0AA7FEA86}"/>
                </a:ext>
              </a:extLst>
            </p:cNvPr>
            <p:cNvSpPr/>
            <p:nvPr/>
          </p:nvSpPr>
          <p:spPr>
            <a:xfrm>
              <a:off x="6048352" y="5017749"/>
              <a:ext cx="109740" cy="63442"/>
            </a:xfrm>
            <a:custGeom>
              <a:avLst/>
              <a:gdLst>
                <a:gd name="connsiteX0" fmla="*/ -336 w 36052"/>
                <a:gd name="connsiteY0" fmla="*/ 10227 h 20842"/>
                <a:gd name="connsiteX1" fmla="*/ 1188 w 36052"/>
                <a:gd name="connsiteY1" fmla="*/ 12513 h 20842"/>
                <a:gd name="connsiteX2" fmla="*/ 3569 w 36052"/>
                <a:gd name="connsiteY2" fmla="*/ 13846 h 20842"/>
                <a:gd name="connsiteX3" fmla="*/ 13856 w 36052"/>
                <a:gd name="connsiteY3" fmla="*/ 19752 h 20842"/>
                <a:gd name="connsiteX4" fmla="*/ 21476 w 36052"/>
                <a:gd name="connsiteY4" fmla="*/ 19752 h 20842"/>
                <a:gd name="connsiteX5" fmla="*/ 31763 w 36052"/>
                <a:gd name="connsiteY5" fmla="*/ 13846 h 20842"/>
                <a:gd name="connsiteX6" fmla="*/ 34144 w 36052"/>
                <a:gd name="connsiteY6" fmla="*/ 12513 h 20842"/>
                <a:gd name="connsiteX7" fmla="*/ 35573 w 36052"/>
                <a:gd name="connsiteY7" fmla="*/ 9465 h 20842"/>
                <a:gd name="connsiteX8" fmla="*/ 34144 w 36052"/>
                <a:gd name="connsiteY8" fmla="*/ 8036 h 20842"/>
                <a:gd name="connsiteX9" fmla="*/ 21476 w 36052"/>
                <a:gd name="connsiteY9" fmla="*/ 702 h 20842"/>
                <a:gd name="connsiteX10" fmla="*/ 13856 w 36052"/>
                <a:gd name="connsiteY10" fmla="*/ 702 h 20842"/>
                <a:gd name="connsiteX11" fmla="*/ 1188 w 36052"/>
                <a:gd name="connsiteY11" fmla="*/ 8036 h 20842"/>
                <a:gd name="connsiteX12" fmla="*/ -336 w 36052"/>
                <a:gd name="connsiteY12" fmla="*/ 10227 h 20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2">
                  <a:moveTo>
                    <a:pt x="-336" y="10227"/>
                  </a:moveTo>
                  <a:cubicBezTo>
                    <a:pt x="-269" y="11208"/>
                    <a:pt x="312" y="12075"/>
                    <a:pt x="1188" y="12513"/>
                  </a:cubicBezTo>
                  <a:lnTo>
                    <a:pt x="3569" y="13846"/>
                  </a:lnTo>
                  <a:lnTo>
                    <a:pt x="13856" y="19752"/>
                  </a:lnTo>
                  <a:cubicBezTo>
                    <a:pt x="16247" y="20990"/>
                    <a:pt x="19085" y="20990"/>
                    <a:pt x="21476" y="19752"/>
                  </a:cubicBezTo>
                  <a:lnTo>
                    <a:pt x="31763" y="13846"/>
                  </a:lnTo>
                  <a:lnTo>
                    <a:pt x="34144" y="12513"/>
                  </a:lnTo>
                  <a:cubicBezTo>
                    <a:pt x="35382" y="12065"/>
                    <a:pt x="36021" y="10693"/>
                    <a:pt x="35573" y="9465"/>
                  </a:cubicBezTo>
                  <a:cubicBezTo>
                    <a:pt x="35325" y="8798"/>
                    <a:pt x="34811" y="8274"/>
                    <a:pt x="34144"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210" name="ísļïḍé">
              <a:extLst>
                <a:ext uri="{FF2B5EF4-FFF2-40B4-BE49-F238E27FC236}">
                  <a16:creationId xmlns:a16="http://schemas.microsoft.com/office/drawing/2014/main" id="{4CD5F810-9849-4AA7-9081-C9FD8CC662A7}"/>
                </a:ext>
              </a:extLst>
            </p:cNvPr>
            <p:cNvSpPr/>
            <p:nvPr/>
          </p:nvSpPr>
          <p:spPr>
            <a:xfrm>
              <a:off x="6050020" y="5018930"/>
              <a:ext cx="105463" cy="61104"/>
            </a:xfrm>
            <a:custGeom>
              <a:avLst/>
              <a:gdLst>
                <a:gd name="connsiteX0" fmla="*/ 1021 w 34647"/>
                <a:gd name="connsiteY0" fmla="*/ 12029 h 20074"/>
                <a:gd name="connsiteX1" fmla="*/ 13213 w 34647"/>
                <a:gd name="connsiteY1" fmla="*/ 18983 h 20074"/>
                <a:gd name="connsiteX2" fmla="*/ 20642 w 34647"/>
                <a:gd name="connsiteY2" fmla="*/ 18983 h 20074"/>
                <a:gd name="connsiteX3" fmla="*/ 32739 w 34647"/>
                <a:gd name="connsiteY3" fmla="*/ 12029 h 20074"/>
                <a:gd name="connsiteX4" fmla="*/ 32739 w 34647"/>
                <a:gd name="connsiteY4" fmla="*/ 7743 h 20074"/>
                <a:gd name="connsiteX5" fmla="*/ 20642 w 34647"/>
                <a:gd name="connsiteY5" fmla="*/ 695 h 20074"/>
                <a:gd name="connsiteX6" fmla="*/ 13213 w 34647"/>
                <a:gd name="connsiteY6" fmla="*/ 695 h 20074"/>
                <a:gd name="connsiteX7" fmla="*/ 1021 w 34647"/>
                <a:gd name="connsiteY7" fmla="*/ 7743 h 20074"/>
                <a:gd name="connsiteX8" fmla="*/ 1021 w 34647"/>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647" h="20074">
                  <a:moveTo>
                    <a:pt x="1021" y="12029"/>
                  </a:moveTo>
                  <a:lnTo>
                    <a:pt x="13213" y="18983"/>
                  </a:lnTo>
                  <a:cubicBezTo>
                    <a:pt x="15537" y="20221"/>
                    <a:pt x="18318" y="20221"/>
                    <a:pt x="20642" y="18983"/>
                  </a:cubicBezTo>
                  <a:lnTo>
                    <a:pt x="32739" y="12029"/>
                  </a:lnTo>
                  <a:cubicBezTo>
                    <a:pt x="34835" y="10791"/>
                    <a:pt x="34835" y="8886"/>
                    <a:pt x="32739" y="7743"/>
                  </a:cubicBezTo>
                  <a:lnTo>
                    <a:pt x="20642" y="695"/>
                  </a:lnTo>
                  <a:cubicBezTo>
                    <a:pt x="18299" y="-448"/>
                    <a:pt x="15556" y="-448"/>
                    <a:pt x="13213" y="695"/>
                  </a:cubicBezTo>
                  <a:lnTo>
                    <a:pt x="1021" y="7743"/>
                  </a:lnTo>
                  <a:cubicBezTo>
                    <a:pt x="-789" y="8886"/>
                    <a:pt x="-789" y="10791"/>
                    <a:pt x="1021" y="12029"/>
                  </a:cubicBezTo>
                  <a:close/>
                </a:path>
              </a:pathLst>
            </a:custGeom>
            <a:solidFill>
              <a:srgbClr val="D1D9E8"/>
            </a:solidFill>
            <a:ln w="9525" cap="flat">
              <a:noFill/>
              <a:prstDash val="solid"/>
              <a:miter/>
            </a:ln>
          </p:spPr>
          <p:txBody>
            <a:bodyPr rtlCol="0" anchor="ctr"/>
            <a:lstStyle/>
            <a:p>
              <a:endParaRPr lang="zh-CN" altLang="en-US"/>
            </a:p>
          </p:txBody>
        </p:sp>
        <p:sp>
          <p:nvSpPr>
            <p:cNvPr id="211" name="îşḷiďê">
              <a:extLst>
                <a:ext uri="{FF2B5EF4-FFF2-40B4-BE49-F238E27FC236}">
                  <a16:creationId xmlns:a16="http://schemas.microsoft.com/office/drawing/2014/main" id="{8739D635-90F7-4AD2-BC4A-991878A36CEA}"/>
                </a:ext>
              </a:extLst>
            </p:cNvPr>
            <p:cNvSpPr/>
            <p:nvPr/>
          </p:nvSpPr>
          <p:spPr>
            <a:xfrm>
              <a:off x="6048352" y="5049375"/>
              <a:ext cx="109594" cy="53801"/>
            </a:xfrm>
            <a:custGeom>
              <a:avLst/>
              <a:gdLst>
                <a:gd name="connsiteX0" fmla="*/ -336 w 36004"/>
                <a:gd name="connsiteY0" fmla="*/ -163 h 17675"/>
                <a:gd name="connsiteX1" fmla="*/ -336 w 36004"/>
                <a:gd name="connsiteY1" fmla="*/ 7076 h 17675"/>
                <a:gd name="connsiteX2" fmla="*/ 1188 w 36004"/>
                <a:gd name="connsiteY2" fmla="*/ 9267 h 17675"/>
                <a:gd name="connsiteX3" fmla="*/ 13856 w 36004"/>
                <a:gd name="connsiteY3" fmla="*/ 16506 h 17675"/>
                <a:gd name="connsiteX4" fmla="*/ 21476 w 36004"/>
                <a:gd name="connsiteY4" fmla="*/ 16506 h 17675"/>
                <a:gd name="connsiteX5" fmla="*/ 34144 w 36004"/>
                <a:gd name="connsiteY5" fmla="*/ 9267 h 17675"/>
                <a:gd name="connsiteX6" fmla="*/ 35668 w 36004"/>
                <a:gd name="connsiteY6" fmla="*/ 6981 h 17675"/>
                <a:gd name="connsiteX7" fmla="*/ 35668 w 36004"/>
                <a:gd name="connsiteY7" fmla="*/ -163 h 17675"/>
                <a:gd name="connsiteX8" fmla="*/ 34144 w 36004"/>
                <a:gd name="connsiteY8" fmla="*/ 2123 h 17675"/>
                <a:gd name="connsiteX9" fmla="*/ 31763 w 36004"/>
                <a:gd name="connsiteY9" fmla="*/ 3457 h 17675"/>
                <a:gd name="connsiteX10" fmla="*/ 21476 w 36004"/>
                <a:gd name="connsiteY10" fmla="*/ 9362 h 17675"/>
                <a:gd name="connsiteX11" fmla="*/ 13856 w 36004"/>
                <a:gd name="connsiteY11" fmla="*/ 9362 h 17675"/>
                <a:gd name="connsiteX12" fmla="*/ 3569 w 36004"/>
                <a:gd name="connsiteY12" fmla="*/ 3457 h 17675"/>
                <a:gd name="connsiteX13" fmla="*/ 1188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79" y="8029"/>
                    <a:pt x="312" y="8876"/>
                    <a:pt x="1188" y="9267"/>
                  </a:cubicBezTo>
                  <a:lnTo>
                    <a:pt x="13856" y="16506"/>
                  </a:lnTo>
                  <a:cubicBezTo>
                    <a:pt x="16218" y="17849"/>
                    <a:pt x="19114" y="17849"/>
                    <a:pt x="21476" y="16506"/>
                  </a:cubicBezTo>
                  <a:lnTo>
                    <a:pt x="34144" y="9267"/>
                  </a:lnTo>
                  <a:cubicBezTo>
                    <a:pt x="35049" y="8867"/>
                    <a:pt x="35640" y="7971"/>
                    <a:pt x="35668" y="6981"/>
                  </a:cubicBezTo>
                  <a:lnTo>
                    <a:pt x="35668" y="-163"/>
                  </a:lnTo>
                  <a:cubicBezTo>
                    <a:pt x="35602" y="818"/>
                    <a:pt x="35021" y="1685"/>
                    <a:pt x="34144" y="2123"/>
                  </a:cubicBezTo>
                  <a:lnTo>
                    <a:pt x="31763" y="3457"/>
                  </a:lnTo>
                  <a:lnTo>
                    <a:pt x="21476" y="9362"/>
                  </a:lnTo>
                  <a:cubicBezTo>
                    <a:pt x="19085" y="10600"/>
                    <a:pt x="16247" y="10600"/>
                    <a:pt x="13856" y="9362"/>
                  </a:cubicBezTo>
                  <a:lnTo>
                    <a:pt x="3569" y="3457"/>
                  </a:lnTo>
                  <a:lnTo>
                    <a:pt x="1188" y="2123"/>
                  </a:lnTo>
                  <a:cubicBezTo>
                    <a:pt x="312"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212" name="ïṧḻíde">
              <a:extLst>
                <a:ext uri="{FF2B5EF4-FFF2-40B4-BE49-F238E27FC236}">
                  <a16:creationId xmlns:a16="http://schemas.microsoft.com/office/drawing/2014/main" id="{461841BA-1006-4629-941F-8BF25FF4D293}"/>
                </a:ext>
              </a:extLst>
            </p:cNvPr>
            <p:cNvSpPr/>
            <p:nvPr/>
          </p:nvSpPr>
          <p:spPr>
            <a:xfrm>
              <a:off x="6125476" y="5062202"/>
              <a:ext cx="109362" cy="63588"/>
            </a:xfrm>
            <a:custGeom>
              <a:avLst/>
              <a:gdLst>
                <a:gd name="connsiteX0" fmla="*/ -336 w 35928"/>
                <a:gd name="connsiteY0" fmla="*/ 10291 h 20890"/>
                <a:gd name="connsiteX1" fmla="*/ 1283 w 35928"/>
                <a:gd name="connsiteY1" fmla="*/ 12482 h 20890"/>
                <a:gd name="connsiteX2" fmla="*/ 3569 w 35928"/>
                <a:gd name="connsiteY2" fmla="*/ 13911 h 20890"/>
                <a:gd name="connsiteX3" fmla="*/ 13856 w 35928"/>
                <a:gd name="connsiteY3" fmla="*/ 19721 h 20890"/>
                <a:gd name="connsiteX4" fmla="*/ 21571 w 35928"/>
                <a:gd name="connsiteY4" fmla="*/ 19721 h 20890"/>
                <a:gd name="connsiteX5" fmla="*/ 31858 w 35928"/>
                <a:gd name="connsiteY5" fmla="*/ 13911 h 20890"/>
                <a:gd name="connsiteX6" fmla="*/ 34144 w 35928"/>
                <a:gd name="connsiteY6" fmla="*/ 12482 h 20890"/>
                <a:gd name="connsiteX7" fmla="*/ 35402 w 35928"/>
                <a:gd name="connsiteY7" fmla="*/ 9358 h 20890"/>
                <a:gd name="connsiteX8" fmla="*/ 34144 w 35928"/>
                <a:gd name="connsiteY8" fmla="*/ 8101 h 20890"/>
                <a:gd name="connsiteX9" fmla="*/ 21571 w 35928"/>
                <a:gd name="connsiteY9" fmla="*/ 766 h 20890"/>
                <a:gd name="connsiteX10" fmla="*/ 13856 w 35928"/>
                <a:gd name="connsiteY10" fmla="*/ 766 h 20890"/>
                <a:gd name="connsiteX11" fmla="*/ 1283 w 35928"/>
                <a:gd name="connsiteY11" fmla="*/ 8101 h 20890"/>
                <a:gd name="connsiteX12" fmla="*/ -336 w 35928"/>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928" h="20890">
                  <a:moveTo>
                    <a:pt x="-336" y="10291"/>
                  </a:moveTo>
                  <a:cubicBezTo>
                    <a:pt x="-279" y="11282"/>
                    <a:pt x="350" y="12139"/>
                    <a:pt x="1283" y="12482"/>
                  </a:cubicBezTo>
                  <a:lnTo>
                    <a:pt x="3569" y="13911"/>
                  </a:lnTo>
                  <a:lnTo>
                    <a:pt x="13856" y="19721"/>
                  </a:lnTo>
                  <a:cubicBezTo>
                    <a:pt x="16256" y="21064"/>
                    <a:pt x="19171" y="21064"/>
                    <a:pt x="21571" y="19721"/>
                  </a:cubicBezTo>
                  <a:lnTo>
                    <a:pt x="31858" y="13911"/>
                  </a:lnTo>
                  <a:lnTo>
                    <a:pt x="34144" y="12482"/>
                  </a:lnTo>
                  <a:cubicBezTo>
                    <a:pt x="35354" y="11967"/>
                    <a:pt x="35916" y="10568"/>
                    <a:pt x="35402" y="9358"/>
                  </a:cubicBezTo>
                  <a:cubicBezTo>
                    <a:pt x="35164" y="8796"/>
                    <a:pt x="34706" y="8339"/>
                    <a:pt x="34144" y="8101"/>
                  </a:cubicBezTo>
                  <a:lnTo>
                    <a:pt x="21571" y="766"/>
                  </a:lnTo>
                  <a:cubicBezTo>
                    <a:pt x="19152" y="-472"/>
                    <a:pt x="16275" y="-472"/>
                    <a:pt x="13856" y="766"/>
                  </a:cubicBezTo>
                  <a:lnTo>
                    <a:pt x="1283" y="8101"/>
                  </a:lnTo>
                  <a:cubicBezTo>
                    <a:pt x="350" y="8443"/>
                    <a:pt x="-279" y="9300"/>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213" name="iS1íḓé">
              <a:extLst>
                <a:ext uri="{FF2B5EF4-FFF2-40B4-BE49-F238E27FC236}">
                  <a16:creationId xmlns:a16="http://schemas.microsoft.com/office/drawing/2014/main" id="{A0AEE950-D8DB-42B9-8E68-D478BF87F63B}"/>
                </a:ext>
              </a:extLst>
            </p:cNvPr>
            <p:cNvSpPr/>
            <p:nvPr/>
          </p:nvSpPr>
          <p:spPr>
            <a:xfrm>
              <a:off x="6127360" y="5063362"/>
              <a:ext cx="105898" cy="61104"/>
            </a:xfrm>
            <a:custGeom>
              <a:avLst/>
              <a:gdLst>
                <a:gd name="connsiteX0" fmla="*/ 1235 w 34790"/>
                <a:gd name="connsiteY0" fmla="*/ 12006 h 20074"/>
                <a:gd name="connsiteX1" fmla="*/ 13332 w 34790"/>
                <a:gd name="connsiteY1" fmla="*/ 19054 h 20074"/>
                <a:gd name="connsiteX2" fmla="*/ 20761 w 34790"/>
                <a:gd name="connsiteY2" fmla="*/ 19054 h 20074"/>
                <a:gd name="connsiteX3" fmla="*/ 32953 w 34790"/>
                <a:gd name="connsiteY3" fmla="*/ 12006 h 20074"/>
                <a:gd name="connsiteX4" fmla="*/ 32953 w 34790"/>
                <a:gd name="connsiteY4" fmla="*/ 7719 h 20074"/>
                <a:gd name="connsiteX5" fmla="*/ 20761 w 34790"/>
                <a:gd name="connsiteY5" fmla="*/ 766 h 20074"/>
                <a:gd name="connsiteX6" fmla="*/ 13332 w 34790"/>
                <a:gd name="connsiteY6" fmla="*/ 766 h 20074"/>
                <a:gd name="connsiteX7" fmla="*/ 1235 w 34790"/>
                <a:gd name="connsiteY7" fmla="*/ 7719 h 20074"/>
                <a:gd name="connsiteX8" fmla="*/ 1235 w 34790"/>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4">
                  <a:moveTo>
                    <a:pt x="1235" y="12006"/>
                  </a:moveTo>
                  <a:lnTo>
                    <a:pt x="13332" y="19054"/>
                  </a:lnTo>
                  <a:cubicBezTo>
                    <a:pt x="15675" y="20197"/>
                    <a:pt x="18418" y="20197"/>
                    <a:pt x="20761" y="19054"/>
                  </a:cubicBezTo>
                  <a:lnTo>
                    <a:pt x="32953" y="12006"/>
                  </a:lnTo>
                  <a:cubicBezTo>
                    <a:pt x="34954" y="10863"/>
                    <a:pt x="34954" y="8957"/>
                    <a:pt x="32953" y="7719"/>
                  </a:cubicBezTo>
                  <a:lnTo>
                    <a:pt x="20761" y="766"/>
                  </a:lnTo>
                  <a:cubicBezTo>
                    <a:pt x="18437" y="-472"/>
                    <a:pt x="15656" y="-472"/>
                    <a:pt x="13332" y="766"/>
                  </a:cubicBezTo>
                  <a:lnTo>
                    <a:pt x="1235" y="7719"/>
                  </a:lnTo>
                  <a:cubicBezTo>
                    <a:pt x="-860" y="8957"/>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214" name="îṩliḑè">
              <a:extLst>
                <a:ext uri="{FF2B5EF4-FFF2-40B4-BE49-F238E27FC236}">
                  <a16:creationId xmlns:a16="http://schemas.microsoft.com/office/drawing/2014/main" id="{D0154DFA-F19B-4F40-8472-5F6584293E1F}"/>
                </a:ext>
              </a:extLst>
            </p:cNvPr>
            <p:cNvSpPr/>
            <p:nvPr/>
          </p:nvSpPr>
          <p:spPr>
            <a:xfrm>
              <a:off x="6125464" y="5094023"/>
              <a:ext cx="111055" cy="54724"/>
            </a:xfrm>
            <a:custGeom>
              <a:avLst/>
              <a:gdLst>
                <a:gd name="connsiteX0" fmla="*/ -333 w 36484"/>
                <a:gd name="connsiteY0" fmla="*/ -163 h 17978"/>
                <a:gd name="connsiteX1" fmla="*/ -333 w 36484"/>
                <a:gd name="connsiteY1" fmla="*/ 7362 h 17978"/>
                <a:gd name="connsiteX2" fmla="*/ 1286 w 36484"/>
                <a:gd name="connsiteY2" fmla="*/ 9553 h 17978"/>
                <a:gd name="connsiteX3" fmla="*/ 14336 w 36484"/>
                <a:gd name="connsiteY3" fmla="*/ 16887 h 17978"/>
                <a:gd name="connsiteX4" fmla="*/ 22051 w 36484"/>
                <a:gd name="connsiteY4" fmla="*/ 16887 h 17978"/>
                <a:gd name="connsiteX5" fmla="*/ 34624 w 36484"/>
                <a:gd name="connsiteY5" fmla="*/ 9648 h 17978"/>
                <a:gd name="connsiteX6" fmla="*/ 36148 w 36484"/>
                <a:gd name="connsiteY6" fmla="*/ 7362 h 17978"/>
                <a:gd name="connsiteX7" fmla="*/ 36148 w 36484"/>
                <a:gd name="connsiteY7" fmla="*/ 218 h 17978"/>
                <a:gd name="connsiteX8" fmla="*/ 34624 w 36484"/>
                <a:gd name="connsiteY8" fmla="*/ 2409 h 17978"/>
                <a:gd name="connsiteX9" fmla="*/ 32338 w 36484"/>
                <a:gd name="connsiteY9" fmla="*/ 3838 h 17978"/>
                <a:gd name="connsiteX10" fmla="*/ 22051 w 36484"/>
                <a:gd name="connsiteY10" fmla="*/ 9648 h 17978"/>
                <a:gd name="connsiteX11" fmla="*/ 14336 w 36484"/>
                <a:gd name="connsiteY11" fmla="*/ 9648 h 17978"/>
                <a:gd name="connsiteX12" fmla="*/ 4049 w 36484"/>
                <a:gd name="connsiteY12" fmla="*/ 3838 h 17978"/>
                <a:gd name="connsiteX13" fmla="*/ 1763 w 36484"/>
                <a:gd name="connsiteY13" fmla="*/ 2409 h 17978"/>
                <a:gd name="connsiteX14" fmla="*/ -333 w 36484"/>
                <a:gd name="connsiteY14" fmla="*/ -163 h 17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484" h="17978">
                  <a:moveTo>
                    <a:pt x="-333" y="-163"/>
                  </a:moveTo>
                  <a:lnTo>
                    <a:pt x="-333" y="7362"/>
                  </a:lnTo>
                  <a:cubicBezTo>
                    <a:pt x="-238" y="8334"/>
                    <a:pt x="382" y="9172"/>
                    <a:pt x="1286" y="9553"/>
                  </a:cubicBezTo>
                  <a:lnTo>
                    <a:pt x="14336" y="16887"/>
                  </a:lnTo>
                  <a:cubicBezTo>
                    <a:pt x="16755" y="18125"/>
                    <a:pt x="19632" y="18125"/>
                    <a:pt x="22051" y="16887"/>
                  </a:cubicBezTo>
                  <a:lnTo>
                    <a:pt x="34624" y="9648"/>
                  </a:lnTo>
                  <a:cubicBezTo>
                    <a:pt x="35491" y="9200"/>
                    <a:pt x="36062" y="8334"/>
                    <a:pt x="36148" y="7362"/>
                  </a:cubicBezTo>
                  <a:lnTo>
                    <a:pt x="36148" y="218"/>
                  </a:lnTo>
                  <a:cubicBezTo>
                    <a:pt x="36110" y="1181"/>
                    <a:pt x="35519" y="2038"/>
                    <a:pt x="34624" y="2409"/>
                  </a:cubicBezTo>
                  <a:lnTo>
                    <a:pt x="32338" y="3838"/>
                  </a:lnTo>
                  <a:lnTo>
                    <a:pt x="22051" y="9648"/>
                  </a:lnTo>
                  <a:cubicBezTo>
                    <a:pt x="19651" y="10991"/>
                    <a:pt x="16736" y="10991"/>
                    <a:pt x="14336" y="9648"/>
                  </a:cubicBezTo>
                  <a:lnTo>
                    <a:pt x="4049" y="3838"/>
                  </a:lnTo>
                  <a:lnTo>
                    <a:pt x="1763" y="2409"/>
                  </a:lnTo>
                  <a:cubicBezTo>
                    <a:pt x="505" y="2219"/>
                    <a:pt x="-399" y="1104"/>
                    <a:pt x="-333" y="-163"/>
                  </a:cubicBezTo>
                  <a:close/>
                </a:path>
              </a:pathLst>
            </a:custGeom>
            <a:solidFill>
              <a:srgbClr val="BF4200"/>
            </a:solidFill>
            <a:ln w="9525" cap="flat">
              <a:noFill/>
              <a:prstDash val="solid"/>
              <a:miter/>
            </a:ln>
          </p:spPr>
          <p:txBody>
            <a:bodyPr rtlCol="0" anchor="ctr"/>
            <a:lstStyle/>
            <a:p>
              <a:endParaRPr lang="zh-CN" altLang="en-US"/>
            </a:p>
          </p:txBody>
        </p:sp>
        <p:sp>
          <p:nvSpPr>
            <p:cNvPr id="215" name="iṣ1îḍê">
              <a:extLst>
                <a:ext uri="{FF2B5EF4-FFF2-40B4-BE49-F238E27FC236}">
                  <a16:creationId xmlns:a16="http://schemas.microsoft.com/office/drawing/2014/main" id="{EAAB215C-11A3-4FCC-9C57-8BE7EC3E81B2}"/>
                </a:ext>
              </a:extLst>
            </p:cNvPr>
            <p:cNvSpPr/>
            <p:nvPr/>
          </p:nvSpPr>
          <p:spPr>
            <a:xfrm>
              <a:off x="6202889" y="5107048"/>
              <a:ext cx="109740" cy="63445"/>
            </a:xfrm>
            <a:custGeom>
              <a:avLst/>
              <a:gdLst>
                <a:gd name="connsiteX0" fmla="*/ -336 w 36052"/>
                <a:gd name="connsiteY0" fmla="*/ 10227 h 20843"/>
                <a:gd name="connsiteX1" fmla="*/ 1188 w 36052"/>
                <a:gd name="connsiteY1" fmla="*/ 12513 h 20843"/>
                <a:gd name="connsiteX2" fmla="*/ 3569 w 36052"/>
                <a:gd name="connsiteY2" fmla="*/ 13846 h 20843"/>
                <a:gd name="connsiteX3" fmla="*/ 13856 w 36052"/>
                <a:gd name="connsiteY3" fmla="*/ 19752 h 20843"/>
                <a:gd name="connsiteX4" fmla="*/ 21476 w 36052"/>
                <a:gd name="connsiteY4" fmla="*/ 19752 h 20843"/>
                <a:gd name="connsiteX5" fmla="*/ 31763 w 36052"/>
                <a:gd name="connsiteY5" fmla="*/ 13846 h 20843"/>
                <a:gd name="connsiteX6" fmla="*/ 34144 w 36052"/>
                <a:gd name="connsiteY6" fmla="*/ 12513 h 20843"/>
                <a:gd name="connsiteX7" fmla="*/ 35573 w 36052"/>
                <a:gd name="connsiteY7" fmla="*/ 9465 h 20843"/>
                <a:gd name="connsiteX8" fmla="*/ 34144 w 36052"/>
                <a:gd name="connsiteY8" fmla="*/ 8036 h 20843"/>
                <a:gd name="connsiteX9" fmla="*/ 21476 w 36052"/>
                <a:gd name="connsiteY9" fmla="*/ 702 h 20843"/>
                <a:gd name="connsiteX10" fmla="*/ 13856 w 36052"/>
                <a:gd name="connsiteY10" fmla="*/ 702 h 20843"/>
                <a:gd name="connsiteX11" fmla="*/ 1188 w 36052"/>
                <a:gd name="connsiteY11" fmla="*/ 8036 h 20843"/>
                <a:gd name="connsiteX12" fmla="*/ -336 w 36052"/>
                <a:gd name="connsiteY12" fmla="*/ 10227 h 20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3">
                  <a:moveTo>
                    <a:pt x="-336" y="10227"/>
                  </a:moveTo>
                  <a:cubicBezTo>
                    <a:pt x="-270" y="11208"/>
                    <a:pt x="311" y="12075"/>
                    <a:pt x="1188" y="12513"/>
                  </a:cubicBezTo>
                  <a:lnTo>
                    <a:pt x="3569" y="13846"/>
                  </a:lnTo>
                  <a:lnTo>
                    <a:pt x="13856" y="19752"/>
                  </a:lnTo>
                  <a:cubicBezTo>
                    <a:pt x="16247" y="20990"/>
                    <a:pt x="19085" y="20990"/>
                    <a:pt x="21476" y="19752"/>
                  </a:cubicBezTo>
                  <a:lnTo>
                    <a:pt x="31763" y="13846"/>
                  </a:lnTo>
                  <a:lnTo>
                    <a:pt x="34144" y="12513"/>
                  </a:lnTo>
                  <a:cubicBezTo>
                    <a:pt x="35382" y="12065"/>
                    <a:pt x="36020" y="10694"/>
                    <a:pt x="35573" y="9465"/>
                  </a:cubicBezTo>
                  <a:cubicBezTo>
                    <a:pt x="35325" y="8798"/>
                    <a:pt x="34811" y="8274"/>
                    <a:pt x="34144"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216" name="islïḑe">
              <a:extLst>
                <a:ext uri="{FF2B5EF4-FFF2-40B4-BE49-F238E27FC236}">
                  <a16:creationId xmlns:a16="http://schemas.microsoft.com/office/drawing/2014/main" id="{C93E70BB-02D7-4E86-9940-9871743D3417}"/>
                </a:ext>
              </a:extLst>
            </p:cNvPr>
            <p:cNvSpPr/>
            <p:nvPr/>
          </p:nvSpPr>
          <p:spPr>
            <a:xfrm>
              <a:off x="6204700" y="5108811"/>
              <a:ext cx="105895" cy="61101"/>
            </a:xfrm>
            <a:custGeom>
              <a:avLst/>
              <a:gdLst>
                <a:gd name="connsiteX0" fmla="*/ 1164 w 34789"/>
                <a:gd name="connsiteY0" fmla="*/ 12029 h 20073"/>
                <a:gd name="connsiteX1" fmla="*/ 13356 w 34789"/>
                <a:gd name="connsiteY1" fmla="*/ 18983 h 20073"/>
                <a:gd name="connsiteX2" fmla="*/ 20785 w 34789"/>
                <a:gd name="connsiteY2" fmla="*/ 18983 h 20073"/>
                <a:gd name="connsiteX3" fmla="*/ 32882 w 34789"/>
                <a:gd name="connsiteY3" fmla="*/ 12029 h 20073"/>
                <a:gd name="connsiteX4" fmla="*/ 32882 w 34789"/>
                <a:gd name="connsiteY4" fmla="*/ 7743 h 20073"/>
                <a:gd name="connsiteX5" fmla="*/ 20785 w 34789"/>
                <a:gd name="connsiteY5" fmla="*/ 695 h 20073"/>
                <a:gd name="connsiteX6" fmla="*/ 13356 w 34789"/>
                <a:gd name="connsiteY6" fmla="*/ 695 h 20073"/>
                <a:gd name="connsiteX7" fmla="*/ 1164 w 34789"/>
                <a:gd name="connsiteY7" fmla="*/ 7743 h 20073"/>
                <a:gd name="connsiteX8" fmla="*/ 1164 w 34789"/>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89" h="20073">
                  <a:moveTo>
                    <a:pt x="1164" y="12029"/>
                  </a:moveTo>
                  <a:lnTo>
                    <a:pt x="13356" y="18983"/>
                  </a:lnTo>
                  <a:cubicBezTo>
                    <a:pt x="15680" y="20221"/>
                    <a:pt x="18461" y="20221"/>
                    <a:pt x="20785" y="18983"/>
                  </a:cubicBezTo>
                  <a:lnTo>
                    <a:pt x="32882" y="12029"/>
                  </a:lnTo>
                  <a:cubicBezTo>
                    <a:pt x="34977" y="10791"/>
                    <a:pt x="34977" y="8886"/>
                    <a:pt x="32882" y="7743"/>
                  </a:cubicBezTo>
                  <a:lnTo>
                    <a:pt x="20785" y="695"/>
                  </a:lnTo>
                  <a:cubicBezTo>
                    <a:pt x="18442" y="-448"/>
                    <a:pt x="15699" y="-448"/>
                    <a:pt x="13356" y="695"/>
                  </a:cubicBezTo>
                  <a:lnTo>
                    <a:pt x="1164" y="7743"/>
                  </a:lnTo>
                  <a:cubicBezTo>
                    <a:pt x="-836" y="8696"/>
                    <a:pt x="-836" y="10601"/>
                    <a:pt x="1164" y="12029"/>
                  </a:cubicBezTo>
                  <a:close/>
                </a:path>
              </a:pathLst>
            </a:custGeom>
            <a:solidFill>
              <a:srgbClr val="D1D9E8"/>
            </a:solidFill>
            <a:ln w="9525" cap="flat">
              <a:noFill/>
              <a:prstDash val="solid"/>
              <a:miter/>
            </a:ln>
          </p:spPr>
          <p:txBody>
            <a:bodyPr rtlCol="0" anchor="ctr"/>
            <a:lstStyle/>
            <a:p>
              <a:endParaRPr lang="zh-CN" altLang="en-US"/>
            </a:p>
          </p:txBody>
        </p:sp>
        <p:sp>
          <p:nvSpPr>
            <p:cNvPr id="217" name="ïṧľíḍè">
              <a:extLst>
                <a:ext uri="{FF2B5EF4-FFF2-40B4-BE49-F238E27FC236}">
                  <a16:creationId xmlns:a16="http://schemas.microsoft.com/office/drawing/2014/main" id="{86AA19DF-4CC5-4C42-9C17-249739C81C5A}"/>
                </a:ext>
              </a:extLst>
            </p:cNvPr>
            <p:cNvSpPr/>
            <p:nvPr/>
          </p:nvSpPr>
          <p:spPr>
            <a:xfrm>
              <a:off x="6202889" y="5138675"/>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3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3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2" y="7953"/>
                    <a:pt x="35668" y="6981"/>
                  </a:cubicBezTo>
                  <a:lnTo>
                    <a:pt x="35668" y="-163"/>
                  </a:lnTo>
                  <a:cubicBezTo>
                    <a:pt x="35602" y="818"/>
                    <a:pt x="35021" y="1685"/>
                    <a:pt x="34144" y="2123"/>
                  </a:cubicBezTo>
                  <a:lnTo>
                    <a:pt x="31763" y="3457"/>
                  </a:lnTo>
                  <a:lnTo>
                    <a:pt x="21476" y="9362"/>
                  </a:lnTo>
                  <a:cubicBezTo>
                    <a:pt x="19085" y="10601"/>
                    <a:pt x="16247" y="10601"/>
                    <a:pt x="13856" y="9362"/>
                  </a:cubicBezTo>
                  <a:lnTo>
                    <a:pt x="3569" y="3457"/>
                  </a:lnTo>
                  <a:lnTo>
                    <a:pt x="1188"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218" name="iṧľiḑé">
              <a:extLst>
                <a:ext uri="{FF2B5EF4-FFF2-40B4-BE49-F238E27FC236}">
                  <a16:creationId xmlns:a16="http://schemas.microsoft.com/office/drawing/2014/main" id="{04A0FB90-67C0-4C8C-A475-EE891B380741}"/>
                </a:ext>
              </a:extLst>
            </p:cNvPr>
            <p:cNvSpPr/>
            <p:nvPr/>
          </p:nvSpPr>
          <p:spPr>
            <a:xfrm>
              <a:off x="6280010" y="5151502"/>
              <a:ext cx="109740" cy="63639"/>
            </a:xfrm>
            <a:custGeom>
              <a:avLst/>
              <a:gdLst>
                <a:gd name="connsiteX0" fmla="*/ -336 w 36052"/>
                <a:gd name="connsiteY0" fmla="*/ 10291 h 20907"/>
                <a:gd name="connsiteX1" fmla="*/ 1283 w 36052"/>
                <a:gd name="connsiteY1" fmla="*/ 12577 h 20907"/>
                <a:gd name="connsiteX2" fmla="*/ 3569 w 36052"/>
                <a:gd name="connsiteY2" fmla="*/ 13911 h 20907"/>
                <a:gd name="connsiteX3" fmla="*/ 13856 w 36052"/>
                <a:gd name="connsiteY3" fmla="*/ 19816 h 20907"/>
                <a:gd name="connsiteX4" fmla="*/ 21571 w 36052"/>
                <a:gd name="connsiteY4" fmla="*/ 19816 h 20907"/>
                <a:gd name="connsiteX5" fmla="*/ 31858 w 36052"/>
                <a:gd name="connsiteY5" fmla="*/ 13911 h 20907"/>
                <a:gd name="connsiteX6" fmla="*/ 34144 w 36052"/>
                <a:gd name="connsiteY6" fmla="*/ 12577 h 20907"/>
                <a:gd name="connsiteX7" fmla="*/ 35573 w 36052"/>
                <a:gd name="connsiteY7" fmla="*/ 9529 h 20907"/>
                <a:gd name="connsiteX8" fmla="*/ 34144 w 36052"/>
                <a:gd name="connsiteY8" fmla="*/ 8100 h 20907"/>
                <a:gd name="connsiteX9" fmla="*/ 21571 w 36052"/>
                <a:gd name="connsiteY9" fmla="*/ 766 h 20907"/>
                <a:gd name="connsiteX10" fmla="*/ 13856 w 36052"/>
                <a:gd name="connsiteY10" fmla="*/ 766 h 20907"/>
                <a:gd name="connsiteX11" fmla="*/ 1283 w 36052"/>
                <a:gd name="connsiteY11" fmla="*/ 8100 h 20907"/>
                <a:gd name="connsiteX12" fmla="*/ -336 w 36052"/>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907">
                  <a:moveTo>
                    <a:pt x="-336" y="10291"/>
                  </a:moveTo>
                  <a:cubicBezTo>
                    <a:pt x="-232" y="11282"/>
                    <a:pt x="378" y="12148"/>
                    <a:pt x="1283" y="12577"/>
                  </a:cubicBezTo>
                  <a:lnTo>
                    <a:pt x="3569" y="13911"/>
                  </a:lnTo>
                  <a:lnTo>
                    <a:pt x="13856" y="19816"/>
                  </a:lnTo>
                  <a:cubicBezTo>
                    <a:pt x="16275" y="21054"/>
                    <a:pt x="19152" y="21054"/>
                    <a:pt x="21571" y="19816"/>
                  </a:cubicBezTo>
                  <a:lnTo>
                    <a:pt x="31858" y="13911"/>
                  </a:lnTo>
                  <a:lnTo>
                    <a:pt x="34144" y="12577"/>
                  </a:lnTo>
                  <a:cubicBezTo>
                    <a:pt x="35382" y="12129"/>
                    <a:pt x="36020" y="10758"/>
                    <a:pt x="35573" y="9529"/>
                  </a:cubicBezTo>
                  <a:cubicBezTo>
                    <a:pt x="35325" y="8862"/>
                    <a:pt x="34811" y="8338"/>
                    <a:pt x="34144" y="8100"/>
                  </a:cubicBezTo>
                  <a:lnTo>
                    <a:pt x="21571" y="766"/>
                  </a:lnTo>
                  <a:cubicBezTo>
                    <a:pt x="19152" y="-472"/>
                    <a:pt x="16275" y="-472"/>
                    <a:pt x="13856" y="766"/>
                  </a:cubicBezTo>
                  <a:lnTo>
                    <a:pt x="1283" y="8100"/>
                  </a:lnTo>
                  <a:cubicBezTo>
                    <a:pt x="407" y="8510"/>
                    <a:pt x="-203" y="933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219" name="ïsľïḋê">
              <a:extLst>
                <a:ext uri="{FF2B5EF4-FFF2-40B4-BE49-F238E27FC236}">
                  <a16:creationId xmlns:a16="http://schemas.microsoft.com/office/drawing/2014/main" id="{B5ACD04F-CA16-4A5F-9D21-6808A32207E6}"/>
                </a:ext>
              </a:extLst>
            </p:cNvPr>
            <p:cNvSpPr/>
            <p:nvPr/>
          </p:nvSpPr>
          <p:spPr>
            <a:xfrm>
              <a:off x="6281967" y="5152881"/>
              <a:ext cx="105244" cy="61104"/>
            </a:xfrm>
            <a:custGeom>
              <a:avLst/>
              <a:gdLst>
                <a:gd name="connsiteX0" fmla="*/ 1021 w 34575"/>
                <a:gd name="connsiteY0" fmla="*/ 12029 h 20074"/>
                <a:gd name="connsiteX1" fmla="*/ 13118 w 34575"/>
                <a:gd name="connsiteY1" fmla="*/ 18983 h 20074"/>
                <a:gd name="connsiteX2" fmla="*/ 20547 w 34575"/>
                <a:gd name="connsiteY2" fmla="*/ 18983 h 20074"/>
                <a:gd name="connsiteX3" fmla="*/ 32739 w 34575"/>
                <a:gd name="connsiteY3" fmla="*/ 12029 h 20074"/>
                <a:gd name="connsiteX4" fmla="*/ 32739 w 34575"/>
                <a:gd name="connsiteY4" fmla="*/ 7743 h 20074"/>
                <a:gd name="connsiteX5" fmla="*/ 20547 w 34575"/>
                <a:gd name="connsiteY5" fmla="*/ 695 h 20074"/>
                <a:gd name="connsiteX6" fmla="*/ 13118 w 34575"/>
                <a:gd name="connsiteY6" fmla="*/ 695 h 20074"/>
                <a:gd name="connsiteX7" fmla="*/ 1021 w 34575"/>
                <a:gd name="connsiteY7" fmla="*/ 7743 h 20074"/>
                <a:gd name="connsiteX8" fmla="*/ 1021 w 34575"/>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575" h="20074">
                  <a:moveTo>
                    <a:pt x="1021" y="12029"/>
                  </a:moveTo>
                  <a:lnTo>
                    <a:pt x="13118" y="18983"/>
                  </a:lnTo>
                  <a:cubicBezTo>
                    <a:pt x="15442" y="20221"/>
                    <a:pt x="18223" y="20221"/>
                    <a:pt x="20547" y="18983"/>
                  </a:cubicBezTo>
                  <a:lnTo>
                    <a:pt x="32739" y="12029"/>
                  </a:lnTo>
                  <a:cubicBezTo>
                    <a:pt x="34740" y="10791"/>
                    <a:pt x="34740" y="8886"/>
                    <a:pt x="32739" y="7743"/>
                  </a:cubicBezTo>
                  <a:lnTo>
                    <a:pt x="20547" y="695"/>
                  </a:lnTo>
                  <a:cubicBezTo>
                    <a:pt x="18204" y="-448"/>
                    <a:pt x="15461" y="-448"/>
                    <a:pt x="13118" y="695"/>
                  </a:cubicBezTo>
                  <a:lnTo>
                    <a:pt x="1021" y="7743"/>
                  </a:lnTo>
                  <a:cubicBezTo>
                    <a:pt x="-789" y="8886"/>
                    <a:pt x="-789" y="10791"/>
                    <a:pt x="1021" y="12029"/>
                  </a:cubicBezTo>
                  <a:close/>
                </a:path>
              </a:pathLst>
            </a:custGeom>
            <a:solidFill>
              <a:srgbClr val="D1D9E8"/>
            </a:solidFill>
            <a:ln w="9525" cap="flat">
              <a:noFill/>
              <a:prstDash val="solid"/>
              <a:miter/>
            </a:ln>
          </p:spPr>
          <p:txBody>
            <a:bodyPr rtlCol="0" anchor="ctr"/>
            <a:lstStyle/>
            <a:p>
              <a:endParaRPr lang="zh-CN" altLang="en-US"/>
            </a:p>
          </p:txBody>
        </p:sp>
        <p:sp>
          <p:nvSpPr>
            <p:cNvPr id="220" name="íṥľíḓè">
              <a:extLst>
                <a:ext uri="{FF2B5EF4-FFF2-40B4-BE49-F238E27FC236}">
                  <a16:creationId xmlns:a16="http://schemas.microsoft.com/office/drawing/2014/main" id="{E486DF49-31CB-450C-8E5E-D20BA014139C}"/>
                </a:ext>
              </a:extLst>
            </p:cNvPr>
            <p:cNvSpPr/>
            <p:nvPr/>
          </p:nvSpPr>
          <p:spPr>
            <a:xfrm>
              <a:off x="6280010" y="5183323"/>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3 w 36099"/>
                <a:gd name="connsiteY6" fmla="*/ 6981 h 17597"/>
                <a:gd name="connsiteX7" fmla="*/ 35763 w 36099"/>
                <a:gd name="connsiteY7" fmla="*/ -163 h 17597"/>
                <a:gd name="connsiteX8" fmla="*/ 34144 w 36099"/>
                <a:gd name="connsiteY8" fmla="*/ 2123 h 17597"/>
                <a:gd name="connsiteX9" fmla="*/ 31858 w 36099"/>
                <a:gd name="connsiteY9" fmla="*/ 3457 h 17597"/>
                <a:gd name="connsiteX10" fmla="*/ 21571 w 36099"/>
                <a:gd name="connsiteY10" fmla="*/ 9362 h 17597"/>
                <a:gd name="connsiteX11" fmla="*/ 13856 w 36099"/>
                <a:gd name="connsiteY11" fmla="*/ 9362 h 17597"/>
                <a:gd name="connsiteX12" fmla="*/ 3569 w 36099"/>
                <a:gd name="connsiteY12" fmla="*/ 3457 h 17597"/>
                <a:gd name="connsiteX13" fmla="*/ 1283 w 36099"/>
                <a:gd name="connsiteY13" fmla="*/ 2123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03" y="8029"/>
                    <a:pt x="407" y="8857"/>
                    <a:pt x="1283" y="9267"/>
                  </a:cubicBezTo>
                  <a:lnTo>
                    <a:pt x="13856" y="16506"/>
                  </a:lnTo>
                  <a:cubicBezTo>
                    <a:pt x="16275" y="17744"/>
                    <a:pt x="19152" y="17744"/>
                    <a:pt x="21571" y="16506"/>
                  </a:cubicBezTo>
                  <a:lnTo>
                    <a:pt x="34144" y="9267"/>
                  </a:lnTo>
                  <a:cubicBezTo>
                    <a:pt x="35030" y="8829"/>
                    <a:pt x="35639" y="7962"/>
                    <a:pt x="35763" y="6981"/>
                  </a:cubicBezTo>
                  <a:lnTo>
                    <a:pt x="35763" y="-163"/>
                  </a:lnTo>
                  <a:cubicBezTo>
                    <a:pt x="35659" y="828"/>
                    <a:pt x="35049" y="1695"/>
                    <a:pt x="34144" y="2123"/>
                  </a:cubicBezTo>
                  <a:lnTo>
                    <a:pt x="31858" y="3457"/>
                  </a:lnTo>
                  <a:lnTo>
                    <a:pt x="21571" y="9362"/>
                  </a:lnTo>
                  <a:cubicBezTo>
                    <a:pt x="19152" y="10601"/>
                    <a:pt x="16275" y="10601"/>
                    <a:pt x="13856" y="9362"/>
                  </a:cubicBezTo>
                  <a:lnTo>
                    <a:pt x="3569" y="3457"/>
                  </a:lnTo>
                  <a:lnTo>
                    <a:pt x="1283" y="2123"/>
                  </a:lnTo>
                  <a:cubicBezTo>
                    <a:pt x="378" y="1695"/>
                    <a:pt x="-232"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221" name="ïsľide">
              <a:extLst>
                <a:ext uri="{FF2B5EF4-FFF2-40B4-BE49-F238E27FC236}">
                  <a16:creationId xmlns:a16="http://schemas.microsoft.com/office/drawing/2014/main" id="{0E8D3A8F-4B2B-410C-BD03-2E080BB1CFE3}"/>
                </a:ext>
              </a:extLst>
            </p:cNvPr>
            <p:cNvSpPr/>
            <p:nvPr/>
          </p:nvSpPr>
          <p:spPr>
            <a:xfrm>
              <a:off x="6357423" y="5196153"/>
              <a:ext cx="109594" cy="63639"/>
            </a:xfrm>
            <a:custGeom>
              <a:avLst/>
              <a:gdLst>
                <a:gd name="connsiteX0" fmla="*/ -336 w 36004"/>
                <a:gd name="connsiteY0" fmla="*/ 10291 h 20907"/>
                <a:gd name="connsiteX1" fmla="*/ 1188 w 36004"/>
                <a:gd name="connsiteY1" fmla="*/ 12577 h 20907"/>
                <a:gd name="connsiteX2" fmla="*/ 3569 w 36004"/>
                <a:gd name="connsiteY2" fmla="*/ 13910 h 20907"/>
                <a:gd name="connsiteX3" fmla="*/ 13856 w 36004"/>
                <a:gd name="connsiteY3" fmla="*/ 19816 h 20907"/>
                <a:gd name="connsiteX4" fmla="*/ 21476 w 36004"/>
                <a:gd name="connsiteY4" fmla="*/ 19816 h 20907"/>
                <a:gd name="connsiteX5" fmla="*/ 31763 w 36004"/>
                <a:gd name="connsiteY5" fmla="*/ 13910 h 20907"/>
                <a:gd name="connsiteX6" fmla="*/ 34144 w 36004"/>
                <a:gd name="connsiteY6" fmla="*/ 12577 h 20907"/>
                <a:gd name="connsiteX7" fmla="*/ 35668 w 36004"/>
                <a:gd name="connsiteY7" fmla="*/ 10291 h 20907"/>
                <a:gd name="connsiteX8" fmla="*/ 34144 w 36004"/>
                <a:gd name="connsiteY8" fmla="*/ 8100 h 20907"/>
                <a:gd name="connsiteX9" fmla="*/ 21476 w 36004"/>
                <a:gd name="connsiteY9" fmla="*/ 766 h 20907"/>
                <a:gd name="connsiteX10" fmla="*/ 13856 w 36004"/>
                <a:gd name="connsiteY10" fmla="*/ 766 h 20907"/>
                <a:gd name="connsiteX11" fmla="*/ 1188 w 36004"/>
                <a:gd name="connsiteY11" fmla="*/ 8100 h 20907"/>
                <a:gd name="connsiteX12" fmla="*/ -336 w 36004"/>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907">
                  <a:moveTo>
                    <a:pt x="-336" y="10291"/>
                  </a:moveTo>
                  <a:cubicBezTo>
                    <a:pt x="-269" y="11272"/>
                    <a:pt x="312" y="12139"/>
                    <a:pt x="1188" y="12577"/>
                  </a:cubicBezTo>
                  <a:lnTo>
                    <a:pt x="3569" y="13910"/>
                  </a:lnTo>
                  <a:lnTo>
                    <a:pt x="13856" y="19816"/>
                  </a:lnTo>
                  <a:cubicBezTo>
                    <a:pt x="16247" y="21054"/>
                    <a:pt x="19085" y="21054"/>
                    <a:pt x="21476" y="19816"/>
                  </a:cubicBezTo>
                  <a:lnTo>
                    <a:pt x="31763" y="13910"/>
                  </a:lnTo>
                  <a:lnTo>
                    <a:pt x="34144" y="12577"/>
                  </a:lnTo>
                  <a:cubicBezTo>
                    <a:pt x="35021" y="12139"/>
                    <a:pt x="35602" y="11272"/>
                    <a:pt x="35668" y="10291"/>
                  </a:cubicBezTo>
                  <a:cubicBezTo>
                    <a:pt x="35611" y="9339"/>
                    <a:pt x="35021" y="8491"/>
                    <a:pt x="34144" y="8100"/>
                  </a:cubicBezTo>
                  <a:lnTo>
                    <a:pt x="21476" y="766"/>
                  </a:lnTo>
                  <a:cubicBezTo>
                    <a:pt x="19085" y="-472"/>
                    <a:pt x="16247" y="-472"/>
                    <a:pt x="13856" y="766"/>
                  </a:cubicBezTo>
                  <a:lnTo>
                    <a:pt x="1188" y="8100"/>
                  </a:lnTo>
                  <a:cubicBezTo>
                    <a:pt x="312" y="8491"/>
                    <a:pt x="-279"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222" name="i$ļiḑê">
              <a:extLst>
                <a:ext uri="{FF2B5EF4-FFF2-40B4-BE49-F238E27FC236}">
                  <a16:creationId xmlns:a16="http://schemas.microsoft.com/office/drawing/2014/main" id="{5BD6D675-D3BF-4F11-B0E5-796C93EF6565}"/>
                </a:ext>
              </a:extLst>
            </p:cNvPr>
            <p:cNvSpPr/>
            <p:nvPr/>
          </p:nvSpPr>
          <p:spPr>
            <a:xfrm>
              <a:off x="6359234" y="5197313"/>
              <a:ext cx="105898" cy="61104"/>
            </a:xfrm>
            <a:custGeom>
              <a:avLst/>
              <a:gdLst>
                <a:gd name="connsiteX0" fmla="*/ 1164 w 34790"/>
                <a:gd name="connsiteY0" fmla="*/ 12006 h 20074"/>
                <a:gd name="connsiteX1" fmla="*/ 13356 w 34790"/>
                <a:gd name="connsiteY1" fmla="*/ 19054 h 20074"/>
                <a:gd name="connsiteX2" fmla="*/ 20785 w 34790"/>
                <a:gd name="connsiteY2" fmla="*/ 19054 h 20074"/>
                <a:gd name="connsiteX3" fmla="*/ 32882 w 34790"/>
                <a:gd name="connsiteY3" fmla="*/ 12006 h 20074"/>
                <a:gd name="connsiteX4" fmla="*/ 32882 w 34790"/>
                <a:gd name="connsiteY4" fmla="*/ 7719 h 20074"/>
                <a:gd name="connsiteX5" fmla="*/ 20785 w 34790"/>
                <a:gd name="connsiteY5" fmla="*/ 766 h 20074"/>
                <a:gd name="connsiteX6" fmla="*/ 13356 w 34790"/>
                <a:gd name="connsiteY6" fmla="*/ 766 h 20074"/>
                <a:gd name="connsiteX7" fmla="*/ 1164 w 34790"/>
                <a:gd name="connsiteY7" fmla="*/ 7719 h 20074"/>
                <a:gd name="connsiteX8" fmla="*/ 1164 w 34790"/>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4">
                  <a:moveTo>
                    <a:pt x="1164" y="12006"/>
                  </a:moveTo>
                  <a:lnTo>
                    <a:pt x="13356" y="19054"/>
                  </a:lnTo>
                  <a:cubicBezTo>
                    <a:pt x="15699" y="20197"/>
                    <a:pt x="18442" y="20197"/>
                    <a:pt x="20785" y="19054"/>
                  </a:cubicBezTo>
                  <a:lnTo>
                    <a:pt x="32882" y="12006"/>
                  </a:lnTo>
                  <a:cubicBezTo>
                    <a:pt x="34978" y="10863"/>
                    <a:pt x="34978" y="8958"/>
                    <a:pt x="32882" y="7719"/>
                  </a:cubicBezTo>
                  <a:lnTo>
                    <a:pt x="20785" y="766"/>
                  </a:lnTo>
                  <a:cubicBezTo>
                    <a:pt x="18461" y="-472"/>
                    <a:pt x="15680" y="-472"/>
                    <a:pt x="13356" y="766"/>
                  </a:cubicBezTo>
                  <a:lnTo>
                    <a:pt x="1164" y="7719"/>
                  </a:lnTo>
                  <a:cubicBezTo>
                    <a:pt x="-836" y="8958"/>
                    <a:pt x="-836" y="10863"/>
                    <a:pt x="1164" y="12006"/>
                  </a:cubicBezTo>
                  <a:close/>
                </a:path>
              </a:pathLst>
            </a:custGeom>
            <a:solidFill>
              <a:srgbClr val="D1D9E8"/>
            </a:solidFill>
            <a:ln w="9525" cap="flat">
              <a:noFill/>
              <a:prstDash val="solid"/>
              <a:miter/>
            </a:ln>
          </p:spPr>
          <p:txBody>
            <a:bodyPr rtlCol="0" anchor="ctr"/>
            <a:lstStyle/>
            <a:p>
              <a:endParaRPr lang="zh-CN" altLang="en-US"/>
            </a:p>
          </p:txBody>
        </p:sp>
        <p:sp>
          <p:nvSpPr>
            <p:cNvPr id="223" name="íṡḻïďê">
              <a:extLst>
                <a:ext uri="{FF2B5EF4-FFF2-40B4-BE49-F238E27FC236}">
                  <a16:creationId xmlns:a16="http://schemas.microsoft.com/office/drawing/2014/main" id="{829157CB-832F-4E57-8B55-D54AEFA558F4}"/>
                </a:ext>
              </a:extLst>
            </p:cNvPr>
            <p:cNvSpPr/>
            <p:nvPr/>
          </p:nvSpPr>
          <p:spPr>
            <a:xfrm>
              <a:off x="6357423" y="5227971"/>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4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4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20"/>
                    <a:pt x="35582" y="7953"/>
                    <a:pt x="35668" y="6981"/>
                  </a:cubicBezTo>
                  <a:lnTo>
                    <a:pt x="35668" y="-163"/>
                  </a:lnTo>
                  <a:cubicBezTo>
                    <a:pt x="35602" y="819"/>
                    <a:pt x="35021" y="1685"/>
                    <a:pt x="34144" y="2124"/>
                  </a:cubicBezTo>
                  <a:lnTo>
                    <a:pt x="31763" y="3457"/>
                  </a:lnTo>
                  <a:lnTo>
                    <a:pt x="21476" y="9362"/>
                  </a:lnTo>
                  <a:cubicBezTo>
                    <a:pt x="19085" y="10601"/>
                    <a:pt x="16247" y="10601"/>
                    <a:pt x="13856" y="9362"/>
                  </a:cubicBezTo>
                  <a:lnTo>
                    <a:pt x="3569" y="3457"/>
                  </a:lnTo>
                  <a:lnTo>
                    <a:pt x="1188" y="2124"/>
                  </a:lnTo>
                  <a:cubicBezTo>
                    <a:pt x="312" y="1685"/>
                    <a:pt x="-269" y="819"/>
                    <a:pt x="-336" y="-163"/>
                  </a:cubicBezTo>
                  <a:close/>
                </a:path>
              </a:pathLst>
            </a:custGeom>
            <a:solidFill>
              <a:srgbClr val="BF4200"/>
            </a:solidFill>
            <a:ln w="9525" cap="flat">
              <a:noFill/>
              <a:prstDash val="solid"/>
              <a:miter/>
            </a:ln>
          </p:spPr>
          <p:txBody>
            <a:bodyPr rtlCol="0" anchor="ctr"/>
            <a:lstStyle/>
            <a:p>
              <a:endParaRPr lang="zh-CN" altLang="en-US"/>
            </a:p>
          </p:txBody>
        </p:sp>
        <p:sp>
          <p:nvSpPr>
            <p:cNvPr id="224" name="i$ḻíḓè">
              <a:extLst>
                <a:ext uri="{FF2B5EF4-FFF2-40B4-BE49-F238E27FC236}">
                  <a16:creationId xmlns:a16="http://schemas.microsoft.com/office/drawing/2014/main" id="{B4DFA4A1-FB6F-484A-A768-4889FBD7F3BB}"/>
                </a:ext>
              </a:extLst>
            </p:cNvPr>
            <p:cNvSpPr/>
            <p:nvPr/>
          </p:nvSpPr>
          <p:spPr>
            <a:xfrm>
              <a:off x="6434544" y="5240801"/>
              <a:ext cx="109883" cy="63588"/>
            </a:xfrm>
            <a:custGeom>
              <a:avLst/>
              <a:gdLst>
                <a:gd name="connsiteX0" fmla="*/ -336 w 36099"/>
                <a:gd name="connsiteY0" fmla="*/ 10291 h 20890"/>
                <a:gd name="connsiteX1" fmla="*/ 1283 w 36099"/>
                <a:gd name="connsiteY1" fmla="*/ 12577 h 20890"/>
                <a:gd name="connsiteX2" fmla="*/ 3569 w 36099"/>
                <a:gd name="connsiteY2" fmla="*/ 13911 h 20890"/>
                <a:gd name="connsiteX3" fmla="*/ 13856 w 36099"/>
                <a:gd name="connsiteY3" fmla="*/ 19721 h 20890"/>
                <a:gd name="connsiteX4" fmla="*/ 21571 w 36099"/>
                <a:gd name="connsiteY4" fmla="*/ 19721 h 20890"/>
                <a:gd name="connsiteX5" fmla="*/ 31858 w 36099"/>
                <a:gd name="connsiteY5" fmla="*/ 13911 h 20890"/>
                <a:gd name="connsiteX6" fmla="*/ 34144 w 36099"/>
                <a:gd name="connsiteY6" fmla="*/ 12577 h 20890"/>
                <a:gd name="connsiteX7" fmla="*/ 35764 w 36099"/>
                <a:gd name="connsiteY7" fmla="*/ 10291 h 20890"/>
                <a:gd name="connsiteX8" fmla="*/ 34144 w 36099"/>
                <a:gd name="connsiteY8" fmla="*/ 8101 h 20890"/>
                <a:gd name="connsiteX9" fmla="*/ 21571 w 36099"/>
                <a:gd name="connsiteY9" fmla="*/ 766 h 20890"/>
                <a:gd name="connsiteX10" fmla="*/ 13856 w 36099"/>
                <a:gd name="connsiteY10" fmla="*/ 766 h 20890"/>
                <a:gd name="connsiteX11" fmla="*/ 1283 w 36099"/>
                <a:gd name="connsiteY11" fmla="*/ 8101 h 20890"/>
                <a:gd name="connsiteX12" fmla="*/ -336 w 36099"/>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99" h="20890">
                  <a:moveTo>
                    <a:pt x="-336" y="10291"/>
                  </a:moveTo>
                  <a:cubicBezTo>
                    <a:pt x="-269" y="11301"/>
                    <a:pt x="359" y="12187"/>
                    <a:pt x="1283" y="12577"/>
                  </a:cubicBezTo>
                  <a:lnTo>
                    <a:pt x="3569" y="13911"/>
                  </a:lnTo>
                  <a:lnTo>
                    <a:pt x="13856" y="19721"/>
                  </a:lnTo>
                  <a:cubicBezTo>
                    <a:pt x="16256" y="21064"/>
                    <a:pt x="19171" y="21064"/>
                    <a:pt x="21571" y="19721"/>
                  </a:cubicBezTo>
                  <a:lnTo>
                    <a:pt x="31858" y="13911"/>
                  </a:lnTo>
                  <a:lnTo>
                    <a:pt x="34144" y="12577"/>
                  </a:lnTo>
                  <a:cubicBezTo>
                    <a:pt x="35049" y="12149"/>
                    <a:pt x="35659" y="11282"/>
                    <a:pt x="35764" y="10291"/>
                  </a:cubicBezTo>
                  <a:cubicBezTo>
                    <a:pt x="35649" y="9329"/>
                    <a:pt x="35030" y="8491"/>
                    <a:pt x="34144" y="8101"/>
                  </a:cubicBezTo>
                  <a:lnTo>
                    <a:pt x="21571" y="766"/>
                  </a:lnTo>
                  <a:cubicBezTo>
                    <a:pt x="19152" y="-472"/>
                    <a:pt x="16275" y="-472"/>
                    <a:pt x="13856" y="766"/>
                  </a:cubicBezTo>
                  <a:lnTo>
                    <a:pt x="1283" y="8101"/>
                  </a:lnTo>
                  <a:cubicBezTo>
                    <a:pt x="369" y="8462"/>
                    <a:pt x="-260" y="9310"/>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225" name="íśḻíḑe">
              <a:extLst>
                <a:ext uri="{FF2B5EF4-FFF2-40B4-BE49-F238E27FC236}">
                  <a16:creationId xmlns:a16="http://schemas.microsoft.com/office/drawing/2014/main" id="{29F185F6-81EC-4BAE-A6B9-A47C90BB9020}"/>
                </a:ext>
              </a:extLst>
            </p:cNvPr>
            <p:cNvSpPr/>
            <p:nvPr/>
          </p:nvSpPr>
          <p:spPr>
            <a:xfrm>
              <a:off x="6436428" y="5241961"/>
              <a:ext cx="105898" cy="61101"/>
            </a:xfrm>
            <a:custGeom>
              <a:avLst/>
              <a:gdLst>
                <a:gd name="connsiteX0" fmla="*/ 1235 w 34790"/>
                <a:gd name="connsiteY0" fmla="*/ 12006 h 20073"/>
                <a:gd name="connsiteX1" fmla="*/ 13332 w 34790"/>
                <a:gd name="connsiteY1" fmla="*/ 19054 h 20073"/>
                <a:gd name="connsiteX2" fmla="*/ 20761 w 34790"/>
                <a:gd name="connsiteY2" fmla="*/ 19054 h 20073"/>
                <a:gd name="connsiteX3" fmla="*/ 32953 w 34790"/>
                <a:gd name="connsiteY3" fmla="*/ 12006 h 20073"/>
                <a:gd name="connsiteX4" fmla="*/ 32953 w 34790"/>
                <a:gd name="connsiteY4" fmla="*/ 7719 h 20073"/>
                <a:gd name="connsiteX5" fmla="*/ 20761 w 34790"/>
                <a:gd name="connsiteY5" fmla="*/ 766 h 20073"/>
                <a:gd name="connsiteX6" fmla="*/ 13332 w 34790"/>
                <a:gd name="connsiteY6" fmla="*/ 766 h 20073"/>
                <a:gd name="connsiteX7" fmla="*/ 1235 w 34790"/>
                <a:gd name="connsiteY7" fmla="*/ 7719 h 20073"/>
                <a:gd name="connsiteX8" fmla="*/ 1235 w 34790"/>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3">
                  <a:moveTo>
                    <a:pt x="1235" y="12006"/>
                  </a:moveTo>
                  <a:lnTo>
                    <a:pt x="13332" y="19054"/>
                  </a:lnTo>
                  <a:cubicBezTo>
                    <a:pt x="15675" y="20197"/>
                    <a:pt x="18418" y="20197"/>
                    <a:pt x="20761" y="19054"/>
                  </a:cubicBezTo>
                  <a:lnTo>
                    <a:pt x="32953" y="12006"/>
                  </a:lnTo>
                  <a:cubicBezTo>
                    <a:pt x="34954" y="10863"/>
                    <a:pt x="34954" y="8957"/>
                    <a:pt x="32953" y="7719"/>
                  </a:cubicBezTo>
                  <a:lnTo>
                    <a:pt x="20761" y="766"/>
                  </a:lnTo>
                  <a:cubicBezTo>
                    <a:pt x="18437" y="-472"/>
                    <a:pt x="15656" y="-472"/>
                    <a:pt x="13332" y="766"/>
                  </a:cubicBezTo>
                  <a:lnTo>
                    <a:pt x="1235" y="7719"/>
                  </a:lnTo>
                  <a:cubicBezTo>
                    <a:pt x="-860" y="8957"/>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226" name="îṩ1iḑè">
              <a:extLst>
                <a:ext uri="{FF2B5EF4-FFF2-40B4-BE49-F238E27FC236}">
                  <a16:creationId xmlns:a16="http://schemas.microsoft.com/office/drawing/2014/main" id="{007750FB-BCC9-48B9-AC83-314A6A8E7D4E}"/>
                </a:ext>
              </a:extLst>
            </p:cNvPr>
            <p:cNvSpPr/>
            <p:nvPr/>
          </p:nvSpPr>
          <p:spPr>
            <a:xfrm>
              <a:off x="6434544" y="5272623"/>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4 w 36099"/>
                <a:gd name="connsiteY6" fmla="*/ 6981 h 17597"/>
                <a:gd name="connsiteX7" fmla="*/ 35764 w 36099"/>
                <a:gd name="connsiteY7" fmla="*/ -163 h 17597"/>
                <a:gd name="connsiteX8" fmla="*/ 34144 w 36099"/>
                <a:gd name="connsiteY8" fmla="*/ 2123 h 17597"/>
                <a:gd name="connsiteX9" fmla="*/ 31858 w 36099"/>
                <a:gd name="connsiteY9" fmla="*/ 3457 h 17597"/>
                <a:gd name="connsiteX10" fmla="*/ 21571 w 36099"/>
                <a:gd name="connsiteY10" fmla="*/ 9267 h 17597"/>
                <a:gd name="connsiteX11" fmla="*/ 13856 w 36099"/>
                <a:gd name="connsiteY11" fmla="*/ 9267 h 17597"/>
                <a:gd name="connsiteX12" fmla="*/ 3569 w 36099"/>
                <a:gd name="connsiteY12" fmla="*/ 3457 h 17597"/>
                <a:gd name="connsiteX13" fmla="*/ 1283 w 36099"/>
                <a:gd name="connsiteY13" fmla="*/ 2123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41" y="8048"/>
                    <a:pt x="378" y="8886"/>
                    <a:pt x="1283" y="9267"/>
                  </a:cubicBezTo>
                  <a:lnTo>
                    <a:pt x="13856" y="16506"/>
                  </a:lnTo>
                  <a:cubicBezTo>
                    <a:pt x="16275" y="17744"/>
                    <a:pt x="19152" y="17744"/>
                    <a:pt x="21571" y="16506"/>
                  </a:cubicBezTo>
                  <a:lnTo>
                    <a:pt x="34144" y="9267"/>
                  </a:lnTo>
                  <a:cubicBezTo>
                    <a:pt x="35030" y="8829"/>
                    <a:pt x="35640" y="7962"/>
                    <a:pt x="35764" y="6981"/>
                  </a:cubicBezTo>
                  <a:lnTo>
                    <a:pt x="35764" y="-163"/>
                  </a:lnTo>
                  <a:cubicBezTo>
                    <a:pt x="35659" y="828"/>
                    <a:pt x="35049" y="1695"/>
                    <a:pt x="34144" y="2123"/>
                  </a:cubicBezTo>
                  <a:lnTo>
                    <a:pt x="31858" y="3457"/>
                  </a:lnTo>
                  <a:lnTo>
                    <a:pt x="21571" y="9267"/>
                  </a:lnTo>
                  <a:cubicBezTo>
                    <a:pt x="19171" y="10610"/>
                    <a:pt x="16256" y="10610"/>
                    <a:pt x="13856" y="9267"/>
                  </a:cubicBezTo>
                  <a:lnTo>
                    <a:pt x="3569" y="3457"/>
                  </a:lnTo>
                  <a:lnTo>
                    <a:pt x="1283" y="2123"/>
                  </a:lnTo>
                  <a:cubicBezTo>
                    <a:pt x="359" y="1733"/>
                    <a:pt x="-269" y="847"/>
                    <a:pt x="-336" y="-163"/>
                  </a:cubicBezTo>
                  <a:close/>
                </a:path>
              </a:pathLst>
            </a:custGeom>
            <a:solidFill>
              <a:srgbClr val="BF4200"/>
            </a:solidFill>
            <a:ln w="9525" cap="flat">
              <a:noFill/>
              <a:prstDash val="solid"/>
              <a:miter/>
            </a:ln>
          </p:spPr>
          <p:txBody>
            <a:bodyPr rtlCol="0" anchor="ctr"/>
            <a:lstStyle/>
            <a:p>
              <a:endParaRPr lang="zh-CN" altLang="en-US"/>
            </a:p>
          </p:txBody>
        </p:sp>
        <p:sp>
          <p:nvSpPr>
            <p:cNvPr id="227" name="ïSḷídè">
              <a:extLst>
                <a:ext uri="{FF2B5EF4-FFF2-40B4-BE49-F238E27FC236}">
                  <a16:creationId xmlns:a16="http://schemas.microsoft.com/office/drawing/2014/main" id="{754F70CE-B492-493E-B547-92AB5AEEDAF7}"/>
                </a:ext>
              </a:extLst>
            </p:cNvPr>
            <p:cNvSpPr/>
            <p:nvPr/>
          </p:nvSpPr>
          <p:spPr>
            <a:xfrm>
              <a:off x="5235377" y="4638898"/>
              <a:ext cx="109594" cy="63639"/>
            </a:xfrm>
            <a:custGeom>
              <a:avLst/>
              <a:gdLst>
                <a:gd name="connsiteX0" fmla="*/ -336 w 36004"/>
                <a:gd name="connsiteY0" fmla="*/ 10291 h 20907"/>
                <a:gd name="connsiteX1" fmla="*/ 1188 w 36004"/>
                <a:gd name="connsiteY1" fmla="*/ 12577 h 20907"/>
                <a:gd name="connsiteX2" fmla="*/ 3569 w 36004"/>
                <a:gd name="connsiteY2" fmla="*/ 13910 h 20907"/>
                <a:gd name="connsiteX3" fmla="*/ 13856 w 36004"/>
                <a:gd name="connsiteY3" fmla="*/ 19816 h 20907"/>
                <a:gd name="connsiteX4" fmla="*/ 21476 w 36004"/>
                <a:gd name="connsiteY4" fmla="*/ 19816 h 20907"/>
                <a:gd name="connsiteX5" fmla="*/ 31763 w 36004"/>
                <a:gd name="connsiteY5" fmla="*/ 13910 h 20907"/>
                <a:gd name="connsiteX6" fmla="*/ 34144 w 36004"/>
                <a:gd name="connsiteY6" fmla="*/ 12577 h 20907"/>
                <a:gd name="connsiteX7" fmla="*/ 35668 w 36004"/>
                <a:gd name="connsiteY7" fmla="*/ 10291 h 20907"/>
                <a:gd name="connsiteX8" fmla="*/ 34144 w 36004"/>
                <a:gd name="connsiteY8" fmla="*/ 8100 h 20907"/>
                <a:gd name="connsiteX9" fmla="*/ 21476 w 36004"/>
                <a:gd name="connsiteY9" fmla="*/ 766 h 20907"/>
                <a:gd name="connsiteX10" fmla="*/ 13856 w 36004"/>
                <a:gd name="connsiteY10" fmla="*/ 766 h 20907"/>
                <a:gd name="connsiteX11" fmla="*/ 1188 w 36004"/>
                <a:gd name="connsiteY11" fmla="*/ 8100 h 20907"/>
                <a:gd name="connsiteX12" fmla="*/ -336 w 36004"/>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907">
                  <a:moveTo>
                    <a:pt x="-336" y="10291"/>
                  </a:moveTo>
                  <a:cubicBezTo>
                    <a:pt x="-270" y="11272"/>
                    <a:pt x="311" y="12139"/>
                    <a:pt x="1188" y="12577"/>
                  </a:cubicBezTo>
                  <a:lnTo>
                    <a:pt x="3569" y="13910"/>
                  </a:lnTo>
                  <a:lnTo>
                    <a:pt x="13856" y="19816"/>
                  </a:lnTo>
                  <a:cubicBezTo>
                    <a:pt x="16247" y="21054"/>
                    <a:pt x="19085" y="21054"/>
                    <a:pt x="21476" y="19816"/>
                  </a:cubicBezTo>
                  <a:lnTo>
                    <a:pt x="31763" y="13910"/>
                  </a:lnTo>
                  <a:lnTo>
                    <a:pt x="34144" y="12577"/>
                  </a:lnTo>
                  <a:cubicBezTo>
                    <a:pt x="35020" y="12139"/>
                    <a:pt x="35601" y="11272"/>
                    <a:pt x="35668" y="10291"/>
                  </a:cubicBezTo>
                  <a:cubicBezTo>
                    <a:pt x="35611" y="9339"/>
                    <a:pt x="35020" y="8491"/>
                    <a:pt x="34144" y="8100"/>
                  </a:cubicBezTo>
                  <a:lnTo>
                    <a:pt x="21476" y="766"/>
                  </a:lnTo>
                  <a:cubicBezTo>
                    <a:pt x="19085" y="-472"/>
                    <a:pt x="16247" y="-472"/>
                    <a:pt x="13856" y="766"/>
                  </a:cubicBezTo>
                  <a:lnTo>
                    <a:pt x="1188" y="8100"/>
                  </a:lnTo>
                  <a:cubicBezTo>
                    <a:pt x="311" y="8491"/>
                    <a:pt x="-279"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228" name="iṧļîḓê">
              <a:extLst>
                <a:ext uri="{FF2B5EF4-FFF2-40B4-BE49-F238E27FC236}">
                  <a16:creationId xmlns:a16="http://schemas.microsoft.com/office/drawing/2014/main" id="{CB9346D8-752C-421C-B36A-199E1AC0E3B7}"/>
                </a:ext>
              </a:extLst>
            </p:cNvPr>
            <p:cNvSpPr/>
            <p:nvPr/>
          </p:nvSpPr>
          <p:spPr>
            <a:xfrm>
              <a:off x="5237334" y="4640058"/>
              <a:ext cx="106330" cy="61104"/>
            </a:xfrm>
            <a:custGeom>
              <a:avLst/>
              <a:gdLst>
                <a:gd name="connsiteX0" fmla="*/ 1307 w 34932"/>
                <a:gd name="connsiteY0" fmla="*/ 12006 h 20074"/>
                <a:gd name="connsiteX1" fmla="*/ 13499 w 34932"/>
                <a:gd name="connsiteY1" fmla="*/ 19054 h 20074"/>
                <a:gd name="connsiteX2" fmla="*/ 20928 w 34932"/>
                <a:gd name="connsiteY2" fmla="*/ 19054 h 20074"/>
                <a:gd name="connsiteX3" fmla="*/ 33025 w 34932"/>
                <a:gd name="connsiteY3" fmla="*/ 12006 h 20074"/>
                <a:gd name="connsiteX4" fmla="*/ 33025 w 34932"/>
                <a:gd name="connsiteY4" fmla="*/ 7719 h 20074"/>
                <a:gd name="connsiteX5" fmla="*/ 20928 w 34932"/>
                <a:gd name="connsiteY5" fmla="*/ 766 h 20074"/>
                <a:gd name="connsiteX6" fmla="*/ 13499 w 34932"/>
                <a:gd name="connsiteY6" fmla="*/ 766 h 20074"/>
                <a:gd name="connsiteX7" fmla="*/ 1307 w 34932"/>
                <a:gd name="connsiteY7" fmla="*/ 7719 h 20074"/>
                <a:gd name="connsiteX8" fmla="*/ 1307 w 34932"/>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932" h="20074">
                  <a:moveTo>
                    <a:pt x="1307" y="12006"/>
                  </a:moveTo>
                  <a:lnTo>
                    <a:pt x="13499" y="19054"/>
                  </a:lnTo>
                  <a:cubicBezTo>
                    <a:pt x="15842" y="20197"/>
                    <a:pt x="18585" y="20197"/>
                    <a:pt x="20928" y="19054"/>
                  </a:cubicBezTo>
                  <a:lnTo>
                    <a:pt x="33025" y="12006"/>
                  </a:lnTo>
                  <a:cubicBezTo>
                    <a:pt x="35120" y="10863"/>
                    <a:pt x="35120" y="8958"/>
                    <a:pt x="33025" y="7719"/>
                  </a:cubicBezTo>
                  <a:lnTo>
                    <a:pt x="20928" y="766"/>
                  </a:lnTo>
                  <a:cubicBezTo>
                    <a:pt x="18604" y="-472"/>
                    <a:pt x="15823" y="-472"/>
                    <a:pt x="13499" y="766"/>
                  </a:cubicBezTo>
                  <a:lnTo>
                    <a:pt x="1307" y="7719"/>
                  </a:lnTo>
                  <a:cubicBezTo>
                    <a:pt x="-884" y="8958"/>
                    <a:pt x="-884" y="10863"/>
                    <a:pt x="1307" y="12006"/>
                  </a:cubicBezTo>
                  <a:close/>
                </a:path>
              </a:pathLst>
            </a:custGeom>
            <a:solidFill>
              <a:srgbClr val="D1D9E8"/>
            </a:solidFill>
            <a:ln w="9525" cap="flat">
              <a:noFill/>
              <a:prstDash val="solid"/>
              <a:miter/>
            </a:ln>
          </p:spPr>
          <p:txBody>
            <a:bodyPr rtlCol="0" anchor="ctr"/>
            <a:lstStyle/>
            <a:p>
              <a:endParaRPr lang="zh-CN" altLang="en-US"/>
            </a:p>
          </p:txBody>
        </p:sp>
        <p:sp>
          <p:nvSpPr>
            <p:cNvPr id="229" name="ïṣļîḋé">
              <a:extLst>
                <a:ext uri="{FF2B5EF4-FFF2-40B4-BE49-F238E27FC236}">
                  <a16:creationId xmlns:a16="http://schemas.microsoft.com/office/drawing/2014/main" id="{4EF7BB32-D9D1-427A-9D31-A111267C93FB}"/>
                </a:ext>
              </a:extLst>
            </p:cNvPr>
            <p:cNvSpPr/>
            <p:nvPr/>
          </p:nvSpPr>
          <p:spPr>
            <a:xfrm>
              <a:off x="5235377" y="4670720"/>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4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4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20"/>
                    <a:pt x="35582" y="7953"/>
                    <a:pt x="35668" y="6981"/>
                  </a:cubicBezTo>
                  <a:lnTo>
                    <a:pt x="35668" y="-163"/>
                  </a:lnTo>
                  <a:cubicBezTo>
                    <a:pt x="35601" y="819"/>
                    <a:pt x="35020" y="1685"/>
                    <a:pt x="34144" y="2124"/>
                  </a:cubicBezTo>
                  <a:lnTo>
                    <a:pt x="31763" y="3457"/>
                  </a:lnTo>
                  <a:lnTo>
                    <a:pt x="21476" y="9362"/>
                  </a:lnTo>
                  <a:cubicBezTo>
                    <a:pt x="19085" y="10601"/>
                    <a:pt x="16247" y="10601"/>
                    <a:pt x="13856" y="9362"/>
                  </a:cubicBezTo>
                  <a:lnTo>
                    <a:pt x="3569" y="3457"/>
                  </a:lnTo>
                  <a:lnTo>
                    <a:pt x="1188" y="2124"/>
                  </a:lnTo>
                  <a:cubicBezTo>
                    <a:pt x="311" y="1685"/>
                    <a:pt x="-270" y="819"/>
                    <a:pt x="-336" y="-163"/>
                  </a:cubicBezTo>
                  <a:close/>
                </a:path>
              </a:pathLst>
            </a:custGeom>
            <a:solidFill>
              <a:srgbClr val="BF4200"/>
            </a:solidFill>
            <a:ln w="9525" cap="flat">
              <a:noFill/>
              <a:prstDash val="solid"/>
              <a:miter/>
            </a:ln>
          </p:spPr>
          <p:txBody>
            <a:bodyPr rtlCol="0" anchor="ctr"/>
            <a:lstStyle/>
            <a:p>
              <a:endParaRPr lang="zh-CN" altLang="en-US"/>
            </a:p>
          </p:txBody>
        </p:sp>
        <p:sp>
          <p:nvSpPr>
            <p:cNvPr id="230" name="íṡľiḓê">
              <a:extLst>
                <a:ext uri="{FF2B5EF4-FFF2-40B4-BE49-F238E27FC236}">
                  <a16:creationId xmlns:a16="http://schemas.microsoft.com/office/drawing/2014/main" id="{4DF23103-6862-49BD-8660-50F38EE0FF87}"/>
                </a:ext>
              </a:extLst>
            </p:cNvPr>
            <p:cNvSpPr/>
            <p:nvPr/>
          </p:nvSpPr>
          <p:spPr>
            <a:xfrm>
              <a:off x="5312501" y="4683550"/>
              <a:ext cx="109362" cy="63588"/>
            </a:xfrm>
            <a:custGeom>
              <a:avLst/>
              <a:gdLst>
                <a:gd name="connsiteX0" fmla="*/ -336 w 35928"/>
                <a:gd name="connsiteY0" fmla="*/ 10291 h 20890"/>
                <a:gd name="connsiteX1" fmla="*/ 1283 w 35928"/>
                <a:gd name="connsiteY1" fmla="*/ 12482 h 20890"/>
                <a:gd name="connsiteX2" fmla="*/ 3569 w 35928"/>
                <a:gd name="connsiteY2" fmla="*/ 13911 h 20890"/>
                <a:gd name="connsiteX3" fmla="*/ 13856 w 35928"/>
                <a:gd name="connsiteY3" fmla="*/ 19721 h 20890"/>
                <a:gd name="connsiteX4" fmla="*/ 21571 w 35928"/>
                <a:gd name="connsiteY4" fmla="*/ 19721 h 20890"/>
                <a:gd name="connsiteX5" fmla="*/ 31858 w 35928"/>
                <a:gd name="connsiteY5" fmla="*/ 13911 h 20890"/>
                <a:gd name="connsiteX6" fmla="*/ 34144 w 35928"/>
                <a:gd name="connsiteY6" fmla="*/ 12482 h 20890"/>
                <a:gd name="connsiteX7" fmla="*/ 35401 w 35928"/>
                <a:gd name="connsiteY7" fmla="*/ 9358 h 20890"/>
                <a:gd name="connsiteX8" fmla="*/ 34144 w 35928"/>
                <a:gd name="connsiteY8" fmla="*/ 8101 h 20890"/>
                <a:gd name="connsiteX9" fmla="*/ 21571 w 35928"/>
                <a:gd name="connsiteY9" fmla="*/ 766 h 20890"/>
                <a:gd name="connsiteX10" fmla="*/ 13856 w 35928"/>
                <a:gd name="connsiteY10" fmla="*/ 766 h 20890"/>
                <a:gd name="connsiteX11" fmla="*/ 1283 w 35928"/>
                <a:gd name="connsiteY11" fmla="*/ 8101 h 20890"/>
                <a:gd name="connsiteX12" fmla="*/ -336 w 35928"/>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928" h="20890">
                  <a:moveTo>
                    <a:pt x="-336" y="10291"/>
                  </a:moveTo>
                  <a:cubicBezTo>
                    <a:pt x="-279" y="11282"/>
                    <a:pt x="349" y="12139"/>
                    <a:pt x="1283" y="12482"/>
                  </a:cubicBezTo>
                  <a:lnTo>
                    <a:pt x="3569" y="13911"/>
                  </a:lnTo>
                  <a:lnTo>
                    <a:pt x="13856" y="19721"/>
                  </a:lnTo>
                  <a:cubicBezTo>
                    <a:pt x="16256" y="21064"/>
                    <a:pt x="19171" y="21064"/>
                    <a:pt x="21571" y="19721"/>
                  </a:cubicBezTo>
                  <a:lnTo>
                    <a:pt x="31858" y="13911"/>
                  </a:lnTo>
                  <a:lnTo>
                    <a:pt x="34144" y="12482"/>
                  </a:lnTo>
                  <a:cubicBezTo>
                    <a:pt x="35354" y="11967"/>
                    <a:pt x="35916" y="10567"/>
                    <a:pt x="35401" y="9358"/>
                  </a:cubicBezTo>
                  <a:cubicBezTo>
                    <a:pt x="35163" y="8796"/>
                    <a:pt x="34706" y="8339"/>
                    <a:pt x="34144" y="8101"/>
                  </a:cubicBezTo>
                  <a:lnTo>
                    <a:pt x="21571" y="766"/>
                  </a:lnTo>
                  <a:cubicBezTo>
                    <a:pt x="19152" y="-472"/>
                    <a:pt x="16275" y="-472"/>
                    <a:pt x="13856" y="766"/>
                  </a:cubicBezTo>
                  <a:lnTo>
                    <a:pt x="1283" y="8101"/>
                  </a:lnTo>
                  <a:cubicBezTo>
                    <a:pt x="349" y="8443"/>
                    <a:pt x="-279" y="9300"/>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231" name="iŝḷíḑe">
              <a:extLst>
                <a:ext uri="{FF2B5EF4-FFF2-40B4-BE49-F238E27FC236}">
                  <a16:creationId xmlns:a16="http://schemas.microsoft.com/office/drawing/2014/main" id="{9FBE57A8-3497-4897-9065-E73193432CAB}"/>
                </a:ext>
              </a:extLst>
            </p:cNvPr>
            <p:cNvSpPr/>
            <p:nvPr/>
          </p:nvSpPr>
          <p:spPr>
            <a:xfrm>
              <a:off x="5314385" y="4684710"/>
              <a:ext cx="105898" cy="61101"/>
            </a:xfrm>
            <a:custGeom>
              <a:avLst/>
              <a:gdLst>
                <a:gd name="connsiteX0" fmla="*/ 1235 w 34790"/>
                <a:gd name="connsiteY0" fmla="*/ 12006 h 20073"/>
                <a:gd name="connsiteX1" fmla="*/ 13332 w 34790"/>
                <a:gd name="connsiteY1" fmla="*/ 19054 h 20073"/>
                <a:gd name="connsiteX2" fmla="*/ 20762 w 34790"/>
                <a:gd name="connsiteY2" fmla="*/ 19054 h 20073"/>
                <a:gd name="connsiteX3" fmla="*/ 32954 w 34790"/>
                <a:gd name="connsiteY3" fmla="*/ 12006 h 20073"/>
                <a:gd name="connsiteX4" fmla="*/ 32954 w 34790"/>
                <a:gd name="connsiteY4" fmla="*/ 7719 h 20073"/>
                <a:gd name="connsiteX5" fmla="*/ 20762 w 34790"/>
                <a:gd name="connsiteY5" fmla="*/ 766 h 20073"/>
                <a:gd name="connsiteX6" fmla="*/ 13332 w 34790"/>
                <a:gd name="connsiteY6" fmla="*/ 766 h 20073"/>
                <a:gd name="connsiteX7" fmla="*/ 1235 w 34790"/>
                <a:gd name="connsiteY7" fmla="*/ 7719 h 20073"/>
                <a:gd name="connsiteX8" fmla="*/ 1235 w 34790"/>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3">
                  <a:moveTo>
                    <a:pt x="1235" y="12006"/>
                  </a:moveTo>
                  <a:lnTo>
                    <a:pt x="13332" y="19054"/>
                  </a:lnTo>
                  <a:cubicBezTo>
                    <a:pt x="15675" y="20197"/>
                    <a:pt x="18419" y="20197"/>
                    <a:pt x="20762" y="19054"/>
                  </a:cubicBezTo>
                  <a:lnTo>
                    <a:pt x="32954" y="12006"/>
                  </a:lnTo>
                  <a:cubicBezTo>
                    <a:pt x="34954" y="10863"/>
                    <a:pt x="34954" y="8957"/>
                    <a:pt x="32954" y="7719"/>
                  </a:cubicBezTo>
                  <a:lnTo>
                    <a:pt x="20762" y="766"/>
                  </a:lnTo>
                  <a:cubicBezTo>
                    <a:pt x="18437" y="-472"/>
                    <a:pt x="15656" y="-472"/>
                    <a:pt x="13332" y="766"/>
                  </a:cubicBezTo>
                  <a:lnTo>
                    <a:pt x="1235" y="7719"/>
                  </a:lnTo>
                  <a:cubicBezTo>
                    <a:pt x="-860" y="8957"/>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232" name="ï$ḻîďê">
              <a:extLst>
                <a:ext uri="{FF2B5EF4-FFF2-40B4-BE49-F238E27FC236}">
                  <a16:creationId xmlns:a16="http://schemas.microsoft.com/office/drawing/2014/main" id="{370415FE-2B34-4031-8330-86EB8E371761}"/>
                </a:ext>
              </a:extLst>
            </p:cNvPr>
            <p:cNvSpPr/>
            <p:nvPr/>
          </p:nvSpPr>
          <p:spPr>
            <a:xfrm>
              <a:off x="5312501" y="4715368"/>
              <a:ext cx="109594" cy="53564"/>
            </a:xfrm>
            <a:custGeom>
              <a:avLst/>
              <a:gdLst>
                <a:gd name="connsiteX0" fmla="*/ -336 w 36004"/>
                <a:gd name="connsiteY0" fmla="*/ -163 h 17597"/>
                <a:gd name="connsiteX1" fmla="*/ -336 w 36004"/>
                <a:gd name="connsiteY1" fmla="*/ 7076 h 17597"/>
                <a:gd name="connsiteX2" fmla="*/ 1283 w 36004"/>
                <a:gd name="connsiteY2" fmla="*/ 9267 h 17597"/>
                <a:gd name="connsiteX3" fmla="*/ 13856 w 36004"/>
                <a:gd name="connsiteY3" fmla="*/ 16506 h 17597"/>
                <a:gd name="connsiteX4" fmla="*/ 21571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028 h 17597"/>
                <a:gd name="connsiteX9" fmla="*/ 31858 w 36004"/>
                <a:gd name="connsiteY9" fmla="*/ 3457 h 17597"/>
                <a:gd name="connsiteX10" fmla="*/ 21571 w 36004"/>
                <a:gd name="connsiteY10" fmla="*/ 9267 h 17597"/>
                <a:gd name="connsiteX11" fmla="*/ 13856 w 36004"/>
                <a:gd name="connsiteY11" fmla="*/ 9267 h 17597"/>
                <a:gd name="connsiteX12" fmla="*/ 3569 w 36004"/>
                <a:gd name="connsiteY12" fmla="*/ 3457 h 17597"/>
                <a:gd name="connsiteX13" fmla="*/ 1283 w 36004"/>
                <a:gd name="connsiteY13" fmla="*/ 2028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48"/>
                    <a:pt x="387" y="8886"/>
                    <a:pt x="1283" y="9267"/>
                  </a:cubicBezTo>
                  <a:lnTo>
                    <a:pt x="13856" y="16506"/>
                  </a:lnTo>
                  <a:cubicBezTo>
                    <a:pt x="16275" y="17744"/>
                    <a:pt x="19152" y="17744"/>
                    <a:pt x="21571" y="16506"/>
                  </a:cubicBezTo>
                  <a:lnTo>
                    <a:pt x="34144" y="9267"/>
                  </a:lnTo>
                  <a:cubicBezTo>
                    <a:pt x="35011" y="8819"/>
                    <a:pt x="35582" y="7953"/>
                    <a:pt x="35668" y="6981"/>
                  </a:cubicBezTo>
                  <a:lnTo>
                    <a:pt x="35668" y="-163"/>
                  </a:lnTo>
                  <a:cubicBezTo>
                    <a:pt x="35630" y="800"/>
                    <a:pt x="35039" y="1657"/>
                    <a:pt x="34144" y="2028"/>
                  </a:cubicBezTo>
                  <a:lnTo>
                    <a:pt x="31858" y="3457"/>
                  </a:lnTo>
                  <a:lnTo>
                    <a:pt x="21571" y="9267"/>
                  </a:lnTo>
                  <a:cubicBezTo>
                    <a:pt x="19171" y="10610"/>
                    <a:pt x="16256" y="10610"/>
                    <a:pt x="13856" y="9267"/>
                  </a:cubicBezTo>
                  <a:lnTo>
                    <a:pt x="3569" y="3457"/>
                  </a:lnTo>
                  <a:lnTo>
                    <a:pt x="1283" y="2028"/>
                  </a:lnTo>
                  <a:cubicBezTo>
                    <a:pt x="349" y="1685"/>
                    <a:pt x="-279"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233" name="iṣlîḋê">
              <a:extLst>
                <a:ext uri="{FF2B5EF4-FFF2-40B4-BE49-F238E27FC236}">
                  <a16:creationId xmlns:a16="http://schemas.microsoft.com/office/drawing/2014/main" id="{EF92CB51-8F31-4CEC-B298-9EFD5AEE33F1}"/>
                </a:ext>
              </a:extLst>
            </p:cNvPr>
            <p:cNvSpPr/>
            <p:nvPr/>
          </p:nvSpPr>
          <p:spPr>
            <a:xfrm>
              <a:off x="5389911" y="4728198"/>
              <a:ext cx="109594" cy="63588"/>
            </a:xfrm>
            <a:custGeom>
              <a:avLst/>
              <a:gdLst>
                <a:gd name="connsiteX0" fmla="*/ -336 w 36004"/>
                <a:gd name="connsiteY0" fmla="*/ 10291 h 20890"/>
                <a:gd name="connsiteX1" fmla="*/ 1188 w 36004"/>
                <a:gd name="connsiteY1" fmla="*/ 12482 h 20890"/>
                <a:gd name="connsiteX2" fmla="*/ 3569 w 36004"/>
                <a:gd name="connsiteY2" fmla="*/ 13911 h 20890"/>
                <a:gd name="connsiteX3" fmla="*/ 13856 w 36004"/>
                <a:gd name="connsiteY3" fmla="*/ 19721 h 20890"/>
                <a:gd name="connsiteX4" fmla="*/ 21476 w 36004"/>
                <a:gd name="connsiteY4" fmla="*/ 19721 h 20890"/>
                <a:gd name="connsiteX5" fmla="*/ 31763 w 36004"/>
                <a:gd name="connsiteY5" fmla="*/ 13911 h 20890"/>
                <a:gd name="connsiteX6" fmla="*/ 34144 w 36004"/>
                <a:gd name="connsiteY6" fmla="*/ 12482 h 20890"/>
                <a:gd name="connsiteX7" fmla="*/ 35668 w 36004"/>
                <a:gd name="connsiteY7" fmla="*/ 10291 h 20890"/>
                <a:gd name="connsiteX8" fmla="*/ 34144 w 36004"/>
                <a:gd name="connsiteY8" fmla="*/ 8005 h 20890"/>
                <a:gd name="connsiteX9" fmla="*/ 21476 w 36004"/>
                <a:gd name="connsiteY9" fmla="*/ 766 h 20890"/>
                <a:gd name="connsiteX10" fmla="*/ 13856 w 36004"/>
                <a:gd name="connsiteY10" fmla="*/ 766 h 20890"/>
                <a:gd name="connsiteX11" fmla="*/ 1188 w 36004"/>
                <a:gd name="connsiteY11" fmla="*/ 8005 h 20890"/>
                <a:gd name="connsiteX12" fmla="*/ -336 w 36004"/>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291"/>
                  </a:moveTo>
                  <a:cubicBezTo>
                    <a:pt x="-279" y="11244"/>
                    <a:pt x="311" y="12091"/>
                    <a:pt x="1188" y="12482"/>
                  </a:cubicBezTo>
                  <a:lnTo>
                    <a:pt x="3569" y="13911"/>
                  </a:lnTo>
                  <a:lnTo>
                    <a:pt x="13856" y="19721"/>
                  </a:lnTo>
                  <a:cubicBezTo>
                    <a:pt x="16218" y="21064"/>
                    <a:pt x="19114" y="21064"/>
                    <a:pt x="21476" y="19721"/>
                  </a:cubicBezTo>
                  <a:lnTo>
                    <a:pt x="31763" y="13911"/>
                  </a:lnTo>
                  <a:lnTo>
                    <a:pt x="34144" y="12482"/>
                  </a:lnTo>
                  <a:cubicBezTo>
                    <a:pt x="35021" y="12091"/>
                    <a:pt x="35611" y="11253"/>
                    <a:pt x="35668" y="10291"/>
                  </a:cubicBezTo>
                  <a:cubicBezTo>
                    <a:pt x="35602" y="9310"/>
                    <a:pt x="35021" y="8443"/>
                    <a:pt x="34144" y="8005"/>
                  </a:cubicBezTo>
                  <a:lnTo>
                    <a:pt x="21476" y="766"/>
                  </a:lnTo>
                  <a:cubicBezTo>
                    <a:pt x="19085" y="-472"/>
                    <a:pt x="16247" y="-472"/>
                    <a:pt x="13856" y="766"/>
                  </a:cubicBezTo>
                  <a:lnTo>
                    <a:pt x="1188" y="8005"/>
                  </a:lnTo>
                  <a:cubicBezTo>
                    <a:pt x="311" y="8443"/>
                    <a:pt x="-270" y="9310"/>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234" name="îšļiḍê">
              <a:extLst>
                <a:ext uri="{FF2B5EF4-FFF2-40B4-BE49-F238E27FC236}">
                  <a16:creationId xmlns:a16="http://schemas.microsoft.com/office/drawing/2014/main" id="{69B84C87-8489-471D-878E-6925233F26F8}"/>
                </a:ext>
              </a:extLst>
            </p:cNvPr>
            <p:cNvSpPr/>
            <p:nvPr/>
          </p:nvSpPr>
          <p:spPr>
            <a:xfrm>
              <a:off x="5391725" y="4729358"/>
              <a:ext cx="105895" cy="61101"/>
            </a:xfrm>
            <a:custGeom>
              <a:avLst/>
              <a:gdLst>
                <a:gd name="connsiteX0" fmla="*/ 1164 w 34789"/>
                <a:gd name="connsiteY0" fmla="*/ 12006 h 20073"/>
                <a:gd name="connsiteX1" fmla="*/ 13356 w 34789"/>
                <a:gd name="connsiteY1" fmla="*/ 19054 h 20073"/>
                <a:gd name="connsiteX2" fmla="*/ 20785 w 34789"/>
                <a:gd name="connsiteY2" fmla="*/ 19054 h 20073"/>
                <a:gd name="connsiteX3" fmla="*/ 32882 w 34789"/>
                <a:gd name="connsiteY3" fmla="*/ 12006 h 20073"/>
                <a:gd name="connsiteX4" fmla="*/ 32882 w 34789"/>
                <a:gd name="connsiteY4" fmla="*/ 7719 h 20073"/>
                <a:gd name="connsiteX5" fmla="*/ 20785 w 34789"/>
                <a:gd name="connsiteY5" fmla="*/ 766 h 20073"/>
                <a:gd name="connsiteX6" fmla="*/ 13356 w 34789"/>
                <a:gd name="connsiteY6" fmla="*/ 766 h 20073"/>
                <a:gd name="connsiteX7" fmla="*/ 1164 w 34789"/>
                <a:gd name="connsiteY7" fmla="*/ 7719 h 20073"/>
                <a:gd name="connsiteX8" fmla="*/ 1164 w 34789"/>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89" h="20073">
                  <a:moveTo>
                    <a:pt x="1164" y="12006"/>
                  </a:moveTo>
                  <a:lnTo>
                    <a:pt x="13356" y="19054"/>
                  </a:lnTo>
                  <a:cubicBezTo>
                    <a:pt x="15699" y="20197"/>
                    <a:pt x="18442" y="20197"/>
                    <a:pt x="20785" y="19054"/>
                  </a:cubicBezTo>
                  <a:lnTo>
                    <a:pt x="32882" y="12006"/>
                  </a:lnTo>
                  <a:cubicBezTo>
                    <a:pt x="34977" y="10863"/>
                    <a:pt x="34977" y="8957"/>
                    <a:pt x="32882" y="7719"/>
                  </a:cubicBezTo>
                  <a:lnTo>
                    <a:pt x="20785" y="766"/>
                  </a:lnTo>
                  <a:cubicBezTo>
                    <a:pt x="18461" y="-472"/>
                    <a:pt x="15680" y="-472"/>
                    <a:pt x="13356" y="766"/>
                  </a:cubicBezTo>
                  <a:lnTo>
                    <a:pt x="1164" y="7719"/>
                  </a:lnTo>
                  <a:cubicBezTo>
                    <a:pt x="-836" y="8957"/>
                    <a:pt x="-836" y="10863"/>
                    <a:pt x="1164" y="12006"/>
                  </a:cubicBezTo>
                  <a:close/>
                </a:path>
              </a:pathLst>
            </a:custGeom>
            <a:solidFill>
              <a:srgbClr val="D1D9E8"/>
            </a:solidFill>
            <a:ln w="9525" cap="flat">
              <a:noFill/>
              <a:prstDash val="solid"/>
              <a:miter/>
            </a:ln>
          </p:spPr>
          <p:txBody>
            <a:bodyPr rtlCol="0" anchor="ctr"/>
            <a:lstStyle/>
            <a:p>
              <a:endParaRPr lang="zh-CN" altLang="en-US"/>
            </a:p>
          </p:txBody>
        </p:sp>
        <p:sp>
          <p:nvSpPr>
            <p:cNvPr id="235" name="íşlíḓe">
              <a:extLst>
                <a:ext uri="{FF2B5EF4-FFF2-40B4-BE49-F238E27FC236}">
                  <a16:creationId xmlns:a16="http://schemas.microsoft.com/office/drawing/2014/main" id="{264403CF-7D11-4798-947F-C434A5AAA35C}"/>
                </a:ext>
              </a:extLst>
            </p:cNvPr>
            <p:cNvSpPr/>
            <p:nvPr/>
          </p:nvSpPr>
          <p:spPr>
            <a:xfrm>
              <a:off x="5389911" y="4760019"/>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028 h 17597"/>
                <a:gd name="connsiteX9" fmla="*/ 31763 w 36004"/>
                <a:gd name="connsiteY9" fmla="*/ 3457 h 17597"/>
                <a:gd name="connsiteX10" fmla="*/ 21476 w 36004"/>
                <a:gd name="connsiteY10" fmla="*/ 9267 h 17597"/>
                <a:gd name="connsiteX11" fmla="*/ 13856 w 36004"/>
                <a:gd name="connsiteY11" fmla="*/ 9267 h 17597"/>
                <a:gd name="connsiteX12" fmla="*/ 3569 w 36004"/>
                <a:gd name="connsiteY12" fmla="*/ 3457 h 17597"/>
                <a:gd name="connsiteX13" fmla="*/ 1188 w 36004"/>
                <a:gd name="connsiteY13" fmla="*/ 2028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2" y="7953"/>
                    <a:pt x="35668" y="6981"/>
                  </a:cubicBezTo>
                  <a:lnTo>
                    <a:pt x="35668" y="-163"/>
                  </a:lnTo>
                  <a:cubicBezTo>
                    <a:pt x="35611" y="790"/>
                    <a:pt x="35021" y="1638"/>
                    <a:pt x="34144" y="2028"/>
                  </a:cubicBezTo>
                  <a:lnTo>
                    <a:pt x="31763" y="3457"/>
                  </a:lnTo>
                  <a:lnTo>
                    <a:pt x="21476" y="9267"/>
                  </a:lnTo>
                  <a:cubicBezTo>
                    <a:pt x="19114" y="10610"/>
                    <a:pt x="16218" y="10610"/>
                    <a:pt x="13856" y="9267"/>
                  </a:cubicBezTo>
                  <a:lnTo>
                    <a:pt x="3569" y="3457"/>
                  </a:lnTo>
                  <a:lnTo>
                    <a:pt x="1188" y="2028"/>
                  </a:lnTo>
                  <a:cubicBezTo>
                    <a:pt x="311" y="1638"/>
                    <a:pt x="-279" y="799"/>
                    <a:pt x="-336" y="-163"/>
                  </a:cubicBezTo>
                  <a:close/>
                </a:path>
              </a:pathLst>
            </a:custGeom>
            <a:solidFill>
              <a:srgbClr val="BF4200"/>
            </a:solidFill>
            <a:ln w="9525" cap="flat">
              <a:noFill/>
              <a:prstDash val="solid"/>
              <a:miter/>
            </a:ln>
          </p:spPr>
          <p:txBody>
            <a:bodyPr rtlCol="0" anchor="ctr"/>
            <a:lstStyle/>
            <a:p>
              <a:endParaRPr lang="zh-CN" altLang="en-US"/>
            </a:p>
          </p:txBody>
        </p:sp>
        <p:sp>
          <p:nvSpPr>
            <p:cNvPr id="236" name="ïṧľïḋè">
              <a:extLst>
                <a:ext uri="{FF2B5EF4-FFF2-40B4-BE49-F238E27FC236}">
                  <a16:creationId xmlns:a16="http://schemas.microsoft.com/office/drawing/2014/main" id="{E26B9BA7-FE0E-451A-8B64-C1E2426B0D92}"/>
                </a:ext>
              </a:extLst>
            </p:cNvPr>
            <p:cNvSpPr/>
            <p:nvPr/>
          </p:nvSpPr>
          <p:spPr>
            <a:xfrm>
              <a:off x="5467035" y="4772849"/>
              <a:ext cx="109883" cy="63588"/>
            </a:xfrm>
            <a:custGeom>
              <a:avLst/>
              <a:gdLst>
                <a:gd name="connsiteX0" fmla="*/ -336 w 36099"/>
                <a:gd name="connsiteY0" fmla="*/ 10196 h 20890"/>
                <a:gd name="connsiteX1" fmla="*/ 1283 w 36099"/>
                <a:gd name="connsiteY1" fmla="*/ 12482 h 20890"/>
                <a:gd name="connsiteX2" fmla="*/ 3569 w 36099"/>
                <a:gd name="connsiteY2" fmla="*/ 13815 h 20890"/>
                <a:gd name="connsiteX3" fmla="*/ 13856 w 36099"/>
                <a:gd name="connsiteY3" fmla="*/ 19721 h 20890"/>
                <a:gd name="connsiteX4" fmla="*/ 21571 w 36099"/>
                <a:gd name="connsiteY4" fmla="*/ 19721 h 20890"/>
                <a:gd name="connsiteX5" fmla="*/ 31858 w 36099"/>
                <a:gd name="connsiteY5" fmla="*/ 13815 h 20890"/>
                <a:gd name="connsiteX6" fmla="*/ 34144 w 36099"/>
                <a:gd name="connsiteY6" fmla="*/ 12482 h 20890"/>
                <a:gd name="connsiteX7" fmla="*/ 35764 w 36099"/>
                <a:gd name="connsiteY7" fmla="*/ 10196 h 20890"/>
                <a:gd name="connsiteX8" fmla="*/ 34144 w 36099"/>
                <a:gd name="connsiteY8" fmla="*/ 8005 h 20890"/>
                <a:gd name="connsiteX9" fmla="*/ 21571 w 36099"/>
                <a:gd name="connsiteY9" fmla="*/ 766 h 20890"/>
                <a:gd name="connsiteX10" fmla="*/ 13856 w 36099"/>
                <a:gd name="connsiteY10" fmla="*/ 766 h 20890"/>
                <a:gd name="connsiteX11" fmla="*/ 1283 w 36099"/>
                <a:gd name="connsiteY11" fmla="*/ 8005 h 20890"/>
                <a:gd name="connsiteX12" fmla="*/ -336 w 36099"/>
                <a:gd name="connsiteY12" fmla="*/ 10196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99" h="20890">
                  <a:moveTo>
                    <a:pt x="-336" y="10196"/>
                  </a:moveTo>
                  <a:cubicBezTo>
                    <a:pt x="-251" y="11196"/>
                    <a:pt x="369" y="12072"/>
                    <a:pt x="1283" y="12482"/>
                  </a:cubicBezTo>
                  <a:lnTo>
                    <a:pt x="3569" y="13815"/>
                  </a:lnTo>
                  <a:lnTo>
                    <a:pt x="13856" y="19721"/>
                  </a:lnTo>
                  <a:cubicBezTo>
                    <a:pt x="16256" y="21064"/>
                    <a:pt x="19171" y="21064"/>
                    <a:pt x="21571" y="19721"/>
                  </a:cubicBezTo>
                  <a:lnTo>
                    <a:pt x="31858" y="13815"/>
                  </a:lnTo>
                  <a:lnTo>
                    <a:pt x="34144" y="12482"/>
                  </a:lnTo>
                  <a:cubicBezTo>
                    <a:pt x="35059" y="12072"/>
                    <a:pt x="35678" y="11196"/>
                    <a:pt x="35764" y="10196"/>
                  </a:cubicBezTo>
                  <a:cubicBezTo>
                    <a:pt x="35630" y="9243"/>
                    <a:pt x="35021" y="8414"/>
                    <a:pt x="34144" y="8005"/>
                  </a:cubicBezTo>
                  <a:lnTo>
                    <a:pt x="21571" y="766"/>
                  </a:lnTo>
                  <a:cubicBezTo>
                    <a:pt x="19152" y="-472"/>
                    <a:pt x="16275" y="-472"/>
                    <a:pt x="13856" y="766"/>
                  </a:cubicBezTo>
                  <a:lnTo>
                    <a:pt x="1283" y="8005"/>
                  </a:lnTo>
                  <a:cubicBezTo>
                    <a:pt x="407" y="8414"/>
                    <a:pt x="-203" y="924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237" name="ïŝlíḑé">
              <a:extLst>
                <a:ext uri="{FF2B5EF4-FFF2-40B4-BE49-F238E27FC236}">
                  <a16:creationId xmlns:a16="http://schemas.microsoft.com/office/drawing/2014/main" id="{4C832CE3-4A54-4116-A8DE-625B2D3CB1B5}"/>
                </a:ext>
              </a:extLst>
            </p:cNvPr>
            <p:cNvSpPr/>
            <p:nvPr/>
          </p:nvSpPr>
          <p:spPr>
            <a:xfrm>
              <a:off x="5469281" y="4774009"/>
              <a:ext cx="106114" cy="61101"/>
            </a:xfrm>
            <a:custGeom>
              <a:avLst/>
              <a:gdLst>
                <a:gd name="connsiteX0" fmla="*/ 1307 w 34861"/>
                <a:gd name="connsiteY0" fmla="*/ 12006 h 20073"/>
                <a:gd name="connsiteX1" fmla="*/ 13403 w 34861"/>
                <a:gd name="connsiteY1" fmla="*/ 19054 h 20073"/>
                <a:gd name="connsiteX2" fmla="*/ 20833 w 34861"/>
                <a:gd name="connsiteY2" fmla="*/ 19054 h 20073"/>
                <a:gd name="connsiteX3" fmla="*/ 33025 w 34861"/>
                <a:gd name="connsiteY3" fmla="*/ 12006 h 20073"/>
                <a:gd name="connsiteX4" fmla="*/ 33025 w 34861"/>
                <a:gd name="connsiteY4" fmla="*/ 7719 h 20073"/>
                <a:gd name="connsiteX5" fmla="*/ 20833 w 34861"/>
                <a:gd name="connsiteY5" fmla="*/ 766 h 20073"/>
                <a:gd name="connsiteX6" fmla="*/ 13403 w 34861"/>
                <a:gd name="connsiteY6" fmla="*/ 766 h 20073"/>
                <a:gd name="connsiteX7" fmla="*/ 1307 w 34861"/>
                <a:gd name="connsiteY7" fmla="*/ 7719 h 20073"/>
                <a:gd name="connsiteX8" fmla="*/ 1307 w 34861"/>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861" h="20073">
                  <a:moveTo>
                    <a:pt x="1307" y="12006"/>
                  </a:moveTo>
                  <a:lnTo>
                    <a:pt x="13403" y="19054"/>
                  </a:lnTo>
                  <a:cubicBezTo>
                    <a:pt x="15747" y="20197"/>
                    <a:pt x="18490" y="20197"/>
                    <a:pt x="20833" y="19054"/>
                  </a:cubicBezTo>
                  <a:lnTo>
                    <a:pt x="33025" y="12006"/>
                  </a:lnTo>
                  <a:cubicBezTo>
                    <a:pt x="35025" y="10862"/>
                    <a:pt x="35025" y="8958"/>
                    <a:pt x="33025" y="7719"/>
                  </a:cubicBezTo>
                  <a:lnTo>
                    <a:pt x="20833" y="766"/>
                  </a:lnTo>
                  <a:cubicBezTo>
                    <a:pt x="18509" y="-472"/>
                    <a:pt x="15728" y="-472"/>
                    <a:pt x="13403" y="766"/>
                  </a:cubicBezTo>
                  <a:lnTo>
                    <a:pt x="1307" y="7719"/>
                  </a:lnTo>
                  <a:cubicBezTo>
                    <a:pt x="-884" y="8958"/>
                    <a:pt x="-884" y="10862"/>
                    <a:pt x="1307" y="12006"/>
                  </a:cubicBezTo>
                  <a:close/>
                </a:path>
              </a:pathLst>
            </a:custGeom>
            <a:solidFill>
              <a:srgbClr val="D1D9E8"/>
            </a:solidFill>
            <a:ln w="9525" cap="flat">
              <a:noFill/>
              <a:prstDash val="solid"/>
              <a:miter/>
            </a:ln>
          </p:spPr>
          <p:txBody>
            <a:bodyPr rtlCol="0" anchor="ctr"/>
            <a:lstStyle/>
            <a:p>
              <a:endParaRPr lang="zh-CN" altLang="en-US"/>
            </a:p>
          </p:txBody>
        </p:sp>
        <p:sp>
          <p:nvSpPr>
            <p:cNvPr id="238" name="ïśḷïḑé">
              <a:extLst>
                <a:ext uri="{FF2B5EF4-FFF2-40B4-BE49-F238E27FC236}">
                  <a16:creationId xmlns:a16="http://schemas.microsoft.com/office/drawing/2014/main" id="{0ABB434A-F190-4A7B-AF39-D4DC16818149}"/>
                </a:ext>
              </a:extLst>
            </p:cNvPr>
            <p:cNvSpPr/>
            <p:nvPr/>
          </p:nvSpPr>
          <p:spPr>
            <a:xfrm>
              <a:off x="5467035" y="4804378"/>
              <a:ext cx="109883" cy="54383"/>
            </a:xfrm>
            <a:custGeom>
              <a:avLst/>
              <a:gdLst>
                <a:gd name="connsiteX0" fmla="*/ -336 w 36099"/>
                <a:gd name="connsiteY0" fmla="*/ -163 h 17866"/>
                <a:gd name="connsiteX1" fmla="*/ -336 w 36099"/>
                <a:gd name="connsiteY1" fmla="*/ 7267 h 17866"/>
                <a:gd name="connsiteX2" fmla="*/ 1283 w 36099"/>
                <a:gd name="connsiteY2" fmla="*/ 9553 h 17866"/>
                <a:gd name="connsiteX3" fmla="*/ 13856 w 36099"/>
                <a:gd name="connsiteY3" fmla="*/ 16697 h 17866"/>
                <a:gd name="connsiteX4" fmla="*/ 21571 w 36099"/>
                <a:gd name="connsiteY4" fmla="*/ 16697 h 17866"/>
                <a:gd name="connsiteX5" fmla="*/ 34144 w 36099"/>
                <a:gd name="connsiteY5" fmla="*/ 9553 h 17866"/>
                <a:gd name="connsiteX6" fmla="*/ 35764 w 36099"/>
                <a:gd name="connsiteY6" fmla="*/ 7267 h 17866"/>
                <a:gd name="connsiteX7" fmla="*/ 35764 w 36099"/>
                <a:gd name="connsiteY7" fmla="*/ 28 h 17866"/>
                <a:gd name="connsiteX8" fmla="*/ 34144 w 36099"/>
                <a:gd name="connsiteY8" fmla="*/ 2314 h 17866"/>
                <a:gd name="connsiteX9" fmla="*/ 31858 w 36099"/>
                <a:gd name="connsiteY9" fmla="*/ 3647 h 17866"/>
                <a:gd name="connsiteX10" fmla="*/ 21571 w 36099"/>
                <a:gd name="connsiteY10" fmla="*/ 9553 h 17866"/>
                <a:gd name="connsiteX11" fmla="*/ 13856 w 36099"/>
                <a:gd name="connsiteY11" fmla="*/ 9553 h 17866"/>
                <a:gd name="connsiteX12" fmla="*/ 3569 w 36099"/>
                <a:gd name="connsiteY12" fmla="*/ 3647 h 17866"/>
                <a:gd name="connsiteX13" fmla="*/ 1283 w 36099"/>
                <a:gd name="connsiteY13" fmla="*/ 2314 h 17866"/>
                <a:gd name="connsiteX14" fmla="*/ -336 w 36099"/>
                <a:gd name="connsiteY14" fmla="*/ -163 h 178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866">
                  <a:moveTo>
                    <a:pt x="-336" y="-163"/>
                  </a:moveTo>
                  <a:lnTo>
                    <a:pt x="-336" y="7267"/>
                  </a:lnTo>
                  <a:cubicBezTo>
                    <a:pt x="-232" y="8257"/>
                    <a:pt x="378" y="9124"/>
                    <a:pt x="1283" y="9553"/>
                  </a:cubicBezTo>
                  <a:lnTo>
                    <a:pt x="13856" y="16697"/>
                  </a:lnTo>
                  <a:cubicBezTo>
                    <a:pt x="16256" y="18040"/>
                    <a:pt x="19171" y="18040"/>
                    <a:pt x="21571" y="16697"/>
                  </a:cubicBezTo>
                  <a:lnTo>
                    <a:pt x="34144" y="9553"/>
                  </a:lnTo>
                  <a:cubicBezTo>
                    <a:pt x="35030" y="9115"/>
                    <a:pt x="35640" y="8248"/>
                    <a:pt x="35764" y="7267"/>
                  </a:cubicBezTo>
                  <a:lnTo>
                    <a:pt x="35764" y="28"/>
                  </a:lnTo>
                  <a:cubicBezTo>
                    <a:pt x="35678" y="1028"/>
                    <a:pt x="35059" y="1904"/>
                    <a:pt x="34144" y="2314"/>
                  </a:cubicBezTo>
                  <a:lnTo>
                    <a:pt x="31858" y="3647"/>
                  </a:lnTo>
                  <a:lnTo>
                    <a:pt x="21571" y="9553"/>
                  </a:lnTo>
                  <a:cubicBezTo>
                    <a:pt x="19171" y="10896"/>
                    <a:pt x="16256" y="10896"/>
                    <a:pt x="13856" y="9553"/>
                  </a:cubicBezTo>
                  <a:lnTo>
                    <a:pt x="3569" y="3647"/>
                  </a:lnTo>
                  <a:lnTo>
                    <a:pt x="1283" y="2314"/>
                  </a:lnTo>
                  <a:cubicBezTo>
                    <a:pt x="311" y="1876"/>
                    <a:pt x="-317" y="904"/>
                    <a:pt x="-336" y="-163"/>
                  </a:cubicBezTo>
                  <a:close/>
                </a:path>
              </a:pathLst>
            </a:custGeom>
            <a:solidFill>
              <a:srgbClr val="BF4200"/>
            </a:solidFill>
            <a:ln w="9525" cap="flat">
              <a:noFill/>
              <a:prstDash val="solid"/>
              <a:miter/>
            </a:ln>
          </p:spPr>
          <p:txBody>
            <a:bodyPr rtlCol="0" anchor="ctr"/>
            <a:lstStyle/>
            <a:p>
              <a:endParaRPr lang="zh-CN" altLang="en-US"/>
            </a:p>
          </p:txBody>
        </p:sp>
        <p:sp>
          <p:nvSpPr>
            <p:cNvPr id="239" name="íš1îḍê">
              <a:extLst>
                <a:ext uri="{FF2B5EF4-FFF2-40B4-BE49-F238E27FC236}">
                  <a16:creationId xmlns:a16="http://schemas.microsoft.com/office/drawing/2014/main" id="{D14C7800-2589-4E68-A20C-A7792ED702E9}"/>
                </a:ext>
              </a:extLst>
            </p:cNvPr>
            <p:cNvSpPr/>
            <p:nvPr/>
          </p:nvSpPr>
          <p:spPr>
            <a:xfrm>
              <a:off x="5544448" y="4817498"/>
              <a:ext cx="108580" cy="63588"/>
            </a:xfrm>
            <a:custGeom>
              <a:avLst/>
              <a:gdLst>
                <a:gd name="connsiteX0" fmla="*/ -336 w 35671"/>
                <a:gd name="connsiteY0" fmla="*/ 10196 h 20890"/>
                <a:gd name="connsiteX1" fmla="*/ 1187 w 35671"/>
                <a:gd name="connsiteY1" fmla="*/ 12482 h 20890"/>
                <a:gd name="connsiteX2" fmla="*/ 3569 w 35671"/>
                <a:gd name="connsiteY2" fmla="*/ 13815 h 20890"/>
                <a:gd name="connsiteX3" fmla="*/ 13856 w 35671"/>
                <a:gd name="connsiteY3" fmla="*/ 19721 h 20890"/>
                <a:gd name="connsiteX4" fmla="*/ 21476 w 35671"/>
                <a:gd name="connsiteY4" fmla="*/ 19721 h 20890"/>
                <a:gd name="connsiteX5" fmla="*/ 31763 w 35671"/>
                <a:gd name="connsiteY5" fmla="*/ 13815 h 20890"/>
                <a:gd name="connsiteX6" fmla="*/ 33763 w 35671"/>
                <a:gd name="connsiteY6" fmla="*/ 12482 h 20890"/>
                <a:gd name="connsiteX7" fmla="*/ 35192 w 35671"/>
                <a:gd name="connsiteY7" fmla="*/ 9434 h 20890"/>
                <a:gd name="connsiteX8" fmla="*/ 33763 w 35671"/>
                <a:gd name="connsiteY8" fmla="*/ 8005 h 20890"/>
                <a:gd name="connsiteX9" fmla="*/ 21095 w 35671"/>
                <a:gd name="connsiteY9" fmla="*/ 766 h 20890"/>
                <a:gd name="connsiteX10" fmla="*/ 13475 w 35671"/>
                <a:gd name="connsiteY10" fmla="*/ 766 h 20890"/>
                <a:gd name="connsiteX11" fmla="*/ 807 w 35671"/>
                <a:gd name="connsiteY11" fmla="*/ 8005 h 20890"/>
                <a:gd name="connsiteX12" fmla="*/ -336 w 35671"/>
                <a:gd name="connsiteY12" fmla="*/ 10196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671" h="20890">
                  <a:moveTo>
                    <a:pt x="-336" y="10196"/>
                  </a:moveTo>
                  <a:cubicBezTo>
                    <a:pt x="-270" y="11177"/>
                    <a:pt x="311" y="12044"/>
                    <a:pt x="1187" y="12482"/>
                  </a:cubicBezTo>
                  <a:lnTo>
                    <a:pt x="3569" y="13815"/>
                  </a:lnTo>
                  <a:lnTo>
                    <a:pt x="13856" y="19721"/>
                  </a:lnTo>
                  <a:cubicBezTo>
                    <a:pt x="16218" y="21064"/>
                    <a:pt x="19114" y="21064"/>
                    <a:pt x="21476" y="19721"/>
                  </a:cubicBezTo>
                  <a:lnTo>
                    <a:pt x="31763" y="13815"/>
                  </a:lnTo>
                  <a:lnTo>
                    <a:pt x="33763" y="12482"/>
                  </a:lnTo>
                  <a:cubicBezTo>
                    <a:pt x="35001" y="12034"/>
                    <a:pt x="35639" y="10662"/>
                    <a:pt x="35192" y="9434"/>
                  </a:cubicBezTo>
                  <a:cubicBezTo>
                    <a:pt x="34944" y="8767"/>
                    <a:pt x="34430" y="8243"/>
                    <a:pt x="33763" y="8005"/>
                  </a:cubicBezTo>
                  <a:lnTo>
                    <a:pt x="21095" y="766"/>
                  </a:lnTo>
                  <a:cubicBezTo>
                    <a:pt x="18704" y="-472"/>
                    <a:pt x="15866" y="-472"/>
                    <a:pt x="13475" y="766"/>
                  </a:cubicBezTo>
                  <a:lnTo>
                    <a:pt x="807" y="8005"/>
                  </a:lnTo>
                  <a:cubicBezTo>
                    <a:pt x="102" y="8510"/>
                    <a:pt x="-317" y="9329"/>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240" name="işlïdé">
              <a:extLst>
                <a:ext uri="{FF2B5EF4-FFF2-40B4-BE49-F238E27FC236}">
                  <a16:creationId xmlns:a16="http://schemas.microsoft.com/office/drawing/2014/main" id="{EDB61B69-C167-45D6-ACDA-7C7188F725DE}"/>
                </a:ext>
              </a:extLst>
            </p:cNvPr>
            <p:cNvSpPr/>
            <p:nvPr/>
          </p:nvSpPr>
          <p:spPr>
            <a:xfrm>
              <a:off x="5546981" y="4818877"/>
              <a:ext cx="105798" cy="61174"/>
            </a:xfrm>
            <a:custGeom>
              <a:avLst/>
              <a:gdLst>
                <a:gd name="connsiteX0" fmla="*/ 1022 w 34757"/>
                <a:gd name="connsiteY0" fmla="*/ 12029 h 20097"/>
                <a:gd name="connsiteX1" fmla="*/ 13119 w 34757"/>
                <a:gd name="connsiteY1" fmla="*/ 19078 h 20097"/>
                <a:gd name="connsiteX2" fmla="*/ 20548 w 34757"/>
                <a:gd name="connsiteY2" fmla="*/ 19078 h 20097"/>
                <a:gd name="connsiteX3" fmla="*/ 32931 w 34757"/>
                <a:gd name="connsiteY3" fmla="*/ 12029 h 20097"/>
                <a:gd name="connsiteX4" fmla="*/ 34274 w 34757"/>
                <a:gd name="connsiteY4" fmla="*/ 9086 h 20097"/>
                <a:gd name="connsiteX5" fmla="*/ 32931 w 34757"/>
                <a:gd name="connsiteY5" fmla="*/ 7743 h 20097"/>
                <a:gd name="connsiteX6" fmla="*/ 20834 w 34757"/>
                <a:gd name="connsiteY6" fmla="*/ 695 h 20097"/>
                <a:gd name="connsiteX7" fmla="*/ 13405 w 34757"/>
                <a:gd name="connsiteY7" fmla="*/ 695 h 20097"/>
                <a:gd name="connsiteX8" fmla="*/ 1308 w 34757"/>
                <a:gd name="connsiteY8" fmla="*/ 7743 h 20097"/>
                <a:gd name="connsiteX9" fmla="*/ -245 w 34757"/>
                <a:gd name="connsiteY9" fmla="*/ 10572 h 20097"/>
                <a:gd name="connsiteX10" fmla="*/ 1022 w 34757"/>
                <a:gd name="connsiteY10" fmla="*/ 12029 h 20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757" h="20097">
                  <a:moveTo>
                    <a:pt x="1022" y="12029"/>
                  </a:moveTo>
                  <a:lnTo>
                    <a:pt x="13119" y="19078"/>
                  </a:lnTo>
                  <a:cubicBezTo>
                    <a:pt x="15462" y="20221"/>
                    <a:pt x="18205" y="20221"/>
                    <a:pt x="20548" y="19078"/>
                  </a:cubicBezTo>
                  <a:lnTo>
                    <a:pt x="32931" y="12029"/>
                  </a:lnTo>
                  <a:cubicBezTo>
                    <a:pt x="34112" y="11591"/>
                    <a:pt x="34721" y="10277"/>
                    <a:pt x="34274" y="9086"/>
                  </a:cubicBezTo>
                  <a:cubicBezTo>
                    <a:pt x="34045" y="8467"/>
                    <a:pt x="33550" y="7972"/>
                    <a:pt x="32931" y="7743"/>
                  </a:cubicBezTo>
                  <a:lnTo>
                    <a:pt x="20834" y="695"/>
                  </a:lnTo>
                  <a:cubicBezTo>
                    <a:pt x="18491" y="-448"/>
                    <a:pt x="15748" y="-448"/>
                    <a:pt x="13405" y="695"/>
                  </a:cubicBezTo>
                  <a:lnTo>
                    <a:pt x="1308" y="7743"/>
                  </a:lnTo>
                  <a:cubicBezTo>
                    <a:pt x="98" y="8096"/>
                    <a:pt x="-597" y="9362"/>
                    <a:pt x="-245" y="10572"/>
                  </a:cubicBezTo>
                  <a:cubicBezTo>
                    <a:pt x="-64" y="11229"/>
                    <a:pt x="403" y="11753"/>
                    <a:pt x="1022" y="12029"/>
                  </a:cubicBezTo>
                  <a:close/>
                </a:path>
              </a:pathLst>
            </a:custGeom>
            <a:solidFill>
              <a:srgbClr val="D1D9E8"/>
            </a:solidFill>
            <a:ln w="9525" cap="flat">
              <a:noFill/>
              <a:prstDash val="solid"/>
              <a:miter/>
            </a:ln>
          </p:spPr>
          <p:txBody>
            <a:bodyPr rtlCol="0" anchor="ctr"/>
            <a:lstStyle/>
            <a:p>
              <a:endParaRPr lang="zh-CN" altLang="en-US"/>
            </a:p>
          </p:txBody>
        </p:sp>
        <p:sp>
          <p:nvSpPr>
            <p:cNvPr id="241" name="ïṡľïḓe">
              <a:extLst>
                <a:ext uri="{FF2B5EF4-FFF2-40B4-BE49-F238E27FC236}">
                  <a16:creationId xmlns:a16="http://schemas.microsoft.com/office/drawing/2014/main" id="{1F3FFAF5-3C11-4E87-933A-9F5E1FCABAFC}"/>
                </a:ext>
              </a:extLst>
            </p:cNvPr>
            <p:cNvSpPr/>
            <p:nvPr/>
          </p:nvSpPr>
          <p:spPr>
            <a:xfrm>
              <a:off x="5544448" y="4849030"/>
              <a:ext cx="109594" cy="53801"/>
            </a:xfrm>
            <a:custGeom>
              <a:avLst/>
              <a:gdLst>
                <a:gd name="connsiteX0" fmla="*/ -336 w 36004"/>
                <a:gd name="connsiteY0" fmla="*/ -163 h 17675"/>
                <a:gd name="connsiteX1" fmla="*/ -336 w 36004"/>
                <a:gd name="connsiteY1" fmla="*/ 7076 h 17675"/>
                <a:gd name="connsiteX2" fmla="*/ 1187 w 36004"/>
                <a:gd name="connsiteY2" fmla="*/ 9267 h 17675"/>
                <a:gd name="connsiteX3" fmla="*/ 13856 w 36004"/>
                <a:gd name="connsiteY3" fmla="*/ 16506 h 17675"/>
                <a:gd name="connsiteX4" fmla="*/ 21476 w 36004"/>
                <a:gd name="connsiteY4" fmla="*/ 16506 h 17675"/>
                <a:gd name="connsiteX5" fmla="*/ 34144 w 36004"/>
                <a:gd name="connsiteY5" fmla="*/ 9267 h 17675"/>
                <a:gd name="connsiteX6" fmla="*/ 35668 w 36004"/>
                <a:gd name="connsiteY6" fmla="*/ 7076 h 17675"/>
                <a:gd name="connsiteX7" fmla="*/ 35668 w 36004"/>
                <a:gd name="connsiteY7" fmla="*/ -163 h 17675"/>
                <a:gd name="connsiteX8" fmla="*/ 34144 w 36004"/>
                <a:gd name="connsiteY8" fmla="*/ 2123 h 17675"/>
                <a:gd name="connsiteX9" fmla="*/ 31763 w 36004"/>
                <a:gd name="connsiteY9" fmla="*/ 3457 h 17675"/>
                <a:gd name="connsiteX10" fmla="*/ 21476 w 36004"/>
                <a:gd name="connsiteY10" fmla="*/ 9362 h 17675"/>
                <a:gd name="connsiteX11" fmla="*/ 13856 w 36004"/>
                <a:gd name="connsiteY11" fmla="*/ 9362 h 17675"/>
                <a:gd name="connsiteX12" fmla="*/ 3569 w 36004"/>
                <a:gd name="connsiteY12" fmla="*/ 3457 h 17675"/>
                <a:gd name="connsiteX13" fmla="*/ 1187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98" y="8038"/>
                    <a:pt x="292" y="8896"/>
                    <a:pt x="1187" y="9267"/>
                  </a:cubicBezTo>
                  <a:lnTo>
                    <a:pt x="13856" y="16506"/>
                  </a:lnTo>
                  <a:cubicBezTo>
                    <a:pt x="16218" y="17849"/>
                    <a:pt x="19114" y="17849"/>
                    <a:pt x="21476" y="16506"/>
                  </a:cubicBezTo>
                  <a:lnTo>
                    <a:pt x="34144" y="9267"/>
                  </a:lnTo>
                  <a:cubicBezTo>
                    <a:pt x="35020" y="8877"/>
                    <a:pt x="35611" y="8038"/>
                    <a:pt x="35668" y="7076"/>
                  </a:cubicBezTo>
                  <a:lnTo>
                    <a:pt x="35668" y="-163"/>
                  </a:lnTo>
                  <a:cubicBezTo>
                    <a:pt x="35601" y="818"/>
                    <a:pt x="35020" y="1685"/>
                    <a:pt x="34144" y="2123"/>
                  </a:cubicBezTo>
                  <a:lnTo>
                    <a:pt x="31763" y="3457"/>
                  </a:lnTo>
                  <a:lnTo>
                    <a:pt x="21476" y="9362"/>
                  </a:lnTo>
                  <a:cubicBezTo>
                    <a:pt x="19114" y="10705"/>
                    <a:pt x="16218" y="10705"/>
                    <a:pt x="13856" y="9362"/>
                  </a:cubicBezTo>
                  <a:lnTo>
                    <a:pt x="3569" y="3457"/>
                  </a:lnTo>
                  <a:lnTo>
                    <a:pt x="1187"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242" name="îSľïḓé">
              <a:extLst>
                <a:ext uri="{FF2B5EF4-FFF2-40B4-BE49-F238E27FC236}">
                  <a16:creationId xmlns:a16="http://schemas.microsoft.com/office/drawing/2014/main" id="{325F47D8-7EE0-457A-B266-AF4F7234F52D}"/>
                </a:ext>
              </a:extLst>
            </p:cNvPr>
            <p:cNvSpPr/>
            <p:nvPr/>
          </p:nvSpPr>
          <p:spPr>
            <a:xfrm>
              <a:off x="5621569" y="4862207"/>
              <a:ext cx="109740" cy="63289"/>
            </a:xfrm>
            <a:custGeom>
              <a:avLst/>
              <a:gdLst>
                <a:gd name="connsiteX0" fmla="*/ -336 w 36052"/>
                <a:gd name="connsiteY0" fmla="*/ 10177 h 20792"/>
                <a:gd name="connsiteX1" fmla="*/ 1283 w 36052"/>
                <a:gd name="connsiteY1" fmla="*/ 12463 h 20792"/>
                <a:gd name="connsiteX2" fmla="*/ 3569 w 36052"/>
                <a:gd name="connsiteY2" fmla="*/ 13796 h 20792"/>
                <a:gd name="connsiteX3" fmla="*/ 13856 w 36052"/>
                <a:gd name="connsiteY3" fmla="*/ 19702 h 20792"/>
                <a:gd name="connsiteX4" fmla="*/ 21571 w 36052"/>
                <a:gd name="connsiteY4" fmla="*/ 19702 h 20792"/>
                <a:gd name="connsiteX5" fmla="*/ 31858 w 36052"/>
                <a:gd name="connsiteY5" fmla="*/ 13796 h 20792"/>
                <a:gd name="connsiteX6" fmla="*/ 34144 w 36052"/>
                <a:gd name="connsiteY6" fmla="*/ 12463 h 20792"/>
                <a:gd name="connsiteX7" fmla="*/ 35573 w 36052"/>
                <a:gd name="connsiteY7" fmla="*/ 9415 h 20792"/>
                <a:gd name="connsiteX8" fmla="*/ 34144 w 36052"/>
                <a:gd name="connsiteY8" fmla="*/ 7986 h 20792"/>
                <a:gd name="connsiteX9" fmla="*/ 21571 w 36052"/>
                <a:gd name="connsiteY9" fmla="*/ 652 h 20792"/>
                <a:gd name="connsiteX10" fmla="*/ 13856 w 36052"/>
                <a:gd name="connsiteY10" fmla="*/ 652 h 20792"/>
                <a:gd name="connsiteX11" fmla="*/ 1283 w 36052"/>
                <a:gd name="connsiteY11" fmla="*/ 7986 h 20792"/>
                <a:gd name="connsiteX12" fmla="*/ -336 w 36052"/>
                <a:gd name="connsiteY12" fmla="*/ 10177 h 20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792">
                  <a:moveTo>
                    <a:pt x="-336" y="10177"/>
                  </a:moveTo>
                  <a:cubicBezTo>
                    <a:pt x="-231" y="11167"/>
                    <a:pt x="378" y="12034"/>
                    <a:pt x="1283" y="12463"/>
                  </a:cubicBezTo>
                  <a:lnTo>
                    <a:pt x="3569" y="13796"/>
                  </a:lnTo>
                  <a:lnTo>
                    <a:pt x="13856" y="19702"/>
                  </a:lnTo>
                  <a:cubicBezTo>
                    <a:pt x="16275" y="20940"/>
                    <a:pt x="19152" y="20940"/>
                    <a:pt x="21571" y="19702"/>
                  </a:cubicBezTo>
                  <a:lnTo>
                    <a:pt x="31858" y="13796"/>
                  </a:lnTo>
                  <a:lnTo>
                    <a:pt x="34144" y="12463"/>
                  </a:lnTo>
                  <a:cubicBezTo>
                    <a:pt x="35382" y="12015"/>
                    <a:pt x="36021" y="10643"/>
                    <a:pt x="35573" y="9415"/>
                  </a:cubicBezTo>
                  <a:cubicBezTo>
                    <a:pt x="35325" y="8748"/>
                    <a:pt x="34811" y="8224"/>
                    <a:pt x="34144" y="7986"/>
                  </a:cubicBezTo>
                  <a:lnTo>
                    <a:pt x="21571" y="652"/>
                  </a:lnTo>
                  <a:cubicBezTo>
                    <a:pt x="19114" y="-434"/>
                    <a:pt x="16314" y="-434"/>
                    <a:pt x="13856" y="652"/>
                  </a:cubicBezTo>
                  <a:lnTo>
                    <a:pt x="1283" y="7986"/>
                  </a:lnTo>
                  <a:cubicBezTo>
                    <a:pt x="407" y="8396"/>
                    <a:pt x="-203" y="9224"/>
                    <a:pt x="-336" y="10177"/>
                  </a:cubicBezTo>
                  <a:close/>
                </a:path>
              </a:pathLst>
            </a:custGeom>
            <a:solidFill>
              <a:srgbClr val="FFFFFF"/>
            </a:solidFill>
            <a:ln w="9525" cap="flat">
              <a:noFill/>
              <a:prstDash val="solid"/>
              <a:miter/>
            </a:ln>
          </p:spPr>
          <p:txBody>
            <a:bodyPr rtlCol="0" anchor="ctr"/>
            <a:lstStyle/>
            <a:p>
              <a:endParaRPr lang="zh-CN" altLang="en-US"/>
            </a:p>
          </p:txBody>
        </p:sp>
        <p:sp>
          <p:nvSpPr>
            <p:cNvPr id="243" name="îṡliḋe">
              <a:extLst>
                <a:ext uri="{FF2B5EF4-FFF2-40B4-BE49-F238E27FC236}">
                  <a16:creationId xmlns:a16="http://schemas.microsoft.com/office/drawing/2014/main" id="{79D83694-B013-4F63-B8E8-B9BCE27FBFA5}"/>
                </a:ext>
              </a:extLst>
            </p:cNvPr>
            <p:cNvSpPr/>
            <p:nvPr/>
          </p:nvSpPr>
          <p:spPr>
            <a:xfrm>
              <a:off x="5623672" y="4863236"/>
              <a:ext cx="105679" cy="61104"/>
            </a:xfrm>
            <a:custGeom>
              <a:avLst/>
              <a:gdLst>
                <a:gd name="connsiteX0" fmla="*/ 1164 w 34718"/>
                <a:gd name="connsiteY0" fmla="*/ 12029 h 20074"/>
                <a:gd name="connsiteX1" fmla="*/ 13356 w 34718"/>
                <a:gd name="connsiteY1" fmla="*/ 18983 h 20074"/>
                <a:gd name="connsiteX2" fmla="*/ 20785 w 34718"/>
                <a:gd name="connsiteY2" fmla="*/ 18983 h 20074"/>
                <a:gd name="connsiteX3" fmla="*/ 32882 w 34718"/>
                <a:gd name="connsiteY3" fmla="*/ 12029 h 20074"/>
                <a:gd name="connsiteX4" fmla="*/ 32882 w 34718"/>
                <a:gd name="connsiteY4" fmla="*/ 7743 h 20074"/>
                <a:gd name="connsiteX5" fmla="*/ 20785 w 34718"/>
                <a:gd name="connsiteY5" fmla="*/ 695 h 20074"/>
                <a:gd name="connsiteX6" fmla="*/ 13356 w 34718"/>
                <a:gd name="connsiteY6" fmla="*/ 695 h 20074"/>
                <a:gd name="connsiteX7" fmla="*/ 1164 w 34718"/>
                <a:gd name="connsiteY7" fmla="*/ 7743 h 20074"/>
                <a:gd name="connsiteX8" fmla="*/ 1164 w 34718"/>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18" h="20074">
                  <a:moveTo>
                    <a:pt x="1164" y="12029"/>
                  </a:moveTo>
                  <a:lnTo>
                    <a:pt x="13356" y="18983"/>
                  </a:lnTo>
                  <a:cubicBezTo>
                    <a:pt x="15680" y="20221"/>
                    <a:pt x="18461" y="20221"/>
                    <a:pt x="20785" y="18983"/>
                  </a:cubicBezTo>
                  <a:lnTo>
                    <a:pt x="32882" y="12029"/>
                  </a:lnTo>
                  <a:cubicBezTo>
                    <a:pt x="34882" y="10791"/>
                    <a:pt x="34882" y="8886"/>
                    <a:pt x="32882" y="7743"/>
                  </a:cubicBezTo>
                  <a:lnTo>
                    <a:pt x="20785" y="695"/>
                  </a:lnTo>
                  <a:cubicBezTo>
                    <a:pt x="18442" y="-448"/>
                    <a:pt x="15699" y="-448"/>
                    <a:pt x="13356" y="695"/>
                  </a:cubicBezTo>
                  <a:lnTo>
                    <a:pt x="1164" y="7743"/>
                  </a:lnTo>
                  <a:cubicBezTo>
                    <a:pt x="-836" y="8886"/>
                    <a:pt x="-836" y="10791"/>
                    <a:pt x="1164" y="12029"/>
                  </a:cubicBezTo>
                  <a:close/>
                </a:path>
              </a:pathLst>
            </a:custGeom>
            <a:solidFill>
              <a:srgbClr val="D1D9E8"/>
            </a:solidFill>
            <a:ln w="9525" cap="flat">
              <a:noFill/>
              <a:prstDash val="solid"/>
              <a:miter/>
            </a:ln>
          </p:spPr>
          <p:txBody>
            <a:bodyPr rtlCol="0" anchor="ctr"/>
            <a:lstStyle/>
            <a:p>
              <a:endParaRPr lang="zh-CN" altLang="en-US"/>
            </a:p>
          </p:txBody>
        </p:sp>
        <p:sp>
          <p:nvSpPr>
            <p:cNvPr id="244" name="iṣlîdê">
              <a:extLst>
                <a:ext uri="{FF2B5EF4-FFF2-40B4-BE49-F238E27FC236}">
                  <a16:creationId xmlns:a16="http://schemas.microsoft.com/office/drawing/2014/main" id="{28A6AAD3-74DD-4F66-8950-EADD19C9C809}"/>
                </a:ext>
              </a:extLst>
            </p:cNvPr>
            <p:cNvSpPr/>
            <p:nvPr/>
          </p:nvSpPr>
          <p:spPr>
            <a:xfrm>
              <a:off x="5621569" y="4893678"/>
              <a:ext cx="109883" cy="53804"/>
            </a:xfrm>
            <a:custGeom>
              <a:avLst/>
              <a:gdLst>
                <a:gd name="connsiteX0" fmla="*/ -336 w 36099"/>
                <a:gd name="connsiteY0" fmla="*/ -163 h 17676"/>
                <a:gd name="connsiteX1" fmla="*/ -336 w 36099"/>
                <a:gd name="connsiteY1" fmla="*/ 7076 h 17676"/>
                <a:gd name="connsiteX2" fmla="*/ 1283 w 36099"/>
                <a:gd name="connsiteY2" fmla="*/ 9267 h 17676"/>
                <a:gd name="connsiteX3" fmla="*/ 13856 w 36099"/>
                <a:gd name="connsiteY3" fmla="*/ 16506 h 17676"/>
                <a:gd name="connsiteX4" fmla="*/ 21571 w 36099"/>
                <a:gd name="connsiteY4" fmla="*/ 16506 h 17676"/>
                <a:gd name="connsiteX5" fmla="*/ 34144 w 36099"/>
                <a:gd name="connsiteY5" fmla="*/ 9267 h 17676"/>
                <a:gd name="connsiteX6" fmla="*/ 35764 w 36099"/>
                <a:gd name="connsiteY6" fmla="*/ 6981 h 17676"/>
                <a:gd name="connsiteX7" fmla="*/ 35764 w 36099"/>
                <a:gd name="connsiteY7" fmla="*/ -163 h 17676"/>
                <a:gd name="connsiteX8" fmla="*/ 34144 w 36099"/>
                <a:gd name="connsiteY8" fmla="*/ 2124 h 17676"/>
                <a:gd name="connsiteX9" fmla="*/ 31858 w 36099"/>
                <a:gd name="connsiteY9" fmla="*/ 3457 h 17676"/>
                <a:gd name="connsiteX10" fmla="*/ 21571 w 36099"/>
                <a:gd name="connsiteY10" fmla="*/ 9362 h 17676"/>
                <a:gd name="connsiteX11" fmla="*/ 13856 w 36099"/>
                <a:gd name="connsiteY11" fmla="*/ 9362 h 17676"/>
                <a:gd name="connsiteX12" fmla="*/ 3569 w 36099"/>
                <a:gd name="connsiteY12" fmla="*/ 3457 h 17676"/>
                <a:gd name="connsiteX13" fmla="*/ 1283 w 36099"/>
                <a:gd name="connsiteY13" fmla="*/ 2124 h 17676"/>
                <a:gd name="connsiteX14" fmla="*/ -336 w 36099"/>
                <a:gd name="connsiteY14" fmla="*/ -163 h 17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676">
                  <a:moveTo>
                    <a:pt x="-336" y="-163"/>
                  </a:moveTo>
                  <a:lnTo>
                    <a:pt x="-336" y="7076"/>
                  </a:lnTo>
                  <a:cubicBezTo>
                    <a:pt x="-222" y="8039"/>
                    <a:pt x="397" y="8877"/>
                    <a:pt x="1283" y="9267"/>
                  </a:cubicBezTo>
                  <a:lnTo>
                    <a:pt x="13856" y="16506"/>
                  </a:lnTo>
                  <a:cubicBezTo>
                    <a:pt x="16256" y="17849"/>
                    <a:pt x="19171" y="17849"/>
                    <a:pt x="21571" y="16506"/>
                  </a:cubicBezTo>
                  <a:lnTo>
                    <a:pt x="34144" y="9267"/>
                  </a:lnTo>
                  <a:cubicBezTo>
                    <a:pt x="35087" y="8896"/>
                    <a:pt x="35725" y="8001"/>
                    <a:pt x="35764" y="6981"/>
                  </a:cubicBezTo>
                  <a:lnTo>
                    <a:pt x="35764" y="-163"/>
                  </a:lnTo>
                  <a:cubicBezTo>
                    <a:pt x="35697" y="847"/>
                    <a:pt x="35068" y="1733"/>
                    <a:pt x="34144" y="2124"/>
                  </a:cubicBezTo>
                  <a:lnTo>
                    <a:pt x="31858" y="3457"/>
                  </a:lnTo>
                  <a:lnTo>
                    <a:pt x="21571" y="9362"/>
                  </a:lnTo>
                  <a:cubicBezTo>
                    <a:pt x="19152" y="10601"/>
                    <a:pt x="16275" y="10601"/>
                    <a:pt x="13856" y="9362"/>
                  </a:cubicBezTo>
                  <a:lnTo>
                    <a:pt x="3569" y="3457"/>
                  </a:lnTo>
                  <a:lnTo>
                    <a:pt x="1283" y="2124"/>
                  </a:lnTo>
                  <a:cubicBezTo>
                    <a:pt x="378" y="1695"/>
                    <a:pt x="-231"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245" name="ïṩľîḓè">
              <a:extLst>
                <a:ext uri="{FF2B5EF4-FFF2-40B4-BE49-F238E27FC236}">
                  <a16:creationId xmlns:a16="http://schemas.microsoft.com/office/drawing/2014/main" id="{55750701-70F0-45AD-8008-294C3FA5C02E}"/>
                </a:ext>
              </a:extLst>
            </p:cNvPr>
            <p:cNvSpPr/>
            <p:nvPr/>
          </p:nvSpPr>
          <p:spPr>
            <a:xfrm>
              <a:off x="5698982" y="4906703"/>
              <a:ext cx="109740" cy="63445"/>
            </a:xfrm>
            <a:custGeom>
              <a:avLst/>
              <a:gdLst>
                <a:gd name="connsiteX0" fmla="*/ -336 w 36052"/>
                <a:gd name="connsiteY0" fmla="*/ 10227 h 20843"/>
                <a:gd name="connsiteX1" fmla="*/ 1188 w 36052"/>
                <a:gd name="connsiteY1" fmla="*/ 12513 h 20843"/>
                <a:gd name="connsiteX2" fmla="*/ 3569 w 36052"/>
                <a:gd name="connsiteY2" fmla="*/ 13846 h 20843"/>
                <a:gd name="connsiteX3" fmla="*/ 13856 w 36052"/>
                <a:gd name="connsiteY3" fmla="*/ 19752 h 20843"/>
                <a:gd name="connsiteX4" fmla="*/ 21476 w 36052"/>
                <a:gd name="connsiteY4" fmla="*/ 19752 h 20843"/>
                <a:gd name="connsiteX5" fmla="*/ 31763 w 36052"/>
                <a:gd name="connsiteY5" fmla="*/ 13846 h 20843"/>
                <a:gd name="connsiteX6" fmla="*/ 34144 w 36052"/>
                <a:gd name="connsiteY6" fmla="*/ 12513 h 20843"/>
                <a:gd name="connsiteX7" fmla="*/ 35573 w 36052"/>
                <a:gd name="connsiteY7" fmla="*/ 9465 h 20843"/>
                <a:gd name="connsiteX8" fmla="*/ 34144 w 36052"/>
                <a:gd name="connsiteY8" fmla="*/ 8036 h 20843"/>
                <a:gd name="connsiteX9" fmla="*/ 21476 w 36052"/>
                <a:gd name="connsiteY9" fmla="*/ 702 h 20843"/>
                <a:gd name="connsiteX10" fmla="*/ 13856 w 36052"/>
                <a:gd name="connsiteY10" fmla="*/ 702 h 20843"/>
                <a:gd name="connsiteX11" fmla="*/ 1188 w 36052"/>
                <a:gd name="connsiteY11" fmla="*/ 8036 h 20843"/>
                <a:gd name="connsiteX12" fmla="*/ -336 w 36052"/>
                <a:gd name="connsiteY12" fmla="*/ 10227 h 20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3">
                  <a:moveTo>
                    <a:pt x="-336" y="10227"/>
                  </a:moveTo>
                  <a:cubicBezTo>
                    <a:pt x="-270" y="11208"/>
                    <a:pt x="311" y="12075"/>
                    <a:pt x="1188" y="12513"/>
                  </a:cubicBezTo>
                  <a:lnTo>
                    <a:pt x="3569" y="13846"/>
                  </a:lnTo>
                  <a:lnTo>
                    <a:pt x="13856" y="19752"/>
                  </a:lnTo>
                  <a:cubicBezTo>
                    <a:pt x="16247" y="20990"/>
                    <a:pt x="19085" y="20990"/>
                    <a:pt x="21476" y="19752"/>
                  </a:cubicBezTo>
                  <a:lnTo>
                    <a:pt x="31763" y="13846"/>
                  </a:lnTo>
                  <a:lnTo>
                    <a:pt x="34144" y="12513"/>
                  </a:lnTo>
                  <a:cubicBezTo>
                    <a:pt x="35382" y="12065"/>
                    <a:pt x="36020" y="10694"/>
                    <a:pt x="35573" y="9465"/>
                  </a:cubicBezTo>
                  <a:cubicBezTo>
                    <a:pt x="35325" y="8798"/>
                    <a:pt x="34811" y="8274"/>
                    <a:pt x="34144"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246" name="ïşļîḍe">
              <a:extLst>
                <a:ext uri="{FF2B5EF4-FFF2-40B4-BE49-F238E27FC236}">
                  <a16:creationId xmlns:a16="http://schemas.microsoft.com/office/drawing/2014/main" id="{02D9B9A8-B8CC-4F98-8FA0-61C0E2686DB1}"/>
                </a:ext>
              </a:extLst>
            </p:cNvPr>
            <p:cNvSpPr/>
            <p:nvPr/>
          </p:nvSpPr>
          <p:spPr>
            <a:xfrm>
              <a:off x="5701012" y="4907887"/>
              <a:ext cx="106260" cy="61101"/>
            </a:xfrm>
            <a:custGeom>
              <a:avLst/>
              <a:gdLst>
                <a:gd name="connsiteX0" fmla="*/ 1378 w 34909"/>
                <a:gd name="connsiteY0" fmla="*/ 12029 h 20073"/>
                <a:gd name="connsiteX1" fmla="*/ 13475 w 34909"/>
                <a:gd name="connsiteY1" fmla="*/ 18982 h 20073"/>
                <a:gd name="connsiteX2" fmla="*/ 20904 w 34909"/>
                <a:gd name="connsiteY2" fmla="*/ 18982 h 20073"/>
                <a:gd name="connsiteX3" fmla="*/ 33001 w 34909"/>
                <a:gd name="connsiteY3" fmla="*/ 12029 h 20073"/>
                <a:gd name="connsiteX4" fmla="*/ 33001 w 34909"/>
                <a:gd name="connsiteY4" fmla="*/ 7743 h 20073"/>
                <a:gd name="connsiteX5" fmla="*/ 20904 w 34909"/>
                <a:gd name="connsiteY5" fmla="*/ 695 h 20073"/>
                <a:gd name="connsiteX6" fmla="*/ 13475 w 34909"/>
                <a:gd name="connsiteY6" fmla="*/ 695 h 20073"/>
                <a:gd name="connsiteX7" fmla="*/ 1378 w 34909"/>
                <a:gd name="connsiteY7" fmla="*/ 7743 h 20073"/>
                <a:gd name="connsiteX8" fmla="*/ 1378 w 34909"/>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909" h="20073">
                  <a:moveTo>
                    <a:pt x="1378" y="12029"/>
                  </a:moveTo>
                  <a:lnTo>
                    <a:pt x="13475" y="18982"/>
                  </a:lnTo>
                  <a:cubicBezTo>
                    <a:pt x="15799" y="20221"/>
                    <a:pt x="18580" y="20221"/>
                    <a:pt x="20904" y="18982"/>
                  </a:cubicBezTo>
                  <a:lnTo>
                    <a:pt x="33001" y="12029"/>
                  </a:lnTo>
                  <a:cubicBezTo>
                    <a:pt x="35097" y="10791"/>
                    <a:pt x="35097" y="8886"/>
                    <a:pt x="33001" y="7743"/>
                  </a:cubicBezTo>
                  <a:lnTo>
                    <a:pt x="20904" y="695"/>
                  </a:lnTo>
                  <a:cubicBezTo>
                    <a:pt x="18561" y="-448"/>
                    <a:pt x="15818" y="-448"/>
                    <a:pt x="13475" y="695"/>
                  </a:cubicBezTo>
                  <a:lnTo>
                    <a:pt x="1378" y="7743"/>
                  </a:lnTo>
                  <a:cubicBezTo>
                    <a:pt x="-908" y="8886"/>
                    <a:pt x="-908" y="10791"/>
                    <a:pt x="1378" y="12029"/>
                  </a:cubicBezTo>
                  <a:close/>
                </a:path>
              </a:pathLst>
            </a:custGeom>
            <a:solidFill>
              <a:srgbClr val="D1D9E8"/>
            </a:solidFill>
            <a:ln w="9525" cap="flat">
              <a:noFill/>
              <a:prstDash val="solid"/>
              <a:miter/>
            </a:ln>
          </p:spPr>
          <p:txBody>
            <a:bodyPr rtlCol="0" anchor="ctr"/>
            <a:lstStyle/>
            <a:p>
              <a:endParaRPr lang="zh-CN" altLang="en-US"/>
            </a:p>
          </p:txBody>
        </p:sp>
        <p:sp>
          <p:nvSpPr>
            <p:cNvPr id="247" name="isļîḋé">
              <a:extLst>
                <a:ext uri="{FF2B5EF4-FFF2-40B4-BE49-F238E27FC236}">
                  <a16:creationId xmlns:a16="http://schemas.microsoft.com/office/drawing/2014/main" id="{7F87F0CE-F1FE-420C-B198-7E457F1434B8}"/>
                </a:ext>
              </a:extLst>
            </p:cNvPr>
            <p:cNvSpPr/>
            <p:nvPr/>
          </p:nvSpPr>
          <p:spPr>
            <a:xfrm>
              <a:off x="5698982" y="4938329"/>
              <a:ext cx="109594" cy="53801"/>
            </a:xfrm>
            <a:custGeom>
              <a:avLst/>
              <a:gdLst>
                <a:gd name="connsiteX0" fmla="*/ -336 w 36004"/>
                <a:gd name="connsiteY0" fmla="*/ -163 h 17675"/>
                <a:gd name="connsiteX1" fmla="*/ -336 w 36004"/>
                <a:gd name="connsiteY1" fmla="*/ 7076 h 17675"/>
                <a:gd name="connsiteX2" fmla="*/ 1188 w 36004"/>
                <a:gd name="connsiteY2" fmla="*/ 9267 h 17675"/>
                <a:gd name="connsiteX3" fmla="*/ 13856 w 36004"/>
                <a:gd name="connsiteY3" fmla="*/ 16506 h 17675"/>
                <a:gd name="connsiteX4" fmla="*/ 21476 w 36004"/>
                <a:gd name="connsiteY4" fmla="*/ 16506 h 17675"/>
                <a:gd name="connsiteX5" fmla="*/ 34144 w 36004"/>
                <a:gd name="connsiteY5" fmla="*/ 9267 h 17675"/>
                <a:gd name="connsiteX6" fmla="*/ 35668 w 36004"/>
                <a:gd name="connsiteY6" fmla="*/ 6981 h 17675"/>
                <a:gd name="connsiteX7" fmla="*/ 35668 w 36004"/>
                <a:gd name="connsiteY7" fmla="*/ -163 h 17675"/>
                <a:gd name="connsiteX8" fmla="*/ 34144 w 36004"/>
                <a:gd name="connsiteY8" fmla="*/ 2123 h 17675"/>
                <a:gd name="connsiteX9" fmla="*/ 31763 w 36004"/>
                <a:gd name="connsiteY9" fmla="*/ 3457 h 17675"/>
                <a:gd name="connsiteX10" fmla="*/ 21476 w 36004"/>
                <a:gd name="connsiteY10" fmla="*/ 9362 h 17675"/>
                <a:gd name="connsiteX11" fmla="*/ 13856 w 36004"/>
                <a:gd name="connsiteY11" fmla="*/ 9362 h 17675"/>
                <a:gd name="connsiteX12" fmla="*/ 3569 w 36004"/>
                <a:gd name="connsiteY12" fmla="*/ 3457 h 17675"/>
                <a:gd name="connsiteX13" fmla="*/ 1188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41" y="8019"/>
                    <a:pt x="340" y="8848"/>
                    <a:pt x="1188" y="9267"/>
                  </a:cubicBezTo>
                  <a:lnTo>
                    <a:pt x="13856" y="16506"/>
                  </a:lnTo>
                  <a:cubicBezTo>
                    <a:pt x="16218" y="17849"/>
                    <a:pt x="19114" y="17849"/>
                    <a:pt x="21476" y="16506"/>
                  </a:cubicBezTo>
                  <a:lnTo>
                    <a:pt x="34144" y="9267"/>
                  </a:lnTo>
                  <a:cubicBezTo>
                    <a:pt x="35021" y="8829"/>
                    <a:pt x="35602" y="7962"/>
                    <a:pt x="35668" y="6981"/>
                  </a:cubicBezTo>
                  <a:lnTo>
                    <a:pt x="35668" y="-163"/>
                  </a:lnTo>
                  <a:cubicBezTo>
                    <a:pt x="35602" y="818"/>
                    <a:pt x="35021" y="1685"/>
                    <a:pt x="34144" y="2123"/>
                  </a:cubicBezTo>
                  <a:lnTo>
                    <a:pt x="31763" y="3457"/>
                  </a:lnTo>
                  <a:lnTo>
                    <a:pt x="21476" y="9362"/>
                  </a:lnTo>
                  <a:cubicBezTo>
                    <a:pt x="19085" y="10601"/>
                    <a:pt x="16247" y="10601"/>
                    <a:pt x="13856" y="9362"/>
                  </a:cubicBezTo>
                  <a:lnTo>
                    <a:pt x="3569" y="3457"/>
                  </a:lnTo>
                  <a:lnTo>
                    <a:pt x="1188"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248" name="íṥ1îďe">
              <a:extLst>
                <a:ext uri="{FF2B5EF4-FFF2-40B4-BE49-F238E27FC236}">
                  <a16:creationId xmlns:a16="http://schemas.microsoft.com/office/drawing/2014/main" id="{A114EA82-4E41-47B0-AF81-DFFA345FBAF8}"/>
                </a:ext>
              </a:extLst>
            </p:cNvPr>
            <p:cNvSpPr/>
            <p:nvPr/>
          </p:nvSpPr>
          <p:spPr>
            <a:xfrm>
              <a:off x="5776395" y="4951354"/>
              <a:ext cx="109447" cy="63445"/>
            </a:xfrm>
            <a:custGeom>
              <a:avLst/>
              <a:gdLst>
                <a:gd name="connsiteX0" fmla="*/ -336 w 35956"/>
                <a:gd name="connsiteY0" fmla="*/ 10227 h 20843"/>
                <a:gd name="connsiteX1" fmla="*/ 1187 w 35956"/>
                <a:gd name="connsiteY1" fmla="*/ 12513 h 20843"/>
                <a:gd name="connsiteX2" fmla="*/ 3569 w 35956"/>
                <a:gd name="connsiteY2" fmla="*/ 13846 h 20843"/>
                <a:gd name="connsiteX3" fmla="*/ 13856 w 35956"/>
                <a:gd name="connsiteY3" fmla="*/ 19752 h 20843"/>
                <a:gd name="connsiteX4" fmla="*/ 21476 w 35956"/>
                <a:gd name="connsiteY4" fmla="*/ 19752 h 20843"/>
                <a:gd name="connsiteX5" fmla="*/ 31763 w 35956"/>
                <a:gd name="connsiteY5" fmla="*/ 13846 h 20843"/>
                <a:gd name="connsiteX6" fmla="*/ 34049 w 35956"/>
                <a:gd name="connsiteY6" fmla="*/ 12513 h 20843"/>
                <a:gd name="connsiteX7" fmla="*/ 35477 w 35956"/>
                <a:gd name="connsiteY7" fmla="*/ 9465 h 20843"/>
                <a:gd name="connsiteX8" fmla="*/ 34049 w 35956"/>
                <a:gd name="connsiteY8" fmla="*/ 8036 h 20843"/>
                <a:gd name="connsiteX9" fmla="*/ 21476 w 35956"/>
                <a:gd name="connsiteY9" fmla="*/ 702 h 20843"/>
                <a:gd name="connsiteX10" fmla="*/ 13856 w 35956"/>
                <a:gd name="connsiteY10" fmla="*/ 702 h 20843"/>
                <a:gd name="connsiteX11" fmla="*/ 1187 w 35956"/>
                <a:gd name="connsiteY11" fmla="*/ 8036 h 20843"/>
                <a:gd name="connsiteX12" fmla="*/ -336 w 35956"/>
                <a:gd name="connsiteY12" fmla="*/ 10227 h 20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956" h="20843">
                  <a:moveTo>
                    <a:pt x="-336" y="10227"/>
                  </a:moveTo>
                  <a:cubicBezTo>
                    <a:pt x="-270" y="11208"/>
                    <a:pt x="311" y="12075"/>
                    <a:pt x="1187" y="12513"/>
                  </a:cubicBezTo>
                  <a:lnTo>
                    <a:pt x="3569" y="13846"/>
                  </a:lnTo>
                  <a:lnTo>
                    <a:pt x="13856" y="19752"/>
                  </a:lnTo>
                  <a:cubicBezTo>
                    <a:pt x="16247" y="20990"/>
                    <a:pt x="19085" y="20990"/>
                    <a:pt x="21476" y="19752"/>
                  </a:cubicBezTo>
                  <a:lnTo>
                    <a:pt x="31763" y="13846"/>
                  </a:lnTo>
                  <a:lnTo>
                    <a:pt x="34049" y="12513"/>
                  </a:lnTo>
                  <a:cubicBezTo>
                    <a:pt x="35287" y="12065"/>
                    <a:pt x="35925" y="10693"/>
                    <a:pt x="35477" y="9465"/>
                  </a:cubicBezTo>
                  <a:cubicBezTo>
                    <a:pt x="35230" y="8798"/>
                    <a:pt x="34716" y="8274"/>
                    <a:pt x="34049" y="8036"/>
                  </a:cubicBezTo>
                  <a:lnTo>
                    <a:pt x="21476" y="702"/>
                  </a:lnTo>
                  <a:cubicBezTo>
                    <a:pt x="19066" y="-451"/>
                    <a:pt x="16266" y="-451"/>
                    <a:pt x="13856" y="702"/>
                  </a:cubicBezTo>
                  <a:lnTo>
                    <a:pt x="1187"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249" name="î$ļiḑè">
              <a:extLst>
                <a:ext uri="{FF2B5EF4-FFF2-40B4-BE49-F238E27FC236}">
                  <a16:creationId xmlns:a16="http://schemas.microsoft.com/office/drawing/2014/main" id="{28DD7512-64F5-42B3-86A1-89285087C8E6}"/>
                </a:ext>
              </a:extLst>
            </p:cNvPr>
            <p:cNvSpPr/>
            <p:nvPr/>
          </p:nvSpPr>
          <p:spPr>
            <a:xfrm>
              <a:off x="5778206" y="4952535"/>
              <a:ext cx="105898" cy="61101"/>
            </a:xfrm>
            <a:custGeom>
              <a:avLst/>
              <a:gdLst>
                <a:gd name="connsiteX0" fmla="*/ 1164 w 34790"/>
                <a:gd name="connsiteY0" fmla="*/ 12029 h 20073"/>
                <a:gd name="connsiteX1" fmla="*/ 13356 w 34790"/>
                <a:gd name="connsiteY1" fmla="*/ 18983 h 20073"/>
                <a:gd name="connsiteX2" fmla="*/ 20785 w 34790"/>
                <a:gd name="connsiteY2" fmla="*/ 18983 h 20073"/>
                <a:gd name="connsiteX3" fmla="*/ 32882 w 34790"/>
                <a:gd name="connsiteY3" fmla="*/ 12029 h 20073"/>
                <a:gd name="connsiteX4" fmla="*/ 32882 w 34790"/>
                <a:gd name="connsiteY4" fmla="*/ 7743 h 20073"/>
                <a:gd name="connsiteX5" fmla="*/ 20785 w 34790"/>
                <a:gd name="connsiteY5" fmla="*/ 695 h 20073"/>
                <a:gd name="connsiteX6" fmla="*/ 13356 w 34790"/>
                <a:gd name="connsiteY6" fmla="*/ 695 h 20073"/>
                <a:gd name="connsiteX7" fmla="*/ 1164 w 34790"/>
                <a:gd name="connsiteY7" fmla="*/ 7743 h 20073"/>
                <a:gd name="connsiteX8" fmla="*/ 1164 w 34790"/>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3">
                  <a:moveTo>
                    <a:pt x="1164" y="12029"/>
                  </a:moveTo>
                  <a:lnTo>
                    <a:pt x="13356" y="18983"/>
                  </a:lnTo>
                  <a:cubicBezTo>
                    <a:pt x="15680" y="20221"/>
                    <a:pt x="18461" y="20221"/>
                    <a:pt x="20785" y="18983"/>
                  </a:cubicBezTo>
                  <a:lnTo>
                    <a:pt x="32882" y="12029"/>
                  </a:lnTo>
                  <a:cubicBezTo>
                    <a:pt x="34978" y="10791"/>
                    <a:pt x="34978" y="8886"/>
                    <a:pt x="32882" y="7743"/>
                  </a:cubicBezTo>
                  <a:lnTo>
                    <a:pt x="20785" y="695"/>
                  </a:lnTo>
                  <a:cubicBezTo>
                    <a:pt x="18442" y="-448"/>
                    <a:pt x="15699" y="-448"/>
                    <a:pt x="13356" y="695"/>
                  </a:cubicBezTo>
                  <a:lnTo>
                    <a:pt x="1164" y="7743"/>
                  </a:lnTo>
                  <a:cubicBezTo>
                    <a:pt x="-836" y="8886"/>
                    <a:pt x="-836" y="10791"/>
                    <a:pt x="1164" y="12029"/>
                  </a:cubicBezTo>
                  <a:close/>
                </a:path>
              </a:pathLst>
            </a:custGeom>
            <a:solidFill>
              <a:srgbClr val="D1D9E8"/>
            </a:solidFill>
            <a:ln w="9525" cap="flat">
              <a:noFill/>
              <a:prstDash val="solid"/>
              <a:miter/>
            </a:ln>
          </p:spPr>
          <p:txBody>
            <a:bodyPr rtlCol="0" anchor="ctr"/>
            <a:lstStyle/>
            <a:p>
              <a:endParaRPr lang="zh-CN" altLang="en-US"/>
            </a:p>
          </p:txBody>
        </p:sp>
        <p:sp>
          <p:nvSpPr>
            <p:cNvPr id="250" name="íṡľîďe">
              <a:extLst>
                <a:ext uri="{FF2B5EF4-FFF2-40B4-BE49-F238E27FC236}">
                  <a16:creationId xmlns:a16="http://schemas.microsoft.com/office/drawing/2014/main" id="{028932BE-8550-4FFD-834C-526ADF8F0A93}"/>
                </a:ext>
              </a:extLst>
            </p:cNvPr>
            <p:cNvSpPr/>
            <p:nvPr/>
          </p:nvSpPr>
          <p:spPr>
            <a:xfrm>
              <a:off x="5776395" y="4982978"/>
              <a:ext cx="109594" cy="53564"/>
            </a:xfrm>
            <a:custGeom>
              <a:avLst/>
              <a:gdLst>
                <a:gd name="connsiteX0" fmla="*/ -336 w 36004"/>
                <a:gd name="connsiteY0" fmla="*/ -163 h 17597"/>
                <a:gd name="connsiteX1" fmla="*/ -336 w 36004"/>
                <a:gd name="connsiteY1" fmla="*/ 7076 h 17597"/>
                <a:gd name="connsiteX2" fmla="*/ 1187 w 36004"/>
                <a:gd name="connsiteY2" fmla="*/ 9267 h 17597"/>
                <a:gd name="connsiteX3" fmla="*/ 13856 w 36004"/>
                <a:gd name="connsiteY3" fmla="*/ 16506 h 17597"/>
                <a:gd name="connsiteX4" fmla="*/ 21476 w 36004"/>
                <a:gd name="connsiteY4" fmla="*/ 16506 h 17597"/>
                <a:gd name="connsiteX5" fmla="*/ 34049 w 36004"/>
                <a:gd name="connsiteY5" fmla="*/ 9267 h 17597"/>
                <a:gd name="connsiteX6" fmla="*/ 35668 w 36004"/>
                <a:gd name="connsiteY6" fmla="*/ 6981 h 17597"/>
                <a:gd name="connsiteX7" fmla="*/ 35668 w 36004"/>
                <a:gd name="connsiteY7" fmla="*/ -163 h 17597"/>
                <a:gd name="connsiteX8" fmla="*/ 34049 w 36004"/>
                <a:gd name="connsiteY8" fmla="*/ 2123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7 w 36004"/>
                <a:gd name="connsiteY13" fmla="*/ 2123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7" y="9267"/>
                  </a:cubicBezTo>
                  <a:lnTo>
                    <a:pt x="13856" y="16506"/>
                  </a:lnTo>
                  <a:cubicBezTo>
                    <a:pt x="16247" y="17744"/>
                    <a:pt x="19085" y="17744"/>
                    <a:pt x="21476" y="16506"/>
                  </a:cubicBezTo>
                  <a:lnTo>
                    <a:pt x="34049" y="9267"/>
                  </a:lnTo>
                  <a:cubicBezTo>
                    <a:pt x="34963" y="8857"/>
                    <a:pt x="35582" y="7981"/>
                    <a:pt x="35668" y="6981"/>
                  </a:cubicBezTo>
                  <a:lnTo>
                    <a:pt x="35668" y="-163"/>
                  </a:lnTo>
                  <a:cubicBezTo>
                    <a:pt x="35601" y="847"/>
                    <a:pt x="34982" y="1733"/>
                    <a:pt x="34049" y="2123"/>
                  </a:cubicBezTo>
                  <a:lnTo>
                    <a:pt x="31763" y="3457"/>
                  </a:lnTo>
                  <a:lnTo>
                    <a:pt x="21476" y="9362"/>
                  </a:lnTo>
                  <a:cubicBezTo>
                    <a:pt x="19085" y="10601"/>
                    <a:pt x="16247" y="10601"/>
                    <a:pt x="13856" y="9362"/>
                  </a:cubicBezTo>
                  <a:lnTo>
                    <a:pt x="3569" y="3457"/>
                  </a:lnTo>
                  <a:lnTo>
                    <a:pt x="1187"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251" name="îşlïďê">
              <a:extLst>
                <a:ext uri="{FF2B5EF4-FFF2-40B4-BE49-F238E27FC236}">
                  <a16:creationId xmlns:a16="http://schemas.microsoft.com/office/drawing/2014/main" id="{F0E950BE-2D0B-482C-9D1E-6C23B2AE73B9}"/>
                </a:ext>
              </a:extLst>
            </p:cNvPr>
            <p:cNvSpPr/>
            <p:nvPr/>
          </p:nvSpPr>
          <p:spPr>
            <a:xfrm>
              <a:off x="5853516" y="4996003"/>
              <a:ext cx="109740" cy="63442"/>
            </a:xfrm>
            <a:custGeom>
              <a:avLst/>
              <a:gdLst>
                <a:gd name="connsiteX0" fmla="*/ -336 w 36052"/>
                <a:gd name="connsiteY0" fmla="*/ 10227 h 20842"/>
                <a:gd name="connsiteX1" fmla="*/ 1283 w 36052"/>
                <a:gd name="connsiteY1" fmla="*/ 12513 h 20842"/>
                <a:gd name="connsiteX2" fmla="*/ 3569 w 36052"/>
                <a:gd name="connsiteY2" fmla="*/ 13846 h 20842"/>
                <a:gd name="connsiteX3" fmla="*/ 13856 w 36052"/>
                <a:gd name="connsiteY3" fmla="*/ 19752 h 20842"/>
                <a:gd name="connsiteX4" fmla="*/ 21476 w 36052"/>
                <a:gd name="connsiteY4" fmla="*/ 19752 h 20842"/>
                <a:gd name="connsiteX5" fmla="*/ 31763 w 36052"/>
                <a:gd name="connsiteY5" fmla="*/ 13846 h 20842"/>
                <a:gd name="connsiteX6" fmla="*/ 34144 w 36052"/>
                <a:gd name="connsiteY6" fmla="*/ 12513 h 20842"/>
                <a:gd name="connsiteX7" fmla="*/ 35573 w 36052"/>
                <a:gd name="connsiteY7" fmla="*/ 9465 h 20842"/>
                <a:gd name="connsiteX8" fmla="*/ 34144 w 36052"/>
                <a:gd name="connsiteY8" fmla="*/ 8036 h 20842"/>
                <a:gd name="connsiteX9" fmla="*/ 21476 w 36052"/>
                <a:gd name="connsiteY9" fmla="*/ 702 h 20842"/>
                <a:gd name="connsiteX10" fmla="*/ 13856 w 36052"/>
                <a:gd name="connsiteY10" fmla="*/ 702 h 20842"/>
                <a:gd name="connsiteX11" fmla="*/ 1283 w 36052"/>
                <a:gd name="connsiteY11" fmla="*/ 8036 h 20842"/>
                <a:gd name="connsiteX12" fmla="*/ -336 w 36052"/>
                <a:gd name="connsiteY12" fmla="*/ 10227 h 20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2">
                  <a:moveTo>
                    <a:pt x="-336" y="10227"/>
                  </a:moveTo>
                  <a:cubicBezTo>
                    <a:pt x="-269" y="11236"/>
                    <a:pt x="350" y="12122"/>
                    <a:pt x="1283" y="12513"/>
                  </a:cubicBezTo>
                  <a:lnTo>
                    <a:pt x="3569" y="13846"/>
                  </a:lnTo>
                  <a:lnTo>
                    <a:pt x="13856" y="19752"/>
                  </a:lnTo>
                  <a:cubicBezTo>
                    <a:pt x="16247" y="20990"/>
                    <a:pt x="19085" y="20990"/>
                    <a:pt x="21476" y="19752"/>
                  </a:cubicBezTo>
                  <a:lnTo>
                    <a:pt x="31763" y="13846"/>
                  </a:lnTo>
                  <a:lnTo>
                    <a:pt x="34144" y="12513"/>
                  </a:lnTo>
                  <a:cubicBezTo>
                    <a:pt x="35382" y="12065"/>
                    <a:pt x="36021" y="10693"/>
                    <a:pt x="35573" y="9465"/>
                  </a:cubicBezTo>
                  <a:cubicBezTo>
                    <a:pt x="35325" y="8798"/>
                    <a:pt x="34811" y="8274"/>
                    <a:pt x="34144" y="8036"/>
                  </a:cubicBezTo>
                  <a:lnTo>
                    <a:pt x="21476" y="702"/>
                  </a:lnTo>
                  <a:cubicBezTo>
                    <a:pt x="19066" y="-451"/>
                    <a:pt x="16266" y="-451"/>
                    <a:pt x="13856" y="702"/>
                  </a:cubicBezTo>
                  <a:lnTo>
                    <a:pt x="1283" y="8036"/>
                  </a:lnTo>
                  <a:cubicBezTo>
                    <a:pt x="378" y="8417"/>
                    <a:pt x="-241" y="9255"/>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252" name="ïSḻiďe">
              <a:extLst>
                <a:ext uri="{FF2B5EF4-FFF2-40B4-BE49-F238E27FC236}">
                  <a16:creationId xmlns:a16="http://schemas.microsoft.com/office/drawing/2014/main" id="{641B0374-064C-492B-9DAA-9D298C67780B}"/>
                </a:ext>
              </a:extLst>
            </p:cNvPr>
            <p:cNvSpPr/>
            <p:nvPr/>
          </p:nvSpPr>
          <p:spPr>
            <a:xfrm>
              <a:off x="5855400" y="4997184"/>
              <a:ext cx="105898" cy="61104"/>
            </a:xfrm>
            <a:custGeom>
              <a:avLst/>
              <a:gdLst>
                <a:gd name="connsiteX0" fmla="*/ 1235 w 34790"/>
                <a:gd name="connsiteY0" fmla="*/ 12029 h 20074"/>
                <a:gd name="connsiteX1" fmla="*/ 13332 w 34790"/>
                <a:gd name="connsiteY1" fmla="*/ 18983 h 20074"/>
                <a:gd name="connsiteX2" fmla="*/ 20761 w 34790"/>
                <a:gd name="connsiteY2" fmla="*/ 18983 h 20074"/>
                <a:gd name="connsiteX3" fmla="*/ 32954 w 34790"/>
                <a:gd name="connsiteY3" fmla="*/ 12029 h 20074"/>
                <a:gd name="connsiteX4" fmla="*/ 32954 w 34790"/>
                <a:gd name="connsiteY4" fmla="*/ 7743 h 20074"/>
                <a:gd name="connsiteX5" fmla="*/ 20761 w 34790"/>
                <a:gd name="connsiteY5" fmla="*/ 695 h 20074"/>
                <a:gd name="connsiteX6" fmla="*/ 13332 w 34790"/>
                <a:gd name="connsiteY6" fmla="*/ 695 h 20074"/>
                <a:gd name="connsiteX7" fmla="*/ 1235 w 34790"/>
                <a:gd name="connsiteY7" fmla="*/ 7743 h 20074"/>
                <a:gd name="connsiteX8" fmla="*/ 1235 w 34790"/>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4">
                  <a:moveTo>
                    <a:pt x="1235" y="12029"/>
                  </a:moveTo>
                  <a:lnTo>
                    <a:pt x="13332" y="18983"/>
                  </a:lnTo>
                  <a:cubicBezTo>
                    <a:pt x="15656" y="20221"/>
                    <a:pt x="18437" y="20221"/>
                    <a:pt x="20761" y="18983"/>
                  </a:cubicBezTo>
                  <a:lnTo>
                    <a:pt x="32954" y="12029"/>
                  </a:lnTo>
                  <a:cubicBezTo>
                    <a:pt x="34954" y="10791"/>
                    <a:pt x="34954" y="8886"/>
                    <a:pt x="32954" y="7743"/>
                  </a:cubicBezTo>
                  <a:lnTo>
                    <a:pt x="20761" y="695"/>
                  </a:lnTo>
                  <a:cubicBezTo>
                    <a:pt x="18419" y="-448"/>
                    <a:pt x="15675" y="-448"/>
                    <a:pt x="13332" y="695"/>
                  </a:cubicBezTo>
                  <a:lnTo>
                    <a:pt x="1235" y="7743"/>
                  </a:lnTo>
                  <a:cubicBezTo>
                    <a:pt x="-860" y="8886"/>
                    <a:pt x="-860" y="10601"/>
                    <a:pt x="1235" y="12029"/>
                  </a:cubicBezTo>
                  <a:close/>
                </a:path>
              </a:pathLst>
            </a:custGeom>
            <a:solidFill>
              <a:srgbClr val="D1D9E8"/>
            </a:solidFill>
            <a:ln w="9525" cap="flat">
              <a:noFill/>
              <a:prstDash val="solid"/>
              <a:miter/>
            </a:ln>
          </p:spPr>
          <p:txBody>
            <a:bodyPr rtlCol="0" anchor="ctr"/>
            <a:lstStyle/>
            <a:p>
              <a:endParaRPr lang="zh-CN" altLang="en-US"/>
            </a:p>
          </p:txBody>
        </p:sp>
        <p:sp>
          <p:nvSpPr>
            <p:cNvPr id="253" name="îṩľïḋè">
              <a:extLst>
                <a:ext uri="{FF2B5EF4-FFF2-40B4-BE49-F238E27FC236}">
                  <a16:creationId xmlns:a16="http://schemas.microsoft.com/office/drawing/2014/main" id="{D60BFE7C-42B7-4051-A33B-82C45062184C}"/>
                </a:ext>
              </a:extLst>
            </p:cNvPr>
            <p:cNvSpPr/>
            <p:nvPr/>
          </p:nvSpPr>
          <p:spPr>
            <a:xfrm>
              <a:off x="5853516" y="5027629"/>
              <a:ext cx="109594" cy="53564"/>
            </a:xfrm>
            <a:custGeom>
              <a:avLst/>
              <a:gdLst>
                <a:gd name="connsiteX0" fmla="*/ -336 w 36004"/>
                <a:gd name="connsiteY0" fmla="*/ -163 h 17597"/>
                <a:gd name="connsiteX1" fmla="*/ -336 w 36004"/>
                <a:gd name="connsiteY1" fmla="*/ 7076 h 17597"/>
                <a:gd name="connsiteX2" fmla="*/ 1283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3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283 w 36004"/>
                <a:gd name="connsiteY13" fmla="*/ 2123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48"/>
                    <a:pt x="378" y="8886"/>
                    <a:pt x="1283" y="9267"/>
                  </a:cubicBezTo>
                  <a:lnTo>
                    <a:pt x="13856" y="16506"/>
                  </a:lnTo>
                  <a:cubicBezTo>
                    <a:pt x="16247" y="17744"/>
                    <a:pt x="19085" y="17744"/>
                    <a:pt x="21476" y="16506"/>
                  </a:cubicBezTo>
                  <a:lnTo>
                    <a:pt x="34144" y="9267"/>
                  </a:lnTo>
                  <a:cubicBezTo>
                    <a:pt x="35011" y="8819"/>
                    <a:pt x="35583" y="7953"/>
                    <a:pt x="35668" y="6981"/>
                  </a:cubicBezTo>
                  <a:lnTo>
                    <a:pt x="35668" y="-163"/>
                  </a:lnTo>
                  <a:cubicBezTo>
                    <a:pt x="35602" y="818"/>
                    <a:pt x="35021" y="1685"/>
                    <a:pt x="34144" y="2123"/>
                  </a:cubicBezTo>
                  <a:lnTo>
                    <a:pt x="31763" y="3457"/>
                  </a:lnTo>
                  <a:lnTo>
                    <a:pt x="21476" y="9362"/>
                  </a:lnTo>
                  <a:cubicBezTo>
                    <a:pt x="19085" y="10600"/>
                    <a:pt x="16247" y="10600"/>
                    <a:pt x="13856" y="9362"/>
                  </a:cubicBezTo>
                  <a:lnTo>
                    <a:pt x="3569" y="3457"/>
                  </a:lnTo>
                  <a:lnTo>
                    <a:pt x="1283" y="2123"/>
                  </a:lnTo>
                  <a:cubicBezTo>
                    <a:pt x="350" y="1733"/>
                    <a:pt x="-269" y="847"/>
                    <a:pt x="-336" y="-163"/>
                  </a:cubicBezTo>
                  <a:close/>
                </a:path>
              </a:pathLst>
            </a:custGeom>
            <a:solidFill>
              <a:srgbClr val="BF4200"/>
            </a:solidFill>
            <a:ln w="9525" cap="flat">
              <a:noFill/>
              <a:prstDash val="solid"/>
              <a:miter/>
            </a:ln>
          </p:spPr>
          <p:txBody>
            <a:bodyPr rtlCol="0" anchor="ctr"/>
            <a:lstStyle/>
            <a:p>
              <a:endParaRPr lang="zh-CN" altLang="en-US"/>
            </a:p>
          </p:txBody>
        </p:sp>
        <p:sp>
          <p:nvSpPr>
            <p:cNvPr id="254" name="ïṡļídé">
              <a:extLst>
                <a:ext uri="{FF2B5EF4-FFF2-40B4-BE49-F238E27FC236}">
                  <a16:creationId xmlns:a16="http://schemas.microsoft.com/office/drawing/2014/main" id="{1FBD88A2-8C4B-41C8-9644-A67F0E2C7682}"/>
                </a:ext>
              </a:extLst>
            </p:cNvPr>
            <p:cNvSpPr/>
            <p:nvPr/>
          </p:nvSpPr>
          <p:spPr>
            <a:xfrm>
              <a:off x="5930929" y="5040456"/>
              <a:ext cx="109594" cy="63639"/>
            </a:xfrm>
            <a:custGeom>
              <a:avLst/>
              <a:gdLst>
                <a:gd name="connsiteX0" fmla="*/ -336 w 36004"/>
                <a:gd name="connsiteY0" fmla="*/ 10291 h 20907"/>
                <a:gd name="connsiteX1" fmla="*/ 1188 w 36004"/>
                <a:gd name="connsiteY1" fmla="*/ 12577 h 20907"/>
                <a:gd name="connsiteX2" fmla="*/ 3569 w 36004"/>
                <a:gd name="connsiteY2" fmla="*/ 13911 h 20907"/>
                <a:gd name="connsiteX3" fmla="*/ 13856 w 36004"/>
                <a:gd name="connsiteY3" fmla="*/ 19816 h 20907"/>
                <a:gd name="connsiteX4" fmla="*/ 21476 w 36004"/>
                <a:gd name="connsiteY4" fmla="*/ 19816 h 20907"/>
                <a:gd name="connsiteX5" fmla="*/ 31763 w 36004"/>
                <a:gd name="connsiteY5" fmla="*/ 13911 h 20907"/>
                <a:gd name="connsiteX6" fmla="*/ 34144 w 36004"/>
                <a:gd name="connsiteY6" fmla="*/ 12577 h 20907"/>
                <a:gd name="connsiteX7" fmla="*/ 35668 w 36004"/>
                <a:gd name="connsiteY7" fmla="*/ 10291 h 20907"/>
                <a:gd name="connsiteX8" fmla="*/ 34144 w 36004"/>
                <a:gd name="connsiteY8" fmla="*/ 8101 h 20907"/>
                <a:gd name="connsiteX9" fmla="*/ 21476 w 36004"/>
                <a:gd name="connsiteY9" fmla="*/ 766 h 20907"/>
                <a:gd name="connsiteX10" fmla="*/ 13856 w 36004"/>
                <a:gd name="connsiteY10" fmla="*/ 766 h 20907"/>
                <a:gd name="connsiteX11" fmla="*/ 1188 w 36004"/>
                <a:gd name="connsiteY11" fmla="*/ 8101 h 20907"/>
                <a:gd name="connsiteX12" fmla="*/ -336 w 36004"/>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907">
                  <a:moveTo>
                    <a:pt x="-336" y="10291"/>
                  </a:moveTo>
                  <a:cubicBezTo>
                    <a:pt x="-270" y="11272"/>
                    <a:pt x="311" y="12139"/>
                    <a:pt x="1188" y="12577"/>
                  </a:cubicBezTo>
                  <a:lnTo>
                    <a:pt x="3569" y="13911"/>
                  </a:lnTo>
                  <a:lnTo>
                    <a:pt x="13856" y="19816"/>
                  </a:lnTo>
                  <a:cubicBezTo>
                    <a:pt x="16247" y="21054"/>
                    <a:pt x="19085" y="21054"/>
                    <a:pt x="21476" y="19816"/>
                  </a:cubicBezTo>
                  <a:lnTo>
                    <a:pt x="31763" y="13911"/>
                  </a:lnTo>
                  <a:lnTo>
                    <a:pt x="34144" y="12577"/>
                  </a:lnTo>
                  <a:cubicBezTo>
                    <a:pt x="35021" y="12139"/>
                    <a:pt x="35602" y="11272"/>
                    <a:pt x="35668" y="10291"/>
                  </a:cubicBezTo>
                  <a:cubicBezTo>
                    <a:pt x="35611" y="9339"/>
                    <a:pt x="35021" y="8491"/>
                    <a:pt x="34144" y="8101"/>
                  </a:cubicBezTo>
                  <a:lnTo>
                    <a:pt x="21476" y="766"/>
                  </a:lnTo>
                  <a:cubicBezTo>
                    <a:pt x="19085" y="-472"/>
                    <a:pt x="16247" y="-472"/>
                    <a:pt x="13856" y="766"/>
                  </a:cubicBezTo>
                  <a:lnTo>
                    <a:pt x="1188" y="8101"/>
                  </a:lnTo>
                  <a:cubicBezTo>
                    <a:pt x="311" y="8491"/>
                    <a:pt x="-279"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255" name="îṧliḋe">
              <a:extLst>
                <a:ext uri="{FF2B5EF4-FFF2-40B4-BE49-F238E27FC236}">
                  <a16:creationId xmlns:a16="http://schemas.microsoft.com/office/drawing/2014/main" id="{942B171A-F47B-428E-A8E8-97478861E00D}"/>
                </a:ext>
              </a:extLst>
            </p:cNvPr>
            <p:cNvSpPr/>
            <p:nvPr/>
          </p:nvSpPr>
          <p:spPr>
            <a:xfrm>
              <a:off x="5932747" y="5041835"/>
              <a:ext cx="106760" cy="61101"/>
            </a:xfrm>
            <a:custGeom>
              <a:avLst/>
              <a:gdLst>
                <a:gd name="connsiteX0" fmla="*/ 1448 w 35073"/>
                <a:gd name="connsiteY0" fmla="*/ 12029 h 20073"/>
                <a:gd name="connsiteX1" fmla="*/ 13640 w 35073"/>
                <a:gd name="connsiteY1" fmla="*/ 18983 h 20073"/>
                <a:gd name="connsiteX2" fmla="*/ 21069 w 35073"/>
                <a:gd name="connsiteY2" fmla="*/ 18983 h 20073"/>
                <a:gd name="connsiteX3" fmla="*/ 33166 w 35073"/>
                <a:gd name="connsiteY3" fmla="*/ 12029 h 20073"/>
                <a:gd name="connsiteX4" fmla="*/ 33166 w 35073"/>
                <a:gd name="connsiteY4" fmla="*/ 7648 h 20073"/>
                <a:gd name="connsiteX5" fmla="*/ 20498 w 35073"/>
                <a:gd name="connsiteY5" fmla="*/ 695 h 20073"/>
                <a:gd name="connsiteX6" fmla="*/ 13068 w 35073"/>
                <a:gd name="connsiteY6" fmla="*/ 695 h 20073"/>
                <a:gd name="connsiteX7" fmla="*/ 876 w 35073"/>
                <a:gd name="connsiteY7" fmla="*/ 7648 h 20073"/>
                <a:gd name="connsiteX8" fmla="*/ -29 w 35073"/>
                <a:gd name="connsiteY8" fmla="*/ 10886 h 20073"/>
                <a:gd name="connsiteX9" fmla="*/ 1448 w 35073"/>
                <a:gd name="connsiteY9"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5073" h="20073">
                  <a:moveTo>
                    <a:pt x="1448" y="12029"/>
                  </a:moveTo>
                  <a:lnTo>
                    <a:pt x="13640" y="18983"/>
                  </a:lnTo>
                  <a:cubicBezTo>
                    <a:pt x="15964" y="20221"/>
                    <a:pt x="18745" y="20221"/>
                    <a:pt x="21069" y="18983"/>
                  </a:cubicBezTo>
                  <a:lnTo>
                    <a:pt x="33166" y="12029"/>
                  </a:lnTo>
                  <a:cubicBezTo>
                    <a:pt x="35261" y="10791"/>
                    <a:pt x="35261" y="8886"/>
                    <a:pt x="33166" y="7648"/>
                  </a:cubicBezTo>
                  <a:lnTo>
                    <a:pt x="20498" y="695"/>
                  </a:lnTo>
                  <a:cubicBezTo>
                    <a:pt x="18154" y="-448"/>
                    <a:pt x="15411" y="-448"/>
                    <a:pt x="13068" y="695"/>
                  </a:cubicBezTo>
                  <a:lnTo>
                    <a:pt x="876" y="7648"/>
                  </a:lnTo>
                  <a:cubicBezTo>
                    <a:pt x="-267" y="8296"/>
                    <a:pt x="-676" y="9743"/>
                    <a:pt x="-29" y="10886"/>
                  </a:cubicBezTo>
                  <a:cubicBezTo>
                    <a:pt x="285" y="11458"/>
                    <a:pt x="819" y="11867"/>
                    <a:pt x="1448" y="12029"/>
                  </a:cubicBezTo>
                  <a:close/>
                </a:path>
              </a:pathLst>
            </a:custGeom>
            <a:solidFill>
              <a:srgbClr val="D1D9E8"/>
            </a:solidFill>
            <a:ln w="9525" cap="flat">
              <a:noFill/>
              <a:prstDash val="solid"/>
              <a:miter/>
            </a:ln>
          </p:spPr>
          <p:txBody>
            <a:bodyPr rtlCol="0" anchor="ctr"/>
            <a:lstStyle/>
            <a:p>
              <a:endParaRPr lang="zh-CN" altLang="en-US"/>
            </a:p>
          </p:txBody>
        </p:sp>
        <p:sp>
          <p:nvSpPr>
            <p:cNvPr id="256" name="ïṩlídè">
              <a:extLst>
                <a:ext uri="{FF2B5EF4-FFF2-40B4-BE49-F238E27FC236}">
                  <a16:creationId xmlns:a16="http://schemas.microsoft.com/office/drawing/2014/main" id="{D4DBFC7A-D382-4806-BEF6-3F4EAE14DB34}"/>
                </a:ext>
              </a:extLst>
            </p:cNvPr>
            <p:cNvSpPr/>
            <p:nvPr/>
          </p:nvSpPr>
          <p:spPr>
            <a:xfrm>
              <a:off x="5930929" y="5072277"/>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4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4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20"/>
                    <a:pt x="35582" y="7953"/>
                    <a:pt x="35668" y="6981"/>
                  </a:cubicBezTo>
                  <a:lnTo>
                    <a:pt x="35668" y="-163"/>
                  </a:lnTo>
                  <a:cubicBezTo>
                    <a:pt x="35602" y="818"/>
                    <a:pt x="35021" y="1685"/>
                    <a:pt x="34144" y="2124"/>
                  </a:cubicBezTo>
                  <a:lnTo>
                    <a:pt x="31763" y="3457"/>
                  </a:lnTo>
                  <a:lnTo>
                    <a:pt x="21476" y="9362"/>
                  </a:lnTo>
                  <a:cubicBezTo>
                    <a:pt x="19085" y="10601"/>
                    <a:pt x="16247" y="10601"/>
                    <a:pt x="13856" y="9362"/>
                  </a:cubicBezTo>
                  <a:lnTo>
                    <a:pt x="3569" y="3457"/>
                  </a:lnTo>
                  <a:lnTo>
                    <a:pt x="1188" y="2124"/>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257" name="iśļíḓê">
              <a:extLst>
                <a:ext uri="{FF2B5EF4-FFF2-40B4-BE49-F238E27FC236}">
                  <a16:creationId xmlns:a16="http://schemas.microsoft.com/office/drawing/2014/main" id="{3BEFE341-B623-418B-AD40-1E0144BF5E92}"/>
                </a:ext>
              </a:extLst>
            </p:cNvPr>
            <p:cNvSpPr/>
            <p:nvPr/>
          </p:nvSpPr>
          <p:spPr>
            <a:xfrm>
              <a:off x="6008053" y="5085108"/>
              <a:ext cx="109883" cy="63639"/>
            </a:xfrm>
            <a:custGeom>
              <a:avLst/>
              <a:gdLst>
                <a:gd name="connsiteX0" fmla="*/ -336 w 36099"/>
                <a:gd name="connsiteY0" fmla="*/ 10291 h 20907"/>
                <a:gd name="connsiteX1" fmla="*/ 1283 w 36099"/>
                <a:gd name="connsiteY1" fmla="*/ 12577 h 20907"/>
                <a:gd name="connsiteX2" fmla="*/ 3569 w 36099"/>
                <a:gd name="connsiteY2" fmla="*/ 13911 h 20907"/>
                <a:gd name="connsiteX3" fmla="*/ 13856 w 36099"/>
                <a:gd name="connsiteY3" fmla="*/ 19816 h 20907"/>
                <a:gd name="connsiteX4" fmla="*/ 21571 w 36099"/>
                <a:gd name="connsiteY4" fmla="*/ 19816 h 20907"/>
                <a:gd name="connsiteX5" fmla="*/ 31858 w 36099"/>
                <a:gd name="connsiteY5" fmla="*/ 13911 h 20907"/>
                <a:gd name="connsiteX6" fmla="*/ 34144 w 36099"/>
                <a:gd name="connsiteY6" fmla="*/ 12577 h 20907"/>
                <a:gd name="connsiteX7" fmla="*/ 35764 w 36099"/>
                <a:gd name="connsiteY7" fmla="*/ 10291 h 20907"/>
                <a:gd name="connsiteX8" fmla="*/ 34144 w 36099"/>
                <a:gd name="connsiteY8" fmla="*/ 8100 h 20907"/>
                <a:gd name="connsiteX9" fmla="*/ 21571 w 36099"/>
                <a:gd name="connsiteY9" fmla="*/ 766 h 20907"/>
                <a:gd name="connsiteX10" fmla="*/ 13856 w 36099"/>
                <a:gd name="connsiteY10" fmla="*/ 766 h 20907"/>
                <a:gd name="connsiteX11" fmla="*/ 1283 w 36099"/>
                <a:gd name="connsiteY11" fmla="*/ 8100 h 20907"/>
                <a:gd name="connsiteX12" fmla="*/ -336 w 36099"/>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99" h="20907">
                  <a:moveTo>
                    <a:pt x="-336" y="10291"/>
                  </a:moveTo>
                  <a:cubicBezTo>
                    <a:pt x="-270" y="11301"/>
                    <a:pt x="359" y="12187"/>
                    <a:pt x="1283" y="12577"/>
                  </a:cubicBezTo>
                  <a:lnTo>
                    <a:pt x="3569" y="13911"/>
                  </a:lnTo>
                  <a:lnTo>
                    <a:pt x="13856" y="19816"/>
                  </a:lnTo>
                  <a:cubicBezTo>
                    <a:pt x="16275" y="21054"/>
                    <a:pt x="19152" y="21054"/>
                    <a:pt x="21571" y="19816"/>
                  </a:cubicBezTo>
                  <a:lnTo>
                    <a:pt x="31858" y="13911"/>
                  </a:lnTo>
                  <a:lnTo>
                    <a:pt x="34144" y="12577"/>
                  </a:lnTo>
                  <a:cubicBezTo>
                    <a:pt x="35049" y="12149"/>
                    <a:pt x="35659" y="11282"/>
                    <a:pt x="35764" y="10291"/>
                  </a:cubicBezTo>
                  <a:cubicBezTo>
                    <a:pt x="35649" y="9329"/>
                    <a:pt x="35030" y="8491"/>
                    <a:pt x="34144" y="8100"/>
                  </a:cubicBezTo>
                  <a:lnTo>
                    <a:pt x="21571" y="766"/>
                  </a:lnTo>
                  <a:cubicBezTo>
                    <a:pt x="19152" y="-472"/>
                    <a:pt x="16275" y="-472"/>
                    <a:pt x="13856" y="766"/>
                  </a:cubicBezTo>
                  <a:lnTo>
                    <a:pt x="1283" y="8100"/>
                  </a:lnTo>
                  <a:cubicBezTo>
                    <a:pt x="369" y="8462"/>
                    <a:pt x="-260" y="9310"/>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258" name="iṥlíḑe">
              <a:extLst>
                <a:ext uri="{FF2B5EF4-FFF2-40B4-BE49-F238E27FC236}">
                  <a16:creationId xmlns:a16="http://schemas.microsoft.com/office/drawing/2014/main" id="{2C60348B-E4DF-4E24-A4AB-431824717659}"/>
                </a:ext>
              </a:extLst>
            </p:cNvPr>
            <p:cNvSpPr/>
            <p:nvPr/>
          </p:nvSpPr>
          <p:spPr>
            <a:xfrm>
              <a:off x="6009938" y="5086267"/>
              <a:ext cx="105895" cy="61101"/>
            </a:xfrm>
            <a:custGeom>
              <a:avLst/>
              <a:gdLst>
                <a:gd name="connsiteX0" fmla="*/ 1235 w 34789"/>
                <a:gd name="connsiteY0" fmla="*/ 12006 h 20073"/>
                <a:gd name="connsiteX1" fmla="*/ 13332 w 34789"/>
                <a:gd name="connsiteY1" fmla="*/ 19054 h 20073"/>
                <a:gd name="connsiteX2" fmla="*/ 20761 w 34789"/>
                <a:gd name="connsiteY2" fmla="*/ 19054 h 20073"/>
                <a:gd name="connsiteX3" fmla="*/ 32953 w 34789"/>
                <a:gd name="connsiteY3" fmla="*/ 12006 h 20073"/>
                <a:gd name="connsiteX4" fmla="*/ 32953 w 34789"/>
                <a:gd name="connsiteY4" fmla="*/ 7719 h 20073"/>
                <a:gd name="connsiteX5" fmla="*/ 20761 w 34789"/>
                <a:gd name="connsiteY5" fmla="*/ 766 h 20073"/>
                <a:gd name="connsiteX6" fmla="*/ 13332 w 34789"/>
                <a:gd name="connsiteY6" fmla="*/ 766 h 20073"/>
                <a:gd name="connsiteX7" fmla="*/ 1235 w 34789"/>
                <a:gd name="connsiteY7" fmla="*/ 7719 h 20073"/>
                <a:gd name="connsiteX8" fmla="*/ 1235 w 34789"/>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89" h="20073">
                  <a:moveTo>
                    <a:pt x="1235" y="12006"/>
                  </a:moveTo>
                  <a:lnTo>
                    <a:pt x="13332" y="19054"/>
                  </a:lnTo>
                  <a:cubicBezTo>
                    <a:pt x="15675" y="20197"/>
                    <a:pt x="18418" y="20197"/>
                    <a:pt x="20761" y="19054"/>
                  </a:cubicBezTo>
                  <a:lnTo>
                    <a:pt x="32953" y="12006"/>
                  </a:lnTo>
                  <a:cubicBezTo>
                    <a:pt x="34954" y="10863"/>
                    <a:pt x="34954" y="8957"/>
                    <a:pt x="32953" y="7719"/>
                  </a:cubicBezTo>
                  <a:lnTo>
                    <a:pt x="20761" y="766"/>
                  </a:lnTo>
                  <a:cubicBezTo>
                    <a:pt x="18437" y="-472"/>
                    <a:pt x="15656" y="-472"/>
                    <a:pt x="13332" y="766"/>
                  </a:cubicBezTo>
                  <a:lnTo>
                    <a:pt x="1235" y="7719"/>
                  </a:lnTo>
                  <a:cubicBezTo>
                    <a:pt x="-860" y="8957"/>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259" name="iṥ1ïḓé">
              <a:extLst>
                <a:ext uri="{FF2B5EF4-FFF2-40B4-BE49-F238E27FC236}">
                  <a16:creationId xmlns:a16="http://schemas.microsoft.com/office/drawing/2014/main" id="{65A50A81-E935-4AE8-84EF-D431F10CED2C}"/>
                </a:ext>
              </a:extLst>
            </p:cNvPr>
            <p:cNvSpPr/>
            <p:nvPr/>
          </p:nvSpPr>
          <p:spPr>
            <a:xfrm>
              <a:off x="6008053" y="5116929"/>
              <a:ext cx="109015" cy="53564"/>
            </a:xfrm>
            <a:custGeom>
              <a:avLst/>
              <a:gdLst>
                <a:gd name="connsiteX0" fmla="*/ -336 w 35814"/>
                <a:gd name="connsiteY0" fmla="*/ -163 h 17597"/>
                <a:gd name="connsiteX1" fmla="*/ -336 w 35814"/>
                <a:gd name="connsiteY1" fmla="*/ 7076 h 17597"/>
                <a:gd name="connsiteX2" fmla="*/ 1283 w 35814"/>
                <a:gd name="connsiteY2" fmla="*/ 9267 h 17597"/>
                <a:gd name="connsiteX3" fmla="*/ 13856 w 35814"/>
                <a:gd name="connsiteY3" fmla="*/ 16506 h 17597"/>
                <a:gd name="connsiteX4" fmla="*/ 21571 w 35814"/>
                <a:gd name="connsiteY4" fmla="*/ 16506 h 17597"/>
                <a:gd name="connsiteX5" fmla="*/ 33858 w 35814"/>
                <a:gd name="connsiteY5" fmla="*/ 9362 h 17597"/>
                <a:gd name="connsiteX6" fmla="*/ 35478 w 35814"/>
                <a:gd name="connsiteY6" fmla="*/ 7076 h 17597"/>
                <a:gd name="connsiteX7" fmla="*/ 35478 w 35814"/>
                <a:gd name="connsiteY7" fmla="*/ -163 h 17597"/>
                <a:gd name="connsiteX8" fmla="*/ 33858 w 35814"/>
                <a:gd name="connsiteY8" fmla="*/ 2123 h 17597"/>
                <a:gd name="connsiteX9" fmla="*/ 31572 w 35814"/>
                <a:gd name="connsiteY9" fmla="*/ 3457 h 17597"/>
                <a:gd name="connsiteX10" fmla="*/ 21285 w 35814"/>
                <a:gd name="connsiteY10" fmla="*/ 9362 h 17597"/>
                <a:gd name="connsiteX11" fmla="*/ 13570 w 35814"/>
                <a:gd name="connsiteY11" fmla="*/ 9362 h 17597"/>
                <a:gd name="connsiteX12" fmla="*/ 3283 w 35814"/>
                <a:gd name="connsiteY12" fmla="*/ 3457 h 17597"/>
                <a:gd name="connsiteX13" fmla="*/ 997 w 35814"/>
                <a:gd name="connsiteY13" fmla="*/ 2123 h 17597"/>
                <a:gd name="connsiteX14" fmla="*/ -336 w 3581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5814" h="17597">
                  <a:moveTo>
                    <a:pt x="-336" y="-163"/>
                  </a:moveTo>
                  <a:lnTo>
                    <a:pt x="-336" y="7076"/>
                  </a:lnTo>
                  <a:cubicBezTo>
                    <a:pt x="-241" y="8048"/>
                    <a:pt x="387" y="8886"/>
                    <a:pt x="1283" y="9267"/>
                  </a:cubicBezTo>
                  <a:lnTo>
                    <a:pt x="13856" y="16506"/>
                  </a:lnTo>
                  <a:cubicBezTo>
                    <a:pt x="16275" y="17744"/>
                    <a:pt x="19152" y="17744"/>
                    <a:pt x="21571" y="16506"/>
                  </a:cubicBezTo>
                  <a:lnTo>
                    <a:pt x="33858" y="9362"/>
                  </a:lnTo>
                  <a:cubicBezTo>
                    <a:pt x="34744" y="8924"/>
                    <a:pt x="35354" y="8058"/>
                    <a:pt x="35478" y="7076"/>
                  </a:cubicBezTo>
                  <a:lnTo>
                    <a:pt x="35478" y="-163"/>
                  </a:lnTo>
                  <a:cubicBezTo>
                    <a:pt x="35373" y="828"/>
                    <a:pt x="34763" y="1695"/>
                    <a:pt x="33858" y="2123"/>
                  </a:cubicBezTo>
                  <a:lnTo>
                    <a:pt x="31572" y="3457"/>
                  </a:lnTo>
                  <a:lnTo>
                    <a:pt x="21285" y="9362"/>
                  </a:lnTo>
                  <a:cubicBezTo>
                    <a:pt x="18866" y="10601"/>
                    <a:pt x="15989" y="10601"/>
                    <a:pt x="13570" y="9362"/>
                  </a:cubicBezTo>
                  <a:lnTo>
                    <a:pt x="3283" y="3457"/>
                  </a:lnTo>
                  <a:lnTo>
                    <a:pt x="997" y="2123"/>
                  </a:lnTo>
                  <a:cubicBezTo>
                    <a:pt x="178" y="1647"/>
                    <a:pt x="-327" y="780"/>
                    <a:pt x="-336" y="-163"/>
                  </a:cubicBezTo>
                  <a:close/>
                </a:path>
              </a:pathLst>
            </a:custGeom>
            <a:solidFill>
              <a:srgbClr val="BF4200"/>
            </a:solidFill>
            <a:ln w="9525" cap="flat">
              <a:noFill/>
              <a:prstDash val="solid"/>
              <a:miter/>
            </a:ln>
          </p:spPr>
          <p:txBody>
            <a:bodyPr rtlCol="0" anchor="ctr"/>
            <a:lstStyle/>
            <a:p>
              <a:endParaRPr lang="zh-CN" altLang="en-US"/>
            </a:p>
          </p:txBody>
        </p:sp>
        <p:sp>
          <p:nvSpPr>
            <p:cNvPr id="260" name="îṡḻïḋe">
              <a:extLst>
                <a:ext uri="{FF2B5EF4-FFF2-40B4-BE49-F238E27FC236}">
                  <a16:creationId xmlns:a16="http://schemas.microsoft.com/office/drawing/2014/main" id="{161FEA68-3E3F-4803-827F-0E6599D188FC}"/>
                </a:ext>
              </a:extLst>
            </p:cNvPr>
            <p:cNvSpPr/>
            <p:nvPr/>
          </p:nvSpPr>
          <p:spPr>
            <a:xfrm>
              <a:off x="6085464" y="5129759"/>
              <a:ext cx="109362" cy="63588"/>
            </a:xfrm>
            <a:custGeom>
              <a:avLst/>
              <a:gdLst>
                <a:gd name="connsiteX0" fmla="*/ -336 w 35928"/>
                <a:gd name="connsiteY0" fmla="*/ 10291 h 20890"/>
                <a:gd name="connsiteX1" fmla="*/ 1188 w 35928"/>
                <a:gd name="connsiteY1" fmla="*/ 12482 h 20890"/>
                <a:gd name="connsiteX2" fmla="*/ 3569 w 35928"/>
                <a:gd name="connsiteY2" fmla="*/ 13911 h 20890"/>
                <a:gd name="connsiteX3" fmla="*/ 13856 w 35928"/>
                <a:gd name="connsiteY3" fmla="*/ 19721 h 20890"/>
                <a:gd name="connsiteX4" fmla="*/ 21476 w 35928"/>
                <a:gd name="connsiteY4" fmla="*/ 19721 h 20890"/>
                <a:gd name="connsiteX5" fmla="*/ 31763 w 35928"/>
                <a:gd name="connsiteY5" fmla="*/ 13911 h 20890"/>
                <a:gd name="connsiteX6" fmla="*/ 34144 w 35928"/>
                <a:gd name="connsiteY6" fmla="*/ 12482 h 20890"/>
                <a:gd name="connsiteX7" fmla="*/ 35402 w 35928"/>
                <a:gd name="connsiteY7" fmla="*/ 9357 h 20890"/>
                <a:gd name="connsiteX8" fmla="*/ 34144 w 35928"/>
                <a:gd name="connsiteY8" fmla="*/ 8100 h 20890"/>
                <a:gd name="connsiteX9" fmla="*/ 21476 w 35928"/>
                <a:gd name="connsiteY9" fmla="*/ 766 h 20890"/>
                <a:gd name="connsiteX10" fmla="*/ 13856 w 35928"/>
                <a:gd name="connsiteY10" fmla="*/ 766 h 20890"/>
                <a:gd name="connsiteX11" fmla="*/ 1188 w 35928"/>
                <a:gd name="connsiteY11" fmla="*/ 8100 h 20890"/>
                <a:gd name="connsiteX12" fmla="*/ -336 w 35928"/>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928" h="20890">
                  <a:moveTo>
                    <a:pt x="-336" y="10291"/>
                  </a:moveTo>
                  <a:cubicBezTo>
                    <a:pt x="-298" y="11253"/>
                    <a:pt x="292" y="12110"/>
                    <a:pt x="1188" y="12482"/>
                  </a:cubicBezTo>
                  <a:lnTo>
                    <a:pt x="3569" y="13911"/>
                  </a:lnTo>
                  <a:lnTo>
                    <a:pt x="13856" y="19721"/>
                  </a:lnTo>
                  <a:cubicBezTo>
                    <a:pt x="16218" y="21064"/>
                    <a:pt x="19114" y="21064"/>
                    <a:pt x="21476" y="19721"/>
                  </a:cubicBezTo>
                  <a:lnTo>
                    <a:pt x="31763" y="13911"/>
                  </a:lnTo>
                  <a:lnTo>
                    <a:pt x="34144" y="12482"/>
                  </a:lnTo>
                  <a:cubicBezTo>
                    <a:pt x="35354" y="11967"/>
                    <a:pt x="35916" y="10567"/>
                    <a:pt x="35402" y="9357"/>
                  </a:cubicBezTo>
                  <a:cubicBezTo>
                    <a:pt x="35164" y="8796"/>
                    <a:pt x="34706" y="8338"/>
                    <a:pt x="34144" y="8100"/>
                  </a:cubicBezTo>
                  <a:lnTo>
                    <a:pt x="21476" y="766"/>
                  </a:lnTo>
                  <a:cubicBezTo>
                    <a:pt x="19085" y="-472"/>
                    <a:pt x="16247" y="-472"/>
                    <a:pt x="13856" y="766"/>
                  </a:cubicBezTo>
                  <a:lnTo>
                    <a:pt x="1188" y="8100"/>
                  </a:lnTo>
                  <a:cubicBezTo>
                    <a:pt x="292" y="8472"/>
                    <a:pt x="-298"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261" name="îṧḷîḋé">
              <a:extLst>
                <a:ext uri="{FF2B5EF4-FFF2-40B4-BE49-F238E27FC236}">
                  <a16:creationId xmlns:a16="http://schemas.microsoft.com/office/drawing/2014/main" id="{83298C3E-DE3A-4CCC-B7A3-796B76AB2A56}"/>
                </a:ext>
              </a:extLst>
            </p:cNvPr>
            <p:cNvSpPr/>
            <p:nvPr/>
          </p:nvSpPr>
          <p:spPr>
            <a:xfrm>
              <a:off x="6087348" y="5130919"/>
              <a:ext cx="105825" cy="61101"/>
            </a:xfrm>
            <a:custGeom>
              <a:avLst/>
              <a:gdLst>
                <a:gd name="connsiteX0" fmla="*/ 1235 w 34766"/>
                <a:gd name="connsiteY0" fmla="*/ 12006 h 20073"/>
                <a:gd name="connsiteX1" fmla="*/ 13332 w 34766"/>
                <a:gd name="connsiteY1" fmla="*/ 19054 h 20073"/>
                <a:gd name="connsiteX2" fmla="*/ 20761 w 34766"/>
                <a:gd name="connsiteY2" fmla="*/ 19054 h 20073"/>
                <a:gd name="connsiteX3" fmla="*/ 32858 w 34766"/>
                <a:gd name="connsiteY3" fmla="*/ 12006 h 20073"/>
                <a:gd name="connsiteX4" fmla="*/ 32858 w 34766"/>
                <a:gd name="connsiteY4" fmla="*/ 7719 h 20073"/>
                <a:gd name="connsiteX5" fmla="*/ 20761 w 34766"/>
                <a:gd name="connsiteY5" fmla="*/ 766 h 20073"/>
                <a:gd name="connsiteX6" fmla="*/ 13332 w 34766"/>
                <a:gd name="connsiteY6" fmla="*/ 766 h 20073"/>
                <a:gd name="connsiteX7" fmla="*/ 1235 w 34766"/>
                <a:gd name="connsiteY7" fmla="*/ 7719 h 20073"/>
                <a:gd name="connsiteX8" fmla="*/ 1235 w 34766"/>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6" h="20073">
                  <a:moveTo>
                    <a:pt x="1235" y="12006"/>
                  </a:moveTo>
                  <a:lnTo>
                    <a:pt x="13332" y="19054"/>
                  </a:lnTo>
                  <a:cubicBezTo>
                    <a:pt x="15675" y="20197"/>
                    <a:pt x="18419" y="20197"/>
                    <a:pt x="20761" y="19054"/>
                  </a:cubicBezTo>
                  <a:lnTo>
                    <a:pt x="32858" y="12006"/>
                  </a:lnTo>
                  <a:cubicBezTo>
                    <a:pt x="34954" y="10863"/>
                    <a:pt x="34954" y="8958"/>
                    <a:pt x="32858" y="7719"/>
                  </a:cubicBezTo>
                  <a:lnTo>
                    <a:pt x="20761" y="766"/>
                  </a:lnTo>
                  <a:cubicBezTo>
                    <a:pt x="18437" y="-472"/>
                    <a:pt x="15656" y="-472"/>
                    <a:pt x="13332" y="766"/>
                  </a:cubicBezTo>
                  <a:lnTo>
                    <a:pt x="1235" y="7719"/>
                  </a:lnTo>
                  <a:cubicBezTo>
                    <a:pt x="-860" y="8958"/>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262" name="ï$ľiḑê">
              <a:extLst>
                <a:ext uri="{FF2B5EF4-FFF2-40B4-BE49-F238E27FC236}">
                  <a16:creationId xmlns:a16="http://schemas.microsoft.com/office/drawing/2014/main" id="{A42B8C26-58C0-4AB1-A8B3-8C0A171916C8}"/>
                </a:ext>
              </a:extLst>
            </p:cNvPr>
            <p:cNvSpPr/>
            <p:nvPr/>
          </p:nvSpPr>
          <p:spPr>
            <a:xfrm>
              <a:off x="6085464" y="5161577"/>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028 h 17597"/>
                <a:gd name="connsiteX9" fmla="*/ 31763 w 36004"/>
                <a:gd name="connsiteY9" fmla="*/ 3457 h 17597"/>
                <a:gd name="connsiteX10" fmla="*/ 21476 w 36004"/>
                <a:gd name="connsiteY10" fmla="*/ 9267 h 17597"/>
                <a:gd name="connsiteX11" fmla="*/ 13856 w 36004"/>
                <a:gd name="connsiteY11" fmla="*/ 9267 h 17597"/>
                <a:gd name="connsiteX12" fmla="*/ 3569 w 36004"/>
                <a:gd name="connsiteY12" fmla="*/ 3457 h 17597"/>
                <a:gd name="connsiteX13" fmla="*/ 1188 w 36004"/>
                <a:gd name="connsiteY13" fmla="*/ 2028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3" y="7953"/>
                    <a:pt x="35668" y="6981"/>
                  </a:cubicBezTo>
                  <a:lnTo>
                    <a:pt x="35668" y="-163"/>
                  </a:lnTo>
                  <a:cubicBezTo>
                    <a:pt x="35630" y="799"/>
                    <a:pt x="35040" y="1656"/>
                    <a:pt x="34144" y="2028"/>
                  </a:cubicBezTo>
                  <a:lnTo>
                    <a:pt x="31763" y="3457"/>
                  </a:lnTo>
                  <a:lnTo>
                    <a:pt x="21476" y="9267"/>
                  </a:lnTo>
                  <a:cubicBezTo>
                    <a:pt x="19114" y="10610"/>
                    <a:pt x="16218" y="10610"/>
                    <a:pt x="13856" y="9267"/>
                  </a:cubicBezTo>
                  <a:lnTo>
                    <a:pt x="3569" y="3457"/>
                  </a:lnTo>
                  <a:lnTo>
                    <a:pt x="1188" y="2028"/>
                  </a:lnTo>
                  <a:cubicBezTo>
                    <a:pt x="292" y="1656"/>
                    <a:pt x="-298" y="799"/>
                    <a:pt x="-336" y="-163"/>
                  </a:cubicBezTo>
                  <a:close/>
                </a:path>
              </a:pathLst>
            </a:custGeom>
            <a:solidFill>
              <a:srgbClr val="BF4200"/>
            </a:solidFill>
            <a:ln w="9525" cap="flat">
              <a:noFill/>
              <a:prstDash val="solid"/>
              <a:miter/>
            </a:ln>
          </p:spPr>
          <p:txBody>
            <a:bodyPr rtlCol="0" anchor="ctr"/>
            <a:lstStyle/>
            <a:p>
              <a:endParaRPr lang="zh-CN" altLang="en-US"/>
            </a:p>
          </p:txBody>
        </p:sp>
        <p:sp>
          <p:nvSpPr>
            <p:cNvPr id="263" name="ïṥḷïdé">
              <a:extLst>
                <a:ext uri="{FF2B5EF4-FFF2-40B4-BE49-F238E27FC236}">
                  <a16:creationId xmlns:a16="http://schemas.microsoft.com/office/drawing/2014/main" id="{BAB483DE-2EFB-468D-A884-2D8FC6DC3416}"/>
                </a:ext>
              </a:extLst>
            </p:cNvPr>
            <p:cNvSpPr/>
            <p:nvPr/>
          </p:nvSpPr>
          <p:spPr>
            <a:xfrm>
              <a:off x="6162588" y="5174407"/>
              <a:ext cx="109883" cy="63639"/>
            </a:xfrm>
            <a:custGeom>
              <a:avLst/>
              <a:gdLst>
                <a:gd name="connsiteX0" fmla="*/ -336 w 36099"/>
                <a:gd name="connsiteY0" fmla="*/ 10291 h 20907"/>
                <a:gd name="connsiteX1" fmla="*/ 1283 w 36099"/>
                <a:gd name="connsiteY1" fmla="*/ 12577 h 20907"/>
                <a:gd name="connsiteX2" fmla="*/ 3569 w 36099"/>
                <a:gd name="connsiteY2" fmla="*/ 13910 h 20907"/>
                <a:gd name="connsiteX3" fmla="*/ 13856 w 36099"/>
                <a:gd name="connsiteY3" fmla="*/ 19816 h 20907"/>
                <a:gd name="connsiteX4" fmla="*/ 21571 w 36099"/>
                <a:gd name="connsiteY4" fmla="*/ 19816 h 20907"/>
                <a:gd name="connsiteX5" fmla="*/ 31858 w 36099"/>
                <a:gd name="connsiteY5" fmla="*/ 13910 h 20907"/>
                <a:gd name="connsiteX6" fmla="*/ 34144 w 36099"/>
                <a:gd name="connsiteY6" fmla="*/ 12577 h 20907"/>
                <a:gd name="connsiteX7" fmla="*/ 35764 w 36099"/>
                <a:gd name="connsiteY7" fmla="*/ 10291 h 20907"/>
                <a:gd name="connsiteX8" fmla="*/ 34144 w 36099"/>
                <a:gd name="connsiteY8" fmla="*/ 8100 h 20907"/>
                <a:gd name="connsiteX9" fmla="*/ 21571 w 36099"/>
                <a:gd name="connsiteY9" fmla="*/ 766 h 20907"/>
                <a:gd name="connsiteX10" fmla="*/ 13856 w 36099"/>
                <a:gd name="connsiteY10" fmla="*/ 766 h 20907"/>
                <a:gd name="connsiteX11" fmla="*/ 1283 w 36099"/>
                <a:gd name="connsiteY11" fmla="*/ 8100 h 20907"/>
                <a:gd name="connsiteX12" fmla="*/ -336 w 36099"/>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99" h="20907">
                  <a:moveTo>
                    <a:pt x="-336" y="10291"/>
                  </a:moveTo>
                  <a:cubicBezTo>
                    <a:pt x="-231" y="11282"/>
                    <a:pt x="378" y="12148"/>
                    <a:pt x="1283" y="12577"/>
                  </a:cubicBezTo>
                  <a:lnTo>
                    <a:pt x="3569" y="13910"/>
                  </a:lnTo>
                  <a:lnTo>
                    <a:pt x="13856" y="19816"/>
                  </a:lnTo>
                  <a:cubicBezTo>
                    <a:pt x="16275" y="21054"/>
                    <a:pt x="19152" y="21054"/>
                    <a:pt x="21571" y="19816"/>
                  </a:cubicBezTo>
                  <a:lnTo>
                    <a:pt x="31858" y="13910"/>
                  </a:lnTo>
                  <a:lnTo>
                    <a:pt x="34144" y="12577"/>
                  </a:lnTo>
                  <a:cubicBezTo>
                    <a:pt x="35049" y="12148"/>
                    <a:pt x="35659" y="11282"/>
                    <a:pt x="35764" y="10291"/>
                  </a:cubicBezTo>
                  <a:cubicBezTo>
                    <a:pt x="35649" y="9329"/>
                    <a:pt x="35030" y="8491"/>
                    <a:pt x="34144" y="8100"/>
                  </a:cubicBezTo>
                  <a:lnTo>
                    <a:pt x="21571" y="766"/>
                  </a:lnTo>
                  <a:cubicBezTo>
                    <a:pt x="19152" y="-472"/>
                    <a:pt x="16275" y="-472"/>
                    <a:pt x="13856" y="766"/>
                  </a:cubicBezTo>
                  <a:lnTo>
                    <a:pt x="1283" y="8100"/>
                  </a:lnTo>
                  <a:cubicBezTo>
                    <a:pt x="397" y="8491"/>
                    <a:pt x="-222"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264" name="í$1idê">
              <a:extLst>
                <a:ext uri="{FF2B5EF4-FFF2-40B4-BE49-F238E27FC236}">
                  <a16:creationId xmlns:a16="http://schemas.microsoft.com/office/drawing/2014/main" id="{7455EFFD-4F19-4CC3-932E-419CD7F71482}"/>
                </a:ext>
              </a:extLst>
            </p:cNvPr>
            <p:cNvSpPr/>
            <p:nvPr/>
          </p:nvSpPr>
          <p:spPr>
            <a:xfrm>
              <a:off x="6164907" y="5175567"/>
              <a:ext cx="106330" cy="61104"/>
            </a:xfrm>
            <a:custGeom>
              <a:avLst/>
              <a:gdLst>
                <a:gd name="connsiteX0" fmla="*/ 1378 w 34932"/>
                <a:gd name="connsiteY0" fmla="*/ 12006 h 20074"/>
                <a:gd name="connsiteX1" fmla="*/ 13475 w 34932"/>
                <a:gd name="connsiteY1" fmla="*/ 19054 h 20074"/>
                <a:gd name="connsiteX2" fmla="*/ 21000 w 34932"/>
                <a:gd name="connsiteY2" fmla="*/ 19054 h 20074"/>
                <a:gd name="connsiteX3" fmla="*/ 33096 w 34932"/>
                <a:gd name="connsiteY3" fmla="*/ 12006 h 20074"/>
                <a:gd name="connsiteX4" fmla="*/ 33096 w 34932"/>
                <a:gd name="connsiteY4" fmla="*/ 7719 h 20074"/>
                <a:gd name="connsiteX5" fmla="*/ 21000 w 34932"/>
                <a:gd name="connsiteY5" fmla="*/ 766 h 20074"/>
                <a:gd name="connsiteX6" fmla="*/ 13475 w 34932"/>
                <a:gd name="connsiteY6" fmla="*/ 766 h 20074"/>
                <a:gd name="connsiteX7" fmla="*/ 1378 w 34932"/>
                <a:gd name="connsiteY7" fmla="*/ 7719 h 20074"/>
                <a:gd name="connsiteX8" fmla="*/ 1378 w 34932"/>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932" h="20074">
                  <a:moveTo>
                    <a:pt x="1378" y="12006"/>
                  </a:moveTo>
                  <a:lnTo>
                    <a:pt x="13475" y="19054"/>
                  </a:lnTo>
                  <a:cubicBezTo>
                    <a:pt x="15856" y="20197"/>
                    <a:pt x="18618" y="20197"/>
                    <a:pt x="21000" y="19054"/>
                  </a:cubicBezTo>
                  <a:lnTo>
                    <a:pt x="33096" y="12006"/>
                  </a:lnTo>
                  <a:cubicBezTo>
                    <a:pt x="35097" y="10863"/>
                    <a:pt x="35097" y="8958"/>
                    <a:pt x="33096" y="7719"/>
                  </a:cubicBezTo>
                  <a:lnTo>
                    <a:pt x="21000" y="766"/>
                  </a:lnTo>
                  <a:cubicBezTo>
                    <a:pt x="18647" y="-472"/>
                    <a:pt x="15828" y="-472"/>
                    <a:pt x="13475" y="766"/>
                  </a:cubicBezTo>
                  <a:lnTo>
                    <a:pt x="1378" y="7719"/>
                  </a:lnTo>
                  <a:cubicBezTo>
                    <a:pt x="-908" y="9148"/>
                    <a:pt x="-908" y="10863"/>
                    <a:pt x="1378" y="12006"/>
                  </a:cubicBezTo>
                  <a:close/>
                </a:path>
              </a:pathLst>
            </a:custGeom>
            <a:solidFill>
              <a:srgbClr val="D1D9E8"/>
            </a:solidFill>
            <a:ln w="9525" cap="flat">
              <a:noFill/>
              <a:prstDash val="solid"/>
              <a:miter/>
            </a:ln>
          </p:spPr>
          <p:txBody>
            <a:bodyPr rtlCol="0" anchor="ctr"/>
            <a:lstStyle/>
            <a:p>
              <a:endParaRPr lang="zh-CN" altLang="en-US"/>
            </a:p>
          </p:txBody>
        </p:sp>
        <p:sp>
          <p:nvSpPr>
            <p:cNvPr id="265" name="išļîḓé">
              <a:extLst>
                <a:ext uri="{FF2B5EF4-FFF2-40B4-BE49-F238E27FC236}">
                  <a16:creationId xmlns:a16="http://schemas.microsoft.com/office/drawing/2014/main" id="{60710787-7069-4EB3-8423-F15F3ADBD13C}"/>
                </a:ext>
              </a:extLst>
            </p:cNvPr>
            <p:cNvSpPr/>
            <p:nvPr/>
          </p:nvSpPr>
          <p:spPr>
            <a:xfrm>
              <a:off x="6162588" y="5206229"/>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4 w 36099"/>
                <a:gd name="connsiteY6" fmla="*/ 6981 h 17597"/>
                <a:gd name="connsiteX7" fmla="*/ 35764 w 36099"/>
                <a:gd name="connsiteY7" fmla="*/ -163 h 17597"/>
                <a:gd name="connsiteX8" fmla="*/ 34144 w 36099"/>
                <a:gd name="connsiteY8" fmla="*/ 2124 h 17597"/>
                <a:gd name="connsiteX9" fmla="*/ 31858 w 36099"/>
                <a:gd name="connsiteY9" fmla="*/ 3457 h 17597"/>
                <a:gd name="connsiteX10" fmla="*/ 21571 w 36099"/>
                <a:gd name="connsiteY10" fmla="*/ 9362 h 17597"/>
                <a:gd name="connsiteX11" fmla="*/ 13856 w 36099"/>
                <a:gd name="connsiteY11" fmla="*/ 9362 h 17597"/>
                <a:gd name="connsiteX12" fmla="*/ 3569 w 36099"/>
                <a:gd name="connsiteY12" fmla="*/ 3457 h 17597"/>
                <a:gd name="connsiteX13" fmla="*/ 1283 w 36099"/>
                <a:gd name="connsiteY13" fmla="*/ 2124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03" y="8029"/>
                    <a:pt x="407" y="8858"/>
                    <a:pt x="1283" y="9267"/>
                  </a:cubicBezTo>
                  <a:lnTo>
                    <a:pt x="13856" y="16506"/>
                  </a:lnTo>
                  <a:cubicBezTo>
                    <a:pt x="16275" y="17744"/>
                    <a:pt x="19152" y="17744"/>
                    <a:pt x="21571" y="16506"/>
                  </a:cubicBezTo>
                  <a:lnTo>
                    <a:pt x="34144" y="9267"/>
                  </a:lnTo>
                  <a:cubicBezTo>
                    <a:pt x="35030" y="8829"/>
                    <a:pt x="35640" y="7972"/>
                    <a:pt x="35764" y="6981"/>
                  </a:cubicBezTo>
                  <a:lnTo>
                    <a:pt x="35764" y="-163"/>
                  </a:lnTo>
                  <a:cubicBezTo>
                    <a:pt x="35659" y="828"/>
                    <a:pt x="35049" y="1695"/>
                    <a:pt x="34144" y="2124"/>
                  </a:cubicBezTo>
                  <a:lnTo>
                    <a:pt x="31858" y="3457"/>
                  </a:lnTo>
                  <a:lnTo>
                    <a:pt x="21571" y="9362"/>
                  </a:lnTo>
                  <a:cubicBezTo>
                    <a:pt x="19152" y="10601"/>
                    <a:pt x="16275" y="10601"/>
                    <a:pt x="13856" y="9362"/>
                  </a:cubicBezTo>
                  <a:lnTo>
                    <a:pt x="3569" y="3457"/>
                  </a:lnTo>
                  <a:lnTo>
                    <a:pt x="1283" y="2124"/>
                  </a:lnTo>
                  <a:cubicBezTo>
                    <a:pt x="378" y="1695"/>
                    <a:pt x="-231"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266" name="íṡ1íḓê">
              <a:extLst>
                <a:ext uri="{FF2B5EF4-FFF2-40B4-BE49-F238E27FC236}">
                  <a16:creationId xmlns:a16="http://schemas.microsoft.com/office/drawing/2014/main" id="{3729E96C-71B5-45C2-9CBF-058D90C76885}"/>
                </a:ext>
              </a:extLst>
            </p:cNvPr>
            <p:cNvSpPr/>
            <p:nvPr/>
          </p:nvSpPr>
          <p:spPr>
            <a:xfrm>
              <a:off x="6240001" y="5219056"/>
              <a:ext cx="109594" cy="63588"/>
            </a:xfrm>
            <a:custGeom>
              <a:avLst/>
              <a:gdLst>
                <a:gd name="connsiteX0" fmla="*/ -336 w 36004"/>
                <a:gd name="connsiteY0" fmla="*/ 10291 h 20890"/>
                <a:gd name="connsiteX1" fmla="*/ 1188 w 36004"/>
                <a:gd name="connsiteY1" fmla="*/ 12482 h 20890"/>
                <a:gd name="connsiteX2" fmla="*/ 3569 w 36004"/>
                <a:gd name="connsiteY2" fmla="*/ 13911 h 20890"/>
                <a:gd name="connsiteX3" fmla="*/ 13856 w 36004"/>
                <a:gd name="connsiteY3" fmla="*/ 19721 h 20890"/>
                <a:gd name="connsiteX4" fmla="*/ 21476 w 36004"/>
                <a:gd name="connsiteY4" fmla="*/ 19721 h 20890"/>
                <a:gd name="connsiteX5" fmla="*/ 31763 w 36004"/>
                <a:gd name="connsiteY5" fmla="*/ 13911 h 20890"/>
                <a:gd name="connsiteX6" fmla="*/ 34144 w 36004"/>
                <a:gd name="connsiteY6" fmla="*/ 12482 h 20890"/>
                <a:gd name="connsiteX7" fmla="*/ 35668 w 36004"/>
                <a:gd name="connsiteY7" fmla="*/ 10291 h 20890"/>
                <a:gd name="connsiteX8" fmla="*/ 34144 w 36004"/>
                <a:gd name="connsiteY8" fmla="*/ 8005 h 20890"/>
                <a:gd name="connsiteX9" fmla="*/ 21476 w 36004"/>
                <a:gd name="connsiteY9" fmla="*/ 766 h 20890"/>
                <a:gd name="connsiteX10" fmla="*/ 13856 w 36004"/>
                <a:gd name="connsiteY10" fmla="*/ 766 h 20890"/>
                <a:gd name="connsiteX11" fmla="*/ 1188 w 36004"/>
                <a:gd name="connsiteY11" fmla="*/ 8005 h 20890"/>
                <a:gd name="connsiteX12" fmla="*/ -336 w 36004"/>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291"/>
                  </a:moveTo>
                  <a:cubicBezTo>
                    <a:pt x="-279" y="11244"/>
                    <a:pt x="311" y="12091"/>
                    <a:pt x="1188" y="12482"/>
                  </a:cubicBezTo>
                  <a:lnTo>
                    <a:pt x="3569" y="13911"/>
                  </a:lnTo>
                  <a:lnTo>
                    <a:pt x="13856" y="19721"/>
                  </a:lnTo>
                  <a:cubicBezTo>
                    <a:pt x="16218" y="21064"/>
                    <a:pt x="19114" y="21064"/>
                    <a:pt x="21476" y="19721"/>
                  </a:cubicBezTo>
                  <a:lnTo>
                    <a:pt x="31763" y="13911"/>
                  </a:lnTo>
                  <a:lnTo>
                    <a:pt x="34144" y="12482"/>
                  </a:lnTo>
                  <a:cubicBezTo>
                    <a:pt x="35021" y="12091"/>
                    <a:pt x="35611" y="11253"/>
                    <a:pt x="35668" y="10291"/>
                  </a:cubicBezTo>
                  <a:cubicBezTo>
                    <a:pt x="35602" y="9310"/>
                    <a:pt x="35021" y="8443"/>
                    <a:pt x="34144" y="8005"/>
                  </a:cubicBezTo>
                  <a:lnTo>
                    <a:pt x="21476" y="766"/>
                  </a:lnTo>
                  <a:cubicBezTo>
                    <a:pt x="19085" y="-472"/>
                    <a:pt x="16247" y="-472"/>
                    <a:pt x="13856" y="766"/>
                  </a:cubicBezTo>
                  <a:lnTo>
                    <a:pt x="1188" y="8005"/>
                  </a:lnTo>
                  <a:cubicBezTo>
                    <a:pt x="311" y="8443"/>
                    <a:pt x="-270" y="9310"/>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267" name="iṥľîḑè">
              <a:extLst>
                <a:ext uri="{FF2B5EF4-FFF2-40B4-BE49-F238E27FC236}">
                  <a16:creationId xmlns:a16="http://schemas.microsoft.com/office/drawing/2014/main" id="{93673B16-2659-4485-BAFB-8383D2E75023}"/>
                </a:ext>
              </a:extLst>
            </p:cNvPr>
            <p:cNvSpPr/>
            <p:nvPr/>
          </p:nvSpPr>
          <p:spPr>
            <a:xfrm>
              <a:off x="6241885" y="5220218"/>
              <a:ext cx="105825" cy="61101"/>
            </a:xfrm>
            <a:custGeom>
              <a:avLst/>
              <a:gdLst>
                <a:gd name="connsiteX0" fmla="*/ 1235 w 34766"/>
                <a:gd name="connsiteY0" fmla="*/ 12006 h 20073"/>
                <a:gd name="connsiteX1" fmla="*/ 13332 w 34766"/>
                <a:gd name="connsiteY1" fmla="*/ 19054 h 20073"/>
                <a:gd name="connsiteX2" fmla="*/ 20761 w 34766"/>
                <a:gd name="connsiteY2" fmla="*/ 19054 h 20073"/>
                <a:gd name="connsiteX3" fmla="*/ 32858 w 34766"/>
                <a:gd name="connsiteY3" fmla="*/ 12006 h 20073"/>
                <a:gd name="connsiteX4" fmla="*/ 32858 w 34766"/>
                <a:gd name="connsiteY4" fmla="*/ 7719 h 20073"/>
                <a:gd name="connsiteX5" fmla="*/ 20761 w 34766"/>
                <a:gd name="connsiteY5" fmla="*/ 766 h 20073"/>
                <a:gd name="connsiteX6" fmla="*/ 13332 w 34766"/>
                <a:gd name="connsiteY6" fmla="*/ 766 h 20073"/>
                <a:gd name="connsiteX7" fmla="*/ 1235 w 34766"/>
                <a:gd name="connsiteY7" fmla="*/ 7719 h 20073"/>
                <a:gd name="connsiteX8" fmla="*/ 1235 w 34766"/>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6" h="20073">
                  <a:moveTo>
                    <a:pt x="1235" y="12006"/>
                  </a:moveTo>
                  <a:lnTo>
                    <a:pt x="13332" y="19054"/>
                  </a:lnTo>
                  <a:cubicBezTo>
                    <a:pt x="15675" y="20197"/>
                    <a:pt x="18418" y="20197"/>
                    <a:pt x="20761" y="19054"/>
                  </a:cubicBezTo>
                  <a:lnTo>
                    <a:pt x="32858" y="12006"/>
                  </a:lnTo>
                  <a:cubicBezTo>
                    <a:pt x="34954" y="10863"/>
                    <a:pt x="34954" y="8957"/>
                    <a:pt x="32858" y="7719"/>
                  </a:cubicBezTo>
                  <a:lnTo>
                    <a:pt x="20761" y="766"/>
                  </a:lnTo>
                  <a:cubicBezTo>
                    <a:pt x="18437" y="-472"/>
                    <a:pt x="15656" y="-472"/>
                    <a:pt x="13332" y="766"/>
                  </a:cubicBezTo>
                  <a:lnTo>
                    <a:pt x="1235" y="7719"/>
                  </a:lnTo>
                  <a:cubicBezTo>
                    <a:pt x="-860" y="8957"/>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268" name="ïšḻidè">
              <a:extLst>
                <a:ext uri="{FF2B5EF4-FFF2-40B4-BE49-F238E27FC236}">
                  <a16:creationId xmlns:a16="http://schemas.microsoft.com/office/drawing/2014/main" id="{8CA78C40-2B7D-49D2-8CD2-4CBB227F68D2}"/>
                </a:ext>
              </a:extLst>
            </p:cNvPr>
            <p:cNvSpPr/>
            <p:nvPr/>
          </p:nvSpPr>
          <p:spPr>
            <a:xfrm>
              <a:off x="6240001" y="5250877"/>
              <a:ext cx="109594" cy="53564"/>
            </a:xfrm>
            <a:custGeom>
              <a:avLst/>
              <a:gdLst>
                <a:gd name="connsiteX0" fmla="*/ -336 w 36004"/>
                <a:gd name="connsiteY0" fmla="*/ -163 h 17597"/>
                <a:gd name="connsiteX1" fmla="*/ -336 w 36004"/>
                <a:gd name="connsiteY1" fmla="*/ 6981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028 h 17597"/>
                <a:gd name="connsiteX9" fmla="*/ 31763 w 36004"/>
                <a:gd name="connsiteY9" fmla="*/ 3457 h 17597"/>
                <a:gd name="connsiteX10" fmla="*/ 21476 w 36004"/>
                <a:gd name="connsiteY10" fmla="*/ 9267 h 17597"/>
                <a:gd name="connsiteX11" fmla="*/ 13856 w 36004"/>
                <a:gd name="connsiteY11" fmla="*/ 9267 h 17597"/>
                <a:gd name="connsiteX12" fmla="*/ 3569 w 36004"/>
                <a:gd name="connsiteY12" fmla="*/ 3457 h 17597"/>
                <a:gd name="connsiteX13" fmla="*/ 1188 w 36004"/>
                <a:gd name="connsiteY13" fmla="*/ 2028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6981"/>
                  </a:lnTo>
                  <a:cubicBezTo>
                    <a:pt x="-270" y="7962"/>
                    <a:pt x="311" y="8829"/>
                    <a:pt x="1188" y="9267"/>
                  </a:cubicBezTo>
                  <a:lnTo>
                    <a:pt x="13856" y="16506"/>
                  </a:lnTo>
                  <a:cubicBezTo>
                    <a:pt x="16247" y="17744"/>
                    <a:pt x="19085" y="17744"/>
                    <a:pt x="21476" y="16506"/>
                  </a:cubicBezTo>
                  <a:lnTo>
                    <a:pt x="34144" y="9267"/>
                  </a:lnTo>
                  <a:cubicBezTo>
                    <a:pt x="35011" y="8819"/>
                    <a:pt x="35582" y="7953"/>
                    <a:pt x="35668" y="6981"/>
                  </a:cubicBezTo>
                  <a:lnTo>
                    <a:pt x="35668" y="-163"/>
                  </a:lnTo>
                  <a:cubicBezTo>
                    <a:pt x="35611" y="790"/>
                    <a:pt x="35021" y="1638"/>
                    <a:pt x="34144" y="2028"/>
                  </a:cubicBezTo>
                  <a:lnTo>
                    <a:pt x="31763" y="3457"/>
                  </a:lnTo>
                  <a:lnTo>
                    <a:pt x="21476" y="9267"/>
                  </a:lnTo>
                  <a:cubicBezTo>
                    <a:pt x="19114" y="10610"/>
                    <a:pt x="16218" y="10610"/>
                    <a:pt x="13856" y="9267"/>
                  </a:cubicBezTo>
                  <a:lnTo>
                    <a:pt x="3569" y="3457"/>
                  </a:lnTo>
                  <a:lnTo>
                    <a:pt x="1188" y="2028"/>
                  </a:lnTo>
                  <a:cubicBezTo>
                    <a:pt x="311" y="1638"/>
                    <a:pt x="-279" y="800"/>
                    <a:pt x="-336" y="-163"/>
                  </a:cubicBezTo>
                  <a:close/>
                </a:path>
              </a:pathLst>
            </a:custGeom>
            <a:solidFill>
              <a:srgbClr val="BF4200"/>
            </a:solidFill>
            <a:ln w="9525" cap="flat">
              <a:noFill/>
              <a:prstDash val="solid"/>
              <a:miter/>
            </a:ln>
          </p:spPr>
          <p:txBody>
            <a:bodyPr rtlCol="0" anchor="ctr"/>
            <a:lstStyle/>
            <a:p>
              <a:endParaRPr lang="zh-CN" altLang="en-US"/>
            </a:p>
          </p:txBody>
        </p:sp>
        <p:sp>
          <p:nvSpPr>
            <p:cNvPr id="269" name="ïṧlíḍe">
              <a:extLst>
                <a:ext uri="{FF2B5EF4-FFF2-40B4-BE49-F238E27FC236}">
                  <a16:creationId xmlns:a16="http://schemas.microsoft.com/office/drawing/2014/main" id="{187B2E70-C606-4E78-9DAF-24AB9F8A13E1}"/>
                </a:ext>
              </a:extLst>
            </p:cNvPr>
            <p:cNvSpPr/>
            <p:nvPr/>
          </p:nvSpPr>
          <p:spPr>
            <a:xfrm>
              <a:off x="6319441" y="5266803"/>
              <a:ext cx="146416" cy="84551"/>
            </a:xfrm>
            <a:custGeom>
              <a:avLst/>
              <a:gdLst>
                <a:gd name="connsiteX0" fmla="*/ -336 w 48101"/>
                <a:gd name="connsiteY0" fmla="*/ 9941 h 27777"/>
                <a:gd name="connsiteX1" fmla="*/ 1188 w 48101"/>
                <a:gd name="connsiteY1" fmla="*/ 12227 h 27777"/>
                <a:gd name="connsiteX2" fmla="*/ 3569 w 48101"/>
                <a:gd name="connsiteY2" fmla="*/ 13560 h 27777"/>
                <a:gd name="connsiteX3" fmla="*/ 25857 w 48101"/>
                <a:gd name="connsiteY3" fmla="*/ 26800 h 27777"/>
                <a:gd name="connsiteX4" fmla="*/ 33573 w 48101"/>
                <a:gd name="connsiteY4" fmla="*/ 26800 h 27777"/>
                <a:gd name="connsiteX5" fmla="*/ 43860 w 48101"/>
                <a:gd name="connsiteY5" fmla="*/ 20799 h 27777"/>
                <a:gd name="connsiteX6" fmla="*/ 46241 w 48101"/>
                <a:gd name="connsiteY6" fmla="*/ 19466 h 27777"/>
                <a:gd name="connsiteX7" fmla="*/ 47765 w 48101"/>
                <a:gd name="connsiteY7" fmla="*/ 17847 h 27777"/>
                <a:gd name="connsiteX8" fmla="*/ 47765 w 48101"/>
                <a:gd name="connsiteY8" fmla="*/ 16704 h 27777"/>
                <a:gd name="connsiteX9" fmla="*/ 46241 w 48101"/>
                <a:gd name="connsiteY9" fmla="*/ 14989 h 27777"/>
                <a:gd name="connsiteX10" fmla="*/ 21476 w 48101"/>
                <a:gd name="connsiteY10" fmla="*/ 702 h 27777"/>
                <a:gd name="connsiteX11" fmla="*/ 13856 w 48101"/>
                <a:gd name="connsiteY11" fmla="*/ 702 h 27777"/>
                <a:gd name="connsiteX12" fmla="*/ 1188 w 48101"/>
                <a:gd name="connsiteY12" fmla="*/ 8036 h 27777"/>
                <a:gd name="connsiteX13" fmla="*/ -336 w 48101"/>
                <a:gd name="connsiteY13" fmla="*/ 9941 h 27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8101" h="27777">
                  <a:moveTo>
                    <a:pt x="-336" y="9941"/>
                  </a:moveTo>
                  <a:cubicBezTo>
                    <a:pt x="-269" y="10922"/>
                    <a:pt x="311" y="11789"/>
                    <a:pt x="1188" y="12227"/>
                  </a:cubicBezTo>
                  <a:lnTo>
                    <a:pt x="3569" y="13560"/>
                  </a:lnTo>
                  <a:lnTo>
                    <a:pt x="25857" y="26800"/>
                  </a:lnTo>
                  <a:cubicBezTo>
                    <a:pt x="28315" y="27886"/>
                    <a:pt x="31115" y="27886"/>
                    <a:pt x="33573" y="26800"/>
                  </a:cubicBezTo>
                  <a:lnTo>
                    <a:pt x="43860" y="20799"/>
                  </a:lnTo>
                  <a:lnTo>
                    <a:pt x="46241" y="19466"/>
                  </a:lnTo>
                  <a:cubicBezTo>
                    <a:pt x="46955" y="19161"/>
                    <a:pt x="47508" y="18580"/>
                    <a:pt x="47765" y="17847"/>
                  </a:cubicBezTo>
                  <a:lnTo>
                    <a:pt x="47765" y="16704"/>
                  </a:lnTo>
                  <a:cubicBezTo>
                    <a:pt x="47479" y="15961"/>
                    <a:pt x="46946" y="15351"/>
                    <a:pt x="46241" y="14989"/>
                  </a:cubicBezTo>
                  <a:lnTo>
                    <a:pt x="21476" y="702"/>
                  </a:lnTo>
                  <a:cubicBezTo>
                    <a:pt x="19066" y="-451"/>
                    <a:pt x="16266" y="-451"/>
                    <a:pt x="13856" y="702"/>
                  </a:cubicBezTo>
                  <a:lnTo>
                    <a:pt x="1188" y="8036"/>
                  </a:lnTo>
                  <a:cubicBezTo>
                    <a:pt x="416" y="8398"/>
                    <a:pt x="-155" y="9103"/>
                    <a:pt x="-336" y="9941"/>
                  </a:cubicBezTo>
                  <a:close/>
                </a:path>
              </a:pathLst>
            </a:custGeom>
            <a:solidFill>
              <a:srgbClr val="FFFFFF"/>
            </a:solidFill>
            <a:ln w="9525" cap="flat">
              <a:noFill/>
              <a:prstDash val="solid"/>
              <a:miter/>
            </a:ln>
          </p:spPr>
          <p:txBody>
            <a:bodyPr rtlCol="0" anchor="ctr"/>
            <a:lstStyle/>
            <a:p>
              <a:endParaRPr lang="zh-CN" altLang="en-US"/>
            </a:p>
          </p:txBody>
        </p:sp>
        <p:sp>
          <p:nvSpPr>
            <p:cNvPr id="270" name="ïṩḷiḑè">
              <a:extLst>
                <a:ext uri="{FF2B5EF4-FFF2-40B4-BE49-F238E27FC236}">
                  <a16:creationId xmlns:a16="http://schemas.microsoft.com/office/drawing/2014/main" id="{8D557E99-D792-4BED-A00D-ACA4FE2C46F8}"/>
                </a:ext>
              </a:extLst>
            </p:cNvPr>
            <p:cNvSpPr/>
            <p:nvPr/>
          </p:nvSpPr>
          <p:spPr>
            <a:xfrm>
              <a:off x="6321325" y="5267113"/>
              <a:ext cx="142645" cy="82338"/>
            </a:xfrm>
            <a:custGeom>
              <a:avLst/>
              <a:gdLst>
                <a:gd name="connsiteX0" fmla="*/ 25429 w 46862"/>
                <a:gd name="connsiteY0" fmla="*/ 26031 h 27050"/>
                <a:gd name="connsiteX1" fmla="*/ 1235 w 46862"/>
                <a:gd name="connsiteY1" fmla="*/ 12029 h 27050"/>
                <a:gd name="connsiteX2" fmla="*/ 1235 w 46862"/>
                <a:gd name="connsiteY2" fmla="*/ 7743 h 27050"/>
                <a:gd name="connsiteX3" fmla="*/ 13332 w 46862"/>
                <a:gd name="connsiteY3" fmla="*/ 695 h 27050"/>
                <a:gd name="connsiteX4" fmla="*/ 20761 w 46862"/>
                <a:gd name="connsiteY4" fmla="*/ 695 h 27050"/>
                <a:gd name="connsiteX5" fmla="*/ 44955 w 46862"/>
                <a:gd name="connsiteY5" fmla="*/ 14696 h 27050"/>
                <a:gd name="connsiteX6" fmla="*/ 44955 w 46862"/>
                <a:gd name="connsiteY6" fmla="*/ 18983 h 27050"/>
                <a:gd name="connsiteX7" fmla="*/ 32858 w 46862"/>
                <a:gd name="connsiteY7" fmla="*/ 26031 h 27050"/>
                <a:gd name="connsiteX8" fmla="*/ 25429 w 46862"/>
                <a:gd name="connsiteY8" fmla="*/ 26031 h 27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862" h="27050">
                  <a:moveTo>
                    <a:pt x="25429" y="26031"/>
                  </a:moveTo>
                  <a:lnTo>
                    <a:pt x="1235" y="12029"/>
                  </a:lnTo>
                  <a:cubicBezTo>
                    <a:pt x="-860" y="10791"/>
                    <a:pt x="-860" y="8886"/>
                    <a:pt x="1235" y="7743"/>
                  </a:cubicBezTo>
                  <a:lnTo>
                    <a:pt x="13332" y="695"/>
                  </a:lnTo>
                  <a:cubicBezTo>
                    <a:pt x="15675" y="-448"/>
                    <a:pt x="18418" y="-448"/>
                    <a:pt x="20761" y="695"/>
                  </a:cubicBezTo>
                  <a:lnTo>
                    <a:pt x="44955" y="14696"/>
                  </a:lnTo>
                  <a:cubicBezTo>
                    <a:pt x="47051" y="15935"/>
                    <a:pt x="47051" y="17840"/>
                    <a:pt x="44955" y="18983"/>
                  </a:cubicBezTo>
                  <a:lnTo>
                    <a:pt x="32858" y="26031"/>
                  </a:lnTo>
                  <a:cubicBezTo>
                    <a:pt x="30515" y="27174"/>
                    <a:pt x="27772" y="27174"/>
                    <a:pt x="25429" y="26031"/>
                  </a:cubicBezTo>
                  <a:close/>
                </a:path>
              </a:pathLst>
            </a:custGeom>
            <a:solidFill>
              <a:srgbClr val="D1D9E8"/>
            </a:solidFill>
            <a:ln w="9525" cap="flat">
              <a:noFill/>
              <a:prstDash val="solid"/>
              <a:miter/>
            </a:ln>
          </p:spPr>
          <p:txBody>
            <a:bodyPr rtlCol="0" anchor="ctr"/>
            <a:lstStyle/>
            <a:p>
              <a:endParaRPr lang="zh-CN" altLang="en-US"/>
            </a:p>
          </p:txBody>
        </p:sp>
        <p:sp>
          <p:nvSpPr>
            <p:cNvPr id="271" name="ï$ľïḓe">
              <a:extLst>
                <a:ext uri="{FF2B5EF4-FFF2-40B4-BE49-F238E27FC236}">
                  <a16:creationId xmlns:a16="http://schemas.microsoft.com/office/drawing/2014/main" id="{8454EF1A-9AAA-425C-AB5A-129F9A1827A6}"/>
                </a:ext>
              </a:extLst>
            </p:cNvPr>
            <p:cNvSpPr/>
            <p:nvPr/>
          </p:nvSpPr>
          <p:spPr>
            <a:xfrm>
              <a:off x="6319441" y="5297558"/>
              <a:ext cx="145256" cy="75599"/>
            </a:xfrm>
            <a:custGeom>
              <a:avLst/>
              <a:gdLst>
                <a:gd name="connsiteX0" fmla="*/ -336 w 47720"/>
                <a:gd name="connsiteY0" fmla="*/ -163 h 24836"/>
                <a:gd name="connsiteX1" fmla="*/ -336 w 47720"/>
                <a:gd name="connsiteY1" fmla="*/ 7172 h 24836"/>
                <a:gd name="connsiteX2" fmla="*/ 1188 w 47720"/>
                <a:gd name="connsiteY2" fmla="*/ 9457 h 24836"/>
                <a:gd name="connsiteX3" fmla="*/ 25857 w 47720"/>
                <a:gd name="connsiteY3" fmla="*/ 23745 h 24836"/>
                <a:gd name="connsiteX4" fmla="*/ 33573 w 47720"/>
                <a:gd name="connsiteY4" fmla="*/ 23745 h 24836"/>
                <a:gd name="connsiteX5" fmla="*/ 45860 w 47720"/>
                <a:gd name="connsiteY5" fmla="*/ 16697 h 24836"/>
                <a:gd name="connsiteX6" fmla="*/ 47384 w 47720"/>
                <a:gd name="connsiteY6" fmla="*/ 15077 h 24836"/>
                <a:gd name="connsiteX7" fmla="*/ 47384 w 47720"/>
                <a:gd name="connsiteY7" fmla="*/ 7172 h 24836"/>
                <a:gd name="connsiteX8" fmla="*/ 45860 w 47720"/>
                <a:gd name="connsiteY8" fmla="*/ 8791 h 24836"/>
                <a:gd name="connsiteX9" fmla="*/ 43479 w 47720"/>
                <a:gd name="connsiteY9" fmla="*/ 10124 h 24836"/>
                <a:gd name="connsiteX10" fmla="*/ 33192 w 47720"/>
                <a:gd name="connsiteY10" fmla="*/ 16125 h 24836"/>
                <a:gd name="connsiteX11" fmla="*/ 25476 w 47720"/>
                <a:gd name="connsiteY11" fmla="*/ 16125 h 24836"/>
                <a:gd name="connsiteX12" fmla="*/ 3188 w 47720"/>
                <a:gd name="connsiteY12" fmla="*/ 3171 h 24836"/>
                <a:gd name="connsiteX13" fmla="*/ 807 w 47720"/>
                <a:gd name="connsiteY13" fmla="*/ 1838 h 24836"/>
                <a:gd name="connsiteX14" fmla="*/ -336 w 47720"/>
                <a:gd name="connsiteY14" fmla="*/ -163 h 24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7720" h="24836">
                  <a:moveTo>
                    <a:pt x="-336" y="-163"/>
                  </a:moveTo>
                  <a:lnTo>
                    <a:pt x="-336" y="7172"/>
                  </a:lnTo>
                  <a:cubicBezTo>
                    <a:pt x="-308" y="8162"/>
                    <a:pt x="283" y="9057"/>
                    <a:pt x="1188" y="9457"/>
                  </a:cubicBezTo>
                  <a:lnTo>
                    <a:pt x="25857" y="23745"/>
                  </a:lnTo>
                  <a:cubicBezTo>
                    <a:pt x="28277" y="24983"/>
                    <a:pt x="31153" y="24983"/>
                    <a:pt x="33573" y="23745"/>
                  </a:cubicBezTo>
                  <a:lnTo>
                    <a:pt x="45860" y="16697"/>
                  </a:lnTo>
                  <a:cubicBezTo>
                    <a:pt x="46536" y="16344"/>
                    <a:pt x="47070" y="15773"/>
                    <a:pt x="47384" y="15077"/>
                  </a:cubicBezTo>
                  <a:lnTo>
                    <a:pt x="47384" y="7172"/>
                  </a:lnTo>
                  <a:cubicBezTo>
                    <a:pt x="47127" y="7905"/>
                    <a:pt x="46574" y="8486"/>
                    <a:pt x="45860" y="8791"/>
                  </a:cubicBezTo>
                  <a:lnTo>
                    <a:pt x="43479" y="10124"/>
                  </a:lnTo>
                  <a:lnTo>
                    <a:pt x="33192" y="16125"/>
                  </a:lnTo>
                  <a:cubicBezTo>
                    <a:pt x="30734" y="17211"/>
                    <a:pt x="27934" y="17211"/>
                    <a:pt x="25476" y="16125"/>
                  </a:cubicBezTo>
                  <a:lnTo>
                    <a:pt x="3188" y="3171"/>
                  </a:lnTo>
                  <a:lnTo>
                    <a:pt x="807" y="1838"/>
                  </a:lnTo>
                  <a:cubicBezTo>
                    <a:pt x="149" y="1371"/>
                    <a:pt x="-260" y="637"/>
                    <a:pt x="-336" y="-163"/>
                  </a:cubicBezTo>
                  <a:close/>
                </a:path>
              </a:pathLst>
            </a:custGeom>
            <a:solidFill>
              <a:srgbClr val="BF4200"/>
            </a:solidFill>
            <a:ln w="9525" cap="flat">
              <a:noFill/>
              <a:prstDash val="solid"/>
              <a:miter/>
            </a:ln>
          </p:spPr>
          <p:txBody>
            <a:bodyPr rtlCol="0" anchor="ctr"/>
            <a:lstStyle/>
            <a:p>
              <a:endParaRPr lang="zh-CN" altLang="en-US"/>
            </a:p>
          </p:txBody>
        </p:sp>
        <p:sp>
          <p:nvSpPr>
            <p:cNvPr id="272" name="ïśḷïḓé">
              <a:extLst>
                <a:ext uri="{FF2B5EF4-FFF2-40B4-BE49-F238E27FC236}">
                  <a16:creationId xmlns:a16="http://schemas.microsoft.com/office/drawing/2014/main" id="{B9A2DCE9-97D5-48F2-9DBF-FD0D8233B9B5}"/>
                </a:ext>
              </a:extLst>
            </p:cNvPr>
            <p:cNvSpPr/>
            <p:nvPr/>
          </p:nvSpPr>
          <p:spPr>
            <a:xfrm>
              <a:off x="5155355" y="4683839"/>
              <a:ext cx="140036" cy="81035"/>
            </a:xfrm>
            <a:custGeom>
              <a:avLst/>
              <a:gdLst>
                <a:gd name="connsiteX0" fmla="*/ -336 w 46005"/>
                <a:gd name="connsiteY0" fmla="*/ 10196 h 26622"/>
                <a:gd name="connsiteX1" fmla="*/ 1188 w 46005"/>
                <a:gd name="connsiteY1" fmla="*/ 12482 h 26622"/>
                <a:gd name="connsiteX2" fmla="*/ 3569 w 46005"/>
                <a:gd name="connsiteY2" fmla="*/ 13815 h 26622"/>
                <a:gd name="connsiteX3" fmla="*/ 23762 w 46005"/>
                <a:gd name="connsiteY3" fmla="*/ 25531 h 26622"/>
                <a:gd name="connsiteX4" fmla="*/ 31477 w 46005"/>
                <a:gd name="connsiteY4" fmla="*/ 25531 h 26622"/>
                <a:gd name="connsiteX5" fmla="*/ 41669 w 46005"/>
                <a:gd name="connsiteY5" fmla="*/ 19530 h 26622"/>
                <a:gd name="connsiteX6" fmla="*/ 44146 w 46005"/>
                <a:gd name="connsiteY6" fmla="*/ 18197 h 26622"/>
                <a:gd name="connsiteX7" fmla="*/ 45669 w 46005"/>
                <a:gd name="connsiteY7" fmla="*/ 16578 h 26622"/>
                <a:gd name="connsiteX8" fmla="*/ 45669 w 46005"/>
                <a:gd name="connsiteY8" fmla="*/ 15435 h 26622"/>
                <a:gd name="connsiteX9" fmla="*/ 44146 w 46005"/>
                <a:gd name="connsiteY9" fmla="*/ 13720 h 26622"/>
                <a:gd name="connsiteX10" fmla="*/ 21476 w 46005"/>
                <a:gd name="connsiteY10" fmla="*/ 766 h 26622"/>
                <a:gd name="connsiteX11" fmla="*/ 13856 w 46005"/>
                <a:gd name="connsiteY11" fmla="*/ 766 h 26622"/>
                <a:gd name="connsiteX12" fmla="*/ 1188 w 46005"/>
                <a:gd name="connsiteY12" fmla="*/ 8005 h 26622"/>
                <a:gd name="connsiteX13" fmla="*/ -336 w 46005"/>
                <a:gd name="connsiteY13" fmla="*/ 10196 h 26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005" h="26622">
                  <a:moveTo>
                    <a:pt x="-336" y="10196"/>
                  </a:moveTo>
                  <a:cubicBezTo>
                    <a:pt x="-308" y="11186"/>
                    <a:pt x="283" y="12082"/>
                    <a:pt x="1188" y="12482"/>
                  </a:cubicBezTo>
                  <a:lnTo>
                    <a:pt x="3569" y="13815"/>
                  </a:lnTo>
                  <a:lnTo>
                    <a:pt x="23762" y="25531"/>
                  </a:lnTo>
                  <a:cubicBezTo>
                    <a:pt x="26181" y="26769"/>
                    <a:pt x="29058" y="26769"/>
                    <a:pt x="31477" y="25531"/>
                  </a:cubicBezTo>
                  <a:lnTo>
                    <a:pt x="41669" y="19530"/>
                  </a:lnTo>
                  <a:lnTo>
                    <a:pt x="44146" y="18197"/>
                  </a:lnTo>
                  <a:cubicBezTo>
                    <a:pt x="44860" y="17892"/>
                    <a:pt x="45412" y="17311"/>
                    <a:pt x="45669" y="16578"/>
                  </a:cubicBezTo>
                  <a:lnTo>
                    <a:pt x="45669" y="15435"/>
                  </a:lnTo>
                  <a:cubicBezTo>
                    <a:pt x="45365" y="14711"/>
                    <a:pt x="44822" y="14111"/>
                    <a:pt x="44146" y="13720"/>
                  </a:cubicBezTo>
                  <a:lnTo>
                    <a:pt x="21476" y="766"/>
                  </a:lnTo>
                  <a:cubicBezTo>
                    <a:pt x="19085" y="-472"/>
                    <a:pt x="16247" y="-472"/>
                    <a:pt x="13856" y="766"/>
                  </a:cubicBezTo>
                  <a:lnTo>
                    <a:pt x="1188" y="8005"/>
                  </a:lnTo>
                  <a:cubicBezTo>
                    <a:pt x="340" y="8424"/>
                    <a:pt x="-241" y="925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273" name="iṣḷîḋe">
              <a:extLst>
                <a:ext uri="{FF2B5EF4-FFF2-40B4-BE49-F238E27FC236}">
                  <a16:creationId xmlns:a16="http://schemas.microsoft.com/office/drawing/2014/main" id="{A7217BBC-9F2C-4A44-A0B3-3C2F2428D2EE}"/>
                </a:ext>
              </a:extLst>
            </p:cNvPr>
            <p:cNvSpPr/>
            <p:nvPr/>
          </p:nvSpPr>
          <p:spPr>
            <a:xfrm>
              <a:off x="5158067" y="4684926"/>
              <a:ext cx="136018" cy="78570"/>
            </a:xfrm>
            <a:custGeom>
              <a:avLst/>
              <a:gdLst>
                <a:gd name="connsiteX0" fmla="*/ 23252 w 44685"/>
                <a:gd name="connsiteY0" fmla="*/ 24793 h 25812"/>
                <a:gd name="connsiteX1" fmla="*/ 1154 w 44685"/>
                <a:gd name="connsiteY1" fmla="*/ 12029 h 25812"/>
                <a:gd name="connsiteX2" fmla="*/ -189 w 44685"/>
                <a:gd name="connsiteY2" fmla="*/ 9096 h 25812"/>
                <a:gd name="connsiteX3" fmla="*/ 1154 w 44685"/>
                <a:gd name="connsiteY3" fmla="*/ 7743 h 25812"/>
                <a:gd name="connsiteX4" fmla="*/ 13250 w 44685"/>
                <a:gd name="connsiteY4" fmla="*/ 695 h 25812"/>
                <a:gd name="connsiteX5" fmla="*/ 20680 w 44685"/>
                <a:gd name="connsiteY5" fmla="*/ 695 h 25812"/>
                <a:gd name="connsiteX6" fmla="*/ 42778 w 44685"/>
                <a:gd name="connsiteY6" fmla="*/ 13458 h 25812"/>
                <a:gd name="connsiteX7" fmla="*/ 42778 w 44685"/>
                <a:gd name="connsiteY7" fmla="*/ 17744 h 25812"/>
                <a:gd name="connsiteX8" fmla="*/ 30681 w 44685"/>
                <a:gd name="connsiteY8" fmla="*/ 24793 h 25812"/>
                <a:gd name="connsiteX9" fmla="*/ 23252 w 44685"/>
                <a:gd name="connsiteY9" fmla="*/ 24793 h 25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4685" h="25812">
                  <a:moveTo>
                    <a:pt x="23252" y="24793"/>
                  </a:moveTo>
                  <a:lnTo>
                    <a:pt x="1154" y="12029"/>
                  </a:lnTo>
                  <a:cubicBezTo>
                    <a:pt x="-27" y="11591"/>
                    <a:pt x="-637" y="10277"/>
                    <a:pt x="-189" y="9096"/>
                  </a:cubicBezTo>
                  <a:cubicBezTo>
                    <a:pt x="39" y="8467"/>
                    <a:pt x="535" y="7972"/>
                    <a:pt x="1154" y="7743"/>
                  </a:cubicBezTo>
                  <a:lnTo>
                    <a:pt x="13250" y="695"/>
                  </a:lnTo>
                  <a:cubicBezTo>
                    <a:pt x="15594" y="-448"/>
                    <a:pt x="18337" y="-448"/>
                    <a:pt x="20680" y="695"/>
                  </a:cubicBezTo>
                  <a:lnTo>
                    <a:pt x="42778" y="13458"/>
                  </a:lnTo>
                  <a:cubicBezTo>
                    <a:pt x="44873" y="14696"/>
                    <a:pt x="44873" y="16601"/>
                    <a:pt x="42778" y="17744"/>
                  </a:cubicBezTo>
                  <a:lnTo>
                    <a:pt x="30681" y="24793"/>
                  </a:lnTo>
                  <a:cubicBezTo>
                    <a:pt x="28338" y="25936"/>
                    <a:pt x="25595" y="25936"/>
                    <a:pt x="23252" y="24793"/>
                  </a:cubicBezTo>
                  <a:close/>
                </a:path>
              </a:pathLst>
            </a:custGeom>
            <a:solidFill>
              <a:srgbClr val="D1D9E8"/>
            </a:solidFill>
            <a:ln w="9525" cap="flat">
              <a:noFill/>
              <a:prstDash val="solid"/>
              <a:miter/>
            </a:ln>
          </p:spPr>
          <p:txBody>
            <a:bodyPr rtlCol="0" anchor="ctr"/>
            <a:lstStyle/>
            <a:p>
              <a:endParaRPr lang="zh-CN" altLang="en-US"/>
            </a:p>
          </p:txBody>
        </p:sp>
        <p:sp>
          <p:nvSpPr>
            <p:cNvPr id="274" name="ïSḷíďê">
              <a:extLst>
                <a:ext uri="{FF2B5EF4-FFF2-40B4-BE49-F238E27FC236}">
                  <a16:creationId xmlns:a16="http://schemas.microsoft.com/office/drawing/2014/main" id="{6C3CEE34-9F7F-4FAF-95D7-F636E3D58B8B}"/>
                </a:ext>
              </a:extLst>
            </p:cNvPr>
            <p:cNvSpPr/>
            <p:nvPr/>
          </p:nvSpPr>
          <p:spPr>
            <a:xfrm>
              <a:off x="5155355" y="4715368"/>
              <a:ext cx="140036" cy="71249"/>
            </a:xfrm>
            <a:custGeom>
              <a:avLst/>
              <a:gdLst>
                <a:gd name="connsiteX0" fmla="*/ -336 w 46005"/>
                <a:gd name="connsiteY0" fmla="*/ -163 h 23407"/>
                <a:gd name="connsiteX1" fmla="*/ -336 w 46005"/>
                <a:gd name="connsiteY1" fmla="*/ 7076 h 23407"/>
                <a:gd name="connsiteX2" fmla="*/ 1188 w 46005"/>
                <a:gd name="connsiteY2" fmla="*/ 9267 h 23407"/>
                <a:gd name="connsiteX3" fmla="*/ 23762 w 46005"/>
                <a:gd name="connsiteY3" fmla="*/ 22317 h 23407"/>
                <a:gd name="connsiteX4" fmla="*/ 31477 w 46005"/>
                <a:gd name="connsiteY4" fmla="*/ 22317 h 23407"/>
                <a:gd name="connsiteX5" fmla="*/ 44146 w 46005"/>
                <a:gd name="connsiteY5" fmla="*/ 14982 h 23407"/>
                <a:gd name="connsiteX6" fmla="*/ 45669 w 46005"/>
                <a:gd name="connsiteY6" fmla="*/ 13363 h 23407"/>
                <a:gd name="connsiteX7" fmla="*/ 45669 w 46005"/>
                <a:gd name="connsiteY7" fmla="*/ 6219 h 23407"/>
                <a:gd name="connsiteX8" fmla="*/ 44146 w 46005"/>
                <a:gd name="connsiteY8" fmla="*/ 7838 h 23407"/>
                <a:gd name="connsiteX9" fmla="*/ 41669 w 46005"/>
                <a:gd name="connsiteY9" fmla="*/ 9172 h 23407"/>
                <a:gd name="connsiteX10" fmla="*/ 31477 w 46005"/>
                <a:gd name="connsiteY10" fmla="*/ 15173 h 23407"/>
                <a:gd name="connsiteX11" fmla="*/ 23762 w 46005"/>
                <a:gd name="connsiteY11" fmla="*/ 15173 h 23407"/>
                <a:gd name="connsiteX12" fmla="*/ 3569 w 46005"/>
                <a:gd name="connsiteY12" fmla="*/ 3457 h 23407"/>
                <a:gd name="connsiteX13" fmla="*/ 1188 w 46005"/>
                <a:gd name="connsiteY13" fmla="*/ 2124 h 23407"/>
                <a:gd name="connsiteX14" fmla="*/ -336 w 46005"/>
                <a:gd name="connsiteY14" fmla="*/ -163 h 234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6005" h="23407">
                  <a:moveTo>
                    <a:pt x="-336" y="-163"/>
                  </a:moveTo>
                  <a:lnTo>
                    <a:pt x="-336" y="7076"/>
                  </a:lnTo>
                  <a:cubicBezTo>
                    <a:pt x="-279" y="8029"/>
                    <a:pt x="311" y="8877"/>
                    <a:pt x="1188" y="9267"/>
                  </a:cubicBezTo>
                  <a:lnTo>
                    <a:pt x="23762" y="22317"/>
                  </a:lnTo>
                  <a:cubicBezTo>
                    <a:pt x="26181" y="23555"/>
                    <a:pt x="29058" y="23555"/>
                    <a:pt x="31477" y="22317"/>
                  </a:cubicBezTo>
                  <a:lnTo>
                    <a:pt x="44146" y="14982"/>
                  </a:lnTo>
                  <a:cubicBezTo>
                    <a:pt x="44822" y="14630"/>
                    <a:pt x="45355" y="14058"/>
                    <a:pt x="45669" y="13363"/>
                  </a:cubicBezTo>
                  <a:lnTo>
                    <a:pt x="45669" y="6219"/>
                  </a:lnTo>
                  <a:cubicBezTo>
                    <a:pt x="45412" y="6953"/>
                    <a:pt x="44860" y="7534"/>
                    <a:pt x="44146" y="7838"/>
                  </a:cubicBezTo>
                  <a:lnTo>
                    <a:pt x="41669" y="9172"/>
                  </a:lnTo>
                  <a:lnTo>
                    <a:pt x="31477" y="15173"/>
                  </a:lnTo>
                  <a:cubicBezTo>
                    <a:pt x="29058" y="16411"/>
                    <a:pt x="26181" y="16411"/>
                    <a:pt x="23762" y="15173"/>
                  </a:cubicBezTo>
                  <a:lnTo>
                    <a:pt x="3569" y="3457"/>
                  </a:lnTo>
                  <a:lnTo>
                    <a:pt x="1188" y="2124"/>
                  </a:lnTo>
                  <a:cubicBezTo>
                    <a:pt x="283" y="1723"/>
                    <a:pt x="-308"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275" name="íšḻiḍè">
              <a:extLst>
                <a:ext uri="{FF2B5EF4-FFF2-40B4-BE49-F238E27FC236}">
                  <a16:creationId xmlns:a16="http://schemas.microsoft.com/office/drawing/2014/main" id="{46A8669B-CD11-4B1A-9AB6-80BDE928FDDC}"/>
                </a:ext>
              </a:extLst>
            </p:cNvPr>
            <p:cNvSpPr/>
            <p:nvPr/>
          </p:nvSpPr>
          <p:spPr>
            <a:xfrm>
              <a:off x="5264952" y="4746465"/>
              <a:ext cx="109594" cy="63639"/>
            </a:xfrm>
            <a:custGeom>
              <a:avLst/>
              <a:gdLst>
                <a:gd name="connsiteX0" fmla="*/ -336 w 36004"/>
                <a:gd name="connsiteY0" fmla="*/ 10291 h 20907"/>
                <a:gd name="connsiteX1" fmla="*/ 1188 w 36004"/>
                <a:gd name="connsiteY1" fmla="*/ 12577 h 20907"/>
                <a:gd name="connsiteX2" fmla="*/ 3569 w 36004"/>
                <a:gd name="connsiteY2" fmla="*/ 13911 h 20907"/>
                <a:gd name="connsiteX3" fmla="*/ 13856 w 36004"/>
                <a:gd name="connsiteY3" fmla="*/ 19816 h 20907"/>
                <a:gd name="connsiteX4" fmla="*/ 21476 w 36004"/>
                <a:gd name="connsiteY4" fmla="*/ 19816 h 20907"/>
                <a:gd name="connsiteX5" fmla="*/ 31763 w 36004"/>
                <a:gd name="connsiteY5" fmla="*/ 13911 h 20907"/>
                <a:gd name="connsiteX6" fmla="*/ 34144 w 36004"/>
                <a:gd name="connsiteY6" fmla="*/ 12577 h 20907"/>
                <a:gd name="connsiteX7" fmla="*/ 35668 w 36004"/>
                <a:gd name="connsiteY7" fmla="*/ 10291 h 20907"/>
                <a:gd name="connsiteX8" fmla="*/ 34144 w 36004"/>
                <a:gd name="connsiteY8" fmla="*/ 8100 h 20907"/>
                <a:gd name="connsiteX9" fmla="*/ 21476 w 36004"/>
                <a:gd name="connsiteY9" fmla="*/ 766 h 20907"/>
                <a:gd name="connsiteX10" fmla="*/ 13856 w 36004"/>
                <a:gd name="connsiteY10" fmla="*/ 766 h 20907"/>
                <a:gd name="connsiteX11" fmla="*/ 1188 w 36004"/>
                <a:gd name="connsiteY11" fmla="*/ 8100 h 20907"/>
                <a:gd name="connsiteX12" fmla="*/ -336 w 36004"/>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907">
                  <a:moveTo>
                    <a:pt x="-336" y="10291"/>
                  </a:moveTo>
                  <a:cubicBezTo>
                    <a:pt x="-270" y="11272"/>
                    <a:pt x="311" y="12139"/>
                    <a:pt x="1188" y="12577"/>
                  </a:cubicBezTo>
                  <a:lnTo>
                    <a:pt x="3569" y="13911"/>
                  </a:lnTo>
                  <a:lnTo>
                    <a:pt x="13856" y="19816"/>
                  </a:lnTo>
                  <a:cubicBezTo>
                    <a:pt x="16247" y="21054"/>
                    <a:pt x="19085" y="21054"/>
                    <a:pt x="21476" y="19816"/>
                  </a:cubicBezTo>
                  <a:lnTo>
                    <a:pt x="31763" y="13911"/>
                  </a:lnTo>
                  <a:lnTo>
                    <a:pt x="34144" y="12577"/>
                  </a:lnTo>
                  <a:cubicBezTo>
                    <a:pt x="35021" y="12139"/>
                    <a:pt x="35602" y="11272"/>
                    <a:pt x="35668" y="10291"/>
                  </a:cubicBezTo>
                  <a:cubicBezTo>
                    <a:pt x="35611" y="9339"/>
                    <a:pt x="35021" y="8491"/>
                    <a:pt x="34144" y="8100"/>
                  </a:cubicBezTo>
                  <a:lnTo>
                    <a:pt x="21476" y="766"/>
                  </a:lnTo>
                  <a:cubicBezTo>
                    <a:pt x="19085" y="-472"/>
                    <a:pt x="16247" y="-472"/>
                    <a:pt x="13856" y="766"/>
                  </a:cubicBezTo>
                  <a:lnTo>
                    <a:pt x="1188" y="8100"/>
                  </a:lnTo>
                  <a:cubicBezTo>
                    <a:pt x="311" y="8491"/>
                    <a:pt x="-279"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276" name="işḻiḓè">
              <a:extLst>
                <a:ext uri="{FF2B5EF4-FFF2-40B4-BE49-F238E27FC236}">
                  <a16:creationId xmlns:a16="http://schemas.microsoft.com/office/drawing/2014/main" id="{A2BE114F-84B5-4D75-9AD9-76346C6D832C}"/>
                </a:ext>
              </a:extLst>
            </p:cNvPr>
            <p:cNvSpPr/>
            <p:nvPr/>
          </p:nvSpPr>
          <p:spPr>
            <a:xfrm>
              <a:off x="5266763" y="4747624"/>
              <a:ext cx="105895" cy="61101"/>
            </a:xfrm>
            <a:custGeom>
              <a:avLst/>
              <a:gdLst>
                <a:gd name="connsiteX0" fmla="*/ 1164 w 34789"/>
                <a:gd name="connsiteY0" fmla="*/ 12006 h 20073"/>
                <a:gd name="connsiteX1" fmla="*/ 13356 w 34789"/>
                <a:gd name="connsiteY1" fmla="*/ 19054 h 20073"/>
                <a:gd name="connsiteX2" fmla="*/ 20785 w 34789"/>
                <a:gd name="connsiteY2" fmla="*/ 19054 h 20073"/>
                <a:gd name="connsiteX3" fmla="*/ 32882 w 34789"/>
                <a:gd name="connsiteY3" fmla="*/ 12006 h 20073"/>
                <a:gd name="connsiteX4" fmla="*/ 32882 w 34789"/>
                <a:gd name="connsiteY4" fmla="*/ 7719 h 20073"/>
                <a:gd name="connsiteX5" fmla="*/ 20785 w 34789"/>
                <a:gd name="connsiteY5" fmla="*/ 766 h 20073"/>
                <a:gd name="connsiteX6" fmla="*/ 13356 w 34789"/>
                <a:gd name="connsiteY6" fmla="*/ 766 h 20073"/>
                <a:gd name="connsiteX7" fmla="*/ 1164 w 34789"/>
                <a:gd name="connsiteY7" fmla="*/ 7719 h 20073"/>
                <a:gd name="connsiteX8" fmla="*/ 1164 w 34789"/>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89" h="20073">
                  <a:moveTo>
                    <a:pt x="1164" y="12006"/>
                  </a:moveTo>
                  <a:lnTo>
                    <a:pt x="13356" y="19054"/>
                  </a:lnTo>
                  <a:cubicBezTo>
                    <a:pt x="15699" y="20197"/>
                    <a:pt x="18442" y="20197"/>
                    <a:pt x="20785" y="19054"/>
                  </a:cubicBezTo>
                  <a:lnTo>
                    <a:pt x="32882" y="12006"/>
                  </a:lnTo>
                  <a:cubicBezTo>
                    <a:pt x="34977" y="10863"/>
                    <a:pt x="34977" y="8958"/>
                    <a:pt x="32882" y="7719"/>
                  </a:cubicBezTo>
                  <a:lnTo>
                    <a:pt x="20785" y="766"/>
                  </a:lnTo>
                  <a:cubicBezTo>
                    <a:pt x="18461" y="-472"/>
                    <a:pt x="15680" y="-472"/>
                    <a:pt x="13356" y="766"/>
                  </a:cubicBezTo>
                  <a:lnTo>
                    <a:pt x="1164" y="7719"/>
                  </a:lnTo>
                  <a:cubicBezTo>
                    <a:pt x="-836" y="8958"/>
                    <a:pt x="-836" y="10863"/>
                    <a:pt x="1164" y="12006"/>
                  </a:cubicBezTo>
                  <a:close/>
                </a:path>
              </a:pathLst>
            </a:custGeom>
            <a:solidFill>
              <a:srgbClr val="D1D9E8"/>
            </a:solidFill>
            <a:ln w="9525" cap="flat">
              <a:noFill/>
              <a:prstDash val="solid"/>
              <a:miter/>
            </a:ln>
          </p:spPr>
          <p:txBody>
            <a:bodyPr rtlCol="0" anchor="ctr"/>
            <a:lstStyle/>
            <a:p>
              <a:endParaRPr lang="zh-CN" altLang="en-US"/>
            </a:p>
          </p:txBody>
        </p:sp>
        <p:sp>
          <p:nvSpPr>
            <p:cNvPr id="277" name="ïS1îḋê">
              <a:extLst>
                <a:ext uri="{FF2B5EF4-FFF2-40B4-BE49-F238E27FC236}">
                  <a16:creationId xmlns:a16="http://schemas.microsoft.com/office/drawing/2014/main" id="{5660B487-97B7-4B9C-B7B8-01E65C547B2E}"/>
                </a:ext>
              </a:extLst>
            </p:cNvPr>
            <p:cNvSpPr/>
            <p:nvPr/>
          </p:nvSpPr>
          <p:spPr>
            <a:xfrm>
              <a:off x="5264952" y="4778286"/>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3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3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2" y="7953"/>
                    <a:pt x="35668" y="6981"/>
                  </a:cubicBezTo>
                  <a:lnTo>
                    <a:pt x="35668" y="-163"/>
                  </a:lnTo>
                  <a:cubicBezTo>
                    <a:pt x="35602" y="818"/>
                    <a:pt x="35021" y="1685"/>
                    <a:pt x="34144" y="2123"/>
                  </a:cubicBezTo>
                  <a:lnTo>
                    <a:pt x="31763" y="3457"/>
                  </a:lnTo>
                  <a:lnTo>
                    <a:pt x="21476" y="9362"/>
                  </a:lnTo>
                  <a:cubicBezTo>
                    <a:pt x="19085" y="10601"/>
                    <a:pt x="16247" y="10601"/>
                    <a:pt x="13856" y="9362"/>
                  </a:cubicBezTo>
                  <a:lnTo>
                    <a:pt x="3569" y="3457"/>
                  </a:lnTo>
                  <a:lnTo>
                    <a:pt x="1188"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278" name="íS1ïḋê">
              <a:extLst>
                <a:ext uri="{FF2B5EF4-FFF2-40B4-BE49-F238E27FC236}">
                  <a16:creationId xmlns:a16="http://schemas.microsoft.com/office/drawing/2014/main" id="{2E144386-4F20-4EED-AE27-1B5AA8981574}"/>
                </a:ext>
              </a:extLst>
            </p:cNvPr>
            <p:cNvSpPr/>
            <p:nvPr/>
          </p:nvSpPr>
          <p:spPr>
            <a:xfrm>
              <a:off x="5342073" y="4791116"/>
              <a:ext cx="109883" cy="63588"/>
            </a:xfrm>
            <a:custGeom>
              <a:avLst/>
              <a:gdLst>
                <a:gd name="connsiteX0" fmla="*/ -336 w 36099"/>
                <a:gd name="connsiteY0" fmla="*/ 10291 h 20890"/>
                <a:gd name="connsiteX1" fmla="*/ 1283 w 36099"/>
                <a:gd name="connsiteY1" fmla="*/ 12577 h 20890"/>
                <a:gd name="connsiteX2" fmla="*/ 3569 w 36099"/>
                <a:gd name="connsiteY2" fmla="*/ 13910 h 20890"/>
                <a:gd name="connsiteX3" fmla="*/ 13856 w 36099"/>
                <a:gd name="connsiteY3" fmla="*/ 19721 h 20890"/>
                <a:gd name="connsiteX4" fmla="*/ 21571 w 36099"/>
                <a:gd name="connsiteY4" fmla="*/ 19721 h 20890"/>
                <a:gd name="connsiteX5" fmla="*/ 31858 w 36099"/>
                <a:gd name="connsiteY5" fmla="*/ 13910 h 20890"/>
                <a:gd name="connsiteX6" fmla="*/ 34144 w 36099"/>
                <a:gd name="connsiteY6" fmla="*/ 12577 h 20890"/>
                <a:gd name="connsiteX7" fmla="*/ 35764 w 36099"/>
                <a:gd name="connsiteY7" fmla="*/ 10291 h 20890"/>
                <a:gd name="connsiteX8" fmla="*/ 34144 w 36099"/>
                <a:gd name="connsiteY8" fmla="*/ 8100 h 20890"/>
                <a:gd name="connsiteX9" fmla="*/ 21571 w 36099"/>
                <a:gd name="connsiteY9" fmla="*/ 766 h 20890"/>
                <a:gd name="connsiteX10" fmla="*/ 13856 w 36099"/>
                <a:gd name="connsiteY10" fmla="*/ 766 h 20890"/>
                <a:gd name="connsiteX11" fmla="*/ 1283 w 36099"/>
                <a:gd name="connsiteY11" fmla="*/ 8100 h 20890"/>
                <a:gd name="connsiteX12" fmla="*/ -336 w 36099"/>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99" h="20890">
                  <a:moveTo>
                    <a:pt x="-336" y="10291"/>
                  </a:moveTo>
                  <a:cubicBezTo>
                    <a:pt x="-270" y="11301"/>
                    <a:pt x="359" y="12186"/>
                    <a:pt x="1283" y="12577"/>
                  </a:cubicBezTo>
                  <a:lnTo>
                    <a:pt x="3569" y="13910"/>
                  </a:lnTo>
                  <a:lnTo>
                    <a:pt x="13856" y="19721"/>
                  </a:lnTo>
                  <a:cubicBezTo>
                    <a:pt x="16256" y="21064"/>
                    <a:pt x="19171" y="21064"/>
                    <a:pt x="21571" y="19721"/>
                  </a:cubicBezTo>
                  <a:lnTo>
                    <a:pt x="31858" y="13910"/>
                  </a:lnTo>
                  <a:lnTo>
                    <a:pt x="34144" y="12577"/>
                  </a:lnTo>
                  <a:cubicBezTo>
                    <a:pt x="35049" y="12148"/>
                    <a:pt x="35659" y="11282"/>
                    <a:pt x="35764" y="10291"/>
                  </a:cubicBezTo>
                  <a:cubicBezTo>
                    <a:pt x="35687" y="9310"/>
                    <a:pt x="35059" y="8462"/>
                    <a:pt x="34144" y="8100"/>
                  </a:cubicBezTo>
                  <a:lnTo>
                    <a:pt x="21571" y="766"/>
                  </a:lnTo>
                  <a:cubicBezTo>
                    <a:pt x="19152" y="-472"/>
                    <a:pt x="16275" y="-472"/>
                    <a:pt x="13856" y="766"/>
                  </a:cubicBezTo>
                  <a:lnTo>
                    <a:pt x="1283" y="8100"/>
                  </a:lnTo>
                  <a:cubicBezTo>
                    <a:pt x="349" y="8443"/>
                    <a:pt x="-279" y="9301"/>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279" name="íślîḋé">
              <a:extLst>
                <a:ext uri="{FF2B5EF4-FFF2-40B4-BE49-F238E27FC236}">
                  <a16:creationId xmlns:a16="http://schemas.microsoft.com/office/drawing/2014/main" id="{3CE35BFA-6244-483D-964E-556D252F3B53}"/>
                </a:ext>
              </a:extLst>
            </p:cNvPr>
            <p:cNvSpPr/>
            <p:nvPr/>
          </p:nvSpPr>
          <p:spPr>
            <a:xfrm>
              <a:off x="5343957" y="4792273"/>
              <a:ext cx="105895" cy="61104"/>
            </a:xfrm>
            <a:custGeom>
              <a:avLst/>
              <a:gdLst>
                <a:gd name="connsiteX0" fmla="*/ 1235 w 34789"/>
                <a:gd name="connsiteY0" fmla="*/ 12006 h 20074"/>
                <a:gd name="connsiteX1" fmla="*/ 13332 w 34789"/>
                <a:gd name="connsiteY1" fmla="*/ 19054 h 20074"/>
                <a:gd name="connsiteX2" fmla="*/ 20761 w 34789"/>
                <a:gd name="connsiteY2" fmla="*/ 19054 h 20074"/>
                <a:gd name="connsiteX3" fmla="*/ 32953 w 34789"/>
                <a:gd name="connsiteY3" fmla="*/ 12006 h 20074"/>
                <a:gd name="connsiteX4" fmla="*/ 32953 w 34789"/>
                <a:gd name="connsiteY4" fmla="*/ 7719 h 20074"/>
                <a:gd name="connsiteX5" fmla="*/ 20761 w 34789"/>
                <a:gd name="connsiteY5" fmla="*/ 766 h 20074"/>
                <a:gd name="connsiteX6" fmla="*/ 13332 w 34789"/>
                <a:gd name="connsiteY6" fmla="*/ 766 h 20074"/>
                <a:gd name="connsiteX7" fmla="*/ 1235 w 34789"/>
                <a:gd name="connsiteY7" fmla="*/ 7719 h 20074"/>
                <a:gd name="connsiteX8" fmla="*/ 1235 w 34789"/>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89" h="20074">
                  <a:moveTo>
                    <a:pt x="1235" y="12006"/>
                  </a:moveTo>
                  <a:lnTo>
                    <a:pt x="13332" y="19054"/>
                  </a:lnTo>
                  <a:cubicBezTo>
                    <a:pt x="15675" y="20197"/>
                    <a:pt x="18418" y="20197"/>
                    <a:pt x="20761" y="19054"/>
                  </a:cubicBezTo>
                  <a:lnTo>
                    <a:pt x="32953" y="12006"/>
                  </a:lnTo>
                  <a:cubicBezTo>
                    <a:pt x="34954" y="10863"/>
                    <a:pt x="34954" y="8958"/>
                    <a:pt x="32953" y="7719"/>
                  </a:cubicBezTo>
                  <a:lnTo>
                    <a:pt x="20761" y="766"/>
                  </a:lnTo>
                  <a:cubicBezTo>
                    <a:pt x="18437" y="-472"/>
                    <a:pt x="15656" y="-472"/>
                    <a:pt x="13332" y="766"/>
                  </a:cubicBezTo>
                  <a:lnTo>
                    <a:pt x="1235" y="7719"/>
                  </a:lnTo>
                  <a:cubicBezTo>
                    <a:pt x="-860" y="8958"/>
                    <a:pt x="-860" y="11244"/>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280" name="îṥľîḍê">
              <a:extLst>
                <a:ext uri="{FF2B5EF4-FFF2-40B4-BE49-F238E27FC236}">
                  <a16:creationId xmlns:a16="http://schemas.microsoft.com/office/drawing/2014/main" id="{18667210-224F-4A97-A748-8C9E311FC3DF}"/>
                </a:ext>
              </a:extLst>
            </p:cNvPr>
            <p:cNvSpPr/>
            <p:nvPr/>
          </p:nvSpPr>
          <p:spPr>
            <a:xfrm>
              <a:off x="5342073" y="4822934"/>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4 w 36099"/>
                <a:gd name="connsiteY6" fmla="*/ 6981 h 17597"/>
                <a:gd name="connsiteX7" fmla="*/ 35764 w 36099"/>
                <a:gd name="connsiteY7" fmla="*/ -163 h 17597"/>
                <a:gd name="connsiteX8" fmla="*/ 34144 w 36099"/>
                <a:gd name="connsiteY8" fmla="*/ 2124 h 17597"/>
                <a:gd name="connsiteX9" fmla="*/ 31858 w 36099"/>
                <a:gd name="connsiteY9" fmla="*/ 3457 h 17597"/>
                <a:gd name="connsiteX10" fmla="*/ 21571 w 36099"/>
                <a:gd name="connsiteY10" fmla="*/ 9267 h 17597"/>
                <a:gd name="connsiteX11" fmla="*/ 13856 w 36099"/>
                <a:gd name="connsiteY11" fmla="*/ 9267 h 17597"/>
                <a:gd name="connsiteX12" fmla="*/ 3569 w 36099"/>
                <a:gd name="connsiteY12" fmla="*/ 3457 h 17597"/>
                <a:gd name="connsiteX13" fmla="*/ 1283 w 36099"/>
                <a:gd name="connsiteY13" fmla="*/ 2124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41" y="8048"/>
                    <a:pt x="387" y="8886"/>
                    <a:pt x="1283" y="9267"/>
                  </a:cubicBezTo>
                  <a:lnTo>
                    <a:pt x="13856" y="16506"/>
                  </a:lnTo>
                  <a:cubicBezTo>
                    <a:pt x="16275" y="17744"/>
                    <a:pt x="19152" y="17744"/>
                    <a:pt x="21571" y="16506"/>
                  </a:cubicBezTo>
                  <a:lnTo>
                    <a:pt x="34144" y="9267"/>
                  </a:lnTo>
                  <a:cubicBezTo>
                    <a:pt x="35030" y="8829"/>
                    <a:pt x="35640" y="7972"/>
                    <a:pt x="35764" y="6981"/>
                  </a:cubicBezTo>
                  <a:lnTo>
                    <a:pt x="35764" y="-163"/>
                  </a:lnTo>
                  <a:cubicBezTo>
                    <a:pt x="35659" y="828"/>
                    <a:pt x="35049" y="1695"/>
                    <a:pt x="34144" y="2124"/>
                  </a:cubicBezTo>
                  <a:lnTo>
                    <a:pt x="31858" y="3457"/>
                  </a:lnTo>
                  <a:lnTo>
                    <a:pt x="21571" y="9267"/>
                  </a:lnTo>
                  <a:cubicBezTo>
                    <a:pt x="19171" y="10610"/>
                    <a:pt x="16256" y="10610"/>
                    <a:pt x="13856" y="9267"/>
                  </a:cubicBezTo>
                  <a:lnTo>
                    <a:pt x="3569" y="3457"/>
                  </a:lnTo>
                  <a:lnTo>
                    <a:pt x="1283" y="2124"/>
                  </a:lnTo>
                  <a:cubicBezTo>
                    <a:pt x="349" y="1733"/>
                    <a:pt x="-270" y="847"/>
                    <a:pt x="-336" y="-163"/>
                  </a:cubicBezTo>
                  <a:close/>
                </a:path>
              </a:pathLst>
            </a:custGeom>
            <a:solidFill>
              <a:srgbClr val="BF4200"/>
            </a:solidFill>
            <a:ln w="9525" cap="flat">
              <a:noFill/>
              <a:prstDash val="solid"/>
              <a:miter/>
            </a:ln>
          </p:spPr>
          <p:txBody>
            <a:bodyPr rtlCol="0" anchor="ctr"/>
            <a:lstStyle/>
            <a:p>
              <a:endParaRPr lang="zh-CN" altLang="en-US"/>
            </a:p>
          </p:txBody>
        </p:sp>
        <p:sp>
          <p:nvSpPr>
            <p:cNvPr id="281" name="íṧḷîḑê">
              <a:extLst>
                <a:ext uri="{FF2B5EF4-FFF2-40B4-BE49-F238E27FC236}">
                  <a16:creationId xmlns:a16="http://schemas.microsoft.com/office/drawing/2014/main" id="{CDDA62FB-5C17-43BD-982B-5ED805BEF70F}"/>
                </a:ext>
              </a:extLst>
            </p:cNvPr>
            <p:cNvSpPr/>
            <p:nvPr/>
          </p:nvSpPr>
          <p:spPr>
            <a:xfrm>
              <a:off x="5419486" y="4835764"/>
              <a:ext cx="109362" cy="63588"/>
            </a:xfrm>
            <a:custGeom>
              <a:avLst/>
              <a:gdLst>
                <a:gd name="connsiteX0" fmla="*/ -336 w 35928"/>
                <a:gd name="connsiteY0" fmla="*/ 10291 h 20890"/>
                <a:gd name="connsiteX1" fmla="*/ 1188 w 35928"/>
                <a:gd name="connsiteY1" fmla="*/ 12482 h 20890"/>
                <a:gd name="connsiteX2" fmla="*/ 3569 w 35928"/>
                <a:gd name="connsiteY2" fmla="*/ 13911 h 20890"/>
                <a:gd name="connsiteX3" fmla="*/ 13856 w 35928"/>
                <a:gd name="connsiteY3" fmla="*/ 19721 h 20890"/>
                <a:gd name="connsiteX4" fmla="*/ 21476 w 35928"/>
                <a:gd name="connsiteY4" fmla="*/ 19721 h 20890"/>
                <a:gd name="connsiteX5" fmla="*/ 31763 w 35928"/>
                <a:gd name="connsiteY5" fmla="*/ 13911 h 20890"/>
                <a:gd name="connsiteX6" fmla="*/ 34144 w 35928"/>
                <a:gd name="connsiteY6" fmla="*/ 12482 h 20890"/>
                <a:gd name="connsiteX7" fmla="*/ 35402 w 35928"/>
                <a:gd name="connsiteY7" fmla="*/ 9358 h 20890"/>
                <a:gd name="connsiteX8" fmla="*/ 34144 w 35928"/>
                <a:gd name="connsiteY8" fmla="*/ 8101 h 20890"/>
                <a:gd name="connsiteX9" fmla="*/ 21476 w 35928"/>
                <a:gd name="connsiteY9" fmla="*/ 766 h 20890"/>
                <a:gd name="connsiteX10" fmla="*/ 13856 w 35928"/>
                <a:gd name="connsiteY10" fmla="*/ 766 h 20890"/>
                <a:gd name="connsiteX11" fmla="*/ 1188 w 35928"/>
                <a:gd name="connsiteY11" fmla="*/ 8101 h 20890"/>
                <a:gd name="connsiteX12" fmla="*/ -336 w 35928"/>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928" h="20890">
                  <a:moveTo>
                    <a:pt x="-336" y="10291"/>
                  </a:moveTo>
                  <a:cubicBezTo>
                    <a:pt x="-298" y="11253"/>
                    <a:pt x="292" y="12110"/>
                    <a:pt x="1188" y="12482"/>
                  </a:cubicBezTo>
                  <a:lnTo>
                    <a:pt x="3569" y="13911"/>
                  </a:lnTo>
                  <a:lnTo>
                    <a:pt x="13856" y="19721"/>
                  </a:lnTo>
                  <a:cubicBezTo>
                    <a:pt x="16218" y="21064"/>
                    <a:pt x="19114" y="21064"/>
                    <a:pt x="21476" y="19721"/>
                  </a:cubicBezTo>
                  <a:lnTo>
                    <a:pt x="31763" y="13911"/>
                  </a:lnTo>
                  <a:lnTo>
                    <a:pt x="34144" y="12482"/>
                  </a:lnTo>
                  <a:cubicBezTo>
                    <a:pt x="35354" y="11967"/>
                    <a:pt x="35916" y="10567"/>
                    <a:pt x="35402" y="9358"/>
                  </a:cubicBezTo>
                  <a:cubicBezTo>
                    <a:pt x="35164" y="8796"/>
                    <a:pt x="34706" y="8339"/>
                    <a:pt x="34144" y="8101"/>
                  </a:cubicBezTo>
                  <a:lnTo>
                    <a:pt x="21476" y="766"/>
                  </a:lnTo>
                  <a:cubicBezTo>
                    <a:pt x="19085" y="-472"/>
                    <a:pt x="16247" y="-472"/>
                    <a:pt x="13856" y="766"/>
                  </a:cubicBezTo>
                  <a:lnTo>
                    <a:pt x="1188" y="8101"/>
                  </a:lnTo>
                  <a:cubicBezTo>
                    <a:pt x="292" y="8472"/>
                    <a:pt x="-298"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282" name="îsḷíḓe">
              <a:extLst>
                <a:ext uri="{FF2B5EF4-FFF2-40B4-BE49-F238E27FC236}">
                  <a16:creationId xmlns:a16="http://schemas.microsoft.com/office/drawing/2014/main" id="{E6F1C94E-0E80-4D98-9177-B0D35E582BA9}"/>
                </a:ext>
              </a:extLst>
            </p:cNvPr>
            <p:cNvSpPr/>
            <p:nvPr/>
          </p:nvSpPr>
          <p:spPr>
            <a:xfrm>
              <a:off x="5421370" y="4836924"/>
              <a:ext cx="105825" cy="61101"/>
            </a:xfrm>
            <a:custGeom>
              <a:avLst/>
              <a:gdLst>
                <a:gd name="connsiteX0" fmla="*/ 1235 w 34766"/>
                <a:gd name="connsiteY0" fmla="*/ 12006 h 20073"/>
                <a:gd name="connsiteX1" fmla="*/ 13332 w 34766"/>
                <a:gd name="connsiteY1" fmla="*/ 19054 h 20073"/>
                <a:gd name="connsiteX2" fmla="*/ 20762 w 34766"/>
                <a:gd name="connsiteY2" fmla="*/ 19054 h 20073"/>
                <a:gd name="connsiteX3" fmla="*/ 32858 w 34766"/>
                <a:gd name="connsiteY3" fmla="*/ 12006 h 20073"/>
                <a:gd name="connsiteX4" fmla="*/ 32858 w 34766"/>
                <a:gd name="connsiteY4" fmla="*/ 7719 h 20073"/>
                <a:gd name="connsiteX5" fmla="*/ 20762 w 34766"/>
                <a:gd name="connsiteY5" fmla="*/ 766 h 20073"/>
                <a:gd name="connsiteX6" fmla="*/ 13332 w 34766"/>
                <a:gd name="connsiteY6" fmla="*/ 766 h 20073"/>
                <a:gd name="connsiteX7" fmla="*/ 1235 w 34766"/>
                <a:gd name="connsiteY7" fmla="*/ 7719 h 20073"/>
                <a:gd name="connsiteX8" fmla="*/ 1235 w 34766"/>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6" h="20073">
                  <a:moveTo>
                    <a:pt x="1235" y="12006"/>
                  </a:moveTo>
                  <a:lnTo>
                    <a:pt x="13332" y="19054"/>
                  </a:lnTo>
                  <a:cubicBezTo>
                    <a:pt x="15675" y="20197"/>
                    <a:pt x="18419" y="20197"/>
                    <a:pt x="20762" y="19054"/>
                  </a:cubicBezTo>
                  <a:lnTo>
                    <a:pt x="32858" y="12006"/>
                  </a:lnTo>
                  <a:cubicBezTo>
                    <a:pt x="34954" y="10863"/>
                    <a:pt x="34954" y="8957"/>
                    <a:pt x="32858" y="7719"/>
                  </a:cubicBezTo>
                  <a:lnTo>
                    <a:pt x="20762" y="766"/>
                  </a:lnTo>
                  <a:cubicBezTo>
                    <a:pt x="18437" y="-472"/>
                    <a:pt x="15656" y="-472"/>
                    <a:pt x="13332" y="766"/>
                  </a:cubicBezTo>
                  <a:lnTo>
                    <a:pt x="1235" y="7719"/>
                  </a:lnTo>
                  <a:cubicBezTo>
                    <a:pt x="-860" y="8957"/>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283" name="isḷïďê">
              <a:extLst>
                <a:ext uri="{FF2B5EF4-FFF2-40B4-BE49-F238E27FC236}">
                  <a16:creationId xmlns:a16="http://schemas.microsoft.com/office/drawing/2014/main" id="{917F348F-8C5C-4721-9E55-1AF68717B1AB}"/>
                </a:ext>
              </a:extLst>
            </p:cNvPr>
            <p:cNvSpPr/>
            <p:nvPr/>
          </p:nvSpPr>
          <p:spPr>
            <a:xfrm>
              <a:off x="5419486" y="4867586"/>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028 h 17597"/>
                <a:gd name="connsiteX9" fmla="*/ 31763 w 36004"/>
                <a:gd name="connsiteY9" fmla="*/ 3457 h 17597"/>
                <a:gd name="connsiteX10" fmla="*/ 21476 w 36004"/>
                <a:gd name="connsiteY10" fmla="*/ 9267 h 17597"/>
                <a:gd name="connsiteX11" fmla="*/ 13856 w 36004"/>
                <a:gd name="connsiteY11" fmla="*/ 9267 h 17597"/>
                <a:gd name="connsiteX12" fmla="*/ 3569 w 36004"/>
                <a:gd name="connsiteY12" fmla="*/ 3457 h 17597"/>
                <a:gd name="connsiteX13" fmla="*/ 1188 w 36004"/>
                <a:gd name="connsiteY13" fmla="*/ 2028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3" y="7953"/>
                    <a:pt x="35668" y="6981"/>
                  </a:cubicBezTo>
                  <a:lnTo>
                    <a:pt x="35668" y="-163"/>
                  </a:lnTo>
                  <a:cubicBezTo>
                    <a:pt x="35630" y="800"/>
                    <a:pt x="35040" y="1657"/>
                    <a:pt x="34144" y="2028"/>
                  </a:cubicBezTo>
                  <a:lnTo>
                    <a:pt x="31763" y="3457"/>
                  </a:lnTo>
                  <a:lnTo>
                    <a:pt x="21476" y="9267"/>
                  </a:lnTo>
                  <a:cubicBezTo>
                    <a:pt x="19114" y="10610"/>
                    <a:pt x="16218" y="10610"/>
                    <a:pt x="13856" y="9267"/>
                  </a:cubicBezTo>
                  <a:lnTo>
                    <a:pt x="3569" y="3457"/>
                  </a:lnTo>
                  <a:lnTo>
                    <a:pt x="1188" y="2028"/>
                  </a:lnTo>
                  <a:cubicBezTo>
                    <a:pt x="292" y="1657"/>
                    <a:pt x="-298" y="800"/>
                    <a:pt x="-336" y="-163"/>
                  </a:cubicBezTo>
                  <a:close/>
                </a:path>
              </a:pathLst>
            </a:custGeom>
            <a:solidFill>
              <a:srgbClr val="BF4200"/>
            </a:solidFill>
            <a:ln w="9525" cap="flat">
              <a:noFill/>
              <a:prstDash val="solid"/>
              <a:miter/>
            </a:ln>
          </p:spPr>
          <p:txBody>
            <a:bodyPr rtlCol="0" anchor="ctr"/>
            <a:lstStyle/>
            <a:p>
              <a:endParaRPr lang="zh-CN" altLang="en-US"/>
            </a:p>
          </p:txBody>
        </p:sp>
        <p:sp>
          <p:nvSpPr>
            <p:cNvPr id="284" name="ïṥļiḓe">
              <a:extLst>
                <a:ext uri="{FF2B5EF4-FFF2-40B4-BE49-F238E27FC236}">
                  <a16:creationId xmlns:a16="http://schemas.microsoft.com/office/drawing/2014/main" id="{ADB9BCDD-0B22-4990-B3D6-5FCCFF58D381}"/>
                </a:ext>
              </a:extLst>
            </p:cNvPr>
            <p:cNvSpPr/>
            <p:nvPr/>
          </p:nvSpPr>
          <p:spPr>
            <a:xfrm>
              <a:off x="5496607" y="4880416"/>
              <a:ext cx="109883" cy="63588"/>
            </a:xfrm>
            <a:custGeom>
              <a:avLst/>
              <a:gdLst>
                <a:gd name="connsiteX0" fmla="*/ -336 w 36099"/>
                <a:gd name="connsiteY0" fmla="*/ 10196 h 20890"/>
                <a:gd name="connsiteX1" fmla="*/ 1283 w 36099"/>
                <a:gd name="connsiteY1" fmla="*/ 12482 h 20890"/>
                <a:gd name="connsiteX2" fmla="*/ 3569 w 36099"/>
                <a:gd name="connsiteY2" fmla="*/ 13815 h 20890"/>
                <a:gd name="connsiteX3" fmla="*/ 13856 w 36099"/>
                <a:gd name="connsiteY3" fmla="*/ 19721 h 20890"/>
                <a:gd name="connsiteX4" fmla="*/ 21571 w 36099"/>
                <a:gd name="connsiteY4" fmla="*/ 19721 h 20890"/>
                <a:gd name="connsiteX5" fmla="*/ 31858 w 36099"/>
                <a:gd name="connsiteY5" fmla="*/ 13815 h 20890"/>
                <a:gd name="connsiteX6" fmla="*/ 34144 w 36099"/>
                <a:gd name="connsiteY6" fmla="*/ 12482 h 20890"/>
                <a:gd name="connsiteX7" fmla="*/ 35764 w 36099"/>
                <a:gd name="connsiteY7" fmla="*/ 10196 h 20890"/>
                <a:gd name="connsiteX8" fmla="*/ 34144 w 36099"/>
                <a:gd name="connsiteY8" fmla="*/ 8005 h 20890"/>
                <a:gd name="connsiteX9" fmla="*/ 21571 w 36099"/>
                <a:gd name="connsiteY9" fmla="*/ 766 h 20890"/>
                <a:gd name="connsiteX10" fmla="*/ 13856 w 36099"/>
                <a:gd name="connsiteY10" fmla="*/ 766 h 20890"/>
                <a:gd name="connsiteX11" fmla="*/ 1283 w 36099"/>
                <a:gd name="connsiteY11" fmla="*/ 8005 h 20890"/>
                <a:gd name="connsiteX12" fmla="*/ -336 w 36099"/>
                <a:gd name="connsiteY12" fmla="*/ 10196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99" h="20890">
                  <a:moveTo>
                    <a:pt x="-336" y="10196"/>
                  </a:moveTo>
                  <a:cubicBezTo>
                    <a:pt x="-251" y="11196"/>
                    <a:pt x="369" y="12072"/>
                    <a:pt x="1283" y="12482"/>
                  </a:cubicBezTo>
                  <a:lnTo>
                    <a:pt x="3569" y="13815"/>
                  </a:lnTo>
                  <a:lnTo>
                    <a:pt x="13856" y="19721"/>
                  </a:lnTo>
                  <a:cubicBezTo>
                    <a:pt x="16256" y="21064"/>
                    <a:pt x="19171" y="21064"/>
                    <a:pt x="21571" y="19721"/>
                  </a:cubicBezTo>
                  <a:lnTo>
                    <a:pt x="31858" y="13815"/>
                  </a:lnTo>
                  <a:lnTo>
                    <a:pt x="34144" y="12482"/>
                  </a:lnTo>
                  <a:cubicBezTo>
                    <a:pt x="35059" y="12072"/>
                    <a:pt x="35678" y="11196"/>
                    <a:pt x="35764" y="10196"/>
                  </a:cubicBezTo>
                  <a:cubicBezTo>
                    <a:pt x="35630" y="9243"/>
                    <a:pt x="35021" y="8415"/>
                    <a:pt x="34144" y="8005"/>
                  </a:cubicBezTo>
                  <a:lnTo>
                    <a:pt x="21571" y="766"/>
                  </a:lnTo>
                  <a:cubicBezTo>
                    <a:pt x="19152" y="-472"/>
                    <a:pt x="16275" y="-472"/>
                    <a:pt x="13856" y="766"/>
                  </a:cubicBezTo>
                  <a:lnTo>
                    <a:pt x="1283" y="8005"/>
                  </a:lnTo>
                  <a:cubicBezTo>
                    <a:pt x="407" y="8415"/>
                    <a:pt x="-203" y="924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285" name="iṣḷíḍè">
              <a:extLst>
                <a:ext uri="{FF2B5EF4-FFF2-40B4-BE49-F238E27FC236}">
                  <a16:creationId xmlns:a16="http://schemas.microsoft.com/office/drawing/2014/main" id="{0B3FF49A-D6CE-4D72-9863-6776BC7079F1}"/>
                </a:ext>
              </a:extLst>
            </p:cNvPr>
            <p:cNvSpPr/>
            <p:nvPr/>
          </p:nvSpPr>
          <p:spPr>
            <a:xfrm>
              <a:off x="5498710" y="4881575"/>
              <a:ext cx="105679" cy="61101"/>
            </a:xfrm>
            <a:custGeom>
              <a:avLst/>
              <a:gdLst>
                <a:gd name="connsiteX0" fmla="*/ 1164 w 34718"/>
                <a:gd name="connsiteY0" fmla="*/ 12006 h 20073"/>
                <a:gd name="connsiteX1" fmla="*/ 13260 w 34718"/>
                <a:gd name="connsiteY1" fmla="*/ 19054 h 20073"/>
                <a:gd name="connsiteX2" fmla="*/ 20785 w 34718"/>
                <a:gd name="connsiteY2" fmla="*/ 19054 h 20073"/>
                <a:gd name="connsiteX3" fmla="*/ 32882 w 34718"/>
                <a:gd name="connsiteY3" fmla="*/ 12006 h 20073"/>
                <a:gd name="connsiteX4" fmla="*/ 32882 w 34718"/>
                <a:gd name="connsiteY4" fmla="*/ 7719 h 20073"/>
                <a:gd name="connsiteX5" fmla="*/ 20785 w 34718"/>
                <a:gd name="connsiteY5" fmla="*/ 766 h 20073"/>
                <a:gd name="connsiteX6" fmla="*/ 13260 w 34718"/>
                <a:gd name="connsiteY6" fmla="*/ 766 h 20073"/>
                <a:gd name="connsiteX7" fmla="*/ 1164 w 34718"/>
                <a:gd name="connsiteY7" fmla="*/ 7719 h 20073"/>
                <a:gd name="connsiteX8" fmla="*/ 1164 w 34718"/>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18" h="20073">
                  <a:moveTo>
                    <a:pt x="1164" y="12006"/>
                  </a:moveTo>
                  <a:lnTo>
                    <a:pt x="13260" y="19054"/>
                  </a:lnTo>
                  <a:cubicBezTo>
                    <a:pt x="15642" y="20197"/>
                    <a:pt x="18404" y="20197"/>
                    <a:pt x="20785" y="19054"/>
                  </a:cubicBezTo>
                  <a:lnTo>
                    <a:pt x="32882" y="12006"/>
                  </a:lnTo>
                  <a:cubicBezTo>
                    <a:pt x="34882" y="10863"/>
                    <a:pt x="34882" y="8957"/>
                    <a:pt x="32882" y="7719"/>
                  </a:cubicBezTo>
                  <a:lnTo>
                    <a:pt x="20785" y="766"/>
                  </a:lnTo>
                  <a:cubicBezTo>
                    <a:pt x="18433" y="-472"/>
                    <a:pt x="15613" y="-472"/>
                    <a:pt x="13260" y="766"/>
                  </a:cubicBezTo>
                  <a:lnTo>
                    <a:pt x="1164" y="7719"/>
                  </a:lnTo>
                  <a:cubicBezTo>
                    <a:pt x="-836" y="8957"/>
                    <a:pt x="-836" y="10481"/>
                    <a:pt x="1164" y="12006"/>
                  </a:cubicBezTo>
                  <a:close/>
                </a:path>
              </a:pathLst>
            </a:custGeom>
            <a:solidFill>
              <a:srgbClr val="D1D9E8"/>
            </a:solidFill>
            <a:ln w="9525" cap="flat">
              <a:noFill/>
              <a:prstDash val="solid"/>
              <a:miter/>
            </a:ln>
          </p:spPr>
          <p:txBody>
            <a:bodyPr rtlCol="0" anchor="ctr"/>
            <a:lstStyle/>
            <a:p>
              <a:endParaRPr lang="zh-CN" altLang="en-US"/>
            </a:p>
          </p:txBody>
        </p:sp>
        <p:sp>
          <p:nvSpPr>
            <p:cNvPr id="286" name="ïṡļiḍè">
              <a:extLst>
                <a:ext uri="{FF2B5EF4-FFF2-40B4-BE49-F238E27FC236}">
                  <a16:creationId xmlns:a16="http://schemas.microsoft.com/office/drawing/2014/main" id="{E23944DC-2BBF-4454-99D6-244E35E1EBA6}"/>
                </a:ext>
              </a:extLst>
            </p:cNvPr>
            <p:cNvSpPr/>
            <p:nvPr/>
          </p:nvSpPr>
          <p:spPr>
            <a:xfrm>
              <a:off x="5496607" y="4911945"/>
              <a:ext cx="109883" cy="53804"/>
            </a:xfrm>
            <a:custGeom>
              <a:avLst/>
              <a:gdLst>
                <a:gd name="connsiteX0" fmla="*/ -336 w 36099"/>
                <a:gd name="connsiteY0" fmla="*/ -163 h 17676"/>
                <a:gd name="connsiteX1" fmla="*/ -336 w 36099"/>
                <a:gd name="connsiteY1" fmla="*/ 7076 h 17676"/>
                <a:gd name="connsiteX2" fmla="*/ 1283 w 36099"/>
                <a:gd name="connsiteY2" fmla="*/ 9362 h 17676"/>
                <a:gd name="connsiteX3" fmla="*/ 13856 w 36099"/>
                <a:gd name="connsiteY3" fmla="*/ 16506 h 17676"/>
                <a:gd name="connsiteX4" fmla="*/ 21571 w 36099"/>
                <a:gd name="connsiteY4" fmla="*/ 16506 h 17676"/>
                <a:gd name="connsiteX5" fmla="*/ 34144 w 36099"/>
                <a:gd name="connsiteY5" fmla="*/ 9362 h 17676"/>
                <a:gd name="connsiteX6" fmla="*/ 35764 w 36099"/>
                <a:gd name="connsiteY6" fmla="*/ 7076 h 17676"/>
                <a:gd name="connsiteX7" fmla="*/ 35764 w 36099"/>
                <a:gd name="connsiteY7" fmla="*/ -163 h 17676"/>
                <a:gd name="connsiteX8" fmla="*/ 34144 w 36099"/>
                <a:gd name="connsiteY8" fmla="*/ 2124 h 17676"/>
                <a:gd name="connsiteX9" fmla="*/ 31858 w 36099"/>
                <a:gd name="connsiteY9" fmla="*/ 3457 h 17676"/>
                <a:gd name="connsiteX10" fmla="*/ 21571 w 36099"/>
                <a:gd name="connsiteY10" fmla="*/ 9362 h 17676"/>
                <a:gd name="connsiteX11" fmla="*/ 13856 w 36099"/>
                <a:gd name="connsiteY11" fmla="*/ 9362 h 17676"/>
                <a:gd name="connsiteX12" fmla="*/ 3569 w 36099"/>
                <a:gd name="connsiteY12" fmla="*/ 3457 h 17676"/>
                <a:gd name="connsiteX13" fmla="*/ 1283 w 36099"/>
                <a:gd name="connsiteY13" fmla="*/ 2124 h 17676"/>
                <a:gd name="connsiteX14" fmla="*/ -336 w 36099"/>
                <a:gd name="connsiteY14" fmla="*/ -163 h 17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676">
                  <a:moveTo>
                    <a:pt x="-336" y="-163"/>
                  </a:moveTo>
                  <a:lnTo>
                    <a:pt x="-336" y="7076"/>
                  </a:lnTo>
                  <a:cubicBezTo>
                    <a:pt x="-231" y="8067"/>
                    <a:pt x="378" y="8934"/>
                    <a:pt x="1283" y="9362"/>
                  </a:cubicBezTo>
                  <a:lnTo>
                    <a:pt x="13856" y="16506"/>
                  </a:lnTo>
                  <a:cubicBezTo>
                    <a:pt x="16256" y="17849"/>
                    <a:pt x="19171" y="17849"/>
                    <a:pt x="21571" y="16506"/>
                  </a:cubicBezTo>
                  <a:lnTo>
                    <a:pt x="34144" y="9362"/>
                  </a:lnTo>
                  <a:cubicBezTo>
                    <a:pt x="35030" y="8924"/>
                    <a:pt x="35640" y="8058"/>
                    <a:pt x="35764" y="7076"/>
                  </a:cubicBezTo>
                  <a:lnTo>
                    <a:pt x="35764" y="-163"/>
                  </a:lnTo>
                  <a:cubicBezTo>
                    <a:pt x="35678" y="838"/>
                    <a:pt x="35059" y="1714"/>
                    <a:pt x="34144" y="2124"/>
                  </a:cubicBezTo>
                  <a:lnTo>
                    <a:pt x="31858" y="3457"/>
                  </a:lnTo>
                  <a:lnTo>
                    <a:pt x="21571" y="9362"/>
                  </a:lnTo>
                  <a:cubicBezTo>
                    <a:pt x="19171" y="10706"/>
                    <a:pt x="16256" y="10706"/>
                    <a:pt x="13856" y="9362"/>
                  </a:cubicBezTo>
                  <a:lnTo>
                    <a:pt x="3569" y="3457"/>
                  </a:lnTo>
                  <a:lnTo>
                    <a:pt x="1283" y="2124"/>
                  </a:lnTo>
                  <a:cubicBezTo>
                    <a:pt x="369" y="1714"/>
                    <a:pt x="-251" y="838"/>
                    <a:pt x="-336" y="-163"/>
                  </a:cubicBezTo>
                  <a:close/>
                </a:path>
              </a:pathLst>
            </a:custGeom>
            <a:solidFill>
              <a:srgbClr val="BF4200"/>
            </a:solidFill>
            <a:ln w="9525" cap="flat">
              <a:noFill/>
              <a:prstDash val="solid"/>
              <a:miter/>
            </a:ln>
          </p:spPr>
          <p:txBody>
            <a:bodyPr rtlCol="0" anchor="ctr"/>
            <a:lstStyle/>
            <a:p>
              <a:endParaRPr lang="zh-CN" altLang="en-US"/>
            </a:p>
          </p:txBody>
        </p:sp>
        <p:sp>
          <p:nvSpPr>
            <p:cNvPr id="287" name="ïşľiḋe">
              <a:extLst>
                <a:ext uri="{FF2B5EF4-FFF2-40B4-BE49-F238E27FC236}">
                  <a16:creationId xmlns:a16="http://schemas.microsoft.com/office/drawing/2014/main" id="{11933AA4-2C57-4018-9844-FE46F9AAF152}"/>
                </a:ext>
              </a:extLst>
            </p:cNvPr>
            <p:cNvSpPr/>
            <p:nvPr/>
          </p:nvSpPr>
          <p:spPr>
            <a:xfrm>
              <a:off x="5574020" y="4925064"/>
              <a:ext cx="109594" cy="63588"/>
            </a:xfrm>
            <a:custGeom>
              <a:avLst/>
              <a:gdLst>
                <a:gd name="connsiteX0" fmla="*/ -336 w 36004"/>
                <a:gd name="connsiteY0" fmla="*/ 10196 h 20890"/>
                <a:gd name="connsiteX1" fmla="*/ 1188 w 36004"/>
                <a:gd name="connsiteY1" fmla="*/ 12482 h 20890"/>
                <a:gd name="connsiteX2" fmla="*/ 3569 w 36004"/>
                <a:gd name="connsiteY2" fmla="*/ 13815 h 20890"/>
                <a:gd name="connsiteX3" fmla="*/ 13856 w 36004"/>
                <a:gd name="connsiteY3" fmla="*/ 19721 h 20890"/>
                <a:gd name="connsiteX4" fmla="*/ 21476 w 36004"/>
                <a:gd name="connsiteY4" fmla="*/ 19721 h 20890"/>
                <a:gd name="connsiteX5" fmla="*/ 31763 w 36004"/>
                <a:gd name="connsiteY5" fmla="*/ 13815 h 20890"/>
                <a:gd name="connsiteX6" fmla="*/ 34144 w 36004"/>
                <a:gd name="connsiteY6" fmla="*/ 12482 h 20890"/>
                <a:gd name="connsiteX7" fmla="*/ 35668 w 36004"/>
                <a:gd name="connsiteY7" fmla="*/ 10196 h 20890"/>
                <a:gd name="connsiteX8" fmla="*/ 34144 w 36004"/>
                <a:gd name="connsiteY8" fmla="*/ 8005 h 20890"/>
                <a:gd name="connsiteX9" fmla="*/ 21476 w 36004"/>
                <a:gd name="connsiteY9" fmla="*/ 766 h 20890"/>
                <a:gd name="connsiteX10" fmla="*/ 13856 w 36004"/>
                <a:gd name="connsiteY10" fmla="*/ 766 h 20890"/>
                <a:gd name="connsiteX11" fmla="*/ 1188 w 36004"/>
                <a:gd name="connsiteY11" fmla="*/ 8005 h 20890"/>
                <a:gd name="connsiteX12" fmla="*/ -336 w 36004"/>
                <a:gd name="connsiteY12" fmla="*/ 10196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196"/>
                  </a:moveTo>
                  <a:cubicBezTo>
                    <a:pt x="-308" y="11186"/>
                    <a:pt x="283" y="12082"/>
                    <a:pt x="1188" y="12482"/>
                  </a:cubicBezTo>
                  <a:lnTo>
                    <a:pt x="3569" y="13815"/>
                  </a:lnTo>
                  <a:lnTo>
                    <a:pt x="13856" y="19721"/>
                  </a:lnTo>
                  <a:cubicBezTo>
                    <a:pt x="16218" y="21064"/>
                    <a:pt x="19114" y="21064"/>
                    <a:pt x="21476" y="19721"/>
                  </a:cubicBezTo>
                  <a:lnTo>
                    <a:pt x="31763" y="13815"/>
                  </a:lnTo>
                  <a:lnTo>
                    <a:pt x="34144" y="12482"/>
                  </a:lnTo>
                  <a:cubicBezTo>
                    <a:pt x="35049" y="12082"/>
                    <a:pt x="35640" y="11186"/>
                    <a:pt x="35668" y="10196"/>
                  </a:cubicBezTo>
                  <a:cubicBezTo>
                    <a:pt x="35573" y="9253"/>
                    <a:pt x="34992" y="8424"/>
                    <a:pt x="34144" y="8005"/>
                  </a:cubicBezTo>
                  <a:lnTo>
                    <a:pt x="21476" y="766"/>
                  </a:lnTo>
                  <a:cubicBezTo>
                    <a:pt x="19085" y="-472"/>
                    <a:pt x="16247" y="-472"/>
                    <a:pt x="13856" y="766"/>
                  </a:cubicBezTo>
                  <a:lnTo>
                    <a:pt x="1188" y="8005"/>
                  </a:lnTo>
                  <a:cubicBezTo>
                    <a:pt x="340" y="8424"/>
                    <a:pt x="-241" y="925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288" name="iṧļïḍe">
              <a:extLst>
                <a:ext uri="{FF2B5EF4-FFF2-40B4-BE49-F238E27FC236}">
                  <a16:creationId xmlns:a16="http://schemas.microsoft.com/office/drawing/2014/main" id="{9361A4D8-0D04-40AF-B298-954882BF8874}"/>
                </a:ext>
              </a:extLst>
            </p:cNvPr>
            <p:cNvSpPr/>
            <p:nvPr/>
          </p:nvSpPr>
          <p:spPr>
            <a:xfrm>
              <a:off x="5576154" y="4926151"/>
              <a:ext cx="105329" cy="61174"/>
            </a:xfrm>
            <a:custGeom>
              <a:avLst/>
              <a:gdLst>
                <a:gd name="connsiteX0" fmla="*/ 1154 w 34603"/>
                <a:gd name="connsiteY0" fmla="*/ 12029 h 20097"/>
                <a:gd name="connsiteX1" fmla="*/ 13251 w 34603"/>
                <a:gd name="connsiteY1" fmla="*/ 19078 h 20097"/>
                <a:gd name="connsiteX2" fmla="*/ 20680 w 34603"/>
                <a:gd name="connsiteY2" fmla="*/ 19078 h 20097"/>
                <a:gd name="connsiteX3" fmla="*/ 32777 w 34603"/>
                <a:gd name="connsiteY3" fmla="*/ 12029 h 20097"/>
                <a:gd name="connsiteX4" fmla="*/ 34120 w 34603"/>
                <a:gd name="connsiteY4" fmla="*/ 9096 h 20097"/>
                <a:gd name="connsiteX5" fmla="*/ 32777 w 34603"/>
                <a:gd name="connsiteY5" fmla="*/ 7743 h 20097"/>
                <a:gd name="connsiteX6" fmla="*/ 20680 w 34603"/>
                <a:gd name="connsiteY6" fmla="*/ 695 h 20097"/>
                <a:gd name="connsiteX7" fmla="*/ 13251 w 34603"/>
                <a:gd name="connsiteY7" fmla="*/ 695 h 20097"/>
                <a:gd name="connsiteX8" fmla="*/ 1154 w 34603"/>
                <a:gd name="connsiteY8" fmla="*/ 7743 h 20097"/>
                <a:gd name="connsiteX9" fmla="*/ -189 w 34603"/>
                <a:gd name="connsiteY9" fmla="*/ 10686 h 20097"/>
                <a:gd name="connsiteX10" fmla="*/ 1154 w 34603"/>
                <a:gd name="connsiteY10" fmla="*/ 12029 h 20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603" h="20097">
                  <a:moveTo>
                    <a:pt x="1154" y="12029"/>
                  </a:moveTo>
                  <a:lnTo>
                    <a:pt x="13251" y="19078"/>
                  </a:lnTo>
                  <a:cubicBezTo>
                    <a:pt x="15594" y="20221"/>
                    <a:pt x="18337" y="20221"/>
                    <a:pt x="20680" y="19078"/>
                  </a:cubicBezTo>
                  <a:lnTo>
                    <a:pt x="32777" y="12029"/>
                  </a:lnTo>
                  <a:cubicBezTo>
                    <a:pt x="33958" y="11591"/>
                    <a:pt x="34568" y="10277"/>
                    <a:pt x="34120" y="9096"/>
                  </a:cubicBezTo>
                  <a:cubicBezTo>
                    <a:pt x="33891" y="8467"/>
                    <a:pt x="33396" y="7971"/>
                    <a:pt x="32777" y="7743"/>
                  </a:cubicBezTo>
                  <a:lnTo>
                    <a:pt x="20680" y="695"/>
                  </a:lnTo>
                  <a:cubicBezTo>
                    <a:pt x="18337" y="-448"/>
                    <a:pt x="15594" y="-448"/>
                    <a:pt x="13251" y="695"/>
                  </a:cubicBezTo>
                  <a:lnTo>
                    <a:pt x="1154" y="7743"/>
                  </a:lnTo>
                  <a:cubicBezTo>
                    <a:pt x="-27" y="8181"/>
                    <a:pt x="-637" y="9496"/>
                    <a:pt x="-189" y="10686"/>
                  </a:cubicBezTo>
                  <a:cubicBezTo>
                    <a:pt x="40" y="11305"/>
                    <a:pt x="535" y="11801"/>
                    <a:pt x="1154" y="12029"/>
                  </a:cubicBezTo>
                  <a:close/>
                </a:path>
              </a:pathLst>
            </a:custGeom>
            <a:solidFill>
              <a:srgbClr val="D1D9E8"/>
            </a:solidFill>
            <a:ln w="9525" cap="flat">
              <a:noFill/>
              <a:prstDash val="solid"/>
              <a:miter/>
            </a:ln>
          </p:spPr>
          <p:txBody>
            <a:bodyPr rtlCol="0" anchor="ctr"/>
            <a:lstStyle/>
            <a:p>
              <a:endParaRPr lang="zh-CN" altLang="en-US"/>
            </a:p>
          </p:txBody>
        </p:sp>
        <p:sp>
          <p:nvSpPr>
            <p:cNvPr id="289" name="ïṣḷîḓê">
              <a:extLst>
                <a:ext uri="{FF2B5EF4-FFF2-40B4-BE49-F238E27FC236}">
                  <a16:creationId xmlns:a16="http://schemas.microsoft.com/office/drawing/2014/main" id="{BF03B349-E460-430F-B9E4-0718F2AD06E1}"/>
                </a:ext>
              </a:extLst>
            </p:cNvPr>
            <p:cNvSpPr/>
            <p:nvPr/>
          </p:nvSpPr>
          <p:spPr>
            <a:xfrm>
              <a:off x="5574020" y="4956596"/>
              <a:ext cx="109594" cy="53801"/>
            </a:xfrm>
            <a:custGeom>
              <a:avLst/>
              <a:gdLst>
                <a:gd name="connsiteX0" fmla="*/ -336 w 36004"/>
                <a:gd name="connsiteY0" fmla="*/ -163 h 17675"/>
                <a:gd name="connsiteX1" fmla="*/ -336 w 36004"/>
                <a:gd name="connsiteY1" fmla="*/ 7076 h 17675"/>
                <a:gd name="connsiteX2" fmla="*/ 1188 w 36004"/>
                <a:gd name="connsiteY2" fmla="*/ 9267 h 17675"/>
                <a:gd name="connsiteX3" fmla="*/ 13856 w 36004"/>
                <a:gd name="connsiteY3" fmla="*/ 16506 h 17675"/>
                <a:gd name="connsiteX4" fmla="*/ 21476 w 36004"/>
                <a:gd name="connsiteY4" fmla="*/ 16506 h 17675"/>
                <a:gd name="connsiteX5" fmla="*/ 34144 w 36004"/>
                <a:gd name="connsiteY5" fmla="*/ 9267 h 17675"/>
                <a:gd name="connsiteX6" fmla="*/ 35668 w 36004"/>
                <a:gd name="connsiteY6" fmla="*/ 7076 h 17675"/>
                <a:gd name="connsiteX7" fmla="*/ 35668 w 36004"/>
                <a:gd name="connsiteY7" fmla="*/ -163 h 17675"/>
                <a:gd name="connsiteX8" fmla="*/ 34144 w 36004"/>
                <a:gd name="connsiteY8" fmla="*/ 2123 h 17675"/>
                <a:gd name="connsiteX9" fmla="*/ 31763 w 36004"/>
                <a:gd name="connsiteY9" fmla="*/ 3457 h 17675"/>
                <a:gd name="connsiteX10" fmla="*/ 21476 w 36004"/>
                <a:gd name="connsiteY10" fmla="*/ 9362 h 17675"/>
                <a:gd name="connsiteX11" fmla="*/ 13856 w 36004"/>
                <a:gd name="connsiteY11" fmla="*/ 9362 h 17675"/>
                <a:gd name="connsiteX12" fmla="*/ 3569 w 36004"/>
                <a:gd name="connsiteY12" fmla="*/ 3457 h 17675"/>
                <a:gd name="connsiteX13" fmla="*/ 1188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98" y="8038"/>
                    <a:pt x="292" y="8896"/>
                    <a:pt x="1188" y="9267"/>
                  </a:cubicBezTo>
                  <a:lnTo>
                    <a:pt x="13856" y="16506"/>
                  </a:lnTo>
                  <a:cubicBezTo>
                    <a:pt x="16218" y="17849"/>
                    <a:pt x="19114" y="17849"/>
                    <a:pt x="21476" y="16506"/>
                  </a:cubicBezTo>
                  <a:lnTo>
                    <a:pt x="34144" y="9267"/>
                  </a:lnTo>
                  <a:cubicBezTo>
                    <a:pt x="35021" y="8877"/>
                    <a:pt x="35611" y="8038"/>
                    <a:pt x="35668" y="7076"/>
                  </a:cubicBezTo>
                  <a:lnTo>
                    <a:pt x="35668" y="-163"/>
                  </a:lnTo>
                  <a:cubicBezTo>
                    <a:pt x="35640" y="828"/>
                    <a:pt x="35049" y="1723"/>
                    <a:pt x="34144" y="2123"/>
                  </a:cubicBezTo>
                  <a:lnTo>
                    <a:pt x="31763" y="3457"/>
                  </a:lnTo>
                  <a:lnTo>
                    <a:pt x="21476" y="9362"/>
                  </a:lnTo>
                  <a:cubicBezTo>
                    <a:pt x="19114" y="10705"/>
                    <a:pt x="16218" y="10705"/>
                    <a:pt x="13856" y="9362"/>
                  </a:cubicBezTo>
                  <a:lnTo>
                    <a:pt x="3569" y="3457"/>
                  </a:lnTo>
                  <a:lnTo>
                    <a:pt x="1188" y="2123"/>
                  </a:lnTo>
                  <a:cubicBezTo>
                    <a:pt x="283" y="1723"/>
                    <a:pt x="-308"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290" name="í$1îḍê">
              <a:extLst>
                <a:ext uri="{FF2B5EF4-FFF2-40B4-BE49-F238E27FC236}">
                  <a16:creationId xmlns:a16="http://schemas.microsoft.com/office/drawing/2014/main" id="{26D33B1E-3FA3-49BE-9792-9F21FA631FA0}"/>
                </a:ext>
              </a:extLst>
            </p:cNvPr>
            <p:cNvSpPr/>
            <p:nvPr/>
          </p:nvSpPr>
          <p:spPr>
            <a:xfrm>
              <a:off x="5651433" y="4969481"/>
              <a:ext cx="109450" cy="63292"/>
            </a:xfrm>
            <a:custGeom>
              <a:avLst/>
              <a:gdLst>
                <a:gd name="connsiteX0" fmla="*/ -336 w 35957"/>
                <a:gd name="connsiteY0" fmla="*/ 10177 h 20793"/>
                <a:gd name="connsiteX1" fmla="*/ 1188 w 35957"/>
                <a:gd name="connsiteY1" fmla="*/ 12463 h 20793"/>
                <a:gd name="connsiteX2" fmla="*/ 3474 w 35957"/>
                <a:gd name="connsiteY2" fmla="*/ 13796 h 20793"/>
                <a:gd name="connsiteX3" fmla="*/ 13761 w 35957"/>
                <a:gd name="connsiteY3" fmla="*/ 19702 h 20793"/>
                <a:gd name="connsiteX4" fmla="*/ 21476 w 35957"/>
                <a:gd name="connsiteY4" fmla="*/ 19702 h 20793"/>
                <a:gd name="connsiteX5" fmla="*/ 31763 w 35957"/>
                <a:gd name="connsiteY5" fmla="*/ 13796 h 20793"/>
                <a:gd name="connsiteX6" fmla="*/ 34049 w 35957"/>
                <a:gd name="connsiteY6" fmla="*/ 12463 h 20793"/>
                <a:gd name="connsiteX7" fmla="*/ 35478 w 35957"/>
                <a:gd name="connsiteY7" fmla="*/ 9415 h 20793"/>
                <a:gd name="connsiteX8" fmla="*/ 34049 w 35957"/>
                <a:gd name="connsiteY8" fmla="*/ 7986 h 20793"/>
                <a:gd name="connsiteX9" fmla="*/ 21476 w 35957"/>
                <a:gd name="connsiteY9" fmla="*/ 652 h 20793"/>
                <a:gd name="connsiteX10" fmla="*/ 13761 w 35957"/>
                <a:gd name="connsiteY10" fmla="*/ 652 h 20793"/>
                <a:gd name="connsiteX11" fmla="*/ 1188 w 35957"/>
                <a:gd name="connsiteY11" fmla="*/ 7986 h 20793"/>
                <a:gd name="connsiteX12" fmla="*/ -336 w 35957"/>
                <a:gd name="connsiteY12" fmla="*/ 10177 h 20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957" h="20793">
                  <a:moveTo>
                    <a:pt x="-336" y="10177"/>
                  </a:moveTo>
                  <a:cubicBezTo>
                    <a:pt x="-269" y="11158"/>
                    <a:pt x="312" y="12025"/>
                    <a:pt x="1188" y="12463"/>
                  </a:cubicBezTo>
                  <a:lnTo>
                    <a:pt x="3474" y="13796"/>
                  </a:lnTo>
                  <a:lnTo>
                    <a:pt x="13761" y="19702"/>
                  </a:lnTo>
                  <a:cubicBezTo>
                    <a:pt x="16180" y="20940"/>
                    <a:pt x="19057" y="20940"/>
                    <a:pt x="21476" y="19702"/>
                  </a:cubicBezTo>
                  <a:lnTo>
                    <a:pt x="31763" y="13796"/>
                  </a:lnTo>
                  <a:lnTo>
                    <a:pt x="34049" y="12463"/>
                  </a:lnTo>
                  <a:cubicBezTo>
                    <a:pt x="35287" y="12015"/>
                    <a:pt x="35925" y="10644"/>
                    <a:pt x="35478" y="9415"/>
                  </a:cubicBezTo>
                  <a:cubicBezTo>
                    <a:pt x="35230" y="8748"/>
                    <a:pt x="34716" y="8224"/>
                    <a:pt x="34049" y="7986"/>
                  </a:cubicBezTo>
                  <a:lnTo>
                    <a:pt x="21476" y="652"/>
                  </a:lnTo>
                  <a:cubicBezTo>
                    <a:pt x="19019" y="-434"/>
                    <a:pt x="16218" y="-434"/>
                    <a:pt x="13761" y="652"/>
                  </a:cubicBezTo>
                  <a:lnTo>
                    <a:pt x="1188" y="7986"/>
                  </a:lnTo>
                  <a:cubicBezTo>
                    <a:pt x="340" y="8405"/>
                    <a:pt x="-241" y="9234"/>
                    <a:pt x="-336" y="10177"/>
                  </a:cubicBezTo>
                  <a:close/>
                </a:path>
              </a:pathLst>
            </a:custGeom>
            <a:solidFill>
              <a:srgbClr val="FFFFFF"/>
            </a:solidFill>
            <a:ln w="9525" cap="flat">
              <a:noFill/>
              <a:prstDash val="solid"/>
              <a:miter/>
            </a:ln>
          </p:spPr>
          <p:txBody>
            <a:bodyPr rtlCol="0" anchor="ctr"/>
            <a:lstStyle/>
            <a:p>
              <a:endParaRPr lang="zh-CN" altLang="en-US"/>
            </a:p>
          </p:txBody>
        </p:sp>
        <p:sp>
          <p:nvSpPr>
            <p:cNvPr id="291" name="ïsļîḑè">
              <a:extLst>
                <a:ext uri="{FF2B5EF4-FFF2-40B4-BE49-F238E27FC236}">
                  <a16:creationId xmlns:a16="http://schemas.microsoft.com/office/drawing/2014/main" id="{AA8B3DFD-8685-4BA1-9DBF-DDBEFEF79FF9}"/>
                </a:ext>
              </a:extLst>
            </p:cNvPr>
            <p:cNvSpPr/>
            <p:nvPr/>
          </p:nvSpPr>
          <p:spPr>
            <a:xfrm>
              <a:off x="5653275" y="4970802"/>
              <a:ext cx="105618" cy="61104"/>
            </a:xfrm>
            <a:custGeom>
              <a:avLst/>
              <a:gdLst>
                <a:gd name="connsiteX0" fmla="*/ 1154 w 34698"/>
                <a:gd name="connsiteY0" fmla="*/ 12029 h 20074"/>
                <a:gd name="connsiteX1" fmla="*/ 13346 w 34698"/>
                <a:gd name="connsiteY1" fmla="*/ 18983 h 20074"/>
                <a:gd name="connsiteX2" fmla="*/ 20776 w 34698"/>
                <a:gd name="connsiteY2" fmla="*/ 18983 h 20074"/>
                <a:gd name="connsiteX3" fmla="*/ 32872 w 34698"/>
                <a:gd name="connsiteY3" fmla="*/ 12029 h 20074"/>
                <a:gd name="connsiteX4" fmla="*/ 34215 w 34698"/>
                <a:gd name="connsiteY4" fmla="*/ 9086 h 20074"/>
                <a:gd name="connsiteX5" fmla="*/ 32872 w 34698"/>
                <a:gd name="connsiteY5" fmla="*/ 7743 h 20074"/>
                <a:gd name="connsiteX6" fmla="*/ 20776 w 34698"/>
                <a:gd name="connsiteY6" fmla="*/ 695 h 20074"/>
                <a:gd name="connsiteX7" fmla="*/ 13346 w 34698"/>
                <a:gd name="connsiteY7" fmla="*/ 695 h 20074"/>
                <a:gd name="connsiteX8" fmla="*/ 1154 w 34698"/>
                <a:gd name="connsiteY8" fmla="*/ 7743 h 20074"/>
                <a:gd name="connsiteX9" fmla="*/ -189 w 34698"/>
                <a:gd name="connsiteY9" fmla="*/ 10686 h 20074"/>
                <a:gd name="connsiteX10" fmla="*/ 1154 w 34698"/>
                <a:gd name="connsiteY10"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698" h="20074">
                  <a:moveTo>
                    <a:pt x="1154" y="12029"/>
                  </a:moveTo>
                  <a:lnTo>
                    <a:pt x="13346" y="18983"/>
                  </a:lnTo>
                  <a:cubicBezTo>
                    <a:pt x="15670" y="20221"/>
                    <a:pt x="18451" y="20221"/>
                    <a:pt x="20776" y="18983"/>
                  </a:cubicBezTo>
                  <a:lnTo>
                    <a:pt x="32872" y="12029"/>
                  </a:lnTo>
                  <a:cubicBezTo>
                    <a:pt x="34053" y="11591"/>
                    <a:pt x="34663" y="10277"/>
                    <a:pt x="34215" y="9086"/>
                  </a:cubicBezTo>
                  <a:cubicBezTo>
                    <a:pt x="33987" y="8467"/>
                    <a:pt x="33491" y="7972"/>
                    <a:pt x="32872" y="7743"/>
                  </a:cubicBezTo>
                  <a:lnTo>
                    <a:pt x="20776" y="695"/>
                  </a:lnTo>
                  <a:cubicBezTo>
                    <a:pt x="18432" y="-448"/>
                    <a:pt x="15689" y="-448"/>
                    <a:pt x="13346" y="695"/>
                  </a:cubicBezTo>
                  <a:lnTo>
                    <a:pt x="1154" y="7743"/>
                  </a:lnTo>
                  <a:cubicBezTo>
                    <a:pt x="-27" y="8181"/>
                    <a:pt x="-637" y="9496"/>
                    <a:pt x="-189" y="10686"/>
                  </a:cubicBezTo>
                  <a:cubicBezTo>
                    <a:pt x="40" y="11306"/>
                    <a:pt x="525" y="11801"/>
                    <a:pt x="1154" y="12029"/>
                  </a:cubicBezTo>
                  <a:close/>
                </a:path>
              </a:pathLst>
            </a:custGeom>
            <a:solidFill>
              <a:srgbClr val="D1D9E8"/>
            </a:solidFill>
            <a:ln w="9525" cap="flat">
              <a:noFill/>
              <a:prstDash val="solid"/>
              <a:miter/>
            </a:ln>
          </p:spPr>
          <p:txBody>
            <a:bodyPr rtlCol="0" anchor="ctr"/>
            <a:lstStyle/>
            <a:p>
              <a:endParaRPr lang="zh-CN" altLang="en-US"/>
            </a:p>
          </p:txBody>
        </p:sp>
        <p:sp>
          <p:nvSpPr>
            <p:cNvPr id="292" name="îşḷíďê">
              <a:extLst>
                <a:ext uri="{FF2B5EF4-FFF2-40B4-BE49-F238E27FC236}">
                  <a16:creationId xmlns:a16="http://schemas.microsoft.com/office/drawing/2014/main" id="{9B580E8D-F4BA-464C-94DF-254ACE16F2A8}"/>
                </a:ext>
              </a:extLst>
            </p:cNvPr>
            <p:cNvSpPr/>
            <p:nvPr/>
          </p:nvSpPr>
          <p:spPr>
            <a:xfrm>
              <a:off x="5651433" y="5000955"/>
              <a:ext cx="109594" cy="53801"/>
            </a:xfrm>
            <a:custGeom>
              <a:avLst/>
              <a:gdLst>
                <a:gd name="connsiteX0" fmla="*/ -336 w 36004"/>
                <a:gd name="connsiteY0" fmla="*/ -163 h 17675"/>
                <a:gd name="connsiteX1" fmla="*/ -336 w 36004"/>
                <a:gd name="connsiteY1" fmla="*/ 7076 h 17675"/>
                <a:gd name="connsiteX2" fmla="*/ 1188 w 36004"/>
                <a:gd name="connsiteY2" fmla="*/ 9267 h 17675"/>
                <a:gd name="connsiteX3" fmla="*/ 13761 w 36004"/>
                <a:gd name="connsiteY3" fmla="*/ 16506 h 17675"/>
                <a:gd name="connsiteX4" fmla="*/ 21476 w 36004"/>
                <a:gd name="connsiteY4" fmla="*/ 16506 h 17675"/>
                <a:gd name="connsiteX5" fmla="*/ 34049 w 36004"/>
                <a:gd name="connsiteY5" fmla="*/ 9267 h 17675"/>
                <a:gd name="connsiteX6" fmla="*/ 35668 w 36004"/>
                <a:gd name="connsiteY6" fmla="*/ 6981 h 17675"/>
                <a:gd name="connsiteX7" fmla="*/ 35668 w 36004"/>
                <a:gd name="connsiteY7" fmla="*/ -163 h 17675"/>
                <a:gd name="connsiteX8" fmla="*/ 34049 w 36004"/>
                <a:gd name="connsiteY8" fmla="*/ 2123 h 17675"/>
                <a:gd name="connsiteX9" fmla="*/ 31763 w 36004"/>
                <a:gd name="connsiteY9" fmla="*/ 3457 h 17675"/>
                <a:gd name="connsiteX10" fmla="*/ 21476 w 36004"/>
                <a:gd name="connsiteY10" fmla="*/ 9362 h 17675"/>
                <a:gd name="connsiteX11" fmla="*/ 13761 w 36004"/>
                <a:gd name="connsiteY11" fmla="*/ 9362 h 17675"/>
                <a:gd name="connsiteX12" fmla="*/ 3474 w 36004"/>
                <a:gd name="connsiteY12" fmla="*/ 3457 h 17675"/>
                <a:gd name="connsiteX13" fmla="*/ 1188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79" y="8038"/>
                    <a:pt x="312" y="8877"/>
                    <a:pt x="1188" y="9267"/>
                  </a:cubicBezTo>
                  <a:lnTo>
                    <a:pt x="13761" y="16506"/>
                  </a:lnTo>
                  <a:cubicBezTo>
                    <a:pt x="16161" y="17849"/>
                    <a:pt x="19076" y="17849"/>
                    <a:pt x="21476" y="16506"/>
                  </a:cubicBezTo>
                  <a:lnTo>
                    <a:pt x="34049" y="9267"/>
                  </a:lnTo>
                  <a:cubicBezTo>
                    <a:pt x="34992" y="8896"/>
                    <a:pt x="35630" y="8000"/>
                    <a:pt x="35668" y="6981"/>
                  </a:cubicBezTo>
                  <a:lnTo>
                    <a:pt x="35668" y="-163"/>
                  </a:lnTo>
                  <a:cubicBezTo>
                    <a:pt x="35602" y="847"/>
                    <a:pt x="34982" y="1733"/>
                    <a:pt x="34049" y="2123"/>
                  </a:cubicBezTo>
                  <a:lnTo>
                    <a:pt x="31763" y="3457"/>
                  </a:lnTo>
                  <a:lnTo>
                    <a:pt x="21476" y="9362"/>
                  </a:lnTo>
                  <a:cubicBezTo>
                    <a:pt x="19057" y="10601"/>
                    <a:pt x="16180" y="10601"/>
                    <a:pt x="13761" y="9362"/>
                  </a:cubicBezTo>
                  <a:lnTo>
                    <a:pt x="3474" y="3457"/>
                  </a:lnTo>
                  <a:lnTo>
                    <a:pt x="1188" y="2123"/>
                  </a:lnTo>
                  <a:cubicBezTo>
                    <a:pt x="312"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293" name="íṣlíďê">
              <a:extLst>
                <a:ext uri="{FF2B5EF4-FFF2-40B4-BE49-F238E27FC236}">
                  <a16:creationId xmlns:a16="http://schemas.microsoft.com/office/drawing/2014/main" id="{A16F7A7F-B081-47D9-82EC-8614A8E7861E}"/>
                </a:ext>
              </a:extLst>
            </p:cNvPr>
            <p:cNvSpPr/>
            <p:nvPr/>
          </p:nvSpPr>
          <p:spPr>
            <a:xfrm>
              <a:off x="5728554" y="5014269"/>
              <a:ext cx="109740" cy="63445"/>
            </a:xfrm>
            <a:custGeom>
              <a:avLst/>
              <a:gdLst>
                <a:gd name="connsiteX0" fmla="*/ -336 w 36052"/>
                <a:gd name="connsiteY0" fmla="*/ 10227 h 20843"/>
                <a:gd name="connsiteX1" fmla="*/ 1188 w 36052"/>
                <a:gd name="connsiteY1" fmla="*/ 12513 h 20843"/>
                <a:gd name="connsiteX2" fmla="*/ 3569 w 36052"/>
                <a:gd name="connsiteY2" fmla="*/ 13846 h 20843"/>
                <a:gd name="connsiteX3" fmla="*/ 13856 w 36052"/>
                <a:gd name="connsiteY3" fmla="*/ 19752 h 20843"/>
                <a:gd name="connsiteX4" fmla="*/ 21476 w 36052"/>
                <a:gd name="connsiteY4" fmla="*/ 19752 h 20843"/>
                <a:gd name="connsiteX5" fmla="*/ 31763 w 36052"/>
                <a:gd name="connsiteY5" fmla="*/ 13846 h 20843"/>
                <a:gd name="connsiteX6" fmla="*/ 34144 w 36052"/>
                <a:gd name="connsiteY6" fmla="*/ 12513 h 20843"/>
                <a:gd name="connsiteX7" fmla="*/ 35573 w 36052"/>
                <a:gd name="connsiteY7" fmla="*/ 9465 h 20843"/>
                <a:gd name="connsiteX8" fmla="*/ 34144 w 36052"/>
                <a:gd name="connsiteY8" fmla="*/ 8036 h 20843"/>
                <a:gd name="connsiteX9" fmla="*/ 21476 w 36052"/>
                <a:gd name="connsiteY9" fmla="*/ 702 h 20843"/>
                <a:gd name="connsiteX10" fmla="*/ 13856 w 36052"/>
                <a:gd name="connsiteY10" fmla="*/ 702 h 20843"/>
                <a:gd name="connsiteX11" fmla="*/ 1188 w 36052"/>
                <a:gd name="connsiteY11" fmla="*/ 8036 h 20843"/>
                <a:gd name="connsiteX12" fmla="*/ -336 w 36052"/>
                <a:gd name="connsiteY12" fmla="*/ 10227 h 20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3">
                  <a:moveTo>
                    <a:pt x="-336" y="10227"/>
                  </a:moveTo>
                  <a:cubicBezTo>
                    <a:pt x="-269" y="11208"/>
                    <a:pt x="312" y="12075"/>
                    <a:pt x="1188" y="12513"/>
                  </a:cubicBezTo>
                  <a:lnTo>
                    <a:pt x="3569" y="13846"/>
                  </a:lnTo>
                  <a:lnTo>
                    <a:pt x="13856" y="19752"/>
                  </a:lnTo>
                  <a:cubicBezTo>
                    <a:pt x="16247" y="20990"/>
                    <a:pt x="19085" y="20990"/>
                    <a:pt x="21476" y="19752"/>
                  </a:cubicBezTo>
                  <a:lnTo>
                    <a:pt x="31763" y="13846"/>
                  </a:lnTo>
                  <a:lnTo>
                    <a:pt x="34144" y="12513"/>
                  </a:lnTo>
                  <a:cubicBezTo>
                    <a:pt x="35382" y="12065"/>
                    <a:pt x="36021" y="10694"/>
                    <a:pt x="35573" y="9465"/>
                  </a:cubicBezTo>
                  <a:cubicBezTo>
                    <a:pt x="35325" y="8798"/>
                    <a:pt x="34811" y="8274"/>
                    <a:pt x="34144"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294" name="î$lïḓê">
              <a:extLst>
                <a:ext uri="{FF2B5EF4-FFF2-40B4-BE49-F238E27FC236}">
                  <a16:creationId xmlns:a16="http://schemas.microsoft.com/office/drawing/2014/main" id="{06E2B072-064C-413B-A3E9-0E5B154943BF}"/>
                </a:ext>
              </a:extLst>
            </p:cNvPr>
            <p:cNvSpPr/>
            <p:nvPr/>
          </p:nvSpPr>
          <p:spPr>
            <a:xfrm>
              <a:off x="5730441" y="5015450"/>
              <a:ext cx="105898" cy="61104"/>
            </a:xfrm>
            <a:custGeom>
              <a:avLst/>
              <a:gdLst>
                <a:gd name="connsiteX0" fmla="*/ 1235 w 34790"/>
                <a:gd name="connsiteY0" fmla="*/ 12029 h 20074"/>
                <a:gd name="connsiteX1" fmla="*/ 13332 w 34790"/>
                <a:gd name="connsiteY1" fmla="*/ 18983 h 20074"/>
                <a:gd name="connsiteX2" fmla="*/ 20761 w 34790"/>
                <a:gd name="connsiteY2" fmla="*/ 18983 h 20074"/>
                <a:gd name="connsiteX3" fmla="*/ 32953 w 34790"/>
                <a:gd name="connsiteY3" fmla="*/ 12029 h 20074"/>
                <a:gd name="connsiteX4" fmla="*/ 32953 w 34790"/>
                <a:gd name="connsiteY4" fmla="*/ 7743 h 20074"/>
                <a:gd name="connsiteX5" fmla="*/ 20761 w 34790"/>
                <a:gd name="connsiteY5" fmla="*/ 695 h 20074"/>
                <a:gd name="connsiteX6" fmla="*/ 13332 w 34790"/>
                <a:gd name="connsiteY6" fmla="*/ 695 h 20074"/>
                <a:gd name="connsiteX7" fmla="*/ 1235 w 34790"/>
                <a:gd name="connsiteY7" fmla="*/ 7743 h 20074"/>
                <a:gd name="connsiteX8" fmla="*/ 1235 w 34790"/>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4">
                  <a:moveTo>
                    <a:pt x="1235" y="12029"/>
                  </a:moveTo>
                  <a:lnTo>
                    <a:pt x="13332" y="18983"/>
                  </a:lnTo>
                  <a:cubicBezTo>
                    <a:pt x="15656" y="20221"/>
                    <a:pt x="18437" y="20221"/>
                    <a:pt x="20761" y="18983"/>
                  </a:cubicBezTo>
                  <a:lnTo>
                    <a:pt x="32953" y="12029"/>
                  </a:lnTo>
                  <a:cubicBezTo>
                    <a:pt x="34954" y="10791"/>
                    <a:pt x="34954" y="8886"/>
                    <a:pt x="32953" y="7743"/>
                  </a:cubicBezTo>
                  <a:lnTo>
                    <a:pt x="20761" y="695"/>
                  </a:lnTo>
                  <a:cubicBezTo>
                    <a:pt x="18418" y="-448"/>
                    <a:pt x="15675" y="-448"/>
                    <a:pt x="13332" y="695"/>
                  </a:cubicBezTo>
                  <a:lnTo>
                    <a:pt x="1235" y="7743"/>
                  </a:lnTo>
                  <a:cubicBezTo>
                    <a:pt x="-860" y="8886"/>
                    <a:pt x="-860" y="10791"/>
                    <a:pt x="1235" y="12029"/>
                  </a:cubicBezTo>
                  <a:close/>
                </a:path>
              </a:pathLst>
            </a:custGeom>
            <a:solidFill>
              <a:srgbClr val="D1D9E8"/>
            </a:solidFill>
            <a:ln w="9525" cap="flat">
              <a:noFill/>
              <a:prstDash val="solid"/>
              <a:miter/>
            </a:ln>
          </p:spPr>
          <p:txBody>
            <a:bodyPr rtlCol="0" anchor="ctr"/>
            <a:lstStyle/>
            <a:p>
              <a:endParaRPr lang="zh-CN" altLang="en-US"/>
            </a:p>
          </p:txBody>
        </p:sp>
        <p:sp>
          <p:nvSpPr>
            <p:cNvPr id="295" name="îṩḷîḓe">
              <a:extLst>
                <a:ext uri="{FF2B5EF4-FFF2-40B4-BE49-F238E27FC236}">
                  <a16:creationId xmlns:a16="http://schemas.microsoft.com/office/drawing/2014/main" id="{AAFAFDCD-E836-418B-9EE7-33E21DE58797}"/>
                </a:ext>
              </a:extLst>
            </p:cNvPr>
            <p:cNvSpPr/>
            <p:nvPr/>
          </p:nvSpPr>
          <p:spPr>
            <a:xfrm>
              <a:off x="5728554" y="5045893"/>
              <a:ext cx="109594" cy="53804"/>
            </a:xfrm>
            <a:custGeom>
              <a:avLst/>
              <a:gdLst>
                <a:gd name="connsiteX0" fmla="*/ -336 w 36004"/>
                <a:gd name="connsiteY0" fmla="*/ -163 h 17676"/>
                <a:gd name="connsiteX1" fmla="*/ -336 w 36004"/>
                <a:gd name="connsiteY1" fmla="*/ 7076 h 17676"/>
                <a:gd name="connsiteX2" fmla="*/ 1188 w 36004"/>
                <a:gd name="connsiteY2" fmla="*/ 9267 h 17676"/>
                <a:gd name="connsiteX3" fmla="*/ 13856 w 36004"/>
                <a:gd name="connsiteY3" fmla="*/ 16506 h 17676"/>
                <a:gd name="connsiteX4" fmla="*/ 21476 w 36004"/>
                <a:gd name="connsiteY4" fmla="*/ 16506 h 17676"/>
                <a:gd name="connsiteX5" fmla="*/ 34144 w 36004"/>
                <a:gd name="connsiteY5" fmla="*/ 9267 h 17676"/>
                <a:gd name="connsiteX6" fmla="*/ 35668 w 36004"/>
                <a:gd name="connsiteY6" fmla="*/ 6981 h 17676"/>
                <a:gd name="connsiteX7" fmla="*/ 35668 w 36004"/>
                <a:gd name="connsiteY7" fmla="*/ -163 h 17676"/>
                <a:gd name="connsiteX8" fmla="*/ 34144 w 36004"/>
                <a:gd name="connsiteY8" fmla="*/ 2124 h 17676"/>
                <a:gd name="connsiteX9" fmla="*/ 31763 w 36004"/>
                <a:gd name="connsiteY9" fmla="*/ 3457 h 17676"/>
                <a:gd name="connsiteX10" fmla="*/ 21476 w 36004"/>
                <a:gd name="connsiteY10" fmla="*/ 9362 h 17676"/>
                <a:gd name="connsiteX11" fmla="*/ 13856 w 36004"/>
                <a:gd name="connsiteY11" fmla="*/ 9362 h 17676"/>
                <a:gd name="connsiteX12" fmla="*/ 3569 w 36004"/>
                <a:gd name="connsiteY12" fmla="*/ 3457 h 17676"/>
                <a:gd name="connsiteX13" fmla="*/ 1188 w 36004"/>
                <a:gd name="connsiteY13" fmla="*/ 2124 h 17676"/>
                <a:gd name="connsiteX14" fmla="*/ -336 w 36004"/>
                <a:gd name="connsiteY14" fmla="*/ -163 h 17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6">
                  <a:moveTo>
                    <a:pt x="-336" y="-163"/>
                  </a:moveTo>
                  <a:lnTo>
                    <a:pt x="-336" y="7076"/>
                  </a:lnTo>
                  <a:cubicBezTo>
                    <a:pt x="-279" y="8029"/>
                    <a:pt x="312" y="8877"/>
                    <a:pt x="1188" y="9267"/>
                  </a:cubicBezTo>
                  <a:lnTo>
                    <a:pt x="13856" y="16506"/>
                  </a:lnTo>
                  <a:cubicBezTo>
                    <a:pt x="16218" y="17849"/>
                    <a:pt x="19114" y="17849"/>
                    <a:pt x="21476" y="16506"/>
                  </a:cubicBezTo>
                  <a:lnTo>
                    <a:pt x="34144" y="9267"/>
                  </a:lnTo>
                  <a:cubicBezTo>
                    <a:pt x="35049" y="8867"/>
                    <a:pt x="35640" y="7972"/>
                    <a:pt x="35668" y="6981"/>
                  </a:cubicBezTo>
                  <a:lnTo>
                    <a:pt x="35668" y="-163"/>
                  </a:lnTo>
                  <a:cubicBezTo>
                    <a:pt x="35602" y="819"/>
                    <a:pt x="35021" y="1685"/>
                    <a:pt x="34144" y="2124"/>
                  </a:cubicBezTo>
                  <a:lnTo>
                    <a:pt x="31763" y="3457"/>
                  </a:lnTo>
                  <a:lnTo>
                    <a:pt x="21476" y="9362"/>
                  </a:lnTo>
                  <a:cubicBezTo>
                    <a:pt x="19085" y="10601"/>
                    <a:pt x="16247" y="10601"/>
                    <a:pt x="13856" y="9362"/>
                  </a:cubicBezTo>
                  <a:lnTo>
                    <a:pt x="3569" y="3457"/>
                  </a:lnTo>
                  <a:lnTo>
                    <a:pt x="1188" y="2124"/>
                  </a:lnTo>
                  <a:cubicBezTo>
                    <a:pt x="312" y="1685"/>
                    <a:pt x="-269" y="819"/>
                    <a:pt x="-336" y="-163"/>
                  </a:cubicBezTo>
                  <a:close/>
                </a:path>
              </a:pathLst>
            </a:custGeom>
            <a:solidFill>
              <a:srgbClr val="BF4200"/>
            </a:solidFill>
            <a:ln w="9525" cap="flat">
              <a:noFill/>
              <a:prstDash val="solid"/>
              <a:miter/>
            </a:ln>
          </p:spPr>
          <p:txBody>
            <a:bodyPr rtlCol="0" anchor="ctr"/>
            <a:lstStyle/>
            <a:p>
              <a:endParaRPr lang="zh-CN" altLang="en-US"/>
            </a:p>
          </p:txBody>
        </p:sp>
        <p:sp>
          <p:nvSpPr>
            <p:cNvPr id="296" name="íṡļíḋe">
              <a:extLst>
                <a:ext uri="{FF2B5EF4-FFF2-40B4-BE49-F238E27FC236}">
                  <a16:creationId xmlns:a16="http://schemas.microsoft.com/office/drawing/2014/main" id="{078E5FDF-3048-44FD-A66D-FD06136FCF9E}"/>
                </a:ext>
              </a:extLst>
            </p:cNvPr>
            <p:cNvSpPr/>
            <p:nvPr/>
          </p:nvSpPr>
          <p:spPr>
            <a:xfrm>
              <a:off x="5805967" y="5058921"/>
              <a:ext cx="109740" cy="63445"/>
            </a:xfrm>
            <a:custGeom>
              <a:avLst/>
              <a:gdLst>
                <a:gd name="connsiteX0" fmla="*/ -336 w 36052"/>
                <a:gd name="connsiteY0" fmla="*/ 10227 h 20843"/>
                <a:gd name="connsiteX1" fmla="*/ 1188 w 36052"/>
                <a:gd name="connsiteY1" fmla="*/ 12513 h 20843"/>
                <a:gd name="connsiteX2" fmla="*/ 3569 w 36052"/>
                <a:gd name="connsiteY2" fmla="*/ 13846 h 20843"/>
                <a:gd name="connsiteX3" fmla="*/ 13856 w 36052"/>
                <a:gd name="connsiteY3" fmla="*/ 19752 h 20843"/>
                <a:gd name="connsiteX4" fmla="*/ 21476 w 36052"/>
                <a:gd name="connsiteY4" fmla="*/ 19752 h 20843"/>
                <a:gd name="connsiteX5" fmla="*/ 31763 w 36052"/>
                <a:gd name="connsiteY5" fmla="*/ 13846 h 20843"/>
                <a:gd name="connsiteX6" fmla="*/ 34144 w 36052"/>
                <a:gd name="connsiteY6" fmla="*/ 12513 h 20843"/>
                <a:gd name="connsiteX7" fmla="*/ 35573 w 36052"/>
                <a:gd name="connsiteY7" fmla="*/ 9465 h 20843"/>
                <a:gd name="connsiteX8" fmla="*/ 34144 w 36052"/>
                <a:gd name="connsiteY8" fmla="*/ 8036 h 20843"/>
                <a:gd name="connsiteX9" fmla="*/ 21476 w 36052"/>
                <a:gd name="connsiteY9" fmla="*/ 702 h 20843"/>
                <a:gd name="connsiteX10" fmla="*/ 13856 w 36052"/>
                <a:gd name="connsiteY10" fmla="*/ 702 h 20843"/>
                <a:gd name="connsiteX11" fmla="*/ 1188 w 36052"/>
                <a:gd name="connsiteY11" fmla="*/ 8036 h 20843"/>
                <a:gd name="connsiteX12" fmla="*/ -336 w 36052"/>
                <a:gd name="connsiteY12" fmla="*/ 10227 h 20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3">
                  <a:moveTo>
                    <a:pt x="-336" y="10227"/>
                  </a:moveTo>
                  <a:cubicBezTo>
                    <a:pt x="-270" y="11208"/>
                    <a:pt x="311" y="12075"/>
                    <a:pt x="1188" y="12513"/>
                  </a:cubicBezTo>
                  <a:lnTo>
                    <a:pt x="3569" y="13846"/>
                  </a:lnTo>
                  <a:lnTo>
                    <a:pt x="13856" y="19752"/>
                  </a:lnTo>
                  <a:cubicBezTo>
                    <a:pt x="16247" y="20990"/>
                    <a:pt x="19085" y="20990"/>
                    <a:pt x="21476" y="19752"/>
                  </a:cubicBezTo>
                  <a:lnTo>
                    <a:pt x="31763" y="13846"/>
                  </a:lnTo>
                  <a:lnTo>
                    <a:pt x="34144" y="12513"/>
                  </a:lnTo>
                  <a:cubicBezTo>
                    <a:pt x="35382" y="12065"/>
                    <a:pt x="36020" y="10694"/>
                    <a:pt x="35573" y="9465"/>
                  </a:cubicBezTo>
                  <a:cubicBezTo>
                    <a:pt x="35325" y="8798"/>
                    <a:pt x="34811" y="8274"/>
                    <a:pt x="34144"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297" name="îṥliḋè">
              <a:extLst>
                <a:ext uri="{FF2B5EF4-FFF2-40B4-BE49-F238E27FC236}">
                  <a16:creationId xmlns:a16="http://schemas.microsoft.com/office/drawing/2014/main" id="{E57A0DF6-169E-4B94-9A12-68B81DFDA037}"/>
                </a:ext>
              </a:extLst>
            </p:cNvPr>
            <p:cNvSpPr/>
            <p:nvPr/>
          </p:nvSpPr>
          <p:spPr>
            <a:xfrm>
              <a:off x="5807781" y="5060102"/>
              <a:ext cx="105895" cy="61101"/>
            </a:xfrm>
            <a:custGeom>
              <a:avLst/>
              <a:gdLst>
                <a:gd name="connsiteX0" fmla="*/ 1164 w 34789"/>
                <a:gd name="connsiteY0" fmla="*/ 12029 h 20073"/>
                <a:gd name="connsiteX1" fmla="*/ 13356 w 34789"/>
                <a:gd name="connsiteY1" fmla="*/ 18982 h 20073"/>
                <a:gd name="connsiteX2" fmla="*/ 20785 w 34789"/>
                <a:gd name="connsiteY2" fmla="*/ 18982 h 20073"/>
                <a:gd name="connsiteX3" fmla="*/ 32882 w 34789"/>
                <a:gd name="connsiteY3" fmla="*/ 12029 h 20073"/>
                <a:gd name="connsiteX4" fmla="*/ 32882 w 34789"/>
                <a:gd name="connsiteY4" fmla="*/ 7743 h 20073"/>
                <a:gd name="connsiteX5" fmla="*/ 20785 w 34789"/>
                <a:gd name="connsiteY5" fmla="*/ 695 h 20073"/>
                <a:gd name="connsiteX6" fmla="*/ 13356 w 34789"/>
                <a:gd name="connsiteY6" fmla="*/ 695 h 20073"/>
                <a:gd name="connsiteX7" fmla="*/ 1164 w 34789"/>
                <a:gd name="connsiteY7" fmla="*/ 7743 h 20073"/>
                <a:gd name="connsiteX8" fmla="*/ 1164 w 34789"/>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89" h="20073">
                  <a:moveTo>
                    <a:pt x="1164" y="12029"/>
                  </a:moveTo>
                  <a:lnTo>
                    <a:pt x="13356" y="18982"/>
                  </a:lnTo>
                  <a:cubicBezTo>
                    <a:pt x="15680" y="20221"/>
                    <a:pt x="18461" y="20221"/>
                    <a:pt x="20785" y="18982"/>
                  </a:cubicBezTo>
                  <a:lnTo>
                    <a:pt x="32882" y="12029"/>
                  </a:lnTo>
                  <a:cubicBezTo>
                    <a:pt x="34977" y="10791"/>
                    <a:pt x="34977" y="8886"/>
                    <a:pt x="32882" y="7743"/>
                  </a:cubicBezTo>
                  <a:lnTo>
                    <a:pt x="20785" y="695"/>
                  </a:lnTo>
                  <a:cubicBezTo>
                    <a:pt x="18442" y="-448"/>
                    <a:pt x="15699" y="-448"/>
                    <a:pt x="13356" y="695"/>
                  </a:cubicBezTo>
                  <a:lnTo>
                    <a:pt x="1164" y="7743"/>
                  </a:lnTo>
                  <a:cubicBezTo>
                    <a:pt x="-836" y="8981"/>
                    <a:pt x="-836" y="10791"/>
                    <a:pt x="1164" y="12029"/>
                  </a:cubicBezTo>
                  <a:close/>
                </a:path>
              </a:pathLst>
            </a:custGeom>
            <a:solidFill>
              <a:srgbClr val="D1D9E8"/>
            </a:solidFill>
            <a:ln w="9525" cap="flat">
              <a:noFill/>
              <a:prstDash val="solid"/>
              <a:miter/>
            </a:ln>
          </p:spPr>
          <p:txBody>
            <a:bodyPr rtlCol="0" anchor="ctr"/>
            <a:lstStyle/>
            <a:p>
              <a:endParaRPr lang="zh-CN" altLang="en-US"/>
            </a:p>
          </p:txBody>
        </p:sp>
        <p:sp>
          <p:nvSpPr>
            <p:cNvPr id="298" name="íṡḷïde">
              <a:extLst>
                <a:ext uri="{FF2B5EF4-FFF2-40B4-BE49-F238E27FC236}">
                  <a16:creationId xmlns:a16="http://schemas.microsoft.com/office/drawing/2014/main" id="{3A9D2006-8B31-44E0-BA4B-45BDBEFA0342}"/>
                </a:ext>
              </a:extLst>
            </p:cNvPr>
            <p:cNvSpPr/>
            <p:nvPr/>
          </p:nvSpPr>
          <p:spPr>
            <a:xfrm>
              <a:off x="5805967" y="5090544"/>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3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3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2" y="7953"/>
                    <a:pt x="35668" y="6981"/>
                  </a:cubicBezTo>
                  <a:lnTo>
                    <a:pt x="35668" y="-163"/>
                  </a:lnTo>
                  <a:cubicBezTo>
                    <a:pt x="35602" y="818"/>
                    <a:pt x="35021" y="1685"/>
                    <a:pt x="34144" y="2123"/>
                  </a:cubicBezTo>
                  <a:lnTo>
                    <a:pt x="31763" y="3457"/>
                  </a:lnTo>
                  <a:lnTo>
                    <a:pt x="21476" y="9362"/>
                  </a:lnTo>
                  <a:cubicBezTo>
                    <a:pt x="19085" y="10601"/>
                    <a:pt x="16247" y="10601"/>
                    <a:pt x="13856" y="9362"/>
                  </a:cubicBezTo>
                  <a:lnTo>
                    <a:pt x="3569" y="3457"/>
                  </a:lnTo>
                  <a:lnTo>
                    <a:pt x="1188"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299" name="îšliďe">
              <a:extLst>
                <a:ext uri="{FF2B5EF4-FFF2-40B4-BE49-F238E27FC236}">
                  <a16:creationId xmlns:a16="http://schemas.microsoft.com/office/drawing/2014/main" id="{12AD210B-C16E-4F42-B9F2-2780174E5A43}"/>
                </a:ext>
              </a:extLst>
            </p:cNvPr>
            <p:cNvSpPr/>
            <p:nvPr/>
          </p:nvSpPr>
          <p:spPr>
            <a:xfrm>
              <a:off x="5883091" y="5103721"/>
              <a:ext cx="109740" cy="63292"/>
            </a:xfrm>
            <a:custGeom>
              <a:avLst/>
              <a:gdLst>
                <a:gd name="connsiteX0" fmla="*/ -336 w 36052"/>
                <a:gd name="connsiteY0" fmla="*/ 10177 h 20793"/>
                <a:gd name="connsiteX1" fmla="*/ 1283 w 36052"/>
                <a:gd name="connsiteY1" fmla="*/ 12463 h 20793"/>
                <a:gd name="connsiteX2" fmla="*/ 3569 w 36052"/>
                <a:gd name="connsiteY2" fmla="*/ 13796 h 20793"/>
                <a:gd name="connsiteX3" fmla="*/ 13856 w 36052"/>
                <a:gd name="connsiteY3" fmla="*/ 19702 h 20793"/>
                <a:gd name="connsiteX4" fmla="*/ 21571 w 36052"/>
                <a:gd name="connsiteY4" fmla="*/ 19702 h 20793"/>
                <a:gd name="connsiteX5" fmla="*/ 31858 w 36052"/>
                <a:gd name="connsiteY5" fmla="*/ 13796 h 20793"/>
                <a:gd name="connsiteX6" fmla="*/ 34144 w 36052"/>
                <a:gd name="connsiteY6" fmla="*/ 12463 h 20793"/>
                <a:gd name="connsiteX7" fmla="*/ 35573 w 36052"/>
                <a:gd name="connsiteY7" fmla="*/ 9415 h 20793"/>
                <a:gd name="connsiteX8" fmla="*/ 34144 w 36052"/>
                <a:gd name="connsiteY8" fmla="*/ 7986 h 20793"/>
                <a:gd name="connsiteX9" fmla="*/ 21571 w 36052"/>
                <a:gd name="connsiteY9" fmla="*/ 652 h 20793"/>
                <a:gd name="connsiteX10" fmla="*/ 13856 w 36052"/>
                <a:gd name="connsiteY10" fmla="*/ 652 h 20793"/>
                <a:gd name="connsiteX11" fmla="*/ 1283 w 36052"/>
                <a:gd name="connsiteY11" fmla="*/ 7986 h 20793"/>
                <a:gd name="connsiteX12" fmla="*/ -336 w 36052"/>
                <a:gd name="connsiteY12" fmla="*/ 10177 h 20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793">
                  <a:moveTo>
                    <a:pt x="-336" y="10177"/>
                  </a:moveTo>
                  <a:cubicBezTo>
                    <a:pt x="-270" y="11186"/>
                    <a:pt x="359" y="12072"/>
                    <a:pt x="1283" y="12463"/>
                  </a:cubicBezTo>
                  <a:lnTo>
                    <a:pt x="3569" y="13796"/>
                  </a:lnTo>
                  <a:lnTo>
                    <a:pt x="13856" y="19702"/>
                  </a:lnTo>
                  <a:cubicBezTo>
                    <a:pt x="16275" y="20940"/>
                    <a:pt x="19152" y="20940"/>
                    <a:pt x="21571" y="19702"/>
                  </a:cubicBezTo>
                  <a:lnTo>
                    <a:pt x="31858" y="13796"/>
                  </a:lnTo>
                  <a:lnTo>
                    <a:pt x="34144" y="12463"/>
                  </a:lnTo>
                  <a:cubicBezTo>
                    <a:pt x="35382" y="12015"/>
                    <a:pt x="36020" y="10643"/>
                    <a:pt x="35573" y="9415"/>
                  </a:cubicBezTo>
                  <a:cubicBezTo>
                    <a:pt x="35325" y="8748"/>
                    <a:pt x="34811" y="8224"/>
                    <a:pt x="34144" y="7986"/>
                  </a:cubicBezTo>
                  <a:lnTo>
                    <a:pt x="21571" y="652"/>
                  </a:lnTo>
                  <a:cubicBezTo>
                    <a:pt x="19114" y="-434"/>
                    <a:pt x="16313" y="-434"/>
                    <a:pt x="13856" y="652"/>
                  </a:cubicBezTo>
                  <a:lnTo>
                    <a:pt x="1283" y="7986"/>
                  </a:lnTo>
                  <a:cubicBezTo>
                    <a:pt x="378" y="8367"/>
                    <a:pt x="-241" y="9205"/>
                    <a:pt x="-336" y="10177"/>
                  </a:cubicBezTo>
                  <a:close/>
                </a:path>
              </a:pathLst>
            </a:custGeom>
            <a:solidFill>
              <a:srgbClr val="FFFFFF"/>
            </a:solidFill>
            <a:ln w="9525" cap="flat">
              <a:noFill/>
              <a:prstDash val="solid"/>
              <a:miter/>
            </a:ln>
          </p:spPr>
          <p:txBody>
            <a:bodyPr rtlCol="0" anchor="ctr"/>
            <a:lstStyle/>
            <a:p>
              <a:endParaRPr lang="zh-CN" altLang="en-US"/>
            </a:p>
          </p:txBody>
        </p:sp>
        <p:sp>
          <p:nvSpPr>
            <p:cNvPr id="300" name="î$ľïďe">
              <a:extLst>
                <a:ext uri="{FF2B5EF4-FFF2-40B4-BE49-F238E27FC236}">
                  <a16:creationId xmlns:a16="http://schemas.microsoft.com/office/drawing/2014/main" id="{20B8E362-6F15-4B67-999F-D7027DF152C7}"/>
                </a:ext>
              </a:extLst>
            </p:cNvPr>
            <p:cNvSpPr/>
            <p:nvPr/>
          </p:nvSpPr>
          <p:spPr>
            <a:xfrm>
              <a:off x="5884975" y="5104750"/>
              <a:ext cx="105898" cy="61101"/>
            </a:xfrm>
            <a:custGeom>
              <a:avLst/>
              <a:gdLst>
                <a:gd name="connsiteX0" fmla="*/ 1235 w 34790"/>
                <a:gd name="connsiteY0" fmla="*/ 12029 h 20073"/>
                <a:gd name="connsiteX1" fmla="*/ 13332 w 34790"/>
                <a:gd name="connsiteY1" fmla="*/ 18983 h 20073"/>
                <a:gd name="connsiteX2" fmla="*/ 20762 w 34790"/>
                <a:gd name="connsiteY2" fmla="*/ 18983 h 20073"/>
                <a:gd name="connsiteX3" fmla="*/ 32954 w 34790"/>
                <a:gd name="connsiteY3" fmla="*/ 12029 h 20073"/>
                <a:gd name="connsiteX4" fmla="*/ 32954 w 34790"/>
                <a:gd name="connsiteY4" fmla="*/ 7743 h 20073"/>
                <a:gd name="connsiteX5" fmla="*/ 20762 w 34790"/>
                <a:gd name="connsiteY5" fmla="*/ 695 h 20073"/>
                <a:gd name="connsiteX6" fmla="*/ 13332 w 34790"/>
                <a:gd name="connsiteY6" fmla="*/ 695 h 20073"/>
                <a:gd name="connsiteX7" fmla="*/ 1235 w 34790"/>
                <a:gd name="connsiteY7" fmla="*/ 7743 h 20073"/>
                <a:gd name="connsiteX8" fmla="*/ 1235 w 34790"/>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3">
                  <a:moveTo>
                    <a:pt x="1235" y="12029"/>
                  </a:moveTo>
                  <a:lnTo>
                    <a:pt x="13332" y="18983"/>
                  </a:lnTo>
                  <a:cubicBezTo>
                    <a:pt x="15656" y="20221"/>
                    <a:pt x="18437" y="20221"/>
                    <a:pt x="20762" y="18983"/>
                  </a:cubicBezTo>
                  <a:lnTo>
                    <a:pt x="32954" y="12029"/>
                  </a:lnTo>
                  <a:cubicBezTo>
                    <a:pt x="34954" y="10791"/>
                    <a:pt x="34954" y="8886"/>
                    <a:pt x="32954" y="7743"/>
                  </a:cubicBezTo>
                  <a:lnTo>
                    <a:pt x="20762" y="695"/>
                  </a:lnTo>
                  <a:cubicBezTo>
                    <a:pt x="18419" y="-448"/>
                    <a:pt x="15675" y="-448"/>
                    <a:pt x="13332" y="695"/>
                  </a:cubicBezTo>
                  <a:lnTo>
                    <a:pt x="1235" y="7743"/>
                  </a:lnTo>
                  <a:cubicBezTo>
                    <a:pt x="-860" y="8886"/>
                    <a:pt x="-860" y="10791"/>
                    <a:pt x="1235" y="12029"/>
                  </a:cubicBezTo>
                  <a:close/>
                </a:path>
              </a:pathLst>
            </a:custGeom>
            <a:solidFill>
              <a:srgbClr val="D1D9E8"/>
            </a:solidFill>
            <a:ln w="9525" cap="flat">
              <a:noFill/>
              <a:prstDash val="solid"/>
              <a:miter/>
            </a:ln>
          </p:spPr>
          <p:txBody>
            <a:bodyPr rtlCol="0" anchor="ctr"/>
            <a:lstStyle/>
            <a:p>
              <a:endParaRPr lang="zh-CN" altLang="en-US"/>
            </a:p>
          </p:txBody>
        </p:sp>
        <p:sp>
          <p:nvSpPr>
            <p:cNvPr id="301" name="îşlîďé">
              <a:extLst>
                <a:ext uri="{FF2B5EF4-FFF2-40B4-BE49-F238E27FC236}">
                  <a16:creationId xmlns:a16="http://schemas.microsoft.com/office/drawing/2014/main" id="{99054FD8-38D3-4B41-AA1D-AA1FAB6C39BA}"/>
                </a:ext>
              </a:extLst>
            </p:cNvPr>
            <p:cNvSpPr/>
            <p:nvPr/>
          </p:nvSpPr>
          <p:spPr>
            <a:xfrm>
              <a:off x="5883091" y="5135195"/>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4 w 36099"/>
                <a:gd name="connsiteY6" fmla="*/ 6981 h 17597"/>
                <a:gd name="connsiteX7" fmla="*/ 35764 w 36099"/>
                <a:gd name="connsiteY7" fmla="*/ -163 h 17597"/>
                <a:gd name="connsiteX8" fmla="*/ 34144 w 36099"/>
                <a:gd name="connsiteY8" fmla="*/ 2123 h 17597"/>
                <a:gd name="connsiteX9" fmla="*/ 31858 w 36099"/>
                <a:gd name="connsiteY9" fmla="*/ 3457 h 17597"/>
                <a:gd name="connsiteX10" fmla="*/ 21571 w 36099"/>
                <a:gd name="connsiteY10" fmla="*/ 9362 h 17597"/>
                <a:gd name="connsiteX11" fmla="*/ 13856 w 36099"/>
                <a:gd name="connsiteY11" fmla="*/ 9362 h 17597"/>
                <a:gd name="connsiteX12" fmla="*/ 3569 w 36099"/>
                <a:gd name="connsiteY12" fmla="*/ 3457 h 17597"/>
                <a:gd name="connsiteX13" fmla="*/ 1283 w 36099"/>
                <a:gd name="connsiteY13" fmla="*/ 2123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41" y="8048"/>
                    <a:pt x="387" y="8886"/>
                    <a:pt x="1283" y="9267"/>
                  </a:cubicBezTo>
                  <a:lnTo>
                    <a:pt x="13856" y="16506"/>
                  </a:lnTo>
                  <a:cubicBezTo>
                    <a:pt x="16275" y="17744"/>
                    <a:pt x="19152" y="17744"/>
                    <a:pt x="21571" y="16506"/>
                  </a:cubicBezTo>
                  <a:lnTo>
                    <a:pt x="34144" y="9267"/>
                  </a:lnTo>
                  <a:cubicBezTo>
                    <a:pt x="35030" y="8829"/>
                    <a:pt x="35640" y="7962"/>
                    <a:pt x="35764" y="6981"/>
                  </a:cubicBezTo>
                  <a:lnTo>
                    <a:pt x="35764" y="-163"/>
                  </a:lnTo>
                  <a:cubicBezTo>
                    <a:pt x="35659" y="828"/>
                    <a:pt x="35049" y="1695"/>
                    <a:pt x="34144" y="2123"/>
                  </a:cubicBezTo>
                  <a:lnTo>
                    <a:pt x="31858" y="3457"/>
                  </a:lnTo>
                  <a:lnTo>
                    <a:pt x="21571" y="9362"/>
                  </a:lnTo>
                  <a:cubicBezTo>
                    <a:pt x="19152" y="10601"/>
                    <a:pt x="16275" y="10601"/>
                    <a:pt x="13856" y="9362"/>
                  </a:cubicBezTo>
                  <a:lnTo>
                    <a:pt x="3569" y="3457"/>
                  </a:lnTo>
                  <a:lnTo>
                    <a:pt x="1283" y="2123"/>
                  </a:lnTo>
                  <a:cubicBezTo>
                    <a:pt x="349" y="1733"/>
                    <a:pt x="-270" y="847"/>
                    <a:pt x="-336" y="-163"/>
                  </a:cubicBezTo>
                  <a:close/>
                </a:path>
              </a:pathLst>
            </a:custGeom>
            <a:solidFill>
              <a:srgbClr val="BF4200"/>
            </a:solidFill>
            <a:ln w="9525" cap="flat">
              <a:noFill/>
              <a:prstDash val="solid"/>
              <a:miter/>
            </a:ln>
          </p:spPr>
          <p:txBody>
            <a:bodyPr rtlCol="0" anchor="ctr"/>
            <a:lstStyle/>
            <a:p>
              <a:endParaRPr lang="zh-CN" altLang="en-US"/>
            </a:p>
          </p:txBody>
        </p:sp>
        <p:sp>
          <p:nvSpPr>
            <p:cNvPr id="302" name="íşľiďè">
              <a:extLst>
                <a:ext uri="{FF2B5EF4-FFF2-40B4-BE49-F238E27FC236}">
                  <a16:creationId xmlns:a16="http://schemas.microsoft.com/office/drawing/2014/main" id="{483A7C24-94DC-4C2E-8BE2-E7EFD86A72A4}"/>
                </a:ext>
              </a:extLst>
            </p:cNvPr>
            <p:cNvSpPr/>
            <p:nvPr/>
          </p:nvSpPr>
          <p:spPr>
            <a:xfrm>
              <a:off x="5960501" y="5148023"/>
              <a:ext cx="109594" cy="63639"/>
            </a:xfrm>
            <a:custGeom>
              <a:avLst/>
              <a:gdLst>
                <a:gd name="connsiteX0" fmla="*/ -336 w 36004"/>
                <a:gd name="connsiteY0" fmla="*/ 10291 h 20907"/>
                <a:gd name="connsiteX1" fmla="*/ 1188 w 36004"/>
                <a:gd name="connsiteY1" fmla="*/ 12577 h 20907"/>
                <a:gd name="connsiteX2" fmla="*/ 3569 w 36004"/>
                <a:gd name="connsiteY2" fmla="*/ 13910 h 20907"/>
                <a:gd name="connsiteX3" fmla="*/ 13856 w 36004"/>
                <a:gd name="connsiteY3" fmla="*/ 19816 h 20907"/>
                <a:gd name="connsiteX4" fmla="*/ 21476 w 36004"/>
                <a:gd name="connsiteY4" fmla="*/ 19816 h 20907"/>
                <a:gd name="connsiteX5" fmla="*/ 31763 w 36004"/>
                <a:gd name="connsiteY5" fmla="*/ 13910 h 20907"/>
                <a:gd name="connsiteX6" fmla="*/ 34144 w 36004"/>
                <a:gd name="connsiteY6" fmla="*/ 12577 h 20907"/>
                <a:gd name="connsiteX7" fmla="*/ 35668 w 36004"/>
                <a:gd name="connsiteY7" fmla="*/ 10291 h 20907"/>
                <a:gd name="connsiteX8" fmla="*/ 34144 w 36004"/>
                <a:gd name="connsiteY8" fmla="*/ 8100 h 20907"/>
                <a:gd name="connsiteX9" fmla="*/ 21476 w 36004"/>
                <a:gd name="connsiteY9" fmla="*/ 766 h 20907"/>
                <a:gd name="connsiteX10" fmla="*/ 13856 w 36004"/>
                <a:gd name="connsiteY10" fmla="*/ 766 h 20907"/>
                <a:gd name="connsiteX11" fmla="*/ 1188 w 36004"/>
                <a:gd name="connsiteY11" fmla="*/ 8100 h 20907"/>
                <a:gd name="connsiteX12" fmla="*/ -336 w 36004"/>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907">
                  <a:moveTo>
                    <a:pt x="-336" y="10291"/>
                  </a:moveTo>
                  <a:cubicBezTo>
                    <a:pt x="-269" y="11272"/>
                    <a:pt x="312" y="12139"/>
                    <a:pt x="1188" y="12577"/>
                  </a:cubicBezTo>
                  <a:lnTo>
                    <a:pt x="3569" y="13910"/>
                  </a:lnTo>
                  <a:lnTo>
                    <a:pt x="13856" y="19816"/>
                  </a:lnTo>
                  <a:cubicBezTo>
                    <a:pt x="16247" y="21054"/>
                    <a:pt x="19085" y="21054"/>
                    <a:pt x="21476" y="19816"/>
                  </a:cubicBezTo>
                  <a:lnTo>
                    <a:pt x="31763" y="13910"/>
                  </a:lnTo>
                  <a:lnTo>
                    <a:pt x="34144" y="12577"/>
                  </a:lnTo>
                  <a:cubicBezTo>
                    <a:pt x="35021" y="12139"/>
                    <a:pt x="35602" y="11272"/>
                    <a:pt x="35668" y="10291"/>
                  </a:cubicBezTo>
                  <a:cubicBezTo>
                    <a:pt x="35611" y="9339"/>
                    <a:pt x="35021" y="8491"/>
                    <a:pt x="34144" y="8100"/>
                  </a:cubicBezTo>
                  <a:lnTo>
                    <a:pt x="21476" y="766"/>
                  </a:lnTo>
                  <a:cubicBezTo>
                    <a:pt x="19085" y="-472"/>
                    <a:pt x="16247" y="-472"/>
                    <a:pt x="13856" y="766"/>
                  </a:cubicBezTo>
                  <a:lnTo>
                    <a:pt x="1188" y="8100"/>
                  </a:lnTo>
                  <a:cubicBezTo>
                    <a:pt x="312" y="8491"/>
                    <a:pt x="-279"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303" name="îṩḻïḍè">
              <a:extLst>
                <a:ext uri="{FF2B5EF4-FFF2-40B4-BE49-F238E27FC236}">
                  <a16:creationId xmlns:a16="http://schemas.microsoft.com/office/drawing/2014/main" id="{8922AE45-B3D8-42EC-A3C9-851931320853}"/>
                </a:ext>
              </a:extLst>
            </p:cNvPr>
            <p:cNvSpPr/>
            <p:nvPr/>
          </p:nvSpPr>
          <p:spPr>
            <a:xfrm>
              <a:off x="5962388" y="5149401"/>
              <a:ext cx="105825" cy="61104"/>
            </a:xfrm>
            <a:custGeom>
              <a:avLst/>
              <a:gdLst>
                <a:gd name="connsiteX0" fmla="*/ 1235 w 34766"/>
                <a:gd name="connsiteY0" fmla="*/ 12029 h 20074"/>
                <a:gd name="connsiteX1" fmla="*/ 13332 w 34766"/>
                <a:gd name="connsiteY1" fmla="*/ 18983 h 20074"/>
                <a:gd name="connsiteX2" fmla="*/ 20761 w 34766"/>
                <a:gd name="connsiteY2" fmla="*/ 18983 h 20074"/>
                <a:gd name="connsiteX3" fmla="*/ 32858 w 34766"/>
                <a:gd name="connsiteY3" fmla="*/ 12029 h 20074"/>
                <a:gd name="connsiteX4" fmla="*/ 32858 w 34766"/>
                <a:gd name="connsiteY4" fmla="*/ 7743 h 20074"/>
                <a:gd name="connsiteX5" fmla="*/ 20761 w 34766"/>
                <a:gd name="connsiteY5" fmla="*/ 695 h 20074"/>
                <a:gd name="connsiteX6" fmla="*/ 13332 w 34766"/>
                <a:gd name="connsiteY6" fmla="*/ 695 h 20074"/>
                <a:gd name="connsiteX7" fmla="*/ 1235 w 34766"/>
                <a:gd name="connsiteY7" fmla="*/ 8219 h 20074"/>
                <a:gd name="connsiteX8" fmla="*/ 1235 w 34766"/>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6" h="20074">
                  <a:moveTo>
                    <a:pt x="1235" y="12029"/>
                  </a:moveTo>
                  <a:lnTo>
                    <a:pt x="13332" y="18983"/>
                  </a:lnTo>
                  <a:cubicBezTo>
                    <a:pt x="15656" y="20221"/>
                    <a:pt x="18437" y="20221"/>
                    <a:pt x="20761" y="18983"/>
                  </a:cubicBezTo>
                  <a:lnTo>
                    <a:pt x="32858" y="12029"/>
                  </a:lnTo>
                  <a:cubicBezTo>
                    <a:pt x="34954" y="10791"/>
                    <a:pt x="34954" y="8886"/>
                    <a:pt x="32858" y="7743"/>
                  </a:cubicBezTo>
                  <a:lnTo>
                    <a:pt x="20761" y="695"/>
                  </a:lnTo>
                  <a:cubicBezTo>
                    <a:pt x="18418" y="-448"/>
                    <a:pt x="15675" y="-448"/>
                    <a:pt x="13332" y="695"/>
                  </a:cubicBezTo>
                  <a:lnTo>
                    <a:pt x="1235" y="8219"/>
                  </a:lnTo>
                  <a:cubicBezTo>
                    <a:pt x="-860" y="8886"/>
                    <a:pt x="-860" y="10791"/>
                    <a:pt x="1235" y="12029"/>
                  </a:cubicBezTo>
                  <a:close/>
                </a:path>
              </a:pathLst>
            </a:custGeom>
            <a:solidFill>
              <a:srgbClr val="D1D9E8"/>
            </a:solidFill>
            <a:ln w="9525" cap="flat">
              <a:noFill/>
              <a:prstDash val="solid"/>
              <a:miter/>
            </a:ln>
          </p:spPr>
          <p:txBody>
            <a:bodyPr rtlCol="0" anchor="ctr"/>
            <a:lstStyle/>
            <a:p>
              <a:endParaRPr lang="zh-CN" altLang="en-US"/>
            </a:p>
          </p:txBody>
        </p:sp>
        <p:sp>
          <p:nvSpPr>
            <p:cNvPr id="304" name="iṧlîdê">
              <a:extLst>
                <a:ext uri="{FF2B5EF4-FFF2-40B4-BE49-F238E27FC236}">
                  <a16:creationId xmlns:a16="http://schemas.microsoft.com/office/drawing/2014/main" id="{9FFC56A7-D684-4A0F-B9AF-970009876C27}"/>
                </a:ext>
              </a:extLst>
            </p:cNvPr>
            <p:cNvSpPr/>
            <p:nvPr/>
          </p:nvSpPr>
          <p:spPr>
            <a:xfrm>
              <a:off x="5960501" y="5179844"/>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3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3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2" y="7953"/>
                    <a:pt x="35668" y="6981"/>
                  </a:cubicBezTo>
                  <a:lnTo>
                    <a:pt x="35668" y="-163"/>
                  </a:lnTo>
                  <a:cubicBezTo>
                    <a:pt x="35602" y="818"/>
                    <a:pt x="35021" y="1685"/>
                    <a:pt x="34144" y="2123"/>
                  </a:cubicBezTo>
                  <a:lnTo>
                    <a:pt x="31763" y="3457"/>
                  </a:lnTo>
                  <a:lnTo>
                    <a:pt x="21476" y="9362"/>
                  </a:lnTo>
                  <a:cubicBezTo>
                    <a:pt x="19085" y="10600"/>
                    <a:pt x="16247" y="10600"/>
                    <a:pt x="13856" y="9362"/>
                  </a:cubicBezTo>
                  <a:lnTo>
                    <a:pt x="3569" y="3457"/>
                  </a:lnTo>
                  <a:lnTo>
                    <a:pt x="1188" y="2123"/>
                  </a:lnTo>
                  <a:cubicBezTo>
                    <a:pt x="312"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305" name="ïṡľíḓe">
              <a:extLst>
                <a:ext uri="{FF2B5EF4-FFF2-40B4-BE49-F238E27FC236}">
                  <a16:creationId xmlns:a16="http://schemas.microsoft.com/office/drawing/2014/main" id="{50E0C482-B75A-43AE-A00B-B5FB65CBA1F7}"/>
                </a:ext>
              </a:extLst>
            </p:cNvPr>
            <p:cNvSpPr/>
            <p:nvPr/>
          </p:nvSpPr>
          <p:spPr>
            <a:xfrm>
              <a:off x="6037625" y="5192674"/>
              <a:ext cx="109883" cy="63639"/>
            </a:xfrm>
            <a:custGeom>
              <a:avLst/>
              <a:gdLst>
                <a:gd name="connsiteX0" fmla="*/ -336 w 36099"/>
                <a:gd name="connsiteY0" fmla="*/ 10291 h 20907"/>
                <a:gd name="connsiteX1" fmla="*/ 1283 w 36099"/>
                <a:gd name="connsiteY1" fmla="*/ 12577 h 20907"/>
                <a:gd name="connsiteX2" fmla="*/ 3569 w 36099"/>
                <a:gd name="connsiteY2" fmla="*/ 13911 h 20907"/>
                <a:gd name="connsiteX3" fmla="*/ 13856 w 36099"/>
                <a:gd name="connsiteY3" fmla="*/ 19816 h 20907"/>
                <a:gd name="connsiteX4" fmla="*/ 21571 w 36099"/>
                <a:gd name="connsiteY4" fmla="*/ 19816 h 20907"/>
                <a:gd name="connsiteX5" fmla="*/ 31858 w 36099"/>
                <a:gd name="connsiteY5" fmla="*/ 13911 h 20907"/>
                <a:gd name="connsiteX6" fmla="*/ 34144 w 36099"/>
                <a:gd name="connsiteY6" fmla="*/ 12577 h 20907"/>
                <a:gd name="connsiteX7" fmla="*/ 35764 w 36099"/>
                <a:gd name="connsiteY7" fmla="*/ 10291 h 20907"/>
                <a:gd name="connsiteX8" fmla="*/ 34144 w 36099"/>
                <a:gd name="connsiteY8" fmla="*/ 8101 h 20907"/>
                <a:gd name="connsiteX9" fmla="*/ 21571 w 36099"/>
                <a:gd name="connsiteY9" fmla="*/ 766 h 20907"/>
                <a:gd name="connsiteX10" fmla="*/ 13856 w 36099"/>
                <a:gd name="connsiteY10" fmla="*/ 766 h 20907"/>
                <a:gd name="connsiteX11" fmla="*/ 1283 w 36099"/>
                <a:gd name="connsiteY11" fmla="*/ 8101 h 20907"/>
                <a:gd name="connsiteX12" fmla="*/ -336 w 36099"/>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99" h="20907">
                  <a:moveTo>
                    <a:pt x="-336" y="10291"/>
                  </a:moveTo>
                  <a:cubicBezTo>
                    <a:pt x="-231" y="11282"/>
                    <a:pt x="378" y="12149"/>
                    <a:pt x="1283" y="12577"/>
                  </a:cubicBezTo>
                  <a:lnTo>
                    <a:pt x="3569" y="13911"/>
                  </a:lnTo>
                  <a:lnTo>
                    <a:pt x="13856" y="19816"/>
                  </a:lnTo>
                  <a:cubicBezTo>
                    <a:pt x="16275" y="21054"/>
                    <a:pt x="19152" y="21054"/>
                    <a:pt x="21571" y="19816"/>
                  </a:cubicBezTo>
                  <a:lnTo>
                    <a:pt x="31858" y="13911"/>
                  </a:lnTo>
                  <a:lnTo>
                    <a:pt x="34144" y="12577"/>
                  </a:lnTo>
                  <a:cubicBezTo>
                    <a:pt x="35049" y="12149"/>
                    <a:pt x="35659" y="11282"/>
                    <a:pt x="35764" y="10291"/>
                  </a:cubicBezTo>
                  <a:cubicBezTo>
                    <a:pt x="35649" y="9329"/>
                    <a:pt x="35030" y="8491"/>
                    <a:pt x="34144" y="8101"/>
                  </a:cubicBezTo>
                  <a:lnTo>
                    <a:pt x="21571" y="766"/>
                  </a:lnTo>
                  <a:cubicBezTo>
                    <a:pt x="19152" y="-472"/>
                    <a:pt x="16275" y="-472"/>
                    <a:pt x="13856" y="766"/>
                  </a:cubicBezTo>
                  <a:lnTo>
                    <a:pt x="1283" y="8101"/>
                  </a:lnTo>
                  <a:cubicBezTo>
                    <a:pt x="397" y="8491"/>
                    <a:pt x="-222"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306" name="ïṧļiḑè">
              <a:extLst>
                <a:ext uri="{FF2B5EF4-FFF2-40B4-BE49-F238E27FC236}">
                  <a16:creationId xmlns:a16="http://schemas.microsoft.com/office/drawing/2014/main" id="{96438CD0-AAAB-4A7E-A058-C7F5273CBA7A}"/>
                </a:ext>
              </a:extLst>
            </p:cNvPr>
            <p:cNvSpPr/>
            <p:nvPr/>
          </p:nvSpPr>
          <p:spPr>
            <a:xfrm>
              <a:off x="6039729" y="5193834"/>
              <a:ext cx="105679" cy="61104"/>
            </a:xfrm>
            <a:custGeom>
              <a:avLst/>
              <a:gdLst>
                <a:gd name="connsiteX0" fmla="*/ 1164 w 34718"/>
                <a:gd name="connsiteY0" fmla="*/ 12006 h 20074"/>
                <a:gd name="connsiteX1" fmla="*/ 13260 w 34718"/>
                <a:gd name="connsiteY1" fmla="*/ 19054 h 20074"/>
                <a:gd name="connsiteX2" fmla="*/ 20690 w 34718"/>
                <a:gd name="connsiteY2" fmla="*/ 19054 h 20074"/>
                <a:gd name="connsiteX3" fmla="*/ 32882 w 34718"/>
                <a:gd name="connsiteY3" fmla="*/ 12006 h 20074"/>
                <a:gd name="connsiteX4" fmla="*/ 32882 w 34718"/>
                <a:gd name="connsiteY4" fmla="*/ 7719 h 20074"/>
                <a:gd name="connsiteX5" fmla="*/ 20690 w 34718"/>
                <a:gd name="connsiteY5" fmla="*/ 766 h 20074"/>
                <a:gd name="connsiteX6" fmla="*/ 13260 w 34718"/>
                <a:gd name="connsiteY6" fmla="*/ 766 h 20074"/>
                <a:gd name="connsiteX7" fmla="*/ 1164 w 34718"/>
                <a:gd name="connsiteY7" fmla="*/ 7719 h 20074"/>
                <a:gd name="connsiteX8" fmla="*/ 1164 w 34718"/>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18" h="20074">
                  <a:moveTo>
                    <a:pt x="1164" y="12006"/>
                  </a:moveTo>
                  <a:lnTo>
                    <a:pt x="13260" y="19054"/>
                  </a:lnTo>
                  <a:cubicBezTo>
                    <a:pt x="15604" y="20197"/>
                    <a:pt x="18347" y="20197"/>
                    <a:pt x="20690" y="19054"/>
                  </a:cubicBezTo>
                  <a:lnTo>
                    <a:pt x="32882" y="12006"/>
                  </a:lnTo>
                  <a:cubicBezTo>
                    <a:pt x="34882" y="10863"/>
                    <a:pt x="34882" y="8957"/>
                    <a:pt x="32882" y="7719"/>
                  </a:cubicBezTo>
                  <a:lnTo>
                    <a:pt x="20690" y="766"/>
                  </a:lnTo>
                  <a:cubicBezTo>
                    <a:pt x="18366" y="-472"/>
                    <a:pt x="15585" y="-472"/>
                    <a:pt x="13260" y="766"/>
                  </a:cubicBezTo>
                  <a:lnTo>
                    <a:pt x="1164" y="7719"/>
                  </a:lnTo>
                  <a:cubicBezTo>
                    <a:pt x="-836" y="8957"/>
                    <a:pt x="-836" y="10863"/>
                    <a:pt x="1164" y="12006"/>
                  </a:cubicBezTo>
                  <a:close/>
                </a:path>
              </a:pathLst>
            </a:custGeom>
            <a:solidFill>
              <a:srgbClr val="D1D9E8"/>
            </a:solidFill>
            <a:ln w="9525" cap="flat">
              <a:noFill/>
              <a:prstDash val="solid"/>
              <a:miter/>
            </a:ln>
          </p:spPr>
          <p:txBody>
            <a:bodyPr rtlCol="0" anchor="ctr"/>
            <a:lstStyle/>
            <a:p>
              <a:endParaRPr lang="zh-CN" altLang="en-US"/>
            </a:p>
          </p:txBody>
        </p:sp>
        <p:sp>
          <p:nvSpPr>
            <p:cNvPr id="307" name="íṧľiḍe">
              <a:extLst>
                <a:ext uri="{FF2B5EF4-FFF2-40B4-BE49-F238E27FC236}">
                  <a16:creationId xmlns:a16="http://schemas.microsoft.com/office/drawing/2014/main" id="{59E2F153-B647-4EDD-8FC9-77C2598A14C7}"/>
                </a:ext>
              </a:extLst>
            </p:cNvPr>
            <p:cNvSpPr/>
            <p:nvPr/>
          </p:nvSpPr>
          <p:spPr>
            <a:xfrm>
              <a:off x="6037625" y="5224492"/>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4 w 36099"/>
                <a:gd name="connsiteY6" fmla="*/ 6981 h 17597"/>
                <a:gd name="connsiteX7" fmla="*/ 35764 w 36099"/>
                <a:gd name="connsiteY7" fmla="*/ -163 h 17597"/>
                <a:gd name="connsiteX8" fmla="*/ 34144 w 36099"/>
                <a:gd name="connsiteY8" fmla="*/ 2124 h 17597"/>
                <a:gd name="connsiteX9" fmla="*/ 31858 w 36099"/>
                <a:gd name="connsiteY9" fmla="*/ 3457 h 17597"/>
                <a:gd name="connsiteX10" fmla="*/ 21571 w 36099"/>
                <a:gd name="connsiteY10" fmla="*/ 9362 h 17597"/>
                <a:gd name="connsiteX11" fmla="*/ 13856 w 36099"/>
                <a:gd name="connsiteY11" fmla="*/ 9362 h 17597"/>
                <a:gd name="connsiteX12" fmla="*/ 3569 w 36099"/>
                <a:gd name="connsiteY12" fmla="*/ 3457 h 17597"/>
                <a:gd name="connsiteX13" fmla="*/ 1283 w 36099"/>
                <a:gd name="connsiteY13" fmla="*/ 2124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03" y="8029"/>
                    <a:pt x="407" y="8858"/>
                    <a:pt x="1283" y="9267"/>
                  </a:cubicBezTo>
                  <a:lnTo>
                    <a:pt x="13856" y="16506"/>
                  </a:lnTo>
                  <a:cubicBezTo>
                    <a:pt x="16275" y="17744"/>
                    <a:pt x="19152" y="17744"/>
                    <a:pt x="21571" y="16506"/>
                  </a:cubicBezTo>
                  <a:lnTo>
                    <a:pt x="34144" y="9267"/>
                  </a:lnTo>
                  <a:cubicBezTo>
                    <a:pt x="35030" y="8829"/>
                    <a:pt x="35640" y="7972"/>
                    <a:pt x="35764" y="6981"/>
                  </a:cubicBezTo>
                  <a:lnTo>
                    <a:pt x="35764" y="-163"/>
                  </a:lnTo>
                  <a:cubicBezTo>
                    <a:pt x="35659" y="828"/>
                    <a:pt x="35049" y="1695"/>
                    <a:pt x="34144" y="2124"/>
                  </a:cubicBezTo>
                  <a:lnTo>
                    <a:pt x="31858" y="3457"/>
                  </a:lnTo>
                  <a:lnTo>
                    <a:pt x="21571" y="9362"/>
                  </a:lnTo>
                  <a:cubicBezTo>
                    <a:pt x="19152" y="10601"/>
                    <a:pt x="16275" y="10601"/>
                    <a:pt x="13856" y="9362"/>
                  </a:cubicBezTo>
                  <a:lnTo>
                    <a:pt x="3569" y="3457"/>
                  </a:lnTo>
                  <a:lnTo>
                    <a:pt x="1283" y="2124"/>
                  </a:lnTo>
                  <a:cubicBezTo>
                    <a:pt x="378" y="1695"/>
                    <a:pt x="-231"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308" name="îṣ1ïḍé">
              <a:extLst>
                <a:ext uri="{FF2B5EF4-FFF2-40B4-BE49-F238E27FC236}">
                  <a16:creationId xmlns:a16="http://schemas.microsoft.com/office/drawing/2014/main" id="{269C6E8D-E3F5-458E-9C3F-8192EF5BFB96}"/>
                </a:ext>
              </a:extLst>
            </p:cNvPr>
            <p:cNvSpPr/>
            <p:nvPr/>
          </p:nvSpPr>
          <p:spPr>
            <a:xfrm>
              <a:off x="6115038" y="5237322"/>
              <a:ext cx="109594" cy="63588"/>
            </a:xfrm>
            <a:custGeom>
              <a:avLst/>
              <a:gdLst>
                <a:gd name="connsiteX0" fmla="*/ -336 w 36004"/>
                <a:gd name="connsiteY0" fmla="*/ 10291 h 20890"/>
                <a:gd name="connsiteX1" fmla="*/ 1188 w 36004"/>
                <a:gd name="connsiteY1" fmla="*/ 12577 h 20890"/>
                <a:gd name="connsiteX2" fmla="*/ 3569 w 36004"/>
                <a:gd name="connsiteY2" fmla="*/ 13911 h 20890"/>
                <a:gd name="connsiteX3" fmla="*/ 13856 w 36004"/>
                <a:gd name="connsiteY3" fmla="*/ 19721 h 20890"/>
                <a:gd name="connsiteX4" fmla="*/ 21476 w 36004"/>
                <a:gd name="connsiteY4" fmla="*/ 19721 h 20890"/>
                <a:gd name="connsiteX5" fmla="*/ 31763 w 36004"/>
                <a:gd name="connsiteY5" fmla="*/ 13911 h 20890"/>
                <a:gd name="connsiteX6" fmla="*/ 34144 w 36004"/>
                <a:gd name="connsiteY6" fmla="*/ 12577 h 20890"/>
                <a:gd name="connsiteX7" fmla="*/ 35668 w 36004"/>
                <a:gd name="connsiteY7" fmla="*/ 10291 h 20890"/>
                <a:gd name="connsiteX8" fmla="*/ 34144 w 36004"/>
                <a:gd name="connsiteY8" fmla="*/ 8100 h 20890"/>
                <a:gd name="connsiteX9" fmla="*/ 21476 w 36004"/>
                <a:gd name="connsiteY9" fmla="*/ 766 h 20890"/>
                <a:gd name="connsiteX10" fmla="*/ 13856 w 36004"/>
                <a:gd name="connsiteY10" fmla="*/ 766 h 20890"/>
                <a:gd name="connsiteX11" fmla="*/ 1188 w 36004"/>
                <a:gd name="connsiteY11" fmla="*/ 8100 h 20890"/>
                <a:gd name="connsiteX12" fmla="*/ -336 w 36004"/>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291"/>
                  </a:moveTo>
                  <a:cubicBezTo>
                    <a:pt x="-270" y="11272"/>
                    <a:pt x="311" y="12139"/>
                    <a:pt x="1188" y="12577"/>
                  </a:cubicBezTo>
                  <a:lnTo>
                    <a:pt x="3569" y="13911"/>
                  </a:lnTo>
                  <a:lnTo>
                    <a:pt x="13856" y="19721"/>
                  </a:lnTo>
                  <a:cubicBezTo>
                    <a:pt x="16218" y="21064"/>
                    <a:pt x="19114" y="21064"/>
                    <a:pt x="21476" y="19721"/>
                  </a:cubicBezTo>
                  <a:lnTo>
                    <a:pt x="31763" y="13911"/>
                  </a:lnTo>
                  <a:lnTo>
                    <a:pt x="34144" y="12577"/>
                  </a:lnTo>
                  <a:cubicBezTo>
                    <a:pt x="35021" y="12139"/>
                    <a:pt x="35601" y="11272"/>
                    <a:pt x="35668" y="10291"/>
                  </a:cubicBezTo>
                  <a:cubicBezTo>
                    <a:pt x="35630" y="9329"/>
                    <a:pt x="35039" y="8472"/>
                    <a:pt x="34144" y="8100"/>
                  </a:cubicBezTo>
                  <a:lnTo>
                    <a:pt x="21476" y="766"/>
                  </a:lnTo>
                  <a:cubicBezTo>
                    <a:pt x="19085" y="-472"/>
                    <a:pt x="16247" y="-472"/>
                    <a:pt x="13856" y="766"/>
                  </a:cubicBezTo>
                  <a:lnTo>
                    <a:pt x="1188" y="8100"/>
                  </a:lnTo>
                  <a:cubicBezTo>
                    <a:pt x="292" y="8472"/>
                    <a:pt x="-298"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309" name="íšḷiḑe">
              <a:extLst>
                <a:ext uri="{FF2B5EF4-FFF2-40B4-BE49-F238E27FC236}">
                  <a16:creationId xmlns:a16="http://schemas.microsoft.com/office/drawing/2014/main" id="{0DC3A74E-FB99-454C-B97E-005F90F8F1E8}"/>
                </a:ext>
              </a:extLst>
            </p:cNvPr>
            <p:cNvSpPr/>
            <p:nvPr/>
          </p:nvSpPr>
          <p:spPr>
            <a:xfrm>
              <a:off x="6116923" y="5238482"/>
              <a:ext cx="105825" cy="61101"/>
            </a:xfrm>
            <a:custGeom>
              <a:avLst/>
              <a:gdLst>
                <a:gd name="connsiteX0" fmla="*/ 1235 w 34766"/>
                <a:gd name="connsiteY0" fmla="*/ 12006 h 20073"/>
                <a:gd name="connsiteX1" fmla="*/ 13332 w 34766"/>
                <a:gd name="connsiteY1" fmla="*/ 19054 h 20073"/>
                <a:gd name="connsiteX2" fmla="*/ 20762 w 34766"/>
                <a:gd name="connsiteY2" fmla="*/ 19054 h 20073"/>
                <a:gd name="connsiteX3" fmla="*/ 32858 w 34766"/>
                <a:gd name="connsiteY3" fmla="*/ 12006 h 20073"/>
                <a:gd name="connsiteX4" fmla="*/ 32858 w 34766"/>
                <a:gd name="connsiteY4" fmla="*/ 7719 h 20073"/>
                <a:gd name="connsiteX5" fmla="*/ 20762 w 34766"/>
                <a:gd name="connsiteY5" fmla="*/ 766 h 20073"/>
                <a:gd name="connsiteX6" fmla="*/ 13332 w 34766"/>
                <a:gd name="connsiteY6" fmla="*/ 766 h 20073"/>
                <a:gd name="connsiteX7" fmla="*/ 1235 w 34766"/>
                <a:gd name="connsiteY7" fmla="*/ 7719 h 20073"/>
                <a:gd name="connsiteX8" fmla="*/ 1235 w 34766"/>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6" h="20073">
                  <a:moveTo>
                    <a:pt x="1235" y="12006"/>
                  </a:moveTo>
                  <a:lnTo>
                    <a:pt x="13332" y="19054"/>
                  </a:lnTo>
                  <a:cubicBezTo>
                    <a:pt x="15675" y="20197"/>
                    <a:pt x="18419" y="20197"/>
                    <a:pt x="20762" y="19054"/>
                  </a:cubicBezTo>
                  <a:lnTo>
                    <a:pt x="32858" y="12006"/>
                  </a:lnTo>
                  <a:cubicBezTo>
                    <a:pt x="34954" y="10863"/>
                    <a:pt x="34954" y="8957"/>
                    <a:pt x="32858" y="7719"/>
                  </a:cubicBezTo>
                  <a:lnTo>
                    <a:pt x="20762" y="766"/>
                  </a:lnTo>
                  <a:cubicBezTo>
                    <a:pt x="18437" y="-472"/>
                    <a:pt x="15656" y="-472"/>
                    <a:pt x="13332" y="766"/>
                  </a:cubicBezTo>
                  <a:lnTo>
                    <a:pt x="1235" y="7719"/>
                  </a:lnTo>
                  <a:cubicBezTo>
                    <a:pt x="-860" y="8957"/>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310" name="îSḻíḑé">
              <a:extLst>
                <a:ext uri="{FF2B5EF4-FFF2-40B4-BE49-F238E27FC236}">
                  <a16:creationId xmlns:a16="http://schemas.microsoft.com/office/drawing/2014/main" id="{F5070CC0-0F0B-44CA-80C9-61FAA6A68CF0}"/>
                </a:ext>
              </a:extLst>
            </p:cNvPr>
            <p:cNvSpPr/>
            <p:nvPr/>
          </p:nvSpPr>
          <p:spPr>
            <a:xfrm>
              <a:off x="6115038" y="5268854"/>
              <a:ext cx="109594" cy="53564"/>
            </a:xfrm>
            <a:custGeom>
              <a:avLst/>
              <a:gdLst>
                <a:gd name="connsiteX0" fmla="*/ -336 w 36004"/>
                <a:gd name="connsiteY0" fmla="*/ -67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4 h 17597"/>
                <a:gd name="connsiteX9" fmla="*/ 31763 w 36004"/>
                <a:gd name="connsiteY9" fmla="*/ 3457 h 17597"/>
                <a:gd name="connsiteX10" fmla="*/ 21476 w 36004"/>
                <a:gd name="connsiteY10" fmla="*/ 9267 h 17597"/>
                <a:gd name="connsiteX11" fmla="*/ 13856 w 36004"/>
                <a:gd name="connsiteY11" fmla="*/ 9267 h 17597"/>
                <a:gd name="connsiteX12" fmla="*/ 3569 w 36004"/>
                <a:gd name="connsiteY12" fmla="*/ 3457 h 17597"/>
                <a:gd name="connsiteX13" fmla="*/ 1188 w 36004"/>
                <a:gd name="connsiteY13" fmla="*/ 2124 h 17597"/>
                <a:gd name="connsiteX14" fmla="*/ -336 w 36004"/>
                <a:gd name="connsiteY14" fmla="*/ -67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67"/>
                  </a:moveTo>
                  <a:lnTo>
                    <a:pt x="-336" y="7076"/>
                  </a:lnTo>
                  <a:cubicBezTo>
                    <a:pt x="-241" y="8019"/>
                    <a:pt x="340" y="8848"/>
                    <a:pt x="1188" y="9267"/>
                  </a:cubicBezTo>
                  <a:lnTo>
                    <a:pt x="13856" y="16506"/>
                  </a:lnTo>
                  <a:cubicBezTo>
                    <a:pt x="16247" y="17744"/>
                    <a:pt x="19085" y="17744"/>
                    <a:pt x="21476" y="16506"/>
                  </a:cubicBezTo>
                  <a:lnTo>
                    <a:pt x="34144" y="9267"/>
                  </a:lnTo>
                  <a:cubicBezTo>
                    <a:pt x="35011" y="8820"/>
                    <a:pt x="35582" y="7953"/>
                    <a:pt x="35668" y="6981"/>
                  </a:cubicBezTo>
                  <a:lnTo>
                    <a:pt x="35668" y="-163"/>
                  </a:lnTo>
                  <a:cubicBezTo>
                    <a:pt x="35601" y="818"/>
                    <a:pt x="35021" y="1685"/>
                    <a:pt x="34144" y="2124"/>
                  </a:cubicBezTo>
                  <a:lnTo>
                    <a:pt x="31763" y="3457"/>
                  </a:lnTo>
                  <a:lnTo>
                    <a:pt x="21476" y="9267"/>
                  </a:lnTo>
                  <a:cubicBezTo>
                    <a:pt x="19114" y="10610"/>
                    <a:pt x="16218" y="10610"/>
                    <a:pt x="13856" y="9267"/>
                  </a:cubicBezTo>
                  <a:lnTo>
                    <a:pt x="3569" y="3457"/>
                  </a:lnTo>
                  <a:lnTo>
                    <a:pt x="1188" y="2124"/>
                  </a:lnTo>
                  <a:cubicBezTo>
                    <a:pt x="340" y="1704"/>
                    <a:pt x="-241" y="876"/>
                    <a:pt x="-336" y="-67"/>
                  </a:cubicBezTo>
                  <a:close/>
                </a:path>
              </a:pathLst>
            </a:custGeom>
            <a:solidFill>
              <a:srgbClr val="BF4200"/>
            </a:solidFill>
            <a:ln w="9525" cap="flat">
              <a:noFill/>
              <a:prstDash val="solid"/>
              <a:miter/>
            </a:ln>
          </p:spPr>
          <p:txBody>
            <a:bodyPr rtlCol="0" anchor="ctr"/>
            <a:lstStyle/>
            <a:p>
              <a:endParaRPr lang="zh-CN" altLang="en-US"/>
            </a:p>
          </p:txBody>
        </p:sp>
        <p:sp>
          <p:nvSpPr>
            <p:cNvPr id="311" name="iš1íḋe">
              <a:extLst>
                <a:ext uri="{FF2B5EF4-FFF2-40B4-BE49-F238E27FC236}">
                  <a16:creationId xmlns:a16="http://schemas.microsoft.com/office/drawing/2014/main" id="{C757968F-73B7-440E-AE88-1837CDA9FEE6}"/>
                </a:ext>
              </a:extLst>
            </p:cNvPr>
            <p:cNvSpPr/>
            <p:nvPr/>
          </p:nvSpPr>
          <p:spPr>
            <a:xfrm>
              <a:off x="6193030" y="5281879"/>
              <a:ext cx="197152" cy="113892"/>
            </a:xfrm>
            <a:custGeom>
              <a:avLst/>
              <a:gdLst>
                <a:gd name="connsiteX0" fmla="*/ -336 w 64769"/>
                <a:gd name="connsiteY0" fmla="*/ 10227 h 37416"/>
                <a:gd name="connsiteX1" fmla="*/ 1188 w 64769"/>
                <a:gd name="connsiteY1" fmla="*/ 12513 h 37416"/>
                <a:gd name="connsiteX2" fmla="*/ 3569 w 64769"/>
                <a:gd name="connsiteY2" fmla="*/ 13846 h 37416"/>
                <a:gd name="connsiteX3" fmla="*/ 42431 w 64769"/>
                <a:gd name="connsiteY3" fmla="*/ 36325 h 37416"/>
                <a:gd name="connsiteX4" fmla="*/ 50241 w 64769"/>
                <a:gd name="connsiteY4" fmla="*/ 36325 h 37416"/>
                <a:gd name="connsiteX5" fmla="*/ 60433 w 64769"/>
                <a:gd name="connsiteY5" fmla="*/ 30420 h 37416"/>
                <a:gd name="connsiteX6" fmla="*/ 62814 w 64769"/>
                <a:gd name="connsiteY6" fmla="*/ 28991 h 37416"/>
                <a:gd name="connsiteX7" fmla="*/ 64434 w 64769"/>
                <a:gd name="connsiteY7" fmla="*/ 27372 h 37416"/>
                <a:gd name="connsiteX8" fmla="*/ 64434 w 64769"/>
                <a:gd name="connsiteY8" fmla="*/ 26229 h 37416"/>
                <a:gd name="connsiteX9" fmla="*/ 62814 w 64769"/>
                <a:gd name="connsiteY9" fmla="*/ 24514 h 37416"/>
                <a:gd name="connsiteX10" fmla="*/ 21476 w 64769"/>
                <a:gd name="connsiteY10" fmla="*/ 702 h 37416"/>
                <a:gd name="connsiteX11" fmla="*/ 13856 w 64769"/>
                <a:gd name="connsiteY11" fmla="*/ 702 h 37416"/>
                <a:gd name="connsiteX12" fmla="*/ 1188 w 64769"/>
                <a:gd name="connsiteY12" fmla="*/ 8036 h 37416"/>
                <a:gd name="connsiteX13" fmla="*/ -336 w 64769"/>
                <a:gd name="connsiteY13" fmla="*/ 10227 h 37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4769" h="37416">
                  <a:moveTo>
                    <a:pt x="-336" y="10227"/>
                  </a:moveTo>
                  <a:cubicBezTo>
                    <a:pt x="-270" y="11208"/>
                    <a:pt x="311" y="12075"/>
                    <a:pt x="1188" y="12513"/>
                  </a:cubicBezTo>
                  <a:lnTo>
                    <a:pt x="3569" y="13846"/>
                  </a:lnTo>
                  <a:lnTo>
                    <a:pt x="42431" y="36325"/>
                  </a:lnTo>
                  <a:cubicBezTo>
                    <a:pt x="44888" y="37563"/>
                    <a:pt x="47784" y="37563"/>
                    <a:pt x="50241" y="36325"/>
                  </a:cubicBezTo>
                  <a:lnTo>
                    <a:pt x="60433" y="30420"/>
                  </a:lnTo>
                  <a:lnTo>
                    <a:pt x="62814" y="28991"/>
                  </a:lnTo>
                  <a:cubicBezTo>
                    <a:pt x="63529" y="28658"/>
                    <a:pt x="64100" y="28086"/>
                    <a:pt x="64434" y="27372"/>
                  </a:cubicBezTo>
                  <a:lnTo>
                    <a:pt x="64434" y="26229"/>
                  </a:lnTo>
                  <a:cubicBezTo>
                    <a:pt x="64024" y="25543"/>
                    <a:pt x="63472" y="24962"/>
                    <a:pt x="62814" y="24514"/>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312" name="ïṡḷîḑé">
              <a:extLst>
                <a:ext uri="{FF2B5EF4-FFF2-40B4-BE49-F238E27FC236}">
                  <a16:creationId xmlns:a16="http://schemas.microsoft.com/office/drawing/2014/main" id="{0749EE7B-C616-46C5-A747-34CEB59C664C}"/>
                </a:ext>
              </a:extLst>
            </p:cNvPr>
            <p:cNvSpPr/>
            <p:nvPr/>
          </p:nvSpPr>
          <p:spPr>
            <a:xfrm>
              <a:off x="6194336" y="5282771"/>
              <a:ext cx="193168" cy="111545"/>
            </a:xfrm>
            <a:custGeom>
              <a:avLst/>
              <a:gdLst>
                <a:gd name="connsiteX0" fmla="*/ 42193 w 63460"/>
                <a:gd name="connsiteY0" fmla="*/ 35651 h 36645"/>
                <a:gd name="connsiteX1" fmla="*/ 1235 w 63460"/>
                <a:gd name="connsiteY1" fmla="*/ 12029 h 36645"/>
                <a:gd name="connsiteX2" fmla="*/ 1235 w 63460"/>
                <a:gd name="connsiteY2" fmla="*/ 7743 h 36645"/>
                <a:gd name="connsiteX3" fmla="*/ 13332 w 63460"/>
                <a:gd name="connsiteY3" fmla="*/ 695 h 36645"/>
                <a:gd name="connsiteX4" fmla="*/ 20761 w 63460"/>
                <a:gd name="connsiteY4" fmla="*/ 695 h 36645"/>
                <a:gd name="connsiteX5" fmla="*/ 61624 w 63460"/>
                <a:gd name="connsiteY5" fmla="*/ 24317 h 36645"/>
                <a:gd name="connsiteX6" fmla="*/ 61624 w 63460"/>
                <a:gd name="connsiteY6" fmla="*/ 28603 h 36645"/>
                <a:gd name="connsiteX7" fmla="*/ 49432 w 63460"/>
                <a:gd name="connsiteY7" fmla="*/ 35556 h 36645"/>
                <a:gd name="connsiteX8" fmla="*/ 42193 w 63460"/>
                <a:gd name="connsiteY8" fmla="*/ 35651 h 36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3460" h="36645">
                  <a:moveTo>
                    <a:pt x="42193" y="35651"/>
                  </a:moveTo>
                  <a:lnTo>
                    <a:pt x="1235" y="12029"/>
                  </a:lnTo>
                  <a:cubicBezTo>
                    <a:pt x="-860" y="10791"/>
                    <a:pt x="-860" y="8886"/>
                    <a:pt x="1235" y="7743"/>
                  </a:cubicBezTo>
                  <a:lnTo>
                    <a:pt x="13332" y="695"/>
                  </a:lnTo>
                  <a:cubicBezTo>
                    <a:pt x="15675" y="-448"/>
                    <a:pt x="18418" y="-448"/>
                    <a:pt x="20761" y="695"/>
                  </a:cubicBezTo>
                  <a:lnTo>
                    <a:pt x="61624" y="24317"/>
                  </a:lnTo>
                  <a:cubicBezTo>
                    <a:pt x="63624" y="25460"/>
                    <a:pt x="63624" y="27364"/>
                    <a:pt x="61624" y="28603"/>
                  </a:cubicBezTo>
                  <a:lnTo>
                    <a:pt x="49432" y="35556"/>
                  </a:lnTo>
                  <a:cubicBezTo>
                    <a:pt x="47174" y="36756"/>
                    <a:pt x="44479" y="36794"/>
                    <a:pt x="42193" y="35651"/>
                  </a:cubicBezTo>
                  <a:close/>
                </a:path>
              </a:pathLst>
            </a:custGeom>
            <a:solidFill>
              <a:srgbClr val="D1D9E8"/>
            </a:solidFill>
            <a:ln w="9525" cap="flat">
              <a:noFill/>
              <a:prstDash val="solid"/>
              <a:miter/>
            </a:ln>
          </p:spPr>
          <p:txBody>
            <a:bodyPr rtlCol="0" anchor="ctr"/>
            <a:lstStyle/>
            <a:p>
              <a:endParaRPr lang="zh-CN" altLang="en-US"/>
            </a:p>
          </p:txBody>
        </p:sp>
        <p:sp>
          <p:nvSpPr>
            <p:cNvPr id="313" name="ïšľiďè">
              <a:extLst>
                <a:ext uri="{FF2B5EF4-FFF2-40B4-BE49-F238E27FC236}">
                  <a16:creationId xmlns:a16="http://schemas.microsoft.com/office/drawing/2014/main" id="{0D97F480-65DE-448B-9C40-D86CDE20FB9F}"/>
                </a:ext>
              </a:extLst>
            </p:cNvPr>
            <p:cNvSpPr/>
            <p:nvPr/>
          </p:nvSpPr>
          <p:spPr>
            <a:xfrm>
              <a:off x="6193030" y="5313503"/>
              <a:ext cx="197152" cy="104011"/>
            </a:xfrm>
            <a:custGeom>
              <a:avLst/>
              <a:gdLst>
                <a:gd name="connsiteX0" fmla="*/ -336 w 64769"/>
                <a:gd name="connsiteY0" fmla="*/ -163 h 34170"/>
                <a:gd name="connsiteX1" fmla="*/ -336 w 64769"/>
                <a:gd name="connsiteY1" fmla="*/ 6981 h 34170"/>
                <a:gd name="connsiteX2" fmla="*/ 1188 w 64769"/>
                <a:gd name="connsiteY2" fmla="*/ 9267 h 34170"/>
                <a:gd name="connsiteX3" fmla="*/ 42431 w 64769"/>
                <a:gd name="connsiteY3" fmla="*/ 33080 h 34170"/>
                <a:gd name="connsiteX4" fmla="*/ 50241 w 64769"/>
                <a:gd name="connsiteY4" fmla="*/ 33080 h 34170"/>
                <a:gd name="connsiteX5" fmla="*/ 62814 w 64769"/>
                <a:gd name="connsiteY5" fmla="*/ 25841 h 34170"/>
                <a:gd name="connsiteX6" fmla="*/ 64434 w 64769"/>
                <a:gd name="connsiteY6" fmla="*/ 24126 h 34170"/>
                <a:gd name="connsiteX7" fmla="*/ 64434 w 64769"/>
                <a:gd name="connsiteY7" fmla="*/ 16982 h 34170"/>
                <a:gd name="connsiteX8" fmla="*/ 62814 w 64769"/>
                <a:gd name="connsiteY8" fmla="*/ 18602 h 34170"/>
                <a:gd name="connsiteX9" fmla="*/ 60433 w 64769"/>
                <a:gd name="connsiteY9" fmla="*/ 20030 h 34170"/>
                <a:gd name="connsiteX10" fmla="*/ 50241 w 64769"/>
                <a:gd name="connsiteY10" fmla="*/ 25936 h 34170"/>
                <a:gd name="connsiteX11" fmla="*/ 42431 w 64769"/>
                <a:gd name="connsiteY11" fmla="*/ 25936 h 34170"/>
                <a:gd name="connsiteX12" fmla="*/ 3569 w 64769"/>
                <a:gd name="connsiteY12" fmla="*/ 3457 h 34170"/>
                <a:gd name="connsiteX13" fmla="*/ 1664 w 64769"/>
                <a:gd name="connsiteY13" fmla="*/ 1933 h 34170"/>
                <a:gd name="connsiteX14" fmla="*/ -336 w 64769"/>
                <a:gd name="connsiteY14" fmla="*/ -163 h 341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4769" h="34170">
                  <a:moveTo>
                    <a:pt x="-336" y="-163"/>
                  </a:moveTo>
                  <a:lnTo>
                    <a:pt x="-336" y="6981"/>
                  </a:lnTo>
                  <a:cubicBezTo>
                    <a:pt x="-251" y="7953"/>
                    <a:pt x="321" y="8819"/>
                    <a:pt x="1188" y="9267"/>
                  </a:cubicBezTo>
                  <a:lnTo>
                    <a:pt x="42431" y="33080"/>
                  </a:lnTo>
                  <a:cubicBezTo>
                    <a:pt x="44888" y="34318"/>
                    <a:pt x="47784" y="34318"/>
                    <a:pt x="50241" y="33080"/>
                  </a:cubicBezTo>
                  <a:lnTo>
                    <a:pt x="62814" y="25841"/>
                  </a:lnTo>
                  <a:cubicBezTo>
                    <a:pt x="63472" y="25393"/>
                    <a:pt x="64024" y="24812"/>
                    <a:pt x="64434" y="24126"/>
                  </a:cubicBezTo>
                  <a:lnTo>
                    <a:pt x="64434" y="16982"/>
                  </a:lnTo>
                  <a:cubicBezTo>
                    <a:pt x="64100" y="17697"/>
                    <a:pt x="63529" y="18268"/>
                    <a:pt x="62814" y="18602"/>
                  </a:cubicBezTo>
                  <a:lnTo>
                    <a:pt x="60433" y="20030"/>
                  </a:lnTo>
                  <a:lnTo>
                    <a:pt x="50241" y="25936"/>
                  </a:lnTo>
                  <a:cubicBezTo>
                    <a:pt x="47784" y="27174"/>
                    <a:pt x="44888" y="27174"/>
                    <a:pt x="42431" y="25936"/>
                  </a:cubicBezTo>
                  <a:lnTo>
                    <a:pt x="3569" y="3457"/>
                  </a:lnTo>
                  <a:lnTo>
                    <a:pt x="1664" y="1933"/>
                  </a:lnTo>
                  <a:cubicBezTo>
                    <a:pt x="654" y="1666"/>
                    <a:pt x="-117" y="856"/>
                    <a:pt x="-336" y="-163"/>
                  </a:cubicBezTo>
                  <a:close/>
                </a:path>
              </a:pathLst>
            </a:custGeom>
            <a:solidFill>
              <a:srgbClr val="BF4200"/>
            </a:solidFill>
            <a:ln w="9525" cap="flat">
              <a:noFill/>
              <a:prstDash val="solid"/>
              <a:miter/>
            </a:ln>
          </p:spPr>
          <p:txBody>
            <a:bodyPr rtlCol="0" anchor="ctr"/>
            <a:lstStyle/>
            <a:p>
              <a:endParaRPr lang="zh-CN" altLang="en-US"/>
            </a:p>
          </p:txBody>
        </p:sp>
        <p:sp>
          <p:nvSpPr>
            <p:cNvPr id="314" name="ïsḻïdê">
              <a:extLst>
                <a:ext uri="{FF2B5EF4-FFF2-40B4-BE49-F238E27FC236}">
                  <a16:creationId xmlns:a16="http://schemas.microsoft.com/office/drawing/2014/main" id="{0FEA682F-3477-4659-B231-AEBEE8AD9811}"/>
                </a:ext>
              </a:extLst>
            </p:cNvPr>
            <p:cNvSpPr/>
            <p:nvPr/>
          </p:nvSpPr>
          <p:spPr>
            <a:xfrm>
              <a:off x="5077942" y="4728490"/>
              <a:ext cx="197155" cy="113803"/>
            </a:xfrm>
            <a:custGeom>
              <a:avLst/>
              <a:gdLst>
                <a:gd name="connsiteX0" fmla="*/ -336 w 64770"/>
                <a:gd name="connsiteY0" fmla="*/ 10291 h 37387"/>
                <a:gd name="connsiteX1" fmla="*/ 1188 w 64770"/>
                <a:gd name="connsiteY1" fmla="*/ 12577 h 37387"/>
                <a:gd name="connsiteX2" fmla="*/ 3569 w 64770"/>
                <a:gd name="connsiteY2" fmla="*/ 13910 h 37387"/>
                <a:gd name="connsiteX3" fmla="*/ 42431 w 64770"/>
                <a:gd name="connsiteY3" fmla="*/ 36390 h 37387"/>
                <a:gd name="connsiteX4" fmla="*/ 50242 w 64770"/>
                <a:gd name="connsiteY4" fmla="*/ 36390 h 37387"/>
                <a:gd name="connsiteX5" fmla="*/ 60433 w 64770"/>
                <a:gd name="connsiteY5" fmla="*/ 30389 h 37387"/>
                <a:gd name="connsiteX6" fmla="*/ 62814 w 64770"/>
                <a:gd name="connsiteY6" fmla="*/ 29055 h 37387"/>
                <a:gd name="connsiteX7" fmla="*/ 64434 w 64770"/>
                <a:gd name="connsiteY7" fmla="*/ 27436 h 37387"/>
                <a:gd name="connsiteX8" fmla="*/ 64434 w 64770"/>
                <a:gd name="connsiteY8" fmla="*/ 26293 h 37387"/>
                <a:gd name="connsiteX9" fmla="*/ 62814 w 64770"/>
                <a:gd name="connsiteY9" fmla="*/ 24579 h 37387"/>
                <a:gd name="connsiteX10" fmla="*/ 21476 w 64770"/>
                <a:gd name="connsiteY10" fmla="*/ 766 h 37387"/>
                <a:gd name="connsiteX11" fmla="*/ 13856 w 64770"/>
                <a:gd name="connsiteY11" fmla="*/ 766 h 37387"/>
                <a:gd name="connsiteX12" fmla="*/ 1188 w 64770"/>
                <a:gd name="connsiteY12" fmla="*/ 8100 h 37387"/>
                <a:gd name="connsiteX13" fmla="*/ -336 w 64770"/>
                <a:gd name="connsiteY13" fmla="*/ 10291 h 37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4770" h="37387">
                  <a:moveTo>
                    <a:pt x="-336" y="10291"/>
                  </a:moveTo>
                  <a:cubicBezTo>
                    <a:pt x="-269" y="11272"/>
                    <a:pt x="312" y="12139"/>
                    <a:pt x="1188" y="12577"/>
                  </a:cubicBezTo>
                  <a:lnTo>
                    <a:pt x="3569" y="13910"/>
                  </a:lnTo>
                  <a:lnTo>
                    <a:pt x="42431" y="36390"/>
                  </a:lnTo>
                  <a:cubicBezTo>
                    <a:pt x="44917" y="37504"/>
                    <a:pt x="47756" y="37504"/>
                    <a:pt x="50242" y="36390"/>
                  </a:cubicBezTo>
                  <a:lnTo>
                    <a:pt x="60433" y="30389"/>
                  </a:lnTo>
                  <a:lnTo>
                    <a:pt x="62814" y="29055"/>
                  </a:lnTo>
                  <a:cubicBezTo>
                    <a:pt x="63529" y="28722"/>
                    <a:pt x="64100" y="28150"/>
                    <a:pt x="64434" y="27436"/>
                  </a:cubicBezTo>
                  <a:lnTo>
                    <a:pt x="64434" y="26293"/>
                  </a:lnTo>
                  <a:cubicBezTo>
                    <a:pt x="64081" y="25569"/>
                    <a:pt x="63510" y="24979"/>
                    <a:pt x="62814" y="24579"/>
                  </a:cubicBezTo>
                  <a:lnTo>
                    <a:pt x="21476" y="766"/>
                  </a:lnTo>
                  <a:cubicBezTo>
                    <a:pt x="19085" y="-472"/>
                    <a:pt x="16247" y="-472"/>
                    <a:pt x="13856" y="766"/>
                  </a:cubicBezTo>
                  <a:lnTo>
                    <a:pt x="1188" y="8100"/>
                  </a:lnTo>
                  <a:cubicBezTo>
                    <a:pt x="292" y="8472"/>
                    <a:pt x="-298"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315" name="íṣ1íḑé">
              <a:extLst>
                <a:ext uri="{FF2B5EF4-FFF2-40B4-BE49-F238E27FC236}">
                  <a16:creationId xmlns:a16="http://schemas.microsoft.com/office/drawing/2014/main" id="{9CFA0260-1834-46C5-AD6D-E8718D75CDE6}"/>
                </a:ext>
              </a:extLst>
            </p:cNvPr>
            <p:cNvSpPr/>
            <p:nvPr/>
          </p:nvSpPr>
          <p:spPr>
            <a:xfrm>
              <a:off x="5079829" y="4729647"/>
              <a:ext cx="193168" cy="111551"/>
            </a:xfrm>
            <a:custGeom>
              <a:avLst/>
              <a:gdLst>
                <a:gd name="connsiteX0" fmla="*/ 42002 w 63460"/>
                <a:gd name="connsiteY0" fmla="*/ 35628 h 36647"/>
                <a:gd name="connsiteX1" fmla="*/ 1235 w 63460"/>
                <a:gd name="connsiteY1" fmla="*/ 12006 h 36647"/>
                <a:gd name="connsiteX2" fmla="*/ 1235 w 63460"/>
                <a:gd name="connsiteY2" fmla="*/ 7719 h 36647"/>
                <a:gd name="connsiteX3" fmla="*/ 13332 w 63460"/>
                <a:gd name="connsiteY3" fmla="*/ 766 h 36647"/>
                <a:gd name="connsiteX4" fmla="*/ 20761 w 63460"/>
                <a:gd name="connsiteY4" fmla="*/ 766 h 36647"/>
                <a:gd name="connsiteX5" fmla="*/ 61624 w 63460"/>
                <a:gd name="connsiteY5" fmla="*/ 24293 h 36647"/>
                <a:gd name="connsiteX6" fmla="*/ 61624 w 63460"/>
                <a:gd name="connsiteY6" fmla="*/ 28579 h 36647"/>
                <a:gd name="connsiteX7" fmla="*/ 49432 w 63460"/>
                <a:gd name="connsiteY7" fmla="*/ 35628 h 36647"/>
                <a:gd name="connsiteX8" fmla="*/ 42002 w 63460"/>
                <a:gd name="connsiteY8" fmla="*/ 35628 h 366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3460" h="36647">
                  <a:moveTo>
                    <a:pt x="42002" y="35628"/>
                  </a:moveTo>
                  <a:lnTo>
                    <a:pt x="1235" y="12006"/>
                  </a:lnTo>
                  <a:cubicBezTo>
                    <a:pt x="-860" y="10863"/>
                    <a:pt x="-860" y="8958"/>
                    <a:pt x="1235" y="7719"/>
                  </a:cubicBezTo>
                  <a:lnTo>
                    <a:pt x="13332" y="766"/>
                  </a:lnTo>
                  <a:cubicBezTo>
                    <a:pt x="15656" y="-472"/>
                    <a:pt x="18437" y="-472"/>
                    <a:pt x="20761" y="766"/>
                  </a:cubicBezTo>
                  <a:lnTo>
                    <a:pt x="61624" y="24293"/>
                  </a:lnTo>
                  <a:cubicBezTo>
                    <a:pt x="63624" y="25531"/>
                    <a:pt x="63624" y="27436"/>
                    <a:pt x="61624" y="28579"/>
                  </a:cubicBezTo>
                  <a:lnTo>
                    <a:pt x="49432" y="35628"/>
                  </a:lnTo>
                  <a:cubicBezTo>
                    <a:pt x="47089" y="36771"/>
                    <a:pt x="44345" y="36771"/>
                    <a:pt x="42002" y="35628"/>
                  </a:cubicBezTo>
                  <a:close/>
                </a:path>
              </a:pathLst>
            </a:custGeom>
            <a:solidFill>
              <a:srgbClr val="D1D9E8"/>
            </a:solidFill>
            <a:ln w="9525" cap="flat">
              <a:noFill/>
              <a:prstDash val="solid"/>
              <a:miter/>
            </a:ln>
          </p:spPr>
          <p:txBody>
            <a:bodyPr rtlCol="0" anchor="ctr"/>
            <a:lstStyle/>
            <a:p>
              <a:endParaRPr lang="zh-CN" altLang="en-US"/>
            </a:p>
          </p:txBody>
        </p:sp>
        <p:sp>
          <p:nvSpPr>
            <p:cNvPr id="316" name="íşlïdé">
              <a:extLst>
                <a:ext uri="{FF2B5EF4-FFF2-40B4-BE49-F238E27FC236}">
                  <a16:creationId xmlns:a16="http://schemas.microsoft.com/office/drawing/2014/main" id="{37B75C56-C76C-43EC-A022-F843513C0358}"/>
                </a:ext>
              </a:extLst>
            </p:cNvPr>
            <p:cNvSpPr/>
            <p:nvPr/>
          </p:nvSpPr>
          <p:spPr>
            <a:xfrm>
              <a:off x="5077942" y="4760308"/>
              <a:ext cx="197155" cy="104011"/>
            </a:xfrm>
            <a:custGeom>
              <a:avLst/>
              <a:gdLst>
                <a:gd name="connsiteX0" fmla="*/ -336 w 64770"/>
                <a:gd name="connsiteY0" fmla="*/ -163 h 34170"/>
                <a:gd name="connsiteX1" fmla="*/ -336 w 64770"/>
                <a:gd name="connsiteY1" fmla="*/ 6981 h 34170"/>
                <a:gd name="connsiteX2" fmla="*/ 1188 w 64770"/>
                <a:gd name="connsiteY2" fmla="*/ 9267 h 34170"/>
                <a:gd name="connsiteX3" fmla="*/ 42431 w 64770"/>
                <a:gd name="connsiteY3" fmla="*/ 33080 h 34170"/>
                <a:gd name="connsiteX4" fmla="*/ 50242 w 64770"/>
                <a:gd name="connsiteY4" fmla="*/ 33080 h 34170"/>
                <a:gd name="connsiteX5" fmla="*/ 62814 w 64770"/>
                <a:gd name="connsiteY5" fmla="*/ 25745 h 34170"/>
                <a:gd name="connsiteX6" fmla="*/ 64434 w 64770"/>
                <a:gd name="connsiteY6" fmla="*/ 24126 h 34170"/>
                <a:gd name="connsiteX7" fmla="*/ 64434 w 64770"/>
                <a:gd name="connsiteY7" fmla="*/ 16982 h 34170"/>
                <a:gd name="connsiteX8" fmla="*/ 62814 w 64770"/>
                <a:gd name="connsiteY8" fmla="*/ 18602 h 34170"/>
                <a:gd name="connsiteX9" fmla="*/ 60433 w 64770"/>
                <a:gd name="connsiteY9" fmla="*/ 19935 h 34170"/>
                <a:gd name="connsiteX10" fmla="*/ 50242 w 64770"/>
                <a:gd name="connsiteY10" fmla="*/ 25936 h 34170"/>
                <a:gd name="connsiteX11" fmla="*/ 42431 w 64770"/>
                <a:gd name="connsiteY11" fmla="*/ 25936 h 34170"/>
                <a:gd name="connsiteX12" fmla="*/ 3569 w 64770"/>
                <a:gd name="connsiteY12" fmla="*/ 3457 h 34170"/>
                <a:gd name="connsiteX13" fmla="*/ 1188 w 64770"/>
                <a:gd name="connsiteY13" fmla="*/ 2123 h 34170"/>
                <a:gd name="connsiteX14" fmla="*/ -336 w 64770"/>
                <a:gd name="connsiteY14" fmla="*/ -163 h 341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4770" h="34170">
                  <a:moveTo>
                    <a:pt x="-336" y="-163"/>
                  </a:moveTo>
                  <a:lnTo>
                    <a:pt x="-336" y="6981"/>
                  </a:lnTo>
                  <a:cubicBezTo>
                    <a:pt x="-251" y="7953"/>
                    <a:pt x="321" y="8819"/>
                    <a:pt x="1188" y="9267"/>
                  </a:cubicBezTo>
                  <a:lnTo>
                    <a:pt x="42431" y="33080"/>
                  </a:lnTo>
                  <a:cubicBezTo>
                    <a:pt x="44889" y="34318"/>
                    <a:pt x="47784" y="34318"/>
                    <a:pt x="50242" y="33080"/>
                  </a:cubicBezTo>
                  <a:lnTo>
                    <a:pt x="62814" y="25745"/>
                  </a:lnTo>
                  <a:cubicBezTo>
                    <a:pt x="63491" y="25355"/>
                    <a:pt x="64043" y="24802"/>
                    <a:pt x="64434" y="24126"/>
                  </a:cubicBezTo>
                  <a:lnTo>
                    <a:pt x="64434" y="16982"/>
                  </a:lnTo>
                  <a:cubicBezTo>
                    <a:pt x="64100" y="17697"/>
                    <a:pt x="63529" y="18268"/>
                    <a:pt x="62814" y="18602"/>
                  </a:cubicBezTo>
                  <a:lnTo>
                    <a:pt x="60433" y="19935"/>
                  </a:lnTo>
                  <a:lnTo>
                    <a:pt x="50242" y="25936"/>
                  </a:lnTo>
                  <a:cubicBezTo>
                    <a:pt x="47756" y="27050"/>
                    <a:pt x="44917" y="27050"/>
                    <a:pt x="42431" y="25936"/>
                  </a:cubicBezTo>
                  <a:lnTo>
                    <a:pt x="3569" y="3457"/>
                  </a:lnTo>
                  <a:lnTo>
                    <a:pt x="1188" y="2123"/>
                  </a:lnTo>
                  <a:cubicBezTo>
                    <a:pt x="312"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317" name="iślïďê">
              <a:extLst>
                <a:ext uri="{FF2B5EF4-FFF2-40B4-BE49-F238E27FC236}">
                  <a16:creationId xmlns:a16="http://schemas.microsoft.com/office/drawing/2014/main" id="{FE33030C-6204-4705-A6E1-4AF186142779}"/>
                </a:ext>
              </a:extLst>
            </p:cNvPr>
            <p:cNvSpPr/>
            <p:nvPr/>
          </p:nvSpPr>
          <p:spPr>
            <a:xfrm>
              <a:off x="5242335" y="4824456"/>
              <a:ext cx="109594" cy="63588"/>
            </a:xfrm>
            <a:custGeom>
              <a:avLst/>
              <a:gdLst>
                <a:gd name="connsiteX0" fmla="*/ -336 w 36004"/>
                <a:gd name="connsiteY0" fmla="*/ 10196 h 20890"/>
                <a:gd name="connsiteX1" fmla="*/ 1188 w 36004"/>
                <a:gd name="connsiteY1" fmla="*/ 12482 h 20890"/>
                <a:gd name="connsiteX2" fmla="*/ 3569 w 36004"/>
                <a:gd name="connsiteY2" fmla="*/ 13815 h 20890"/>
                <a:gd name="connsiteX3" fmla="*/ 13761 w 36004"/>
                <a:gd name="connsiteY3" fmla="*/ 19721 h 20890"/>
                <a:gd name="connsiteX4" fmla="*/ 21476 w 36004"/>
                <a:gd name="connsiteY4" fmla="*/ 19721 h 20890"/>
                <a:gd name="connsiteX5" fmla="*/ 31763 w 36004"/>
                <a:gd name="connsiteY5" fmla="*/ 13815 h 20890"/>
                <a:gd name="connsiteX6" fmla="*/ 34049 w 36004"/>
                <a:gd name="connsiteY6" fmla="*/ 12482 h 20890"/>
                <a:gd name="connsiteX7" fmla="*/ 35668 w 36004"/>
                <a:gd name="connsiteY7" fmla="*/ 10196 h 20890"/>
                <a:gd name="connsiteX8" fmla="*/ 34049 w 36004"/>
                <a:gd name="connsiteY8" fmla="*/ 8005 h 20890"/>
                <a:gd name="connsiteX9" fmla="*/ 21476 w 36004"/>
                <a:gd name="connsiteY9" fmla="*/ 766 h 20890"/>
                <a:gd name="connsiteX10" fmla="*/ 13761 w 36004"/>
                <a:gd name="connsiteY10" fmla="*/ 766 h 20890"/>
                <a:gd name="connsiteX11" fmla="*/ 1188 w 36004"/>
                <a:gd name="connsiteY11" fmla="*/ 8005 h 20890"/>
                <a:gd name="connsiteX12" fmla="*/ -336 w 36004"/>
                <a:gd name="connsiteY12" fmla="*/ 10196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196"/>
                  </a:moveTo>
                  <a:cubicBezTo>
                    <a:pt x="-308" y="11186"/>
                    <a:pt x="283" y="12082"/>
                    <a:pt x="1188" y="12482"/>
                  </a:cubicBezTo>
                  <a:lnTo>
                    <a:pt x="3569" y="13815"/>
                  </a:lnTo>
                  <a:lnTo>
                    <a:pt x="13761" y="19721"/>
                  </a:lnTo>
                  <a:cubicBezTo>
                    <a:pt x="16161" y="21064"/>
                    <a:pt x="19076" y="21064"/>
                    <a:pt x="21476" y="19721"/>
                  </a:cubicBezTo>
                  <a:lnTo>
                    <a:pt x="31763" y="13815"/>
                  </a:lnTo>
                  <a:lnTo>
                    <a:pt x="34049" y="12482"/>
                  </a:lnTo>
                  <a:cubicBezTo>
                    <a:pt x="34992" y="12110"/>
                    <a:pt x="35630" y="11215"/>
                    <a:pt x="35668" y="10196"/>
                  </a:cubicBezTo>
                  <a:cubicBezTo>
                    <a:pt x="35573" y="9224"/>
                    <a:pt x="34944" y="8386"/>
                    <a:pt x="34049" y="8005"/>
                  </a:cubicBezTo>
                  <a:lnTo>
                    <a:pt x="21476" y="766"/>
                  </a:lnTo>
                  <a:cubicBezTo>
                    <a:pt x="19057" y="-472"/>
                    <a:pt x="16180" y="-472"/>
                    <a:pt x="13761" y="766"/>
                  </a:cubicBezTo>
                  <a:lnTo>
                    <a:pt x="1188" y="8005"/>
                  </a:lnTo>
                  <a:cubicBezTo>
                    <a:pt x="340" y="8424"/>
                    <a:pt x="-241" y="925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318" name="îŝľiḋê">
              <a:extLst>
                <a:ext uri="{FF2B5EF4-FFF2-40B4-BE49-F238E27FC236}">
                  <a16:creationId xmlns:a16="http://schemas.microsoft.com/office/drawing/2014/main" id="{E50DB8C8-8B5D-42B1-9FD7-CFC773DB57DA}"/>
                </a:ext>
              </a:extLst>
            </p:cNvPr>
            <p:cNvSpPr/>
            <p:nvPr/>
          </p:nvSpPr>
          <p:spPr>
            <a:xfrm>
              <a:off x="5245337" y="4825038"/>
              <a:ext cx="105618" cy="61104"/>
            </a:xfrm>
            <a:custGeom>
              <a:avLst/>
              <a:gdLst>
                <a:gd name="connsiteX0" fmla="*/ 1154 w 34698"/>
                <a:gd name="connsiteY0" fmla="*/ 12006 h 20074"/>
                <a:gd name="connsiteX1" fmla="*/ 13346 w 34698"/>
                <a:gd name="connsiteY1" fmla="*/ 19054 h 20074"/>
                <a:gd name="connsiteX2" fmla="*/ 20776 w 34698"/>
                <a:gd name="connsiteY2" fmla="*/ 19054 h 20074"/>
                <a:gd name="connsiteX3" fmla="*/ 32872 w 34698"/>
                <a:gd name="connsiteY3" fmla="*/ 12006 h 20074"/>
                <a:gd name="connsiteX4" fmla="*/ 34215 w 34698"/>
                <a:gd name="connsiteY4" fmla="*/ 9062 h 20074"/>
                <a:gd name="connsiteX5" fmla="*/ 32872 w 34698"/>
                <a:gd name="connsiteY5" fmla="*/ 7719 h 20074"/>
                <a:gd name="connsiteX6" fmla="*/ 20776 w 34698"/>
                <a:gd name="connsiteY6" fmla="*/ 766 h 20074"/>
                <a:gd name="connsiteX7" fmla="*/ 13346 w 34698"/>
                <a:gd name="connsiteY7" fmla="*/ 766 h 20074"/>
                <a:gd name="connsiteX8" fmla="*/ 1154 w 34698"/>
                <a:gd name="connsiteY8" fmla="*/ 7719 h 20074"/>
                <a:gd name="connsiteX9" fmla="*/ -189 w 34698"/>
                <a:gd name="connsiteY9" fmla="*/ 10663 h 20074"/>
                <a:gd name="connsiteX10" fmla="*/ 1154 w 34698"/>
                <a:gd name="connsiteY10"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698" h="20074">
                  <a:moveTo>
                    <a:pt x="1154" y="12006"/>
                  </a:moveTo>
                  <a:lnTo>
                    <a:pt x="13346" y="19054"/>
                  </a:lnTo>
                  <a:cubicBezTo>
                    <a:pt x="15689" y="20197"/>
                    <a:pt x="18432" y="20197"/>
                    <a:pt x="20776" y="19054"/>
                  </a:cubicBezTo>
                  <a:lnTo>
                    <a:pt x="32872" y="12006"/>
                  </a:lnTo>
                  <a:cubicBezTo>
                    <a:pt x="34053" y="11567"/>
                    <a:pt x="34663" y="10253"/>
                    <a:pt x="34215" y="9062"/>
                  </a:cubicBezTo>
                  <a:cubicBezTo>
                    <a:pt x="33987" y="8443"/>
                    <a:pt x="33491" y="7948"/>
                    <a:pt x="32872" y="7719"/>
                  </a:cubicBezTo>
                  <a:lnTo>
                    <a:pt x="20776" y="766"/>
                  </a:lnTo>
                  <a:cubicBezTo>
                    <a:pt x="18451" y="-472"/>
                    <a:pt x="15670" y="-472"/>
                    <a:pt x="13346" y="766"/>
                  </a:cubicBezTo>
                  <a:lnTo>
                    <a:pt x="1154" y="7719"/>
                  </a:lnTo>
                  <a:cubicBezTo>
                    <a:pt x="-27" y="8158"/>
                    <a:pt x="-637" y="9472"/>
                    <a:pt x="-189" y="10663"/>
                  </a:cubicBezTo>
                  <a:cubicBezTo>
                    <a:pt x="40" y="11282"/>
                    <a:pt x="535" y="11777"/>
                    <a:pt x="1154" y="12006"/>
                  </a:cubicBezTo>
                  <a:close/>
                </a:path>
              </a:pathLst>
            </a:custGeom>
            <a:solidFill>
              <a:srgbClr val="D1D9E8"/>
            </a:solidFill>
            <a:ln w="9525" cap="flat">
              <a:noFill/>
              <a:prstDash val="solid"/>
              <a:miter/>
            </a:ln>
          </p:spPr>
          <p:txBody>
            <a:bodyPr rtlCol="0" anchor="ctr"/>
            <a:lstStyle/>
            <a:p>
              <a:endParaRPr lang="zh-CN" altLang="en-US"/>
            </a:p>
          </p:txBody>
        </p:sp>
        <p:sp>
          <p:nvSpPr>
            <p:cNvPr id="319" name="ïṣ1îḍé">
              <a:extLst>
                <a:ext uri="{FF2B5EF4-FFF2-40B4-BE49-F238E27FC236}">
                  <a16:creationId xmlns:a16="http://schemas.microsoft.com/office/drawing/2014/main" id="{139D64EF-FF60-469A-8320-B93F88E1E8A0}"/>
                </a:ext>
              </a:extLst>
            </p:cNvPr>
            <p:cNvSpPr/>
            <p:nvPr/>
          </p:nvSpPr>
          <p:spPr>
            <a:xfrm>
              <a:off x="5242335" y="4855988"/>
              <a:ext cx="109594" cy="53801"/>
            </a:xfrm>
            <a:custGeom>
              <a:avLst/>
              <a:gdLst>
                <a:gd name="connsiteX0" fmla="*/ -336 w 36004"/>
                <a:gd name="connsiteY0" fmla="*/ -163 h 17675"/>
                <a:gd name="connsiteX1" fmla="*/ -336 w 36004"/>
                <a:gd name="connsiteY1" fmla="*/ 7076 h 17675"/>
                <a:gd name="connsiteX2" fmla="*/ 1188 w 36004"/>
                <a:gd name="connsiteY2" fmla="*/ 9267 h 17675"/>
                <a:gd name="connsiteX3" fmla="*/ 13761 w 36004"/>
                <a:gd name="connsiteY3" fmla="*/ 16506 h 17675"/>
                <a:gd name="connsiteX4" fmla="*/ 21476 w 36004"/>
                <a:gd name="connsiteY4" fmla="*/ 16506 h 17675"/>
                <a:gd name="connsiteX5" fmla="*/ 34049 w 36004"/>
                <a:gd name="connsiteY5" fmla="*/ 9267 h 17675"/>
                <a:gd name="connsiteX6" fmla="*/ 35668 w 36004"/>
                <a:gd name="connsiteY6" fmla="*/ 7076 h 17675"/>
                <a:gd name="connsiteX7" fmla="*/ 35668 w 36004"/>
                <a:gd name="connsiteY7" fmla="*/ -163 h 17675"/>
                <a:gd name="connsiteX8" fmla="*/ 34049 w 36004"/>
                <a:gd name="connsiteY8" fmla="*/ 2123 h 17675"/>
                <a:gd name="connsiteX9" fmla="*/ 31763 w 36004"/>
                <a:gd name="connsiteY9" fmla="*/ 3457 h 17675"/>
                <a:gd name="connsiteX10" fmla="*/ 21476 w 36004"/>
                <a:gd name="connsiteY10" fmla="*/ 9362 h 17675"/>
                <a:gd name="connsiteX11" fmla="*/ 13761 w 36004"/>
                <a:gd name="connsiteY11" fmla="*/ 9362 h 17675"/>
                <a:gd name="connsiteX12" fmla="*/ 3569 w 36004"/>
                <a:gd name="connsiteY12" fmla="*/ 3457 h 17675"/>
                <a:gd name="connsiteX13" fmla="*/ 1188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98" y="8038"/>
                    <a:pt x="292" y="8896"/>
                    <a:pt x="1188" y="9267"/>
                  </a:cubicBezTo>
                  <a:lnTo>
                    <a:pt x="13761" y="16506"/>
                  </a:lnTo>
                  <a:cubicBezTo>
                    <a:pt x="16161" y="17849"/>
                    <a:pt x="19076" y="17849"/>
                    <a:pt x="21476" y="16506"/>
                  </a:cubicBezTo>
                  <a:lnTo>
                    <a:pt x="34049" y="9267"/>
                  </a:lnTo>
                  <a:cubicBezTo>
                    <a:pt x="34963" y="8905"/>
                    <a:pt x="35592" y="8058"/>
                    <a:pt x="35668" y="7076"/>
                  </a:cubicBezTo>
                  <a:lnTo>
                    <a:pt x="35668" y="-163"/>
                  </a:lnTo>
                  <a:cubicBezTo>
                    <a:pt x="35630" y="856"/>
                    <a:pt x="34992" y="1752"/>
                    <a:pt x="34049" y="2123"/>
                  </a:cubicBezTo>
                  <a:lnTo>
                    <a:pt x="31763" y="3457"/>
                  </a:lnTo>
                  <a:lnTo>
                    <a:pt x="21476" y="9362"/>
                  </a:lnTo>
                  <a:cubicBezTo>
                    <a:pt x="19076" y="10705"/>
                    <a:pt x="16161" y="10705"/>
                    <a:pt x="13761" y="9362"/>
                  </a:cubicBezTo>
                  <a:lnTo>
                    <a:pt x="3569" y="3457"/>
                  </a:lnTo>
                  <a:lnTo>
                    <a:pt x="1188" y="2123"/>
                  </a:lnTo>
                  <a:cubicBezTo>
                    <a:pt x="283" y="1723"/>
                    <a:pt x="-308"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320" name="îśḷídé">
              <a:extLst>
                <a:ext uri="{FF2B5EF4-FFF2-40B4-BE49-F238E27FC236}">
                  <a16:creationId xmlns:a16="http://schemas.microsoft.com/office/drawing/2014/main" id="{A05DF123-9A30-4804-A752-AE24C8CC1191}"/>
                </a:ext>
              </a:extLst>
            </p:cNvPr>
            <p:cNvSpPr/>
            <p:nvPr/>
          </p:nvSpPr>
          <p:spPr>
            <a:xfrm>
              <a:off x="5320619" y="4868526"/>
              <a:ext cx="109740" cy="63588"/>
            </a:xfrm>
            <a:custGeom>
              <a:avLst/>
              <a:gdLst>
                <a:gd name="connsiteX0" fmla="*/ -336 w 36052"/>
                <a:gd name="connsiteY0" fmla="*/ 10196 h 20890"/>
                <a:gd name="connsiteX1" fmla="*/ 1187 w 36052"/>
                <a:gd name="connsiteY1" fmla="*/ 12482 h 20890"/>
                <a:gd name="connsiteX2" fmla="*/ 3569 w 36052"/>
                <a:gd name="connsiteY2" fmla="*/ 13815 h 20890"/>
                <a:gd name="connsiteX3" fmla="*/ 13856 w 36052"/>
                <a:gd name="connsiteY3" fmla="*/ 19721 h 20890"/>
                <a:gd name="connsiteX4" fmla="*/ 21476 w 36052"/>
                <a:gd name="connsiteY4" fmla="*/ 19721 h 20890"/>
                <a:gd name="connsiteX5" fmla="*/ 31763 w 36052"/>
                <a:gd name="connsiteY5" fmla="*/ 13815 h 20890"/>
                <a:gd name="connsiteX6" fmla="*/ 34144 w 36052"/>
                <a:gd name="connsiteY6" fmla="*/ 12482 h 20890"/>
                <a:gd name="connsiteX7" fmla="*/ 35573 w 36052"/>
                <a:gd name="connsiteY7" fmla="*/ 9434 h 20890"/>
                <a:gd name="connsiteX8" fmla="*/ 34144 w 36052"/>
                <a:gd name="connsiteY8" fmla="*/ 8005 h 20890"/>
                <a:gd name="connsiteX9" fmla="*/ 21476 w 36052"/>
                <a:gd name="connsiteY9" fmla="*/ 766 h 20890"/>
                <a:gd name="connsiteX10" fmla="*/ 13856 w 36052"/>
                <a:gd name="connsiteY10" fmla="*/ 766 h 20890"/>
                <a:gd name="connsiteX11" fmla="*/ 1187 w 36052"/>
                <a:gd name="connsiteY11" fmla="*/ 8005 h 20890"/>
                <a:gd name="connsiteX12" fmla="*/ -336 w 36052"/>
                <a:gd name="connsiteY12" fmla="*/ 10196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90">
                  <a:moveTo>
                    <a:pt x="-336" y="10196"/>
                  </a:moveTo>
                  <a:cubicBezTo>
                    <a:pt x="-270" y="11177"/>
                    <a:pt x="311" y="12044"/>
                    <a:pt x="1187" y="12482"/>
                  </a:cubicBezTo>
                  <a:lnTo>
                    <a:pt x="3569" y="13815"/>
                  </a:lnTo>
                  <a:lnTo>
                    <a:pt x="13856" y="19721"/>
                  </a:lnTo>
                  <a:cubicBezTo>
                    <a:pt x="16218" y="21064"/>
                    <a:pt x="19114" y="21064"/>
                    <a:pt x="21476" y="19721"/>
                  </a:cubicBezTo>
                  <a:lnTo>
                    <a:pt x="31763" y="13815"/>
                  </a:lnTo>
                  <a:lnTo>
                    <a:pt x="34144" y="12482"/>
                  </a:lnTo>
                  <a:cubicBezTo>
                    <a:pt x="35382" y="12034"/>
                    <a:pt x="36020" y="10663"/>
                    <a:pt x="35573" y="9434"/>
                  </a:cubicBezTo>
                  <a:cubicBezTo>
                    <a:pt x="35325" y="8767"/>
                    <a:pt x="34811" y="8243"/>
                    <a:pt x="34144" y="8005"/>
                  </a:cubicBezTo>
                  <a:lnTo>
                    <a:pt x="21476" y="766"/>
                  </a:lnTo>
                  <a:cubicBezTo>
                    <a:pt x="19085" y="-472"/>
                    <a:pt x="16247" y="-472"/>
                    <a:pt x="13856" y="766"/>
                  </a:cubicBezTo>
                  <a:lnTo>
                    <a:pt x="1187" y="8005"/>
                  </a:lnTo>
                  <a:cubicBezTo>
                    <a:pt x="340" y="8424"/>
                    <a:pt x="-241" y="925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321" name="ïṥḻiḋé">
              <a:extLst>
                <a:ext uri="{FF2B5EF4-FFF2-40B4-BE49-F238E27FC236}">
                  <a16:creationId xmlns:a16="http://schemas.microsoft.com/office/drawing/2014/main" id="{99B3F2C8-B818-4BD2-9EA7-06D3D14F6292}"/>
                </a:ext>
              </a:extLst>
            </p:cNvPr>
            <p:cNvSpPr/>
            <p:nvPr/>
          </p:nvSpPr>
          <p:spPr>
            <a:xfrm>
              <a:off x="5322750" y="4869616"/>
              <a:ext cx="105618" cy="61174"/>
            </a:xfrm>
            <a:custGeom>
              <a:avLst/>
              <a:gdLst>
                <a:gd name="connsiteX0" fmla="*/ 1154 w 34698"/>
                <a:gd name="connsiteY0" fmla="*/ 12029 h 20097"/>
                <a:gd name="connsiteX1" fmla="*/ 13251 w 34698"/>
                <a:gd name="connsiteY1" fmla="*/ 19078 h 20097"/>
                <a:gd name="connsiteX2" fmla="*/ 20680 w 34698"/>
                <a:gd name="connsiteY2" fmla="*/ 19078 h 20097"/>
                <a:gd name="connsiteX3" fmla="*/ 32872 w 34698"/>
                <a:gd name="connsiteY3" fmla="*/ 12029 h 20097"/>
                <a:gd name="connsiteX4" fmla="*/ 34215 w 34698"/>
                <a:gd name="connsiteY4" fmla="*/ 9086 h 20097"/>
                <a:gd name="connsiteX5" fmla="*/ 32872 w 34698"/>
                <a:gd name="connsiteY5" fmla="*/ 7743 h 20097"/>
                <a:gd name="connsiteX6" fmla="*/ 20680 w 34698"/>
                <a:gd name="connsiteY6" fmla="*/ 695 h 20097"/>
                <a:gd name="connsiteX7" fmla="*/ 13251 w 34698"/>
                <a:gd name="connsiteY7" fmla="*/ 695 h 20097"/>
                <a:gd name="connsiteX8" fmla="*/ 1154 w 34698"/>
                <a:gd name="connsiteY8" fmla="*/ 7743 h 20097"/>
                <a:gd name="connsiteX9" fmla="*/ -189 w 34698"/>
                <a:gd name="connsiteY9" fmla="*/ 10677 h 20097"/>
                <a:gd name="connsiteX10" fmla="*/ 1154 w 34698"/>
                <a:gd name="connsiteY10" fmla="*/ 12029 h 20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698" h="20097">
                  <a:moveTo>
                    <a:pt x="1154" y="12029"/>
                  </a:moveTo>
                  <a:lnTo>
                    <a:pt x="13251" y="19078"/>
                  </a:lnTo>
                  <a:cubicBezTo>
                    <a:pt x="15594" y="20221"/>
                    <a:pt x="18337" y="20221"/>
                    <a:pt x="20680" y="19078"/>
                  </a:cubicBezTo>
                  <a:lnTo>
                    <a:pt x="32872" y="12029"/>
                  </a:lnTo>
                  <a:cubicBezTo>
                    <a:pt x="34053" y="11591"/>
                    <a:pt x="34663" y="10277"/>
                    <a:pt x="34215" y="9086"/>
                  </a:cubicBezTo>
                  <a:cubicBezTo>
                    <a:pt x="33987" y="8467"/>
                    <a:pt x="33501" y="7972"/>
                    <a:pt x="32872" y="7743"/>
                  </a:cubicBezTo>
                  <a:lnTo>
                    <a:pt x="20680" y="695"/>
                  </a:lnTo>
                  <a:cubicBezTo>
                    <a:pt x="18337" y="-448"/>
                    <a:pt x="15594" y="-448"/>
                    <a:pt x="13251" y="695"/>
                  </a:cubicBezTo>
                  <a:lnTo>
                    <a:pt x="1154" y="7743"/>
                  </a:lnTo>
                  <a:cubicBezTo>
                    <a:pt x="-27" y="8181"/>
                    <a:pt x="-637" y="9496"/>
                    <a:pt x="-189" y="10677"/>
                  </a:cubicBezTo>
                  <a:cubicBezTo>
                    <a:pt x="39" y="11306"/>
                    <a:pt x="535" y="11801"/>
                    <a:pt x="1154" y="12029"/>
                  </a:cubicBezTo>
                  <a:close/>
                </a:path>
              </a:pathLst>
            </a:custGeom>
            <a:solidFill>
              <a:srgbClr val="D1D9E8"/>
            </a:solidFill>
            <a:ln w="9525" cap="flat">
              <a:noFill/>
              <a:prstDash val="solid"/>
              <a:miter/>
            </a:ln>
          </p:spPr>
          <p:txBody>
            <a:bodyPr rtlCol="0" anchor="ctr"/>
            <a:lstStyle/>
            <a:p>
              <a:endParaRPr lang="zh-CN" altLang="en-US"/>
            </a:p>
          </p:txBody>
        </p:sp>
        <p:sp>
          <p:nvSpPr>
            <p:cNvPr id="322" name="ísḷïdé">
              <a:extLst>
                <a:ext uri="{FF2B5EF4-FFF2-40B4-BE49-F238E27FC236}">
                  <a16:creationId xmlns:a16="http://schemas.microsoft.com/office/drawing/2014/main" id="{C65CB141-B2F1-437A-9FE6-9B8B0C022B92}"/>
                </a:ext>
              </a:extLst>
            </p:cNvPr>
            <p:cNvSpPr/>
            <p:nvPr/>
          </p:nvSpPr>
          <p:spPr>
            <a:xfrm>
              <a:off x="5320619" y="4900058"/>
              <a:ext cx="109594" cy="53804"/>
            </a:xfrm>
            <a:custGeom>
              <a:avLst/>
              <a:gdLst>
                <a:gd name="connsiteX0" fmla="*/ -336 w 36004"/>
                <a:gd name="connsiteY0" fmla="*/ -163 h 17676"/>
                <a:gd name="connsiteX1" fmla="*/ -336 w 36004"/>
                <a:gd name="connsiteY1" fmla="*/ 7076 h 17676"/>
                <a:gd name="connsiteX2" fmla="*/ 1187 w 36004"/>
                <a:gd name="connsiteY2" fmla="*/ 9267 h 17676"/>
                <a:gd name="connsiteX3" fmla="*/ 13856 w 36004"/>
                <a:gd name="connsiteY3" fmla="*/ 16506 h 17676"/>
                <a:gd name="connsiteX4" fmla="*/ 21476 w 36004"/>
                <a:gd name="connsiteY4" fmla="*/ 16506 h 17676"/>
                <a:gd name="connsiteX5" fmla="*/ 34144 w 36004"/>
                <a:gd name="connsiteY5" fmla="*/ 9267 h 17676"/>
                <a:gd name="connsiteX6" fmla="*/ 35668 w 36004"/>
                <a:gd name="connsiteY6" fmla="*/ 7076 h 17676"/>
                <a:gd name="connsiteX7" fmla="*/ 35668 w 36004"/>
                <a:gd name="connsiteY7" fmla="*/ -163 h 17676"/>
                <a:gd name="connsiteX8" fmla="*/ 34144 w 36004"/>
                <a:gd name="connsiteY8" fmla="*/ 2124 h 17676"/>
                <a:gd name="connsiteX9" fmla="*/ 31763 w 36004"/>
                <a:gd name="connsiteY9" fmla="*/ 3457 h 17676"/>
                <a:gd name="connsiteX10" fmla="*/ 21476 w 36004"/>
                <a:gd name="connsiteY10" fmla="*/ 9362 h 17676"/>
                <a:gd name="connsiteX11" fmla="*/ 13856 w 36004"/>
                <a:gd name="connsiteY11" fmla="*/ 9362 h 17676"/>
                <a:gd name="connsiteX12" fmla="*/ 3569 w 36004"/>
                <a:gd name="connsiteY12" fmla="*/ 3457 h 17676"/>
                <a:gd name="connsiteX13" fmla="*/ 1187 w 36004"/>
                <a:gd name="connsiteY13" fmla="*/ 2124 h 17676"/>
                <a:gd name="connsiteX14" fmla="*/ -336 w 36004"/>
                <a:gd name="connsiteY14" fmla="*/ -163 h 17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6">
                  <a:moveTo>
                    <a:pt x="-336" y="-163"/>
                  </a:moveTo>
                  <a:lnTo>
                    <a:pt x="-336" y="7076"/>
                  </a:lnTo>
                  <a:cubicBezTo>
                    <a:pt x="-279" y="8029"/>
                    <a:pt x="311" y="8877"/>
                    <a:pt x="1187" y="9267"/>
                  </a:cubicBezTo>
                  <a:lnTo>
                    <a:pt x="13856" y="16506"/>
                  </a:lnTo>
                  <a:cubicBezTo>
                    <a:pt x="16218" y="17849"/>
                    <a:pt x="19114" y="17849"/>
                    <a:pt x="21476" y="16506"/>
                  </a:cubicBezTo>
                  <a:lnTo>
                    <a:pt x="34144" y="9267"/>
                  </a:lnTo>
                  <a:cubicBezTo>
                    <a:pt x="35020" y="8877"/>
                    <a:pt x="35611" y="8039"/>
                    <a:pt x="35668" y="7076"/>
                  </a:cubicBezTo>
                  <a:lnTo>
                    <a:pt x="35668" y="-163"/>
                  </a:lnTo>
                  <a:cubicBezTo>
                    <a:pt x="35601" y="818"/>
                    <a:pt x="35020" y="1685"/>
                    <a:pt x="34144" y="2124"/>
                  </a:cubicBezTo>
                  <a:lnTo>
                    <a:pt x="31763" y="3457"/>
                  </a:lnTo>
                  <a:lnTo>
                    <a:pt x="21476" y="9362"/>
                  </a:lnTo>
                  <a:cubicBezTo>
                    <a:pt x="19114" y="10706"/>
                    <a:pt x="16218" y="10706"/>
                    <a:pt x="13856" y="9362"/>
                  </a:cubicBezTo>
                  <a:lnTo>
                    <a:pt x="3569" y="3457"/>
                  </a:lnTo>
                  <a:lnTo>
                    <a:pt x="1187" y="2124"/>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323" name="išlïdè">
              <a:extLst>
                <a:ext uri="{FF2B5EF4-FFF2-40B4-BE49-F238E27FC236}">
                  <a16:creationId xmlns:a16="http://schemas.microsoft.com/office/drawing/2014/main" id="{A931ACE7-6C42-4393-87AE-F4F1E196AE74}"/>
                </a:ext>
              </a:extLst>
            </p:cNvPr>
            <p:cNvSpPr/>
            <p:nvPr/>
          </p:nvSpPr>
          <p:spPr>
            <a:xfrm>
              <a:off x="5398029" y="4913083"/>
              <a:ext cx="109740" cy="63445"/>
            </a:xfrm>
            <a:custGeom>
              <a:avLst/>
              <a:gdLst>
                <a:gd name="connsiteX0" fmla="*/ -336 w 36052"/>
                <a:gd name="connsiteY0" fmla="*/ 10227 h 20843"/>
                <a:gd name="connsiteX1" fmla="*/ 1188 w 36052"/>
                <a:gd name="connsiteY1" fmla="*/ 12513 h 20843"/>
                <a:gd name="connsiteX2" fmla="*/ 3569 w 36052"/>
                <a:gd name="connsiteY2" fmla="*/ 13846 h 20843"/>
                <a:gd name="connsiteX3" fmla="*/ 13856 w 36052"/>
                <a:gd name="connsiteY3" fmla="*/ 19752 h 20843"/>
                <a:gd name="connsiteX4" fmla="*/ 21476 w 36052"/>
                <a:gd name="connsiteY4" fmla="*/ 19752 h 20843"/>
                <a:gd name="connsiteX5" fmla="*/ 31763 w 36052"/>
                <a:gd name="connsiteY5" fmla="*/ 13846 h 20843"/>
                <a:gd name="connsiteX6" fmla="*/ 34144 w 36052"/>
                <a:gd name="connsiteY6" fmla="*/ 12513 h 20843"/>
                <a:gd name="connsiteX7" fmla="*/ 35573 w 36052"/>
                <a:gd name="connsiteY7" fmla="*/ 9465 h 20843"/>
                <a:gd name="connsiteX8" fmla="*/ 34144 w 36052"/>
                <a:gd name="connsiteY8" fmla="*/ 8036 h 20843"/>
                <a:gd name="connsiteX9" fmla="*/ 21476 w 36052"/>
                <a:gd name="connsiteY9" fmla="*/ 702 h 20843"/>
                <a:gd name="connsiteX10" fmla="*/ 13856 w 36052"/>
                <a:gd name="connsiteY10" fmla="*/ 702 h 20843"/>
                <a:gd name="connsiteX11" fmla="*/ 1188 w 36052"/>
                <a:gd name="connsiteY11" fmla="*/ 8036 h 20843"/>
                <a:gd name="connsiteX12" fmla="*/ -336 w 36052"/>
                <a:gd name="connsiteY12" fmla="*/ 10227 h 20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3">
                  <a:moveTo>
                    <a:pt x="-336" y="10227"/>
                  </a:moveTo>
                  <a:cubicBezTo>
                    <a:pt x="-269" y="11208"/>
                    <a:pt x="311" y="12075"/>
                    <a:pt x="1188" y="12513"/>
                  </a:cubicBezTo>
                  <a:lnTo>
                    <a:pt x="3569" y="13846"/>
                  </a:lnTo>
                  <a:lnTo>
                    <a:pt x="13856" y="19752"/>
                  </a:lnTo>
                  <a:cubicBezTo>
                    <a:pt x="16247" y="20990"/>
                    <a:pt x="19085" y="20990"/>
                    <a:pt x="21476" y="19752"/>
                  </a:cubicBezTo>
                  <a:lnTo>
                    <a:pt x="31763" y="13846"/>
                  </a:lnTo>
                  <a:lnTo>
                    <a:pt x="34144" y="12513"/>
                  </a:lnTo>
                  <a:cubicBezTo>
                    <a:pt x="35382" y="12065"/>
                    <a:pt x="36021" y="10694"/>
                    <a:pt x="35573" y="9465"/>
                  </a:cubicBezTo>
                  <a:cubicBezTo>
                    <a:pt x="35325" y="8798"/>
                    <a:pt x="34811" y="8274"/>
                    <a:pt x="34144"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324" name="í$ľíḑê">
              <a:extLst>
                <a:ext uri="{FF2B5EF4-FFF2-40B4-BE49-F238E27FC236}">
                  <a16:creationId xmlns:a16="http://schemas.microsoft.com/office/drawing/2014/main" id="{C803B720-B977-4D35-9B3D-D1887FFCCF46}"/>
                </a:ext>
              </a:extLst>
            </p:cNvPr>
            <p:cNvSpPr/>
            <p:nvPr/>
          </p:nvSpPr>
          <p:spPr>
            <a:xfrm>
              <a:off x="5399843" y="4914264"/>
              <a:ext cx="105898" cy="61101"/>
            </a:xfrm>
            <a:custGeom>
              <a:avLst/>
              <a:gdLst>
                <a:gd name="connsiteX0" fmla="*/ 1164 w 34790"/>
                <a:gd name="connsiteY0" fmla="*/ 12029 h 20073"/>
                <a:gd name="connsiteX1" fmla="*/ 13356 w 34790"/>
                <a:gd name="connsiteY1" fmla="*/ 18982 h 20073"/>
                <a:gd name="connsiteX2" fmla="*/ 20785 w 34790"/>
                <a:gd name="connsiteY2" fmla="*/ 18982 h 20073"/>
                <a:gd name="connsiteX3" fmla="*/ 32882 w 34790"/>
                <a:gd name="connsiteY3" fmla="*/ 12029 h 20073"/>
                <a:gd name="connsiteX4" fmla="*/ 32882 w 34790"/>
                <a:gd name="connsiteY4" fmla="*/ 7743 h 20073"/>
                <a:gd name="connsiteX5" fmla="*/ 20785 w 34790"/>
                <a:gd name="connsiteY5" fmla="*/ 695 h 20073"/>
                <a:gd name="connsiteX6" fmla="*/ 13356 w 34790"/>
                <a:gd name="connsiteY6" fmla="*/ 695 h 20073"/>
                <a:gd name="connsiteX7" fmla="*/ 1164 w 34790"/>
                <a:gd name="connsiteY7" fmla="*/ 7743 h 20073"/>
                <a:gd name="connsiteX8" fmla="*/ 1164 w 34790"/>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3">
                  <a:moveTo>
                    <a:pt x="1164" y="12029"/>
                  </a:moveTo>
                  <a:lnTo>
                    <a:pt x="13356" y="18982"/>
                  </a:lnTo>
                  <a:cubicBezTo>
                    <a:pt x="15680" y="20221"/>
                    <a:pt x="18461" y="20221"/>
                    <a:pt x="20785" y="18982"/>
                  </a:cubicBezTo>
                  <a:lnTo>
                    <a:pt x="32882" y="12029"/>
                  </a:lnTo>
                  <a:cubicBezTo>
                    <a:pt x="34978" y="10791"/>
                    <a:pt x="34978" y="8886"/>
                    <a:pt x="32882" y="7743"/>
                  </a:cubicBezTo>
                  <a:lnTo>
                    <a:pt x="20785" y="695"/>
                  </a:lnTo>
                  <a:cubicBezTo>
                    <a:pt x="18442" y="-448"/>
                    <a:pt x="15699" y="-448"/>
                    <a:pt x="13356" y="695"/>
                  </a:cubicBezTo>
                  <a:lnTo>
                    <a:pt x="1164" y="7743"/>
                  </a:lnTo>
                  <a:cubicBezTo>
                    <a:pt x="-836" y="9267"/>
                    <a:pt x="-836" y="10791"/>
                    <a:pt x="1164" y="12029"/>
                  </a:cubicBezTo>
                  <a:close/>
                </a:path>
              </a:pathLst>
            </a:custGeom>
            <a:solidFill>
              <a:srgbClr val="D1D9E8"/>
            </a:solidFill>
            <a:ln w="9525" cap="flat">
              <a:noFill/>
              <a:prstDash val="solid"/>
              <a:miter/>
            </a:ln>
          </p:spPr>
          <p:txBody>
            <a:bodyPr rtlCol="0" anchor="ctr"/>
            <a:lstStyle/>
            <a:p>
              <a:endParaRPr lang="zh-CN" altLang="en-US"/>
            </a:p>
          </p:txBody>
        </p:sp>
        <p:sp>
          <p:nvSpPr>
            <p:cNvPr id="325" name="îšľîdê">
              <a:extLst>
                <a:ext uri="{FF2B5EF4-FFF2-40B4-BE49-F238E27FC236}">
                  <a16:creationId xmlns:a16="http://schemas.microsoft.com/office/drawing/2014/main" id="{12E9AC46-B71F-4F2A-B095-E32B96D0B9A8}"/>
                </a:ext>
              </a:extLst>
            </p:cNvPr>
            <p:cNvSpPr/>
            <p:nvPr/>
          </p:nvSpPr>
          <p:spPr>
            <a:xfrm>
              <a:off x="5398029" y="4944707"/>
              <a:ext cx="109594" cy="53801"/>
            </a:xfrm>
            <a:custGeom>
              <a:avLst/>
              <a:gdLst>
                <a:gd name="connsiteX0" fmla="*/ -336 w 36004"/>
                <a:gd name="connsiteY0" fmla="*/ -163 h 17675"/>
                <a:gd name="connsiteX1" fmla="*/ -336 w 36004"/>
                <a:gd name="connsiteY1" fmla="*/ 7076 h 17675"/>
                <a:gd name="connsiteX2" fmla="*/ 1188 w 36004"/>
                <a:gd name="connsiteY2" fmla="*/ 9267 h 17675"/>
                <a:gd name="connsiteX3" fmla="*/ 13856 w 36004"/>
                <a:gd name="connsiteY3" fmla="*/ 16506 h 17675"/>
                <a:gd name="connsiteX4" fmla="*/ 21476 w 36004"/>
                <a:gd name="connsiteY4" fmla="*/ 16506 h 17675"/>
                <a:gd name="connsiteX5" fmla="*/ 34144 w 36004"/>
                <a:gd name="connsiteY5" fmla="*/ 9267 h 17675"/>
                <a:gd name="connsiteX6" fmla="*/ 35668 w 36004"/>
                <a:gd name="connsiteY6" fmla="*/ 6981 h 17675"/>
                <a:gd name="connsiteX7" fmla="*/ 35668 w 36004"/>
                <a:gd name="connsiteY7" fmla="*/ -163 h 17675"/>
                <a:gd name="connsiteX8" fmla="*/ 34144 w 36004"/>
                <a:gd name="connsiteY8" fmla="*/ 2123 h 17675"/>
                <a:gd name="connsiteX9" fmla="*/ 31763 w 36004"/>
                <a:gd name="connsiteY9" fmla="*/ 3457 h 17675"/>
                <a:gd name="connsiteX10" fmla="*/ 21476 w 36004"/>
                <a:gd name="connsiteY10" fmla="*/ 9362 h 17675"/>
                <a:gd name="connsiteX11" fmla="*/ 13856 w 36004"/>
                <a:gd name="connsiteY11" fmla="*/ 9362 h 17675"/>
                <a:gd name="connsiteX12" fmla="*/ 3569 w 36004"/>
                <a:gd name="connsiteY12" fmla="*/ 3457 h 17675"/>
                <a:gd name="connsiteX13" fmla="*/ 1188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79" y="8038"/>
                    <a:pt x="311" y="8877"/>
                    <a:pt x="1188" y="9267"/>
                  </a:cubicBezTo>
                  <a:lnTo>
                    <a:pt x="13856" y="16506"/>
                  </a:lnTo>
                  <a:cubicBezTo>
                    <a:pt x="16218" y="17849"/>
                    <a:pt x="19114" y="17849"/>
                    <a:pt x="21476" y="16506"/>
                  </a:cubicBezTo>
                  <a:lnTo>
                    <a:pt x="34144" y="9267"/>
                  </a:lnTo>
                  <a:cubicBezTo>
                    <a:pt x="35049" y="8867"/>
                    <a:pt x="35640" y="7972"/>
                    <a:pt x="35668" y="6981"/>
                  </a:cubicBezTo>
                  <a:lnTo>
                    <a:pt x="35668" y="-163"/>
                  </a:lnTo>
                  <a:cubicBezTo>
                    <a:pt x="35602" y="818"/>
                    <a:pt x="35021" y="1685"/>
                    <a:pt x="34144" y="2123"/>
                  </a:cubicBezTo>
                  <a:lnTo>
                    <a:pt x="31763" y="3457"/>
                  </a:lnTo>
                  <a:lnTo>
                    <a:pt x="21476" y="9362"/>
                  </a:lnTo>
                  <a:cubicBezTo>
                    <a:pt x="19085" y="10601"/>
                    <a:pt x="16247" y="10601"/>
                    <a:pt x="13856" y="9362"/>
                  </a:cubicBezTo>
                  <a:lnTo>
                    <a:pt x="3569" y="3457"/>
                  </a:lnTo>
                  <a:lnTo>
                    <a:pt x="1188" y="2123"/>
                  </a:lnTo>
                  <a:cubicBezTo>
                    <a:pt x="311"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326" name="îṧ1îdè">
              <a:extLst>
                <a:ext uri="{FF2B5EF4-FFF2-40B4-BE49-F238E27FC236}">
                  <a16:creationId xmlns:a16="http://schemas.microsoft.com/office/drawing/2014/main" id="{8CD7580E-887B-4844-97A5-A9064D79A904}"/>
                </a:ext>
              </a:extLst>
            </p:cNvPr>
            <p:cNvSpPr/>
            <p:nvPr/>
          </p:nvSpPr>
          <p:spPr>
            <a:xfrm>
              <a:off x="5474282" y="4957884"/>
              <a:ext cx="109740" cy="63292"/>
            </a:xfrm>
            <a:custGeom>
              <a:avLst/>
              <a:gdLst>
                <a:gd name="connsiteX0" fmla="*/ -336 w 36052"/>
                <a:gd name="connsiteY0" fmla="*/ 10177 h 20793"/>
                <a:gd name="connsiteX1" fmla="*/ 1283 w 36052"/>
                <a:gd name="connsiteY1" fmla="*/ 12463 h 20793"/>
                <a:gd name="connsiteX2" fmla="*/ 3569 w 36052"/>
                <a:gd name="connsiteY2" fmla="*/ 13796 h 20793"/>
                <a:gd name="connsiteX3" fmla="*/ 13856 w 36052"/>
                <a:gd name="connsiteY3" fmla="*/ 19702 h 20793"/>
                <a:gd name="connsiteX4" fmla="*/ 21571 w 36052"/>
                <a:gd name="connsiteY4" fmla="*/ 19702 h 20793"/>
                <a:gd name="connsiteX5" fmla="*/ 31858 w 36052"/>
                <a:gd name="connsiteY5" fmla="*/ 13796 h 20793"/>
                <a:gd name="connsiteX6" fmla="*/ 34144 w 36052"/>
                <a:gd name="connsiteY6" fmla="*/ 12463 h 20793"/>
                <a:gd name="connsiteX7" fmla="*/ 35573 w 36052"/>
                <a:gd name="connsiteY7" fmla="*/ 9415 h 20793"/>
                <a:gd name="connsiteX8" fmla="*/ 34144 w 36052"/>
                <a:gd name="connsiteY8" fmla="*/ 7986 h 20793"/>
                <a:gd name="connsiteX9" fmla="*/ 21571 w 36052"/>
                <a:gd name="connsiteY9" fmla="*/ 652 h 20793"/>
                <a:gd name="connsiteX10" fmla="*/ 13856 w 36052"/>
                <a:gd name="connsiteY10" fmla="*/ 652 h 20793"/>
                <a:gd name="connsiteX11" fmla="*/ 1283 w 36052"/>
                <a:gd name="connsiteY11" fmla="*/ 7986 h 20793"/>
                <a:gd name="connsiteX12" fmla="*/ -336 w 36052"/>
                <a:gd name="connsiteY12" fmla="*/ 10177 h 20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793">
                  <a:moveTo>
                    <a:pt x="-336" y="10177"/>
                  </a:moveTo>
                  <a:cubicBezTo>
                    <a:pt x="-270" y="11186"/>
                    <a:pt x="359" y="12072"/>
                    <a:pt x="1283" y="12463"/>
                  </a:cubicBezTo>
                  <a:lnTo>
                    <a:pt x="3569" y="13796"/>
                  </a:lnTo>
                  <a:lnTo>
                    <a:pt x="13856" y="19702"/>
                  </a:lnTo>
                  <a:cubicBezTo>
                    <a:pt x="16275" y="20940"/>
                    <a:pt x="19152" y="20940"/>
                    <a:pt x="21571" y="19702"/>
                  </a:cubicBezTo>
                  <a:lnTo>
                    <a:pt x="31858" y="13796"/>
                  </a:lnTo>
                  <a:lnTo>
                    <a:pt x="34144" y="12463"/>
                  </a:lnTo>
                  <a:cubicBezTo>
                    <a:pt x="35382" y="12015"/>
                    <a:pt x="36020" y="10643"/>
                    <a:pt x="35573" y="9415"/>
                  </a:cubicBezTo>
                  <a:cubicBezTo>
                    <a:pt x="35325" y="8748"/>
                    <a:pt x="34811" y="8224"/>
                    <a:pt x="34144" y="7986"/>
                  </a:cubicBezTo>
                  <a:lnTo>
                    <a:pt x="21571" y="652"/>
                  </a:lnTo>
                  <a:cubicBezTo>
                    <a:pt x="19114" y="-434"/>
                    <a:pt x="16313" y="-434"/>
                    <a:pt x="13856" y="652"/>
                  </a:cubicBezTo>
                  <a:lnTo>
                    <a:pt x="1283" y="7986"/>
                  </a:lnTo>
                  <a:cubicBezTo>
                    <a:pt x="387" y="8367"/>
                    <a:pt x="-241" y="9205"/>
                    <a:pt x="-336" y="10177"/>
                  </a:cubicBezTo>
                  <a:close/>
                </a:path>
              </a:pathLst>
            </a:custGeom>
            <a:solidFill>
              <a:srgbClr val="FFFFFF"/>
            </a:solidFill>
            <a:ln w="9525" cap="flat">
              <a:noFill/>
              <a:prstDash val="solid"/>
              <a:miter/>
            </a:ln>
          </p:spPr>
          <p:txBody>
            <a:bodyPr rtlCol="0" anchor="ctr"/>
            <a:lstStyle/>
            <a:p>
              <a:endParaRPr lang="zh-CN" altLang="en-US"/>
            </a:p>
          </p:txBody>
        </p:sp>
        <p:sp>
          <p:nvSpPr>
            <p:cNvPr id="327" name="iṩľïḑe">
              <a:extLst>
                <a:ext uri="{FF2B5EF4-FFF2-40B4-BE49-F238E27FC236}">
                  <a16:creationId xmlns:a16="http://schemas.microsoft.com/office/drawing/2014/main" id="{91B771D8-DAF0-4426-913B-A65F6134E12F}"/>
                </a:ext>
              </a:extLst>
            </p:cNvPr>
            <p:cNvSpPr/>
            <p:nvPr/>
          </p:nvSpPr>
          <p:spPr>
            <a:xfrm>
              <a:off x="5476167" y="4958913"/>
              <a:ext cx="106766" cy="61101"/>
            </a:xfrm>
            <a:custGeom>
              <a:avLst/>
              <a:gdLst>
                <a:gd name="connsiteX0" fmla="*/ 1521 w 35075"/>
                <a:gd name="connsiteY0" fmla="*/ 12029 h 20073"/>
                <a:gd name="connsiteX1" fmla="*/ 13618 w 35075"/>
                <a:gd name="connsiteY1" fmla="*/ 18983 h 20073"/>
                <a:gd name="connsiteX2" fmla="*/ 21047 w 35075"/>
                <a:gd name="connsiteY2" fmla="*/ 18983 h 20073"/>
                <a:gd name="connsiteX3" fmla="*/ 33239 w 35075"/>
                <a:gd name="connsiteY3" fmla="*/ 12029 h 20073"/>
                <a:gd name="connsiteX4" fmla="*/ 33239 w 35075"/>
                <a:gd name="connsiteY4" fmla="*/ 7743 h 20073"/>
                <a:gd name="connsiteX5" fmla="*/ 21047 w 35075"/>
                <a:gd name="connsiteY5" fmla="*/ 695 h 20073"/>
                <a:gd name="connsiteX6" fmla="*/ 13618 w 35075"/>
                <a:gd name="connsiteY6" fmla="*/ 695 h 20073"/>
                <a:gd name="connsiteX7" fmla="*/ 1521 w 35075"/>
                <a:gd name="connsiteY7" fmla="*/ 7743 h 20073"/>
                <a:gd name="connsiteX8" fmla="*/ 1521 w 35075"/>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075" h="20073">
                  <a:moveTo>
                    <a:pt x="1521" y="12029"/>
                  </a:moveTo>
                  <a:lnTo>
                    <a:pt x="13618" y="18983"/>
                  </a:lnTo>
                  <a:cubicBezTo>
                    <a:pt x="15942" y="20221"/>
                    <a:pt x="18723" y="20221"/>
                    <a:pt x="21047" y="18983"/>
                  </a:cubicBezTo>
                  <a:lnTo>
                    <a:pt x="33239" y="12029"/>
                  </a:lnTo>
                  <a:cubicBezTo>
                    <a:pt x="35239" y="10791"/>
                    <a:pt x="35239" y="8886"/>
                    <a:pt x="33239" y="7743"/>
                  </a:cubicBezTo>
                  <a:lnTo>
                    <a:pt x="21047" y="695"/>
                  </a:lnTo>
                  <a:cubicBezTo>
                    <a:pt x="18704" y="-448"/>
                    <a:pt x="15961" y="-448"/>
                    <a:pt x="13618" y="695"/>
                  </a:cubicBezTo>
                  <a:lnTo>
                    <a:pt x="1521" y="7743"/>
                  </a:lnTo>
                  <a:cubicBezTo>
                    <a:pt x="-955" y="8886"/>
                    <a:pt x="-955" y="10791"/>
                    <a:pt x="1521" y="12029"/>
                  </a:cubicBezTo>
                  <a:close/>
                </a:path>
              </a:pathLst>
            </a:custGeom>
            <a:solidFill>
              <a:srgbClr val="D1D9E8"/>
            </a:solidFill>
            <a:ln w="9525" cap="flat">
              <a:noFill/>
              <a:prstDash val="solid"/>
              <a:miter/>
            </a:ln>
          </p:spPr>
          <p:txBody>
            <a:bodyPr rtlCol="0" anchor="ctr"/>
            <a:lstStyle/>
            <a:p>
              <a:endParaRPr lang="zh-CN" altLang="en-US"/>
            </a:p>
          </p:txBody>
        </p:sp>
        <p:sp>
          <p:nvSpPr>
            <p:cNvPr id="328" name="ïšľíḍé">
              <a:extLst>
                <a:ext uri="{FF2B5EF4-FFF2-40B4-BE49-F238E27FC236}">
                  <a16:creationId xmlns:a16="http://schemas.microsoft.com/office/drawing/2014/main" id="{FEB04F25-56C5-4BE0-84FA-EF0DD05321FA}"/>
                </a:ext>
              </a:extLst>
            </p:cNvPr>
            <p:cNvSpPr/>
            <p:nvPr/>
          </p:nvSpPr>
          <p:spPr>
            <a:xfrm>
              <a:off x="5474282" y="4989358"/>
              <a:ext cx="109883" cy="53801"/>
            </a:xfrm>
            <a:custGeom>
              <a:avLst/>
              <a:gdLst>
                <a:gd name="connsiteX0" fmla="*/ -336 w 36099"/>
                <a:gd name="connsiteY0" fmla="*/ -163 h 17675"/>
                <a:gd name="connsiteX1" fmla="*/ -336 w 36099"/>
                <a:gd name="connsiteY1" fmla="*/ 7076 h 17675"/>
                <a:gd name="connsiteX2" fmla="*/ 1283 w 36099"/>
                <a:gd name="connsiteY2" fmla="*/ 9267 h 17675"/>
                <a:gd name="connsiteX3" fmla="*/ 13856 w 36099"/>
                <a:gd name="connsiteY3" fmla="*/ 16506 h 17675"/>
                <a:gd name="connsiteX4" fmla="*/ 21571 w 36099"/>
                <a:gd name="connsiteY4" fmla="*/ 16506 h 17675"/>
                <a:gd name="connsiteX5" fmla="*/ 34144 w 36099"/>
                <a:gd name="connsiteY5" fmla="*/ 9267 h 17675"/>
                <a:gd name="connsiteX6" fmla="*/ 35764 w 36099"/>
                <a:gd name="connsiteY6" fmla="*/ 6981 h 17675"/>
                <a:gd name="connsiteX7" fmla="*/ 35764 w 36099"/>
                <a:gd name="connsiteY7" fmla="*/ -163 h 17675"/>
                <a:gd name="connsiteX8" fmla="*/ 34144 w 36099"/>
                <a:gd name="connsiteY8" fmla="*/ 2123 h 17675"/>
                <a:gd name="connsiteX9" fmla="*/ 31858 w 36099"/>
                <a:gd name="connsiteY9" fmla="*/ 3457 h 17675"/>
                <a:gd name="connsiteX10" fmla="*/ 21571 w 36099"/>
                <a:gd name="connsiteY10" fmla="*/ 9362 h 17675"/>
                <a:gd name="connsiteX11" fmla="*/ 13856 w 36099"/>
                <a:gd name="connsiteY11" fmla="*/ 9362 h 17675"/>
                <a:gd name="connsiteX12" fmla="*/ 3569 w 36099"/>
                <a:gd name="connsiteY12" fmla="*/ 3457 h 17675"/>
                <a:gd name="connsiteX13" fmla="*/ 1283 w 36099"/>
                <a:gd name="connsiteY13" fmla="*/ 2123 h 17675"/>
                <a:gd name="connsiteX14" fmla="*/ -336 w 36099"/>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675">
                  <a:moveTo>
                    <a:pt x="-336" y="-163"/>
                  </a:moveTo>
                  <a:lnTo>
                    <a:pt x="-336" y="7076"/>
                  </a:lnTo>
                  <a:cubicBezTo>
                    <a:pt x="-241" y="8048"/>
                    <a:pt x="387" y="8886"/>
                    <a:pt x="1283" y="9267"/>
                  </a:cubicBezTo>
                  <a:lnTo>
                    <a:pt x="13856" y="16506"/>
                  </a:lnTo>
                  <a:cubicBezTo>
                    <a:pt x="16256" y="17849"/>
                    <a:pt x="19171" y="17849"/>
                    <a:pt x="21571" y="16506"/>
                  </a:cubicBezTo>
                  <a:lnTo>
                    <a:pt x="34144" y="9267"/>
                  </a:lnTo>
                  <a:cubicBezTo>
                    <a:pt x="35049" y="8839"/>
                    <a:pt x="35659" y="7972"/>
                    <a:pt x="35764" y="6981"/>
                  </a:cubicBezTo>
                  <a:lnTo>
                    <a:pt x="35764" y="-163"/>
                  </a:lnTo>
                  <a:cubicBezTo>
                    <a:pt x="35659" y="828"/>
                    <a:pt x="35049" y="1695"/>
                    <a:pt x="34144" y="2123"/>
                  </a:cubicBezTo>
                  <a:lnTo>
                    <a:pt x="31858" y="3457"/>
                  </a:lnTo>
                  <a:lnTo>
                    <a:pt x="21571" y="9362"/>
                  </a:lnTo>
                  <a:cubicBezTo>
                    <a:pt x="19152" y="10601"/>
                    <a:pt x="16275" y="10601"/>
                    <a:pt x="13856" y="9362"/>
                  </a:cubicBezTo>
                  <a:lnTo>
                    <a:pt x="3569" y="3457"/>
                  </a:lnTo>
                  <a:lnTo>
                    <a:pt x="1283" y="2123"/>
                  </a:lnTo>
                  <a:cubicBezTo>
                    <a:pt x="359" y="1733"/>
                    <a:pt x="-270" y="847"/>
                    <a:pt x="-336" y="-163"/>
                  </a:cubicBezTo>
                  <a:close/>
                </a:path>
              </a:pathLst>
            </a:custGeom>
            <a:solidFill>
              <a:srgbClr val="BF4200"/>
            </a:solidFill>
            <a:ln w="9525" cap="flat">
              <a:noFill/>
              <a:prstDash val="solid"/>
              <a:miter/>
            </a:ln>
          </p:spPr>
          <p:txBody>
            <a:bodyPr rtlCol="0" anchor="ctr"/>
            <a:lstStyle/>
            <a:p>
              <a:endParaRPr lang="zh-CN" altLang="en-US"/>
            </a:p>
          </p:txBody>
        </p:sp>
        <p:sp>
          <p:nvSpPr>
            <p:cNvPr id="329" name="íṣ1íḓê">
              <a:extLst>
                <a:ext uri="{FF2B5EF4-FFF2-40B4-BE49-F238E27FC236}">
                  <a16:creationId xmlns:a16="http://schemas.microsoft.com/office/drawing/2014/main" id="{1EC6D7A8-88FE-4A44-92F6-F068356D1850}"/>
                </a:ext>
              </a:extLst>
            </p:cNvPr>
            <p:cNvSpPr/>
            <p:nvPr/>
          </p:nvSpPr>
          <p:spPr>
            <a:xfrm>
              <a:off x="5552566" y="5002383"/>
              <a:ext cx="109740" cy="63442"/>
            </a:xfrm>
            <a:custGeom>
              <a:avLst/>
              <a:gdLst>
                <a:gd name="connsiteX0" fmla="*/ -336 w 36052"/>
                <a:gd name="connsiteY0" fmla="*/ 10227 h 20842"/>
                <a:gd name="connsiteX1" fmla="*/ 1187 w 36052"/>
                <a:gd name="connsiteY1" fmla="*/ 12513 h 20842"/>
                <a:gd name="connsiteX2" fmla="*/ 3569 w 36052"/>
                <a:gd name="connsiteY2" fmla="*/ 13846 h 20842"/>
                <a:gd name="connsiteX3" fmla="*/ 13856 w 36052"/>
                <a:gd name="connsiteY3" fmla="*/ 19752 h 20842"/>
                <a:gd name="connsiteX4" fmla="*/ 21476 w 36052"/>
                <a:gd name="connsiteY4" fmla="*/ 19752 h 20842"/>
                <a:gd name="connsiteX5" fmla="*/ 31763 w 36052"/>
                <a:gd name="connsiteY5" fmla="*/ 13846 h 20842"/>
                <a:gd name="connsiteX6" fmla="*/ 34144 w 36052"/>
                <a:gd name="connsiteY6" fmla="*/ 12513 h 20842"/>
                <a:gd name="connsiteX7" fmla="*/ 35573 w 36052"/>
                <a:gd name="connsiteY7" fmla="*/ 9465 h 20842"/>
                <a:gd name="connsiteX8" fmla="*/ 34144 w 36052"/>
                <a:gd name="connsiteY8" fmla="*/ 8036 h 20842"/>
                <a:gd name="connsiteX9" fmla="*/ 21476 w 36052"/>
                <a:gd name="connsiteY9" fmla="*/ 702 h 20842"/>
                <a:gd name="connsiteX10" fmla="*/ 13856 w 36052"/>
                <a:gd name="connsiteY10" fmla="*/ 702 h 20842"/>
                <a:gd name="connsiteX11" fmla="*/ 1187 w 36052"/>
                <a:gd name="connsiteY11" fmla="*/ 8036 h 20842"/>
                <a:gd name="connsiteX12" fmla="*/ -336 w 36052"/>
                <a:gd name="connsiteY12" fmla="*/ 10227 h 20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2">
                  <a:moveTo>
                    <a:pt x="-336" y="10227"/>
                  </a:moveTo>
                  <a:cubicBezTo>
                    <a:pt x="-270" y="11208"/>
                    <a:pt x="311" y="12075"/>
                    <a:pt x="1187" y="12513"/>
                  </a:cubicBezTo>
                  <a:lnTo>
                    <a:pt x="3569" y="13846"/>
                  </a:lnTo>
                  <a:lnTo>
                    <a:pt x="13856" y="19752"/>
                  </a:lnTo>
                  <a:cubicBezTo>
                    <a:pt x="16247" y="20990"/>
                    <a:pt x="19085" y="20990"/>
                    <a:pt x="21476" y="19752"/>
                  </a:cubicBezTo>
                  <a:lnTo>
                    <a:pt x="31763" y="13846"/>
                  </a:lnTo>
                  <a:lnTo>
                    <a:pt x="34144" y="12513"/>
                  </a:lnTo>
                  <a:cubicBezTo>
                    <a:pt x="35382" y="12065"/>
                    <a:pt x="36020" y="10693"/>
                    <a:pt x="35573" y="9465"/>
                  </a:cubicBezTo>
                  <a:cubicBezTo>
                    <a:pt x="35325" y="8798"/>
                    <a:pt x="34811" y="8274"/>
                    <a:pt x="34144" y="8036"/>
                  </a:cubicBezTo>
                  <a:lnTo>
                    <a:pt x="21476" y="702"/>
                  </a:lnTo>
                  <a:cubicBezTo>
                    <a:pt x="19066" y="-451"/>
                    <a:pt x="16266" y="-451"/>
                    <a:pt x="13856" y="702"/>
                  </a:cubicBezTo>
                  <a:lnTo>
                    <a:pt x="1187"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330" name="iṥḻïḓè">
              <a:extLst>
                <a:ext uri="{FF2B5EF4-FFF2-40B4-BE49-F238E27FC236}">
                  <a16:creationId xmlns:a16="http://schemas.microsoft.com/office/drawing/2014/main" id="{8392B8EB-FC47-4AD4-9791-5940CC7C9CBA}"/>
                </a:ext>
              </a:extLst>
            </p:cNvPr>
            <p:cNvSpPr/>
            <p:nvPr/>
          </p:nvSpPr>
          <p:spPr>
            <a:xfrm>
              <a:off x="5554450" y="5003564"/>
              <a:ext cx="105825" cy="61104"/>
            </a:xfrm>
            <a:custGeom>
              <a:avLst/>
              <a:gdLst>
                <a:gd name="connsiteX0" fmla="*/ 1235 w 34766"/>
                <a:gd name="connsiteY0" fmla="*/ 12029 h 20074"/>
                <a:gd name="connsiteX1" fmla="*/ 13332 w 34766"/>
                <a:gd name="connsiteY1" fmla="*/ 18983 h 20074"/>
                <a:gd name="connsiteX2" fmla="*/ 20762 w 34766"/>
                <a:gd name="connsiteY2" fmla="*/ 18983 h 20074"/>
                <a:gd name="connsiteX3" fmla="*/ 32858 w 34766"/>
                <a:gd name="connsiteY3" fmla="*/ 12029 h 20074"/>
                <a:gd name="connsiteX4" fmla="*/ 32858 w 34766"/>
                <a:gd name="connsiteY4" fmla="*/ 7743 h 20074"/>
                <a:gd name="connsiteX5" fmla="*/ 20762 w 34766"/>
                <a:gd name="connsiteY5" fmla="*/ 695 h 20074"/>
                <a:gd name="connsiteX6" fmla="*/ 13332 w 34766"/>
                <a:gd name="connsiteY6" fmla="*/ 695 h 20074"/>
                <a:gd name="connsiteX7" fmla="*/ 1235 w 34766"/>
                <a:gd name="connsiteY7" fmla="*/ 7743 h 20074"/>
                <a:gd name="connsiteX8" fmla="*/ 1235 w 34766"/>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6" h="20074">
                  <a:moveTo>
                    <a:pt x="1235" y="12029"/>
                  </a:moveTo>
                  <a:lnTo>
                    <a:pt x="13332" y="18983"/>
                  </a:lnTo>
                  <a:cubicBezTo>
                    <a:pt x="15656" y="20221"/>
                    <a:pt x="18437" y="20221"/>
                    <a:pt x="20762" y="18983"/>
                  </a:cubicBezTo>
                  <a:lnTo>
                    <a:pt x="32858" y="12029"/>
                  </a:lnTo>
                  <a:cubicBezTo>
                    <a:pt x="34954" y="10791"/>
                    <a:pt x="34954" y="8886"/>
                    <a:pt x="32858" y="7743"/>
                  </a:cubicBezTo>
                  <a:lnTo>
                    <a:pt x="20762" y="695"/>
                  </a:lnTo>
                  <a:cubicBezTo>
                    <a:pt x="18419" y="-448"/>
                    <a:pt x="15675" y="-448"/>
                    <a:pt x="13332" y="695"/>
                  </a:cubicBezTo>
                  <a:lnTo>
                    <a:pt x="1235" y="7743"/>
                  </a:lnTo>
                  <a:cubicBezTo>
                    <a:pt x="-860" y="8505"/>
                    <a:pt x="-860" y="10791"/>
                    <a:pt x="1235" y="12029"/>
                  </a:cubicBezTo>
                  <a:close/>
                </a:path>
              </a:pathLst>
            </a:custGeom>
            <a:solidFill>
              <a:srgbClr val="D1D9E8"/>
            </a:solidFill>
            <a:ln w="9525" cap="flat">
              <a:noFill/>
              <a:prstDash val="solid"/>
              <a:miter/>
            </a:ln>
          </p:spPr>
          <p:txBody>
            <a:bodyPr rtlCol="0" anchor="ctr"/>
            <a:lstStyle/>
            <a:p>
              <a:endParaRPr lang="zh-CN" altLang="en-US"/>
            </a:p>
          </p:txBody>
        </p:sp>
        <p:sp>
          <p:nvSpPr>
            <p:cNvPr id="331" name="iṧ1idè">
              <a:extLst>
                <a:ext uri="{FF2B5EF4-FFF2-40B4-BE49-F238E27FC236}">
                  <a16:creationId xmlns:a16="http://schemas.microsoft.com/office/drawing/2014/main" id="{DD99B308-4B35-4B26-836A-0F36687B26D7}"/>
                </a:ext>
              </a:extLst>
            </p:cNvPr>
            <p:cNvSpPr/>
            <p:nvPr/>
          </p:nvSpPr>
          <p:spPr>
            <a:xfrm>
              <a:off x="5552566" y="5034006"/>
              <a:ext cx="109594" cy="53564"/>
            </a:xfrm>
            <a:custGeom>
              <a:avLst/>
              <a:gdLst>
                <a:gd name="connsiteX0" fmla="*/ -336 w 36004"/>
                <a:gd name="connsiteY0" fmla="*/ -163 h 17597"/>
                <a:gd name="connsiteX1" fmla="*/ -336 w 36004"/>
                <a:gd name="connsiteY1" fmla="*/ 7076 h 17597"/>
                <a:gd name="connsiteX2" fmla="*/ 1187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3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7 w 36004"/>
                <a:gd name="connsiteY13" fmla="*/ 2123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7" y="9267"/>
                  </a:cubicBezTo>
                  <a:lnTo>
                    <a:pt x="13856" y="16506"/>
                  </a:lnTo>
                  <a:cubicBezTo>
                    <a:pt x="16247" y="17744"/>
                    <a:pt x="19085" y="17744"/>
                    <a:pt x="21476" y="16506"/>
                  </a:cubicBezTo>
                  <a:lnTo>
                    <a:pt x="34144" y="9267"/>
                  </a:lnTo>
                  <a:cubicBezTo>
                    <a:pt x="35011" y="8819"/>
                    <a:pt x="35582" y="7953"/>
                    <a:pt x="35668" y="6981"/>
                  </a:cubicBezTo>
                  <a:lnTo>
                    <a:pt x="35668" y="-163"/>
                  </a:lnTo>
                  <a:cubicBezTo>
                    <a:pt x="35601" y="818"/>
                    <a:pt x="35020" y="1685"/>
                    <a:pt x="34144" y="2123"/>
                  </a:cubicBezTo>
                  <a:lnTo>
                    <a:pt x="31763" y="3457"/>
                  </a:lnTo>
                  <a:lnTo>
                    <a:pt x="21476" y="9362"/>
                  </a:lnTo>
                  <a:cubicBezTo>
                    <a:pt x="19085" y="10600"/>
                    <a:pt x="16247" y="10600"/>
                    <a:pt x="13856" y="9362"/>
                  </a:cubicBezTo>
                  <a:lnTo>
                    <a:pt x="3569" y="3457"/>
                  </a:lnTo>
                  <a:lnTo>
                    <a:pt x="1187"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332" name="îṩḷïďé">
              <a:extLst>
                <a:ext uri="{FF2B5EF4-FFF2-40B4-BE49-F238E27FC236}">
                  <a16:creationId xmlns:a16="http://schemas.microsoft.com/office/drawing/2014/main" id="{696D89E1-36B3-4A0F-B8D6-D76ED4FC2441}"/>
                </a:ext>
              </a:extLst>
            </p:cNvPr>
            <p:cNvSpPr/>
            <p:nvPr/>
          </p:nvSpPr>
          <p:spPr>
            <a:xfrm>
              <a:off x="5629687" y="5046836"/>
              <a:ext cx="109740" cy="63639"/>
            </a:xfrm>
            <a:custGeom>
              <a:avLst/>
              <a:gdLst>
                <a:gd name="connsiteX0" fmla="*/ -336 w 36052"/>
                <a:gd name="connsiteY0" fmla="*/ 10291 h 20907"/>
                <a:gd name="connsiteX1" fmla="*/ 1283 w 36052"/>
                <a:gd name="connsiteY1" fmla="*/ 12577 h 20907"/>
                <a:gd name="connsiteX2" fmla="*/ 3569 w 36052"/>
                <a:gd name="connsiteY2" fmla="*/ 13911 h 20907"/>
                <a:gd name="connsiteX3" fmla="*/ 13856 w 36052"/>
                <a:gd name="connsiteY3" fmla="*/ 19816 h 20907"/>
                <a:gd name="connsiteX4" fmla="*/ 21571 w 36052"/>
                <a:gd name="connsiteY4" fmla="*/ 19816 h 20907"/>
                <a:gd name="connsiteX5" fmla="*/ 31858 w 36052"/>
                <a:gd name="connsiteY5" fmla="*/ 13911 h 20907"/>
                <a:gd name="connsiteX6" fmla="*/ 34144 w 36052"/>
                <a:gd name="connsiteY6" fmla="*/ 12577 h 20907"/>
                <a:gd name="connsiteX7" fmla="*/ 35573 w 36052"/>
                <a:gd name="connsiteY7" fmla="*/ 9529 h 20907"/>
                <a:gd name="connsiteX8" fmla="*/ 34144 w 36052"/>
                <a:gd name="connsiteY8" fmla="*/ 8101 h 20907"/>
                <a:gd name="connsiteX9" fmla="*/ 21571 w 36052"/>
                <a:gd name="connsiteY9" fmla="*/ 766 h 20907"/>
                <a:gd name="connsiteX10" fmla="*/ 13856 w 36052"/>
                <a:gd name="connsiteY10" fmla="*/ 766 h 20907"/>
                <a:gd name="connsiteX11" fmla="*/ 1283 w 36052"/>
                <a:gd name="connsiteY11" fmla="*/ 8101 h 20907"/>
                <a:gd name="connsiteX12" fmla="*/ -336 w 36052"/>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907">
                  <a:moveTo>
                    <a:pt x="-336" y="10291"/>
                  </a:moveTo>
                  <a:cubicBezTo>
                    <a:pt x="-231" y="11282"/>
                    <a:pt x="378" y="12149"/>
                    <a:pt x="1283" y="12577"/>
                  </a:cubicBezTo>
                  <a:lnTo>
                    <a:pt x="3569" y="13911"/>
                  </a:lnTo>
                  <a:lnTo>
                    <a:pt x="13856" y="19816"/>
                  </a:lnTo>
                  <a:cubicBezTo>
                    <a:pt x="16275" y="21054"/>
                    <a:pt x="19152" y="21054"/>
                    <a:pt x="21571" y="19816"/>
                  </a:cubicBezTo>
                  <a:lnTo>
                    <a:pt x="31858" y="13911"/>
                  </a:lnTo>
                  <a:lnTo>
                    <a:pt x="34144" y="12577"/>
                  </a:lnTo>
                  <a:cubicBezTo>
                    <a:pt x="35382" y="12129"/>
                    <a:pt x="36021" y="10758"/>
                    <a:pt x="35573" y="9529"/>
                  </a:cubicBezTo>
                  <a:cubicBezTo>
                    <a:pt x="35325" y="8862"/>
                    <a:pt x="34811" y="8339"/>
                    <a:pt x="34144" y="8101"/>
                  </a:cubicBezTo>
                  <a:lnTo>
                    <a:pt x="21571" y="766"/>
                  </a:lnTo>
                  <a:cubicBezTo>
                    <a:pt x="19152" y="-472"/>
                    <a:pt x="16275" y="-472"/>
                    <a:pt x="13856" y="766"/>
                  </a:cubicBezTo>
                  <a:lnTo>
                    <a:pt x="1283" y="8101"/>
                  </a:lnTo>
                  <a:cubicBezTo>
                    <a:pt x="407" y="8510"/>
                    <a:pt x="-203" y="933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399" name="iŝļíḍé">
              <a:extLst>
                <a:ext uri="{FF2B5EF4-FFF2-40B4-BE49-F238E27FC236}">
                  <a16:creationId xmlns:a16="http://schemas.microsoft.com/office/drawing/2014/main" id="{04C28748-3381-4C37-8EDF-E9E9A5574410}"/>
                </a:ext>
              </a:extLst>
            </p:cNvPr>
            <p:cNvSpPr/>
            <p:nvPr/>
          </p:nvSpPr>
          <p:spPr>
            <a:xfrm>
              <a:off x="5631791" y="5048215"/>
              <a:ext cx="105679" cy="61101"/>
            </a:xfrm>
            <a:custGeom>
              <a:avLst/>
              <a:gdLst>
                <a:gd name="connsiteX0" fmla="*/ 1164 w 34718"/>
                <a:gd name="connsiteY0" fmla="*/ 12029 h 20073"/>
                <a:gd name="connsiteX1" fmla="*/ 13260 w 34718"/>
                <a:gd name="connsiteY1" fmla="*/ 18983 h 20073"/>
                <a:gd name="connsiteX2" fmla="*/ 20690 w 34718"/>
                <a:gd name="connsiteY2" fmla="*/ 18983 h 20073"/>
                <a:gd name="connsiteX3" fmla="*/ 32882 w 34718"/>
                <a:gd name="connsiteY3" fmla="*/ 12029 h 20073"/>
                <a:gd name="connsiteX4" fmla="*/ 32882 w 34718"/>
                <a:gd name="connsiteY4" fmla="*/ 7743 h 20073"/>
                <a:gd name="connsiteX5" fmla="*/ 20690 w 34718"/>
                <a:gd name="connsiteY5" fmla="*/ 695 h 20073"/>
                <a:gd name="connsiteX6" fmla="*/ 13260 w 34718"/>
                <a:gd name="connsiteY6" fmla="*/ 695 h 20073"/>
                <a:gd name="connsiteX7" fmla="*/ 1164 w 34718"/>
                <a:gd name="connsiteY7" fmla="*/ 7743 h 20073"/>
                <a:gd name="connsiteX8" fmla="*/ 1164 w 34718"/>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18" h="20073">
                  <a:moveTo>
                    <a:pt x="1164" y="12029"/>
                  </a:moveTo>
                  <a:lnTo>
                    <a:pt x="13260" y="18983"/>
                  </a:lnTo>
                  <a:cubicBezTo>
                    <a:pt x="15585" y="20221"/>
                    <a:pt x="18366" y="20221"/>
                    <a:pt x="20690" y="18983"/>
                  </a:cubicBezTo>
                  <a:lnTo>
                    <a:pt x="32882" y="12029"/>
                  </a:lnTo>
                  <a:cubicBezTo>
                    <a:pt x="34882" y="10791"/>
                    <a:pt x="34882" y="8886"/>
                    <a:pt x="32882" y="7743"/>
                  </a:cubicBezTo>
                  <a:lnTo>
                    <a:pt x="20690" y="695"/>
                  </a:lnTo>
                  <a:cubicBezTo>
                    <a:pt x="18347" y="-448"/>
                    <a:pt x="15604" y="-448"/>
                    <a:pt x="13260" y="695"/>
                  </a:cubicBezTo>
                  <a:lnTo>
                    <a:pt x="1164" y="7743"/>
                  </a:lnTo>
                  <a:cubicBezTo>
                    <a:pt x="-836" y="8886"/>
                    <a:pt x="-836" y="10791"/>
                    <a:pt x="1164" y="12029"/>
                  </a:cubicBezTo>
                  <a:close/>
                </a:path>
              </a:pathLst>
            </a:custGeom>
            <a:solidFill>
              <a:srgbClr val="D1D9E8"/>
            </a:solidFill>
            <a:ln w="9525" cap="flat">
              <a:noFill/>
              <a:prstDash val="solid"/>
              <a:miter/>
            </a:ln>
          </p:spPr>
          <p:txBody>
            <a:bodyPr rtlCol="0" anchor="ctr"/>
            <a:lstStyle/>
            <a:p>
              <a:endParaRPr lang="zh-CN" altLang="en-US"/>
            </a:p>
          </p:txBody>
        </p:sp>
        <p:sp>
          <p:nvSpPr>
            <p:cNvPr id="400" name="íśľïḍè">
              <a:extLst>
                <a:ext uri="{FF2B5EF4-FFF2-40B4-BE49-F238E27FC236}">
                  <a16:creationId xmlns:a16="http://schemas.microsoft.com/office/drawing/2014/main" id="{F2CF1138-9CD2-4CA8-9C49-EB3303DD6A4C}"/>
                </a:ext>
              </a:extLst>
            </p:cNvPr>
            <p:cNvSpPr/>
            <p:nvPr/>
          </p:nvSpPr>
          <p:spPr>
            <a:xfrm>
              <a:off x="5629687" y="5078658"/>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4 w 36099"/>
                <a:gd name="connsiteY6" fmla="*/ 6981 h 17597"/>
                <a:gd name="connsiteX7" fmla="*/ 35764 w 36099"/>
                <a:gd name="connsiteY7" fmla="*/ -163 h 17597"/>
                <a:gd name="connsiteX8" fmla="*/ 34144 w 36099"/>
                <a:gd name="connsiteY8" fmla="*/ 2124 h 17597"/>
                <a:gd name="connsiteX9" fmla="*/ 31858 w 36099"/>
                <a:gd name="connsiteY9" fmla="*/ 3457 h 17597"/>
                <a:gd name="connsiteX10" fmla="*/ 21571 w 36099"/>
                <a:gd name="connsiteY10" fmla="*/ 9362 h 17597"/>
                <a:gd name="connsiteX11" fmla="*/ 13856 w 36099"/>
                <a:gd name="connsiteY11" fmla="*/ 9362 h 17597"/>
                <a:gd name="connsiteX12" fmla="*/ 3569 w 36099"/>
                <a:gd name="connsiteY12" fmla="*/ 3457 h 17597"/>
                <a:gd name="connsiteX13" fmla="*/ 1283 w 36099"/>
                <a:gd name="connsiteY13" fmla="*/ 2124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03" y="8029"/>
                    <a:pt x="407" y="8858"/>
                    <a:pt x="1283" y="9267"/>
                  </a:cubicBezTo>
                  <a:lnTo>
                    <a:pt x="13856" y="16506"/>
                  </a:lnTo>
                  <a:cubicBezTo>
                    <a:pt x="16275" y="17744"/>
                    <a:pt x="19152" y="17744"/>
                    <a:pt x="21571" y="16506"/>
                  </a:cubicBezTo>
                  <a:lnTo>
                    <a:pt x="34144" y="9267"/>
                  </a:lnTo>
                  <a:cubicBezTo>
                    <a:pt x="35030" y="8829"/>
                    <a:pt x="35640" y="7972"/>
                    <a:pt x="35764" y="6981"/>
                  </a:cubicBezTo>
                  <a:lnTo>
                    <a:pt x="35764" y="-163"/>
                  </a:lnTo>
                  <a:cubicBezTo>
                    <a:pt x="35659" y="828"/>
                    <a:pt x="35049" y="1695"/>
                    <a:pt x="34144" y="2124"/>
                  </a:cubicBezTo>
                  <a:lnTo>
                    <a:pt x="31858" y="3457"/>
                  </a:lnTo>
                  <a:lnTo>
                    <a:pt x="21571" y="9362"/>
                  </a:lnTo>
                  <a:cubicBezTo>
                    <a:pt x="19152" y="10601"/>
                    <a:pt x="16275" y="10601"/>
                    <a:pt x="13856" y="9362"/>
                  </a:cubicBezTo>
                  <a:lnTo>
                    <a:pt x="3569" y="3457"/>
                  </a:lnTo>
                  <a:lnTo>
                    <a:pt x="1283" y="2124"/>
                  </a:lnTo>
                  <a:cubicBezTo>
                    <a:pt x="378" y="1695"/>
                    <a:pt x="-231"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401" name="îṡḻiḍè">
              <a:extLst>
                <a:ext uri="{FF2B5EF4-FFF2-40B4-BE49-F238E27FC236}">
                  <a16:creationId xmlns:a16="http://schemas.microsoft.com/office/drawing/2014/main" id="{473023F0-B106-4C32-97A3-26DE5CF899D0}"/>
                </a:ext>
              </a:extLst>
            </p:cNvPr>
            <p:cNvSpPr/>
            <p:nvPr/>
          </p:nvSpPr>
          <p:spPr>
            <a:xfrm>
              <a:off x="5706230" y="5091488"/>
              <a:ext cx="109594" cy="63639"/>
            </a:xfrm>
            <a:custGeom>
              <a:avLst/>
              <a:gdLst>
                <a:gd name="connsiteX0" fmla="*/ -336 w 36004"/>
                <a:gd name="connsiteY0" fmla="*/ 10291 h 20907"/>
                <a:gd name="connsiteX1" fmla="*/ 1188 w 36004"/>
                <a:gd name="connsiteY1" fmla="*/ 12577 h 20907"/>
                <a:gd name="connsiteX2" fmla="*/ 3569 w 36004"/>
                <a:gd name="connsiteY2" fmla="*/ 13911 h 20907"/>
                <a:gd name="connsiteX3" fmla="*/ 13856 w 36004"/>
                <a:gd name="connsiteY3" fmla="*/ 19816 h 20907"/>
                <a:gd name="connsiteX4" fmla="*/ 21476 w 36004"/>
                <a:gd name="connsiteY4" fmla="*/ 19816 h 20907"/>
                <a:gd name="connsiteX5" fmla="*/ 31763 w 36004"/>
                <a:gd name="connsiteY5" fmla="*/ 13911 h 20907"/>
                <a:gd name="connsiteX6" fmla="*/ 34144 w 36004"/>
                <a:gd name="connsiteY6" fmla="*/ 12577 h 20907"/>
                <a:gd name="connsiteX7" fmla="*/ 35668 w 36004"/>
                <a:gd name="connsiteY7" fmla="*/ 10291 h 20907"/>
                <a:gd name="connsiteX8" fmla="*/ 34144 w 36004"/>
                <a:gd name="connsiteY8" fmla="*/ 8100 h 20907"/>
                <a:gd name="connsiteX9" fmla="*/ 21476 w 36004"/>
                <a:gd name="connsiteY9" fmla="*/ 766 h 20907"/>
                <a:gd name="connsiteX10" fmla="*/ 13856 w 36004"/>
                <a:gd name="connsiteY10" fmla="*/ 766 h 20907"/>
                <a:gd name="connsiteX11" fmla="*/ 1188 w 36004"/>
                <a:gd name="connsiteY11" fmla="*/ 8100 h 20907"/>
                <a:gd name="connsiteX12" fmla="*/ -336 w 36004"/>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907">
                  <a:moveTo>
                    <a:pt x="-336" y="10291"/>
                  </a:moveTo>
                  <a:cubicBezTo>
                    <a:pt x="-270" y="11272"/>
                    <a:pt x="311" y="12139"/>
                    <a:pt x="1188" y="12577"/>
                  </a:cubicBezTo>
                  <a:lnTo>
                    <a:pt x="3569" y="13911"/>
                  </a:lnTo>
                  <a:lnTo>
                    <a:pt x="13856" y="19816"/>
                  </a:lnTo>
                  <a:cubicBezTo>
                    <a:pt x="16247" y="21054"/>
                    <a:pt x="19085" y="21054"/>
                    <a:pt x="21476" y="19816"/>
                  </a:cubicBezTo>
                  <a:lnTo>
                    <a:pt x="31763" y="13911"/>
                  </a:lnTo>
                  <a:lnTo>
                    <a:pt x="34144" y="12577"/>
                  </a:lnTo>
                  <a:cubicBezTo>
                    <a:pt x="35021" y="12139"/>
                    <a:pt x="35602" y="11272"/>
                    <a:pt x="35668" y="10291"/>
                  </a:cubicBezTo>
                  <a:cubicBezTo>
                    <a:pt x="35611" y="9339"/>
                    <a:pt x="35021" y="8491"/>
                    <a:pt x="34144" y="8100"/>
                  </a:cubicBezTo>
                  <a:lnTo>
                    <a:pt x="21476" y="766"/>
                  </a:lnTo>
                  <a:cubicBezTo>
                    <a:pt x="19085" y="-472"/>
                    <a:pt x="16247" y="-472"/>
                    <a:pt x="13856" y="766"/>
                  </a:cubicBezTo>
                  <a:lnTo>
                    <a:pt x="1188" y="8100"/>
                  </a:lnTo>
                  <a:cubicBezTo>
                    <a:pt x="311" y="8491"/>
                    <a:pt x="-279"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402" name="ísḷiḑê">
              <a:extLst>
                <a:ext uri="{FF2B5EF4-FFF2-40B4-BE49-F238E27FC236}">
                  <a16:creationId xmlns:a16="http://schemas.microsoft.com/office/drawing/2014/main" id="{58A55A0B-56C2-4E6D-B7DF-00251E220F16}"/>
                </a:ext>
              </a:extLst>
            </p:cNvPr>
            <p:cNvSpPr/>
            <p:nvPr/>
          </p:nvSpPr>
          <p:spPr>
            <a:xfrm>
              <a:off x="5708114" y="5092647"/>
              <a:ext cx="106693" cy="61101"/>
            </a:xfrm>
            <a:custGeom>
              <a:avLst/>
              <a:gdLst>
                <a:gd name="connsiteX0" fmla="*/ 1521 w 35051"/>
                <a:gd name="connsiteY0" fmla="*/ 12006 h 20073"/>
                <a:gd name="connsiteX1" fmla="*/ 13618 w 35051"/>
                <a:gd name="connsiteY1" fmla="*/ 19054 h 20073"/>
                <a:gd name="connsiteX2" fmla="*/ 21047 w 35051"/>
                <a:gd name="connsiteY2" fmla="*/ 19054 h 20073"/>
                <a:gd name="connsiteX3" fmla="*/ 33144 w 35051"/>
                <a:gd name="connsiteY3" fmla="*/ 12006 h 20073"/>
                <a:gd name="connsiteX4" fmla="*/ 33144 w 35051"/>
                <a:gd name="connsiteY4" fmla="*/ 7719 h 20073"/>
                <a:gd name="connsiteX5" fmla="*/ 21047 w 35051"/>
                <a:gd name="connsiteY5" fmla="*/ 766 h 20073"/>
                <a:gd name="connsiteX6" fmla="*/ 13618 w 35051"/>
                <a:gd name="connsiteY6" fmla="*/ 766 h 20073"/>
                <a:gd name="connsiteX7" fmla="*/ 1521 w 35051"/>
                <a:gd name="connsiteY7" fmla="*/ 7719 h 20073"/>
                <a:gd name="connsiteX8" fmla="*/ 1521 w 35051"/>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051" h="20073">
                  <a:moveTo>
                    <a:pt x="1521" y="12006"/>
                  </a:moveTo>
                  <a:lnTo>
                    <a:pt x="13618" y="19054"/>
                  </a:lnTo>
                  <a:cubicBezTo>
                    <a:pt x="15961" y="20197"/>
                    <a:pt x="18704" y="20197"/>
                    <a:pt x="21047" y="19054"/>
                  </a:cubicBezTo>
                  <a:lnTo>
                    <a:pt x="33144" y="12006"/>
                  </a:lnTo>
                  <a:cubicBezTo>
                    <a:pt x="35239" y="10863"/>
                    <a:pt x="35239" y="8957"/>
                    <a:pt x="33144" y="7719"/>
                  </a:cubicBezTo>
                  <a:lnTo>
                    <a:pt x="21047" y="766"/>
                  </a:lnTo>
                  <a:cubicBezTo>
                    <a:pt x="18723" y="-472"/>
                    <a:pt x="15942" y="-472"/>
                    <a:pt x="13618" y="766"/>
                  </a:cubicBezTo>
                  <a:lnTo>
                    <a:pt x="1521" y="7719"/>
                  </a:lnTo>
                  <a:cubicBezTo>
                    <a:pt x="-955" y="8957"/>
                    <a:pt x="-955" y="10863"/>
                    <a:pt x="1521" y="12006"/>
                  </a:cubicBezTo>
                  <a:close/>
                </a:path>
              </a:pathLst>
            </a:custGeom>
            <a:solidFill>
              <a:srgbClr val="D1D9E8"/>
            </a:solidFill>
            <a:ln w="9525" cap="flat">
              <a:noFill/>
              <a:prstDash val="solid"/>
              <a:miter/>
            </a:ln>
          </p:spPr>
          <p:txBody>
            <a:bodyPr rtlCol="0" anchor="ctr"/>
            <a:lstStyle/>
            <a:p>
              <a:endParaRPr lang="zh-CN" altLang="en-US"/>
            </a:p>
          </p:txBody>
        </p:sp>
        <p:sp>
          <p:nvSpPr>
            <p:cNvPr id="403" name="ïşḷiḓê">
              <a:extLst>
                <a:ext uri="{FF2B5EF4-FFF2-40B4-BE49-F238E27FC236}">
                  <a16:creationId xmlns:a16="http://schemas.microsoft.com/office/drawing/2014/main" id="{467A181E-A947-4638-9341-D063C3A06611}"/>
                </a:ext>
              </a:extLst>
            </p:cNvPr>
            <p:cNvSpPr/>
            <p:nvPr/>
          </p:nvSpPr>
          <p:spPr>
            <a:xfrm>
              <a:off x="5706230" y="5123306"/>
              <a:ext cx="109594" cy="54142"/>
            </a:xfrm>
            <a:custGeom>
              <a:avLst/>
              <a:gdLst>
                <a:gd name="connsiteX0" fmla="*/ -336 w 36004"/>
                <a:gd name="connsiteY0" fmla="*/ -163 h 17787"/>
                <a:gd name="connsiteX1" fmla="*/ -336 w 36004"/>
                <a:gd name="connsiteY1" fmla="*/ 7267 h 17787"/>
                <a:gd name="connsiteX2" fmla="*/ 1188 w 36004"/>
                <a:gd name="connsiteY2" fmla="*/ 9458 h 17787"/>
                <a:gd name="connsiteX3" fmla="*/ 13856 w 36004"/>
                <a:gd name="connsiteY3" fmla="*/ 16697 h 17787"/>
                <a:gd name="connsiteX4" fmla="*/ 21476 w 36004"/>
                <a:gd name="connsiteY4" fmla="*/ 16697 h 17787"/>
                <a:gd name="connsiteX5" fmla="*/ 34144 w 36004"/>
                <a:gd name="connsiteY5" fmla="*/ 9458 h 17787"/>
                <a:gd name="connsiteX6" fmla="*/ 35668 w 36004"/>
                <a:gd name="connsiteY6" fmla="*/ 7172 h 17787"/>
                <a:gd name="connsiteX7" fmla="*/ 35668 w 36004"/>
                <a:gd name="connsiteY7" fmla="*/ 28 h 17787"/>
                <a:gd name="connsiteX8" fmla="*/ 34144 w 36004"/>
                <a:gd name="connsiteY8" fmla="*/ 2314 h 17787"/>
                <a:gd name="connsiteX9" fmla="*/ 31763 w 36004"/>
                <a:gd name="connsiteY9" fmla="*/ 3647 h 17787"/>
                <a:gd name="connsiteX10" fmla="*/ 21476 w 36004"/>
                <a:gd name="connsiteY10" fmla="*/ 9553 h 17787"/>
                <a:gd name="connsiteX11" fmla="*/ 13856 w 36004"/>
                <a:gd name="connsiteY11" fmla="*/ 9553 h 17787"/>
                <a:gd name="connsiteX12" fmla="*/ 3569 w 36004"/>
                <a:gd name="connsiteY12" fmla="*/ 3647 h 17787"/>
                <a:gd name="connsiteX13" fmla="*/ 1188 w 36004"/>
                <a:gd name="connsiteY13" fmla="*/ 2314 h 17787"/>
                <a:gd name="connsiteX14" fmla="*/ -336 w 36004"/>
                <a:gd name="connsiteY14" fmla="*/ -163 h 17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787">
                  <a:moveTo>
                    <a:pt x="-336" y="-163"/>
                  </a:moveTo>
                  <a:lnTo>
                    <a:pt x="-336" y="7267"/>
                  </a:lnTo>
                  <a:cubicBezTo>
                    <a:pt x="-241" y="8210"/>
                    <a:pt x="340" y="9039"/>
                    <a:pt x="1188" y="9458"/>
                  </a:cubicBezTo>
                  <a:lnTo>
                    <a:pt x="13856" y="16697"/>
                  </a:lnTo>
                  <a:cubicBezTo>
                    <a:pt x="16247" y="17935"/>
                    <a:pt x="19085" y="17935"/>
                    <a:pt x="21476" y="16697"/>
                  </a:cubicBezTo>
                  <a:lnTo>
                    <a:pt x="34144" y="9458"/>
                  </a:lnTo>
                  <a:cubicBezTo>
                    <a:pt x="35011" y="9010"/>
                    <a:pt x="35582" y="8143"/>
                    <a:pt x="35668" y="7172"/>
                  </a:cubicBezTo>
                  <a:lnTo>
                    <a:pt x="35668" y="28"/>
                  </a:lnTo>
                  <a:cubicBezTo>
                    <a:pt x="35602" y="1009"/>
                    <a:pt x="35021" y="1876"/>
                    <a:pt x="34144" y="2314"/>
                  </a:cubicBezTo>
                  <a:lnTo>
                    <a:pt x="31763" y="3647"/>
                  </a:lnTo>
                  <a:lnTo>
                    <a:pt x="21476" y="9553"/>
                  </a:lnTo>
                  <a:cubicBezTo>
                    <a:pt x="19085" y="10791"/>
                    <a:pt x="16247" y="10791"/>
                    <a:pt x="13856" y="9553"/>
                  </a:cubicBezTo>
                  <a:lnTo>
                    <a:pt x="3569" y="3647"/>
                  </a:lnTo>
                  <a:lnTo>
                    <a:pt x="1188" y="2314"/>
                  </a:lnTo>
                  <a:cubicBezTo>
                    <a:pt x="254" y="1847"/>
                    <a:pt x="-336" y="885"/>
                    <a:pt x="-336" y="-163"/>
                  </a:cubicBezTo>
                  <a:close/>
                </a:path>
              </a:pathLst>
            </a:custGeom>
            <a:solidFill>
              <a:srgbClr val="BF4200"/>
            </a:solidFill>
            <a:ln w="9525" cap="flat">
              <a:noFill/>
              <a:prstDash val="solid"/>
              <a:miter/>
            </a:ln>
          </p:spPr>
          <p:txBody>
            <a:bodyPr rtlCol="0" anchor="ctr"/>
            <a:lstStyle/>
            <a:p>
              <a:endParaRPr lang="zh-CN" altLang="en-US"/>
            </a:p>
          </p:txBody>
        </p:sp>
        <p:sp>
          <p:nvSpPr>
            <p:cNvPr id="404" name="ïṩḷîḋe">
              <a:extLst>
                <a:ext uri="{FF2B5EF4-FFF2-40B4-BE49-F238E27FC236}">
                  <a16:creationId xmlns:a16="http://schemas.microsoft.com/office/drawing/2014/main" id="{B6B057B5-50A4-4FDA-876D-1DCB06927B39}"/>
                </a:ext>
              </a:extLst>
            </p:cNvPr>
            <p:cNvSpPr/>
            <p:nvPr/>
          </p:nvSpPr>
          <p:spPr>
            <a:xfrm>
              <a:off x="5784224" y="5136136"/>
              <a:ext cx="109883" cy="63639"/>
            </a:xfrm>
            <a:custGeom>
              <a:avLst/>
              <a:gdLst>
                <a:gd name="connsiteX0" fmla="*/ -336 w 36099"/>
                <a:gd name="connsiteY0" fmla="*/ 10291 h 20907"/>
                <a:gd name="connsiteX1" fmla="*/ 1283 w 36099"/>
                <a:gd name="connsiteY1" fmla="*/ 12577 h 20907"/>
                <a:gd name="connsiteX2" fmla="*/ 3569 w 36099"/>
                <a:gd name="connsiteY2" fmla="*/ 13911 h 20907"/>
                <a:gd name="connsiteX3" fmla="*/ 13856 w 36099"/>
                <a:gd name="connsiteY3" fmla="*/ 19816 h 20907"/>
                <a:gd name="connsiteX4" fmla="*/ 21571 w 36099"/>
                <a:gd name="connsiteY4" fmla="*/ 19816 h 20907"/>
                <a:gd name="connsiteX5" fmla="*/ 31858 w 36099"/>
                <a:gd name="connsiteY5" fmla="*/ 13911 h 20907"/>
                <a:gd name="connsiteX6" fmla="*/ 34144 w 36099"/>
                <a:gd name="connsiteY6" fmla="*/ 12577 h 20907"/>
                <a:gd name="connsiteX7" fmla="*/ 35764 w 36099"/>
                <a:gd name="connsiteY7" fmla="*/ 10291 h 20907"/>
                <a:gd name="connsiteX8" fmla="*/ 34144 w 36099"/>
                <a:gd name="connsiteY8" fmla="*/ 8100 h 20907"/>
                <a:gd name="connsiteX9" fmla="*/ 21571 w 36099"/>
                <a:gd name="connsiteY9" fmla="*/ 766 h 20907"/>
                <a:gd name="connsiteX10" fmla="*/ 13856 w 36099"/>
                <a:gd name="connsiteY10" fmla="*/ 766 h 20907"/>
                <a:gd name="connsiteX11" fmla="*/ 1283 w 36099"/>
                <a:gd name="connsiteY11" fmla="*/ 8100 h 20907"/>
                <a:gd name="connsiteX12" fmla="*/ -336 w 36099"/>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99" h="20907">
                  <a:moveTo>
                    <a:pt x="-336" y="10291"/>
                  </a:moveTo>
                  <a:cubicBezTo>
                    <a:pt x="-232" y="11282"/>
                    <a:pt x="378" y="12148"/>
                    <a:pt x="1283" y="12577"/>
                  </a:cubicBezTo>
                  <a:lnTo>
                    <a:pt x="3569" y="13911"/>
                  </a:lnTo>
                  <a:lnTo>
                    <a:pt x="13856" y="19816"/>
                  </a:lnTo>
                  <a:cubicBezTo>
                    <a:pt x="16275" y="21054"/>
                    <a:pt x="19152" y="21054"/>
                    <a:pt x="21571" y="19816"/>
                  </a:cubicBezTo>
                  <a:lnTo>
                    <a:pt x="31858" y="13911"/>
                  </a:lnTo>
                  <a:lnTo>
                    <a:pt x="34144" y="12577"/>
                  </a:lnTo>
                  <a:cubicBezTo>
                    <a:pt x="35077" y="12187"/>
                    <a:pt x="35697" y="11301"/>
                    <a:pt x="35764" y="10291"/>
                  </a:cubicBezTo>
                  <a:cubicBezTo>
                    <a:pt x="35687" y="9310"/>
                    <a:pt x="35059" y="8462"/>
                    <a:pt x="34144" y="8100"/>
                  </a:cubicBezTo>
                  <a:lnTo>
                    <a:pt x="21571" y="766"/>
                  </a:lnTo>
                  <a:cubicBezTo>
                    <a:pt x="19152" y="-472"/>
                    <a:pt x="16275" y="-472"/>
                    <a:pt x="13856" y="766"/>
                  </a:cubicBezTo>
                  <a:lnTo>
                    <a:pt x="1283" y="8100"/>
                  </a:lnTo>
                  <a:cubicBezTo>
                    <a:pt x="397" y="8491"/>
                    <a:pt x="-222"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405" name="íṧ1iḑè">
              <a:extLst>
                <a:ext uri="{FF2B5EF4-FFF2-40B4-BE49-F238E27FC236}">
                  <a16:creationId xmlns:a16="http://schemas.microsoft.com/office/drawing/2014/main" id="{B797C483-B5C5-4274-9185-6C2EDF7150D7}"/>
                </a:ext>
              </a:extLst>
            </p:cNvPr>
            <p:cNvSpPr/>
            <p:nvPr/>
          </p:nvSpPr>
          <p:spPr>
            <a:xfrm>
              <a:off x="5786395" y="5137296"/>
              <a:ext cx="105828" cy="61682"/>
            </a:xfrm>
            <a:custGeom>
              <a:avLst/>
              <a:gdLst>
                <a:gd name="connsiteX0" fmla="*/ 1141 w 34767"/>
                <a:gd name="connsiteY0" fmla="*/ 12196 h 20264"/>
                <a:gd name="connsiteX1" fmla="*/ 13333 w 34767"/>
                <a:gd name="connsiteY1" fmla="*/ 19244 h 20264"/>
                <a:gd name="connsiteX2" fmla="*/ 20763 w 34767"/>
                <a:gd name="connsiteY2" fmla="*/ 19244 h 20264"/>
                <a:gd name="connsiteX3" fmla="*/ 32859 w 34767"/>
                <a:gd name="connsiteY3" fmla="*/ 12196 h 20264"/>
                <a:gd name="connsiteX4" fmla="*/ 32859 w 34767"/>
                <a:gd name="connsiteY4" fmla="*/ 7910 h 20264"/>
                <a:gd name="connsiteX5" fmla="*/ 20953 w 34767"/>
                <a:gd name="connsiteY5" fmla="*/ 766 h 20264"/>
                <a:gd name="connsiteX6" fmla="*/ 13523 w 34767"/>
                <a:gd name="connsiteY6" fmla="*/ 766 h 20264"/>
                <a:gd name="connsiteX7" fmla="*/ 1331 w 34767"/>
                <a:gd name="connsiteY7" fmla="*/ 7719 h 20264"/>
                <a:gd name="connsiteX8" fmla="*/ 1141 w 34767"/>
                <a:gd name="connsiteY8" fmla="*/ 12196 h 20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7" h="20264">
                  <a:moveTo>
                    <a:pt x="1141" y="12196"/>
                  </a:moveTo>
                  <a:lnTo>
                    <a:pt x="13333" y="19244"/>
                  </a:lnTo>
                  <a:cubicBezTo>
                    <a:pt x="15676" y="20387"/>
                    <a:pt x="18419" y="20387"/>
                    <a:pt x="20763" y="19244"/>
                  </a:cubicBezTo>
                  <a:lnTo>
                    <a:pt x="32859" y="12196"/>
                  </a:lnTo>
                  <a:cubicBezTo>
                    <a:pt x="34955" y="11053"/>
                    <a:pt x="34955" y="9148"/>
                    <a:pt x="32859" y="7910"/>
                  </a:cubicBezTo>
                  <a:lnTo>
                    <a:pt x="20953" y="766"/>
                  </a:lnTo>
                  <a:cubicBezTo>
                    <a:pt x="18629" y="-472"/>
                    <a:pt x="15847" y="-472"/>
                    <a:pt x="13523" y="766"/>
                  </a:cubicBezTo>
                  <a:lnTo>
                    <a:pt x="1331" y="7719"/>
                  </a:lnTo>
                  <a:cubicBezTo>
                    <a:pt x="-859" y="8958"/>
                    <a:pt x="-859" y="10862"/>
                    <a:pt x="1141" y="12196"/>
                  </a:cubicBezTo>
                  <a:close/>
                </a:path>
              </a:pathLst>
            </a:custGeom>
            <a:solidFill>
              <a:srgbClr val="D1D9E8"/>
            </a:solidFill>
            <a:ln w="9525" cap="flat">
              <a:noFill/>
              <a:prstDash val="solid"/>
              <a:miter/>
            </a:ln>
          </p:spPr>
          <p:txBody>
            <a:bodyPr rtlCol="0" anchor="ctr"/>
            <a:lstStyle/>
            <a:p>
              <a:endParaRPr lang="zh-CN" altLang="en-US"/>
            </a:p>
          </p:txBody>
        </p:sp>
        <p:sp>
          <p:nvSpPr>
            <p:cNvPr id="406" name="ïṡľîḋé">
              <a:extLst>
                <a:ext uri="{FF2B5EF4-FFF2-40B4-BE49-F238E27FC236}">
                  <a16:creationId xmlns:a16="http://schemas.microsoft.com/office/drawing/2014/main" id="{637FB5C9-F18A-42BF-88FF-8C0A11004D27}"/>
                </a:ext>
              </a:extLst>
            </p:cNvPr>
            <p:cNvSpPr/>
            <p:nvPr/>
          </p:nvSpPr>
          <p:spPr>
            <a:xfrm>
              <a:off x="5784224" y="5167957"/>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4 w 36099"/>
                <a:gd name="connsiteY6" fmla="*/ 6981 h 17597"/>
                <a:gd name="connsiteX7" fmla="*/ 35764 w 36099"/>
                <a:gd name="connsiteY7" fmla="*/ -163 h 17597"/>
                <a:gd name="connsiteX8" fmla="*/ 34144 w 36099"/>
                <a:gd name="connsiteY8" fmla="*/ 2123 h 17597"/>
                <a:gd name="connsiteX9" fmla="*/ 31858 w 36099"/>
                <a:gd name="connsiteY9" fmla="*/ 3457 h 17597"/>
                <a:gd name="connsiteX10" fmla="*/ 21571 w 36099"/>
                <a:gd name="connsiteY10" fmla="*/ 9362 h 17597"/>
                <a:gd name="connsiteX11" fmla="*/ 13856 w 36099"/>
                <a:gd name="connsiteY11" fmla="*/ 9362 h 17597"/>
                <a:gd name="connsiteX12" fmla="*/ 3569 w 36099"/>
                <a:gd name="connsiteY12" fmla="*/ 3457 h 17597"/>
                <a:gd name="connsiteX13" fmla="*/ 1283 w 36099"/>
                <a:gd name="connsiteY13" fmla="*/ 2123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03" y="8029"/>
                    <a:pt x="407" y="8857"/>
                    <a:pt x="1283" y="9267"/>
                  </a:cubicBezTo>
                  <a:lnTo>
                    <a:pt x="13856" y="16506"/>
                  </a:lnTo>
                  <a:cubicBezTo>
                    <a:pt x="16275" y="17744"/>
                    <a:pt x="19152" y="17744"/>
                    <a:pt x="21571" y="16506"/>
                  </a:cubicBezTo>
                  <a:lnTo>
                    <a:pt x="34144" y="9267"/>
                  </a:lnTo>
                  <a:cubicBezTo>
                    <a:pt x="35059" y="8857"/>
                    <a:pt x="35678" y="7981"/>
                    <a:pt x="35764" y="6981"/>
                  </a:cubicBezTo>
                  <a:lnTo>
                    <a:pt x="35764" y="-163"/>
                  </a:lnTo>
                  <a:cubicBezTo>
                    <a:pt x="35697" y="847"/>
                    <a:pt x="35077" y="1733"/>
                    <a:pt x="34144" y="2123"/>
                  </a:cubicBezTo>
                  <a:lnTo>
                    <a:pt x="31858" y="3457"/>
                  </a:lnTo>
                  <a:lnTo>
                    <a:pt x="21571" y="9362"/>
                  </a:lnTo>
                  <a:cubicBezTo>
                    <a:pt x="19152" y="10601"/>
                    <a:pt x="16275" y="10601"/>
                    <a:pt x="13856" y="9362"/>
                  </a:cubicBezTo>
                  <a:lnTo>
                    <a:pt x="3569" y="3457"/>
                  </a:lnTo>
                  <a:lnTo>
                    <a:pt x="1283" y="2123"/>
                  </a:lnTo>
                  <a:cubicBezTo>
                    <a:pt x="378" y="1695"/>
                    <a:pt x="-232"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407" name="íṩ1íḍê">
              <a:extLst>
                <a:ext uri="{FF2B5EF4-FFF2-40B4-BE49-F238E27FC236}">
                  <a16:creationId xmlns:a16="http://schemas.microsoft.com/office/drawing/2014/main" id="{83DC53E4-E69A-4075-8A46-AC5B1602B2C1}"/>
                </a:ext>
              </a:extLst>
            </p:cNvPr>
            <p:cNvSpPr/>
            <p:nvPr/>
          </p:nvSpPr>
          <p:spPr>
            <a:xfrm>
              <a:off x="5861634" y="5180787"/>
              <a:ext cx="109362" cy="63588"/>
            </a:xfrm>
            <a:custGeom>
              <a:avLst/>
              <a:gdLst>
                <a:gd name="connsiteX0" fmla="*/ -336 w 35928"/>
                <a:gd name="connsiteY0" fmla="*/ 10291 h 20890"/>
                <a:gd name="connsiteX1" fmla="*/ 1188 w 35928"/>
                <a:gd name="connsiteY1" fmla="*/ 12482 h 20890"/>
                <a:gd name="connsiteX2" fmla="*/ 3569 w 35928"/>
                <a:gd name="connsiteY2" fmla="*/ 13910 h 20890"/>
                <a:gd name="connsiteX3" fmla="*/ 13856 w 35928"/>
                <a:gd name="connsiteY3" fmla="*/ 19721 h 20890"/>
                <a:gd name="connsiteX4" fmla="*/ 21476 w 35928"/>
                <a:gd name="connsiteY4" fmla="*/ 19721 h 20890"/>
                <a:gd name="connsiteX5" fmla="*/ 31763 w 35928"/>
                <a:gd name="connsiteY5" fmla="*/ 13910 h 20890"/>
                <a:gd name="connsiteX6" fmla="*/ 34144 w 35928"/>
                <a:gd name="connsiteY6" fmla="*/ 12482 h 20890"/>
                <a:gd name="connsiteX7" fmla="*/ 35402 w 35928"/>
                <a:gd name="connsiteY7" fmla="*/ 9358 h 20890"/>
                <a:gd name="connsiteX8" fmla="*/ 34144 w 35928"/>
                <a:gd name="connsiteY8" fmla="*/ 8100 h 20890"/>
                <a:gd name="connsiteX9" fmla="*/ 21476 w 35928"/>
                <a:gd name="connsiteY9" fmla="*/ 766 h 20890"/>
                <a:gd name="connsiteX10" fmla="*/ 13856 w 35928"/>
                <a:gd name="connsiteY10" fmla="*/ 766 h 20890"/>
                <a:gd name="connsiteX11" fmla="*/ 1188 w 35928"/>
                <a:gd name="connsiteY11" fmla="*/ 8100 h 20890"/>
                <a:gd name="connsiteX12" fmla="*/ -336 w 35928"/>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928" h="20890">
                  <a:moveTo>
                    <a:pt x="-336" y="10291"/>
                  </a:moveTo>
                  <a:cubicBezTo>
                    <a:pt x="-298" y="11253"/>
                    <a:pt x="292" y="12110"/>
                    <a:pt x="1188" y="12482"/>
                  </a:cubicBezTo>
                  <a:lnTo>
                    <a:pt x="3569" y="13910"/>
                  </a:lnTo>
                  <a:lnTo>
                    <a:pt x="13856" y="19721"/>
                  </a:lnTo>
                  <a:cubicBezTo>
                    <a:pt x="16218" y="21064"/>
                    <a:pt x="19114" y="21064"/>
                    <a:pt x="21476" y="19721"/>
                  </a:cubicBezTo>
                  <a:lnTo>
                    <a:pt x="31763" y="13910"/>
                  </a:lnTo>
                  <a:lnTo>
                    <a:pt x="34144" y="12482"/>
                  </a:lnTo>
                  <a:cubicBezTo>
                    <a:pt x="35354" y="11968"/>
                    <a:pt x="35916" y="10567"/>
                    <a:pt x="35402" y="9358"/>
                  </a:cubicBezTo>
                  <a:cubicBezTo>
                    <a:pt x="35164" y="8796"/>
                    <a:pt x="34706" y="8338"/>
                    <a:pt x="34144" y="8100"/>
                  </a:cubicBezTo>
                  <a:lnTo>
                    <a:pt x="21476" y="766"/>
                  </a:lnTo>
                  <a:cubicBezTo>
                    <a:pt x="19085" y="-472"/>
                    <a:pt x="16247" y="-472"/>
                    <a:pt x="13856" y="766"/>
                  </a:cubicBezTo>
                  <a:lnTo>
                    <a:pt x="1188" y="8100"/>
                  </a:lnTo>
                  <a:cubicBezTo>
                    <a:pt x="292" y="8472"/>
                    <a:pt x="-298"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408" name="ïS1ïḍé">
              <a:extLst>
                <a:ext uri="{FF2B5EF4-FFF2-40B4-BE49-F238E27FC236}">
                  <a16:creationId xmlns:a16="http://schemas.microsoft.com/office/drawing/2014/main" id="{8DEFDEDD-73F0-4029-9779-89EA9D6A904D}"/>
                </a:ext>
              </a:extLst>
            </p:cNvPr>
            <p:cNvSpPr/>
            <p:nvPr/>
          </p:nvSpPr>
          <p:spPr>
            <a:xfrm>
              <a:off x="5863519" y="5181944"/>
              <a:ext cx="105898" cy="61104"/>
            </a:xfrm>
            <a:custGeom>
              <a:avLst/>
              <a:gdLst>
                <a:gd name="connsiteX0" fmla="*/ 1235 w 34790"/>
                <a:gd name="connsiteY0" fmla="*/ 12006 h 20074"/>
                <a:gd name="connsiteX1" fmla="*/ 13332 w 34790"/>
                <a:gd name="connsiteY1" fmla="*/ 19054 h 20074"/>
                <a:gd name="connsiteX2" fmla="*/ 20762 w 34790"/>
                <a:gd name="connsiteY2" fmla="*/ 19054 h 20074"/>
                <a:gd name="connsiteX3" fmla="*/ 32954 w 34790"/>
                <a:gd name="connsiteY3" fmla="*/ 12006 h 20074"/>
                <a:gd name="connsiteX4" fmla="*/ 32954 w 34790"/>
                <a:gd name="connsiteY4" fmla="*/ 7719 h 20074"/>
                <a:gd name="connsiteX5" fmla="*/ 20762 w 34790"/>
                <a:gd name="connsiteY5" fmla="*/ 766 h 20074"/>
                <a:gd name="connsiteX6" fmla="*/ 13332 w 34790"/>
                <a:gd name="connsiteY6" fmla="*/ 766 h 20074"/>
                <a:gd name="connsiteX7" fmla="*/ 1235 w 34790"/>
                <a:gd name="connsiteY7" fmla="*/ 7719 h 20074"/>
                <a:gd name="connsiteX8" fmla="*/ 1235 w 34790"/>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4">
                  <a:moveTo>
                    <a:pt x="1235" y="12006"/>
                  </a:moveTo>
                  <a:lnTo>
                    <a:pt x="13332" y="19054"/>
                  </a:lnTo>
                  <a:cubicBezTo>
                    <a:pt x="15675" y="20197"/>
                    <a:pt x="18419" y="20197"/>
                    <a:pt x="20762" y="19054"/>
                  </a:cubicBezTo>
                  <a:lnTo>
                    <a:pt x="32954" y="12006"/>
                  </a:lnTo>
                  <a:cubicBezTo>
                    <a:pt x="34954" y="10863"/>
                    <a:pt x="34954" y="8958"/>
                    <a:pt x="32954" y="7719"/>
                  </a:cubicBezTo>
                  <a:lnTo>
                    <a:pt x="20762" y="766"/>
                  </a:lnTo>
                  <a:cubicBezTo>
                    <a:pt x="18437" y="-472"/>
                    <a:pt x="15656" y="-472"/>
                    <a:pt x="13332" y="766"/>
                  </a:cubicBezTo>
                  <a:lnTo>
                    <a:pt x="1235" y="7719"/>
                  </a:lnTo>
                  <a:cubicBezTo>
                    <a:pt x="-860" y="8958"/>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409" name="ïṡļîďê">
              <a:extLst>
                <a:ext uri="{FF2B5EF4-FFF2-40B4-BE49-F238E27FC236}">
                  <a16:creationId xmlns:a16="http://schemas.microsoft.com/office/drawing/2014/main" id="{9D0C88CC-51C4-40AB-AF40-073D490E1CEC}"/>
                </a:ext>
              </a:extLst>
            </p:cNvPr>
            <p:cNvSpPr/>
            <p:nvPr/>
          </p:nvSpPr>
          <p:spPr>
            <a:xfrm>
              <a:off x="5861634" y="5212606"/>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028 h 17597"/>
                <a:gd name="connsiteX9" fmla="*/ 31763 w 36004"/>
                <a:gd name="connsiteY9" fmla="*/ 3457 h 17597"/>
                <a:gd name="connsiteX10" fmla="*/ 21476 w 36004"/>
                <a:gd name="connsiteY10" fmla="*/ 9267 h 17597"/>
                <a:gd name="connsiteX11" fmla="*/ 13856 w 36004"/>
                <a:gd name="connsiteY11" fmla="*/ 9267 h 17597"/>
                <a:gd name="connsiteX12" fmla="*/ 3569 w 36004"/>
                <a:gd name="connsiteY12" fmla="*/ 3457 h 17597"/>
                <a:gd name="connsiteX13" fmla="*/ 1188 w 36004"/>
                <a:gd name="connsiteY13" fmla="*/ 2028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20"/>
                    <a:pt x="35583" y="7953"/>
                    <a:pt x="35668" y="6981"/>
                  </a:cubicBezTo>
                  <a:lnTo>
                    <a:pt x="35668" y="-163"/>
                  </a:lnTo>
                  <a:cubicBezTo>
                    <a:pt x="35630" y="800"/>
                    <a:pt x="35040" y="1657"/>
                    <a:pt x="34144" y="2028"/>
                  </a:cubicBezTo>
                  <a:lnTo>
                    <a:pt x="31763" y="3457"/>
                  </a:lnTo>
                  <a:lnTo>
                    <a:pt x="21476" y="9267"/>
                  </a:lnTo>
                  <a:cubicBezTo>
                    <a:pt x="19114" y="10610"/>
                    <a:pt x="16218" y="10610"/>
                    <a:pt x="13856" y="9267"/>
                  </a:cubicBezTo>
                  <a:lnTo>
                    <a:pt x="3569" y="3457"/>
                  </a:lnTo>
                  <a:lnTo>
                    <a:pt x="1188" y="2028"/>
                  </a:lnTo>
                  <a:cubicBezTo>
                    <a:pt x="292" y="1657"/>
                    <a:pt x="-298" y="800"/>
                    <a:pt x="-336" y="-163"/>
                  </a:cubicBezTo>
                  <a:close/>
                </a:path>
              </a:pathLst>
            </a:custGeom>
            <a:solidFill>
              <a:srgbClr val="BF4200"/>
            </a:solidFill>
            <a:ln w="9525" cap="flat">
              <a:noFill/>
              <a:prstDash val="solid"/>
              <a:miter/>
            </a:ln>
          </p:spPr>
          <p:txBody>
            <a:bodyPr rtlCol="0" anchor="ctr"/>
            <a:lstStyle/>
            <a:p>
              <a:endParaRPr lang="zh-CN" altLang="en-US"/>
            </a:p>
          </p:txBody>
        </p:sp>
        <p:sp>
          <p:nvSpPr>
            <p:cNvPr id="410" name="î$1ïḓé">
              <a:extLst>
                <a:ext uri="{FF2B5EF4-FFF2-40B4-BE49-F238E27FC236}">
                  <a16:creationId xmlns:a16="http://schemas.microsoft.com/office/drawing/2014/main" id="{E5F9A879-8193-4B59-8465-E6E2D8962CF0}"/>
                </a:ext>
              </a:extLst>
            </p:cNvPr>
            <p:cNvSpPr/>
            <p:nvPr/>
          </p:nvSpPr>
          <p:spPr>
            <a:xfrm>
              <a:off x="5938177" y="5225436"/>
              <a:ext cx="109594" cy="63588"/>
            </a:xfrm>
            <a:custGeom>
              <a:avLst/>
              <a:gdLst>
                <a:gd name="connsiteX0" fmla="*/ -336 w 36004"/>
                <a:gd name="connsiteY0" fmla="*/ 10291 h 20890"/>
                <a:gd name="connsiteX1" fmla="*/ 1188 w 36004"/>
                <a:gd name="connsiteY1" fmla="*/ 12482 h 20890"/>
                <a:gd name="connsiteX2" fmla="*/ 3569 w 36004"/>
                <a:gd name="connsiteY2" fmla="*/ 13911 h 20890"/>
                <a:gd name="connsiteX3" fmla="*/ 13856 w 36004"/>
                <a:gd name="connsiteY3" fmla="*/ 19721 h 20890"/>
                <a:gd name="connsiteX4" fmla="*/ 21476 w 36004"/>
                <a:gd name="connsiteY4" fmla="*/ 19721 h 20890"/>
                <a:gd name="connsiteX5" fmla="*/ 31763 w 36004"/>
                <a:gd name="connsiteY5" fmla="*/ 13911 h 20890"/>
                <a:gd name="connsiteX6" fmla="*/ 34144 w 36004"/>
                <a:gd name="connsiteY6" fmla="*/ 12482 h 20890"/>
                <a:gd name="connsiteX7" fmla="*/ 35668 w 36004"/>
                <a:gd name="connsiteY7" fmla="*/ 10291 h 20890"/>
                <a:gd name="connsiteX8" fmla="*/ 34144 w 36004"/>
                <a:gd name="connsiteY8" fmla="*/ 8005 h 20890"/>
                <a:gd name="connsiteX9" fmla="*/ 21476 w 36004"/>
                <a:gd name="connsiteY9" fmla="*/ 766 h 20890"/>
                <a:gd name="connsiteX10" fmla="*/ 13856 w 36004"/>
                <a:gd name="connsiteY10" fmla="*/ 766 h 20890"/>
                <a:gd name="connsiteX11" fmla="*/ 1188 w 36004"/>
                <a:gd name="connsiteY11" fmla="*/ 8005 h 20890"/>
                <a:gd name="connsiteX12" fmla="*/ -336 w 36004"/>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291"/>
                  </a:moveTo>
                  <a:cubicBezTo>
                    <a:pt x="-279" y="11244"/>
                    <a:pt x="311" y="12091"/>
                    <a:pt x="1188" y="12482"/>
                  </a:cubicBezTo>
                  <a:lnTo>
                    <a:pt x="3569" y="13911"/>
                  </a:lnTo>
                  <a:lnTo>
                    <a:pt x="13856" y="19721"/>
                  </a:lnTo>
                  <a:cubicBezTo>
                    <a:pt x="16218" y="21064"/>
                    <a:pt x="19114" y="21064"/>
                    <a:pt x="21476" y="19721"/>
                  </a:cubicBezTo>
                  <a:lnTo>
                    <a:pt x="31763" y="13911"/>
                  </a:lnTo>
                  <a:lnTo>
                    <a:pt x="34144" y="12482"/>
                  </a:lnTo>
                  <a:cubicBezTo>
                    <a:pt x="35021" y="12091"/>
                    <a:pt x="35611" y="11253"/>
                    <a:pt x="35668" y="10291"/>
                  </a:cubicBezTo>
                  <a:cubicBezTo>
                    <a:pt x="35602" y="9310"/>
                    <a:pt x="35021" y="8443"/>
                    <a:pt x="34144" y="8005"/>
                  </a:cubicBezTo>
                  <a:lnTo>
                    <a:pt x="21476" y="766"/>
                  </a:lnTo>
                  <a:cubicBezTo>
                    <a:pt x="19085" y="-472"/>
                    <a:pt x="16247" y="-472"/>
                    <a:pt x="13856" y="766"/>
                  </a:cubicBezTo>
                  <a:lnTo>
                    <a:pt x="1188" y="8005"/>
                  </a:lnTo>
                  <a:cubicBezTo>
                    <a:pt x="311" y="8443"/>
                    <a:pt x="-270" y="9310"/>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411" name="íśļídè">
              <a:extLst>
                <a:ext uri="{FF2B5EF4-FFF2-40B4-BE49-F238E27FC236}">
                  <a16:creationId xmlns:a16="http://schemas.microsoft.com/office/drawing/2014/main" id="{C7FB0A90-E8A6-4363-B8C3-B8216353FF87}"/>
                </a:ext>
              </a:extLst>
            </p:cNvPr>
            <p:cNvSpPr/>
            <p:nvPr/>
          </p:nvSpPr>
          <p:spPr>
            <a:xfrm>
              <a:off x="5939991" y="5226595"/>
              <a:ext cx="106766" cy="61101"/>
            </a:xfrm>
            <a:custGeom>
              <a:avLst/>
              <a:gdLst>
                <a:gd name="connsiteX0" fmla="*/ 1450 w 35075"/>
                <a:gd name="connsiteY0" fmla="*/ 12006 h 20073"/>
                <a:gd name="connsiteX1" fmla="*/ 13642 w 35075"/>
                <a:gd name="connsiteY1" fmla="*/ 19054 h 20073"/>
                <a:gd name="connsiteX2" fmla="*/ 21071 w 35075"/>
                <a:gd name="connsiteY2" fmla="*/ 19054 h 20073"/>
                <a:gd name="connsiteX3" fmla="*/ 33168 w 35075"/>
                <a:gd name="connsiteY3" fmla="*/ 12006 h 20073"/>
                <a:gd name="connsiteX4" fmla="*/ 33168 w 35075"/>
                <a:gd name="connsiteY4" fmla="*/ 7719 h 20073"/>
                <a:gd name="connsiteX5" fmla="*/ 21071 w 35075"/>
                <a:gd name="connsiteY5" fmla="*/ 766 h 20073"/>
                <a:gd name="connsiteX6" fmla="*/ 13642 w 35075"/>
                <a:gd name="connsiteY6" fmla="*/ 766 h 20073"/>
                <a:gd name="connsiteX7" fmla="*/ 1450 w 35075"/>
                <a:gd name="connsiteY7" fmla="*/ 7719 h 20073"/>
                <a:gd name="connsiteX8" fmla="*/ 1450 w 35075"/>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075" h="20073">
                  <a:moveTo>
                    <a:pt x="1450" y="12006"/>
                  </a:moveTo>
                  <a:lnTo>
                    <a:pt x="13642" y="19054"/>
                  </a:lnTo>
                  <a:cubicBezTo>
                    <a:pt x="15985" y="20197"/>
                    <a:pt x="18728" y="20197"/>
                    <a:pt x="21071" y="19054"/>
                  </a:cubicBezTo>
                  <a:lnTo>
                    <a:pt x="33168" y="12006"/>
                  </a:lnTo>
                  <a:cubicBezTo>
                    <a:pt x="35263" y="10863"/>
                    <a:pt x="35263" y="8957"/>
                    <a:pt x="33168" y="7719"/>
                  </a:cubicBezTo>
                  <a:lnTo>
                    <a:pt x="21071" y="766"/>
                  </a:lnTo>
                  <a:cubicBezTo>
                    <a:pt x="18747" y="-472"/>
                    <a:pt x="15966" y="-472"/>
                    <a:pt x="13642" y="766"/>
                  </a:cubicBezTo>
                  <a:lnTo>
                    <a:pt x="1450" y="7719"/>
                  </a:lnTo>
                  <a:cubicBezTo>
                    <a:pt x="-932" y="8957"/>
                    <a:pt x="-932" y="10863"/>
                    <a:pt x="1450" y="12006"/>
                  </a:cubicBezTo>
                  <a:close/>
                </a:path>
              </a:pathLst>
            </a:custGeom>
            <a:solidFill>
              <a:srgbClr val="D1D9E8"/>
            </a:solidFill>
            <a:ln w="9525" cap="flat">
              <a:noFill/>
              <a:prstDash val="solid"/>
              <a:miter/>
            </a:ln>
          </p:spPr>
          <p:txBody>
            <a:bodyPr rtlCol="0" anchor="ctr"/>
            <a:lstStyle/>
            <a:p>
              <a:endParaRPr lang="zh-CN" altLang="en-US"/>
            </a:p>
          </p:txBody>
        </p:sp>
        <p:sp>
          <p:nvSpPr>
            <p:cNvPr id="412" name="íṡļiḓe">
              <a:extLst>
                <a:ext uri="{FF2B5EF4-FFF2-40B4-BE49-F238E27FC236}">
                  <a16:creationId xmlns:a16="http://schemas.microsoft.com/office/drawing/2014/main" id="{6EC0EC46-C39E-4334-AA2D-3D82A5A1A322}"/>
                </a:ext>
              </a:extLst>
            </p:cNvPr>
            <p:cNvSpPr/>
            <p:nvPr/>
          </p:nvSpPr>
          <p:spPr>
            <a:xfrm>
              <a:off x="5938177" y="5257257"/>
              <a:ext cx="109594" cy="53564"/>
            </a:xfrm>
            <a:custGeom>
              <a:avLst/>
              <a:gdLst>
                <a:gd name="connsiteX0" fmla="*/ -336 w 36004"/>
                <a:gd name="connsiteY0" fmla="*/ -163 h 17597"/>
                <a:gd name="connsiteX1" fmla="*/ -336 w 36004"/>
                <a:gd name="connsiteY1" fmla="*/ 6981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028 h 17597"/>
                <a:gd name="connsiteX9" fmla="*/ 31763 w 36004"/>
                <a:gd name="connsiteY9" fmla="*/ 3457 h 17597"/>
                <a:gd name="connsiteX10" fmla="*/ 21476 w 36004"/>
                <a:gd name="connsiteY10" fmla="*/ 9267 h 17597"/>
                <a:gd name="connsiteX11" fmla="*/ 13856 w 36004"/>
                <a:gd name="connsiteY11" fmla="*/ 9267 h 17597"/>
                <a:gd name="connsiteX12" fmla="*/ 3569 w 36004"/>
                <a:gd name="connsiteY12" fmla="*/ 3457 h 17597"/>
                <a:gd name="connsiteX13" fmla="*/ 1188 w 36004"/>
                <a:gd name="connsiteY13" fmla="*/ 2028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6981"/>
                  </a:lnTo>
                  <a:cubicBezTo>
                    <a:pt x="-270" y="7962"/>
                    <a:pt x="311" y="8829"/>
                    <a:pt x="1188" y="9267"/>
                  </a:cubicBezTo>
                  <a:lnTo>
                    <a:pt x="13856" y="16506"/>
                  </a:lnTo>
                  <a:cubicBezTo>
                    <a:pt x="16247" y="17744"/>
                    <a:pt x="19085" y="17744"/>
                    <a:pt x="21476" y="16506"/>
                  </a:cubicBezTo>
                  <a:lnTo>
                    <a:pt x="34144" y="9267"/>
                  </a:lnTo>
                  <a:cubicBezTo>
                    <a:pt x="35011" y="8819"/>
                    <a:pt x="35582" y="7953"/>
                    <a:pt x="35668" y="6981"/>
                  </a:cubicBezTo>
                  <a:lnTo>
                    <a:pt x="35668" y="-163"/>
                  </a:lnTo>
                  <a:cubicBezTo>
                    <a:pt x="35611" y="790"/>
                    <a:pt x="35021" y="1638"/>
                    <a:pt x="34144" y="2028"/>
                  </a:cubicBezTo>
                  <a:lnTo>
                    <a:pt x="31763" y="3457"/>
                  </a:lnTo>
                  <a:lnTo>
                    <a:pt x="21476" y="9267"/>
                  </a:lnTo>
                  <a:cubicBezTo>
                    <a:pt x="19114" y="10610"/>
                    <a:pt x="16218" y="10610"/>
                    <a:pt x="13856" y="9267"/>
                  </a:cubicBezTo>
                  <a:lnTo>
                    <a:pt x="3569" y="3457"/>
                  </a:lnTo>
                  <a:lnTo>
                    <a:pt x="1188" y="2028"/>
                  </a:lnTo>
                  <a:cubicBezTo>
                    <a:pt x="311" y="1638"/>
                    <a:pt x="-279" y="800"/>
                    <a:pt x="-336" y="-163"/>
                  </a:cubicBezTo>
                  <a:close/>
                </a:path>
              </a:pathLst>
            </a:custGeom>
            <a:solidFill>
              <a:srgbClr val="BF4200"/>
            </a:solidFill>
            <a:ln w="9525" cap="flat">
              <a:noFill/>
              <a:prstDash val="solid"/>
              <a:miter/>
            </a:ln>
          </p:spPr>
          <p:txBody>
            <a:bodyPr rtlCol="0" anchor="ctr"/>
            <a:lstStyle/>
            <a:p>
              <a:endParaRPr lang="zh-CN" altLang="en-US"/>
            </a:p>
          </p:txBody>
        </p:sp>
        <p:sp>
          <p:nvSpPr>
            <p:cNvPr id="413" name="ïṥ1iḓè">
              <a:extLst>
                <a:ext uri="{FF2B5EF4-FFF2-40B4-BE49-F238E27FC236}">
                  <a16:creationId xmlns:a16="http://schemas.microsoft.com/office/drawing/2014/main" id="{92233579-DDAA-4673-B269-B26025F54702}"/>
                </a:ext>
              </a:extLst>
            </p:cNvPr>
            <p:cNvSpPr/>
            <p:nvPr/>
          </p:nvSpPr>
          <p:spPr>
            <a:xfrm>
              <a:off x="6016172" y="5270087"/>
              <a:ext cx="109594" cy="63588"/>
            </a:xfrm>
            <a:custGeom>
              <a:avLst/>
              <a:gdLst>
                <a:gd name="connsiteX0" fmla="*/ -336 w 36004"/>
                <a:gd name="connsiteY0" fmla="*/ 10196 h 20890"/>
                <a:gd name="connsiteX1" fmla="*/ 1283 w 36004"/>
                <a:gd name="connsiteY1" fmla="*/ 12482 h 20890"/>
                <a:gd name="connsiteX2" fmla="*/ 3569 w 36004"/>
                <a:gd name="connsiteY2" fmla="*/ 13815 h 20890"/>
                <a:gd name="connsiteX3" fmla="*/ 13856 w 36004"/>
                <a:gd name="connsiteY3" fmla="*/ 19721 h 20890"/>
                <a:gd name="connsiteX4" fmla="*/ 21571 w 36004"/>
                <a:gd name="connsiteY4" fmla="*/ 19721 h 20890"/>
                <a:gd name="connsiteX5" fmla="*/ 31858 w 36004"/>
                <a:gd name="connsiteY5" fmla="*/ 13815 h 20890"/>
                <a:gd name="connsiteX6" fmla="*/ 34144 w 36004"/>
                <a:gd name="connsiteY6" fmla="*/ 12482 h 20890"/>
                <a:gd name="connsiteX7" fmla="*/ 35668 w 36004"/>
                <a:gd name="connsiteY7" fmla="*/ 10196 h 20890"/>
                <a:gd name="connsiteX8" fmla="*/ 34144 w 36004"/>
                <a:gd name="connsiteY8" fmla="*/ 8005 h 20890"/>
                <a:gd name="connsiteX9" fmla="*/ 21571 w 36004"/>
                <a:gd name="connsiteY9" fmla="*/ 766 h 20890"/>
                <a:gd name="connsiteX10" fmla="*/ 13856 w 36004"/>
                <a:gd name="connsiteY10" fmla="*/ 766 h 20890"/>
                <a:gd name="connsiteX11" fmla="*/ 1283 w 36004"/>
                <a:gd name="connsiteY11" fmla="*/ 8005 h 20890"/>
                <a:gd name="connsiteX12" fmla="*/ -336 w 36004"/>
                <a:gd name="connsiteY12" fmla="*/ 10196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196"/>
                  </a:moveTo>
                  <a:cubicBezTo>
                    <a:pt x="-298" y="11215"/>
                    <a:pt x="340" y="12110"/>
                    <a:pt x="1283" y="12482"/>
                  </a:cubicBezTo>
                  <a:lnTo>
                    <a:pt x="3569" y="13815"/>
                  </a:lnTo>
                  <a:lnTo>
                    <a:pt x="13856" y="19721"/>
                  </a:lnTo>
                  <a:cubicBezTo>
                    <a:pt x="16256" y="21064"/>
                    <a:pt x="19171" y="21064"/>
                    <a:pt x="21571" y="19721"/>
                  </a:cubicBezTo>
                  <a:lnTo>
                    <a:pt x="31858" y="13815"/>
                  </a:lnTo>
                  <a:lnTo>
                    <a:pt x="34144" y="12482"/>
                  </a:lnTo>
                  <a:cubicBezTo>
                    <a:pt x="35049" y="12082"/>
                    <a:pt x="35640" y="11186"/>
                    <a:pt x="35668" y="10196"/>
                  </a:cubicBezTo>
                  <a:cubicBezTo>
                    <a:pt x="35573" y="9253"/>
                    <a:pt x="34992" y="8424"/>
                    <a:pt x="34144" y="8005"/>
                  </a:cubicBezTo>
                  <a:lnTo>
                    <a:pt x="21571" y="766"/>
                  </a:lnTo>
                  <a:cubicBezTo>
                    <a:pt x="19152" y="-472"/>
                    <a:pt x="16275" y="-472"/>
                    <a:pt x="13856" y="766"/>
                  </a:cubicBezTo>
                  <a:lnTo>
                    <a:pt x="1283" y="8005"/>
                  </a:lnTo>
                  <a:cubicBezTo>
                    <a:pt x="378" y="8386"/>
                    <a:pt x="-241" y="9224"/>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414" name="ïṣľîḋe">
              <a:extLst>
                <a:ext uri="{FF2B5EF4-FFF2-40B4-BE49-F238E27FC236}">
                  <a16:creationId xmlns:a16="http://schemas.microsoft.com/office/drawing/2014/main" id="{4721102C-2524-4A15-91B9-08F6A6A212E5}"/>
                </a:ext>
              </a:extLst>
            </p:cNvPr>
            <p:cNvSpPr/>
            <p:nvPr/>
          </p:nvSpPr>
          <p:spPr>
            <a:xfrm>
              <a:off x="6018302" y="5271247"/>
              <a:ext cx="105618" cy="61101"/>
            </a:xfrm>
            <a:custGeom>
              <a:avLst/>
              <a:gdLst>
                <a:gd name="connsiteX0" fmla="*/ 1154 w 34698"/>
                <a:gd name="connsiteY0" fmla="*/ 12006 h 20073"/>
                <a:gd name="connsiteX1" fmla="*/ 13251 w 34698"/>
                <a:gd name="connsiteY1" fmla="*/ 19054 h 20073"/>
                <a:gd name="connsiteX2" fmla="*/ 20680 w 34698"/>
                <a:gd name="connsiteY2" fmla="*/ 19054 h 20073"/>
                <a:gd name="connsiteX3" fmla="*/ 32872 w 34698"/>
                <a:gd name="connsiteY3" fmla="*/ 12006 h 20073"/>
                <a:gd name="connsiteX4" fmla="*/ 34215 w 34698"/>
                <a:gd name="connsiteY4" fmla="*/ 9072 h 20073"/>
                <a:gd name="connsiteX5" fmla="*/ 32872 w 34698"/>
                <a:gd name="connsiteY5" fmla="*/ 7719 h 20073"/>
                <a:gd name="connsiteX6" fmla="*/ 20680 w 34698"/>
                <a:gd name="connsiteY6" fmla="*/ 766 h 20073"/>
                <a:gd name="connsiteX7" fmla="*/ 13251 w 34698"/>
                <a:gd name="connsiteY7" fmla="*/ 766 h 20073"/>
                <a:gd name="connsiteX8" fmla="*/ 1154 w 34698"/>
                <a:gd name="connsiteY8" fmla="*/ 7719 h 20073"/>
                <a:gd name="connsiteX9" fmla="*/ -189 w 34698"/>
                <a:gd name="connsiteY9" fmla="*/ 10653 h 20073"/>
                <a:gd name="connsiteX10" fmla="*/ 1154 w 34698"/>
                <a:gd name="connsiteY10"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698" h="20073">
                  <a:moveTo>
                    <a:pt x="1154" y="12006"/>
                  </a:moveTo>
                  <a:lnTo>
                    <a:pt x="13251" y="19054"/>
                  </a:lnTo>
                  <a:cubicBezTo>
                    <a:pt x="15594" y="20197"/>
                    <a:pt x="18337" y="20197"/>
                    <a:pt x="20680" y="19054"/>
                  </a:cubicBezTo>
                  <a:lnTo>
                    <a:pt x="32872" y="12006"/>
                  </a:lnTo>
                  <a:cubicBezTo>
                    <a:pt x="34053" y="11567"/>
                    <a:pt x="34663" y="10253"/>
                    <a:pt x="34215" y="9072"/>
                  </a:cubicBezTo>
                  <a:cubicBezTo>
                    <a:pt x="33987" y="8443"/>
                    <a:pt x="33491" y="7948"/>
                    <a:pt x="32872" y="7719"/>
                  </a:cubicBezTo>
                  <a:lnTo>
                    <a:pt x="20680" y="766"/>
                  </a:lnTo>
                  <a:cubicBezTo>
                    <a:pt x="18356" y="-472"/>
                    <a:pt x="15575" y="-472"/>
                    <a:pt x="13251" y="766"/>
                  </a:cubicBezTo>
                  <a:lnTo>
                    <a:pt x="1154" y="7719"/>
                  </a:lnTo>
                  <a:cubicBezTo>
                    <a:pt x="-27" y="8158"/>
                    <a:pt x="-637" y="9472"/>
                    <a:pt x="-189" y="10653"/>
                  </a:cubicBezTo>
                  <a:cubicBezTo>
                    <a:pt x="40" y="11281"/>
                    <a:pt x="535" y="11777"/>
                    <a:pt x="1154" y="12006"/>
                  </a:cubicBezTo>
                  <a:close/>
                </a:path>
              </a:pathLst>
            </a:custGeom>
            <a:solidFill>
              <a:srgbClr val="D1D9E8"/>
            </a:solidFill>
            <a:ln w="9525" cap="flat">
              <a:noFill/>
              <a:prstDash val="solid"/>
              <a:miter/>
            </a:ln>
          </p:spPr>
          <p:txBody>
            <a:bodyPr rtlCol="0" anchor="ctr"/>
            <a:lstStyle/>
            <a:p>
              <a:endParaRPr lang="zh-CN" altLang="en-US"/>
            </a:p>
          </p:txBody>
        </p:sp>
        <p:sp>
          <p:nvSpPr>
            <p:cNvPr id="415" name="ïṡľíďe">
              <a:extLst>
                <a:ext uri="{FF2B5EF4-FFF2-40B4-BE49-F238E27FC236}">
                  <a16:creationId xmlns:a16="http://schemas.microsoft.com/office/drawing/2014/main" id="{4D65F7DA-35D3-4CC7-B877-37756A5B3303}"/>
                </a:ext>
              </a:extLst>
            </p:cNvPr>
            <p:cNvSpPr/>
            <p:nvPr/>
          </p:nvSpPr>
          <p:spPr>
            <a:xfrm>
              <a:off x="6016172" y="5301616"/>
              <a:ext cx="109594" cy="53801"/>
            </a:xfrm>
            <a:custGeom>
              <a:avLst/>
              <a:gdLst>
                <a:gd name="connsiteX0" fmla="*/ -336 w 36004"/>
                <a:gd name="connsiteY0" fmla="*/ -163 h 17675"/>
                <a:gd name="connsiteX1" fmla="*/ -336 w 36004"/>
                <a:gd name="connsiteY1" fmla="*/ 7076 h 17675"/>
                <a:gd name="connsiteX2" fmla="*/ 1283 w 36004"/>
                <a:gd name="connsiteY2" fmla="*/ 9267 h 17675"/>
                <a:gd name="connsiteX3" fmla="*/ 13856 w 36004"/>
                <a:gd name="connsiteY3" fmla="*/ 16506 h 17675"/>
                <a:gd name="connsiteX4" fmla="*/ 21571 w 36004"/>
                <a:gd name="connsiteY4" fmla="*/ 16506 h 17675"/>
                <a:gd name="connsiteX5" fmla="*/ 34144 w 36004"/>
                <a:gd name="connsiteY5" fmla="*/ 9267 h 17675"/>
                <a:gd name="connsiteX6" fmla="*/ 35668 w 36004"/>
                <a:gd name="connsiteY6" fmla="*/ 7076 h 17675"/>
                <a:gd name="connsiteX7" fmla="*/ 35668 w 36004"/>
                <a:gd name="connsiteY7" fmla="*/ -163 h 17675"/>
                <a:gd name="connsiteX8" fmla="*/ 34144 w 36004"/>
                <a:gd name="connsiteY8" fmla="*/ 2123 h 17675"/>
                <a:gd name="connsiteX9" fmla="*/ 31858 w 36004"/>
                <a:gd name="connsiteY9" fmla="*/ 3457 h 17675"/>
                <a:gd name="connsiteX10" fmla="*/ 21571 w 36004"/>
                <a:gd name="connsiteY10" fmla="*/ 9362 h 17675"/>
                <a:gd name="connsiteX11" fmla="*/ 13856 w 36004"/>
                <a:gd name="connsiteY11" fmla="*/ 9362 h 17675"/>
                <a:gd name="connsiteX12" fmla="*/ 3569 w 36004"/>
                <a:gd name="connsiteY12" fmla="*/ 3457 h 17675"/>
                <a:gd name="connsiteX13" fmla="*/ 1283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79" y="8067"/>
                    <a:pt x="349" y="8924"/>
                    <a:pt x="1283" y="9267"/>
                  </a:cubicBezTo>
                  <a:lnTo>
                    <a:pt x="13856" y="16506"/>
                  </a:lnTo>
                  <a:cubicBezTo>
                    <a:pt x="16256" y="17849"/>
                    <a:pt x="19171" y="17849"/>
                    <a:pt x="21571" y="16506"/>
                  </a:cubicBezTo>
                  <a:lnTo>
                    <a:pt x="34144" y="9267"/>
                  </a:lnTo>
                  <a:cubicBezTo>
                    <a:pt x="35021" y="8877"/>
                    <a:pt x="35611" y="8029"/>
                    <a:pt x="35668" y="7076"/>
                  </a:cubicBezTo>
                  <a:lnTo>
                    <a:pt x="35668" y="-163"/>
                  </a:lnTo>
                  <a:cubicBezTo>
                    <a:pt x="35640" y="828"/>
                    <a:pt x="35049" y="1723"/>
                    <a:pt x="34144" y="2123"/>
                  </a:cubicBezTo>
                  <a:lnTo>
                    <a:pt x="31858" y="3457"/>
                  </a:lnTo>
                  <a:lnTo>
                    <a:pt x="21571" y="9362"/>
                  </a:lnTo>
                  <a:cubicBezTo>
                    <a:pt x="19171" y="10705"/>
                    <a:pt x="16256" y="10705"/>
                    <a:pt x="13856" y="9362"/>
                  </a:cubicBezTo>
                  <a:lnTo>
                    <a:pt x="3569" y="3457"/>
                  </a:lnTo>
                  <a:lnTo>
                    <a:pt x="1283" y="2123"/>
                  </a:lnTo>
                  <a:cubicBezTo>
                    <a:pt x="340" y="1752"/>
                    <a:pt x="-298" y="856"/>
                    <a:pt x="-336" y="-163"/>
                  </a:cubicBezTo>
                  <a:close/>
                </a:path>
              </a:pathLst>
            </a:custGeom>
            <a:solidFill>
              <a:srgbClr val="BF4200"/>
            </a:solidFill>
            <a:ln w="9525" cap="flat">
              <a:noFill/>
              <a:prstDash val="solid"/>
              <a:miter/>
            </a:ln>
          </p:spPr>
          <p:txBody>
            <a:bodyPr rtlCol="0" anchor="ctr"/>
            <a:lstStyle/>
            <a:p>
              <a:endParaRPr lang="zh-CN" altLang="en-US"/>
            </a:p>
          </p:txBody>
        </p:sp>
        <p:sp>
          <p:nvSpPr>
            <p:cNvPr id="416" name="îṩḷíďe">
              <a:extLst>
                <a:ext uri="{FF2B5EF4-FFF2-40B4-BE49-F238E27FC236}">
                  <a16:creationId xmlns:a16="http://schemas.microsoft.com/office/drawing/2014/main" id="{CE27456D-373E-4B70-9B12-41FC3BD74A81}"/>
                </a:ext>
              </a:extLst>
            </p:cNvPr>
            <p:cNvSpPr/>
            <p:nvPr/>
          </p:nvSpPr>
          <p:spPr>
            <a:xfrm>
              <a:off x="6093582" y="5314735"/>
              <a:ext cx="109740" cy="63588"/>
            </a:xfrm>
            <a:custGeom>
              <a:avLst/>
              <a:gdLst>
                <a:gd name="connsiteX0" fmla="*/ -336 w 36052"/>
                <a:gd name="connsiteY0" fmla="*/ 10196 h 20890"/>
                <a:gd name="connsiteX1" fmla="*/ 1188 w 36052"/>
                <a:gd name="connsiteY1" fmla="*/ 12482 h 20890"/>
                <a:gd name="connsiteX2" fmla="*/ 3569 w 36052"/>
                <a:gd name="connsiteY2" fmla="*/ 13815 h 20890"/>
                <a:gd name="connsiteX3" fmla="*/ 13856 w 36052"/>
                <a:gd name="connsiteY3" fmla="*/ 19721 h 20890"/>
                <a:gd name="connsiteX4" fmla="*/ 21476 w 36052"/>
                <a:gd name="connsiteY4" fmla="*/ 19721 h 20890"/>
                <a:gd name="connsiteX5" fmla="*/ 31763 w 36052"/>
                <a:gd name="connsiteY5" fmla="*/ 13815 h 20890"/>
                <a:gd name="connsiteX6" fmla="*/ 34144 w 36052"/>
                <a:gd name="connsiteY6" fmla="*/ 12482 h 20890"/>
                <a:gd name="connsiteX7" fmla="*/ 35573 w 36052"/>
                <a:gd name="connsiteY7" fmla="*/ 9434 h 20890"/>
                <a:gd name="connsiteX8" fmla="*/ 34144 w 36052"/>
                <a:gd name="connsiteY8" fmla="*/ 8005 h 20890"/>
                <a:gd name="connsiteX9" fmla="*/ 21476 w 36052"/>
                <a:gd name="connsiteY9" fmla="*/ 766 h 20890"/>
                <a:gd name="connsiteX10" fmla="*/ 13856 w 36052"/>
                <a:gd name="connsiteY10" fmla="*/ 766 h 20890"/>
                <a:gd name="connsiteX11" fmla="*/ 1188 w 36052"/>
                <a:gd name="connsiteY11" fmla="*/ 8005 h 20890"/>
                <a:gd name="connsiteX12" fmla="*/ -336 w 36052"/>
                <a:gd name="connsiteY12" fmla="*/ 10196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90">
                  <a:moveTo>
                    <a:pt x="-336" y="10196"/>
                  </a:moveTo>
                  <a:cubicBezTo>
                    <a:pt x="-269" y="11177"/>
                    <a:pt x="312" y="12044"/>
                    <a:pt x="1188" y="12482"/>
                  </a:cubicBezTo>
                  <a:lnTo>
                    <a:pt x="3569" y="13815"/>
                  </a:lnTo>
                  <a:lnTo>
                    <a:pt x="13856" y="19721"/>
                  </a:lnTo>
                  <a:cubicBezTo>
                    <a:pt x="16218" y="21064"/>
                    <a:pt x="19114" y="21064"/>
                    <a:pt x="21476" y="19721"/>
                  </a:cubicBezTo>
                  <a:lnTo>
                    <a:pt x="31763" y="13815"/>
                  </a:lnTo>
                  <a:lnTo>
                    <a:pt x="34144" y="12482"/>
                  </a:lnTo>
                  <a:cubicBezTo>
                    <a:pt x="35382" y="12034"/>
                    <a:pt x="36021" y="10663"/>
                    <a:pt x="35573" y="9434"/>
                  </a:cubicBezTo>
                  <a:cubicBezTo>
                    <a:pt x="35325" y="8767"/>
                    <a:pt x="34811" y="8243"/>
                    <a:pt x="34144" y="8005"/>
                  </a:cubicBezTo>
                  <a:lnTo>
                    <a:pt x="21476" y="766"/>
                  </a:lnTo>
                  <a:cubicBezTo>
                    <a:pt x="19085" y="-472"/>
                    <a:pt x="16247" y="-472"/>
                    <a:pt x="13856" y="766"/>
                  </a:cubicBezTo>
                  <a:lnTo>
                    <a:pt x="1188" y="8005"/>
                  </a:lnTo>
                  <a:cubicBezTo>
                    <a:pt x="340" y="8424"/>
                    <a:pt x="-241" y="925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417" name="iṡḻïḍe">
              <a:extLst>
                <a:ext uri="{FF2B5EF4-FFF2-40B4-BE49-F238E27FC236}">
                  <a16:creationId xmlns:a16="http://schemas.microsoft.com/office/drawing/2014/main" id="{E200766D-A03E-4BD5-B198-8A0F5E6FC2CF}"/>
                </a:ext>
              </a:extLst>
            </p:cNvPr>
            <p:cNvSpPr/>
            <p:nvPr/>
          </p:nvSpPr>
          <p:spPr>
            <a:xfrm>
              <a:off x="6095426" y="5315822"/>
              <a:ext cx="105618" cy="61174"/>
            </a:xfrm>
            <a:custGeom>
              <a:avLst/>
              <a:gdLst>
                <a:gd name="connsiteX0" fmla="*/ 1154 w 34698"/>
                <a:gd name="connsiteY0" fmla="*/ 12030 h 20097"/>
                <a:gd name="connsiteX1" fmla="*/ 13346 w 34698"/>
                <a:gd name="connsiteY1" fmla="*/ 19078 h 20097"/>
                <a:gd name="connsiteX2" fmla="*/ 20776 w 34698"/>
                <a:gd name="connsiteY2" fmla="*/ 19078 h 20097"/>
                <a:gd name="connsiteX3" fmla="*/ 32872 w 34698"/>
                <a:gd name="connsiteY3" fmla="*/ 12030 h 20097"/>
                <a:gd name="connsiteX4" fmla="*/ 34215 w 34698"/>
                <a:gd name="connsiteY4" fmla="*/ 9096 h 20097"/>
                <a:gd name="connsiteX5" fmla="*/ 32872 w 34698"/>
                <a:gd name="connsiteY5" fmla="*/ 7743 h 20097"/>
                <a:gd name="connsiteX6" fmla="*/ 20776 w 34698"/>
                <a:gd name="connsiteY6" fmla="*/ 695 h 20097"/>
                <a:gd name="connsiteX7" fmla="*/ 13346 w 34698"/>
                <a:gd name="connsiteY7" fmla="*/ 695 h 20097"/>
                <a:gd name="connsiteX8" fmla="*/ 1154 w 34698"/>
                <a:gd name="connsiteY8" fmla="*/ 7743 h 20097"/>
                <a:gd name="connsiteX9" fmla="*/ -189 w 34698"/>
                <a:gd name="connsiteY9" fmla="*/ 10686 h 20097"/>
                <a:gd name="connsiteX10" fmla="*/ 1154 w 34698"/>
                <a:gd name="connsiteY10" fmla="*/ 12030 h 20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698" h="20097">
                  <a:moveTo>
                    <a:pt x="1154" y="12030"/>
                  </a:moveTo>
                  <a:lnTo>
                    <a:pt x="13346" y="19078"/>
                  </a:lnTo>
                  <a:cubicBezTo>
                    <a:pt x="15689" y="20221"/>
                    <a:pt x="18432" y="20221"/>
                    <a:pt x="20776" y="19078"/>
                  </a:cubicBezTo>
                  <a:lnTo>
                    <a:pt x="32872" y="12030"/>
                  </a:lnTo>
                  <a:cubicBezTo>
                    <a:pt x="34053" y="11591"/>
                    <a:pt x="34663" y="10277"/>
                    <a:pt x="34215" y="9096"/>
                  </a:cubicBezTo>
                  <a:cubicBezTo>
                    <a:pt x="33987" y="8467"/>
                    <a:pt x="33491" y="7972"/>
                    <a:pt x="32872" y="7743"/>
                  </a:cubicBezTo>
                  <a:lnTo>
                    <a:pt x="20776" y="695"/>
                  </a:lnTo>
                  <a:cubicBezTo>
                    <a:pt x="18432" y="-448"/>
                    <a:pt x="15689" y="-448"/>
                    <a:pt x="13346" y="695"/>
                  </a:cubicBezTo>
                  <a:lnTo>
                    <a:pt x="1154" y="7743"/>
                  </a:lnTo>
                  <a:cubicBezTo>
                    <a:pt x="-27" y="8181"/>
                    <a:pt x="-637" y="9496"/>
                    <a:pt x="-189" y="10686"/>
                  </a:cubicBezTo>
                  <a:cubicBezTo>
                    <a:pt x="40" y="11305"/>
                    <a:pt x="525" y="11801"/>
                    <a:pt x="1154" y="12030"/>
                  </a:cubicBezTo>
                  <a:close/>
                </a:path>
              </a:pathLst>
            </a:custGeom>
            <a:solidFill>
              <a:srgbClr val="D1D9E8"/>
            </a:solidFill>
            <a:ln w="9525" cap="flat">
              <a:noFill/>
              <a:prstDash val="solid"/>
              <a:miter/>
            </a:ln>
          </p:spPr>
          <p:txBody>
            <a:bodyPr rtlCol="0" anchor="ctr"/>
            <a:lstStyle/>
            <a:p>
              <a:endParaRPr lang="zh-CN" altLang="en-US"/>
            </a:p>
          </p:txBody>
        </p:sp>
        <p:sp>
          <p:nvSpPr>
            <p:cNvPr id="418" name="ïšḷíḓè">
              <a:extLst>
                <a:ext uri="{FF2B5EF4-FFF2-40B4-BE49-F238E27FC236}">
                  <a16:creationId xmlns:a16="http://schemas.microsoft.com/office/drawing/2014/main" id="{24CB3C25-069E-4E77-AD22-6309F4974F71}"/>
                </a:ext>
              </a:extLst>
            </p:cNvPr>
            <p:cNvSpPr/>
            <p:nvPr/>
          </p:nvSpPr>
          <p:spPr>
            <a:xfrm>
              <a:off x="6093582" y="5346267"/>
              <a:ext cx="109594" cy="53801"/>
            </a:xfrm>
            <a:custGeom>
              <a:avLst/>
              <a:gdLst>
                <a:gd name="connsiteX0" fmla="*/ -336 w 36004"/>
                <a:gd name="connsiteY0" fmla="*/ -163 h 17675"/>
                <a:gd name="connsiteX1" fmla="*/ -336 w 36004"/>
                <a:gd name="connsiteY1" fmla="*/ 7076 h 17675"/>
                <a:gd name="connsiteX2" fmla="*/ 1188 w 36004"/>
                <a:gd name="connsiteY2" fmla="*/ 9267 h 17675"/>
                <a:gd name="connsiteX3" fmla="*/ 13856 w 36004"/>
                <a:gd name="connsiteY3" fmla="*/ 16506 h 17675"/>
                <a:gd name="connsiteX4" fmla="*/ 21476 w 36004"/>
                <a:gd name="connsiteY4" fmla="*/ 16506 h 17675"/>
                <a:gd name="connsiteX5" fmla="*/ 34144 w 36004"/>
                <a:gd name="connsiteY5" fmla="*/ 9267 h 17675"/>
                <a:gd name="connsiteX6" fmla="*/ 35668 w 36004"/>
                <a:gd name="connsiteY6" fmla="*/ 7076 h 17675"/>
                <a:gd name="connsiteX7" fmla="*/ 35668 w 36004"/>
                <a:gd name="connsiteY7" fmla="*/ -163 h 17675"/>
                <a:gd name="connsiteX8" fmla="*/ 34144 w 36004"/>
                <a:gd name="connsiteY8" fmla="*/ 2123 h 17675"/>
                <a:gd name="connsiteX9" fmla="*/ 31763 w 36004"/>
                <a:gd name="connsiteY9" fmla="*/ 3457 h 17675"/>
                <a:gd name="connsiteX10" fmla="*/ 21476 w 36004"/>
                <a:gd name="connsiteY10" fmla="*/ 9362 h 17675"/>
                <a:gd name="connsiteX11" fmla="*/ 13856 w 36004"/>
                <a:gd name="connsiteY11" fmla="*/ 9362 h 17675"/>
                <a:gd name="connsiteX12" fmla="*/ 3569 w 36004"/>
                <a:gd name="connsiteY12" fmla="*/ 3457 h 17675"/>
                <a:gd name="connsiteX13" fmla="*/ 1188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79" y="8038"/>
                    <a:pt x="312" y="8877"/>
                    <a:pt x="1188" y="9267"/>
                  </a:cubicBezTo>
                  <a:lnTo>
                    <a:pt x="13856" y="16506"/>
                  </a:lnTo>
                  <a:cubicBezTo>
                    <a:pt x="16218" y="17849"/>
                    <a:pt x="19114" y="17849"/>
                    <a:pt x="21476" y="16506"/>
                  </a:cubicBezTo>
                  <a:lnTo>
                    <a:pt x="34144" y="9267"/>
                  </a:lnTo>
                  <a:cubicBezTo>
                    <a:pt x="35021" y="8877"/>
                    <a:pt x="35611" y="8038"/>
                    <a:pt x="35668" y="7076"/>
                  </a:cubicBezTo>
                  <a:lnTo>
                    <a:pt x="35668" y="-163"/>
                  </a:lnTo>
                  <a:cubicBezTo>
                    <a:pt x="35602" y="818"/>
                    <a:pt x="35021" y="1685"/>
                    <a:pt x="34144" y="2123"/>
                  </a:cubicBezTo>
                  <a:lnTo>
                    <a:pt x="31763" y="3457"/>
                  </a:lnTo>
                  <a:lnTo>
                    <a:pt x="21476" y="9362"/>
                  </a:lnTo>
                  <a:cubicBezTo>
                    <a:pt x="19114" y="10705"/>
                    <a:pt x="16218" y="10705"/>
                    <a:pt x="13856" y="9362"/>
                  </a:cubicBezTo>
                  <a:lnTo>
                    <a:pt x="3569" y="3457"/>
                  </a:lnTo>
                  <a:lnTo>
                    <a:pt x="1188" y="2123"/>
                  </a:lnTo>
                  <a:cubicBezTo>
                    <a:pt x="312"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419" name="ïṣľïďe">
              <a:extLst>
                <a:ext uri="{FF2B5EF4-FFF2-40B4-BE49-F238E27FC236}">
                  <a16:creationId xmlns:a16="http://schemas.microsoft.com/office/drawing/2014/main" id="{447BED6A-83FC-4CAB-B28D-745F925480E0}"/>
                </a:ext>
              </a:extLst>
            </p:cNvPr>
            <p:cNvSpPr/>
            <p:nvPr/>
          </p:nvSpPr>
          <p:spPr>
            <a:xfrm>
              <a:off x="6170124" y="5359384"/>
              <a:ext cx="140036" cy="80688"/>
            </a:xfrm>
            <a:custGeom>
              <a:avLst/>
              <a:gdLst>
                <a:gd name="connsiteX0" fmla="*/ -336 w 46005"/>
                <a:gd name="connsiteY0" fmla="*/ 10196 h 26508"/>
                <a:gd name="connsiteX1" fmla="*/ 1283 w 46005"/>
                <a:gd name="connsiteY1" fmla="*/ 12482 h 26508"/>
                <a:gd name="connsiteX2" fmla="*/ 3569 w 46005"/>
                <a:gd name="connsiteY2" fmla="*/ 13815 h 26508"/>
                <a:gd name="connsiteX3" fmla="*/ 23762 w 46005"/>
                <a:gd name="connsiteY3" fmla="*/ 25531 h 26508"/>
                <a:gd name="connsiteX4" fmla="*/ 31477 w 46005"/>
                <a:gd name="connsiteY4" fmla="*/ 25531 h 26508"/>
                <a:gd name="connsiteX5" fmla="*/ 41764 w 46005"/>
                <a:gd name="connsiteY5" fmla="*/ 19530 h 26508"/>
                <a:gd name="connsiteX6" fmla="*/ 44146 w 46005"/>
                <a:gd name="connsiteY6" fmla="*/ 18197 h 26508"/>
                <a:gd name="connsiteX7" fmla="*/ 45669 w 46005"/>
                <a:gd name="connsiteY7" fmla="*/ 16578 h 26508"/>
                <a:gd name="connsiteX8" fmla="*/ 45669 w 46005"/>
                <a:gd name="connsiteY8" fmla="*/ 15435 h 26508"/>
                <a:gd name="connsiteX9" fmla="*/ 44146 w 46005"/>
                <a:gd name="connsiteY9" fmla="*/ 13720 h 26508"/>
                <a:gd name="connsiteX10" fmla="*/ 21571 w 46005"/>
                <a:gd name="connsiteY10" fmla="*/ 766 h 26508"/>
                <a:gd name="connsiteX11" fmla="*/ 13856 w 46005"/>
                <a:gd name="connsiteY11" fmla="*/ 766 h 26508"/>
                <a:gd name="connsiteX12" fmla="*/ 1283 w 46005"/>
                <a:gd name="connsiteY12" fmla="*/ 8005 h 26508"/>
                <a:gd name="connsiteX13" fmla="*/ -336 w 46005"/>
                <a:gd name="connsiteY13" fmla="*/ 10196 h 26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005" h="26508">
                  <a:moveTo>
                    <a:pt x="-336" y="10196"/>
                  </a:moveTo>
                  <a:cubicBezTo>
                    <a:pt x="-270" y="11206"/>
                    <a:pt x="359" y="12091"/>
                    <a:pt x="1283" y="12482"/>
                  </a:cubicBezTo>
                  <a:lnTo>
                    <a:pt x="3569" y="13815"/>
                  </a:lnTo>
                  <a:lnTo>
                    <a:pt x="23762" y="25531"/>
                  </a:lnTo>
                  <a:cubicBezTo>
                    <a:pt x="26219" y="26617"/>
                    <a:pt x="29020" y="26617"/>
                    <a:pt x="31477" y="25531"/>
                  </a:cubicBezTo>
                  <a:lnTo>
                    <a:pt x="41764" y="19530"/>
                  </a:lnTo>
                  <a:lnTo>
                    <a:pt x="44146" y="18197"/>
                  </a:lnTo>
                  <a:cubicBezTo>
                    <a:pt x="44860" y="17892"/>
                    <a:pt x="45412" y="17311"/>
                    <a:pt x="45669" y="16578"/>
                  </a:cubicBezTo>
                  <a:lnTo>
                    <a:pt x="45669" y="15435"/>
                  </a:lnTo>
                  <a:cubicBezTo>
                    <a:pt x="45384" y="14692"/>
                    <a:pt x="44841" y="14082"/>
                    <a:pt x="44146" y="13720"/>
                  </a:cubicBezTo>
                  <a:lnTo>
                    <a:pt x="21571" y="766"/>
                  </a:lnTo>
                  <a:cubicBezTo>
                    <a:pt x="19152" y="-472"/>
                    <a:pt x="16275" y="-472"/>
                    <a:pt x="13856" y="766"/>
                  </a:cubicBezTo>
                  <a:lnTo>
                    <a:pt x="1283" y="8005"/>
                  </a:lnTo>
                  <a:cubicBezTo>
                    <a:pt x="387" y="8386"/>
                    <a:pt x="-241" y="9224"/>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420" name="iṧ1íḑé">
              <a:extLst>
                <a:ext uri="{FF2B5EF4-FFF2-40B4-BE49-F238E27FC236}">
                  <a16:creationId xmlns:a16="http://schemas.microsoft.com/office/drawing/2014/main" id="{5D15951C-F671-42F0-B741-AA1B041784B5}"/>
                </a:ext>
              </a:extLst>
            </p:cNvPr>
            <p:cNvSpPr/>
            <p:nvPr/>
          </p:nvSpPr>
          <p:spPr>
            <a:xfrm>
              <a:off x="6172836" y="5359892"/>
              <a:ext cx="136018" cy="78570"/>
            </a:xfrm>
            <a:custGeom>
              <a:avLst/>
              <a:gdLst>
                <a:gd name="connsiteX0" fmla="*/ 23252 w 44685"/>
                <a:gd name="connsiteY0" fmla="*/ 24793 h 25812"/>
                <a:gd name="connsiteX1" fmla="*/ 1154 w 44685"/>
                <a:gd name="connsiteY1" fmla="*/ 12029 h 25812"/>
                <a:gd name="connsiteX2" fmla="*/ -189 w 44685"/>
                <a:gd name="connsiteY2" fmla="*/ 9096 h 25812"/>
                <a:gd name="connsiteX3" fmla="*/ 1154 w 44685"/>
                <a:gd name="connsiteY3" fmla="*/ 7743 h 25812"/>
                <a:gd name="connsiteX4" fmla="*/ 13250 w 44685"/>
                <a:gd name="connsiteY4" fmla="*/ 695 h 25812"/>
                <a:gd name="connsiteX5" fmla="*/ 20680 w 44685"/>
                <a:gd name="connsiteY5" fmla="*/ 695 h 25812"/>
                <a:gd name="connsiteX6" fmla="*/ 42778 w 44685"/>
                <a:gd name="connsiteY6" fmla="*/ 13458 h 25812"/>
                <a:gd name="connsiteX7" fmla="*/ 42778 w 44685"/>
                <a:gd name="connsiteY7" fmla="*/ 17744 h 25812"/>
                <a:gd name="connsiteX8" fmla="*/ 30681 w 44685"/>
                <a:gd name="connsiteY8" fmla="*/ 24793 h 25812"/>
                <a:gd name="connsiteX9" fmla="*/ 23252 w 44685"/>
                <a:gd name="connsiteY9" fmla="*/ 24793 h 25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4685" h="25812">
                  <a:moveTo>
                    <a:pt x="23252" y="24793"/>
                  </a:moveTo>
                  <a:lnTo>
                    <a:pt x="1154" y="12029"/>
                  </a:lnTo>
                  <a:cubicBezTo>
                    <a:pt x="-27" y="11591"/>
                    <a:pt x="-637" y="10277"/>
                    <a:pt x="-189" y="9096"/>
                  </a:cubicBezTo>
                  <a:cubicBezTo>
                    <a:pt x="39" y="8467"/>
                    <a:pt x="535" y="7972"/>
                    <a:pt x="1154" y="7743"/>
                  </a:cubicBezTo>
                  <a:lnTo>
                    <a:pt x="13250" y="695"/>
                  </a:lnTo>
                  <a:cubicBezTo>
                    <a:pt x="15594" y="-448"/>
                    <a:pt x="18337" y="-448"/>
                    <a:pt x="20680" y="695"/>
                  </a:cubicBezTo>
                  <a:lnTo>
                    <a:pt x="42778" y="13458"/>
                  </a:lnTo>
                  <a:cubicBezTo>
                    <a:pt x="44873" y="14696"/>
                    <a:pt x="44873" y="16601"/>
                    <a:pt x="42778" y="17744"/>
                  </a:cubicBezTo>
                  <a:lnTo>
                    <a:pt x="30681" y="24793"/>
                  </a:lnTo>
                  <a:cubicBezTo>
                    <a:pt x="28338" y="25936"/>
                    <a:pt x="25595" y="25936"/>
                    <a:pt x="23252" y="24793"/>
                  </a:cubicBezTo>
                  <a:close/>
                </a:path>
              </a:pathLst>
            </a:custGeom>
            <a:solidFill>
              <a:srgbClr val="D1D9E8"/>
            </a:solidFill>
            <a:ln w="9525" cap="flat">
              <a:noFill/>
              <a:prstDash val="solid"/>
              <a:miter/>
            </a:ln>
          </p:spPr>
          <p:txBody>
            <a:bodyPr rtlCol="0" anchor="ctr"/>
            <a:lstStyle/>
            <a:p>
              <a:endParaRPr lang="zh-CN" altLang="en-US"/>
            </a:p>
          </p:txBody>
        </p:sp>
        <p:sp>
          <p:nvSpPr>
            <p:cNvPr id="421" name="ïšľíḍe">
              <a:extLst>
                <a:ext uri="{FF2B5EF4-FFF2-40B4-BE49-F238E27FC236}">
                  <a16:creationId xmlns:a16="http://schemas.microsoft.com/office/drawing/2014/main" id="{1C686B46-9F93-468D-B684-81CF53889F9A}"/>
                </a:ext>
              </a:extLst>
            </p:cNvPr>
            <p:cNvSpPr/>
            <p:nvPr/>
          </p:nvSpPr>
          <p:spPr>
            <a:xfrm>
              <a:off x="6170124" y="5390916"/>
              <a:ext cx="140036" cy="71249"/>
            </a:xfrm>
            <a:custGeom>
              <a:avLst/>
              <a:gdLst>
                <a:gd name="connsiteX0" fmla="*/ -336 w 46005"/>
                <a:gd name="connsiteY0" fmla="*/ -163 h 23407"/>
                <a:gd name="connsiteX1" fmla="*/ -336 w 46005"/>
                <a:gd name="connsiteY1" fmla="*/ 7076 h 23407"/>
                <a:gd name="connsiteX2" fmla="*/ 1283 w 46005"/>
                <a:gd name="connsiteY2" fmla="*/ 9267 h 23407"/>
                <a:gd name="connsiteX3" fmla="*/ 23762 w 46005"/>
                <a:gd name="connsiteY3" fmla="*/ 22316 h 23407"/>
                <a:gd name="connsiteX4" fmla="*/ 31477 w 46005"/>
                <a:gd name="connsiteY4" fmla="*/ 22316 h 23407"/>
                <a:gd name="connsiteX5" fmla="*/ 44146 w 46005"/>
                <a:gd name="connsiteY5" fmla="*/ 14982 h 23407"/>
                <a:gd name="connsiteX6" fmla="*/ 45669 w 46005"/>
                <a:gd name="connsiteY6" fmla="*/ 13363 h 23407"/>
                <a:gd name="connsiteX7" fmla="*/ 45669 w 46005"/>
                <a:gd name="connsiteY7" fmla="*/ 6219 h 23407"/>
                <a:gd name="connsiteX8" fmla="*/ 44146 w 46005"/>
                <a:gd name="connsiteY8" fmla="*/ 7838 h 23407"/>
                <a:gd name="connsiteX9" fmla="*/ 41764 w 46005"/>
                <a:gd name="connsiteY9" fmla="*/ 9172 h 23407"/>
                <a:gd name="connsiteX10" fmla="*/ 31477 w 46005"/>
                <a:gd name="connsiteY10" fmla="*/ 15172 h 23407"/>
                <a:gd name="connsiteX11" fmla="*/ 23762 w 46005"/>
                <a:gd name="connsiteY11" fmla="*/ 15172 h 23407"/>
                <a:gd name="connsiteX12" fmla="*/ 3569 w 46005"/>
                <a:gd name="connsiteY12" fmla="*/ 3457 h 23407"/>
                <a:gd name="connsiteX13" fmla="*/ 1283 w 46005"/>
                <a:gd name="connsiteY13" fmla="*/ 2123 h 23407"/>
                <a:gd name="connsiteX14" fmla="*/ -336 w 46005"/>
                <a:gd name="connsiteY14" fmla="*/ -163 h 234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6005" h="23407">
                  <a:moveTo>
                    <a:pt x="-336" y="-163"/>
                  </a:moveTo>
                  <a:lnTo>
                    <a:pt x="-336" y="7076"/>
                  </a:lnTo>
                  <a:cubicBezTo>
                    <a:pt x="-260" y="8057"/>
                    <a:pt x="369" y="8905"/>
                    <a:pt x="1283" y="9267"/>
                  </a:cubicBezTo>
                  <a:lnTo>
                    <a:pt x="23762" y="22316"/>
                  </a:lnTo>
                  <a:cubicBezTo>
                    <a:pt x="26181" y="23555"/>
                    <a:pt x="29058" y="23555"/>
                    <a:pt x="31477" y="22316"/>
                  </a:cubicBezTo>
                  <a:lnTo>
                    <a:pt x="44146" y="14982"/>
                  </a:lnTo>
                  <a:cubicBezTo>
                    <a:pt x="44822" y="14629"/>
                    <a:pt x="45355" y="14058"/>
                    <a:pt x="45669" y="13363"/>
                  </a:cubicBezTo>
                  <a:lnTo>
                    <a:pt x="45669" y="6219"/>
                  </a:lnTo>
                  <a:cubicBezTo>
                    <a:pt x="45412" y="6952"/>
                    <a:pt x="44860" y="7533"/>
                    <a:pt x="44146" y="7838"/>
                  </a:cubicBezTo>
                  <a:lnTo>
                    <a:pt x="41764" y="9172"/>
                  </a:lnTo>
                  <a:lnTo>
                    <a:pt x="31477" y="15172"/>
                  </a:lnTo>
                  <a:cubicBezTo>
                    <a:pt x="29020" y="16258"/>
                    <a:pt x="26219" y="16258"/>
                    <a:pt x="23762" y="15172"/>
                  </a:cubicBezTo>
                  <a:lnTo>
                    <a:pt x="3569" y="3457"/>
                  </a:lnTo>
                  <a:lnTo>
                    <a:pt x="1283" y="2123"/>
                  </a:lnTo>
                  <a:cubicBezTo>
                    <a:pt x="359" y="1733"/>
                    <a:pt x="-270" y="847"/>
                    <a:pt x="-336" y="-163"/>
                  </a:cubicBezTo>
                  <a:close/>
                </a:path>
              </a:pathLst>
            </a:custGeom>
            <a:solidFill>
              <a:srgbClr val="BF4200"/>
            </a:solidFill>
            <a:ln w="9525" cap="flat">
              <a:noFill/>
              <a:prstDash val="solid"/>
              <a:miter/>
            </a:ln>
          </p:spPr>
          <p:txBody>
            <a:bodyPr rtlCol="0" anchor="ctr"/>
            <a:lstStyle/>
            <a:p>
              <a:endParaRPr lang="zh-CN" altLang="en-US"/>
            </a:p>
          </p:txBody>
        </p:sp>
        <p:sp>
          <p:nvSpPr>
            <p:cNvPr id="422" name="îṩļïďè">
              <a:extLst>
                <a:ext uri="{FF2B5EF4-FFF2-40B4-BE49-F238E27FC236}">
                  <a16:creationId xmlns:a16="http://schemas.microsoft.com/office/drawing/2014/main" id="{9D4D309B-36E7-453E-8DFA-700DD6736BA2}"/>
                </a:ext>
              </a:extLst>
            </p:cNvPr>
            <p:cNvSpPr/>
            <p:nvPr/>
          </p:nvSpPr>
          <p:spPr>
            <a:xfrm>
              <a:off x="4999080" y="4774588"/>
              <a:ext cx="140036" cy="81035"/>
            </a:xfrm>
            <a:custGeom>
              <a:avLst/>
              <a:gdLst>
                <a:gd name="connsiteX0" fmla="*/ -336 w 46005"/>
                <a:gd name="connsiteY0" fmla="*/ 10291 h 26622"/>
                <a:gd name="connsiteX1" fmla="*/ 1283 w 46005"/>
                <a:gd name="connsiteY1" fmla="*/ 12577 h 26622"/>
                <a:gd name="connsiteX2" fmla="*/ 3569 w 46005"/>
                <a:gd name="connsiteY2" fmla="*/ 13911 h 26622"/>
                <a:gd name="connsiteX3" fmla="*/ 23762 w 46005"/>
                <a:gd name="connsiteY3" fmla="*/ 25531 h 26622"/>
                <a:gd name="connsiteX4" fmla="*/ 31572 w 46005"/>
                <a:gd name="connsiteY4" fmla="*/ 25531 h 26622"/>
                <a:gd name="connsiteX5" fmla="*/ 41764 w 46005"/>
                <a:gd name="connsiteY5" fmla="*/ 19625 h 26622"/>
                <a:gd name="connsiteX6" fmla="*/ 44146 w 46005"/>
                <a:gd name="connsiteY6" fmla="*/ 18292 h 26622"/>
                <a:gd name="connsiteX7" fmla="*/ 45670 w 46005"/>
                <a:gd name="connsiteY7" fmla="*/ 16578 h 26622"/>
                <a:gd name="connsiteX8" fmla="*/ 45670 w 46005"/>
                <a:gd name="connsiteY8" fmla="*/ 15530 h 26622"/>
                <a:gd name="connsiteX9" fmla="*/ 44146 w 46005"/>
                <a:gd name="connsiteY9" fmla="*/ 13815 h 26622"/>
                <a:gd name="connsiteX10" fmla="*/ 21571 w 46005"/>
                <a:gd name="connsiteY10" fmla="*/ 766 h 26622"/>
                <a:gd name="connsiteX11" fmla="*/ 13856 w 46005"/>
                <a:gd name="connsiteY11" fmla="*/ 766 h 26622"/>
                <a:gd name="connsiteX12" fmla="*/ 1283 w 46005"/>
                <a:gd name="connsiteY12" fmla="*/ 8100 h 26622"/>
                <a:gd name="connsiteX13" fmla="*/ -336 w 46005"/>
                <a:gd name="connsiteY13" fmla="*/ 10291 h 26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005" h="26622">
                  <a:moveTo>
                    <a:pt x="-336" y="10291"/>
                  </a:moveTo>
                  <a:cubicBezTo>
                    <a:pt x="-231" y="11282"/>
                    <a:pt x="378" y="12148"/>
                    <a:pt x="1283" y="12577"/>
                  </a:cubicBezTo>
                  <a:lnTo>
                    <a:pt x="3569" y="13911"/>
                  </a:lnTo>
                  <a:lnTo>
                    <a:pt x="23762" y="25531"/>
                  </a:lnTo>
                  <a:cubicBezTo>
                    <a:pt x="26220" y="26769"/>
                    <a:pt x="29115" y="26769"/>
                    <a:pt x="31572" y="25531"/>
                  </a:cubicBezTo>
                  <a:lnTo>
                    <a:pt x="41764" y="19625"/>
                  </a:lnTo>
                  <a:lnTo>
                    <a:pt x="44146" y="18292"/>
                  </a:lnTo>
                  <a:cubicBezTo>
                    <a:pt x="44850" y="17930"/>
                    <a:pt x="45384" y="17321"/>
                    <a:pt x="45670" y="16578"/>
                  </a:cubicBezTo>
                  <a:lnTo>
                    <a:pt x="45670" y="15530"/>
                  </a:lnTo>
                  <a:cubicBezTo>
                    <a:pt x="45384" y="14787"/>
                    <a:pt x="44850" y="14177"/>
                    <a:pt x="44146" y="13815"/>
                  </a:cubicBezTo>
                  <a:lnTo>
                    <a:pt x="21571" y="766"/>
                  </a:lnTo>
                  <a:cubicBezTo>
                    <a:pt x="19152" y="-472"/>
                    <a:pt x="16275" y="-472"/>
                    <a:pt x="13856" y="766"/>
                  </a:cubicBezTo>
                  <a:lnTo>
                    <a:pt x="1283" y="8100"/>
                  </a:lnTo>
                  <a:cubicBezTo>
                    <a:pt x="397" y="8491"/>
                    <a:pt x="-222"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423" name="í$líḓè">
              <a:extLst>
                <a:ext uri="{FF2B5EF4-FFF2-40B4-BE49-F238E27FC236}">
                  <a16:creationId xmlns:a16="http://schemas.microsoft.com/office/drawing/2014/main" id="{C23F0D82-235B-4843-9A12-79A344F96A24}"/>
                </a:ext>
              </a:extLst>
            </p:cNvPr>
            <p:cNvSpPr/>
            <p:nvPr/>
          </p:nvSpPr>
          <p:spPr>
            <a:xfrm>
              <a:off x="5001183" y="4775747"/>
              <a:ext cx="136121" cy="78716"/>
            </a:xfrm>
            <a:custGeom>
              <a:avLst/>
              <a:gdLst>
                <a:gd name="connsiteX0" fmla="*/ 23262 w 44719"/>
                <a:gd name="connsiteY0" fmla="*/ 24769 h 25860"/>
                <a:gd name="connsiteX1" fmla="*/ 1164 w 44719"/>
                <a:gd name="connsiteY1" fmla="*/ 12006 h 25860"/>
                <a:gd name="connsiteX2" fmla="*/ 1164 w 44719"/>
                <a:gd name="connsiteY2" fmla="*/ 7719 h 25860"/>
                <a:gd name="connsiteX3" fmla="*/ 13356 w 44719"/>
                <a:gd name="connsiteY3" fmla="*/ 766 h 25860"/>
                <a:gd name="connsiteX4" fmla="*/ 20785 w 44719"/>
                <a:gd name="connsiteY4" fmla="*/ 766 h 25860"/>
                <a:gd name="connsiteX5" fmla="*/ 42883 w 44719"/>
                <a:gd name="connsiteY5" fmla="*/ 13530 h 25860"/>
                <a:gd name="connsiteX6" fmla="*/ 42883 w 44719"/>
                <a:gd name="connsiteY6" fmla="*/ 17816 h 25860"/>
                <a:gd name="connsiteX7" fmla="*/ 30691 w 44719"/>
                <a:gd name="connsiteY7" fmla="*/ 24769 h 25860"/>
                <a:gd name="connsiteX8" fmla="*/ 23262 w 44719"/>
                <a:gd name="connsiteY8" fmla="*/ 24769 h 25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719" h="25860">
                  <a:moveTo>
                    <a:pt x="23262" y="24769"/>
                  </a:moveTo>
                  <a:lnTo>
                    <a:pt x="1164" y="12006"/>
                  </a:lnTo>
                  <a:cubicBezTo>
                    <a:pt x="-836" y="10863"/>
                    <a:pt x="-836" y="8958"/>
                    <a:pt x="1164" y="7719"/>
                  </a:cubicBezTo>
                  <a:lnTo>
                    <a:pt x="13356" y="766"/>
                  </a:lnTo>
                  <a:cubicBezTo>
                    <a:pt x="15680" y="-472"/>
                    <a:pt x="18461" y="-472"/>
                    <a:pt x="20785" y="766"/>
                  </a:cubicBezTo>
                  <a:lnTo>
                    <a:pt x="42883" y="13530"/>
                  </a:lnTo>
                  <a:cubicBezTo>
                    <a:pt x="44884" y="14673"/>
                    <a:pt x="44884" y="16577"/>
                    <a:pt x="42883" y="17816"/>
                  </a:cubicBezTo>
                  <a:lnTo>
                    <a:pt x="30691" y="24769"/>
                  </a:lnTo>
                  <a:cubicBezTo>
                    <a:pt x="28367" y="26007"/>
                    <a:pt x="25586" y="26007"/>
                    <a:pt x="23262" y="24769"/>
                  </a:cubicBezTo>
                  <a:close/>
                </a:path>
              </a:pathLst>
            </a:custGeom>
            <a:solidFill>
              <a:srgbClr val="D1D9E8"/>
            </a:solidFill>
            <a:ln w="9525" cap="flat">
              <a:noFill/>
              <a:prstDash val="solid"/>
              <a:miter/>
            </a:ln>
          </p:spPr>
          <p:txBody>
            <a:bodyPr rtlCol="0" anchor="ctr"/>
            <a:lstStyle/>
            <a:p>
              <a:endParaRPr lang="zh-CN" altLang="en-US"/>
            </a:p>
          </p:txBody>
        </p:sp>
        <p:sp>
          <p:nvSpPr>
            <p:cNvPr id="424" name="íṥḷïḑè">
              <a:extLst>
                <a:ext uri="{FF2B5EF4-FFF2-40B4-BE49-F238E27FC236}">
                  <a16:creationId xmlns:a16="http://schemas.microsoft.com/office/drawing/2014/main" id="{08FC442B-41CE-45F9-B1AD-696F062E837E}"/>
                </a:ext>
              </a:extLst>
            </p:cNvPr>
            <p:cNvSpPr/>
            <p:nvPr/>
          </p:nvSpPr>
          <p:spPr>
            <a:xfrm>
              <a:off x="4999080" y="4806409"/>
              <a:ext cx="140036" cy="69806"/>
            </a:xfrm>
            <a:custGeom>
              <a:avLst/>
              <a:gdLst>
                <a:gd name="connsiteX0" fmla="*/ -336 w 46005"/>
                <a:gd name="connsiteY0" fmla="*/ -163 h 22933"/>
                <a:gd name="connsiteX1" fmla="*/ -336 w 46005"/>
                <a:gd name="connsiteY1" fmla="*/ 6600 h 22933"/>
                <a:gd name="connsiteX2" fmla="*/ 1283 w 46005"/>
                <a:gd name="connsiteY2" fmla="*/ 8886 h 22933"/>
                <a:gd name="connsiteX3" fmla="*/ 23762 w 46005"/>
                <a:gd name="connsiteY3" fmla="*/ 21935 h 22933"/>
                <a:gd name="connsiteX4" fmla="*/ 31572 w 46005"/>
                <a:gd name="connsiteY4" fmla="*/ 21935 h 22933"/>
                <a:gd name="connsiteX5" fmla="*/ 44146 w 46005"/>
                <a:gd name="connsiteY5" fmla="*/ 14601 h 22933"/>
                <a:gd name="connsiteX6" fmla="*/ 45670 w 46005"/>
                <a:gd name="connsiteY6" fmla="*/ 12982 h 22933"/>
                <a:gd name="connsiteX7" fmla="*/ 45670 w 46005"/>
                <a:gd name="connsiteY7" fmla="*/ 6600 h 22933"/>
                <a:gd name="connsiteX8" fmla="*/ 44146 w 46005"/>
                <a:gd name="connsiteY8" fmla="*/ 8314 h 22933"/>
                <a:gd name="connsiteX9" fmla="*/ 41764 w 46005"/>
                <a:gd name="connsiteY9" fmla="*/ 9648 h 22933"/>
                <a:gd name="connsiteX10" fmla="*/ 31572 w 46005"/>
                <a:gd name="connsiteY10" fmla="*/ 15554 h 22933"/>
                <a:gd name="connsiteX11" fmla="*/ 23762 w 46005"/>
                <a:gd name="connsiteY11" fmla="*/ 15554 h 22933"/>
                <a:gd name="connsiteX12" fmla="*/ 3379 w 46005"/>
                <a:gd name="connsiteY12" fmla="*/ 3457 h 22933"/>
                <a:gd name="connsiteX13" fmla="*/ 1093 w 46005"/>
                <a:gd name="connsiteY13" fmla="*/ 2123 h 22933"/>
                <a:gd name="connsiteX14" fmla="*/ -336 w 46005"/>
                <a:gd name="connsiteY14" fmla="*/ -163 h 229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6005" h="22933">
                  <a:moveTo>
                    <a:pt x="-336" y="-163"/>
                  </a:moveTo>
                  <a:lnTo>
                    <a:pt x="-336" y="6600"/>
                  </a:lnTo>
                  <a:cubicBezTo>
                    <a:pt x="-213" y="7581"/>
                    <a:pt x="397" y="8448"/>
                    <a:pt x="1283" y="8886"/>
                  </a:cubicBezTo>
                  <a:lnTo>
                    <a:pt x="23762" y="21935"/>
                  </a:lnTo>
                  <a:cubicBezTo>
                    <a:pt x="26248" y="23050"/>
                    <a:pt x="29087" y="23050"/>
                    <a:pt x="31572" y="21935"/>
                  </a:cubicBezTo>
                  <a:lnTo>
                    <a:pt x="44146" y="14601"/>
                  </a:lnTo>
                  <a:cubicBezTo>
                    <a:pt x="44822" y="14249"/>
                    <a:pt x="45355" y="13677"/>
                    <a:pt x="45670" y="12982"/>
                  </a:cubicBezTo>
                  <a:lnTo>
                    <a:pt x="45670" y="6600"/>
                  </a:lnTo>
                  <a:cubicBezTo>
                    <a:pt x="45384" y="7343"/>
                    <a:pt x="44850" y="7953"/>
                    <a:pt x="44146" y="8314"/>
                  </a:cubicBezTo>
                  <a:lnTo>
                    <a:pt x="41764" y="9648"/>
                  </a:lnTo>
                  <a:lnTo>
                    <a:pt x="31572" y="15554"/>
                  </a:lnTo>
                  <a:cubicBezTo>
                    <a:pt x="29115" y="16792"/>
                    <a:pt x="26220" y="16792"/>
                    <a:pt x="23762" y="15554"/>
                  </a:cubicBezTo>
                  <a:lnTo>
                    <a:pt x="3379" y="3457"/>
                  </a:lnTo>
                  <a:lnTo>
                    <a:pt x="1093" y="2123"/>
                  </a:lnTo>
                  <a:cubicBezTo>
                    <a:pt x="264" y="1647"/>
                    <a:pt x="-269" y="790"/>
                    <a:pt x="-336" y="-163"/>
                  </a:cubicBezTo>
                  <a:close/>
                </a:path>
              </a:pathLst>
            </a:custGeom>
            <a:solidFill>
              <a:srgbClr val="BF4200"/>
            </a:solidFill>
            <a:ln w="9525" cap="flat">
              <a:noFill/>
              <a:prstDash val="solid"/>
              <a:miter/>
            </a:ln>
          </p:spPr>
          <p:txBody>
            <a:bodyPr rtlCol="0" anchor="ctr"/>
            <a:lstStyle/>
            <a:p>
              <a:endParaRPr lang="zh-CN" altLang="en-US"/>
            </a:p>
          </p:txBody>
        </p:sp>
        <p:sp>
          <p:nvSpPr>
            <p:cNvPr id="425" name="îšļîde">
              <a:extLst>
                <a:ext uri="{FF2B5EF4-FFF2-40B4-BE49-F238E27FC236}">
                  <a16:creationId xmlns:a16="http://schemas.microsoft.com/office/drawing/2014/main" id="{D0D6E89E-E672-49FC-9E7F-541FCF8A3838}"/>
                </a:ext>
              </a:extLst>
            </p:cNvPr>
            <p:cNvSpPr/>
            <p:nvPr/>
          </p:nvSpPr>
          <p:spPr>
            <a:xfrm>
              <a:off x="5107806" y="4836635"/>
              <a:ext cx="109594" cy="63639"/>
            </a:xfrm>
            <a:custGeom>
              <a:avLst/>
              <a:gdLst>
                <a:gd name="connsiteX0" fmla="*/ -336 w 36004"/>
                <a:gd name="connsiteY0" fmla="*/ 10291 h 20907"/>
                <a:gd name="connsiteX1" fmla="*/ 1188 w 36004"/>
                <a:gd name="connsiteY1" fmla="*/ 12577 h 20907"/>
                <a:gd name="connsiteX2" fmla="*/ 3569 w 36004"/>
                <a:gd name="connsiteY2" fmla="*/ 13911 h 20907"/>
                <a:gd name="connsiteX3" fmla="*/ 13856 w 36004"/>
                <a:gd name="connsiteY3" fmla="*/ 19816 h 20907"/>
                <a:gd name="connsiteX4" fmla="*/ 21476 w 36004"/>
                <a:gd name="connsiteY4" fmla="*/ 19816 h 20907"/>
                <a:gd name="connsiteX5" fmla="*/ 31763 w 36004"/>
                <a:gd name="connsiteY5" fmla="*/ 13911 h 20907"/>
                <a:gd name="connsiteX6" fmla="*/ 34144 w 36004"/>
                <a:gd name="connsiteY6" fmla="*/ 12577 h 20907"/>
                <a:gd name="connsiteX7" fmla="*/ 35668 w 36004"/>
                <a:gd name="connsiteY7" fmla="*/ 10291 h 20907"/>
                <a:gd name="connsiteX8" fmla="*/ 34144 w 36004"/>
                <a:gd name="connsiteY8" fmla="*/ 8101 h 20907"/>
                <a:gd name="connsiteX9" fmla="*/ 21476 w 36004"/>
                <a:gd name="connsiteY9" fmla="*/ 766 h 20907"/>
                <a:gd name="connsiteX10" fmla="*/ 13856 w 36004"/>
                <a:gd name="connsiteY10" fmla="*/ 766 h 20907"/>
                <a:gd name="connsiteX11" fmla="*/ 1188 w 36004"/>
                <a:gd name="connsiteY11" fmla="*/ 8101 h 20907"/>
                <a:gd name="connsiteX12" fmla="*/ -336 w 36004"/>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907">
                  <a:moveTo>
                    <a:pt x="-336" y="10291"/>
                  </a:moveTo>
                  <a:cubicBezTo>
                    <a:pt x="-269" y="11272"/>
                    <a:pt x="312" y="12139"/>
                    <a:pt x="1188" y="12577"/>
                  </a:cubicBezTo>
                  <a:lnTo>
                    <a:pt x="3569" y="13911"/>
                  </a:lnTo>
                  <a:lnTo>
                    <a:pt x="13856" y="19816"/>
                  </a:lnTo>
                  <a:cubicBezTo>
                    <a:pt x="16247" y="21054"/>
                    <a:pt x="19085" y="21054"/>
                    <a:pt x="21476" y="19816"/>
                  </a:cubicBezTo>
                  <a:lnTo>
                    <a:pt x="31763" y="13911"/>
                  </a:lnTo>
                  <a:lnTo>
                    <a:pt x="34144" y="12577"/>
                  </a:lnTo>
                  <a:cubicBezTo>
                    <a:pt x="35021" y="12139"/>
                    <a:pt x="35602" y="11272"/>
                    <a:pt x="35668" y="10291"/>
                  </a:cubicBezTo>
                  <a:cubicBezTo>
                    <a:pt x="35611" y="9339"/>
                    <a:pt x="35021" y="8491"/>
                    <a:pt x="34144" y="8101"/>
                  </a:cubicBezTo>
                  <a:lnTo>
                    <a:pt x="21476" y="766"/>
                  </a:lnTo>
                  <a:cubicBezTo>
                    <a:pt x="19085" y="-472"/>
                    <a:pt x="16247" y="-472"/>
                    <a:pt x="13856" y="766"/>
                  </a:cubicBezTo>
                  <a:lnTo>
                    <a:pt x="1188" y="8101"/>
                  </a:lnTo>
                  <a:cubicBezTo>
                    <a:pt x="312" y="8491"/>
                    <a:pt x="-279"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426" name="iŝḻíḓé">
              <a:extLst>
                <a:ext uri="{FF2B5EF4-FFF2-40B4-BE49-F238E27FC236}">
                  <a16:creationId xmlns:a16="http://schemas.microsoft.com/office/drawing/2014/main" id="{3ED44798-5A69-40E2-BCC1-72C210C70A84}"/>
                </a:ext>
              </a:extLst>
            </p:cNvPr>
            <p:cNvSpPr/>
            <p:nvPr/>
          </p:nvSpPr>
          <p:spPr>
            <a:xfrm>
              <a:off x="5109690" y="4837795"/>
              <a:ext cx="105898" cy="61104"/>
            </a:xfrm>
            <a:custGeom>
              <a:avLst/>
              <a:gdLst>
                <a:gd name="connsiteX0" fmla="*/ 1235 w 34790"/>
                <a:gd name="connsiteY0" fmla="*/ 12006 h 20074"/>
                <a:gd name="connsiteX1" fmla="*/ 13332 w 34790"/>
                <a:gd name="connsiteY1" fmla="*/ 19054 h 20074"/>
                <a:gd name="connsiteX2" fmla="*/ 20762 w 34790"/>
                <a:gd name="connsiteY2" fmla="*/ 19054 h 20074"/>
                <a:gd name="connsiteX3" fmla="*/ 32954 w 34790"/>
                <a:gd name="connsiteY3" fmla="*/ 12006 h 20074"/>
                <a:gd name="connsiteX4" fmla="*/ 32954 w 34790"/>
                <a:gd name="connsiteY4" fmla="*/ 7719 h 20074"/>
                <a:gd name="connsiteX5" fmla="*/ 20762 w 34790"/>
                <a:gd name="connsiteY5" fmla="*/ 766 h 20074"/>
                <a:gd name="connsiteX6" fmla="*/ 13332 w 34790"/>
                <a:gd name="connsiteY6" fmla="*/ 766 h 20074"/>
                <a:gd name="connsiteX7" fmla="*/ 1235 w 34790"/>
                <a:gd name="connsiteY7" fmla="*/ 7719 h 20074"/>
                <a:gd name="connsiteX8" fmla="*/ 1235 w 34790"/>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4">
                  <a:moveTo>
                    <a:pt x="1235" y="12006"/>
                  </a:moveTo>
                  <a:lnTo>
                    <a:pt x="13332" y="19054"/>
                  </a:lnTo>
                  <a:cubicBezTo>
                    <a:pt x="15675" y="20197"/>
                    <a:pt x="18419" y="20197"/>
                    <a:pt x="20762" y="19054"/>
                  </a:cubicBezTo>
                  <a:lnTo>
                    <a:pt x="32954" y="12006"/>
                  </a:lnTo>
                  <a:cubicBezTo>
                    <a:pt x="34954" y="10863"/>
                    <a:pt x="34954" y="8957"/>
                    <a:pt x="32954" y="7719"/>
                  </a:cubicBezTo>
                  <a:lnTo>
                    <a:pt x="20762" y="766"/>
                  </a:lnTo>
                  <a:cubicBezTo>
                    <a:pt x="18437" y="-472"/>
                    <a:pt x="15656" y="-472"/>
                    <a:pt x="13332" y="766"/>
                  </a:cubicBezTo>
                  <a:lnTo>
                    <a:pt x="1235" y="7719"/>
                  </a:lnTo>
                  <a:cubicBezTo>
                    <a:pt x="-860" y="8957"/>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427" name="îṡľíḓe">
              <a:extLst>
                <a:ext uri="{FF2B5EF4-FFF2-40B4-BE49-F238E27FC236}">
                  <a16:creationId xmlns:a16="http://schemas.microsoft.com/office/drawing/2014/main" id="{E127C6F9-2958-4AEB-A165-22F0942E5DEE}"/>
                </a:ext>
              </a:extLst>
            </p:cNvPr>
            <p:cNvSpPr/>
            <p:nvPr/>
          </p:nvSpPr>
          <p:spPr>
            <a:xfrm>
              <a:off x="5107806" y="4868453"/>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4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4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3" y="7953"/>
                    <a:pt x="35668" y="6981"/>
                  </a:cubicBezTo>
                  <a:lnTo>
                    <a:pt x="35668" y="-163"/>
                  </a:lnTo>
                  <a:cubicBezTo>
                    <a:pt x="35602" y="818"/>
                    <a:pt x="35021" y="1685"/>
                    <a:pt x="34144" y="2124"/>
                  </a:cubicBezTo>
                  <a:lnTo>
                    <a:pt x="31763" y="3457"/>
                  </a:lnTo>
                  <a:lnTo>
                    <a:pt x="21476" y="9362"/>
                  </a:lnTo>
                  <a:cubicBezTo>
                    <a:pt x="19085" y="10601"/>
                    <a:pt x="16247" y="10601"/>
                    <a:pt x="13856" y="9362"/>
                  </a:cubicBezTo>
                  <a:lnTo>
                    <a:pt x="3569" y="3457"/>
                  </a:lnTo>
                  <a:lnTo>
                    <a:pt x="1188" y="2124"/>
                  </a:lnTo>
                  <a:cubicBezTo>
                    <a:pt x="312"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428" name="ïšḷiḍé">
              <a:extLst>
                <a:ext uri="{FF2B5EF4-FFF2-40B4-BE49-F238E27FC236}">
                  <a16:creationId xmlns:a16="http://schemas.microsoft.com/office/drawing/2014/main" id="{EC74EFCC-FEDE-410B-ACA8-EBF1E9B78555}"/>
                </a:ext>
              </a:extLst>
            </p:cNvPr>
            <p:cNvSpPr/>
            <p:nvPr/>
          </p:nvSpPr>
          <p:spPr>
            <a:xfrm>
              <a:off x="5184348" y="4882154"/>
              <a:ext cx="109594" cy="63639"/>
            </a:xfrm>
            <a:custGeom>
              <a:avLst/>
              <a:gdLst>
                <a:gd name="connsiteX0" fmla="*/ -336 w 36004"/>
                <a:gd name="connsiteY0" fmla="*/ 10291 h 20907"/>
                <a:gd name="connsiteX1" fmla="*/ 1188 w 36004"/>
                <a:gd name="connsiteY1" fmla="*/ 12577 h 20907"/>
                <a:gd name="connsiteX2" fmla="*/ 3569 w 36004"/>
                <a:gd name="connsiteY2" fmla="*/ 13911 h 20907"/>
                <a:gd name="connsiteX3" fmla="*/ 13856 w 36004"/>
                <a:gd name="connsiteY3" fmla="*/ 19816 h 20907"/>
                <a:gd name="connsiteX4" fmla="*/ 21476 w 36004"/>
                <a:gd name="connsiteY4" fmla="*/ 19816 h 20907"/>
                <a:gd name="connsiteX5" fmla="*/ 31763 w 36004"/>
                <a:gd name="connsiteY5" fmla="*/ 13911 h 20907"/>
                <a:gd name="connsiteX6" fmla="*/ 34049 w 36004"/>
                <a:gd name="connsiteY6" fmla="*/ 12577 h 20907"/>
                <a:gd name="connsiteX7" fmla="*/ 35668 w 36004"/>
                <a:gd name="connsiteY7" fmla="*/ 10291 h 20907"/>
                <a:gd name="connsiteX8" fmla="*/ 34049 w 36004"/>
                <a:gd name="connsiteY8" fmla="*/ 8100 h 20907"/>
                <a:gd name="connsiteX9" fmla="*/ 21476 w 36004"/>
                <a:gd name="connsiteY9" fmla="*/ 766 h 20907"/>
                <a:gd name="connsiteX10" fmla="*/ 13856 w 36004"/>
                <a:gd name="connsiteY10" fmla="*/ 766 h 20907"/>
                <a:gd name="connsiteX11" fmla="*/ 1188 w 36004"/>
                <a:gd name="connsiteY11" fmla="*/ 8100 h 20907"/>
                <a:gd name="connsiteX12" fmla="*/ -336 w 36004"/>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907">
                  <a:moveTo>
                    <a:pt x="-336" y="10291"/>
                  </a:moveTo>
                  <a:cubicBezTo>
                    <a:pt x="-270" y="11272"/>
                    <a:pt x="311" y="12139"/>
                    <a:pt x="1188" y="12577"/>
                  </a:cubicBezTo>
                  <a:lnTo>
                    <a:pt x="3569" y="13911"/>
                  </a:lnTo>
                  <a:lnTo>
                    <a:pt x="13856" y="19816"/>
                  </a:lnTo>
                  <a:cubicBezTo>
                    <a:pt x="16247" y="21054"/>
                    <a:pt x="19085" y="21054"/>
                    <a:pt x="21476" y="19816"/>
                  </a:cubicBezTo>
                  <a:lnTo>
                    <a:pt x="31763" y="13911"/>
                  </a:lnTo>
                  <a:lnTo>
                    <a:pt x="34049" y="12577"/>
                  </a:lnTo>
                  <a:cubicBezTo>
                    <a:pt x="34973" y="12187"/>
                    <a:pt x="35602" y="11301"/>
                    <a:pt x="35668" y="10291"/>
                  </a:cubicBezTo>
                  <a:cubicBezTo>
                    <a:pt x="35592" y="9310"/>
                    <a:pt x="34963" y="8462"/>
                    <a:pt x="34049" y="8100"/>
                  </a:cubicBezTo>
                  <a:lnTo>
                    <a:pt x="21476" y="766"/>
                  </a:lnTo>
                  <a:cubicBezTo>
                    <a:pt x="19085" y="-472"/>
                    <a:pt x="16247" y="-472"/>
                    <a:pt x="13856" y="766"/>
                  </a:cubicBezTo>
                  <a:lnTo>
                    <a:pt x="1188" y="8100"/>
                  </a:lnTo>
                  <a:cubicBezTo>
                    <a:pt x="311" y="8491"/>
                    <a:pt x="-279"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429" name="ïš1îde">
              <a:extLst>
                <a:ext uri="{FF2B5EF4-FFF2-40B4-BE49-F238E27FC236}">
                  <a16:creationId xmlns:a16="http://schemas.microsoft.com/office/drawing/2014/main" id="{7FA2CEEE-F975-4D92-B486-FA0B2C1F7A46}"/>
                </a:ext>
              </a:extLst>
            </p:cNvPr>
            <p:cNvSpPr/>
            <p:nvPr/>
          </p:nvSpPr>
          <p:spPr>
            <a:xfrm>
              <a:off x="5186163" y="4882443"/>
              <a:ext cx="106766" cy="61101"/>
            </a:xfrm>
            <a:custGeom>
              <a:avLst/>
              <a:gdLst>
                <a:gd name="connsiteX0" fmla="*/ 1450 w 35075"/>
                <a:gd name="connsiteY0" fmla="*/ 12006 h 20073"/>
                <a:gd name="connsiteX1" fmla="*/ 13642 w 35075"/>
                <a:gd name="connsiteY1" fmla="*/ 19054 h 20073"/>
                <a:gd name="connsiteX2" fmla="*/ 21071 w 35075"/>
                <a:gd name="connsiteY2" fmla="*/ 19054 h 20073"/>
                <a:gd name="connsiteX3" fmla="*/ 33168 w 35075"/>
                <a:gd name="connsiteY3" fmla="*/ 12006 h 20073"/>
                <a:gd name="connsiteX4" fmla="*/ 33168 w 35075"/>
                <a:gd name="connsiteY4" fmla="*/ 7719 h 20073"/>
                <a:gd name="connsiteX5" fmla="*/ 21071 w 35075"/>
                <a:gd name="connsiteY5" fmla="*/ 766 h 20073"/>
                <a:gd name="connsiteX6" fmla="*/ 13642 w 35075"/>
                <a:gd name="connsiteY6" fmla="*/ 766 h 20073"/>
                <a:gd name="connsiteX7" fmla="*/ 1450 w 35075"/>
                <a:gd name="connsiteY7" fmla="*/ 7719 h 20073"/>
                <a:gd name="connsiteX8" fmla="*/ 1450 w 35075"/>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075" h="20073">
                  <a:moveTo>
                    <a:pt x="1450" y="12006"/>
                  </a:moveTo>
                  <a:lnTo>
                    <a:pt x="13642" y="19054"/>
                  </a:lnTo>
                  <a:cubicBezTo>
                    <a:pt x="15985" y="20197"/>
                    <a:pt x="18728" y="20197"/>
                    <a:pt x="21071" y="19054"/>
                  </a:cubicBezTo>
                  <a:lnTo>
                    <a:pt x="33168" y="12006"/>
                  </a:lnTo>
                  <a:cubicBezTo>
                    <a:pt x="35263" y="10863"/>
                    <a:pt x="35263" y="8957"/>
                    <a:pt x="33168" y="7719"/>
                  </a:cubicBezTo>
                  <a:lnTo>
                    <a:pt x="21071" y="766"/>
                  </a:lnTo>
                  <a:cubicBezTo>
                    <a:pt x="18747" y="-472"/>
                    <a:pt x="15966" y="-472"/>
                    <a:pt x="13642" y="766"/>
                  </a:cubicBezTo>
                  <a:lnTo>
                    <a:pt x="1450" y="7719"/>
                  </a:lnTo>
                  <a:cubicBezTo>
                    <a:pt x="-932" y="8957"/>
                    <a:pt x="-932" y="10863"/>
                    <a:pt x="1450" y="12006"/>
                  </a:cubicBezTo>
                  <a:close/>
                </a:path>
              </a:pathLst>
            </a:custGeom>
            <a:solidFill>
              <a:srgbClr val="D1D9E8"/>
            </a:solidFill>
            <a:ln w="9525" cap="flat">
              <a:noFill/>
              <a:prstDash val="solid"/>
              <a:miter/>
            </a:ln>
          </p:spPr>
          <p:txBody>
            <a:bodyPr rtlCol="0" anchor="ctr"/>
            <a:lstStyle/>
            <a:p>
              <a:endParaRPr lang="zh-CN" altLang="en-US"/>
            </a:p>
          </p:txBody>
        </p:sp>
        <p:sp>
          <p:nvSpPr>
            <p:cNvPr id="430" name="ïSliḓé">
              <a:extLst>
                <a:ext uri="{FF2B5EF4-FFF2-40B4-BE49-F238E27FC236}">
                  <a16:creationId xmlns:a16="http://schemas.microsoft.com/office/drawing/2014/main" id="{C705E7E9-BAC6-457B-B7F1-F5A29CC59408}"/>
                </a:ext>
              </a:extLst>
            </p:cNvPr>
            <p:cNvSpPr/>
            <p:nvPr/>
          </p:nvSpPr>
          <p:spPr>
            <a:xfrm>
              <a:off x="5184348" y="4913975"/>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049 w 36004"/>
                <a:gd name="connsiteY5" fmla="*/ 9267 h 17597"/>
                <a:gd name="connsiteX6" fmla="*/ 35668 w 36004"/>
                <a:gd name="connsiteY6" fmla="*/ 6981 h 17597"/>
                <a:gd name="connsiteX7" fmla="*/ 35668 w 36004"/>
                <a:gd name="connsiteY7" fmla="*/ -163 h 17597"/>
                <a:gd name="connsiteX8" fmla="*/ 34049 w 36004"/>
                <a:gd name="connsiteY8" fmla="*/ 2123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3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049" y="9267"/>
                  </a:lnTo>
                  <a:cubicBezTo>
                    <a:pt x="34963" y="8857"/>
                    <a:pt x="35582" y="7981"/>
                    <a:pt x="35668" y="6981"/>
                  </a:cubicBezTo>
                  <a:lnTo>
                    <a:pt x="35668" y="-163"/>
                  </a:lnTo>
                  <a:cubicBezTo>
                    <a:pt x="35602" y="847"/>
                    <a:pt x="34973" y="1733"/>
                    <a:pt x="34049" y="2123"/>
                  </a:cubicBezTo>
                  <a:lnTo>
                    <a:pt x="31763" y="3457"/>
                  </a:lnTo>
                  <a:lnTo>
                    <a:pt x="21476" y="9362"/>
                  </a:lnTo>
                  <a:cubicBezTo>
                    <a:pt x="19085" y="10601"/>
                    <a:pt x="16247" y="10601"/>
                    <a:pt x="13856" y="9362"/>
                  </a:cubicBezTo>
                  <a:lnTo>
                    <a:pt x="3569" y="3457"/>
                  </a:lnTo>
                  <a:lnTo>
                    <a:pt x="1188"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431" name="îşlíďe">
              <a:extLst>
                <a:ext uri="{FF2B5EF4-FFF2-40B4-BE49-F238E27FC236}">
                  <a16:creationId xmlns:a16="http://schemas.microsoft.com/office/drawing/2014/main" id="{09705C81-FB46-42C1-860F-A5CC0A3B53A9}"/>
                </a:ext>
              </a:extLst>
            </p:cNvPr>
            <p:cNvSpPr/>
            <p:nvPr/>
          </p:nvSpPr>
          <p:spPr>
            <a:xfrm>
              <a:off x="5262343" y="4925935"/>
              <a:ext cx="109362" cy="63588"/>
            </a:xfrm>
            <a:custGeom>
              <a:avLst/>
              <a:gdLst>
                <a:gd name="connsiteX0" fmla="*/ -336 w 35928"/>
                <a:gd name="connsiteY0" fmla="*/ 10291 h 20890"/>
                <a:gd name="connsiteX1" fmla="*/ 1188 w 35928"/>
                <a:gd name="connsiteY1" fmla="*/ 12482 h 20890"/>
                <a:gd name="connsiteX2" fmla="*/ 3569 w 35928"/>
                <a:gd name="connsiteY2" fmla="*/ 13911 h 20890"/>
                <a:gd name="connsiteX3" fmla="*/ 13856 w 35928"/>
                <a:gd name="connsiteY3" fmla="*/ 19721 h 20890"/>
                <a:gd name="connsiteX4" fmla="*/ 21476 w 35928"/>
                <a:gd name="connsiteY4" fmla="*/ 19721 h 20890"/>
                <a:gd name="connsiteX5" fmla="*/ 31763 w 35928"/>
                <a:gd name="connsiteY5" fmla="*/ 13911 h 20890"/>
                <a:gd name="connsiteX6" fmla="*/ 34144 w 35928"/>
                <a:gd name="connsiteY6" fmla="*/ 12482 h 20890"/>
                <a:gd name="connsiteX7" fmla="*/ 35401 w 35928"/>
                <a:gd name="connsiteY7" fmla="*/ 9357 h 20890"/>
                <a:gd name="connsiteX8" fmla="*/ 34144 w 35928"/>
                <a:gd name="connsiteY8" fmla="*/ 8100 h 20890"/>
                <a:gd name="connsiteX9" fmla="*/ 21476 w 35928"/>
                <a:gd name="connsiteY9" fmla="*/ 766 h 20890"/>
                <a:gd name="connsiteX10" fmla="*/ 13856 w 35928"/>
                <a:gd name="connsiteY10" fmla="*/ 766 h 20890"/>
                <a:gd name="connsiteX11" fmla="*/ 1188 w 35928"/>
                <a:gd name="connsiteY11" fmla="*/ 8100 h 20890"/>
                <a:gd name="connsiteX12" fmla="*/ -336 w 35928"/>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928" h="20890">
                  <a:moveTo>
                    <a:pt x="-336" y="10291"/>
                  </a:moveTo>
                  <a:cubicBezTo>
                    <a:pt x="-298" y="11253"/>
                    <a:pt x="292" y="12110"/>
                    <a:pt x="1188" y="12482"/>
                  </a:cubicBezTo>
                  <a:lnTo>
                    <a:pt x="3569" y="13911"/>
                  </a:lnTo>
                  <a:lnTo>
                    <a:pt x="13856" y="19721"/>
                  </a:lnTo>
                  <a:cubicBezTo>
                    <a:pt x="16218" y="21064"/>
                    <a:pt x="19114" y="21064"/>
                    <a:pt x="21476" y="19721"/>
                  </a:cubicBezTo>
                  <a:lnTo>
                    <a:pt x="31763" y="13911"/>
                  </a:lnTo>
                  <a:lnTo>
                    <a:pt x="34144" y="12482"/>
                  </a:lnTo>
                  <a:cubicBezTo>
                    <a:pt x="35354" y="11967"/>
                    <a:pt x="35916" y="10567"/>
                    <a:pt x="35401" y="9357"/>
                  </a:cubicBezTo>
                  <a:cubicBezTo>
                    <a:pt x="35163" y="8796"/>
                    <a:pt x="34706" y="8338"/>
                    <a:pt x="34144" y="8100"/>
                  </a:cubicBezTo>
                  <a:lnTo>
                    <a:pt x="21476" y="766"/>
                  </a:lnTo>
                  <a:cubicBezTo>
                    <a:pt x="19085" y="-472"/>
                    <a:pt x="16247" y="-472"/>
                    <a:pt x="13856" y="766"/>
                  </a:cubicBezTo>
                  <a:lnTo>
                    <a:pt x="1188" y="8100"/>
                  </a:lnTo>
                  <a:cubicBezTo>
                    <a:pt x="292" y="8472"/>
                    <a:pt x="-298"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432" name="ísľîḓè">
              <a:extLst>
                <a:ext uri="{FF2B5EF4-FFF2-40B4-BE49-F238E27FC236}">
                  <a16:creationId xmlns:a16="http://schemas.microsoft.com/office/drawing/2014/main" id="{DD78716F-A8A6-4B09-9E0D-47026981A03D}"/>
                </a:ext>
              </a:extLst>
            </p:cNvPr>
            <p:cNvSpPr/>
            <p:nvPr/>
          </p:nvSpPr>
          <p:spPr>
            <a:xfrm>
              <a:off x="5264154" y="4927094"/>
              <a:ext cx="105895" cy="61101"/>
            </a:xfrm>
            <a:custGeom>
              <a:avLst/>
              <a:gdLst>
                <a:gd name="connsiteX0" fmla="*/ 1164 w 34789"/>
                <a:gd name="connsiteY0" fmla="*/ 12006 h 20073"/>
                <a:gd name="connsiteX1" fmla="*/ 13356 w 34789"/>
                <a:gd name="connsiteY1" fmla="*/ 19054 h 20073"/>
                <a:gd name="connsiteX2" fmla="*/ 20785 w 34789"/>
                <a:gd name="connsiteY2" fmla="*/ 19054 h 20073"/>
                <a:gd name="connsiteX3" fmla="*/ 32882 w 34789"/>
                <a:gd name="connsiteY3" fmla="*/ 12006 h 20073"/>
                <a:gd name="connsiteX4" fmla="*/ 32882 w 34789"/>
                <a:gd name="connsiteY4" fmla="*/ 7719 h 20073"/>
                <a:gd name="connsiteX5" fmla="*/ 20785 w 34789"/>
                <a:gd name="connsiteY5" fmla="*/ 766 h 20073"/>
                <a:gd name="connsiteX6" fmla="*/ 13356 w 34789"/>
                <a:gd name="connsiteY6" fmla="*/ 766 h 20073"/>
                <a:gd name="connsiteX7" fmla="*/ 1164 w 34789"/>
                <a:gd name="connsiteY7" fmla="*/ 7719 h 20073"/>
                <a:gd name="connsiteX8" fmla="*/ 1164 w 34789"/>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89" h="20073">
                  <a:moveTo>
                    <a:pt x="1164" y="12006"/>
                  </a:moveTo>
                  <a:lnTo>
                    <a:pt x="13356" y="19054"/>
                  </a:lnTo>
                  <a:cubicBezTo>
                    <a:pt x="15699" y="20197"/>
                    <a:pt x="18442" y="20197"/>
                    <a:pt x="20785" y="19054"/>
                  </a:cubicBezTo>
                  <a:lnTo>
                    <a:pt x="32882" y="12006"/>
                  </a:lnTo>
                  <a:cubicBezTo>
                    <a:pt x="34977" y="10862"/>
                    <a:pt x="34977" y="8958"/>
                    <a:pt x="32882" y="7719"/>
                  </a:cubicBezTo>
                  <a:lnTo>
                    <a:pt x="20785" y="766"/>
                  </a:lnTo>
                  <a:cubicBezTo>
                    <a:pt x="18461" y="-472"/>
                    <a:pt x="15680" y="-472"/>
                    <a:pt x="13356" y="766"/>
                  </a:cubicBezTo>
                  <a:lnTo>
                    <a:pt x="1164" y="7719"/>
                  </a:lnTo>
                  <a:cubicBezTo>
                    <a:pt x="-836" y="8958"/>
                    <a:pt x="-836" y="10862"/>
                    <a:pt x="1164" y="12006"/>
                  </a:cubicBezTo>
                  <a:close/>
                </a:path>
              </a:pathLst>
            </a:custGeom>
            <a:solidFill>
              <a:srgbClr val="D1D9E8"/>
            </a:solidFill>
            <a:ln w="9525" cap="flat">
              <a:noFill/>
              <a:prstDash val="solid"/>
              <a:miter/>
            </a:ln>
          </p:spPr>
          <p:txBody>
            <a:bodyPr rtlCol="0" anchor="ctr"/>
            <a:lstStyle/>
            <a:p>
              <a:endParaRPr lang="zh-CN" altLang="en-US"/>
            </a:p>
          </p:txBody>
        </p:sp>
        <p:sp>
          <p:nvSpPr>
            <p:cNvPr id="433" name="ïşḷíďé">
              <a:extLst>
                <a:ext uri="{FF2B5EF4-FFF2-40B4-BE49-F238E27FC236}">
                  <a16:creationId xmlns:a16="http://schemas.microsoft.com/office/drawing/2014/main" id="{AEDE6E8F-6539-43C6-85BD-64CCF4CD5F13}"/>
                </a:ext>
              </a:extLst>
            </p:cNvPr>
            <p:cNvSpPr/>
            <p:nvPr/>
          </p:nvSpPr>
          <p:spPr>
            <a:xfrm>
              <a:off x="5262343" y="4957756"/>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028 h 17597"/>
                <a:gd name="connsiteX9" fmla="*/ 31763 w 36004"/>
                <a:gd name="connsiteY9" fmla="*/ 3457 h 17597"/>
                <a:gd name="connsiteX10" fmla="*/ 21476 w 36004"/>
                <a:gd name="connsiteY10" fmla="*/ 9267 h 17597"/>
                <a:gd name="connsiteX11" fmla="*/ 13856 w 36004"/>
                <a:gd name="connsiteY11" fmla="*/ 9267 h 17597"/>
                <a:gd name="connsiteX12" fmla="*/ 3569 w 36004"/>
                <a:gd name="connsiteY12" fmla="*/ 3457 h 17597"/>
                <a:gd name="connsiteX13" fmla="*/ 1188 w 36004"/>
                <a:gd name="connsiteY13" fmla="*/ 2028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2" y="7953"/>
                    <a:pt x="35668" y="6981"/>
                  </a:cubicBezTo>
                  <a:lnTo>
                    <a:pt x="35668" y="-163"/>
                  </a:lnTo>
                  <a:cubicBezTo>
                    <a:pt x="35630" y="799"/>
                    <a:pt x="35039" y="1656"/>
                    <a:pt x="34144" y="2028"/>
                  </a:cubicBezTo>
                  <a:lnTo>
                    <a:pt x="31763" y="3457"/>
                  </a:lnTo>
                  <a:lnTo>
                    <a:pt x="21476" y="9267"/>
                  </a:lnTo>
                  <a:cubicBezTo>
                    <a:pt x="19114" y="10610"/>
                    <a:pt x="16218" y="10610"/>
                    <a:pt x="13856" y="9267"/>
                  </a:cubicBezTo>
                  <a:lnTo>
                    <a:pt x="3569" y="3457"/>
                  </a:lnTo>
                  <a:lnTo>
                    <a:pt x="1188" y="2028"/>
                  </a:lnTo>
                  <a:cubicBezTo>
                    <a:pt x="292" y="1656"/>
                    <a:pt x="-298" y="799"/>
                    <a:pt x="-336" y="-163"/>
                  </a:cubicBezTo>
                  <a:close/>
                </a:path>
              </a:pathLst>
            </a:custGeom>
            <a:solidFill>
              <a:srgbClr val="BF4200"/>
            </a:solidFill>
            <a:ln w="9525" cap="flat">
              <a:noFill/>
              <a:prstDash val="solid"/>
              <a:miter/>
            </a:ln>
          </p:spPr>
          <p:txBody>
            <a:bodyPr rtlCol="0" anchor="ctr"/>
            <a:lstStyle/>
            <a:p>
              <a:endParaRPr lang="zh-CN" altLang="en-US"/>
            </a:p>
          </p:txBody>
        </p:sp>
        <p:sp>
          <p:nvSpPr>
            <p:cNvPr id="434" name="îṩľïḑè">
              <a:extLst>
                <a:ext uri="{FF2B5EF4-FFF2-40B4-BE49-F238E27FC236}">
                  <a16:creationId xmlns:a16="http://schemas.microsoft.com/office/drawing/2014/main" id="{5F829971-8216-44CA-B71E-C5E50CFB3FDC}"/>
                </a:ext>
              </a:extLst>
            </p:cNvPr>
            <p:cNvSpPr/>
            <p:nvPr/>
          </p:nvSpPr>
          <p:spPr>
            <a:xfrm>
              <a:off x="5339464" y="4970583"/>
              <a:ext cx="109594" cy="63588"/>
            </a:xfrm>
            <a:custGeom>
              <a:avLst/>
              <a:gdLst>
                <a:gd name="connsiteX0" fmla="*/ -336 w 36004"/>
                <a:gd name="connsiteY0" fmla="*/ 10291 h 20890"/>
                <a:gd name="connsiteX1" fmla="*/ 1283 w 36004"/>
                <a:gd name="connsiteY1" fmla="*/ 12482 h 20890"/>
                <a:gd name="connsiteX2" fmla="*/ 3569 w 36004"/>
                <a:gd name="connsiteY2" fmla="*/ 13815 h 20890"/>
                <a:gd name="connsiteX3" fmla="*/ 13856 w 36004"/>
                <a:gd name="connsiteY3" fmla="*/ 19721 h 20890"/>
                <a:gd name="connsiteX4" fmla="*/ 21571 w 36004"/>
                <a:gd name="connsiteY4" fmla="*/ 19721 h 20890"/>
                <a:gd name="connsiteX5" fmla="*/ 31858 w 36004"/>
                <a:gd name="connsiteY5" fmla="*/ 13815 h 20890"/>
                <a:gd name="connsiteX6" fmla="*/ 34144 w 36004"/>
                <a:gd name="connsiteY6" fmla="*/ 12482 h 20890"/>
                <a:gd name="connsiteX7" fmla="*/ 35668 w 36004"/>
                <a:gd name="connsiteY7" fmla="*/ 10291 h 20890"/>
                <a:gd name="connsiteX8" fmla="*/ 34144 w 36004"/>
                <a:gd name="connsiteY8" fmla="*/ 8005 h 20890"/>
                <a:gd name="connsiteX9" fmla="*/ 21571 w 36004"/>
                <a:gd name="connsiteY9" fmla="*/ 766 h 20890"/>
                <a:gd name="connsiteX10" fmla="*/ 13856 w 36004"/>
                <a:gd name="connsiteY10" fmla="*/ 766 h 20890"/>
                <a:gd name="connsiteX11" fmla="*/ 1283 w 36004"/>
                <a:gd name="connsiteY11" fmla="*/ 8005 h 20890"/>
                <a:gd name="connsiteX12" fmla="*/ -336 w 36004"/>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291"/>
                  </a:moveTo>
                  <a:cubicBezTo>
                    <a:pt x="-260" y="11272"/>
                    <a:pt x="369" y="12120"/>
                    <a:pt x="1283" y="12482"/>
                  </a:cubicBezTo>
                  <a:lnTo>
                    <a:pt x="3569" y="13815"/>
                  </a:lnTo>
                  <a:lnTo>
                    <a:pt x="13856" y="19721"/>
                  </a:lnTo>
                  <a:cubicBezTo>
                    <a:pt x="16256" y="21064"/>
                    <a:pt x="19171" y="21064"/>
                    <a:pt x="21571" y="19721"/>
                  </a:cubicBezTo>
                  <a:lnTo>
                    <a:pt x="31858" y="13815"/>
                  </a:lnTo>
                  <a:lnTo>
                    <a:pt x="34144" y="12482"/>
                  </a:lnTo>
                  <a:cubicBezTo>
                    <a:pt x="35021" y="12091"/>
                    <a:pt x="35611" y="11253"/>
                    <a:pt x="35668" y="10291"/>
                  </a:cubicBezTo>
                  <a:cubicBezTo>
                    <a:pt x="35601" y="9310"/>
                    <a:pt x="35021" y="8443"/>
                    <a:pt x="34144" y="8005"/>
                  </a:cubicBezTo>
                  <a:lnTo>
                    <a:pt x="21571" y="766"/>
                  </a:lnTo>
                  <a:cubicBezTo>
                    <a:pt x="19152" y="-472"/>
                    <a:pt x="16275" y="-472"/>
                    <a:pt x="13856" y="766"/>
                  </a:cubicBezTo>
                  <a:lnTo>
                    <a:pt x="1283" y="8005"/>
                  </a:lnTo>
                  <a:cubicBezTo>
                    <a:pt x="349" y="8396"/>
                    <a:pt x="-270" y="9281"/>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435" name="iṡḷïḋê">
              <a:extLst>
                <a:ext uri="{FF2B5EF4-FFF2-40B4-BE49-F238E27FC236}">
                  <a16:creationId xmlns:a16="http://schemas.microsoft.com/office/drawing/2014/main" id="{CB12A6D4-BD44-419A-A0F7-4C3DF827ED1C}"/>
                </a:ext>
              </a:extLst>
            </p:cNvPr>
            <p:cNvSpPr/>
            <p:nvPr/>
          </p:nvSpPr>
          <p:spPr>
            <a:xfrm>
              <a:off x="5341348" y="4971743"/>
              <a:ext cx="105898" cy="61104"/>
            </a:xfrm>
            <a:custGeom>
              <a:avLst/>
              <a:gdLst>
                <a:gd name="connsiteX0" fmla="*/ 1235 w 34790"/>
                <a:gd name="connsiteY0" fmla="*/ 12006 h 20074"/>
                <a:gd name="connsiteX1" fmla="*/ 13332 w 34790"/>
                <a:gd name="connsiteY1" fmla="*/ 19054 h 20074"/>
                <a:gd name="connsiteX2" fmla="*/ 20762 w 34790"/>
                <a:gd name="connsiteY2" fmla="*/ 19054 h 20074"/>
                <a:gd name="connsiteX3" fmla="*/ 32954 w 34790"/>
                <a:gd name="connsiteY3" fmla="*/ 12006 h 20074"/>
                <a:gd name="connsiteX4" fmla="*/ 32954 w 34790"/>
                <a:gd name="connsiteY4" fmla="*/ 7719 h 20074"/>
                <a:gd name="connsiteX5" fmla="*/ 20762 w 34790"/>
                <a:gd name="connsiteY5" fmla="*/ 766 h 20074"/>
                <a:gd name="connsiteX6" fmla="*/ 13332 w 34790"/>
                <a:gd name="connsiteY6" fmla="*/ 766 h 20074"/>
                <a:gd name="connsiteX7" fmla="*/ 1235 w 34790"/>
                <a:gd name="connsiteY7" fmla="*/ 7719 h 20074"/>
                <a:gd name="connsiteX8" fmla="*/ 1235 w 34790"/>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4">
                  <a:moveTo>
                    <a:pt x="1235" y="12006"/>
                  </a:moveTo>
                  <a:lnTo>
                    <a:pt x="13332" y="19054"/>
                  </a:lnTo>
                  <a:cubicBezTo>
                    <a:pt x="15675" y="20197"/>
                    <a:pt x="18419" y="20197"/>
                    <a:pt x="20762" y="19054"/>
                  </a:cubicBezTo>
                  <a:lnTo>
                    <a:pt x="32954" y="12006"/>
                  </a:lnTo>
                  <a:cubicBezTo>
                    <a:pt x="34954" y="10863"/>
                    <a:pt x="34954" y="8958"/>
                    <a:pt x="32954" y="7719"/>
                  </a:cubicBezTo>
                  <a:lnTo>
                    <a:pt x="20762" y="766"/>
                  </a:lnTo>
                  <a:cubicBezTo>
                    <a:pt x="18437" y="-472"/>
                    <a:pt x="15656" y="-472"/>
                    <a:pt x="13332" y="766"/>
                  </a:cubicBezTo>
                  <a:lnTo>
                    <a:pt x="1235" y="7719"/>
                  </a:lnTo>
                  <a:cubicBezTo>
                    <a:pt x="-860" y="9434"/>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436" name="iṡļïḓê">
              <a:extLst>
                <a:ext uri="{FF2B5EF4-FFF2-40B4-BE49-F238E27FC236}">
                  <a16:creationId xmlns:a16="http://schemas.microsoft.com/office/drawing/2014/main" id="{C845C938-0F02-4FEB-AA52-ECAD1719826C}"/>
                </a:ext>
              </a:extLst>
            </p:cNvPr>
            <p:cNvSpPr/>
            <p:nvPr/>
          </p:nvSpPr>
          <p:spPr>
            <a:xfrm>
              <a:off x="5339464" y="5001244"/>
              <a:ext cx="110464" cy="54724"/>
            </a:xfrm>
            <a:custGeom>
              <a:avLst/>
              <a:gdLst>
                <a:gd name="connsiteX0" fmla="*/ -336 w 36290"/>
                <a:gd name="connsiteY0" fmla="*/ 218 h 17978"/>
                <a:gd name="connsiteX1" fmla="*/ -336 w 36290"/>
                <a:gd name="connsiteY1" fmla="*/ 7362 h 17978"/>
                <a:gd name="connsiteX2" fmla="*/ 1283 w 36290"/>
                <a:gd name="connsiteY2" fmla="*/ 9648 h 17978"/>
                <a:gd name="connsiteX3" fmla="*/ 13856 w 36290"/>
                <a:gd name="connsiteY3" fmla="*/ 16887 h 17978"/>
                <a:gd name="connsiteX4" fmla="*/ 21571 w 36290"/>
                <a:gd name="connsiteY4" fmla="*/ 16887 h 17978"/>
                <a:gd name="connsiteX5" fmla="*/ 34430 w 36290"/>
                <a:gd name="connsiteY5" fmla="*/ 9267 h 17978"/>
                <a:gd name="connsiteX6" fmla="*/ 35954 w 36290"/>
                <a:gd name="connsiteY6" fmla="*/ 6981 h 17978"/>
                <a:gd name="connsiteX7" fmla="*/ 35954 w 36290"/>
                <a:gd name="connsiteY7" fmla="*/ -163 h 17978"/>
                <a:gd name="connsiteX8" fmla="*/ 34430 w 36290"/>
                <a:gd name="connsiteY8" fmla="*/ 2028 h 17978"/>
                <a:gd name="connsiteX9" fmla="*/ 32144 w 36290"/>
                <a:gd name="connsiteY9" fmla="*/ 3362 h 17978"/>
                <a:gd name="connsiteX10" fmla="*/ 21857 w 36290"/>
                <a:gd name="connsiteY10" fmla="*/ 9267 h 17978"/>
                <a:gd name="connsiteX11" fmla="*/ 14142 w 36290"/>
                <a:gd name="connsiteY11" fmla="*/ 9267 h 17978"/>
                <a:gd name="connsiteX12" fmla="*/ 3855 w 36290"/>
                <a:gd name="connsiteY12" fmla="*/ 3362 h 17978"/>
                <a:gd name="connsiteX13" fmla="*/ 1568 w 36290"/>
                <a:gd name="connsiteY13" fmla="*/ 2028 h 17978"/>
                <a:gd name="connsiteX14" fmla="*/ -336 w 36290"/>
                <a:gd name="connsiteY14" fmla="*/ 218 h 17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290" h="17978">
                  <a:moveTo>
                    <a:pt x="-336" y="218"/>
                  </a:moveTo>
                  <a:lnTo>
                    <a:pt x="-336" y="7362"/>
                  </a:lnTo>
                  <a:cubicBezTo>
                    <a:pt x="-270" y="8372"/>
                    <a:pt x="359" y="9257"/>
                    <a:pt x="1283" y="9648"/>
                  </a:cubicBezTo>
                  <a:lnTo>
                    <a:pt x="13856" y="16887"/>
                  </a:lnTo>
                  <a:cubicBezTo>
                    <a:pt x="16275" y="18125"/>
                    <a:pt x="19152" y="18125"/>
                    <a:pt x="21571" y="16887"/>
                  </a:cubicBezTo>
                  <a:lnTo>
                    <a:pt x="34430" y="9267"/>
                  </a:lnTo>
                  <a:cubicBezTo>
                    <a:pt x="35297" y="8819"/>
                    <a:pt x="35868" y="7953"/>
                    <a:pt x="35954" y="6981"/>
                  </a:cubicBezTo>
                  <a:lnTo>
                    <a:pt x="35954" y="-163"/>
                  </a:lnTo>
                  <a:cubicBezTo>
                    <a:pt x="35897" y="799"/>
                    <a:pt x="35306" y="1638"/>
                    <a:pt x="34430" y="2028"/>
                  </a:cubicBezTo>
                  <a:lnTo>
                    <a:pt x="32144" y="3362"/>
                  </a:lnTo>
                  <a:lnTo>
                    <a:pt x="21857" y="9267"/>
                  </a:lnTo>
                  <a:cubicBezTo>
                    <a:pt x="19457" y="10610"/>
                    <a:pt x="16542" y="10610"/>
                    <a:pt x="14142" y="9267"/>
                  </a:cubicBezTo>
                  <a:lnTo>
                    <a:pt x="3855" y="3362"/>
                  </a:lnTo>
                  <a:lnTo>
                    <a:pt x="1568" y="2028"/>
                  </a:lnTo>
                  <a:cubicBezTo>
                    <a:pt x="654" y="1818"/>
                    <a:pt x="-79" y="1123"/>
                    <a:pt x="-336" y="218"/>
                  </a:cubicBezTo>
                  <a:close/>
                </a:path>
              </a:pathLst>
            </a:custGeom>
            <a:solidFill>
              <a:srgbClr val="BF4200"/>
            </a:solidFill>
            <a:ln w="9525" cap="flat">
              <a:noFill/>
              <a:prstDash val="solid"/>
              <a:miter/>
            </a:ln>
          </p:spPr>
          <p:txBody>
            <a:bodyPr rtlCol="0" anchor="ctr"/>
            <a:lstStyle/>
            <a:p>
              <a:endParaRPr lang="zh-CN" altLang="en-US"/>
            </a:p>
          </p:txBody>
        </p:sp>
        <p:sp>
          <p:nvSpPr>
            <p:cNvPr id="437" name="ïṩḻîḓè">
              <a:extLst>
                <a:ext uri="{FF2B5EF4-FFF2-40B4-BE49-F238E27FC236}">
                  <a16:creationId xmlns:a16="http://schemas.microsoft.com/office/drawing/2014/main" id="{606B5032-DA7B-4B93-8EAE-68071B5D4582}"/>
                </a:ext>
              </a:extLst>
            </p:cNvPr>
            <p:cNvSpPr/>
            <p:nvPr/>
          </p:nvSpPr>
          <p:spPr>
            <a:xfrm>
              <a:off x="5416296" y="5015234"/>
              <a:ext cx="109594" cy="63588"/>
            </a:xfrm>
            <a:custGeom>
              <a:avLst/>
              <a:gdLst>
                <a:gd name="connsiteX0" fmla="*/ -336 w 36004"/>
                <a:gd name="connsiteY0" fmla="*/ 10196 h 20890"/>
                <a:gd name="connsiteX1" fmla="*/ 1188 w 36004"/>
                <a:gd name="connsiteY1" fmla="*/ 12482 h 20890"/>
                <a:gd name="connsiteX2" fmla="*/ 3569 w 36004"/>
                <a:gd name="connsiteY2" fmla="*/ 13815 h 20890"/>
                <a:gd name="connsiteX3" fmla="*/ 13856 w 36004"/>
                <a:gd name="connsiteY3" fmla="*/ 19721 h 20890"/>
                <a:gd name="connsiteX4" fmla="*/ 21476 w 36004"/>
                <a:gd name="connsiteY4" fmla="*/ 19721 h 20890"/>
                <a:gd name="connsiteX5" fmla="*/ 31763 w 36004"/>
                <a:gd name="connsiteY5" fmla="*/ 13815 h 20890"/>
                <a:gd name="connsiteX6" fmla="*/ 34144 w 36004"/>
                <a:gd name="connsiteY6" fmla="*/ 12482 h 20890"/>
                <a:gd name="connsiteX7" fmla="*/ 35668 w 36004"/>
                <a:gd name="connsiteY7" fmla="*/ 10196 h 20890"/>
                <a:gd name="connsiteX8" fmla="*/ 34144 w 36004"/>
                <a:gd name="connsiteY8" fmla="*/ 8005 h 20890"/>
                <a:gd name="connsiteX9" fmla="*/ 21476 w 36004"/>
                <a:gd name="connsiteY9" fmla="*/ 766 h 20890"/>
                <a:gd name="connsiteX10" fmla="*/ 13856 w 36004"/>
                <a:gd name="connsiteY10" fmla="*/ 766 h 20890"/>
                <a:gd name="connsiteX11" fmla="*/ 1188 w 36004"/>
                <a:gd name="connsiteY11" fmla="*/ 8005 h 20890"/>
                <a:gd name="connsiteX12" fmla="*/ -336 w 36004"/>
                <a:gd name="connsiteY12" fmla="*/ 10196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196"/>
                  </a:moveTo>
                  <a:cubicBezTo>
                    <a:pt x="-308" y="11186"/>
                    <a:pt x="283" y="12082"/>
                    <a:pt x="1188" y="12482"/>
                  </a:cubicBezTo>
                  <a:lnTo>
                    <a:pt x="3569" y="13815"/>
                  </a:lnTo>
                  <a:lnTo>
                    <a:pt x="13856" y="19721"/>
                  </a:lnTo>
                  <a:cubicBezTo>
                    <a:pt x="16218" y="21064"/>
                    <a:pt x="19114" y="21064"/>
                    <a:pt x="21476" y="19721"/>
                  </a:cubicBezTo>
                  <a:lnTo>
                    <a:pt x="31763" y="13815"/>
                  </a:lnTo>
                  <a:lnTo>
                    <a:pt x="34144" y="12482"/>
                  </a:lnTo>
                  <a:cubicBezTo>
                    <a:pt x="35049" y="12082"/>
                    <a:pt x="35640" y="11186"/>
                    <a:pt x="35668" y="10196"/>
                  </a:cubicBezTo>
                  <a:cubicBezTo>
                    <a:pt x="35573" y="9253"/>
                    <a:pt x="34992" y="8424"/>
                    <a:pt x="34144" y="8005"/>
                  </a:cubicBezTo>
                  <a:lnTo>
                    <a:pt x="21476" y="766"/>
                  </a:lnTo>
                  <a:cubicBezTo>
                    <a:pt x="19085" y="-472"/>
                    <a:pt x="16247" y="-472"/>
                    <a:pt x="13856" y="766"/>
                  </a:cubicBezTo>
                  <a:lnTo>
                    <a:pt x="1188" y="8005"/>
                  </a:lnTo>
                  <a:cubicBezTo>
                    <a:pt x="340" y="8424"/>
                    <a:pt x="-241" y="925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438" name="í$1ïḓe">
              <a:extLst>
                <a:ext uri="{FF2B5EF4-FFF2-40B4-BE49-F238E27FC236}">
                  <a16:creationId xmlns:a16="http://schemas.microsoft.com/office/drawing/2014/main" id="{05EF6578-88DD-4ECA-969E-060E0439502F}"/>
                </a:ext>
              </a:extLst>
            </p:cNvPr>
            <p:cNvSpPr/>
            <p:nvPr/>
          </p:nvSpPr>
          <p:spPr>
            <a:xfrm>
              <a:off x="5419008" y="5016394"/>
              <a:ext cx="105329" cy="61101"/>
            </a:xfrm>
            <a:custGeom>
              <a:avLst/>
              <a:gdLst>
                <a:gd name="connsiteX0" fmla="*/ 1154 w 34603"/>
                <a:gd name="connsiteY0" fmla="*/ 12006 h 20073"/>
                <a:gd name="connsiteX1" fmla="*/ 13250 w 34603"/>
                <a:gd name="connsiteY1" fmla="*/ 19054 h 20073"/>
                <a:gd name="connsiteX2" fmla="*/ 20680 w 34603"/>
                <a:gd name="connsiteY2" fmla="*/ 19054 h 20073"/>
                <a:gd name="connsiteX3" fmla="*/ 32777 w 34603"/>
                <a:gd name="connsiteY3" fmla="*/ 12006 h 20073"/>
                <a:gd name="connsiteX4" fmla="*/ 34120 w 34603"/>
                <a:gd name="connsiteY4" fmla="*/ 9062 h 20073"/>
                <a:gd name="connsiteX5" fmla="*/ 32777 w 34603"/>
                <a:gd name="connsiteY5" fmla="*/ 7719 h 20073"/>
                <a:gd name="connsiteX6" fmla="*/ 20680 w 34603"/>
                <a:gd name="connsiteY6" fmla="*/ 766 h 20073"/>
                <a:gd name="connsiteX7" fmla="*/ 13250 w 34603"/>
                <a:gd name="connsiteY7" fmla="*/ 766 h 20073"/>
                <a:gd name="connsiteX8" fmla="*/ 1154 w 34603"/>
                <a:gd name="connsiteY8" fmla="*/ 7719 h 20073"/>
                <a:gd name="connsiteX9" fmla="*/ -189 w 34603"/>
                <a:gd name="connsiteY9" fmla="*/ 10653 h 20073"/>
                <a:gd name="connsiteX10" fmla="*/ 1154 w 34603"/>
                <a:gd name="connsiteY10"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603" h="20073">
                  <a:moveTo>
                    <a:pt x="1154" y="12006"/>
                  </a:moveTo>
                  <a:lnTo>
                    <a:pt x="13250" y="19054"/>
                  </a:lnTo>
                  <a:cubicBezTo>
                    <a:pt x="15594" y="20197"/>
                    <a:pt x="18337" y="20197"/>
                    <a:pt x="20680" y="19054"/>
                  </a:cubicBezTo>
                  <a:lnTo>
                    <a:pt x="32777" y="12006"/>
                  </a:lnTo>
                  <a:cubicBezTo>
                    <a:pt x="33958" y="11567"/>
                    <a:pt x="34567" y="10253"/>
                    <a:pt x="34120" y="9062"/>
                  </a:cubicBezTo>
                  <a:cubicBezTo>
                    <a:pt x="33891" y="8443"/>
                    <a:pt x="33396" y="7948"/>
                    <a:pt x="32777" y="7719"/>
                  </a:cubicBezTo>
                  <a:lnTo>
                    <a:pt x="20680" y="766"/>
                  </a:lnTo>
                  <a:cubicBezTo>
                    <a:pt x="18356" y="-472"/>
                    <a:pt x="15575" y="-472"/>
                    <a:pt x="13250" y="766"/>
                  </a:cubicBezTo>
                  <a:lnTo>
                    <a:pt x="1154" y="7719"/>
                  </a:lnTo>
                  <a:cubicBezTo>
                    <a:pt x="-27" y="8158"/>
                    <a:pt x="-637" y="9472"/>
                    <a:pt x="-189" y="10653"/>
                  </a:cubicBezTo>
                  <a:cubicBezTo>
                    <a:pt x="39" y="11282"/>
                    <a:pt x="535" y="11777"/>
                    <a:pt x="1154" y="12006"/>
                  </a:cubicBezTo>
                  <a:close/>
                </a:path>
              </a:pathLst>
            </a:custGeom>
            <a:solidFill>
              <a:srgbClr val="D1D9E8"/>
            </a:solidFill>
            <a:ln w="9525" cap="flat">
              <a:noFill/>
              <a:prstDash val="solid"/>
              <a:miter/>
            </a:ln>
          </p:spPr>
          <p:txBody>
            <a:bodyPr rtlCol="0" anchor="ctr"/>
            <a:lstStyle/>
            <a:p>
              <a:endParaRPr lang="zh-CN" altLang="en-US"/>
            </a:p>
          </p:txBody>
        </p:sp>
        <p:sp>
          <p:nvSpPr>
            <p:cNvPr id="439" name="iṥ1îḓè">
              <a:extLst>
                <a:ext uri="{FF2B5EF4-FFF2-40B4-BE49-F238E27FC236}">
                  <a16:creationId xmlns:a16="http://schemas.microsoft.com/office/drawing/2014/main" id="{9331ABC1-3423-474F-8A60-7A388A042AD3}"/>
                </a:ext>
              </a:extLst>
            </p:cNvPr>
            <p:cNvSpPr/>
            <p:nvPr/>
          </p:nvSpPr>
          <p:spPr>
            <a:xfrm>
              <a:off x="5416296" y="5046763"/>
              <a:ext cx="109594" cy="53804"/>
            </a:xfrm>
            <a:custGeom>
              <a:avLst/>
              <a:gdLst>
                <a:gd name="connsiteX0" fmla="*/ -336 w 36004"/>
                <a:gd name="connsiteY0" fmla="*/ -163 h 17676"/>
                <a:gd name="connsiteX1" fmla="*/ -336 w 36004"/>
                <a:gd name="connsiteY1" fmla="*/ 7076 h 17676"/>
                <a:gd name="connsiteX2" fmla="*/ 1188 w 36004"/>
                <a:gd name="connsiteY2" fmla="*/ 9267 h 17676"/>
                <a:gd name="connsiteX3" fmla="*/ 13856 w 36004"/>
                <a:gd name="connsiteY3" fmla="*/ 16506 h 17676"/>
                <a:gd name="connsiteX4" fmla="*/ 21476 w 36004"/>
                <a:gd name="connsiteY4" fmla="*/ 16506 h 17676"/>
                <a:gd name="connsiteX5" fmla="*/ 34144 w 36004"/>
                <a:gd name="connsiteY5" fmla="*/ 9267 h 17676"/>
                <a:gd name="connsiteX6" fmla="*/ 35668 w 36004"/>
                <a:gd name="connsiteY6" fmla="*/ 7076 h 17676"/>
                <a:gd name="connsiteX7" fmla="*/ 35668 w 36004"/>
                <a:gd name="connsiteY7" fmla="*/ -163 h 17676"/>
                <a:gd name="connsiteX8" fmla="*/ 34144 w 36004"/>
                <a:gd name="connsiteY8" fmla="*/ 2124 h 17676"/>
                <a:gd name="connsiteX9" fmla="*/ 31763 w 36004"/>
                <a:gd name="connsiteY9" fmla="*/ 3457 h 17676"/>
                <a:gd name="connsiteX10" fmla="*/ 21476 w 36004"/>
                <a:gd name="connsiteY10" fmla="*/ 9362 h 17676"/>
                <a:gd name="connsiteX11" fmla="*/ 13856 w 36004"/>
                <a:gd name="connsiteY11" fmla="*/ 9362 h 17676"/>
                <a:gd name="connsiteX12" fmla="*/ 3569 w 36004"/>
                <a:gd name="connsiteY12" fmla="*/ 3457 h 17676"/>
                <a:gd name="connsiteX13" fmla="*/ 1188 w 36004"/>
                <a:gd name="connsiteY13" fmla="*/ 2124 h 17676"/>
                <a:gd name="connsiteX14" fmla="*/ -336 w 36004"/>
                <a:gd name="connsiteY14" fmla="*/ -163 h 17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6">
                  <a:moveTo>
                    <a:pt x="-336" y="-163"/>
                  </a:moveTo>
                  <a:lnTo>
                    <a:pt x="-336" y="7076"/>
                  </a:lnTo>
                  <a:cubicBezTo>
                    <a:pt x="-298" y="8039"/>
                    <a:pt x="292" y="8896"/>
                    <a:pt x="1188" y="9267"/>
                  </a:cubicBezTo>
                  <a:lnTo>
                    <a:pt x="13856" y="16506"/>
                  </a:lnTo>
                  <a:cubicBezTo>
                    <a:pt x="16218" y="17849"/>
                    <a:pt x="19114" y="17849"/>
                    <a:pt x="21476" y="16506"/>
                  </a:cubicBezTo>
                  <a:lnTo>
                    <a:pt x="34144" y="9267"/>
                  </a:lnTo>
                  <a:cubicBezTo>
                    <a:pt x="35021" y="8877"/>
                    <a:pt x="35611" y="8039"/>
                    <a:pt x="35668" y="7076"/>
                  </a:cubicBezTo>
                  <a:lnTo>
                    <a:pt x="35668" y="-163"/>
                  </a:lnTo>
                  <a:cubicBezTo>
                    <a:pt x="35640" y="828"/>
                    <a:pt x="35049" y="1724"/>
                    <a:pt x="34144" y="2124"/>
                  </a:cubicBezTo>
                  <a:lnTo>
                    <a:pt x="31763" y="3457"/>
                  </a:lnTo>
                  <a:lnTo>
                    <a:pt x="21476" y="9362"/>
                  </a:lnTo>
                  <a:cubicBezTo>
                    <a:pt x="19114" y="10706"/>
                    <a:pt x="16218" y="10706"/>
                    <a:pt x="13856" y="9362"/>
                  </a:cubicBezTo>
                  <a:lnTo>
                    <a:pt x="3569" y="3457"/>
                  </a:lnTo>
                  <a:lnTo>
                    <a:pt x="1188" y="2124"/>
                  </a:lnTo>
                  <a:cubicBezTo>
                    <a:pt x="283" y="1724"/>
                    <a:pt x="-308"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440" name="iṧľiḍé">
              <a:extLst>
                <a:ext uri="{FF2B5EF4-FFF2-40B4-BE49-F238E27FC236}">
                  <a16:creationId xmlns:a16="http://schemas.microsoft.com/office/drawing/2014/main" id="{1C0F4938-C1FE-424D-87CC-8DBE83F78BAA}"/>
                </a:ext>
              </a:extLst>
            </p:cNvPr>
            <p:cNvSpPr/>
            <p:nvPr/>
          </p:nvSpPr>
          <p:spPr>
            <a:xfrm>
              <a:off x="5493998" y="5059883"/>
              <a:ext cx="109740" cy="63350"/>
            </a:xfrm>
            <a:custGeom>
              <a:avLst/>
              <a:gdLst>
                <a:gd name="connsiteX0" fmla="*/ -336 w 36052"/>
                <a:gd name="connsiteY0" fmla="*/ 10196 h 20812"/>
                <a:gd name="connsiteX1" fmla="*/ 1283 w 36052"/>
                <a:gd name="connsiteY1" fmla="*/ 12482 h 20812"/>
                <a:gd name="connsiteX2" fmla="*/ 3569 w 36052"/>
                <a:gd name="connsiteY2" fmla="*/ 13815 h 20812"/>
                <a:gd name="connsiteX3" fmla="*/ 13856 w 36052"/>
                <a:gd name="connsiteY3" fmla="*/ 19721 h 20812"/>
                <a:gd name="connsiteX4" fmla="*/ 21571 w 36052"/>
                <a:gd name="connsiteY4" fmla="*/ 19721 h 20812"/>
                <a:gd name="connsiteX5" fmla="*/ 31858 w 36052"/>
                <a:gd name="connsiteY5" fmla="*/ 13815 h 20812"/>
                <a:gd name="connsiteX6" fmla="*/ 34144 w 36052"/>
                <a:gd name="connsiteY6" fmla="*/ 12482 h 20812"/>
                <a:gd name="connsiteX7" fmla="*/ 35573 w 36052"/>
                <a:gd name="connsiteY7" fmla="*/ 9434 h 20812"/>
                <a:gd name="connsiteX8" fmla="*/ 34144 w 36052"/>
                <a:gd name="connsiteY8" fmla="*/ 8005 h 20812"/>
                <a:gd name="connsiteX9" fmla="*/ 21571 w 36052"/>
                <a:gd name="connsiteY9" fmla="*/ 766 h 20812"/>
                <a:gd name="connsiteX10" fmla="*/ 13856 w 36052"/>
                <a:gd name="connsiteY10" fmla="*/ 766 h 20812"/>
                <a:gd name="connsiteX11" fmla="*/ 1283 w 36052"/>
                <a:gd name="connsiteY11" fmla="*/ 8005 h 20812"/>
                <a:gd name="connsiteX12" fmla="*/ -336 w 36052"/>
                <a:gd name="connsiteY12" fmla="*/ 10196 h 20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12">
                  <a:moveTo>
                    <a:pt x="-336" y="10196"/>
                  </a:moveTo>
                  <a:cubicBezTo>
                    <a:pt x="-231" y="11186"/>
                    <a:pt x="378" y="12053"/>
                    <a:pt x="1283" y="12482"/>
                  </a:cubicBezTo>
                  <a:lnTo>
                    <a:pt x="3569" y="13815"/>
                  </a:lnTo>
                  <a:lnTo>
                    <a:pt x="13856" y="19721"/>
                  </a:lnTo>
                  <a:cubicBezTo>
                    <a:pt x="16275" y="20959"/>
                    <a:pt x="19152" y="20959"/>
                    <a:pt x="21571" y="19721"/>
                  </a:cubicBezTo>
                  <a:lnTo>
                    <a:pt x="31858" y="13815"/>
                  </a:lnTo>
                  <a:lnTo>
                    <a:pt x="34144" y="12482"/>
                  </a:lnTo>
                  <a:cubicBezTo>
                    <a:pt x="35382" y="12034"/>
                    <a:pt x="36021" y="10663"/>
                    <a:pt x="35573" y="9434"/>
                  </a:cubicBezTo>
                  <a:cubicBezTo>
                    <a:pt x="35325" y="8767"/>
                    <a:pt x="34811" y="8243"/>
                    <a:pt x="34144" y="8005"/>
                  </a:cubicBezTo>
                  <a:lnTo>
                    <a:pt x="21571" y="766"/>
                  </a:lnTo>
                  <a:cubicBezTo>
                    <a:pt x="19152" y="-472"/>
                    <a:pt x="16275" y="-472"/>
                    <a:pt x="13856" y="766"/>
                  </a:cubicBezTo>
                  <a:lnTo>
                    <a:pt x="1283" y="8005"/>
                  </a:lnTo>
                  <a:cubicBezTo>
                    <a:pt x="407" y="8415"/>
                    <a:pt x="-203" y="924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441" name="íṣḷîḑè">
              <a:extLst>
                <a:ext uri="{FF2B5EF4-FFF2-40B4-BE49-F238E27FC236}">
                  <a16:creationId xmlns:a16="http://schemas.microsoft.com/office/drawing/2014/main" id="{A569DE62-82F1-404E-9A7B-1FE251A17757}"/>
                </a:ext>
              </a:extLst>
            </p:cNvPr>
            <p:cNvSpPr/>
            <p:nvPr/>
          </p:nvSpPr>
          <p:spPr>
            <a:xfrm>
              <a:off x="5496132" y="5060972"/>
              <a:ext cx="105618" cy="61174"/>
            </a:xfrm>
            <a:custGeom>
              <a:avLst/>
              <a:gdLst>
                <a:gd name="connsiteX0" fmla="*/ 1154 w 34698"/>
                <a:gd name="connsiteY0" fmla="*/ 12029 h 20097"/>
                <a:gd name="connsiteX1" fmla="*/ 13251 w 34698"/>
                <a:gd name="connsiteY1" fmla="*/ 19078 h 20097"/>
                <a:gd name="connsiteX2" fmla="*/ 20680 w 34698"/>
                <a:gd name="connsiteY2" fmla="*/ 19078 h 20097"/>
                <a:gd name="connsiteX3" fmla="*/ 32872 w 34698"/>
                <a:gd name="connsiteY3" fmla="*/ 12029 h 20097"/>
                <a:gd name="connsiteX4" fmla="*/ 34215 w 34698"/>
                <a:gd name="connsiteY4" fmla="*/ 9096 h 20097"/>
                <a:gd name="connsiteX5" fmla="*/ 32872 w 34698"/>
                <a:gd name="connsiteY5" fmla="*/ 7743 h 20097"/>
                <a:gd name="connsiteX6" fmla="*/ 20680 w 34698"/>
                <a:gd name="connsiteY6" fmla="*/ 695 h 20097"/>
                <a:gd name="connsiteX7" fmla="*/ 13251 w 34698"/>
                <a:gd name="connsiteY7" fmla="*/ 695 h 20097"/>
                <a:gd name="connsiteX8" fmla="*/ 1154 w 34698"/>
                <a:gd name="connsiteY8" fmla="*/ 7743 h 20097"/>
                <a:gd name="connsiteX9" fmla="*/ -189 w 34698"/>
                <a:gd name="connsiteY9" fmla="*/ 10677 h 20097"/>
                <a:gd name="connsiteX10" fmla="*/ 1154 w 34698"/>
                <a:gd name="connsiteY10" fmla="*/ 12029 h 20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698" h="20097">
                  <a:moveTo>
                    <a:pt x="1154" y="12029"/>
                  </a:moveTo>
                  <a:lnTo>
                    <a:pt x="13251" y="19078"/>
                  </a:lnTo>
                  <a:cubicBezTo>
                    <a:pt x="15594" y="20221"/>
                    <a:pt x="18337" y="20221"/>
                    <a:pt x="20680" y="19078"/>
                  </a:cubicBezTo>
                  <a:lnTo>
                    <a:pt x="32872" y="12029"/>
                  </a:lnTo>
                  <a:cubicBezTo>
                    <a:pt x="34053" y="11591"/>
                    <a:pt x="34663" y="10277"/>
                    <a:pt x="34215" y="9096"/>
                  </a:cubicBezTo>
                  <a:cubicBezTo>
                    <a:pt x="33986" y="8467"/>
                    <a:pt x="33491" y="7972"/>
                    <a:pt x="32872" y="7743"/>
                  </a:cubicBezTo>
                  <a:lnTo>
                    <a:pt x="20680" y="695"/>
                  </a:lnTo>
                  <a:cubicBezTo>
                    <a:pt x="18337" y="-448"/>
                    <a:pt x="15594" y="-448"/>
                    <a:pt x="13251" y="695"/>
                  </a:cubicBezTo>
                  <a:lnTo>
                    <a:pt x="1154" y="7743"/>
                  </a:lnTo>
                  <a:cubicBezTo>
                    <a:pt x="-27" y="8181"/>
                    <a:pt x="-637" y="9496"/>
                    <a:pt x="-189" y="10677"/>
                  </a:cubicBezTo>
                  <a:cubicBezTo>
                    <a:pt x="39" y="11305"/>
                    <a:pt x="535" y="11801"/>
                    <a:pt x="1154" y="12029"/>
                  </a:cubicBezTo>
                  <a:close/>
                </a:path>
              </a:pathLst>
            </a:custGeom>
            <a:solidFill>
              <a:srgbClr val="D1D9E8"/>
            </a:solidFill>
            <a:ln w="9525" cap="flat">
              <a:noFill/>
              <a:prstDash val="solid"/>
              <a:miter/>
            </a:ln>
          </p:spPr>
          <p:txBody>
            <a:bodyPr rtlCol="0" anchor="ctr"/>
            <a:lstStyle/>
            <a:p>
              <a:endParaRPr lang="zh-CN" altLang="en-US"/>
            </a:p>
          </p:txBody>
        </p:sp>
        <p:sp>
          <p:nvSpPr>
            <p:cNvPr id="442" name="îSlïḑé">
              <a:extLst>
                <a:ext uri="{FF2B5EF4-FFF2-40B4-BE49-F238E27FC236}">
                  <a16:creationId xmlns:a16="http://schemas.microsoft.com/office/drawing/2014/main" id="{40361B45-B5D8-4C81-9372-F603E1C5BE40}"/>
                </a:ext>
              </a:extLst>
            </p:cNvPr>
            <p:cNvSpPr/>
            <p:nvPr/>
          </p:nvSpPr>
          <p:spPr>
            <a:xfrm>
              <a:off x="5493998" y="5091415"/>
              <a:ext cx="109883" cy="53801"/>
            </a:xfrm>
            <a:custGeom>
              <a:avLst/>
              <a:gdLst>
                <a:gd name="connsiteX0" fmla="*/ -336 w 36099"/>
                <a:gd name="connsiteY0" fmla="*/ -163 h 17675"/>
                <a:gd name="connsiteX1" fmla="*/ -336 w 36099"/>
                <a:gd name="connsiteY1" fmla="*/ 7076 h 17675"/>
                <a:gd name="connsiteX2" fmla="*/ 1283 w 36099"/>
                <a:gd name="connsiteY2" fmla="*/ 9267 h 17675"/>
                <a:gd name="connsiteX3" fmla="*/ 13856 w 36099"/>
                <a:gd name="connsiteY3" fmla="*/ 16506 h 17675"/>
                <a:gd name="connsiteX4" fmla="*/ 21571 w 36099"/>
                <a:gd name="connsiteY4" fmla="*/ 16506 h 17675"/>
                <a:gd name="connsiteX5" fmla="*/ 34144 w 36099"/>
                <a:gd name="connsiteY5" fmla="*/ 9267 h 17675"/>
                <a:gd name="connsiteX6" fmla="*/ 35764 w 36099"/>
                <a:gd name="connsiteY6" fmla="*/ 7076 h 17675"/>
                <a:gd name="connsiteX7" fmla="*/ 35764 w 36099"/>
                <a:gd name="connsiteY7" fmla="*/ -163 h 17675"/>
                <a:gd name="connsiteX8" fmla="*/ 34144 w 36099"/>
                <a:gd name="connsiteY8" fmla="*/ 2123 h 17675"/>
                <a:gd name="connsiteX9" fmla="*/ 31858 w 36099"/>
                <a:gd name="connsiteY9" fmla="*/ 3457 h 17675"/>
                <a:gd name="connsiteX10" fmla="*/ 21571 w 36099"/>
                <a:gd name="connsiteY10" fmla="*/ 9362 h 17675"/>
                <a:gd name="connsiteX11" fmla="*/ 13856 w 36099"/>
                <a:gd name="connsiteY11" fmla="*/ 9362 h 17675"/>
                <a:gd name="connsiteX12" fmla="*/ 3569 w 36099"/>
                <a:gd name="connsiteY12" fmla="*/ 3457 h 17675"/>
                <a:gd name="connsiteX13" fmla="*/ 1283 w 36099"/>
                <a:gd name="connsiteY13" fmla="*/ 2123 h 17675"/>
                <a:gd name="connsiteX14" fmla="*/ -336 w 36099"/>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675">
                  <a:moveTo>
                    <a:pt x="-336" y="-163"/>
                  </a:moveTo>
                  <a:lnTo>
                    <a:pt x="-336" y="7076"/>
                  </a:lnTo>
                  <a:cubicBezTo>
                    <a:pt x="-222" y="8038"/>
                    <a:pt x="397" y="8877"/>
                    <a:pt x="1283" y="9267"/>
                  </a:cubicBezTo>
                  <a:lnTo>
                    <a:pt x="13856" y="16506"/>
                  </a:lnTo>
                  <a:cubicBezTo>
                    <a:pt x="16256" y="17849"/>
                    <a:pt x="19171" y="17849"/>
                    <a:pt x="21571" y="16506"/>
                  </a:cubicBezTo>
                  <a:lnTo>
                    <a:pt x="34144" y="9267"/>
                  </a:lnTo>
                  <a:cubicBezTo>
                    <a:pt x="35030" y="8877"/>
                    <a:pt x="35649" y="8038"/>
                    <a:pt x="35764" y="7076"/>
                  </a:cubicBezTo>
                  <a:lnTo>
                    <a:pt x="35764" y="-163"/>
                  </a:lnTo>
                  <a:cubicBezTo>
                    <a:pt x="35659" y="828"/>
                    <a:pt x="35049" y="1695"/>
                    <a:pt x="34144" y="2123"/>
                  </a:cubicBezTo>
                  <a:lnTo>
                    <a:pt x="31858" y="3457"/>
                  </a:lnTo>
                  <a:lnTo>
                    <a:pt x="21571" y="9362"/>
                  </a:lnTo>
                  <a:cubicBezTo>
                    <a:pt x="19152" y="10601"/>
                    <a:pt x="16275" y="10601"/>
                    <a:pt x="13856" y="9362"/>
                  </a:cubicBezTo>
                  <a:lnTo>
                    <a:pt x="3569" y="3457"/>
                  </a:lnTo>
                  <a:lnTo>
                    <a:pt x="1283" y="2123"/>
                  </a:lnTo>
                  <a:cubicBezTo>
                    <a:pt x="378" y="1695"/>
                    <a:pt x="-231"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443" name="îšḷiḑè">
              <a:extLst>
                <a:ext uri="{FF2B5EF4-FFF2-40B4-BE49-F238E27FC236}">
                  <a16:creationId xmlns:a16="http://schemas.microsoft.com/office/drawing/2014/main" id="{2EE3E4A1-35D2-457E-9B55-68E0FC9181D4}"/>
                </a:ext>
              </a:extLst>
            </p:cNvPr>
            <p:cNvSpPr/>
            <p:nvPr/>
          </p:nvSpPr>
          <p:spPr>
            <a:xfrm>
              <a:off x="5571411" y="5104440"/>
              <a:ext cx="109740" cy="63445"/>
            </a:xfrm>
            <a:custGeom>
              <a:avLst/>
              <a:gdLst>
                <a:gd name="connsiteX0" fmla="*/ -336 w 36052"/>
                <a:gd name="connsiteY0" fmla="*/ 10227 h 20843"/>
                <a:gd name="connsiteX1" fmla="*/ 1188 w 36052"/>
                <a:gd name="connsiteY1" fmla="*/ 12513 h 20843"/>
                <a:gd name="connsiteX2" fmla="*/ 3569 w 36052"/>
                <a:gd name="connsiteY2" fmla="*/ 13846 h 20843"/>
                <a:gd name="connsiteX3" fmla="*/ 13856 w 36052"/>
                <a:gd name="connsiteY3" fmla="*/ 19752 h 20843"/>
                <a:gd name="connsiteX4" fmla="*/ 21476 w 36052"/>
                <a:gd name="connsiteY4" fmla="*/ 19752 h 20843"/>
                <a:gd name="connsiteX5" fmla="*/ 31763 w 36052"/>
                <a:gd name="connsiteY5" fmla="*/ 13846 h 20843"/>
                <a:gd name="connsiteX6" fmla="*/ 34144 w 36052"/>
                <a:gd name="connsiteY6" fmla="*/ 12513 h 20843"/>
                <a:gd name="connsiteX7" fmla="*/ 35573 w 36052"/>
                <a:gd name="connsiteY7" fmla="*/ 9465 h 20843"/>
                <a:gd name="connsiteX8" fmla="*/ 34144 w 36052"/>
                <a:gd name="connsiteY8" fmla="*/ 8036 h 20843"/>
                <a:gd name="connsiteX9" fmla="*/ 21476 w 36052"/>
                <a:gd name="connsiteY9" fmla="*/ 702 h 20843"/>
                <a:gd name="connsiteX10" fmla="*/ 13856 w 36052"/>
                <a:gd name="connsiteY10" fmla="*/ 702 h 20843"/>
                <a:gd name="connsiteX11" fmla="*/ 1188 w 36052"/>
                <a:gd name="connsiteY11" fmla="*/ 8036 h 20843"/>
                <a:gd name="connsiteX12" fmla="*/ -336 w 36052"/>
                <a:gd name="connsiteY12" fmla="*/ 10227 h 20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3">
                  <a:moveTo>
                    <a:pt x="-336" y="10227"/>
                  </a:moveTo>
                  <a:cubicBezTo>
                    <a:pt x="-270" y="11208"/>
                    <a:pt x="311" y="12075"/>
                    <a:pt x="1188" y="12513"/>
                  </a:cubicBezTo>
                  <a:lnTo>
                    <a:pt x="3569" y="13846"/>
                  </a:lnTo>
                  <a:lnTo>
                    <a:pt x="13856" y="19752"/>
                  </a:lnTo>
                  <a:cubicBezTo>
                    <a:pt x="16247" y="20990"/>
                    <a:pt x="19085" y="20990"/>
                    <a:pt x="21476" y="19752"/>
                  </a:cubicBezTo>
                  <a:lnTo>
                    <a:pt x="31763" y="13846"/>
                  </a:lnTo>
                  <a:lnTo>
                    <a:pt x="34144" y="12513"/>
                  </a:lnTo>
                  <a:cubicBezTo>
                    <a:pt x="35382" y="12065"/>
                    <a:pt x="36020" y="10694"/>
                    <a:pt x="35573" y="9465"/>
                  </a:cubicBezTo>
                  <a:cubicBezTo>
                    <a:pt x="35325" y="8798"/>
                    <a:pt x="34811" y="8274"/>
                    <a:pt x="34144"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444" name="i$ļîḑê">
              <a:extLst>
                <a:ext uri="{FF2B5EF4-FFF2-40B4-BE49-F238E27FC236}">
                  <a16:creationId xmlns:a16="http://schemas.microsoft.com/office/drawing/2014/main" id="{0A2B2C29-507C-4231-A2B2-369C7C566529}"/>
                </a:ext>
              </a:extLst>
            </p:cNvPr>
            <p:cNvSpPr/>
            <p:nvPr/>
          </p:nvSpPr>
          <p:spPr>
            <a:xfrm>
              <a:off x="5573295" y="5105621"/>
              <a:ext cx="105825" cy="61101"/>
            </a:xfrm>
            <a:custGeom>
              <a:avLst/>
              <a:gdLst>
                <a:gd name="connsiteX0" fmla="*/ 1235 w 34766"/>
                <a:gd name="connsiteY0" fmla="*/ 12030 h 20073"/>
                <a:gd name="connsiteX1" fmla="*/ 13332 w 34766"/>
                <a:gd name="connsiteY1" fmla="*/ 18983 h 20073"/>
                <a:gd name="connsiteX2" fmla="*/ 20762 w 34766"/>
                <a:gd name="connsiteY2" fmla="*/ 18983 h 20073"/>
                <a:gd name="connsiteX3" fmla="*/ 32858 w 34766"/>
                <a:gd name="connsiteY3" fmla="*/ 12030 h 20073"/>
                <a:gd name="connsiteX4" fmla="*/ 32858 w 34766"/>
                <a:gd name="connsiteY4" fmla="*/ 7743 h 20073"/>
                <a:gd name="connsiteX5" fmla="*/ 20762 w 34766"/>
                <a:gd name="connsiteY5" fmla="*/ 695 h 20073"/>
                <a:gd name="connsiteX6" fmla="*/ 13332 w 34766"/>
                <a:gd name="connsiteY6" fmla="*/ 695 h 20073"/>
                <a:gd name="connsiteX7" fmla="*/ 1235 w 34766"/>
                <a:gd name="connsiteY7" fmla="*/ 7743 h 20073"/>
                <a:gd name="connsiteX8" fmla="*/ 1235 w 34766"/>
                <a:gd name="connsiteY8" fmla="*/ 12030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6" h="20073">
                  <a:moveTo>
                    <a:pt x="1235" y="12030"/>
                  </a:moveTo>
                  <a:lnTo>
                    <a:pt x="13332" y="18983"/>
                  </a:lnTo>
                  <a:cubicBezTo>
                    <a:pt x="15656" y="20221"/>
                    <a:pt x="18437" y="20221"/>
                    <a:pt x="20762" y="18983"/>
                  </a:cubicBezTo>
                  <a:lnTo>
                    <a:pt x="32858" y="12030"/>
                  </a:lnTo>
                  <a:cubicBezTo>
                    <a:pt x="34954" y="10791"/>
                    <a:pt x="34954" y="8886"/>
                    <a:pt x="32858" y="7743"/>
                  </a:cubicBezTo>
                  <a:lnTo>
                    <a:pt x="20762" y="695"/>
                  </a:lnTo>
                  <a:cubicBezTo>
                    <a:pt x="18419" y="-448"/>
                    <a:pt x="15675" y="-448"/>
                    <a:pt x="13332" y="695"/>
                  </a:cubicBezTo>
                  <a:lnTo>
                    <a:pt x="1235" y="7743"/>
                  </a:lnTo>
                  <a:cubicBezTo>
                    <a:pt x="-860" y="8886"/>
                    <a:pt x="-860" y="10791"/>
                    <a:pt x="1235" y="12030"/>
                  </a:cubicBezTo>
                  <a:close/>
                </a:path>
              </a:pathLst>
            </a:custGeom>
            <a:solidFill>
              <a:srgbClr val="D1D9E8"/>
            </a:solidFill>
            <a:ln w="9525" cap="flat">
              <a:noFill/>
              <a:prstDash val="solid"/>
              <a:miter/>
            </a:ln>
          </p:spPr>
          <p:txBody>
            <a:bodyPr rtlCol="0" anchor="ctr"/>
            <a:lstStyle/>
            <a:p>
              <a:endParaRPr lang="zh-CN" altLang="en-US"/>
            </a:p>
          </p:txBody>
        </p:sp>
        <p:sp>
          <p:nvSpPr>
            <p:cNvPr id="445" name="îṥḷiḓe">
              <a:extLst>
                <a:ext uri="{FF2B5EF4-FFF2-40B4-BE49-F238E27FC236}">
                  <a16:creationId xmlns:a16="http://schemas.microsoft.com/office/drawing/2014/main" id="{E3B3F106-AAFF-405F-9BAA-30DC3B1E8077}"/>
                </a:ext>
              </a:extLst>
            </p:cNvPr>
            <p:cNvSpPr/>
            <p:nvPr/>
          </p:nvSpPr>
          <p:spPr>
            <a:xfrm>
              <a:off x="5571411" y="5136063"/>
              <a:ext cx="109594" cy="53801"/>
            </a:xfrm>
            <a:custGeom>
              <a:avLst/>
              <a:gdLst>
                <a:gd name="connsiteX0" fmla="*/ -336 w 36004"/>
                <a:gd name="connsiteY0" fmla="*/ -163 h 17675"/>
                <a:gd name="connsiteX1" fmla="*/ -336 w 36004"/>
                <a:gd name="connsiteY1" fmla="*/ 7076 h 17675"/>
                <a:gd name="connsiteX2" fmla="*/ 1188 w 36004"/>
                <a:gd name="connsiteY2" fmla="*/ 9267 h 17675"/>
                <a:gd name="connsiteX3" fmla="*/ 13856 w 36004"/>
                <a:gd name="connsiteY3" fmla="*/ 16506 h 17675"/>
                <a:gd name="connsiteX4" fmla="*/ 21476 w 36004"/>
                <a:gd name="connsiteY4" fmla="*/ 16506 h 17675"/>
                <a:gd name="connsiteX5" fmla="*/ 34144 w 36004"/>
                <a:gd name="connsiteY5" fmla="*/ 9267 h 17675"/>
                <a:gd name="connsiteX6" fmla="*/ 35668 w 36004"/>
                <a:gd name="connsiteY6" fmla="*/ 6981 h 17675"/>
                <a:gd name="connsiteX7" fmla="*/ 35668 w 36004"/>
                <a:gd name="connsiteY7" fmla="*/ -163 h 17675"/>
                <a:gd name="connsiteX8" fmla="*/ 34144 w 36004"/>
                <a:gd name="connsiteY8" fmla="*/ 2123 h 17675"/>
                <a:gd name="connsiteX9" fmla="*/ 31763 w 36004"/>
                <a:gd name="connsiteY9" fmla="*/ 3457 h 17675"/>
                <a:gd name="connsiteX10" fmla="*/ 21476 w 36004"/>
                <a:gd name="connsiteY10" fmla="*/ 9362 h 17675"/>
                <a:gd name="connsiteX11" fmla="*/ 13856 w 36004"/>
                <a:gd name="connsiteY11" fmla="*/ 9362 h 17675"/>
                <a:gd name="connsiteX12" fmla="*/ 3569 w 36004"/>
                <a:gd name="connsiteY12" fmla="*/ 3457 h 17675"/>
                <a:gd name="connsiteX13" fmla="*/ 1188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79" y="8038"/>
                    <a:pt x="311" y="8877"/>
                    <a:pt x="1188" y="9267"/>
                  </a:cubicBezTo>
                  <a:lnTo>
                    <a:pt x="13856" y="16506"/>
                  </a:lnTo>
                  <a:cubicBezTo>
                    <a:pt x="16218" y="17849"/>
                    <a:pt x="19114" y="17849"/>
                    <a:pt x="21476" y="16506"/>
                  </a:cubicBezTo>
                  <a:lnTo>
                    <a:pt x="34144" y="9267"/>
                  </a:lnTo>
                  <a:cubicBezTo>
                    <a:pt x="35049" y="8867"/>
                    <a:pt x="35640" y="7972"/>
                    <a:pt x="35668" y="6981"/>
                  </a:cubicBezTo>
                  <a:lnTo>
                    <a:pt x="35668" y="-163"/>
                  </a:lnTo>
                  <a:cubicBezTo>
                    <a:pt x="35601" y="818"/>
                    <a:pt x="35021" y="1685"/>
                    <a:pt x="34144" y="2123"/>
                  </a:cubicBezTo>
                  <a:lnTo>
                    <a:pt x="31763" y="3457"/>
                  </a:lnTo>
                  <a:lnTo>
                    <a:pt x="21476" y="9362"/>
                  </a:lnTo>
                  <a:cubicBezTo>
                    <a:pt x="19085" y="10601"/>
                    <a:pt x="16247" y="10601"/>
                    <a:pt x="13856" y="9362"/>
                  </a:cubicBezTo>
                  <a:lnTo>
                    <a:pt x="3569" y="3457"/>
                  </a:lnTo>
                  <a:lnTo>
                    <a:pt x="1188"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446" name="íşḻíde">
              <a:extLst>
                <a:ext uri="{FF2B5EF4-FFF2-40B4-BE49-F238E27FC236}">
                  <a16:creationId xmlns:a16="http://schemas.microsoft.com/office/drawing/2014/main" id="{CC1A4362-4C67-4E66-BEB9-E67D8535B4EB}"/>
                </a:ext>
              </a:extLst>
            </p:cNvPr>
            <p:cNvSpPr/>
            <p:nvPr/>
          </p:nvSpPr>
          <p:spPr>
            <a:xfrm>
              <a:off x="5648243" y="5149240"/>
              <a:ext cx="109740" cy="63289"/>
            </a:xfrm>
            <a:custGeom>
              <a:avLst/>
              <a:gdLst>
                <a:gd name="connsiteX0" fmla="*/ -336 w 36052"/>
                <a:gd name="connsiteY0" fmla="*/ 10177 h 20792"/>
                <a:gd name="connsiteX1" fmla="*/ 1283 w 36052"/>
                <a:gd name="connsiteY1" fmla="*/ 12463 h 20792"/>
                <a:gd name="connsiteX2" fmla="*/ 3569 w 36052"/>
                <a:gd name="connsiteY2" fmla="*/ 13796 h 20792"/>
                <a:gd name="connsiteX3" fmla="*/ 13856 w 36052"/>
                <a:gd name="connsiteY3" fmla="*/ 19702 h 20792"/>
                <a:gd name="connsiteX4" fmla="*/ 21571 w 36052"/>
                <a:gd name="connsiteY4" fmla="*/ 19702 h 20792"/>
                <a:gd name="connsiteX5" fmla="*/ 31858 w 36052"/>
                <a:gd name="connsiteY5" fmla="*/ 13796 h 20792"/>
                <a:gd name="connsiteX6" fmla="*/ 34144 w 36052"/>
                <a:gd name="connsiteY6" fmla="*/ 12463 h 20792"/>
                <a:gd name="connsiteX7" fmla="*/ 35573 w 36052"/>
                <a:gd name="connsiteY7" fmla="*/ 9415 h 20792"/>
                <a:gd name="connsiteX8" fmla="*/ 34144 w 36052"/>
                <a:gd name="connsiteY8" fmla="*/ 7986 h 20792"/>
                <a:gd name="connsiteX9" fmla="*/ 21571 w 36052"/>
                <a:gd name="connsiteY9" fmla="*/ 652 h 20792"/>
                <a:gd name="connsiteX10" fmla="*/ 13856 w 36052"/>
                <a:gd name="connsiteY10" fmla="*/ 652 h 20792"/>
                <a:gd name="connsiteX11" fmla="*/ 1283 w 36052"/>
                <a:gd name="connsiteY11" fmla="*/ 7986 h 20792"/>
                <a:gd name="connsiteX12" fmla="*/ -336 w 36052"/>
                <a:gd name="connsiteY12" fmla="*/ 10177 h 20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792">
                  <a:moveTo>
                    <a:pt x="-336" y="10177"/>
                  </a:moveTo>
                  <a:cubicBezTo>
                    <a:pt x="-232" y="11167"/>
                    <a:pt x="378" y="12034"/>
                    <a:pt x="1283" y="12463"/>
                  </a:cubicBezTo>
                  <a:lnTo>
                    <a:pt x="3569" y="13796"/>
                  </a:lnTo>
                  <a:lnTo>
                    <a:pt x="13856" y="19702"/>
                  </a:lnTo>
                  <a:cubicBezTo>
                    <a:pt x="16275" y="20940"/>
                    <a:pt x="19152" y="20940"/>
                    <a:pt x="21571" y="19702"/>
                  </a:cubicBezTo>
                  <a:lnTo>
                    <a:pt x="31858" y="13796"/>
                  </a:lnTo>
                  <a:lnTo>
                    <a:pt x="34144" y="12463"/>
                  </a:lnTo>
                  <a:cubicBezTo>
                    <a:pt x="35382" y="12015"/>
                    <a:pt x="36020" y="10643"/>
                    <a:pt x="35573" y="9415"/>
                  </a:cubicBezTo>
                  <a:cubicBezTo>
                    <a:pt x="35325" y="8748"/>
                    <a:pt x="34811" y="8224"/>
                    <a:pt x="34144" y="7986"/>
                  </a:cubicBezTo>
                  <a:lnTo>
                    <a:pt x="21571" y="652"/>
                  </a:lnTo>
                  <a:cubicBezTo>
                    <a:pt x="19114" y="-434"/>
                    <a:pt x="16313" y="-434"/>
                    <a:pt x="13856" y="652"/>
                  </a:cubicBezTo>
                  <a:lnTo>
                    <a:pt x="1283" y="7986"/>
                  </a:lnTo>
                  <a:cubicBezTo>
                    <a:pt x="407" y="8396"/>
                    <a:pt x="-203" y="9224"/>
                    <a:pt x="-336" y="10177"/>
                  </a:cubicBezTo>
                  <a:close/>
                </a:path>
              </a:pathLst>
            </a:custGeom>
            <a:solidFill>
              <a:srgbClr val="FFFFFF"/>
            </a:solidFill>
            <a:ln w="9525" cap="flat">
              <a:noFill/>
              <a:prstDash val="solid"/>
              <a:miter/>
            </a:ln>
          </p:spPr>
          <p:txBody>
            <a:bodyPr rtlCol="0" anchor="ctr"/>
            <a:lstStyle/>
            <a:p>
              <a:endParaRPr lang="zh-CN" altLang="en-US"/>
            </a:p>
          </p:txBody>
        </p:sp>
        <p:sp>
          <p:nvSpPr>
            <p:cNvPr id="447" name="îŝḷîdé">
              <a:extLst>
                <a:ext uri="{FF2B5EF4-FFF2-40B4-BE49-F238E27FC236}">
                  <a16:creationId xmlns:a16="http://schemas.microsoft.com/office/drawing/2014/main" id="{27DC7F15-75FB-44E0-A5B6-C1DACE5EA66B}"/>
                </a:ext>
              </a:extLst>
            </p:cNvPr>
            <p:cNvSpPr/>
            <p:nvPr/>
          </p:nvSpPr>
          <p:spPr>
            <a:xfrm>
              <a:off x="5649984" y="5150269"/>
              <a:ext cx="106330" cy="61104"/>
            </a:xfrm>
            <a:custGeom>
              <a:avLst/>
              <a:gdLst>
                <a:gd name="connsiteX0" fmla="*/ 1378 w 34932"/>
                <a:gd name="connsiteY0" fmla="*/ 12029 h 20074"/>
                <a:gd name="connsiteX1" fmla="*/ 13570 w 34932"/>
                <a:gd name="connsiteY1" fmla="*/ 18983 h 20074"/>
                <a:gd name="connsiteX2" fmla="*/ 21000 w 34932"/>
                <a:gd name="connsiteY2" fmla="*/ 18983 h 20074"/>
                <a:gd name="connsiteX3" fmla="*/ 33097 w 34932"/>
                <a:gd name="connsiteY3" fmla="*/ 12029 h 20074"/>
                <a:gd name="connsiteX4" fmla="*/ 33097 w 34932"/>
                <a:gd name="connsiteY4" fmla="*/ 7743 h 20074"/>
                <a:gd name="connsiteX5" fmla="*/ 21000 w 34932"/>
                <a:gd name="connsiteY5" fmla="*/ 695 h 20074"/>
                <a:gd name="connsiteX6" fmla="*/ 13570 w 34932"/>
                <a:gd name="connsiteY6" fmla="*/ 695 h 20074"/>
                <a:gd name="connsiteX7" fmla="*/ 1378 w 34932"/>
                <a:gd name="connsiteY7" fmla="*/ 7743 h 20074"/>
                <a:gd name="connsiteX8" fmla="*/ 1378 w 34932"/>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932" h="20074">
                  <a:moveTo>
                    <a:pt x="1378" y="12029"/>
                  </a:moveTo>
                  <a:lnTo>
                    <a:pt x="13570" y="18983"/>
                  </a:lnTo>
                  <a:cubicBezTo>
                    <a:pt x="15894" y="20221"/>
                    <a:pt x="18676" y="20221"/>
                    <a:pt x="21000" y="18983"/>
                  </a:cubicBezTo>
                  <a:lnTo>
                    <a:pt x="33097" y="12029"/>
                  </a:lnTo>
                  <a:cubicBezTo>
                    <a:pt x="35097" y="10791"/>
                    <a:pt x="35097" y="8886"/>
                    <a:pt x="33097" y="7743"/>
                  </a:cubicBezTo>
                  <a:lnTo>
                    <a:pt x="21000" y="695"/>
                  </a:lnTo>
                  <a:cubicBezTo>
                    <a:pt x="18656" y="-448"/>
                    <a:pt x="15913" y="-448"/>
                    <a:pt x="13570" y="695"/>
                  </a:cubicBezTo>
                  <a:lnTo>
                    <a:pt x="1378" y="7743"/>
                  </a:lnTo>
                  <a:cubicBezTo>
                    <a:pt x="-908" y="8886"/>
                    <a:pt x="-908" y="10791"/>
                    <a:pt x="1378" y="12029"/>
                  </a:cubicBezTo>
                  <a:close/>
                </a:path>
              </a:pathLst>
            </a:custGeom>
            <a:solidFill>
              <a:srgbClr val="D1D9E8"/>
            </a:solidFill>
            <a:ln w="9525" cap="flat">
              <a:noFill/>
              <a:prstDash val="solid"/>
              <a:miter/>
            </a:ln>
          </p:spPr>
          <p:txBody>
            <a:bodyPr rtlCol="0" anchor="ctr"/>
            <a:lstStyle/>
            <a:p>
              <a:endParaRPr lang="zh-CN" altLang="en-US"/>
            </a:p>
          </p:txBody>
        </p:sp>
        <p:sp>
          <p:nvSpPr>
            <p:cNvPr id="448" name="ïś1îďê">
              <a:extLst>
                <a:ext uri="{FF2B5EF4-FFF2-40B4-BE49-F238E27FC236}">
                  <a16:creationId xmlns:a16="http://schemas.microsoft.com/office/drawing/2014/main" id="{D8D25FEC-1BE4-43DD-968C-ED21619508F0}"/>
                </a:ext>
              </a:extLst>
            </p:cNvPr>
            <p:cNvSpPr/>
            <p:nvPr/>
          </p:nvSpPr>
          <p:spPr>
            <a:xfrm>
              <a:off x="5648240" y="5180714"/>
              <a:ext cx="109889" cy="54961"/>
            </a:xfrm>
            <a:custGeom>
              <a:avLst/>
              <a:gdLst>
                <a:gd name="connsiteX0" fmla="*/ -335 w 36101"/>
                <a:gd name="connsiteY0" fmla="*/ -163 h 18056"/>
                <a:gd name="connsiteX1" fmla="*/ -335 w 36101"/>
                <a:gd name="connsiteY1" fmla="*/ 7457 h 18056"/>
                <a:gd name="connsiteX2" fmla="*/ 1285 w 36101"/>
                <a:gd name="connsiteY2" fmla="*/ 9648 h 18056"/>
                <a:gd name="connsiteX3" fmla="*/ 13857 w 36101"/>
                <a:gd name="connsiteY3" fmla="*/ 16887 h 18056"/>
                <a:gd name="connsiteX4" fmla="*/ 21573 w 36101"/>
                <a:gd name="connsiteY4" fmla="*/ 16887 h 18056"/>
                <a:gd name="connsiteX5" fmla="*/ 34146 w 36101"/>
                <a:gd name="connsiteY5" fmla="*/ 9648 h 18056"/>
                <a:gd name="connsiteX6" fmla="*/ 35765 w 36101"/>
                <a:gd name="connsiteY6" fmla="*/ 7362 h 18056"/>
                <a:gd name="connsiteX7" fmla="*/ 35765 w 36101"/>
                <a:gd name="connsiteY7" fmla="*/ 218 h 18056"/>
                <a:gd name="connsiteX8" fmla="*/ 34146 w 36101"/>
                <a:gd name="connsiteY8" fmla="*/ 2504 h 18056"/>
                <a:gd name="connsiteX9" fmla="*/ 31860 w 36101"/>
                <a:gd name="connsiteY9" fmla="*/ 3838 h 18056"/>
                <a:gd name="connsiteX10" fmla="*/ 21573 w 36101"/>
                <a:gd name="connsiteY10" fmla="*/ 9743 h 18056"/>
                <a:gd name="connsiteX11" fmla="*/ 13857 w 36101"/>
                <a:gd name="connsiteY11" fmla="*/ 9743 h 18056"/>
                <a:gd name="connsiteX12" fmla="*/ 3571 w 36101"/>
                <a:gd name="connsiteY12" fmla="*/ 3838 h 18056"/>
                <a:gd name="connsiteX13" fmla="*/ 1285 w 36101"/>
                <a:gd name="connsiteY13" fmla="*/ 2504 h 18056"/>
                <a:gd name="connsiteX14" fmla="*/ -335 w 36101"/>
                <a:gd name="connsiteY14" fmla="*/ -163 h 18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101" h="18056">
                  <a:moveTo>
                    <a:pt x="-335" y="-163"/>
                  </a:moveTo>
                  <a:lnTo>
                    <a:pt x="-335" y="7457"/>
                  </a:lnTo>
                  <a:cubicBezTo>
                    <a:pt x="-201" y="8410"/>
                    <a:pt x="408" y="9239"/>
                    <a:pt x="1285" y="9648"/>
                  </a:cubicBezTo>
                  <a:lnTo>
                    <a:pt x="13857" y="16887"/>
                  </a:lnTo>
                  <a:cubicBezTo>
                    <a:pt x="16258" y="18230"/>
                    <a:pt x="19173" y="18230"/>
                    <a:pt x="21573" y="16887"/>
                  </a:cubicBezTo>
                  <a:lnTo>
                    <a:pt x="34146" y="9648"/>
                  </a:lnTo>
                  <a:cubicBezTo>
                    <a:pt x="35070" y="9257"/>
                    <a:pt x="35698" y="8372"/>
                    <a:pt x="35765" y="7362"/>
                  </a:cubicBezTo>
                  <a:lnTo>
                    <a:pt x="35765" y="218"/>
                  </a:lnTo>
                  <a:cubicBezTo>
                    <a:pt x="35698" y="1228"/>
                    <a:pt x="35070" y="2114"/>
                    <a:pt x="34146" y="2504"/>
                  </a:cubicBezTo>
                  <a:lnTo>
                    <a:pt x="31860" y="3838"/>
                  </a:lnTo>
                  <a:lnTo>
                    <a:pt x="21573" y="9743"/>
                  </a:lnTo>
                  <a:cubicBezTo>
                    <a:pt x="19153" y="10981"/>
                    <a:pt x="16277" y="10981"/>
                    <a:pt x="13857" y="9743"/>
                  </a:cubicBezTo>
                  <a:lnTo>
                    <a:pt x="3571" y="3838"/>
                  </a:lnTo>
                  <a:lnTo>
                    <a:pt x="1285" y="2504"/>
                  </a:lnTo>
                  <a:cubicBezTo>
                    <a:pt x="265" y="2018"/>
                    <a:pt x="-373" y="971"/>
                    <a:pt x="-335" y="-163"/>
                  </a:cubicBezTo>
                  <a:close/>
                </a:path>
              </a:pathLst>
            </a:custGeom>
            <a:solidFill>
              <a:srgbClr val="BF4200"/>
            </a:solidFill>
            <a:ln w="9525" cap="flat">
              <a:noFill/>
              <a:prstDash val="solid"/>
              <a:miter/>
            </a:ln>
          </p:spPr>
          <p:txBody>
            <a:bodyPr rtlCol="0" anchor="ctr"/>
            <a:lstStyle/>
            <a:p>
              <a:endParaRPr lang="zh-CN" altLang="en-US"/>
            </a:p>
          </p:txBody>
        </p:sp>
        <p:sp>
          <p:nvSpPr>
            <p:cNvPr id="449" name="îslïḓè">
              <a:extLst>
                <a:ext uri="{FF2B5EF4-FFF2-40B4-BE49-F238E27FC236}">
                  <a16:creationId xmlns:a16="http://schemas.microsoft.com/office/drawing/2014/main" id="{B5BE6C6A-4A13-45D0-9219-F5ADB78A8E2E}"/>
                </a:ext>
              </a:extLst>
            </p:cNvPr>
            <p:cNvSpPr/>
            <p:nvPr/>
          </p:nvSpPr>
          <p:spPr>
            <a:xfrm>
              <a:off x="5725945" y="5193739"/>
              <a:ext cx="109740" cy="63445"/>
            </a:xfrm>
            <a:custGeom>
              <a:avLst/>
              <a:gdLst>
                <a:gd name="connsiteX0" fmla="*/ -336 w 36052"/>
                <a:gd name="connsiteY0" fmla="*/ 10227 h 20843"/>
                <a:gd name="connsiteX1" fmla="*/ 1188 w 36052"/>
                <a:gd name="connsiteY1" fmla="*/ 12513 h 20843"/>
                <a:gd name="connsiteX2" fmla="*/ 3569 w 36052"/>
                <a:gd name="connsiteY2" fmla="*/ 13846 h 20843"/>
                <a:gd name="connsiteX3" fmla="*/ 13856 w 36052"/>
                <a:gd name="connsiteY3" fmla="*/ 19752 h 20843"/>
                <a:gd name="connsiteX4" fmla="*/ 21476 w 36052"/>
                <a:gd name="connsiteY4" fmla="*/ 19752 h 20843"/>
                <a:gd name="connsiteX5" fmla="*/ 31763 w 36052"/>
                <a:gd name="connsiteY5" fmla="*/ 13846 h 20843"/>
                <a:gd name="connsiteX6" fmla="*/ 34144 w 36052"/>
                <a:gd name="connsiteY6" fmla="*/ 12513 h 20843"/>
                <a:gd name="connsiteX7" fmla="*/ 35573 w 36052"/>
                <a:gd name="connsiteY7" fmla="*/ 9465 h 20843"/>
                <a:gd name="connsiteX8" fmla="*/ 34144 w 36052"/>
                <a:gd name="connsiteY8" fmla="*/ 8036 h 20843"/>
                <a:gd name="connsiteX9" fmla="*/ 21476 w 36052"/>
                <a:gd name="connsiteY9" fmla="*/ 702 h 20843"/>
                <a:gd name="connsiteX10" fmla="*/ 13856 w 36052"/>
                <a:gd name="connsiteY10" fmla="*/ 702 h 20843"/>
                <a:gd name="connsiteX11" fmla="*/ 1188 w 36052"/>
                <a:gd name="connsiteY11" fmla="*/ 8036 h 20843"/>
                <a:gd name="connsiteX12" fmla="*/ -336 w 36052"/>
                <a:gd name="connsiteY12" fmla="*/ 10227 h 20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3">
                  <a:moveTo>
                    <a:pt x="-336" y="10227"/>
                  </a:moveTo>
                  <a:cubicBezTo>
                    <a:pt x="-269" y="11208"/>
                    <a:pt x="311" y="12075"/>
                    <a:pt x="1188" y="12513"/>
                  </a:cubicBezTo>
                  <a:lnTo>
                    <a:pt x="3569" y="13846"/>
                  </a:lnTo>
                  <a:lnTo>
                    <a:pt x="13856" y="19752"/>
                  </a:lnTo>
                  <a:cubicBezTo>
                    <a:pt x="16247" y="20990"/>
                    <a:pt x="19085" y="20990"/>
                    <a:pt x="21476" y="19752"/>
                  </a:cubicBezTo>
                  <a:lnTo>
                    <a:pt x="31763" y="13846"/>
                  </a:lnTo>
                  <a:lnTo>
                    <a:pt x="34144" y="12513"/>
                  </a:lnTo>
                  <a:cubicBezTo>
                    <a:pt x="35382" y="12065"/>
                    <a:pt x="36021" y="10694"/>
                    <a:pt x="35573" y="9465"/>
                  </a:cubicBezTo>
                  <a:cubicBezTo>
                    <a:pt x="35325" y="8798"/>
                    <a:pt x="34811" y="8274"/>
                    <a:pt x="34144"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450" name="ïṧ1iďê">
              <a:extLst>
                <a:ext uri="{FF2B5EF4-FFF2-40B4-BE49-F238E27FC236}">
                  <a16:creationId xmlns:a16="http://schemas.microsoft.com/office/drawing/2014/main" id="{A90BBF45-8A43-45DD-A1C9-A984B86673B3}"/>
                </a:ext>
              </a:extLst>
            </p:cNvPr>
            <p:cNvSpPr/>
            <p:nvPr/>
          </p:nvSpPr>
          <p:spPr>
            <a:xfrm>
              <a:off x="5727829" y="5195791"/>
              <a:ext cx="105898" cy="61101"/>
            </a:xfrm>
            <a:custGeom>
              <a:avLst/>
              <a:gdLst>
                <a:gd name="connsiteX0" fmla="*/ 1235 w 34790"/>
                <a:gd name="connsiteY0" fmla="*/ 12029 h 20073"/>
                <a:gd name="connsiteX1" fmla="*/ 13332 w 34790"/>
                <a:gd name="connsiteY1" fmla="*/ 18983 h 20073"/>
                <a:gd name="connsiteX2" fmla="*/ 20761 w 34790"/>
                <a:gd name="connsiteY2" fmla="*/ 18983 h 20073"/>
                <a:gd name="connsiteX3" fmla="*/ 32953 w 34790"/>
                <a:gd name="connsiteY3" fmla="*/ 12029 h 20073"/>
                <a:gd name="connsiteX4" fmla="*/ 32953 w 34790"/>
                <a:gd name="connsiteY4" fmla="*/ 7743 h 20073"/>
                <a:gd name="connsiteX5" fmla="*/ 20761 w 34790"/>
                <a:gd name="connsiteY5" fmla="*/ 695 h 20073"/>
                <a:gd name="connsiteX6" fmla="*/ 13332 w 34790"/>
                <a:gd name="connsiteY6" fmla="*/ 695 h 20073"/>
                <a:gd name="connsiteX7" fmla="*/ 1235 w 34790"/>
                <a:gd name="connsiteY7" fmla="*/ 7743 h 20073"/>
                <a:gd name="connsiteX8" fmla="*/ 1235 w 34790"/>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3">
                  <a:moveTo>
                    <a:pt x="1235" y="12029"/>
                  </a:moveTo>
                  <a:lnTo>
                    <a:pt x="13332" y="18983"/>
                  </a:lnTo>
                  <a:cubicBezTo>
                    <a:pt x="15656" y="20221"/>
                    <a:pt x="18437" y="20221"/>
                    <a:pt x="20761" y="18983"/>
                  </a:cubicBezTo>
                  <a:lnTo>
                    <a:pt x="32953" y="12029"/>
                  </a:lnTo>
                  <a:cubicBezTo>
                    <a:pt x="34954" y="10791"/>
                    <a:pt x="34954" y="8886"/>
                    <a:pt x="32953" y="7743"/>
                  </a:cubicBezTo>
                  <a:lnTo>
                    <a:pt x="20761" y="695"/>
                  </a:lnTo>
                  <a:cubicBezTo>
                    <a:pt x="18418" y="-448"/>
                    <a:pt x="15675" y="-448"/>
                    <a:pt x="13332" y="695"/>
                  </a:cubicBezTo>
                  <a:lnTo>
                    <a:pt x="1235" y="7743"/>
                  </a:lnTo>
                  <a:cubicBezTo>
                    <a:pt x="-860" y="8600"/>
                    <a:pt x="-860" y="10505"/>
                    <a:pt x="1235" y="12029"/>
                  </a:cubicBezTo>
                  <a:close/>
                </a:path>
              </a:pathLst>
            </a:custGeom>
            <a:solidFill>
              <a:srgbClr val="D1D9E8"/>
            </a:solidFill>
            <a:ln w="9525" cap="flat">
              <a:noFill/>
              <a:prstDash val="solid"/>
              <a:miter/>
            </a:ln>
          </p:spPr>
          <p:txBody>
            <a:bodyPr rtlCol="0" anchor="ctr"/>
            <a:lstStyle/>
            <a:p>
              <a:endParaRPr lang="zh-CN" altLang="en-US"/>
            </a:p>
          </p:txBody>
        </p:sp>
        <p:sp>
          <p:nvSpPr>
            <p:cNvPr id="451" name="îṩľiḑé">
              <a:extLst>
                <a:ext uri="{FF2B5EF4-FFF2-40B4-BE49-F238E27FC236}">
                  <a16:creationId xmlns:a16="http://schemas.microsoft.com/office/drawing/2014/main" id="{24455A9C-B250-4DE5-973B-3B54BC5A56CA}"/>
                </a:ext>
              </a:extLst>
            </p:cNvPr>
            <p:cNvSpPr/>
            <p:nvPr/>
          </p:nvSpPr>
          <p:spPr>
            <a:xfrm>
              <a:off x="5725945" y="5225363"/>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4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4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20"/>
                    <a:pt x="35582" y="7953"/>
                    <a:pt x="35668" y="6981"/>
                  </a:cubicBezTo>
                  <a:lnTo>
                    <a:pt x="35668" y="-163"/>
                  </a:lnTo>
                  <a:cubicBezTo>
                    <a:pt x="35602" y="818"/>
                    <a:pt x="35021" y="1685"/>
                    <a:pt x="34144" y="2124"/>
                  </a:cubicBezTo>
                  <a:lnTo>
                    <a:pt x="31763" y="3457"/>
                  </a:lnTo>
                  <a:lnTo>
                    <a:pt x="21476" y="9362"/>
                  </a:lnTo>
                  <a:cubicBezTo>
                    <a:pt x="19085" y="10601"/>
                    <a:pt x="16247" y="10601"/>
                    <a:pt x="13856" y="9362"/>
                  </a:cubicBezTo>
                  <a:lnTo>
                    <a:pt x="3569" y="3457"/>
                  </a:lnTo>
                  <a:lnTo>
                    <a:pt x="1188" y="2124"/>
                  </a:lnTo>
                  <a:cubicBezTo>
                    <a:pt x="311"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452" name="îṡḷîḍê">
              <a:extLst>
                <a:ext uri="{FF2B5EF4-FFF2-40B4-BE49-F238E27FC236}">
                  <a16:creationId xmlns:a16="http://schemas.microsoft.com/office/drawing/2014/main" id="{A23B06E6-5D6F-40C3-85D1-D36CAF1C2296}"/>
                </a:ext>
              </a:extLst>
            </p:cNvPr>
            <p:cNvSpPr/>
            <p:nvPr/>
          </p:nvSpPr>
          <p:spPr>
            <a:xfrm>
              <a:off x="5803358" y="5238388"/>
              <a:ext cx="109447" cy="63445"/>
            </a:xfrm>
            <a:custGeom>
              <a:avLst/>
              <a:gdLst>
                <a:gd name="connsiteX0" fmla="*/ -336 w 35956"/>
                <a:gd name="connsiteY0" fmla="*/ 10227 h 20843"/>
                <a:gd name="connsiteX1" fmla="*/ 1188 w 35956"/>
                <a:gd name="connsiteY1" fmla="*/ 12513 h 20843"/>
                <a:gd name="connsiteX2" fmla="*/ 3569 w 35956"/>
                <a:gd name="connsiteY2" fmla="*/ 13846 h 20843"/>
                <a:gd name="connsiteX3" fmla="*/ 13856 w 35956"/>
                <a:gd name="connsiteY3" fmla="*/ 19752 h 20843"/>
                <a:gd name="connsiteX4" fmla="*/ 21476 w 35956"/>
                <a:gd name="connsiteY4" fmla="*/ 19752 h 20843"/>
                <a:gd name="connsiteX5" fmla="*/ 31763 w 35956"/>
                <a:gd name="connsiteY5" fmla="*/ 13846 h 20843"/>
                <a:gd name="connsiteX6" fmla="*/ 34049 w 35956"/>
                <a:gd name="connsiteY6" fmla="*/ 12513 h 20843"/>
                <a:gd name="connsiteX7" fmla="*/ 35477 w 35956"/>
                <a:gd name="connsiteY7" fmla="*/ 9465 h 20843"/>
                <a:gd name="connsiteX8" fmla="*/ 34049 w 35956"/>
                <a:gd name="connsiteY8" fmla="*/ 8036 h 20843"/>
                <a:gd name="connsiteX9" fmla="*/ 21476 w 35956"/>
                <a:gd name="connsiteY9" fmla="*/ 702 h 20843"/>
                <a:gd name="connsiteX10" fmla="*/ 13856 w 35956"/>
                <a:gd name="connsiteY10" fmla="*/ 702 h 20843"/>
                <a:gd name="connsiteX11" fmla="*/ 1188 w 35956"/>
                <a:gd name="connsiteY11" fmla="*/ 8036 h 20843"/>
                <a:gd name="connsiteX12" fmla="*/ -336 w 35956"/>
                <a:gd name="connsiteY12" fmla="*/ 10227 h 20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956" h="20843">
                  <a:moveTo>
                    <a:pt x="-336" y="10227"/>
                  </a:moveTo>
                  <a:cubicBezTo>
                    <a:pt x="-270" y="11208"/>
                    <a:pt x="311" y="12075"/>
                    <a:pt x="1188" y="12513"/>
                  </a:cubicBezTo>
                  <a:lnTo>
                    <a:pt x="3569" y="13846"/>
                  </a:lnTo>
                  <a:lnTo>
                    <a:pt x="13856" y="19752"/>
                  </a:lnTo>
                  <a:cubicBezTo>
                    <a:pt x="16247" y="20990"/>
                    <a:pt x="19085" y="20990"/>
                    <a:pt x="21476" y="19752"/>
                  </a:cubicBezTo>
                  <a:lnTo>
                    <a:pt x="31763" y="13846"/>
                  </a:lnTo>
                  <a:lnTo>
                    <a:pt x="34049" y="12513"/>
                  </a:lnTo>
                  <a:cubicBezTo>
                    <a:pt x="35287" y="12065"/>
                    <a:pt x="35925" y="10694"/>
                    <a:pt x="35477" y="9465"/>
                  </a:cubicBezTo>
                  <a:cubicBezTo>
                    <a:pt x="35230" y="8798"/>
                    <a:pt x="34716" y="8274"/>
                    <a:pt x="34049"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453" name="ïṥ1ïďè">
              <a:extLst>
                <a:ext uri="{FF2B5EF4-FFF2-40B4-BE49-F238E27FC236}">
                  <a16:creationId xmlns:a16="http://schemas.microsoft.com/office/drawing/2014/main" id="{F48D9D3E-A4A4-48FC-BB42-F96DD7068272}"/>
                </a:ext>
              </a:extLst>
            </p:cNvPr>
            <p:cNvSpPr/>
            <p:nvPr/>
          </p:nvSpPr>
          <p:spPr>
            <a:xfrm>
              <a:off x="5805170" y="5239572"/>
              <a:ext cx="105898" cy="61101"/>
            </a:xfrm>
            <a:custGeom>
              <a:avLst/>
              <a:gdLst>
                <a:gd name="connsiteX0" fmla="*/ 1164 w 34790"/>
                <a:gd name="connsiteY0" fmla="*/ 12029 h 20073"/>
                <a:gd name="connsiteX1" fmla="*/ 13356 w 34790"/>
                <a:gd name="connsiteY1" fmla="*/ 18982 h 20073"/>
                <a:gd name="connsiteX2" fmla="*/ 20785 w 34790"/>
                <a:gd name="connsiteY2" fmla="*/ 18982 h 20073"/>
                <a:gd name="connsiteX3" fmla="*/ 32882 w 34790"/>
                <a:gd name="connsiteY3" fmla="*/ 12029 h 20073"/>
                <a:gd name="connsiteX4" fmla="*/ 32882 w 34790"/>
                <a:gd name="connsiteY4" fmla="*/ 7743 h 20073"/>
                <a:gd name="connsiteX5" fmla="*/ 20785 w 34790"/>
                <a:gd name="connsiteY5" fmla="*/ 695 h 20073"/>
                <a:gd name="connsiteX6" fmla="*/ 13356 w 34790"/>
                <a:gd name="connsiteY6" fmla="*/ 695 h 20073"/>
                <a:gd name="connsiteX7" fmla="*/ 1164 w 34790"/>
                <a:gd name="connsiteY7" fmla="*/ 7743 h 20073"/>
                <a:gd name="connsiteX8" fmla="*/ 1164 w 34790"/>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3">
                  <a:moveTo>
                    <a:pt x="1164" y="12029"/>
                  </a:moveTo>
                  <a:lnTo>
                    <a:pt x="13356" y="18982"/>
                  </a:lnTo>
                  <a:cubicBezTo>
                    <a:pt x="15680" y="20221"/>
                    <a:pt x="18461" y="20221"/>
                    <a:pt x="20785" y="18982"/>
                  </a:cubicBezTo>
                  <a:lnTo>
                    <a:pt x="32882" y="12029"/>
                  </a:lnTo>
                  <a:cubicBezTo>
                    <a:pt x="34978" y="10791"/>
                    <a:pt x="34978" y="8886"/>
                    <a:pt x="32882" y="7743"/>
                  </a:cubicBezTo>
                  <a:lnTo>
                    <a:pt x="20785" y="695"/>
                  </a:lnTo>
                  <a:cubicBezTo>
                    <a:pt x="18442" y="-448"/>
                    <a:pt x="15699" y="-448"/>
                    <a:pt x="13356" y="695"/>
                  </a:cubicBezTo>
                  <a:lnTo>
                    <a:pt x="1164" y="7743"/>
                  </a:lnTo>
                  <a:cubicBezTo>
                    <a:pt x="-836" y="8886"/>
                    <a:pt x="-836" y="10791"/>
                    <a:pt x="1164" y="12029"/>
                  </a:cubicBezTo>
                  <a:close/>
                </a:path>
              </a:pathLst>
            </a:custGeom>
            <a:solidFill>
              <a:srgbClr val="D1D9E8"/>
            </a:solidFill>
            <a:ln w="9525" cap="flat">
              <a:noFill/>
              <a:prstDash val="solid"/>
              <a:miter/>
            </a:ln>
          </p:spPr>
          <p:txBody>
            <a:bodyPr rtlCol="0" anchor="ctr"/>
            <a:lstStyle/>
            <a:p>
              <a:endParaRPr lang="zh-CN" altLang="en-US"/>
            </a:p>
          </p:txBody>
        </p:sp>
        <p:sp>
          <p:nvSpPr>
            <p:cNvPr id="454" name="îsļïḑé">
              <a:extLst>
                <a:ext uri="{FF2B5EF4-FFF2-40B4-BE49-F238E27FC236}">
                  <a16:creationId xmlns:a16="http://schemas.microsoft.com/office/drawing/2014/main" id="{F7BE8ACB-C8B2-4E1A-98C9-84DAD9C06BDD}"/>
                </a:ext>
              </a:extLst>
            </p:cNvPr>
            <p:cNvSpPr/>
            <p:nvPr/>
          </p:nvSpPr>
          <p:spPr>
            <a:xfrm>
              <a:off x="5803358" y="5268854"/>
              <a:ext cx="109594" cy="53804"/>
            </a:xfrm>
            <a:custGeom>
              <a:avLst/>
              <a:gdLst>
                <a:gd name="connsiteX0" fmla="*/ -336 w 36004"/>
                <a:gd name="connsiteY0" fmla="*/ 218 h 17676"/>
                <a:gd name="connsiteX1" fmla="*/ -336 w 36004"/>
                <a:gd name="connsiteY1" fmla="*/ 7076 h 17676"/>
                <a:gd name="connsiteX2" fmla="*/ 1188 w 36004"/>
                <a:gd name="connsiteY2" fmla="*/ 9267 h 17676"/>
                <a:gd name="connsiteX3" fmla="*/ 13856 w 36004"/>
                <a:gd name="connsiteY3" fmla="*/ 16506 h 17676"/>
                <a:gd name="connsiteX4" fmla="*/ 21476 w 36004"/>
                <a:gd name="connsiteY4" fmla="*/ 16506 h 17676"/>
                <a:gd name="connsiteX5" fmla="*/ 34049 w 36004"/>
                <a:gd name="connsiteY5" fmla="*/ 9267 h 17676"/>
                <a:gd name="connsiteX6" fmla="*/ 35668 w 36004"/>
                <a:gd name="connsiteY6" fmla="*/ 6981 h 17676"/>
                <a:gd name="connsiteX7" fmla="*/ 35668 w 36004"/>
                <a:gd name="connsiteY7" fmla="*/ -163 h 17676"/>
                <a:gd name="connsiteX8" fmla="*/ 34049 w 36004"/>
                <a:gd name="connsiteY8" fmla="*/ 2124 h 17676"/>
                <a:gd name="connsiteX9" fmla="*/ 31763 w 36004"/>
                <a:gd name="connsiteY9" fmla="*/ 3457 h 17676"/>
                <a:gd name="connsiteX10" fmla="*/ 21476 w 36004"/>
                <a:gd name="connsiteY10" fmla="*/ 9362 h 17676"/>
                <a:gd name="connsiteX11" fmla="*/ 13856 w 36004"/>
                <a:gd name="connsiteY11" fmla="*/ 9362 h 17676"/>
                <a:gd name="connsiteX12" fmla="*/ 3569 w 36004"/>
                <a:gd name="connsiteY12" fmla="*/ 3457 h 17676"/>
                <a:gd name="connsiteX13" fmla="*/ 1188 w 36004"/>
                <a:gd name="connsiteY13" fmla="*/ 2124 h 17676"/>
                <a:gd name="connsiteX14" fmla="*/ -336 w 36004"/>
                <a:gd name="connsiteY14" fmla="*/ 218 h 17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6">
                  <a:moveTo>
                    <a:pt x="-336" y="218"/>
                  </a:moveTo>
                  <a:lnTo>
                    <a:pt x="-336" y="7076"/>
                  </a:lnTo>
                  <a:cubicBezTo>
                    <a:pt x="-279" y="8029"/>
                    <a:pt x="311" y="8877"/>
                    <a:pt x="1188" y="9267"/>
                  </a:cubicBezTo>
                  <a:lnTo>
                    <a:pt x="13856" y="16506"/>
                  </a:lnTo>
                  <a:cubicBezTo>
                    <a:pt x="16218" y="17849"/>
                    <a:pt x="19114" y="17849"/>
                    <a:pt x="21476" y="16506"/>
                  </a:cubicBezTo>
                  <a:lnTo>
                    <a:pt x="34049" y="9267"/>
                  </a:lnTo>
                  <a:cubicBezTo>
                    <a:pt x="34992" y="8896"/>
                    <a:pt x="35630" y="8000"/>
                    <a:pt x="35668" y="6981"/>
                  </a:cubicBezTo>
                  <a:lnTo>
                    <a:pt x="35668" y="-163"/>
                  </a:lnTo>
                  <a:cubicBezTo>
                    <a:pt x="35601" y="847"/>
                    <a:pt x="34973" y="1733"/>
                    <a:pt x="34049" y="2124"/>
                  </a:cubicBezTo>
                  <a:lnTo>
                    <a:pt x="31763" y="3457"/>
                  </a:lnTo>
                  <a:lnTo>
                    <a:pt x="21476" y="9362"/>
                  </a:lnTo>
                  <a:cubicBezTo>
                    <a:pt x="19085" y="10601"/>
                    <a:pt x="16247" y="10601"/>
                    <a:pt x="13856" y="9362"/>
                  </a:cubicBezTo>
                  <a:lnTo>
                    <a:pt x="3569" y="3457"/>
                  </a:lnTo>
                  <a:lnTo>
                    <a:pt x="1188" y="2124"/>
                  </a:lnTo>
                  <a:cubicBezTo>
                    <a:pt x="416" y="1761"/>
                    <a:pt x="-156" y="1057"/>
                    <a:pt x="-336" y="218"/>
                  </a:cubicBezTo>
                  <a:close/>
                </a:path>
              </a:pathLst>
            </a:custGeom>
            <a:solidFill>
              <a:srgbClr val="BF4200"/>
            </a:solidFill>
            <a:ln w="9525" cap="flat">
              <a:noFill/>
              <a:prstDash val="solid"/>
              <a:miter/>
            </a:ln>
          </p:spPr>
          <p:txBody>
            <a:bodyPr rtlCol="0" anchor="ctr"/>
            <a:lstStyle/>
            <a:p>
              <a:endParaRPr lang="zh-CN" altLang="en-US"/>
            </a:p>
          </p:txBody>
        </p:sp>
        <p:sp>
          <p:nvSpPr>
            <p:cNvPr id="455" name="ïṥ1îḍè">
              <a:extLst>
                <a:ext uri="{FF2B5EF4-FFF2-40B4-BE49-F238E27FC236}">
                  <a16:creationId xmlns:a16="http://schemas.microsoft.com/office/drawing/2014/main" id="{D977E726-F4E4-49AA-BD19-45159E445D68}"/>
                </a:ext>
              </a:extLst>
            </p:cNvPr>
            <p:cNvSpPr/>
            <p:nvPr/>
          </p:nvSpPr>
          <p:spPr>
            <a:xfrm>
              <a:off x="5880190" y="5283039"/>
              <a:ext cx="109740" cy="63445"/>
            </a:xfrm>
            <a:custGeom>
              <a:avLst/>
              <a:gdLst>
                <a:gd name="connsiteX0" fmla="*/ -336 w 36052"/>
                <a:gd name="connsiteY0" fmla="*/ 10227 h 20843"/>
                <a:gd name="connsiteX1" fmla="*/ 1188 w 36052"/>
                <a:gd name="connsiteY1" fmla="*/ 12513 h 20843"/>
                <a:gd name="connsiteX2" fmla="*/ 3569 w 36052"/>
                <a:gd name="connsiteY2" fmla="*/ 13846 h 20843"/>
                <a:gd name="connsiteX3" fmla="*/ 13856 w 36052"/>
                <a:gd name="connsiteY3" fmla="*/ 19752 h 20843"/>
                <a:gd name="connsiteX4" fmla="*/ 21476 w 36052"/>
                <a:gd name="connsiteY4" fmla="*/ 19752 h 20843"/>
                <a:gd name="connsiteX5" fmla="*/ 31763 w 36052"/>
                <a:gd name="connsiteY5" fmla="*/ 13846 h 20843"/>
                <a:gd name="connsiteX6" fmla="*/ 34144 w 36052"/>
                <a:gd name="connsiteY6" fmla="*/ 12513 h 20843"/>
                <a:gd name="connsiteX7" fmla="*/ 35573 w 36052"/>
                <a:gd name="connsiteY7" fmla="*/ 9465 h 20843"/>
                <a:gd name="connsiteX8" fmla="*/ 34144 w 36052"/>
                <a:gd name="connsiteY8" fmla="*/ 8036 h 20843"/>
                <a:gd name="connsiteX9" fmla="*/ 21476 w 36052"/>
                <a:gd name="connsiteY9" fmla="*/ 702 h 20843"/>
                <a:gd name="connsiteX10" fmla="*/ 13856 w 36052"/>
                <a:gd name="connsiteY10" fmla="*/ 702 h 20843"/>
                <a:gd name="connsiteX11" fmla="*/ 1188 w 36052"/>
                <a:gd name="connsiteY11" fmla="*/ 8036 h 20843"/>
                <a:gd name="connsiteX12" fmla="*/ -336 w 36052"/>
                <a:gd name="connsiteY12" fmla="*/ 10227 h 20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3">
                  <a:moveTo>
                    <a:pt x="-336" y="10227"/>
                  </a:moveTo>
                  <a:cubicBezTo>
                    <a:pt x="-270" y="11208"/>
                    <a:pt x="311" y="12075"/>
                    <a:pt x="1188" y="12513"/>
                  </a:cubicBezTo>
                  <a:lnTo>
                    <a:pt x="3569" y="13846"/>
                  </a:lnTo>
                  <a:lnTo>
                    <a:pt x="13856" y="19752"/>
                  </a:lnTo>
                  <a:cubicBezTo>
                    <a:pt x="16247" y="20990"/>
                    <a:pt x="19085" y="20990"/>
                    <a:pt x="21476" y="19752"/>
                  </a:cubicBezTo>
                  <a:lnTo>
                    <a:pt x="31763" y="13846"/>
                  </a:lnTo>
                  <a:lnTo>
                    <a:pt x="34144" y="12513"/>
                  </a:lnTo>
                  <a:cubicBezTo>
                    <a:pt x="35382" y="12065"/>
                    <a:pt x="36020" y="10693"/>
                    <a:pt x="35573" y="9465"/>
                  </a:cubicBezTo>
                  <a:cubicBezTo>
                    <a:pt x="35325" y="8798"/>
                    <a:pt x="34811" y="8274"/>
                    <a:pt x="34144"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456" name="iṩḷîďé">
              <a:extLst>
                <a:ext uri="{FF2B5EF4-FFF2-40B4-BE49-F238E27FC236}">
                  <a16:creationId xmlns:a16="http://schemas.microsoft.com/office/drawing/2014/main" id="{ADBC8A95-F108-482D-AE20-6E3C594D1064}"/>
                </a:ext>
              </a:extLst>
            </p:cNvPr>
            <p:cNvSpPr/>
            <p:nvPr/>
          </p:nvSpPr>
          <p:spPr>
            <a:xfrm>
              <a:off x="5881931" y="5284220"/>
              <a:ext cx="106550" cy="61104"/>
            </a:xfrm>
            <a:custGeom>
              <a:avLst/>
              <a:gdLst>
                <a:gd name="connsiteX0" fmla="*/ 1378 w 35004"/>
                <a:gd name="connsiteY0" fmla="*/ 12029 h 20074"/>
                <a:gd name="connsiteX1" fmla="*/ 13570 w 35004"/>
                <a:gd name="connsiteY1" fmla="*/ 18983 h 20074"/>
                <a:gd name="connsiteX2" fmla="*/ 21000 w 35004"/>
                <a:gd name="connsiteY2" fmla="*/ 18983 h 20074"/>
                <a:gd name="connsiteX3" fmla="*/ 33097 w 35004"/>
                <a:gd name="connsiteY3" fmla="*/ 12029 h 20074"/>
                <a:gd name="connsiteX4" fmla="*/ 33097 w 35004"/>
                <a:gd name="connsiteY4" fmla="*/ 7743 h 20074"/>
                <a:gd name="connsiteX5" fmla="*/ 21000 w 35004"/>
                <a:gd name="connsiteY5" fmla="*/ 695 h 20074"/>
                <a:gd name="connsiteX6" fmla="*/ 13570 w 35004"/>
                <a:gd name="connsiteY6" fmla="*/ 695 h 20074"/>
                <a:gd name="connsiteX7" fmla="*/ 1378 w 35004"/>
                <a:gd name="connsiteY7" fmla="*/ 7743 h 20074"/>
                <a:gd name="connsiteX8" fmla="*/ 1378 w 35004"/>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004" h="20074">
                  <a:moveTo>
                    <a:pt x="1378" y="12029"/>
                  </a:moveTo>
                  <a:lnTo>
                    <a:pt x="13570" y="18983"/>
                  </a:lnTo>
                  <a:cubicBezTo>
                    <a:pt x="15894" y="20221"/>
                    <a:pt x="18676" y="20221"/>
                    <a:pt x="21000" y="18983"/>
                  </a:cubicBezTo>
                  <a:lnTo>
                    <a:pt x="33097" y="12029"/>
                  </a:lnTo>
                  <a:cubicBezTo>
                    <a:pt x="35192" y="10791"/>
                    <a:pt x="35192" y="8886"/>
                    <a:pt x="33097" y="7743"/>
                  </a:cubicBezTo>
                  <a:lnTo>
                    <a:pt x="21000" y="695"/>
                  </a:lnTo>
                  <a:cubicBezTo>
                    <a:pt x="18656" y="-448"/>
                    <a:pt x="15913" y="-448"/>
                    <a:pt x="13570" y="695"/>
                  </a:cubicBezTo>
                  <a:lnTo>
                    <a:pt x="1378" y="7743"/>
                  </a:lnTo>
                  <a:cubicBezTo>
                    <a:pt x="-908" y="8886"/>
                    <a:pt x="-908" y="10791"/>
                    <a:pt x="1378" y="12029"/>
                  </a:cubicBezTo>
                  <a:close/>
                </a:path>
              </a:pathLst>
            </a:custGeom>
            <a:solidFill>
              <a:srgbClr val="D1D9E8"/>
            </a:solidFill>
            <a:ln w="9525" cap="flat">
              <a:noFill/>
              <a:prstDash val="solid"/>
              <a:miter/>
            </a:ln>
          </p:spPr>
          <p:txBody>
            <a:bodyPr rtlCol="0" anchor="ctr"/>
            <a:lstStyle/>
            <a:p>
              <a:endParaRPr lang="zh-CN" altLang="en-US"/>
            </a:p>
          </p:txBody>
        </p:sp>
        <p:sp>
          <p:nvSpPr>
            <p:cNvPr id="457" name="íŝḷíďé">
              <a:extLst>
                <a:ext uri="{FF2B5EF4-FFF2-40B4-BE49-F238E27FC236}">
                  <a16:creationId xmlns:a16="http://schemas.microsoft.com/office/drawing/2014/main" id="{F5617A51-6292-439C-A447-67ED20E20DEA}"/>
                </a:ext>
              </a:extLst>
            </p:cNvPr>
            <p:cNvSpPr/>
            <p:nvPr/>
          </p:nvSpPr>
          <p:spPr>
            <a:xfrm>
              <a:off x="5880190" y="5314662"/>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3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3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2" y="7953"/>
                    <a:pt x="35668" y="6981"/>
                  </a:cubicBezTo>
                  <a:lnTo>
                    <a:pt x="35668" y="-163"/>
                  </a:lnTo>
                  <a:cubicBezTo>
                    <a:pt x="35602" y="818"/>
                    <a:pt x="35021" y="1685"/>
                    <a:pt x="34144" y="2123"/>
                  </a:cubicBezTo>
                  <a:lnTo>
                    <a:pt x="31763" y="3457"/>
                  </a:lnTo>
                  <a:lnTo>
                    <a:pt x="21476" y="9362"/>
                  </a:lnTo>
                  <a:cubicBezTo>
                    <a:pt x="19085" y="10601"/>
                    <a:pt x="16247" y="10601"/>
                    <a:pt x="13856" y="9362"/>
                  </a:cubicBezTo>
                  <a:lnTo>
                    <a:pt x="3569" y="3457"/>
                  </a:lnTo>
                  <a:lnTo>
                    <a:pt x="1188"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458" name="ïsḷíde">
              <a:extLst>
                <a:ext uri="{FF2B5EF4-FFF2-40B4-BE49-F238E27FC236}">
                  <a16:creationId xmlns:a16="http://schemas.microsoft.com/office/drawing/2014/main" id="{B3943F8F-2684-4016-A393-2D2D218B0A22}"/>
                </a:ext>
              </a:extLst>
            </p:cNvPr>
            <p:cNvSpPr/>
            <p:nvPr/>
          </p:nvSpPr>
          <p:spPr>
            <a:xfrm>
              <a:off x="5957893" y="5327492"/>
              <a:ext cx="109594" cy="63639"/>
            </a:xfrm>
            <a:custGeom>
              <a:avLst/>
              <a:gdLst>
                <a:gd name="connsiteX0" fmla="*/ -336 w 36004"/>
                <a:gd name="connsiteY0" fmla="*/ 10291 h 20907"/>
                <a:gd name="connsiteX1" fmla="*/ 1188 w 36004"/>
                <a:gd name="connsiteY1" fmla="*/ 12577 h 20907"/>
                <a:gd name="connsiteX2" fmla="*/ 3569 w 36004"/>
                <a:gd name="connsiteY2" fmla="*/ 13910 h 20907"/>
                <a:gd name="connsiteX3" fmla="*/ 13856 w 36004"/>
                <a:gd name="connsiteY3" fmla="*/ 19816 h 20907"/>
                <a:gd name="connsiteX4" fmla="*/ 21476 w 36004"/>
                <a:gd name="connsiteY4" fmla="*/ 19816 h 20907"/>
                <a:gd name="connsiteX5" fmla="*/ 31763 w 36004"/>
                <a:gd name="connsiteY5" fmla="*/ 13910 h 20907"/>
                <a:gd name="connsiteX6" fmla="*/ 34144 w 36004"/>
                <a:gd name="connsiteY6" fmla="*/ 12577 h 20907"/>
                <a:gd name="connsiteX7" fmla="*/ 35668 w 36004"/>
                <a:gd name="connsiteY7" fmla="*/ 10291 h 20907"/>
                <a:gd name="connsiteX8" fmla="*/ 34144 w 36004"/>
                <a:gd name="connsiteY8" fmla="*/ 8100 h 20907"/>
                <a:gd name="connsiteX9" fmla="*/ 21476 w 36004"/>
                <a:gd name="connsiteY9" fmla="*/ 766 h 20907"/>
                <a:gd name="connsiteX10" fmla="*/ 13856 w 36004"/>
                <a:gd name="connsiteY10" fmla="*/ 766 h 20907"/>
                <a:gd name="connsiteX11" fmla="*/ 1188 w 36004"/>
                <a:gd name="connsiteY11" fmla="*/ 8100 h 20907"/>
                <a:gd name="connsiteX12" fmla="*/ -336 w 36004"/>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907">
                  <a:moveTo>
                    <a:pt x="-336" y="10291"/>
                  </a:moveTo>
                  <a:cubicBezTo>
                    <a:pt x="-269" y="11272"/>
                    <a:pt x="311" y="12139"/>
                    <a:pt x="1188" y="12577"/>
                  </a:cubicBezTo>
                  <a:lnTo>
                    <a:pt x="3569" y="13910"/>
                  </a:lnTo>
                  <a:lnTo>
                    <a:pt x="13856" y="19816"/>
                  </a:lnTo>
                  <a:cubicBezTo>
                    <a:pt x="16247" y="21054"/>
                    <a:pt x="19085" y="21054"/>
                    <a:pt x="21476" y="19816"/>
                  </a:cubicBezTo>
                  <a:lnTo>
                    <a:pt x="31763" y="13910"/>
                  </a:lnTo>
                  <a:lnTo>
                    <a:pt x="34144" y="12577"/>
                  </a:lnTo>
                  <a:cubicBezTo>
                    <a:pt x="35021" y="12139"/>
                    <a:pt x="35602" y="11272"/>
                    <a:pt x="35668" y="10291"/>
                  </a:cubicBezTo>
                  <a:cubicBezTo>
                    <a:pt x="35611" y="9339"/>
                    <a:pt x="35021" y="8491"/>
                    <a:pt x="34144" y="8100"/>
                  </a:cubicBezTo>
                  <a:lnTo>
                    <a:pt x="21476" y="766"/>
                  </a:lnTo>
                  <a:cubicBezTo>
                    <a:pt x="19085" y="-472"/>
                    <a:pt x="16247" y="-472"/>
                    <a:pt x="13856" y="766"/>
                  </a:cubicBezTo>
                  <a:lnTo>
                    <a:pt x="1188" y="8100"/>
                  </a:lnTo>
                  <a:cubicBezTo>
                    <a:pt x="311" y="8491"/>
                    <a:pt x="-279"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459" name="işḻîḋê">
              <a:extLst>
                <a:ext uri="{FF2B5EF4-FFF2-40B4-BE49-F238E27FC236}">
                  <a16:creationId xmlns:a16="http://schemas.microsoft.com/office/drawing/2014/main" id="{5D6E1F23-9970-4048-93CD-F3E427DC0EAB}"/>
                </a:ext>
              </a:extLst>
            </p:cNvPr>
            <p:cNvSpPr/>
            <p:nvPr/>
          </p:nvSpPr>
          <p:spPr>
            <a:xfrm>
              <a:off x="5959841" y="5328868"/>
              <a:ext cx="105761" cy="61104"/>
            </a:xfrm>
            <a:custGeom>
              <a:avLst/>
              <a:gdLst>
                <a:gd name="connsiteX0" fmla="*/ 1119 w 34745"/>
                <a:gd name="connsiteY0" fmla="*/ 12029 h 20074"/>
                <a:gd name="connsiteX1" fmla="*/ 13311 w 34745"/>
                <a:gd name="connsiteY1" fmla="*/ 18983 h 20074"/>
                <a:gd name="connsiteX2" fmla="*/ 20741 w 34745"/>
                <a:gd name="connsiteY2" fmla="*/ 18983 h 20074"/>
                <a:gd name="connsiteX3" fmla="*/ 32838 w 34745"/>
                <a:gd name="connsiteY3" fmla="*/ 12029 h 20074"/>
                <a:gd name="connsiteX4" fmla="*/ 32838 w 34745"/>
                <a:gd name="connsiteY4" fmla="*/ 7743 h 20074"/>
                <a:gd name="connsiteX5" fmla="*/ 21122 w 34745"/>
                <a:gd name="connsiteY5" fmla="*/ 695 h 20074"/>
                <a:gd name="connsiteX6" fmla="*/ 13692 w 34745"/>
                <a:gd name="connsiteY6" fmla="*/ 695 h 20074"/>
                <a:gd name="connsiteX7" fmla="*/ 1500 w 34745"/>
                <a:gd name="connsiteY7" fmla="*/ 7743 h 20074"/>
                <a:gd name="connsiteX8" fmla="*/ 1119 w 34745"/>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45" h="20074">
                  <a:moveTo>
                    <a:pt x="1119" y="12029"/>
                  </a:moveTo>
                  <a:lnTo>
                    <a:pt x="13311" y="18983"/>
                  </a:lnTo>
                  <a:cubicBezTo>
                    <a:pt x="15636" y="20221"/>
                    <a:pt x="18417" y="20221"/>
                    <a:pt x="20741" y="18983"/>
                  </a:cubicBezTo>
                  <a:lnTo>
                    <a:pt x="32838" y="12029"/>
                  </a:lnTo>
                  <a:cubicBezTo>
                    <a:pt x="34933" y="10791"/>
                    <a:pt x="34933" y="8886"/>
                    <a:pt x="32838" y="7743"/>
                  </a:cubicBezTo>
                  <a:lnTo>
                    <a:pt x="21122" y="695"/>
                  </a:lnTo>
                  <a:cubicBezTo>
                    <a:pt x="18779" y="-448"/>
                    <a:pt x="16036" y="-448"/>
                    <a:pt x="13692" y="695"/>
                  </a:cubicBezTo>
                  <a:lnTo>
                    <a:pt x="1500" y="7743"/>
                  </a:lnTo>
                  <a:cubicBezTo>
                    <a:pt x="-881" y="8886"/>
                    <a:pt x="-881" y="10791"/>
                    <a:pt x="1119" y="12029"/>
                  </a:cubicBezTo>
                  <a:close/>
                </a:path>
              </a:pathLst>
            </a:custGeom>
            <a:solidFill>
              <a:srgbClr val="D1D9E8"/>
            </a:solidFill>
            <a:ln w="9525" cap="flat">
              <a:noFill/>
              <a:prstDash val="solid"/>
              <a:miter/>
            </a:ln>
          </p:spPr>
          <p:txBody>
            <a:bodyPr rtlCol="0" anchor="ctr"/>
            <a:lstStyle/>
            <a:p>
              <a:endParaRPr lang="zh-CN" altLang="en-US"/>
            </a:p>
          </p:txBody>
        </p:sp>
        <p:sp>
          <p:nvSpPr>
            <p:cNvPr id="460" name="íṧḻïḍê">
              <a:extLst>
                <a:ext uri="{FF2B5EF4-FFF2-40B4-BE49-F238E27FC236}">
                  <a16:creationId xmlns:a16="http://schemas.microsoft.com/office/drawing/2014/main" id="{799F504D-1B69-4694-B64C-BAB1912D3182}"/>
                </a:ext>
              </a:extLst>
            </p:cNvPr>
            <p:cNvSpPr/>
            <p:nvPr/>
          </p:nvSpPr>
          <p:spPr>
            <a:xfrm>
              <a:off x="5957893" y="5359314"/>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4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4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20"/>
                    <a:pt x="35582" y="7953"/>
                    <a:pt x="35668" y="6981"/>
                  </a:cubicBezTo>
                  <a:lnTo>
                    <a:pt x="35668" y="-163"/>
                  </a:lnTo>
                  <a:cubicBezTo>
                    <a:pt x="35602" y="819"/>
                    <a:pt x="35021" y="1685"/>
                    <a:pt x="34144" y="2124"/>
                  </a:cubicBezTo>
                  <a:lnTo>
                    <a:pt x="31763" y="3457"/>
                  </a:lnTo>
                  <a:lnTo>
                    <a:pt x="21476" y="9362"/>
                  </a:lnTo>
                  <a:cubicBezTo>
                    <a:pt x="19085" y="10601"/>
                    <a:pt x="16247" y="10601"/>
                    <a:pt x="13856" y="9362"/>
                  </a:cubicBezTo>
                  <a:lnTo>
                    <a:pt x="3569" y="3457"/>
                  </a:lnTo>
                  <a:lnTo>
                    <a:pt x="1188" y="2124"/>
                  </a:lnTo>
                  <a:cubicBezTo>
                    <a:pt x="311" y="1685"/>
                    <a:pt x="-269" y="819"/>
                    <a:pt x="-336" y="-163"/>
                  </a:cubicBezTo>
                  <a:close/>
                </a:path>
              </a:pathLst>
            </a:custGeom>
            <a:solidFill>
              <a:srgbClr val="BF4200"/>
            </a:solidFill>
            <a:ln w="9525" cap="flat">
              <a:noFill/>
              <a:prstDash val="solid"/>
              <a:miter/>
            </a:ln>
          </p:spPr>
          <p:txBody>
            <a:bodyPr rtlCol="0" anchor="ctr"/>
            <a:lstStyle/>
            <a:p>
              <a:endParaRPr lang="zh-CN" altLang="en-US"/>
            </a:p>
          </p:txBody>
        </p:sp>
        <p:sp>
          <p:nvSpPr>
            <p:cNvPr id="461" name="íşḻîḍê">
              <a:extLst>
                <a:ext uri="{FF2B5EF4-FFF2-40B4-BE49-F238E27FC236}">
                  <a16:creationId xmlns:a16="http://schemas.microsoft.com/office/drawing/2014/main" id="{3A43CF65-2326-4EF1-B9DF-0AD914989E4E}"/>
                </a:ext>
              </a:extLst>
            </p:cNvPr>
            <p:cNvSpPr/>
            <p:nvPr/>
          </p:nvSpPr>
          <p:spPr>
            <a:xfrm>
              <a:off x="6035595" y="5373498"/>
              <a:ext cx="197155" cy="113892"/>
            </a:xfrm>
            <a:custGeom>
              <a:avLst/>
              <a:gdLst>
                <a:gd name="connsiteX0" fmla="*/ -336 w 64770"/>
                <a:gd name="connsiteY0" fmla="*/ 10227 h 37416"/>
                <a:gd name="connsiteX1" fmla="*/ 1188 w 64770"/>
                <a:gd name="connsiteY1" fmla="*/ 12513 h 37416"/>
                <a:gd name="connsiteX2" fmla="*/ 3569 w 64770"/>
                <a:gd name="connsiteY2" fmla="*/ 13846 h 37416"/>
                <a:gd name="connsiteX3" fmla="*/ 42526 w 64770"/>
                <a:gd name="connsiteY3" fmla="*/ 36325 h 37416"/>
                <a:gd name="connsiteX4" fmla="*/ 50242 w 64770"/>
                <a:gd name="connsiteY4" fmla="*/ 36325 h 37416"/>
                <a:gd name="connsiteX5" fmla="*/ 60433 w 64770"/>
                <a:gd name="connsiteY5" fmla="*/ 30420 h 37416"/>
                <a:gd name="connsiteX6" fmla="*/ 62814 w 64770"/>
                <a:gd name="connsiteY6" fmla="*/ 28991 h 37416"/>
                <a:gd name="connsiteX7" fmla="*/ 64434 w 64770"/>
                <a:gd name="connsiteY7" fmla="*/ 27372 h 37416"/>
                <a:gd name="connsiteX8" fmla="*/ 64434 w 64770"/>
                <a:gd name="connsiteY8" fmla="*/ 26229 h 37416"/>
                <a:gd name="connsiteX9" fmla="*/ 62814 w 64770"/>
                <a:gd name="connsiteY9" fmla="*/ 24610 h 37416"/>
                <a:gd name="connsiteX10" fmla="*/ 21476 w 64770"/>
                <a:gd name="connsiteY10" fmla="*/ 702 h 37416"/>
                <a:gd name="connsiteX11" fmla="*/ 13856 w 64770"/>
                <a:gd name="connsiteY11" fmla="*/ 702 h 37416"/>
                <a:gd name="connsiteX12" fmla="*/ 1188 w 64770"/>
                <a:gd name="connsiteY12" fmla="*/ 8036 h 37416"/>
                <a:gd name="connsiteX13" fmla="*/ -336 w 64770"/>
                <a:gd name="connsiteY13" fmla="*/ 10227 h 37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4770" h="37416">
                  <a:moveTo>
                    <a:pt x="-336" y="10227"/>
                  </a:moveTo>
                  <a:cubicBezTo>
                    <a:pt x="-269" y="11208"/>
                    <a:pt x="312" y="12075"/>
                    <a:pt x="1188" y="12513"/>
                  </a:cubicBezTo>
                  <a:lnTo>
                    <a:pt x="3569" y="13846"/>
                  </a:lnTo>
                  <a:lnTo>
                    <a:pt x="42526" y="36325"/>
                  </a:lnTo>
                  <a:cubicBezTo>
                    <a:pt x="44946" y="37563"/>
                    <a:pt x="47822" y="37563"/>
                    <a:pt x="50242" y="36325"/>
                  </a:cubicBezTo>
                  <a:lnTo>
                    <a:pt x="60433" y="30420"/>
                  </a:lnTo>
                  <a:lnTo>
                    <a:pt x="62814" y="28991"/>
                  </a:lnTo>
                  <a:cubicBezTo>
                    <a:pt x="63529" y="28658"/>
                    <a:pt x="64100" y="28086"/>
                    <a:pt x="64434" y="27372"/>
                  </a:cubicBezTo>
                  <a:lnTo>
                    <a:pt x="64434" y="26229"/>
                  </a:lnTo>
                  <a:cubicBezTo>
                    <a:pt x="64043" y="25553"/>
                    <a:pt x="63491" y="25000"/>
                    <a:pt x="62814" y="24610"/>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462" name="isḷíḓe">
              <a:extLst>
                <a:ext uri="{FF2B5EF4-FFF2-40B4-BE49-F238E27FC236}">
                  <a16:creationId xmlns:a16="http://schemas.microsoft.com/office/drawing/2014/main" id="{5D4132D6-A8B6-44A2-A13B-381D0BF7D540}"/>
                </a:ext>
              </a:extLst>
            </p:cNvPr>
            <p:cNvSpPr/>
            <p:nvPr/>
          </p:nvSpPr>
          <p:spPr>
            <a:xfrm>
              <a:off x="6037479" y="5374679"/>
              <a:ext cx="193168" cy="111551"/>
            </a:xfrm>
            <a:custGeom>
              <a:avLst/>
              <a:gdLst>
                <a:gd name="connsiteX0" fmla="*/ 42002 w 63460"/>
                <a:gd name="connsiteY0" fmla="*/ 35556 h 36647"/>
                <a:gd name="connsiteX1" fmla="*/ 1235 w 63460"/>
                <a:gd name="connsiteY1" fmla="*/ 12030 h 36647"/>
                <a:gd name="connsiteX2" fmla="*/ 1235 w 63460"/>
                <a:gd name="connsiteY2" fmla="*/ 7743 h 36647"/>
                <a:gd name="connsiteX3" fmla="*/ 13332 w 63460"/>
                <a:gd name="connsiteY3" fmla="*/ 695 h 36647"/>
                <a:gd name="connsiteX4" fmla="*/ 20762 w 63460"/>
                <a:gd name="connsiteY4" fmla="*/ 695 h 36647"/>
                <a:gd name="connsiteX5" fmla="*/ 61624 w 63460"/>
                <a:gd name="connsiteY5" fmla="*/ 24317 h 36647"/>
                <a:gd name="connsiteX6" fmla="*/ 61624 w 63460"/>
                <a:gd name="connsiteY6" fmla="*/ 28603 h 36647"/>
                <a:gd name="connsiteX7" fmla="*/ 49432 w 63460"/>
                <a:gd name="connsiteY7" fmla="*/ 35556 h 36647"/>
                <a:gd name="connsiteX8" fmla="*/ 42002 w 63460"/>
                <a:gd name="connsiteY8" fmla="*/ 35556 h 366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3460" h="36647">
                  <a:moveTo>
                    <a:pt x="42002" y="35556"/>
                  </a:moveTo>
                  <a:lnTo>
                    <a:pt x="1235" y="12030"/>
                  </a:lnTo>
                  <a:cubicBezTo>
                    <a:pt x="-860" y="10791"/>
                    <a:pt x="-860" y="8886"/>
                    <a:pt x="1235" y="7743"/>
                  </a:cubicBezTo>
                  <a:lnTo>
                    <a:pt x="13332" y="695"/>
                  </a:lnTo>
                  <a:cubicBezTo>
                    <a:pt x="15675" y="-448"/>
                    <a:pt x="18419" y="-448"/>
                    <a:pt x="20762" y="695"/>
                  </a:cubicBezTo>
                  <a:lnTo>
                    <a:pt x="61624" y="24317"/>
                  </a:lnTo>
                  <a:cubicBezTo>
                    <a:pt x="63624" y="25460"/>
                    <a:pt x="63624" y="27365"/>
                    <a:pt x="61624" y="28603"/>
                  </a:cubicBezTo>
                  <a:lnTo>
                    <a:pt x="49432" y="35556"/>
                  </a:lnTo>
                  <a:cubicBezTo>
                    <a:pt x="47108" y="36794"/>
                    <a:pt x="44327" y="36794"/>
                    <a:pt x="42002" y="35556"/>
                  </a:cubicBezTo>
                  <a:close/>
                </a:path>
              </a:pathLst>
            </a:custGeom>
            <a:solidFill>
              <a:srgbClr val="D1D9E8"/>
            </a:solidFill>
            <a:ln w="9525" cap="flat">
              <a:noFill/>
              <a:prstDash val="solid"/>
              <a:miter/>
            </a:ln>
          </p:spPr>
          <p:txBody>
            <a:bodyPr rtlCol="0" anchor="ctr"/>
            <a:lstStyle/>
            <a:p>
              <a:endParaRPr lang="zh-CN" altLang="en-US"/>
            </a:p>
          </p:txBody>
        </p:sp>
        <p:sp>
          <p:nvSpPr>
            <p:cNvPr id="463" name="îś1iďè">
              <a:extLst>
                <a:ext uri="{FF2B5EF4-FFF2-40B4-BE49-F238E27FC236}">
                  <a16:creationId xmlns:a16="http://schemas.microsoft.com/office/drawing/2014/main" id="{D8038C36-3BDD-4A36-9EDB-28CFB5566978}"/>
                </a:ext>
              </a:extLst>
            </p:cNvPr>
            <p:cNvSpPr/>
            <p:nvPr/>
          </p:nvSpPr>
          <p:spPr>
            <a:xfrm>
              <a:off x="6035595" y="5405122"/>
              <a:ext cx="197155" cy="104011"/>
            </a:xfrm>
            <a:custGeom>
              <a:avLst/>
              <a:gdLst>
                <a:gd name="connsiteX0" fmla="*/ -336 w 64770"/>
                <a:gd name="connsiteY0" fmla="*/ -163 h 34170"/>
                <a:gd name="connsiteX1" fmla="*/ -336 w 64770"/>
                <a:gd name="connsiteY1" fmla="*/ 6981 h 34170"/>
                <a:gd name="connsiteX2" fmla="*/ 1188 w 64770"/>
                <a:gd name="connsiteY2" fmla="*/ 9267 h 34170"/>
                <a:gd name="connsiteX3" fmla="*/ 42526 w 64770"/>
                <a:gd name="connsiteY3" fmla="*/ 33080 h 34170"/>
                <a:gd name="connsiteX4" fmla="*/ 50242 w 64770"/>
                <a:gd name="connsiteY4" fmla="*/ 33080 h 34170"/>
                <a:gd name="connsiteX5" fmla="*/ 62814 w 64770"/>
                <a:gd name="connsiteY5" fmla="*/ 25841 h 34170"/>
                <a:gd name="connsiteX6" fmla="*/ 64434 w 64770"/>
                <a:gd name="connsiteY6" fmla="*/ 24221 h 34170"/>
                <a:gd name="connsiteX7" fmla="*/ 64434 w 64770"/>
                <a:gd name="connsiteY7" fmla="*/ 16982 h 34170"/>
                <a:gd name="connsiteX8" fmla="*/ 62814 w 64770"/>
                <a:gd name="connsiteY8" fmla="*/ 18602 h 34170"/>
                <a:gd name="connsiteX9" fmla="*/ 60433 w 64770"/>
                <a:gd name="connsiteY9" fmla="*/ 20030 h 34170"/>
                <a:gd name="connsiteX10" fmla="*/ 50242 w 64770"/>
                <a:gd name="connsiteY10" fmla="*/ 25936 h 34170"/>
                <a:gd name="connsiteX11" fmla="*/ 42526 w 64770"/>
                <a:gd name="connsiteY11" fmla="*/ 25936 h 34170"/>
                <a:gd name="connsiteX12" fmla="*/ 3569 w 64770"/>
                <a:gd name="connsiteY12" fmla="*/ 3457 h 34170"/>
                <a:gd name="connsiteX13" fmla="*/ 1188 w 64770"/>
                <a:gd name="connsiteY13" fmla="*/ 2123 h 34170"/>
                <a:gd name="connsiteX14" fmla="*/ -336 w 64770"/>
                <a:gd name="connsiteY14" fmla="*/ -163 h 341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4770" h="34170">
                  <a:moveTo>
                    <a:pt x="-336" y="-163"/>
                  </a:moveTo>
                  <a:lnTo>
                    <a:pt x="-336" y="6981"/>
                  </a:lnTo>
                  <a:cubicBezTo>
                    <a:pt x="-269" y="7962"/>
                    <a:pt x="312" y="8829"/>
                    <a:pt x="1188" y="9267"/>
                  </a:cubicBezTo>
                  <a:lnTo>
                    <a:pt x="42526" y="33080"/>
                  </a:lnTo>
                  <a:cubicBezTo>
                    <a:pt x="44946" y="34318"/>
                    <a:pt x="47822" y="34318"/>
                    <a:pt x="50242" y="33080"/>
                  </a:cubicBezTo>
                  <a:lnTo>
                    <a:pt x="62814" y="25841"/>
                  </a:lnTo>
                  <a:cubicBezTo>
                    <a:pt x="63443" y="25402"/>
                    <a:pt x="63996" y="24850"/>
                    <a:pt x="64434" y="24221"/>
                  </a:cubicBezTo>
                  <a:lnTo>
                    <a:pt x="64434" y="16982"/>
                  </a:lnTo>
                  <a:cubicBezTo>
                    <a:pt x="64100" y="17697"/>
                    <a:pt x="63529" y="18268"/>
                    <a:pt x="62814" y="18602"/>
                  </a:cubicBezTo>
                  <a:lnTo>
                    <a:pt x="60433" y="20030"/>
                  </a:lnTo>
                  <a:lnTo>
                    <a:pt x="50242" y="25936"/>
                  </a:lnTo>
                  <a:cubicBezTo>
                    <a:pt x="47822" y="27174"/>
                    <a:pt x="44946" y="27174"/>
                    <a:pt x="42526" y="25936"/>
                  </a:cubicBezTo>
                  <a:lnTo>
                    <a:pt x="3569" y="3457"/>
                  </a:lnTo>
                  <a:lnTo>
                    <a:pt x="1188" y="2123"/>
                  </a:lnTo>
                  <a:cubicBezTo>
                    <a:pt x="312"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464" name="ïṩľïḍè">
              <a:extLst>
                <a:ext uri="{FF2B5EF4-FFF2-40B4-BE49-F238E27FC236}">
                  <a16:creationId xmlns:a16="http://schemas.microsoft.com/office/drawing/2014/main" id="{B0A87D8C-DBFA-4F9A-9DA4-8E74BC543390}"/>
                </a:ext>
              </a:extLst>
            </p:cNvPr>
            <p:cNvSpPr/>
            <p:nvPr/>
          </p:nvSpPr>
          <p:spPr>
            <a:xfrm>
              <a:off x="4920799" y="4820746"/>
              <a:ext cx="109740" cy="63289"/>
            </a:xfrm>
            <a:custGeom>
              <a:avLst/>
              <a:gdLst>
                <a:gd name="connsiteX0" fmla="*/ -336 w 36052"/>
                <a:gd name="connsiteY0" fmla="*/ 10177 h 20792"/>
                <a:gd name="connsiteX1" fmla="*/ 1283 w 36052"/>
                <a:gd name="connsiteY1" fmla="*/ 12463 h 20792"/>
                <a:gd name="connsiteX2" fmla="*/ 3569 w 36052"/>
                <a:gd name="connsiteY2" fmla="*/ 13796 h 20792"/>
                <a:gd name="connsiteX3" fmla="*/ 13856 w 36052"/>
                <a:gd name="connsiteY3" fmla="*/ 19702 h 20792"/>
                <a:gd name="connsiteX4" fmla="*/ 21571 w 36052"/>
                <a:gd name="connsiteY4" fmla="*/ 19702 h 20792"/>
                <a:gd name="connsiteX5" fmla="*/ 31858 w 36052"/>
                <a:gd name="connsiteY5" fmla="*/ 13796 h 20792"/>
                <a:gd name="connsiteX6" fmla="*/ 34144 w 36052"/>
                <a:gd name="connsiteY6" fmla="*/ 12463 h 20792"/>
                <a:gd name="connsiteX7" fmla="*/ 35573 w 36052"/>
                <a:gd name="connsiteY7" fmla="*/ 9415 h 20792"/>
                <a:gd name="connsiteX8" fmla="*/ 34144 w 36052"/>
                <a:gd name="connsiteY8" fmla="*/ 7986 h 20792"/>
                <a:gd name="connsiteX9" fmla="*/ 21571 w 36052"/>
                <a:gd name="connsiteY9" fmla="*/ 652 h 20792"/>
                <a:gd name="connsiteX10" fmla="*/ 13856 w 36052"/>
                <a:gd name="connsiteY10" fmla="*/ 652 h 20792"/>
                <a:gd name="connsiteX11" fmla="*/ 1283 w 36052"/>
                <a:gd name="connsiteY11" fmla="*/ 7986 h 20792"/>
                <a:gd name="connsiteX12" fmla="*/ -336 w 36052"/>
                <a:gd name="connsiteY12" fmla="*/ 10177 h 20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792">
                  <a:moveTo>
                    <a:pt x="-336" y="10177"/>
                  </a:moveTo>
                  <a:cubicBezTo>
                    <a:pt x="-232" y="11167"/>
                    <a:pt x="378" y="12034"/>
                    <a:pt x="1283" y="12463"/>
                  </a:cubicBezTo>
                  <a:lnTo>
                    <a:pt x="3569" y="13796"/>
                  </a:lnTo>
                  <a:lnTo>
                    <a:pt x="13856" y="19702"/>
                  </a:lnTo>
                  <a:cubicBezTo>
                    <a:pt x="16275" y="20940"/>
                    <a:pt x="19152" y="20940"/>
                    <a:pt x="21571" y="19702"/>
                  </a:cubicBezTo>
                  <a:lnTo>
                    <a:pt x="31858" y="13796"/>
                  </a:lnTo>
                  <a:lnTo>
                    <a:pt x="34144" y="12463"/>
                  </a:lnTo>
                  <a:cubicBezTo>
                    <a:pt x="35382" y="12015"/>
                    <a:pt x="36020" y="10643"/>
                    <a:pt x="35573" y="9415"/>
                  </a:cubicBezTo>
                  <a:cubicBezTo>
                    <a:pt x="35325" y="8748"/>
                    <a:pt x="34811" y="8224"/>
                    <a:pt x="34144" y="7986"/>
                  </a:cubicBezTo>
                  <a:lnTo>
                    <a:pt x="21571" y="652"/>
                  </a:lnTo>
                  <a:cubicBezTo>
                    <a:pt x="19114" y="-434"/>
                    <a:pt x="16313" y="-434"/>
                    <a:pt x="13856" y="652"/>
                  </a:cubicBezTo>
                  <a:lnTo>
                    <a:pt x="1283" y="7986"/>
                  </a:lnTo>
                  <a:cubicBezTo>
                    <a:pt x="407" y="8396"/>
                    <a:pt x="-203" y="9224"/>
                    <a:pt x="-336" y="10177"/>
                  </a:cubicBezTo>
                  <a:close/>
                </a:path>
              </a:pathLst>
            </a:custGeom>
            <a:solidFill>
              <a:srgbClr val="FFFFFF"/>
            </a:solidFill>
            <a:ln w="9525" cap="flat">
              <a:noFill/>
              <a:prstDash val="solid"/>
              <a:miter/>
            </a:ln>
          </p:spPr>
          <p:txBody>
            <a:bodyPr rtlCol="0" anchor="ctr"/>
            <a:lstStyle/>
            <a:p>
              <a:endParaRPr lang="zh-CN" altLang="en-US"/>
            </a:p>
          </p:txBody>
        </p:sp>
        <p:sp>
          <p:nvSpPr>
            <p:cNvPr id="465" name="íṩlïḋe">
              <a:extLst>
                <a:ext uri="{FF2B5EF4-FFF2-40B4-BE49-F238E27FC236}">
                  <a16:creationId xmlns:a16="http://schemas.microsoft.com/office/drawing/2014/main" id="{FF66316B-A21D-458E-9B0F-CB29C8A3AA8E}"/>
                </a:ext>
              </a:extLst>
            </p:cNvPr>
            <p:cNvSpPr/>
            <p:nvPr/>
          </p:nvSpPr>
          <p:spPr>
            <a:xfrm>
              <a:off x="4922902" y="4821774"/>
              <a:ext cx="105679" cy="61101"/>
            </a:xfrm>
            <a:custGeom>
              <a:avLst/>
              <a:gdLst>
                <a:gd name="connsiteX0" fmla="*/ 1164 w 34718"/>
                <a:gd name="connsiteY0" fmla="*/ 12029 h 20073"/>
                <a:gd name="connsiteX1" fmla="*/ 13261 w 34718"/>
                <a:gd name="connsiteY1" fmla="*/ 18982 h 20073"/>
                <a:gd name="connsiteX2" fmla="*/ 20690 w 34718"/>
                <a:gd name="connsiteY2" fmla="*/ 18982 h 20073"/>
                <a:gd name="connsiteX3" fmla="*/ 32882 w 34718"/>
                <a:gd name="connsiteY3" fmla="*/ 12029 h 20073"/>
                <a:gd name="connsiteX4" fmla="*/ 32882 w 34718"/>
                <a:gd name="connsiteY4" fmla="*/ 7743 h 20073"/>
                <a:gd name="connsiteX5" fmla="*/ 20690 w 34718"/>
                <a:gd name="connsiteY5" fmla="*/ 695 h 20073"/>
                <a:gd name="connsiteX6" fmla="*/ 13261 w 34718"/>
                <a:gd name="connsiteY6" fmla="*/ 695 h 20073"/>
                <a:gd name="connsiteX7" fmla="*/ 1164 w 34718"/>
                <a:gd name="connsiteY7" fmla="*/ 7743 h 20073"/>
                <a:gd name="connsiteX8" fmla="*/ 1164 w 34718"/>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18" h="20073">
                  <a:moveTo>
                    <a:pt x="1164" y="12029"/>
                  </a:moveTo>
                  <a:lnTo>
                    <a:pt x="13261" y="18982"/>
                  </a:lnTo>
                  <a:cubicBezTo>
                    <a:pt x="15585" y="20221"/>
                    <a:pt x="18366" y="20221"/>
                    <a:pt x="20690" y="18982"/>
                  </a:cubicBezTo>
                  <a:lnTo>
                    <a:pt x="32882" y="12029"/>
                  </a:lnTo>
                  <a:cubicBezTo>
                    <a:pt x="34882" y="10791"/>
                    <a:pt x="34882" y="8886"/>
                    <a:pt x="32882" y="7743"/>
                  </a:cubicBezTo>
                  <a:lnTo>
                    <a:pt x="20690" y="695"/>
                  </a:lnTo>
                  <a:cubicBezTo>
                    <a:pt x="18347" y="-448"/>
                    <a:pt x="15604" y="-448"/>
                    <a:pt x="13261" y="695"/>
                  </a:cubicBezTo>
                  <a:lnTo>
                    <a:pt x="1164" y="7743"/>
                  </a:lnTo>
                  <a:cubicBezTo>
                    <a:pt x="-836" y="8886"/>
                    <a:pt x="-836" y="11077"/>
                    <a:pt x="1164" y="12029"/>
                  </a:cubicBezTo>
                  <a:close/>
                </a:path>
              </a:pathLst>
            </a:custGeom>
            <a:solidFill>
              <a:srgbClr val="D1D9E8"/>
            </a:solidFill>
            <a:ln w="9525" cap="flat">
              <a:noFill/>
              <a:prstDash val="solid"/>
              <a:miter/>
            </a:ln>
          </p:spPr>
          <p:txBody>
            <a:bodyPr rtlCol="0" anchor="ctr"/>
            <a:lstStyle/>
            <a:p>
              <a:endParaRPr lang="zh-CN" altLang="en-US"/>
            </a:p>
          </p:txBody>
        </p:sp>
        <p:sp>
          <p:nvSpPr>
            <p:cNvPr id="466" name="îṩlïďe">
              <a:extLst>
                <a:ext uri="{FF2B5EF4-FFF2-40B4-BE49-F238E27FC236}">
                  <a16:creationId xmlns:a16="http://schemas.microsoft.com/office/drawing/2014/main" id="{FFBB0CA5-55D9-4A9D-8114-A3ADA6A58DD9}"/>
                </a:ext>
              </a:extLst>
            </p:cNvPr>
            <p:cNvSpPr/>
            <p:nvPr/>
          </p:nvSpPr>
          <p:spPr>
            <a:xfrm>
              <a:off x="4920799" y="4852217"/>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4 w 36099"/>
                <a:gd name="connsiteY6" fmla="*/ 6981 h 17597"/>
                <a:gd name="connsiteX7" fmla="*/ 35764 w 36099"/>
                <a:gd name="connsiteY7" fmla="*/ -163 h 17597"/>
                <a:gd name="connsiteX8" fmla="*/ 34144 w 36099"/>
                <a:gd name="connsiteY8" fmla="*/ 2123 h 17597"/>
                <a:gd name="connsiteX9" fmla="*/ 31858 w 36099"/>
                <a:gd name="connsiteY9" fmla="*/ 3457 h 17597"/>
                <a:gd name="connsiteX10" fmla="*/ 21571 w 36099"/>
                <a:gd name="connsiteY10" fmla="*/ 9362 h 17597"/>
                <a:gd name="connsiteX11" fmla="*/ 13856 w 36099"/>
                <a:gd name="connsiteY11" fmla="*/ 9362 h 17597"/>
                <a:gd name="connsiteX12" fmla="*/ 3569 w 36099"/>
                <a:gd name="connsiteY12" fmla="*/ 3457 h 17597"/>
                <a:gd name="connsiteX13" fmla="*/ 1283 w 36099"/>
                <a:gd name="connsiteY13" fmla="*/ 2123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03" y="8029"/>
                    <a:pt x="407" y="8857"/>
                    <a:pt x="1283" y="9267"/>
                  </a:cubicBezTo>
                  <a:lnTo>
                    <a:pt x="13856" y="16506"/>
                  </a:lnTo>
                  <a:cubicBezTo>
                    <a:pt x="16275" y="17744"/>
                    <a:pt x="19152" y="17744"/>
                    <a:pt x="21571" y="16506"/>
                  </a:cubicBezTo>
                  <a:lnTo>
                    <a:pt x="34144" y="9267"/>
                  </a:lnTo>
                  <a:cubicBezTo>
                    <a:pt x="35030" y="8829"/>
                    <a:pt x="35640" y="7962"/>
                    <a:pt x="35764" y="6981"/>
                  </a:cubicBezTo>
                  <a:lnTo>
                    <a:pt x="35764" y="-163"/>
                  </a:lnTo>
                  <a:cubicBezTo>
                    <a:pt x="35659" y="828"/>
                    <a:pt x="35049" y="1695"/>
                    <a:pt x="34144" y="2123"/>
                  </a:cubicBezTo>
                  <a:lnTo>
                    <a:pt x="31858" y="3457"/>
                  </a:lnTo>
                  <a:lnTo>
                    <a:pt x="21571" y="9362"/>
                  </a:lnTo>
                  <a:cubicBezTo>
                    <a:pt x="19152" y="10601"/>
                    <a:pt x="16275" y="10601"/>
                    <a:pt x="13856" y="9362"/>
                  </a:cubicBezTo>
                  <a:lnTo>
                    <a:pt x="3569" y="3457"/>
                  </a:lnTo>
                  <a:lnTo>
                    <a:pt x="1283" y="2123"/>
                  </a:lnTo>
                  <a:cubicBezTo>
                    <a:pt x="378" y="1695"/>
                    <a:pt x="-232"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467" name="îṩḷîḋe">
              <a:extLst>
                <a:ext uri="{FF2B5EF4-FFF2-40B4-BE49-F238E27FC236}">
                  <a16:creationId xmlns:a16="http://schemas.microsoft.com/office/drawing/2014/main" id="{27158652-1B68-477F-93A4-91C1938490E6}"/>
                </a:ext>
              </a:extLst>
            </p:cNvPr>
            <p:cNvSpPr/>
            <p:nvPr/>
          </p:nvSpPr>
          <p:spPr>
            <a:xfrm>
              <a:off x="4998212" y="4865047"/>
              <a:ext cx="109740" cy="63639"/>
            </a:xfrm>
            <a:custGeom>
              <a:avLst/>
              <a:gdLst>
                <a:gd name="connsiteX0" fmla="*/ -336 w 36052"/>
                <a:gd name="connsiteY0" fmla="*/ 10291 h 20907"/>
                <a:gd name="connsiteX1" fmla="*/ 1188 w 36052"/>
                <a:gd name="connsiteY1" fmla="*/ 12577 h 20907"/>
                <a:gd name="connsiteX2" fmla="*/ 3569 w 36052"/>
                <a:gd name="connsiteY2" fmla="*/ 13911 h 20907"/>
                <a:gd name="connsiteX3" fmla="*/ 13856 w 36052"/>
                <a:gd name="connsiteY3" fmla="*/ 19816 h 20907"/>
                <a:gd name="connsiteX4" fmla="*/ 21476 w 36052"/>
                <a:gd name="connsiteY4" fmla="*/ 19816 h 20907"/>
                <a:gd name="connsiteX5" fmla="*/ 31763 w 36052"/>
                <a:gd name="connsiteY5" fmla="*/ 13911 h 20907"/>
                <a:gd name="connsiteX6" fmla="*/ 34144 w 36052"/>
                <a:gd name="connsiteY6" fmla="*/ 12577 h 20907"/>
                <a:gd name="connsiteX7" fmla="*/ 35573 w 36052"/>
                <a:gd name="connsiteY7" fmla="*/ 9529 h 20907"/>
                <a:gd name="connsiteX8" fmla="*/ 34144 w 36052"/>
                <a:gd name="connsiteY8" fmla="*/ 8100 h 20907"/>
                <a:gd name="connsiteX9" fmla="*/ 21476 w 36052"/>
                <a:gd name="connsiteY9" fmla="*/ 766 h 20907"/>
                <a:gd name="connsiteX10" fmla="*/ 13856 w 36052"/>
                <a:gd name="connsiteY10" fmla="*/ 766 h 20907"/>
                <a:gd name="connsiteX11" fmla="*/ 1188 w 36052"/>
                <a:gd name="connsiteY11" fmla="*/ 8100 h 20907"/>
                <a:gd name="connsiteX12" fmla="*/ -336 w 36052"/>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907">
                  <a:moveTo>
                    <a:pt x="-336" y="10291"/>
                  </a:moveTo>
                  <a:cubicBezTo>
                    <a:pt x="-269" y="11272"/>
                    <a:pt x="312" y="12139"/>
                    <a:pt x="1188" y="12577"/>
                  </a:cubicBezTo>
                  <a:lnTo>
                    <a:pt x="3569" y="13911"/>
                  </a:lnTo>
                  <a:lnTo>
                    <a:pt x="13856" y="19816"/>
                  </a:lnTo>
                  <a:cubicBezTo>
                    <a:pt x="16247" y="21054"/>
                    <a:pt x="19085" y="21054"/>
                    <a:pt x="21476" y="19816"/>
                  </a:cubicBezTo>
                  <a:lnTo>
                    <a:pt x="31763" y="13911"/>
                  </a:lnTo>
                  <a:lnTo>
                    <a:pt x="34144" y="12577"/>
                  </a:lnTo>
                  <a:cubicBezTo>
                    <a:pt x="35382" y="12129"/>
                    <a:pt x="36021" y="10758"/>
                    <a:pt x="35573" y="9529"/>
                  </a:cubicBezTo>
                  <a:cubicBezTo>
                    <a:pt x="35325" y="8862"/>
                    <a:pt x="34811" y="8338"/>
                    <a:pt x="34144" y="8100"/>
                  </a:cubicBezTo>
                  <a:lnTo>
                    <a:pt x="21476" y="766"/>
                  </a:lnTo>
                  <a:cubicBezTo>
                    <a:pt x="19085" y="-472"/>
                    <a:pt x="16247" y="-472"/>
                    <a:pt x="13856" y="766"/>
                  </a:cubicBezTo>
                  <a:lnTo>
                    <a:pt x="1188" y="8100"/>
                  </a:lnTo>
                  <a:cubicBezTo>
                    <a:pt x="340" y="8519"/>
                    <a:pt x="-241" y="9348"/>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468" name="îṧlïdê">
              <a:extLst>
                <a:ext uri="{FF2B5EF4-FFF2-40B4-BE49-F238E27FC236}">
                  <a16:creationId xmlns:a16="http://schemas.microsoft.com/office/drawing/2014/main" id="{0EC9DF82-38A4-402B-AB20-8AAD3D53CF7B}"/>
                </a:ext>
              </a:extLst>
            </p:cNvPr>
            <p:cNvSpPr/>
            <p:nvPr/>
          </p:nvSpPr>
          <p:spPr>
            <a:xfrm>
              <a:off x="5000096" y="4866426"/>
              <a:ext cx="105825" cy="61101"/>
            </a:xfrm>
            <a:custGeom>
              <a:avLst/>
              <a:gdLst>
                <a:gd name="connsiteX0" fmla="*/ 1235 w 34766"/>
                <a:gd name="connsiteY0" fmla="*/ 12030 h 20073"/>
                <a:gd name="connsiteX1" fmla="*/ 13332 w 34766"/>
                <a:gd name="connsiteY1" fmla="*/ 18983 h 20073"/>
                <a:gd name="connsiteX2" fmla="*/ 20761 w 34766"/>
                <a:gd name="connsiteY2" fmla="*/ 18983 h 20073"/>
                <a:gd name="connsiteX3" fmla="*/ 32858 w 34766"/>
                <a:gd name="connsiteY3" fmla="*/ 12030 h 20073"/>
                <a:gd name="connsiteX4" fmla="*/ 32858 w 34766"/>
                <a:gd name="connsiteY4" fmla="*/ 7743 h 20073"/>
                <a:gd name="connsiteX5" fmla="*/ 20761 w 34766"/>
                <a:gd name="connsiteY5" fmla="*/ 695 h 20073"/>
                <a:gd name="connsiteX6" fmla="*/ 13332 w 34766"/>
                <a:gd name="connsiteY6" fmla="*/ 695 h 20073"/>
                <a:gd name="connsiteX7" fmla="*/ 1235 w 34766"/>
                <a:gd name="connsiteY7" fmla="*/ 7743 h 20073"/>
                <a:gd name="connsiteX8" fmla="*/ 1235 w 34766"/>
                <a:gd name="connsiteY8" fmla="*/ 12030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6" h="20073">
                  <a:moveTo>
                    <a:pt x="1235" y="12030"/>
                  </a:moveTo>
                  <a:lnTo>
                    <a:pt x="13332" y="18983"/>
                  </a:lnTo>
                  <a:cubicBezTo>
                    <a:pt x="15656" y="20221"/>
                    <a:pt x="18437" y="20221"/>
                    <a:pt x="20761" y="18983"/>
                  </a:cubicBezTo>
                  <a:lnTo>
                    <a:pt x="32858" y="12030"/>
                  </a:lnTo>
                  <a:cubicBezTo>
                    <a:pt x="34954" y="10791"/>
                    <a:pt x="34954" y="8886"/>
                    <a:pt x="32858" y="7743"/>
                  </a:cubicBezTo>
                  <a:lnTo>
                    <a:pt x="20761" y="695"/>
                  </a:lnTo>
                  <a:cubicBezTo>
                    <a:pt x="18419" y="-448"/>
                    <a:pt x="15675" y="-448"/>
                    <a:pt x="13332" y="695"/>
                  </a:cubicBezTo>
                  <a:lnTo>
                    <a:pt x="1235" y="7743"/>
                  </a:lnTo>
                  <a:cubicBezTo>
                    <a:pt x="-860" y="8886"/>
                    <a:pt x="-860" y="10791"/>
                    <a:pt x="1235" y="12030"/>
                  </a:cubicBezTo>
                  <a:close/>
                </a:path>
              </a:pathLst>
            </a:custGeom>
            <a:solidFill>
              <a:srgbClr val="D1D9E8"/>
            </a:solidFill>
            <a:ln w="9525" cap="flat">
              <a:noFill/>
              <a:prstDash val="solid"/>
              <a:miter/>
            </a:ln>
          </p:spPr>
          <p:txBody>
            <a:bodyPr rtlCol="0" anchor="ctr"/>
            <a:lstStyle/>
            <a:p>
              <a:endParaRPr lang="zh-CN" altLang="en-US"/>
            </a:p>
          </p:txBody>
        </p:sp>
        <p:sp>
          <p:nvSpPr>
            <p:cNvPr id="469" name="î$ḻíďê">
              <a:extLst>
                <a:ext uri="{FF2B5EF4-FFF2-40B4-BE49-F238E27FC236}">
                  <a16:creationId xmlns:a16="http://schemas.microsoft.com/office/drawing/2014/main" id="{D1B06F11-4C4C-4918-9362-8B75E73EE6CD}"/>
                </a:ext>
              </a:extLst>
            </p:cNvPr>
            <p:cNvSpPr/>
            <p:nvPr/>
          </p:nvSpPr>
          <p:spPr>
            <a:xfrm>
              <a:off x="4998212" y="4896868"/>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3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3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3" y="7953"/>
                    <a:pt x="35668" y="6981"/>
                  </a:cubicBezTo>
                  <a:lnTo>
                    <a:pt x="35668" y="-163"/>
                  </a:lnTo>
                  <a:cubicBezTo>
                    <a:pt x="35602" y="818"/>
                    <a:pt x="35021" y="1685"/>
                    <a:pt x="34144" y="2123"/>
                  </a:cubicBezTo>
                  <a:lnTo>
                    <a:pt x="31763" y="3457"/>
                  </a:lnTo>
                  <a:lnTo>
                    <a:pt x="21476" y="9362"/>
                  </a:lnTo>
                  <a:cubicBezTo>
                    <a:pt x="19085" y="10601"/>
                    <a:pt x="16247" y="10601"/>
                    <a:pt x="13856" y="9362"/>
                  </a:cubicBezTo>
                  <a:lnTo>
                    <a:pt x="3569" y="3457"/>
                  </a:lnTo>
                  <a:lnTo>
                    <a:pt x="1188" y="2123"/>
                  </a:lnTo>
                  <a:cubicBezTo>
                    <a:pt x="312"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470" name="îṥľîḋê">
              <a:extLst>
                <a:ext uri="{FF2B5EF4-FFF2-40B4-BE49-F238E27FC236}">
                  <a16:creationId xmlns:a16="http://schemas.microsoft.com/office/drawing/2014/main" id="{89CA3C4C-2196-44FC-813A-107D83DDEA34}"/>
                </a:ext>
              </a:extLst>
            </p:cNvPr>
            <p:cNvSpPr/>
            <p:nvPr/>
          </p:nvSpPr>
          <p:spPr>
            <a:xfrm>
              <a:off x="5075333" y="4911147"/>
              <a:ext cx="109015" cy="63639"/>
            </a:xfrm>
            <a:custGeom>
              <a:avLst/>
              <a:gdLst>
                <a:gd name="connsiteX0" fmla="*/ -336 w 35814"/>
                <a:gd name="connsiteY0" fmla="*/ 10291 h 20907"/>
                <a:gd name="connsiteX1" fmla="*/ 1283 w 35814"/>
                <a:gd name="connsiteY1" fmla="*/ 12577 h 20907"/>
                <a:gd name="connsiteX2" fmla="*/ 3569 w 35814"/>
                <a:gd name="connsiteY2" fmla="*/ 13911 h 20907"/>
                <a:gd name="connsiteX3" fmla="*/ 13856 w 35814"/>
                <a:gd name="connsiteY3" fmla="*/ 19816 h 20907"/>
                <a:gd name="connsiteX4" fmla="*/ 21571 w 35814"/>
                <a:gd name="connsiteY4" fmla="*/ 19816 h 20907"/>
                <a:gd name="connsiteX5" fmla="*/ 31858 w 35814"/>
                <a:gd name="connsiteY5" fmla="*/ 13911 h 20907"/>
                <a:gd name="connsiteX6" fmla="*/ 34144 w 35814"/>
                <a:gd name="connsiteY6" fmla="*/ 12577 h 20907"/>
                <a:gd name="connsiteX7" fmla="*/ 35478 w 35814"/>
                <a:gd name="connsiteY7" fmla="*/ 10291 h 20907"/>
                <a:gd name="connsiteX8" fmla="*/ 33858 w 35814"/>
                <a:gd name="connsiteY8" fmla="*/ 8100 h 20907"/>
                <a:gd name="connsiteX9" fmla="*/ 21286 w 35814"/>
                <a:gd name="connsiteY9" fmla="*/ 766 h 20907"/>
                <a:gd name="connsiteX10" fmla="*/ 13570 w 35814"/>
                <a:gd name="connsiteY10" fmla="*/ 766 h 20907"/>
                <a:gd name="connsiteX11" fmla="*/ 997 w 35814"/>
                <a:gd name="connsiteY11" fmla="*/ 8100 h 20907"/>
                <a:gd name="connsiteX12" fmla="*/ -336 w 35814"/>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814" h="20907">
                  <a:moveTo>
                    <a:pt x="-336" y="10291"/>
                  </a:moveTo>
                  <a:cubicBezTo>
                    <a:pt x="-231" y="11282"/>
                    <a:pt x="378" y="12149"/>
                    <a:pt x="1283" y="12577"/>
                  </a:cubicBezTo>
                  <a:lnTo>
                    <a:pt x="3569" y="13911"/>
                  </a:lnTo>
                  <a:lnTo>
                    <a:pt x="13856" y="19816"/>
                  </a:lnTo>
                  <a:cubicBezTo>
                    <a:pt x="16275" y="21054"/>
                    <a:pt x="19152" y="21054"/>
                    <a:pt x="21571" y="19816"/>
                  </a:cubicBezTo>
                  <a:lnTo>
                    <a:pt x="31858" y="13911"/>
                  </a:lnTo>
                  <a:lnTo>
                    <a:pt x="34144" y="12577"/>
                  </a:lnTo>
                  <a:cubicBezTo>
                    <a:pt x="34964" y="12101"/>
                    <a:pt x="35468" y="11234"/>
                    <a:pt x="35478" y="10291"/>
                  </a:cubicBezTo>
                  <a:cubicBezTo>
                    <a:pt x="35402" y="9310"/>
                    <a:pt x="34773" y="8462"/>
                    <a:pt x="33858" y="8100"/>
                  </a:cubicBezTo>
                  <a:lnTo>
                    <a:pt x="21286" y="766"/>
                  </a:lnTo>
                  <a:cubicBezTo>
                    <a:pt x="18866" y="-472"/>
                    <a:pt x="15990" y="-472"/>
                    <a:pt x="13570" y="766"/>
                  </a:cubicBezTo>
                  <a:lnTo>
                    <a:pt x="997" y="8100"/>
                  </a:lnTo>
                  <a:cubicBezTo>
                    <a:pt x="216" y="8567"/>
                    <a:pt x="-279" y="9386"/>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471" name="ïṡḷîḑè">
              <a:extLst>
                <a:ext uri="{FF2B5EF4-FFF2-40B4-BE49-F238E27FC236}">
                  <a16:creationId xmlns:a16="http://schemas.microsoft.com/office/drawing/2014/main" id="{94BC8050-D2D2-49EC-AADE-DDF8FCADB53D}"/>
                </a:ext>
              </a:extLst>
            </p:cNvPr>
            <p:cNvSpPr/>
            <p:nvPr/>
          </p:nvSpPr>
          <p:spPr>
            <a:xfrm>
              <a:off x="5077437" y="4910858"/>
              <a:ext cx="105679" cy="61104"/>
            </a:xfrm>
            <a:custGeom>
              <a:avLst/>
              <a:gdLst>
                <a:gd name="connsiteX0" fmla="*/ 1164 w 34718"/>
                <a:gd name="connsiteY0" fmla="*/ 12006 h 20074"/>
                <a:gd name="connsiteX1" fmla="*/ 13356 w 34718"/>
                <a:gd name="connsiteY1" fmla="*/ 19054 h 20074"/>
                <a:gd name="connsiteX2" fmla="*/ 20785 w 34718"/>
                <a:gd name="connsiteY2" fmla="*/ 19054 h 20074"/>
                <a:gd name="connsiteX3" fmla="*/ 32882 w 34718"/>
                <a:gd name="connsiteY3" fmla="*/ 12006 h 20074"/>
                <a:gd name="connsiteX4" fmla="*/ 32882 w 34718"/>
                <a:gd name="connsiteY4" fmla="*/ 7719 h 20074"/>
                <a:gd name="connsiteX5" fmla="*/ 20785 w 34718"/>
                <a:gd name="connsiteY5" fmla="*/ 766 h 20074"/>
                <a:gd name="connsiteX6" fmla="*/ 13356 w 34718"/>
                <a:gd name="connsiteY6" fmla="*/ 766 h 20074"/>
                <a:gd name="connsiteX7" fmla="*/ 1164 w 34718"/>
                <a:gd name="connsiteY7" fmla="*/ 7719 h 20074"/>
                <a:gd name="connsiteX8" fmla="*/ 1164 w 34718"/>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18" h="20074">
                  <a:moveTo>
                    <a:pt x="1164" y="12006"/>
                  </a:moveTo>
                  <a:lnTo>
                    <a:pt x="13356" y="19054"/>
                  </a:lnTo>
                  <a:cubicBezTo>
                    <a:pt x="15699" y="20197"/>
                    <a:pt x="18442" y="20197"/>
                    <a:pt x="20785" y="19054"/>
                  </a:cubicBezTo>
                  <a:lnTo>
                    <a:pt x="32882" y="12006"/>
                  </a:lnTo>
                  <a:cubicBezTo>
                    <a:pt x="34882" y="10863"/>
                    <a:pt x="34882" y="8958"/>
                    <a:pt x="32882" y="7719"/>
                  </a:cubicBezTo>
                  <a:lnTo>
                    <a:pt x="20785" y="766"/>
                  </a:lnTo>
                  <a:cubicBezTo>
                    <a:pt x="18461" y="-472"/>
                    <a:pt x="15680" y="-472"/>
                    <a:pt x="13356" y="766"/>
                  </a:cubicBezTo>
                  <a:lnTo>
                    <a:pt x="1164" y="7719"/>
                  </a:lnTo>
                  <a:cubicBezTo>
                    <a:pt x="-836" y="8958"/>
                    <a:pt x="-836" y="10863"/>
                    <a:pt x="1164" y="12006"/>
                  </a:cubicBezTo>
                  <a:close/>
                </a:path>
              </a:pathLst>
            </a:custGeom>
            <a:solidFill>
              <a:srgbClr val="D1D9E8"/>
            </a:solidFill>
            <a:ln w="9525" cap="flat">
              <a:noFill/>
              <a:prstDash val="solid"/>
              <a:miter/>
            </a:ln>
          </p:spPr>
          <p:txBody>
            <a:bodyPr rtlCol="0" anchor="ctr"/>
            <a:lstStyle/>
            <a:p>
              <a:endParaRPr lang="zh-CN" altLang="en-US"/>
            </a:p>
          </p:txBody>
        </p:sp>
        <p:sp>
          <p:nvSpPr>
            <p:cNvPr id="472" name="ïŝľiḑé">
              <a:extLst>
                <a:ext uri="{FF2B5EF4-FFF2-40B4-BE49-F238E27FC236}">
                  <a16:creationId xmlns:a16="http://schemas.microsoft.com/office/drawing/2014/main" id="{BBD941E2-43D0-4573-B6C4-1E604EC19A79}"/>
                </a:ext>
              </a:extLst>
            </p:cNvPr>
            <p:cNvSpPr/>
            <p:nvPr/>
          </p:nvSpPr>
          <p:spPr>
            <a:xfrm>
              <a:off x="5075333" y="4942968"/>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4 w 36099"/>
                <a:gd name="connsiteY6" fmla="*/ 6981 h 17597"/>
                <a:gd name="connsiteX7" fmla="*/ 35764 w 36099"/>
                <a:gd name="connsiteY7" fmla="*/ -163 h 17597"/>
                <a:gd name="connsiteX8" fmla="*/ 34144 w 36099"/>
                <a:gd name="connsiteY8" fmla="*/ 2123 h 17597"/>
                <a:gd name="connsiteX9" fmla="*/ 31858 w 36099"/>
                <a:gd name="connsiteY9" fmla="*/ 3457 h 17597"/>
                <a:gd name="connsiteX10" fmla="*/ 21571 w 36099"/>
                <a:gd name="connsiteY10" fmla="*/ 9362 h 17597"/>
                <a:gd name="connsiteX11" fmla="*/ 13856 w 36099"/>
                <a:gd name="connsiteY11" fmla="*/ 9362 h 17597"/>
                <a:gd name="connsiteX12" fmla="*/ 3569 w 36099"/>
                <a:gd name="connsiteY12" fmla="*/ 3457 h 17597"/>
                <a:gd name="connsiteX13" fmla="*/ 1283 w 36099"/>
                <a:gd name="connsiteY13" fmla="*/ 2123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03" y="8038"/>
                    <a:pt x="407" y="8857"/>
                    <a:pt x="1283" y="9267"/>
                  </a:cubicBezTo>
                  <a:lnTo>
                    <a:pt x="13856" y="16506"/>
                  </a:lnTo>
                  <a:cubicBezTo>
                    <a:pt x="16275" y="17744"/>
                    <a:pt x="19152" y="17744"/>
                    <a:pt x="21571" y="16506"/>
                  </a:cubicBezTo>
                  <a:lnTo>
                    <a:pt x="34144" y="9267"/>
                  </a:lnTo>
                  <a:cubicBezTo>
                    <a:pt x="35059" y="8857"/>
                    <a:pt x="35678" y="7981"/>
                    <a:pt x="35764" y="6981"/>
                  </a:cubicBezTo>
                  <a:lnTo>
                    <a:pt x="35764" y="-163"/>
                  </a:lnTo>
                  <a:cubicBezTo>
                    <a:pt x="35697" y="847"/>
                    <a:pt x="35068" y="1733"/>
                    <a:pt x="34144" y="2123"/>
                  </a:cubicBezTo>
                  <a:lnTo>
                    <a:pt x="31858" y="3457"/>
                  </a:lnTo>
                  <a:lnTo>
                    <a:pt x="21571" y="9362"/>
                  </a:lnTo>
                  <a:cubicBezTo>
                    <a:pt x="19152" y="10601"/>
                    <a:pt x="16275" y="10601"/>
                    <a:pt x="13856" y="9362"/>
                  </a:cubicBezTo>
                  <a:lnTo>
                    <a:pt x="3569" y="3457"/>
                  </a:lnTo>
                  <a:lnTo>
                    <a:pt x="1283" y="2123"/>
                  </a:lnTo>
                  <a:cubicBezTo>
                    <a:pt x="378" y="1695"/>
                    <a:pt x="-231"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473" name="ïslíḋé">
              <a:extLst>
                <a:ext uri="{FF2B5EF4-FFF2-40B4-BE49-F238E27FC236}">
                  <a16:creationId xmlns:a16="http://schemas.microsoft.com/office/drawing/2014/main" id="{EEE1CD52-49A8-4E27-8F3F-C07354D3DDF6}"/>
                </a:ext>
              </a:extLst>
            </p:cNvPr>
            <p:cNvSpPr/>
            <p:nvPr/>
          </p:nvSpPr>
          <p:spPr>
            <a:xfrm>
              <a:off x="5152746" y="4953476"/>
              <a:ext cx="140036" cy="81035"/>
            </a:xfrm>
            <a:custGeom>
              <a:avLst/>
              <a:gdLst>
                <a:gd name="connsiteX0" fmla="*/ -336 w 46005"/>
                <a:gd name="connsiteY0" fmla="*/ 10196 h 26622"/>
                <a:gd name="connsiteX1" fmla="*/ 1283 w 46005"/>
                <a:gd name="connsiteY1" fmla="*/ 12482 h 26622"/>
                <a:gd name="connsiteX2" fmla="*/ 3569 w 46005"/>
                <a:gd name="connsiteY2" fmla="*/ 13815 h 26622"/>
                <a:gd name="connsiteX3" fmla="*/ 23762 w 46005"/>
                <a:gd name="connsiteY3" fmla="*/ 25531 h 26622"/>
                <a:gd name="connsiteX4" fmla="*/ 31477 w 46005"/>
                <a:gd name="connsiteY4" fmla="*/ 25531 h 26622"/>
                <a:gd name="connsiteX5" fmla="*/ 41764 w 46005"/>
                <a:gd name="connsiteY5" fmla="*/ 19530 h 26622"/>
                <a:gd name="connsiteX6" fmla="*/ 44145 w 46005"/>
                <a:gd name="connsiteY6" fmla="*/ 18197 h 26622"/>
                <a:gd name="connsiteX7" fmla="*/ 45669 w 46005"/>
                <a:gd name="connsiteY7" fmla="*/ 16578 h 26622"/>
                <a:gd name="connsiteX8" fmla="*/ 45669 w 46005"/>
                <a:gd name="connsiteY8" fmla="*/ 15435 h 26622"/>
                <a:gd name="connsiteX9" fmla="*/ 44145 w 46005"/>
                <a:gd name="connsiteY9" fmla="*/ 13720 h 26622"/>
                <a:gd name="connsiteX10" fmla="*/ 21571 w 46005"/>
                <a:gd name="connsiteY10" fmla="*/ 766 h 26622"/>
                <a:gd name="connsiteX11" fmla="*/ 13856 w 46005"/>
                <a:gd name="connsiteY11" fmla="*/ 766 h 26622"/>
                <a:gd name="connsiteX12" fmla="*/ 1283 w 46005"/>
                <a:gd name="connsiteY12" fmla="*/ 8005 h 26622"/>
                <a:gd name="connsiteX13" fmla="*/ -336 w 46005"/>
                <a:gd name="connsiteY13" fmla="*/ 10196 h 26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005" h="26622">
                  <a:moveTo>
                    <a:pt x="-336" y="10196"/>
                  </a:moveTo>
                  <a:cubicBezTo>
                    <a:pt x="-298" y="11215"/>
                    <a:pt x="340" y="12110"/>
                    <a:pt x="1283" y="12482"/>
                  </a:cubicBezTo>
                  <a:lnTo>
                    <a:pt x="3569" y="13815"/>
                  </a:lnTo>
                  <a:lnTo>
                    <a:pt x="23762" y="25531"/>
                  </a:lnTo>
                  <a:cubicBezTo>
                    <a:pt x="26181" y="26769"/>
                    <a:pt x="29058" y="26769"/>
                    <a:pt x="31477" y="25531"/>
                  </a:cubicBezTo>
                  <a:lnTo>
                    <a:pt x="41764" y="19530"/>
                  </a:lnTo>
                  <a:lnTo>
                    <a:pt x="44145" y="18197"/>
                  </a:lnTo>
                  <a:cubicBezTo>
                    <a:pt x="44860" y="17892"/>
                    <a:pt x="45412" y="17311"/>
                    <a:pt x="45669" y="16578"/>
                  </a:cubicBezTo>
                  <a:lnTo>
                    <a:pt x="45669" y="15435"/>
                  </a:lnTo>
                  <a:cubicBezTo>
                    <a:pt x="45384" y="14692"/>
                    <a:pt x="44850" y="14082"/>
                    <a:pt x="44145" y="13720"/>
                  </a:cubicBezTo>
                  <a:lnTo>
                    <a:pt x="21571" y="766"/>
                  </a:lnTo>
                  <a:cubicBezTo>
                    <a:pt x="19152" y="-472"/>
                    <a:pt x="16275" y="-472"/>
                    <a:pt x="13856" y="766"/>
                  </a:cubicBezTo>
                  <a:lnTo>
                    <a:pt x="1283" y="8005"/>
                  </a:lnTo>
                  <a:cubicBezTo>
                    <a:pt x="378" y="8386"/>
                    <a:pt x="-241" y="9224"/>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474" name="iṩľide">
              <a:extLst>
                <a:ext uri="{FF2B5EF4-FFF2-40B4-BE49-F238E27FC236}">
                  <a16:creationId xmlns:a16="http://schemas.microsoft.com/office/drawing/2014/main" id="{09289D36-65E6-4EC9-8E9A-45C18355399F}"/>
                </a:ext>
              </a:extLst>
            </p:cNvPr>
            <p:cNvSpPr/>
            <p:nvPr/>
          </p:nvSpPr>
          <p:spPr>
            <a:xfrm>
              <a:off x="5154880" y="4953984"/>
              <a:ext cx="136021" cy="78570"/>
            </a:xfrm>
            <a:custGeom>
              <a:avLst/>
              <a:gdLst>
                <a:gd name="connsiteX0" fmla="*/ 23252 w 44686"/>
                <a:gd name="connsiteY0" fmla="*/ 24793 h 25812"/>
                <a:gd name="connsiteX1" fmla="*/ 1154 w 44686"/>
                <a:gd name="connsiteY1" fmla="*/ 12029 h 25812"/>
                <a:gd name="connsiteX2" fmla="*/ -189 w 44686"/>
                <a:gd name="connsiteY2" fmla="*/ 9096 h 25812"/>
                <a:gd name="connsiteX3" fmla="*/ 1154 w 44686"/>
                <a:gd name="connsiteY3" fmla="*/ 7743 h 25812"/>
                <a:gd name="connsiteX4" fmla="*/ 13251 w 44686"/>
                <a:gd name="connsiteY4" fmla="*/ 695 h 25812"/>
                <a:gd name="connsiteX5" fmla="*/ 20680 w 44686"/>
                <a:gd name="connsiteY5" fmla="*/ 695 h 25812"/>
                <a:gd name="connsiteX6" fmla="*/ 42778 w 44686"/>
                <a:gd name="connsiteY6" fmla="*/ 13458 h 25812"/>
                <a:gd name="connsiteX7" fmla="*/ 42778 w 44686"/>
                <a:gd name="connsiteY7" fmla="*/ 17744 h 25812"/>
                <a:gd name="connsiteX8" fmla="*/ 30681 w 44686"/>
                <a:gd name="connsiteY8" fmla="*/ 24793 h 25812"/>
                <a:gd name="connsiteX9" fmla="*/ 23252 w 44686"/>
                <a:gd name="connsiteY9" fmla="*/ 24793 h 25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4686" h="25812">
                  <a:moveTo>
                    <a:pt x="23252" y="24793"/>
                  </a:moveTo>
                  <a:lnTo>
                    <a:pt x="1154" y="12029"/>
                  </a:lnTo>
                  <a:cubicBezTo>
                    <a:pt x="-27" y="11591"/>
                    <a:pt x="-637" y="10277"/>
                    <a:pt x="-189" y="9096"/>
                  </a:cubicBezTo>
                  <a:cubicBezTo>
                    <a:pt x="40" y="8467"/>
                    <a:pt x="535" y="7972"/>
                    <a:pt x="1154" y="7743"/>
                  </a:cubicBezTo>
                  <a:lnTo>
                    <a:pt x="13251" y="695"/>
                  </a:lnTo>
                  <a:cubicBezTo>
                    <a:pt x="15594" y="-448"/>
                    <a:pt x="18337" y="-448"/>
                    <a:pt x="20680" y="695"/>
                  </a:cubicBezTo>
                  <a:lnTo>
                    <a:pt x="42778" y="13458"/>
                  </a:lnTo>
                  <a:cubicBezTo>
                    <a:pt x="44874" y="14696"/>
                    <a:pt x="44874" y="16601"/>
                    <a:pt x="42778" y="17744"/>
                  </a:cubicBezTo>
                  <a:lnTo>
                    <a:pt x="30681" y="24793"/>
                  </a:lnTo>
                  <a:cubicBezTo>
                    <a:pt x="28338" y="25936"/>
                    <a:pt x="25595" y="25936"/>
                    <a:pt x="23252" y="24793"/>
                  </a:cubicBezTo>
                  <a:close/>
                </a:path>
              </a:pathLst>
            </a:custGeom>
            <a:solidFill>
              <a:srgbClr val="D1D9E8"/>
            </a:solidFill>
            <a:ln w="9525" cap="flat">
              <a:noFill/>
              <a:prstDash val="solid"/>
              <a:miter/>
            </a:ln>
          </p:spPr>
          <p:txBody>
            <a:bodyPr rtlCol="0" anchor="ctr"/>
            <a:lstStyle/>
            <a:p>
              <a:endParaRPr lang="zh-CN" altLang="en-US"/>
            </a:p>
          </p:txBody>
        </p:sp>
        <p:sp>
          <p:nvSpPr>
            <p:cNvPr id="475" name="iśľíḋè">
              <a:extLst>
                <a:ext uri="{FF2B5EF4-FFF2-40B4-BE49-F238E27FC236}">
                  <a16:creationId xmlns:a16="http://schemas.microsoft.com/office/drawing/2014/main" id="{42006B36-0B96-4937-9804-607EF0870279}"/>
                </a:ext>
              </a:extLst>
            </p:cNvPr>
            <p:cNvSpPr/>
            <p:nvPr/>
          </p:nvSpPr>
          <p:spPr>
            <a:xfrm>
              <a:off x="5152746" y="4985008"/>
              <a:ext cx="140036" cy="71249"/>
            </a:xfrm>
            <a:custGeom>
              <a:avLst/>
              <a:gdLst>
                <a:gd name="connsiteX0" fmla="*/ -336 w 46005"/>
                <a:gd name="connsiteY0" fmla="*/ -163 h 23407"/>
                <a:gd name="connsiteX1" fmla="*/ -336 w 46005"/>
                <a:gd name="connsiteY1" fmla="*/ 7076 h 23407"/>
                <a:gd name="connsiteX2" fmla="*/ 1283 w 46005"/>
                <a:gd name="connsiteY2" fmla="*/ 9267 h 23407"/>
                <a:gd name="connsiteX3" fmla="*/ 23762 w 46005"/>
                <a:gd name="connsiteY3" fmla="*/ 22316 h 23407"/>
                <a:gd name="connsiteX4" fmla="*/ 31477 w 46005"/>
                <a:gd name="connsiteY4" fmla="*/ 22316 h 23407"/>
                <a:gd name="connsiteX5" fmla="*/ 44145 w 46005"/>
                <a:gd name="connsiteY5" fmla="*/ 14982 h 23407"/>
                <a:gd name="connsiteX6" fmla="*/ 45669 w 46005"/>
                <a:gd name="connsiteY6" fmla="*/ 13363 h 23407"/>
                <a:gd name="connsiteX7" fmla="*/ 45669 w 46005"/>
                <a:gd name="connsiteY7" fmla="*/ 6219 h 23407"/>
                <a:gd name="connsiteX8" fmla="*/ 44145 w 46005"/>
                <a:gd name="connsiteY8" fmla="*/ 7838 h 23407"/>
                <a:gd name="connsiteX9" fmla="*/ 41764 w 46005"/>
                <a:gd name="connsiteY9" fmla="*/ 9172 h 23407"/>
                <a:gd name="connsiteX10" fmla="*/ 31477 w 46005"/>
                <a:gd name="connsiteY10" fmla="*/ 15172 h 23407"/>
                <a:gd name="connsiteX11" fmla="*/ 23762 w 46005"/>
                <a:gd name="connsiteY11" fmla="*/ 15172 h 23407"/>
                <a:gd name="connsiteX12" fmla="*/ 3569 w 46005"/>
                <a:gd name="connsiteY12" fmla="*/ 3457 h 23407"/>
                <a:gd name="connsiteX13" fmla="*/ 1283 w 46005"/>
                <a:gd name="connsiteY13" fmla="*/ 2123 h 23407"/>
                <a:gd name="connsiteX14" fmla="*/ -336 w 46005"/>
                <a:gd name="connsiteY14" fmla="*/ -163 h 234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6005" h="23407">
                  <a:moveTo>
                    <a:pt x="-336" y="-163"/>
                  </a:moveTo>
                  <a:lnTo>
                    <a:pt x="-336" y="7076"/>
                  </a:lnTo>
                  <a:cubicBezTo>
                    <a:pt x="-260" y="8057"/>
                    <a:pt x="369" y="8905"/>
                    <a:pt x="1283" y="9267"/>
                  </a:cubicBezTo>
                  <a:lnTo>
                    <a:pt x="23762" y="22316"/>
                  </a:lnTo>
                  <a:cubicBezTo>
                    <a:pt x="26181" y="23555"/>
                    <a:pt x="29058" y="23555"/>
                    <a:pt x="31477" y="22316"/>
                  </a:cubicBezTo>
                  <a:lnTo>
                    <a:pt x="44145" y="14982"/>
                  </a:lnTo>
                  <a:cubicBezTo>
                    <a:pt x="44822" y="14629"/>
                    <a:pt x="45355" y="14058"/>
                    <a:pt x="45669" y="13363"/>
                  </a:cubicBezTo>
                  <a:lnTo>
                    <a:pt x="45669" y="6219"/>
                  </a:lnTo>
                  <a:cubicBezTo>
                    <a:pt x="45412" y="6952"/>
                    <a:pt x="44860" y="7533"/>
                    <a:pt x="44145" y="7838"/>
                  </a:cubicBezTo>
                  <a:lnTo>
                    <a:pt x="41764" y="9172"/>
                  </a:lnTo>
                  <a:lnTo>
                    <a:pt x="31477" y="15172"/>
                  </a:lnTo>
                  <a:cubicBezTo>
                    <a:pt x="29058" y="16411"/>
                    <a:pt x="26181" y="16411"/>
                    <a:pt x="23762" y="15172"/>
                  </a:cubicBezTo>
                  <a:lnTo>
                    <a:pt x="3569" y="3457"/>
                  </a:lnTo>
                  <a:lnTo>
                    <a:pt x="1283" y="2123"/>
                  </a:lnTo>
                  <a:cubicBezTo>
                    <a:pt x="340" y="1752"/>
                    <a:pt x="-298" y="856"/>
                    <a:pt x="-336" y="-163"/>
                  </a:cubicBezTo>
                  <a:close/>
                </a:path>
              </a:pathLst>
            </a:custGeom>
            <a:solidFill>
              <a:srgbClr val="BF4200"/>
            </a:solidFill>
            <a:ln w="9525" cap="flat">
              <a:noFill/>
              <a:prstDash val="solid"/>
              <a:miter/>
            </a:ln>
          </p:spPr>
          <p:txBody>
            <a:bodyPr rtlCol="0" anchor="ctr"/>
            <a:lstStyle/>
            <a:p>
              <a:endParaRPr lang="zh-CN" altLang="en-US"/>
            </a:p>
          </p:txBody>
        </p:sp>
        <p:sp>
          <p:nvSpPr>
            <p:cNvPr id="476" name="îşlïďê">
              <a:extLst>
                <a:ext uri="{FF2B5EF4-FFF2-40B4-BE49-F238E27FC236}">
                  <a16:creationId xmlns:a16="http://schemas.microsoft.com/office/drawing/2014/main" id="{BA35DFE0-4926-47FB-B6F3-6137389A542B}"/>
                </a:ext>
              </a:extLst>
            </p:cNvPr>
            <p:cNvSpPr/>
            <p:nvPr/>
          </p:nvSpPr>
          <p:spPr>
            <a:xfrm>
              <a:off x="5261180" y="5016300"/>
              <a:ext cx="505645" cy="291913"/>
            </a:xfrm>
            <a:custGeom>
              <a:avLst/>
              <a:gdLst>
                <a:gd name="connsiteX0" fmla="*/ -336 w 166116"/>
                <a:gd name="connsiteY0" fmla="*/ 10227 h 95900"/>
                <a:gd name="connsiteX1" fmla="*/ 1188 w 166116"/>
                <a:gd name="connsiteY1" fmla="*/ 12513 h 95900"/>
                <a:gd name="connsiteX2" fmla="*/ 3569 w 166116"/>
                <a:gd name="connsiteY2" fmla="*/ 13846 h 95900"/>
                <a:gd name="connsiteX3" fmla="*/ 143872 w 166116"/>
                <a:gd name="connsiteY3" fmla="*/ 94809 h 95900"/>
                <a:gd name="connsiteX4" fmla="*/ 151588 w 166116"/>
                <a:gd name="connsiteY4" fmla="*/ 94809 h 95900"/>
                <a:gd name="connsiteX5" fmla="*/ 161779 w 166116"/>
                <a:gd name="connsiteY5" fmla="*/ 88903 h 95900"/>
                <a:gd name="connsiteX6" fmla="*/ 164161 w 166116"/>
                <a:gd name="connsiteY6" fmla="*/ 87570 h 95900"/>
                <a:gd name="connsiteX7" fmla="*/ 165780 w 166116"/>
                <a:gd name="connsiteY7" fmla="*/ 85951 h 95900"/>
                <a:gd name="connsiteX8" fmla="*/ 165780 w 166116"/>
                <a:gd name="connsiteY8" fmla="*/ 84808 h 95900"/>
                <a:gd name="connsiteX9" fmla="*/ 164161 w 166116"/>
                <a:gd name="connsiteY9" fmla="*/ 83093 h 95900"/>
                <a:gd name="connsiteX10" fmla="*/ 21286 w 166116"/>
                <a:gd name="connsiteY10" fmla="*/ 702 h 95900"/>
                <a:gd name="connsiteX11" fmla="*/ 13665 w 166116"/>
                <a:gd name="connsiteY11" fmla="*/ 702 h 95900"/>
                <a:gd name="connsiteX12" fmla="*/ 997 w 166116"/>
                <a:gd name="connsiteY12" fmla="*/ 8036 h 95900"/>
                <a:gd name="connsiteX13" fmla="*/ -336 w 166116"/>
                <a:gd name="connsiteY13" fmla="*/ 10227 h 95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6116" h="95900">
                  <a:moveTo>
                    <a:pt x="-336" y="10227"/>
                  </a:moveTo>
                  <a:cubicBezTo>
                    <a:pt x="-269" y="11208"/>
                    <a:pt x="311" y="12075"/>
                    <a:pt x="1188" y="12513"/>
                  </a:cubicBezTo>
                  <a:lnTo>
                    <a:pt x="3569" y="13846"/>
                  </a:lnTo>
                  <a:lnTo>
                    <a:pt x="143872" y="94809"/>
                  </a:lnTo>
                  <a:cubicBezTo>
                    <a:pt x="146292" y="96047"/>
                    <a:pt x="149168" y="96047"/>
                    <a:pt x="151588" y="94809"/>
                  </a:cubicBezTo>
                  <a:lnTo>
                    <a:pt x="161779" y="88903"/>
                  </a:lnTo>
                  <a:lnTo>
                    <a:pt x="164161" y="87570"/>
                  </a:lnTo>
                  <a:cubicBezTo>
                    <a:pt x="164875" y="87236"/>
                    <a:pt x="165446" y="86665"/>
                    <a:pt x="165780" y="85951"/>
                  </a:cubicBezTo>
                  <a:lnTo>
                    <a:pt x="165780" y="84808"/>
                  </a:lnTo>
                  <a:cubicBezTo>
                    <a:pt x="165484" y="84046"/>
                    <a:pt x="164903" y="83436"/>
                    <a:pt x="164161" y="83093"/>
                  </a:cubicBezTo>
                  <a:lnTo>
                    <a:pt x="21286" y="702"/>
                  </a:lnTo>
                  <a:cubicBezTo>
                    <a:pt x="18876" y="-451"/>
                    <a:pt x="16075" y="-451"/>
                    <a:pt x="13665" y="702"/>
                  </a:cubicBezTo>
                  <a:lnTo>
                    <a:pt x="997" y="8036"/>
                  </a:lnTo>
                  <a:cubicBezTo>
                    <a:pt x="216" y="8503"/>
                    <a:pt x="-279" y="9322"/>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477" name="íşlïďè">
              <a:extLst>
                <a:ext uri="{FF2B5EF4-FFF2-40B4-BE49-F238E27FC236}">
                  <a16:creationId xmlns:a16="http://schemas.microsoft.com/office/drawing/2014/main" id="{D64084F4-3B9C-43DB-8B77-FAC9771CE577}"/>
                </a:ext>
              </a:extLst>
            </p:cNvPr>
            <p:cNvSpPr/>
            <p:nvPr/>
          </p:nvSpPr>
          <p:spPr>
            <a:xfrm>
              <a:off x="5263067" y="5017481"/>
              <a:ext cx="501657" cy="289569"/>
            </a:xfrm>
            <a:custGeom>
              <a:avLst/>
              <a:gdLst>
                <a:gd name="connsiteX0" fmla="*/ 143348 w 164806"/>
                <a:gd name="connsiteY0" fmla="*/ 94039 h 95130"/>
                <a:gd name="connsiteX1" fmla="*/ 1235 w 164806"/>
                <a:gd name="connsiteY1" fmla="*/ 12029 h 95130"/>
                <a:gd name="connsiteX2" fmla="*/ 1235 w 164806"/>
                <a:gd name="connsiteY2" fmla="*/ 7743 h 95130"/>
                <a:gd name="connsiteX3" fmla="*/ 13332 w 164806"/>
                <a:gd name="connsiteY3" fmla="*/ 695 h 95130"/>
                <a:gd name="connsiteX4" fmla="*/ 20761 w 164806"/>
                <a:gd name="connsiteY4" fmla="*/ 695 h 95130"/>
                <a:gd name="connsiteX5" fmla="*/ 162970 w 164806"/>
                <a:gd name="connsiteY5" fmla="*/ 82800 h 95130"/>
                <a:gd name="connsiteX6" fmla="*/ 162970 w 164806"/>
                <a:gd name="connsiteY6" fmla="*/ 87086 h 95130"/>
                <a:gd name="connsiteX7" fmla="*/ 150778 w 164806"/>
                <a:gd name="connsiteY7" fmla="*/ 94039 h 95130"/>
                <a:gd name="connsiteX8" fmla="*/ 143348 w 164806"/>
                <a:gd name="connsiteY8" fmla="*/ 94039 h 95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4806" h="95130">
                  <a:moveTo>
                    <a:pt x="143348" y="94039"/>
                  </a:moveTo>
                  <a:lnTo>
                    <a:pt x="1235" y="12029"/>
                  </a:lnTo>
                  <a:cubicBezTo>
                    <a:pt x="-860" y="10791"/>
                    <a:pt x="-860" y="8886"/>
                    <a:pt x="1235" y="7743"/>
                  </a:cubicBezTo>
                  <a:lnTo>
                    <a:pt x="13332" y="695"/>
                  </a:lnTo>
                  <a:cubicBezTo>
                    <a:pt x="15675" y="-448"/>
                    <a:pt x="18418" y="-448"/>
                    <a:pt x="20761" y="695"/>
                  </a:cubicBezTo>
                  <a:lnTo>
                    <a:pt x="162970" y="82800"/>
                  </a:lnTo>
                  <a:cubicBezTo>
                    <a:pt x="164970" y="83943"/>
                    <a:pt x="164970" y="85848"/>
                    <a:pt x="162970" y="87086"/>
                  </a:cubicBezTo>
                  <a:lnTo>
                    <a:pt x="150778" y="94039"/>
                  </a:lnTo>
                  <a:cubicBezTo>
                    <a:pt x="148454" y="95278"/>
                    <a:pt x="145672" y="95278"/>
                    <a:pt x="143348" y="94039"/>
                  </a:cubicBezTo>
                  <a:close/>
                </a:path>
              </a:pathLst>
            </a:custGeom>
            <a:solidFill>
              <a:srgbClr val="D1D9E8"/>
            </a:solidFill>
            <a:ln w="9525" cap="flat">
              <a:noFill/>
              <a:prstDash val="solid"/>
              <a:miter/>
            </a:ln>
          </p:spPr>
          <p:txBody>
            <a:bodyPr rtlCol="0" anchor="ctr"/>
            <a:lstStyle/>
            <a:p>
              <a:endParaRPr lang="zh-CN" altLang="en-US"/>
            </a:p>
          </p:txBody>
        </p:sp>
        <p:sp>
          <p:nvSpPr>
            <p:cNvPr id="478" name="îṥļíḓê">
              <a:extLst>
                <a:ext uri="{FF2B5EF4-FFF2-40B4-BE49-F238E27FC236}">
                  <a16:creationId xmlns:a16="http://schemas.microsoft.com/office/drawing/2014/main" id="{B4873B48-3F9D-4311-9679-B83AA7A722F1}"/>
                </a:ext>
              </a:extLst>
            </p:cNvPr>
            <p:cNvSpPr/>
            <p:nvPr/>
          </p:nvSpPr>
          <p:spPr>
            <a:xfrm>
              <a:off x="5261180" y="5047923"/>
              <a:ext cx="506223" cy="281974"/>
            </a:xfrm>
            <a:custGeom>
              <a:avLst/>
              <a:gdLst>
                <a:gd name="connsiteX0" fmla="*/ -336 w 166306"/>
                <a:gd name="connsiteY0" fmla="*/ -163 h 92635"/>
                <a:gd name="connsiteX1" fmla="*/ -336 w 166306"/>
                <a:gd name="connsiteY1" fmla="*/ 6981 h 92635"/>
                <a:gd name="connsiteX2" fmla="*/ 1188 w 166306"/>
                <a:gd name="connsiteY2" fmla="*/ 9267 h 92635"/>
                <a:gd name="connsiteX3" fmla="*/ 144063 w 166306"/>
                <a:gd name="connsiteY3" fmla="*/ 91659 h 92635"/>
                <a:gd name="connsiteX4" fmla="*/ 151778 w 166306"/>
                <a:gd name="connsiteY4" fmla="*/ 91659 h 92635"/>
                <a:gd name="connsiteX5" fmla="*/ 164351 w 166306"/>
                <a:gd name="connsiteY5" fmla="*/ 84324 h 92635"/>
                <a:gd name="connsiteX6" fmla="*/ 165970 w 166306"/>
                <a:gd name="connsiteY6" fmla="*/ 82705 h 92635"/>
                <a:gd name="connsiteX7" fmla="*/ 165970 w 166306"/>
                <a:gd name="connsiteY7" fmla="*/ 75561 h 92635"/>
                <a:gd name="connsiteX8" fmla="*/ 164351 w 166306"/>
                <a:gd name="connsiteY8" fmla="*/ 77180 h 92635"/>
                <a:gd name="connsiteX9" fmla="*/ 161970 w 166306"/>
                <a:gd name="connsiteY9" fmla="*/ 78514 h 92635"/>
                <a:gd name="connsiteX10" fmla="*/ 151778 w 166306"/>
                <a:gd name="connsiteY10" fmla="*/ 84419 h 92635"/>
                <a:gd name="connsiteX11" fmla="*/ 144063 w 166306"/>
                <a:gd name="connsiteY11" fmla="*/ 84419 h 92635"/>
                <a:gd name="connsiteX12" fmla="*/ 3569 w 166306"/>
                <a:gd name="connsiteY12" fmla="*/ 3457 h 92635"/>
                <a:gd name="connsiteX13" fmla="*/ 1188 w 166306"/>
                <a:gd name="connsiteY13" fmla="*/ 2123 h 92635"/>
                <a:gd name="connsiteX14" fmla="*/ -336 w 166306"/>
                <a:gd name="connsiteY14" fmla="*/ -163 h 92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66306" h="92635">
                  <a:moveTo>
                    <a:pt x="-336" y="-163"/>
                  </a:moveTo>
                  <a:lnTo>
                    <a:pt x="-336" y="6981"/>
                  </a:lnTo>
                  <a:cubicBezTo>
                    <a:pt x="-251" y="7953"/>
                    <a:pt x="321" y="8819"/>
                    <a:pt x="1188" y="9267"/>
                  </a:cubicBezTo>
                  <a:lnTo>
                    <a:pt x="144063" y="91659"/>
                  </a:lnTo>
                  <a:cubicBezTo>
                    <a:pt x="146520" y="92744"/>
                    <a:pt x="149321" y="92744"/>
                    <a:pt x="151778" y="91659"/>
                  </a:cubicBezTo>
                  <a:lnTo>
                    <a:pt x="164351" y="84324"/>
                  </a:lnTo>
                  <a:cubicBezTo>
                    <a:pt x="165066" y="83991"/>
                    <a:pt x="165637" y="83419"/>
                    <a:pt x="165970" y="82705"/>
                  </a:cubicBezTo>
                  <a:lnTo>
                    <a:pt x="165970" y="75561"/>
                  </a:lnTo>
                  <a:cubicBezTo>
                    <a:pt x="165637" y="76275"/>
                    <a:pt x="165066" y="76847"/>
                    <a:pt x="164351" y="77180"/>
                  </a:cubicBezTo>
                  <a:lnTo>
                    <a:pt x="161970" y="78514"/>
                  </a:lnTo>
                  <a:lnTo>
                    <a:pt x="151778" y="84419"/>
                  </a:lnTo>
                  <a:cubicBezTo>
                    <a:pt x="149359" y="85658"/>
                    <a:pt x="146482" y="85658"/>
                    <a:pt x="144063" y="84419"/>
                  </a:cubicBezTo>
                  <a:lnTo>
                    <a:pt x="3569" y="3457"/>
                  </a:lnTo>
                  <a:lnTo>
                    <a:pt x="1188" y="2123"/>
                  </a:lnTo>
                  <a:cubicBezTo>
                    <a:pt x="311"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479" name="îslïḍé">
              <a:extLst>
                <a:ext uri="{FF2B5EF4-FFF2-40B4-BE49-F238E27FC236}">
                  <a16:creationId xmlns:a16="http://schemas.microsoft.com/office/drawing/2014/main" id="{F27E7082-99EE-4F2E-BD58-7D1BEDB8CD1F}"/>
                </a:ext>
              </a:extLst>
            </p:cNvPr>
            <p:cNvSpPr/>
            <p:nvPr/>
          </p:nvSpPr>
          <p:spPr>
            <a:xfrm>
              <a:off x="5735223" y="5289705"/>
              <a:ext cx="109740" cy="63445"/>
            </a:xfrm>
            <a:custGeom>
              <a:avLst/>
              <a:gdLst>
                <a:gd name="connsiteX0" fmla="*/ -336 w 36052"/>
                <a:gd name="connsiteY0" fmla="*/ 10227 h 20843"/>
                <a:gd name="connsiteX1" fmla="*/ 1188 w 36052"/>
                <a:gd name="connsiteY1" fmla="*/ 12513 h 20843"/>
                <a:gd name="connsiteX2" fmla="*/ 3569 w 36052"/>
                <a:gd name="connsiteY2" fmla="*/ 13846 h 20843"/>
                <a:gd name="connsiteX3" fmla="*/ 13856 w 36052"/>
                <a:gd name="connsiteY3" fmla="*/ 19752 h 20843"/>
                <a:gd name="connsiteX4" fmla="*/ 21476 w 36052"/>
                <a:gd name="connsiteY4" fmla="*/ 19752 h 20843"/>
                <a:gd name="connsiteX5" fmla="*/ 31763 w 36052"/>
                <a:gd name="connsiteY5" fmla="*/ 13846 h 20843"/>
                <a:gd name="connsiteX6" fmla="*/ 34144 w 36052"/>
                <a:gd name="connsiteY6" fmla="*/ 12513 h 20843"/>
                <a:gd name="connsiteX7" fmla="*/ 35573 w 36052"/>
                <a:gd name="connsiteY7" fmla="*/ 9465 h 20843"/>
                <a:gd name="connsiteX8" fmla="*/ 34144 w 36052"/>
                <a:gd name="connsiteY8" fmla="*/ 8036 h 20843"/>
                <a:gd name="connsiteX9" fmla="*/ 21476 w 36052"/>
                <a:gd name="connsiteY9" fmla="*/ 702 h 20843"/>
                <a:gd name="connsiteX10" fmla="*/ 13856 w 36052"/>
                <a:gd name="connsiteY10" fmla="*/ 702 h 20843"/>
                <a:gd name="connsiteX11" fmla="*/ 1188 w 36052"/>
                <a:gd name="connsiteY11" fmla="*/ 8036 h 20843"/>
                <a:gd name="connsiteX12" fmla="*/ -336 w 36052"/>
                <a:gd name="connsiteY12" fmla="*/ 10227 h 20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3">
                  <a:moveTo>
                    <a:pt x="-336" y="10227"/>
                  </a:moveTo>
                  <a:cubicBezTo>
                    <a:pt x="-270" y="11208"/>
                    <a:pt x="311" y="12075"/>
                    <a:pt x="1188" y="12513"/>
                  </a:cubicBezTo>
                  <a:lnTo>
                    <a:pt x="3569" y="13846"/>
                  </a:lnTo>
                  <a:lnTo>
                    <a:pt x="13856" y="19752"/>
                  </a:lnTo>
                  <a:cubicBezTo>
                    <a:pt x="16247" y="20990"/>
                    <a:pt x="19085" y="20990"/>
                    <a:pt x="21476" y="19752"/>
                  </a:cubicBezTo>
                  <a:lnTo>
                    <a:pt x="31763" y="13846"/>
                  </a:lnTo>
                  <a:lnTo>
                    <a:pt x="34144" y="12513"/>
                  </a:lnTo>
                  <a:cubicBezTo>
                    <a:pt x="35382" y="12065"/>
                    <a:pt x="36020" y="10694"/>
                    <a:pt x="35573" y="9465"/>
                  </a:cubicBezTo>
                  <a:cubicBezTo>
                    <a:pt x="35325" y="8798"/>
                    <a:pt x="34811" y="8274"/>
                    <a:pt x="34144"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480" name="îṣlîḍè">
              <a:extLst>
                <a:ext uri="{FF2B5EF4-FFF2-40B4-BE49-F238E27FC236}">
                  <a16:creationId xmlns:a16="http://schemas.microsoft.com/office/drawing/2014/main" id="{B226D472-74E6-4F13-85CB-B18BCC123FE1}"/>
                </a:ext>
              </a:extLst>
            </p:cNvPr>
            <p:cNvSpPr/>
            <p:nvPr/>
          </p:nvSpPr>
          <p:spPr>
            <a:xfrm>
              <a:off x="5736818" y="5290889"/>
              <a:ext cx="105898" cy="61104"/>
            </a:xfrm>
            <a:custGeom>
              <a:avLst/>
              <a:gdLst>
                <a:gd name="connsiteX0" fmla="*/ 1235 w 34790"/>
                <a:gd name="connsiteY0" fmla="*/ 12029 h 20074"/>
                <a:gd name="connsiteX1" fmla="*/ 13332 w 34790"/>
                <a:gd name="connsiteY1" fmla="*/ 18983 h 20074"/>
                <a:gd name="connsiteX2" fmla="*/ 20761 w 34790"/>
                <a:gd name="connsiteY2" fmla="*/ 18983 h 20074"/>
                <a:gd name="connsiteX3" fmla="*/ 32953 w 34790"/>
                <a:gd name="connsiteY3" fmla="*/ 12029 h 20074"/>
                <a:gd name="connsiteX4" fmla="*/ 32953 w 34790"/>
                <a:gd name="connsiteY4" fmla="*/ 7743 h 20074"/>
                <a:gd name="connsiteX5" fmla="*/ 20761 w 34790"/>
                <a:gd name="connsiteY5" fmla="*/ 695 h 20074"/>
                <a:gd name="connsiteX6" fmla="*/ 13332 w 34790"/>
                <a:gd name="connsiteY6" fmla="*/ 695 h 20074"/>
                <a:gd name="connsiteX7" fmla="*/ 1235 w 34790"/>
                <a:gd name="connsiteY7" fmla="*/ 7743 h 20074"/>
                <a:gd name="connsiteX8" fmla="*/ 1235 w 34790"/>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4">
                  <a:moveTo>
                    <a:pt x="1235" y="12029"/>
                  </a:moveTo>
                  <a:lnTo>
                    <a:pt x="13332" y="18983"/>
                  </a:lnTo>
                  <a:cubicBezTo>
                    <a:pt x="15656" y="20221"/>
                    <a:pt x="18437" y="20221"/>
                    <a:pt x="20761" y="18983"/>
                  </a:cubicBezTo>
                  <a:lnTo>
                    <a:pt x="32953" y="12029"/>
                  </a:lnTo>
                  <a:cubicBezTo>
                    <a:pt x="34954" y="10791"/>
                    <a:pt x="34954" y="8886"/>
                    <a:pt x="32953" y="7743"/>
                  </a:cubicBezTo>
                  <a:lnTo>
                    <a:pt x="20761" y="695"/>
                  </a:lnTo>
                  <a:cubicBezTo>
                    <a:pt x="18418" y="-448"/>
                    <a:pt x="15675" y="-448"/>
                    <a:pt x="13332" y="695"/>
                  </a:cubicBezTo>
                  <a:lnTo>
                    <a:pt x="1235" y="7743"/>
                  </a:lnTo>
                  <a:cubicBezTo>
                    <a:pt x="-860" y="9362"/>
                    <a:pt x="-860" y="10791"/>
                    <a:pt x="1235" y="12029"/>
                  </a:cubicBezTo>
                  <a:close/>
                </a:path>
              </a:pathLst>
            </a:custGeom>
            <a:solidFill>
              <a:srgbClr val="D1D9E8"/>
            </a:solidFill>
            <a:ln w="9525" cap="flat">
              <a:noFill/>
              <a:prstDash val="solid"/>
              <a:miter/>
            </a:ln>
          </p:spPr>
          <p:txBody>
            <a:bodyPr rtlCol="0" anchor="ctr"/>
            <a:lstStyle/>
            <a:p>
              <a:endParaRPr lang="zh-CN" altLang="en-US"/>
            </a:p>
          </p:txBody>
        </p:sp>
        <p:sp>
          <p:nvSpPr>
            <p:cNvPr id="481" name="ïṩľïḑé">
              <a:extLst>
                <a:ext uri="{FF2B5EF4-FFF2-40B4-BE49-F238E27FC236}">
                  <a16:creationId xmlns:a16="http://schemas.microsoft.com/office/drawing/2014/main" id="{C09933DF-90FF-4DCA-9655-736923A0E653}"/>
                </a:ext>
              </a:extLst>
            </p:cNvPr>
            <p:cNvSpPr/>
            <p:nvPr/>
          </p:nvSpPr>
          <p:spPr>
            <a:xfrm>
              <a:off x="5735223" y="5321332"/>
              <a:ext cx="109594" cy="53804"/>
            </a:xfrm>
            <a:custGeom>
              <a:avLst/>
              <a:gdLst>
                <a:gd name="connsiteX0" fmla="*/ -336 w 36004"/>
                <a:gd name="connsiteY0" fmla="*/ -163 h 17676"/>
                <a:gd name="connsiteX1" fmla="*/ -336 w 36004"/>
                <a:gd name="connsiteY1" fmla="*/ 7076 h 17676"/>
                <a:gd name="connsiteX2" fmla="*/ 1188 w 36004"/>
                <a:gd name="connsiteY2" fmla="*/ 9267 h 17676"/>
                <a:gd name="connsiteX3" fmla="*/ 13856 w 36004"/>
                <a:gd name="connsiteY3" fmla="*/ 16506 h 17676"/>
                <a:gd name="connsiteX4" fmla="*/ 21476 w 36004"/>
                <a:gd name="connsiteY4" fmla="*/ 16506 h 17676"/>
                <a:gd name="connsiteX5" fmla="*/ 34144 w 36004"/>
                <a:gd name="connsiteY5" fmla="*/ 9267 h 17676"/>
                <a:gd name="connsiteX6" fmla="*/ 35668 w 36004"/>
                <a:gd name="connsiteY6" fmla="*/ 6981 h 17676"/>
                <a:gd name="connsiteX7" fmla="*/ 35668 w 36004"/>
                <a:gd name="connsiteY7" fmla="*/ -163 h 17676"/>
                <a:gd name="connsiteX8" fmla="*/ 34144 w 36004"/>
                <a:gd name="connsiteY8" fmla="*/ 2124 h 17676"/>
                <a:gd name="connsiteX9" fmla="*/ 31763 w 36004"/>
                <a:gd name="connsiteY9" fmla="*/ 3457 h 17676"/>
                <a:gd name="connsiteX10" fmla="*/ 21476 w 36004"/>
                <a:gd name="connsiteY10" fmla="*/ 9362 h 17676"/>
                <a:gd name="connsiteX11" fmla="*/ 13856 w 36004"/>
                <a:gd name="connsiteY11" fmla="*/ 9362 h 17676"/>
                <a:gd name="connsiteX12" fmla="*/ 3569 w 36004"/>
                <a:gd name="connsiteY12" fmla="*/ 3457 h 17676"/>
                <a:gd name="connsiteX13" fmla="*/ 1188 w 36004"/>
                <a:gd name="connsiteY13" fmla="*/ 2124 h 17676"/>
                <a:gd name="connsiteX14" fmla="*/ -336 w 36004"/>
                <a:gd name="connsiteY14" fmla="*/ -163 h 17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6">
                  <a:moveTo>
                    <a:pt x="-336" y="-163"/>
                  </a:moveTo>
                  <a:lnTo>
                    <a:pt x="-336" y="7076"/>
                  </a:lnTo>
                  <a:cubicBezTo>
                    <a:pt x="-279" y="8029"/>
                    <a:pt x="311" y="8877"/>
                    <a:pt x="1188" y="9267"/>
                  </a:cubicBezTo>
                  <a:lnTo>
                    <a:pt x="13856" y="16506"/>
                  </a:lnTo>
                  <a:cubicBezTo>
                    <a:pt x="16218" y="17849"/>
                    <a:pt x="19114" y="17849"/>
                    <a:pt x="21476" y="16506"/>
                  </a:cubicBezTo>
                  <a:lnTo>
                    <a:pt x="34144" y="9267"/>
                  </a:lnTo>
                  <a:cubicBezTo>
                    <a:pt x="35049" y="8867"/>
                    <a:pt x="35640" y="7972"/>
                    <a:pt x="35668" y="6981"/>
                  </a:cubicBezTo>
                  <a:lnTo>
                    <a:pt x="35668" y="-163"/>
                  </a:lnTo>
                  <a:cubicBezTo>
                    <a:pt x="35602" y="819"/>
                    <a:pt x="35021" y="1685"/>
                    <a:pt x="34144" y="2124"/>
                  </a:cubicBezTo>
                  <a:lnTo>
                    <a:pt x="31763" y="3457"/>
                  </a:lnTo>
                  <a:lnTo>
                    <a:pt x="21476" y="9362"/>
                  </a:lnTo>
                  <a:cubicBezTo>
                    <a:pt x="19085" y="10601"/>
                    <a:pt x="16247" y="10601"/>
                    <a:pt x="13856" y="9362"/>
                  </a:cubicBezTo>
                  <a:lnTo>
                    <a:pt x="3569" y="3457"/>
                  </a:lnTo>
                  <a:lnTo>
                    <a:pt x="1188" y="2124"/>
                  </a:lnTo>
                  <a:cubicBezTo>
                    <a:pt x="311" y="1685"/>
                    <a:pt x="-270" y="819"/>
                    <a:pt x="-336" y="-163"/>
                  </a:cubicBezTo>
                  <a:close/>
                </a:path>
              </a:pathLst>
            </a:custGeom>
            <a:solidFill>
              <a:srgbClr val="BF4200"/>
            </a:solidFill>
            <a:ln w="9525" cap="flat">
              <a:noFill/>
              <a:prstDash val="solid"/>
              <a:miter/>
            </a:ln>
          </p:spPr>
          <p:txBody>
            <a:bodyPr rtlCol="0" anchor="ctr"/>
            <a:lstStyle/>
            <a:p>
              <a:endParaRPr lang="zh-CN" altLang="en-US"/>
            </a:p>
          </p:txBody>
        </p:sp>
        <p:sp>
          <p:nvSpPr>
            <p:cNvPr id="482" name="íşlídè">
              <a:extLst>
                <a:ext uri="{FF2B5EF4-FFF2-40B4-BE49-F238E27FC236}">
                  <a16:creationId xmlns:a16="http://schemas.microsoft.com/office/drawing/2014/main" id="{68A845AC-5C4D-4486-95C0-81CD8EA995E3}"/>
                </a:ext>
              </a:extLst>
            </p:cNvPr>
            <p:cNvSpPr/>
            <p:nvPr/>
          </p:nvSpPr>
          <p:spPr>
            <a:xfrm>
              <a:off x="5812636" y="5334451"/>
              <a:ext cx="108202" cy="63588"/>
            </a:xfrm>
            <a:custGeom>
              <a:avLst/>
              <a:gdLst>
                <a:gd name="connsiteX0" fmla="*/ -336 w 35547"/>
                <a:gd name="connsiteY0" fmla="*/ 10291 h 20890"/>
                <a:gd name="connsiteX1" fmla="*/ 1187 w 35547"/>
                <a:gd name="connsiteY1" fmla="*/ 12482 h 20890"/>
                <a:gd name="connsiteX2" fmla="*/ 3569 w 35547"/>
                <a:gd name="connsiteY2" fmla="*/ 13911 h 20890"/>
                <a:gd name="connsiteX3" fmla="*/ 13856 w 35547"/>
                <a:gd name="connsiteY3" fmla="*/ 19721 h 20890"/>
                <a:gd name="connsiteX4" fmla="*/ 21476 w 35547"/>
                <a:gd name="connsiteY4" fmla="*/ 19721 h 20890"/>
                <a:gd name="connsiteX5" fmla="*/ 31382 w 35547"/>
                <a:gd name="connsiteY5" fmla="*/ 14101 h 20890"/>
                <a:gd name="connsiteX6" fmla="*/ 33763 w 35547"/>
                <a:gd name="connsiteY6" fmla="*/ 12672 h 20890"/>
                <a:gd name="connsiteX7" fmla="*/ 35020 w 35547"/>
                <a:gd name="connsiteY7" fmla="*/ 9548 h 20890"/>
                <a:gd name="connsiteX8" fmla="*/ 33763 w 35547"/>
                <a:gd name="connsiteY8" fmla="*/ 8291 h 20890"/>
                <a:gd name="connsiteX9" fmla="*/ 21857 w 35547"/>
                <a:gd name="connsiteY9" fmla="*/ 766 h 20890"/>
                <a:gd name="connsiteX10" fmla="*/ 14237 w 35547"/>
                <a:gd name="connsiteY10" fmla="*/ 766 h 20890"/>
                <a:gd name="connsiteX11" fmla="*/ 1568 w 35547"/>
                <a:gd name="connsiteY11" fmla="*/ 8100 h 20890"/>
                <a:gd name="connsiteX12" fmla="*/ -336 w 35547"/>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547" h="20890">
                  <a:moveTo>
                    <a:pt x="-336" y="10291"/>
                  </a:moveTo>
                  <a:cubicBezTo>
                    <a:pt x="-298" y="11253"/>
                    <a:pt x="292" y="12110"/>
                    <a:pt x="1187" y="12482"/>
                  </a:cubicBezTo>
                  <a:lnTo>
                    <a:pt x="3569" y="13911"/>
                  </a:lnTo>
                  <a:lnTo>
                    <a:pt x="13856" y="19721"/>
                  </a:lnTo>
                  <a:cubicBezTo>
                    <a:pt x="16218" y="21064"/>
                    <a:pt x="19114" y="21064"/>
                    <a:pt x="21476" y="19721"/>
                  </a:cubicBezTo>
                  <a:lnTo>
                    <a:pt x="31382" y="14101"/>
                  </a:lnTo>
                  <a:lnTo>
                    <a:pt x="33763" y="12672"/>
                  </a:lnTo>
                  <a:cubicBezTo>
                    <a:pt x="34973" y="12158"/>
                    <a:pt x="35535" y="10758"/>
                    <a:pt x="35020" y="9548"/>
                  </a:cubicBezTo>
                  <a:cubicBezTo>
                    <a:pt x="34782" y="8986"/>
                    <a:pt x="34325" y="8529"/>
                    <a:pt x="33763" y="8291"/>
                  </a:cubicBezTo>
                  <a:lnTo>
                    <a:pt x="21857" y="766"/>
                  </a:lnTo>
                  <a:cubicBezTo>
                    <a:pt x="19466" y="-472"/>
                    <a:pt x="16627" y="-472"/>
                    <a:pt x="14237" y="766"/>
                  </a:cubicBezTo>
                  <a:lnTo>
                    <a:pt x="1568" y="8100"/>
                  </a:lnTo>
                  <a:cubicBezTo>
                    <a:pt x="530" y="8338"/>
                    <a:pt x="-241" y="9224"/>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483" name="í$ľiḑé">
              <a:extLst>
                <a:ext uri="{FF2B5EF4-FFF2-40B4-BE49-F238E27FC236}">
                  <a16:creationId xmlns:a16="http://schemas.microsoft.com/office/drawing/2014/main" id="{8D0A90C3-3A97-4181-87F5-9CAF378DDB61}"/>
                </a:ext>
              </a:extLst>
            </p:cNvPr>
            <p:cNvSpPr/>
            <p:nvPr/>
          </p:nvSpPr>
          <p:spPr>
            <a:xfrm>
              <a:off x="5814521" y="5335611"/>
              <a:ext cx="105825" cy="61101"/>
            </a:xfrm>
            <a:custGeom>
              <a:avLst/>
              <a:gdLst>
                <a:gd name="connsiteX0" fmla="*/ 1235 w 34766"/>
                <a:gd name="connsiteY0" fmla="*/ 12006 h 20073"/>
                <a:gd name="connsiteX1" fmla="*/ 13332 w 34766"/>
                <a:gd name="connsiteY1" fmla="*/ 19054 h 20073"/>
                <a:gd name="connsiteX2" fmla="*/ 20762 w 34766"/>
                <a:gd name="connsiteY2" fmla="*/ 19054 h 20073"/>
                <a:gd name="connsiteX3" fmla="*/ 32858 w 34766"/>
                <a:gd name="connsiteY3" fmla="*/ 12006 h 20073"/>
                <a:gd name="connsiteX4" fmla="*/ 32858 w 34766"/>
                <a:gd name="connsiteY4" fmla="*/ 7719 h 20073"/>
                <a:gd name="connsiteX5" fmla="*/ 20762 w 34766"/>
                <a:gd name="connsiteY5" fmla="*/ 766 h 20073"/>
                <a:gd name="connsiteX6" fmla="*/ 13332 w 34766"/>
                <a:gd name="connsiteY6" fmla="*/ 766 h 20073"/>
                <a:gd name="connsiteX7" fmla="*/ 1235 w 34766"/>
                <a:gd name="connsiteY7" fmla="*/ 7719 h 20073"/>
                <a:gd name="connsiteX8" fmla="*/ 1235 w 34766"/>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6" h="20073">
                  <a:moveTo>
                    <a:pt x="1235" y="12006"/>
                  </a:moveTo>
                  <a:lnTo>
                    <a:pt x="13332" y="19054"/>
                  </a:lnTo>
                  <a:cubicBezTo>
                    <a:pt x="15675" y="20197"/>
                    <a:pt x="18419" y="20197"/>
                    <a:pt x="20762" y="19054"/>
                  </a:cubicBezTo>
                  <a:lnTo>
                    <a:pt x="32858" y="12006"/>
                  </a:lnTo>
                  <a:cubicBezTo>
                    <a:pt x="34954" y="10863"/>
                    <a:pt x="34954" y="8957"/>
                    <a:pt x="32858" y="7719"/>
                  </a:cubicBezTo>
                  <a:lnTo>
                    <a:pt x="20762" y="766"/>
                  </a:lnTo>
                  <a:cubicBezTo>
                    <a:pt x="18437" y="-472"/>
                    <a:pt x="15656" y="-472"/>
                    <a:pt x="13332" y="766"/>
                  </a:cubicBezTo>
                  <a:lnTo>
                    <a:pt x="1235" y="7719"/>
                  </a:lnTo>
                  <a:cubicBezTo>
                    <a:pt x="-860" y="8957"/>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484" name="îṧļîḑe">
              <a:extLst>
                <a:ext uri="{FF2B5EF4-FFF2-40B4-BE49-F238E27FC236}">
                  <a16:creationId xmlns:a16="http://schemas.microsoft.com/office/drawing/2014/main" id="{6008D288-8612-4268-8887-382A73F0EF2D}"/>
                </a:ext>
              </a:extLst>
            </p:cNvPr>
            <p:cNvSpPr/>
            <p:nvPr/>
          </p:nvSpPr>
          <p:spPr>
            <a:xfrm>
              <a:off x="5812591" y="5366272"/>
              <a:ext cx="109639" cy="53564"/>
            </a:xfrm>
            <a:custGeom>
              <a:avLst/>
              <a:gdLst>
                <a:gd name="connsiteX0" fmla="*/ -321 w 36019"/>
                <a:gd name="connsiteY0" fmla="*/ -163 h 17597"/>
                <a:gd name="connsiteX1" fmla="*/ -321 w 36019"/>
                <a:gd name="connsiteY1" fmla="*/ 7076 h 17597"/>
                <a:gd name="connsiteX2" fmla="*/ 1203 w 36019"/>
                <a:gd name="connsiteY2" fmla="*/ 9267 h 17597"/>
                <a:gd name="connsiteX3" fmla="*/ 13871 w 36019"/>
                <a:gd name="connsiteY3" fmla="*/ 16506 h 17597"/>
                <a:gd name="connsiteX4" fmla="*/ 21491 w 36019"/>
                <a:gd name="connsiteY4" fmla="*/ 16506 h 17597"/>
                <a:gd name="connsiteX5" fmla="*/ 34159 w 36019"/>
                <a:gd name="connsiteY5" fmla="*/ 9267 h 17597"/>
                <a:gd name="connsiteX6" fmla="*/ 35684 w 36019"/>
                <a:gd name="connsiteY6" fmla="*/ 6981 h 17597"/>
                <a:gd name="connsiteX7" fmla="*/ 35684 w 36019"/>
                <a:gd name="connsiteY7" fmla="*/ -163 h 17597"/>
                <a:gd name="connsiteX8" fmla="*/ 34159 w 36019"/>
                <a:gd name="connsiteY8" fmla="*/ 2028 h 17597"/>
                <a:gd name="connsiteX9" fmla="*/ 31397 w 36019"/>
                <a:gd name="connsiteY9" fmla="*/ 3647 h 17597"/>
                <a:gd name="connsiteX10" fmla="*/ 21110 w 36019"/>
                <a:gd name="connsiteY10" fmla="*/ 9457 h 17597"/>
                <a:gd name="connsiteX11" fmla="*/ 13490 w 36019"/>
                <a:gd name="connsiteY11" fmla="*/ 9457 h 17597"/>
                <a:gd name="connsiteX12" fmla="*/ 3203 w 36019"/>
                <a:gd name="connsiteY12" fmla="*/ 3647 h 17597"/>
                <a:gd name="connsiteX13" fmla="*/ 822 w 36019"/>
                <a:gd name="connsiteY13" fmla="*/ 2219 h 17597"/>
                <a:gd name="connsiteX14" fmla="*/ -321 w 3601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19" h="17597">
                  <a:moveTo>
                    <a:pt x="-321" y="-163"/>
                  </a:moveTo>
                  <a:lnTo>
                    <a:pt x="-321" y="7076"/>
                  </a:lnTo>
                  <a:cubicBezTo>
                    <a:pt x="-226" y="8019"/>
                    <a:pt x="355" y="8848"/>
                    <a:pt x="1203" y="9267"/>
                  </a:cubicBezTo>
                  <a:lnTo>
                    <a:pt x="13871" y="16506"/>
                  </a:lnTo>
                  <a:cubicBezTo>
                    <a:pt x="16262" y="17744"/>
                    <a:pt x="19101" y="17744"/>
                    <a:pt x="21491" y="16506"/>
                  </a:cubicBezTo>
                  <a:lnTo>
                    <a:pt x="34159" y="9267"/>
                  </a:lnTo>
                  <a:cubicBezTo>
                    <a:pt x="35026" y="8819"/>
                    <a:pt x="35598" y="7953"/>
                    <a:pt x="35684" y="6981"/>
                  </a:cubicBezTo>
                  <a:lnTo>
                    <a:pt x="35684" y="-163"/>
                  </a:lnTo>
                  <a:cubicBezTo>
                    <a:pt x="35645" y="799"/>
                    <a:pt x="35055" y="1656"/>
                    <a:pt x="34159" y="2028"/>
                  </a:cubicBezTo>
                  <a:lnTo>
                    <a:pt x="31397" y="3647"/>
                  </a:lnTo>
                  <a:lnTo>
                    <a:pt x="21110" y="9457"/>
                  </a:lnTo>
                  <a:cubicBezTo>
                    <a:pt x="18748" y="10801"/>
                    <a:pt x="15852" y="10801"/>
                    <a:pt x="13490" y="9457"/>
                  </a:cubicBezTo>
                  <a:lnTo>
                    <a:pt x="3203" y="3647"/>
                  </a:lnTo>
                  <a:lnTo>
                    <a:pt x="822" y="2219"/>
                  </a:lnTo>
                  <a:cubicBezTo>
                    <a:pt x="12" y="1714"/>
                    <a:pt x="-426" y="780"/>
                    <a:pt x="-321" y="-163"/>
                  </a:cubicBezTo>
                  <a:close/>
                </a:path>
              </a:pathLst>
            </a:custGeom>
            <a:solidFill>
              <a:srgbClr val="BF4200"/>
            </a:solidFill>
            <a:ln w="9525" cap="flat">
              <a:noFill/>
              <a:prstDash val="solid"/>
              <a:miter/>
            </a:ln>
          </p:spPr>
          <p:txBody>
            <a:bodyPr rtlCol="0" anchor="ctr"/>
            <a:lstStyle/>
            <a:p>
              <a:endParaRPr lang="zh-CN" altLang="en-US"/>
            </a:p>
          </p:txBody>
        </p:sp>
        <p:sp>
          <p:nvSpPr>
            <p:cNvPr id="485" name="iṣļîḋè">
              <a:extLst>
                <a:ext uri="{FF2B5EF4-FFF2-40B4-BE49-F238E27FC236}">
                  <a16:creationId xmlns:a16="http://schemas.microsoft.com/office/drawing/2014/main" id="{49528070-970C-4F96-B98A-CC8232E2AB54}"/>
                </a:ext>
              </a:extLst>
            </p:cNvPr>
            <p:cNvSpPr/>
            <p:nvPr/>
          </p:nvSpPr>
          <p:spPr>
            <a:xfrm>
              <a:off x="5889757" y="5379102"/>
              <a:ext cx="109450" cy="63350"/>
            </a:xfrm>
            <a:custGeom>
              <a:avLst/>
              <a:gdLst>
                <a:gd name="connsiteX0" fmla="*/ -336 w 35957"/>
                <a:gd name="connsiteY0" fmla="*/ 10196 h 20812"/>
                <a:gd name="connsiteX1" fmla="*/ 1188 w 35957"/>
                <a:gd name="connsiteY1" fmla="*/ 12482 h 20812"/>
                <a:gd name="connsiteX2" fmla="*/ 3569 w 35957"/>
                <a:gd name="connsiteY2" fmla="*/ 13815 h 20812"/>
                <a:gd name="connsiteX3" fmla="*/ 13761 w 35957"/>
                <a:gd name="connsiteY3" fmla="*/ 19721 h 20812"/>
                <a:gd name="connsiteX4" fmla="*/ 21476 w 35957"/>
                <a:gd name="connsiteY4" fmla="*/ 19721 h 20812"/>
                <a:gd name="connsiteX5" fmla="*/ 31763 w 35957"/>
                <a:gd name="connsiteY5" fmla="*/ 13815 h 20812"/>
                <a:gd name="connsiteX6" fmla="*/ 34049 w 35957"/>
                <a:gd name="connsiteY6" fmla="*/ 12482 h 20812"/>
                <a:gd name="connsiteX7" fmla="*/ 35478 w 35957"/>
                <a:gd name="connsiteY7" fmla="*/ 9434 h 20812"/>
                <a:gd name="connsiteX8" fmla="*/ 34049 w 35957"/>
                <a:gd name="connsiteY8" fmla="*/ 8005 h 20812"/>
                <a:gd name="connsiteX9" fmla="*/ 21476 w 35957"/>
                <a:gd name="connsiteY9" fmla="*/ 766 h 20812"/>
                <a:gd name="connsiteX10" fmla="*/ 13761 w 35957"/>
                <a:gd name="connsiteY10" fmla="*/ 766 h 20812"/>
                <a:gd name="connsiteX11" fmla="*/ 1188 w 35957"/>
                <a:gd name="connsiteY11" fmla="*/ 8005 h 20812"/>
                <a:gd name="connsiteX12" fmla="*/ -336 w 35957"/>
                <a:gd name="connsiteY12" fmla="*/ 10196 h 20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957" h="20812">
                  <a:moveTo>
                    <a:pt x="-336" y="10196"/>
                  </a:moveTo>
                  <a:cubicBezTo>
                    <a:pt x="-269" y="11177"/>
                    <a:pt x="312" y="12044"/>
                    <a:pt x="1188" y="12482"/>
                  </a:cubicBezTo>
                  <a:lnTo>
                    <a:pt x="3569" y="13815"/>
                  </a:lnTo>
                  <a:lnTo>
                    <a:pt x="13761" y="19721"/>
                  </a:lnTo>
                  <a:cubicBezTo>
                    <a:pt x="16180" y="20959"/>
                    <a:pt x="19057" y="20959"/>
                    <a:pt x="21476" y="19721"/>
                  </a:cubicBezTo>
                  <a:lnTo>
                    <a:pt x="31763" y="13815"/>
                  </a:lnTo>
                  <a:lnTo>
                    <a:pt x="34049" y="12482"/>
                  </a:lnTo>
                  <a:cubicBezTo>
                    <a:pt x="35287" y="12034"/>
                    <a:pt x="35925" y="10662"/>
                    <a:pt x="35478" y="9434"/>
                  </a:cubicBezTo>
                  <a:cubicBezTo>
                    <a:pt x="35230" y="8767"/>
                    <a:pt x="34716" y="8243"/>
                    <a:pt x="34049" y="8005"/>
                  </a:cubicBezTo>
                  <a:lnTo>
                    <a:pt x="21476" y="766"/>
                  </a:lnTo>
                  <a:cubicBezTo>
                    <a:pt x="19057" y="-472"/>
                    <a:pt x="16180" y="-472"/>
                    <a:pt x="13761" y="766"/>
                  </a:cubicBezTo>
                  <a:lnTo>
                    <a:pt x="1188" y="8005"/>
                  </a:lnTo>
                  <a:cubicBezTo>
                    <a:pt x="340" y="8424"/>
                    <a:pt x="-241" y="925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486" name="îŝļïdé">
              <a:extLst>
                <a:ext uri="{FF2B5EF4-FFF2-40B4-BE49-F238E27FC236}">
                  <a16:creationId xmlns:a16="http://schemas.microsoft.com/office/drawing/2014/main" id="{75DEEAC6-3ABE-42E6-864F-8A73D293419C}"/>
                </a:ext>
              </a:extLst>
            </p:cNvPr>
            <p:cNvSpPr/>
            <p:nvPr/>
          </p:nvSpPr>
          <p:spPr>
            <a:xfrm>
              <a:off x="5891602" y="5380189"/>
              <a:ext cx="105618" cy="61174"/>
            </a:xfrm>
            <a:custGeom>
              <a:avLst/>
              <a:gdLst>
                <a:gd name="connsiteX0" fmla="*/ 1154 w 34698"/>
                <a:gd name="connsiteY0" fmla="*/ 12029 h 20097"/>
                <a:gd name="connsiteX1" fmla="*/ 13346 w 34698"/>
                <a:gd name="connsiteY1" fmla="*/ 19078 h 20097"/>
                <a:gd name="connsiteX2" fmla="*/ 20775 w 34698"/>
                <a:gd name="connsiteY2" fmla="*/ 19078 h 20097"/>
                <a:gd name="connsiteX3" fmla="*/ 32872 w 34698"/>
                <a:gd name="connsiteY3" fmla="*/ 12029 h 20097"/>
                <a:gd name="connsiteX4" fmla="*/ 34215 w 34698"/>
                <a:gd name="connsiteY4" fmla="*/ 9086 h 20097"/>
                <a:gd name="connsiteX5" fmla="*/ 32872 w 34698"/>
                <a:gd name="connsiteY5" fmla="*/ 7743 h 20097"/>
                <a:gd name="connsiteX6" fmla="*/ 20775 w 34698"/>
                <a:gd name="connsiteY6" fmla="*/ 695 h 20097"/>
                <a:gd name="connsiteX7" fmla="*/ 13346 w 34698"/>
                <a:gd name="connsiteY7" fmla="*/ 695 h 20097"/>
                <a:gd name="connsiteX8" fmla="*/ 1154 w 34698"/>
                <a:gd name="connsiteY8" fmla="*/ 7743 h 20097"/>
                <a:gd name="connsiteX9" fmla="*/ -189 w 34698"/>
                <a:gd name="connsiteY9" fmla="*/ 10686 h 20097"/>
                <a:gd name="connsiteX10" fmla="*/ 1154 w 34698"/>
                <a:gd name="connsiteY10" fmla="*/ 12029 h 20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698" h="20097">
                  <a:moveTo>
                    <a:pt x="1154" y="12029"/>
                  </a:moveTo>
                  <a:lnTo>
                    <a:pt x="13346" y="19078"/>
                  </a:lnTo>
                  <a:cubicBezTo>
                    <a:pt x="15689" y="20221"/>
                    <a:pt x="18432" y="20221"/>
                    <a:pt x="20775" y="19078"/>
                  </a:cubicBezTo>
                  <a:lnTo>
                    <a:pt x="32872" y="12029"/>
                  </a:lnTo>
                  <a:cubicBezTo>
                    <a:pt x="34053" y="11591"/>
                    <a:pt x="34663" y="10277"/>
                    <a:pt x="34215" y="9086"/>
                  </a:cubicBezTo>
                  <a:cubicBezTo>
                    <a:pt x="33987" y="8467"/>
                    <a:pt x="33491" y="7972"/>
                    <a:pt x="32872" y="7743"/>
                  </a:cubicBezTo>
                  <a:lnTo>
                    <a:pt x="20775" y="695"/>
                  </a:lnTo>
                  <a:cubicBezTo>
                    <a:pt x="18432" y="-448"/>
                    <a:pt x="15689" y="-448"/>
                    <a:pt x="13346" y="695"/>
                  </a:cubicBezTo>
                  <a:lnTo>
                    <a:pt x="1154" y="7743"/>
                  </a:lnTo>
                  <a:cubicBezTo>
                    <a:pt x="-27" y="8181"/>
                    <a:pt x="-637" y="9496"/>
                    <a:pt x="-189" y="10686"/>
                  </a:cubicBezTo>
                  <a:cubicBezTo>
                    <a:pt x="40" y="11305"/>
                    <a:pt x="525" y="11801"/>
                    <a:pt x="1154" y="12029"/>
                  </a:cubicBezTo>
                  <a:close/>
                </a:path>
              </a:pathLst>
            </a:custGeom>
            <a:solidFill>
              <a:srgbClr val="D1D9E8"/>
            </a:solidFill>
            <a:ln w="9525" cap="flat">
              <a:noFill/>
              <a:prstDash val="solid"/>
              <a:miter/>
            </a:ln>
          </p:spPr>
          <p:txBody>
            <a:bodyPr rtlCol="0" anchor="ctr"/>
            <a:lstStyle/>
            <a:p>
              <a:endParaRPr lang="zh-CN" altLang="en-US"/>
            </a:p>
          </p:txBody>
        </p:sp>
        <p:sp>
          <p:nvSpPr>
            <p:cNvPr id="487" name="ïṣḻïdé">
              <a:extLst>
                <a:ext uri="{FF2B5EF4-FFF2-40B4-BE49-F238E27FC236}">
                  <a16:creationId xmlns:a16="http://schemas.microsoft.com/office/drawing/2014/main" id="{39EBEDFC-93F2-42AA-8D72-BBCE7BC11854}"/>
                </a:ext>
              </a:extLst>
            </p:cNvPr>
            <p:cNvSpPr/>
            <p:nvPr/>
          </p:nvSpPr>
          <p:spPr>
            <a:xfrm>
              <a:off x="5889757" y="5410631"/>
              <a:ext cx="109594" cy="53801"/>
            </a:xfrm>
            <a:custGeom>
              <a:avLst/>
              <a:gdLst>
                <a:gd name="connsiteX0" fmla="*/ -336 w 36004"/>
                <a:gd name="connsiteY0" fmla="*/ -163 h 17675"/>
                <a:gd name="connsiteX1" fmla="*/ -336 w 36004"/>
                <a:gd name="connsiteY1" fmla="*/ 7076 h 17675"/>
                <a:gd name="connsiteX2" fmla="*/ 1188 w 36004"/>
                <a:gd name="connsiteY2" fmla="*/ 9267 h 17675"/>
                <a:gd name="connsiteX3" fmla="*/ 13761 w 36004"/>
                <a:gd name="connsiteY3" fmla="*/ 16506 h 17675"/>
                <a:gd name="connsiteX4" fmla="*/ 21476 w 36004"/>
                <a:gd name="connsiteY4" fmla="*/ 16506 h 17675"/>
                <a:gd name="connsiteX5" fmla="*/ 34049 w 36004"/>
                <a:gd name="connsiteY5" fmla="*/ 9267 h 17675"/>
                <a:gd name="connsiteX6" fmla="*/ 35668 w 36004"/>
                <a:gd name="connsiteY6" fmla="*/ 7076 h 17675"/>
                <a:gd name="connsiteX7" fmla="*/ 35668 w 36004"/>
                <a:gd name="connsiteY7" fmla="*/ -163 h 17675"/>
                <a:gd name="connsiteX8" fmla="*/ 34049 w 36004"/>
                <a:gd name="connsiteY8" fmla="*/ 2123 h 17675"/>
                <a:gd name="connsiteX9" fmla="*/ 31763 w 36004"/>
                <a:gd name="connsiteY9" fmla="*/ 3457 h 17675"/>
                <a:gd name="connsiteX10" fmla="*/ 21476 w 36004"/>
                <a:gd name="connsiteY10" fmla="*/ 9362 h 17675"/>
                <a:gd name="connsiteX11" fmla="*/ 13761 w 36004"/>
                <a:gd name="connsiteY11" fmla="*/ 9362 h 17675"/>
                <a:gd name="connsiteX12" fmla="*/ 3569 w 36004"/>
                <a:gd name="connsiteY12" fmla="*/ 3457 h 17675"/>
                <a:gd name="connsiteX13" fmla="*/ 1188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79" y="8038"/>
                    <a:pt x="312" y="8877"/>
                    <a:pt x="1188" y="9267"/>
                  </a:cubicBezTo>
                  <a:lnTo>
                    <a:pt x="13761" y="16506"/>
                  </a:lnTo>
                  <a:cubicBezTo>
                    <a:pt x="16161" y="17849"/>
                    <a:pt x="19076" y="17849"/>
                    <a:pt x="21476" y="16506"/>
                  </a:cubicBezTo>
                  <a:lnTo>
                    <a:pt x="34049" y="9267"/>
                  </a:lnTo>
                  <a:cubicBezTo>
                    <a:pt x="34964" y="8905"/>
                    <a:pt x="35592" y="8058"/>
                    <a:pt x="35668" y="7076"/>
                  </a:cubicBezTo>
                  <a:lnTo>
                    <a:pt x="35668" y="-163"/>
                  </a:lnTo>
                  <a:cubicBezTo>
                    <a:pt x="35602" y="847"/>
                    <a:pt x="34973" y="1733"/>
                    <a:pt x="34049" y="2123"/>
                  </a:cubicBezTo>
                  <a:lnTo>
                    <a:pt x="31763" y="3457"/>
                  </a:lnTo>
                  <a:lnTo>
                    <a:pt x="21476" y="9362"/>
                  </a:lnTo>
                  <a:cubicBezTo>
                    <a:pt x="19057" y="10601"/>
                    <a:pt x="16180" y="10601"/>
                    <a:pt x="13761" y="9362"/>
                  </a:cubicBezTo>
                  <a:lnTo>
                    <a:pt x="3569" y="3457"/>
                  </a:lnTo>
                  <a:lnTo>
                    <a:pt x="1188" y="2123"/>
                  </a:lnTo>
                  <a:cubicBezTo>
                    <a:pt x="312"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488" name="îś1ïḍe">
              <a:extLst>
                <a:ext uri="{FF2B5EF4-FFF2-40B4-BE49-F238E27FC236}">
                  <a16:creationId xmlns:a16="http://schemas.microsoft.com/office/drawing/2014/main" id="{8DB7D58B-7182-49CF-A928-5EED729A02BE}"/>
                </a:ext>
              </a:extLst>
            </p:cNvPr>
            <p:cNvSpPr/>
            <p:nvPr/>
          </p:nvSpPr>
          <p:spPr>
            <a:xfrm>
              <a:off x="5997905" y="5423656"/>
              <a:ext cx="78716" cy="45467"/>
            </a:xfrm>
            <a:custGeom>
              <a:avLst/>
              <a:gdLst>
                <a:gd name="connsiteX0" fmla="*/ -336 w 25860"/>
                <a:gd name="connsiteY0" fmla="*/ 4321 h 14937"/>
                <a:gd name="connsiteX1" fmla="*/ 1283 w 25860"/>
                <a:gd name="connsiteY1" fmla="*/ 6607 h 14937"/>
                <a:gd name="connsiteX2" fmla="*/ 3569 w 25860"/>
                <a:gd name="connsiteY2" fmla="*/ 7941 h 14937"/>
                <a:gd name="connsiteX3" fmla="*/ 13856 w 25860"/>
                <a:gd name="connsiteY3" fmla="*/ 13846 h 14937"/>
                <a:gd name="connsiteX4" fmla="*/ 21571 w 25860"/>
                <a:gd name="connsiteY4" fmla="*/ 13846 h 14937"/>
                <a:gd name="connsiteX5" fmla="*/ 21571 w 25860"/>
                <a:gd name="connsiteY5" fmla="*/ 13846 h 14937"/>
                <a:gd name="connsiteX6" fmla="*/ 23952 w 25860"/>
                <a:gd name="connsiteY6" fmla="*/ 12513 h 14937"/>
                <a:gd name="connsiteX7" fmla="*/ 25381 w 25860"/>
                <a:gd name="connsiteY7" fmla="*/ 9465 h 14937"/>
                <a:gd name="connsiteX8" fmla="*/ 23952 w 25860"/>
                <a:gd name="connsiteY8" fmla="*/ 8036 h 14937"/>
                <a:gd name="connsiteX9" fmla="*/ 11284 w 25860"/>
                <a:gd name="connsiteY9" fmla="*/ 702 h 14937"/>
                <a:gd name="connsiteX10" fmla="*/ 3664 w 25860"/>
                <a:gd name="connsiteY10" fmla="*/ 702 h 14937"/>
                <a:gd name="connsiteX11" fmla="*/ 1283 w 25860"/>
                <a:gd name="connsiteY11" fmla="*/ 2130 h 14937"/>
                <a:gd name="connsiteX12" fmla="*/ -336 w 25860"/>
                <a:gd name="connsiteY12" fmla="*/ 4321 h 149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5860" h="14937">
                  <a:moveTo>
                    <a:pt x="-336" y="4321"/>
                  </a:moveTo>
                  <a:cubicBezTo>
                    <a:pt x="-231" y="5312"/>
                    <a:pt x="378" y="6178"/>
                    <a:pt x="1283" y="6607"/>
                  </a:cubicBezTo>
                  <a:lnTo>
                    <a:pt x="3569" y="7941"/>
                  </a:lnTo>
                  <a:lnTo>
                    <a:pt x="13856" y="13846"/>
                  </a:lnTo>
                  <a:cubicBezTo>
                    <a:pt x="16275" y="15084"/>
                    <a:pt x="19152" y="15084"/>
                    <a:pt x="21571" y="13846"/>
                  </a:cubicBezTo>
                  <a:lnTo>
                    <a:pt x="21571" y="13846"/>
                  </a:lnTo>
                  <a:lnTo>
                    <a:pt x="23952" y="12513"/>
                  </a:lnTo>
                  <a:cubicBezTo>
                    <a:pt x="25191" y="12065"/>
                    <a:pt x="25829" y="10693"/>
                    <a:pt x="25381" y="9465"/>
                  </a:cubicBezTo>
                  <a:cubicBezTo>
                    <a:pt x="25134" y="8798"/>
                    <a:pt x="24619" y="8274"/>
                    <a:pt x="23952" y="8036"/>
                  </a:cubicBezTo>
                  <a:lnTo>
                    <a:pt x="11284" y="702"/>
                  </a:lnTo>
                  <a:cubicBezTo>
                    <a:pt x="8874" y="-451"/>
                    <a:pt x="6074" y="-451"/>
                    <a:pt x="3664" y="702"/>
                  </a:cubicBezTo>
                  <a:lnTo>
                    <a:pt x="1283" y="2130"/>
                  </a:lnTo>
                  <a:cubicBezTo>
                    <a:pt x="397" y="2521"/>
                    <a:pt x="-222" y="3359"/>
                    <a:pt x="-336" y="4321"/>
                  </a:cubicBezTo>
                  <a:close/>
                </a:path>
              </a:pathLst>
            </a:custGeom>
            <a:solidFill>
              <a:srgbClr val="FFFFFF"/>
            </a:solidFill>
            <a:ln w="9525" cap="flat">
              <a:noFill/>
              <a:prstDash val="solid"/>
              <a:miter/>
            </a:ln>
          </p:spPr>
          <p:txBody>
            <a:bodyPr rtlCol="0" anchor="ctr"/>
            <a:lstStyle/>
            <a:p>
              <a:endParaRPr lang="zh-CN" altLang="en-US"/>
            </a:p>
          </p:txBody>
        </p:sp>
        <p:sp>
          <p:nvSpPr>
            <p:cNvPr id="489" name="iṥ1îdé">
              <a:extLst>
                <a:ext uri="{FF2B5EF4-FFF2-40B4-BE49-F238E27FC236}">
                  <a16:creationId xmlns:a16="http://schemas.microsoft.com/office/drawing/2014/main" id="{1E398909-6A2C-4004-B69E-0D7AC8965EDB}"/>
                </a:ext>
              </a:extLst>
            </p:cNvPr>
            <p:cNvSpPr/>
            <p:nvPr/>
          </p:nvSpPr>
          <p:spPr>
            <a:xfrm>
              <a:off x="6000005" y="5424837"/>
              <a:ext cx="74585" cy="42910"/>
            </a:xfrm>
            <a:custGeom>
              <a:avLst/>
              <a:gdLst>
                <a:gd name="connsiteX0" fmla="*/ 1164 w 24503"/>
                <a:gd name="connsiteY0" fmla="*/ 6029 h 14097"/>
                <a:gd name="connsiteX1" fmla="*/ 13261 w 24503"/>
                <a:gd name="connsiteY1" fmla="*/ 13077 h 14097"/>
                <a:gd name="connsiteX2" fmla="*/ 20690 w 24503"/>
                <a:gd name="connsiteY2" fmla="*/ 13077 h 14097"/>
                <a:gd name="connsiteX3" fmla="*/ 22595 w 24503"/>
                <a:gd name="connsiteY3" fmla="*/ 12029 h 14097"/>
                <a:gd name="connsiteX4" fmla="*/ 22595 w 24503"/>
                <a:gd name="connsiteY4" fmla="*/ 7743 h 14097"/>
                <a:gd name="connsiteX5" fmla="*/ 10498 w 24503"/>
                <a:gd name="connsiteY5" fmla="*/ 695 h 14097"/>
                <a:gd name="connsiteX6" fmla="*/ 3069 w 24503"/>
                <a:gd name="connsiteY6" fmla="*/ 695 h 14097"/>
                <a:gd name="connsiteX7" fmla="*/ 1164 w 24503"/>
                <a:gd name="connsiteY7" fmla="*/ 1742 h 14097"/>
                <a:gd name="connsiteX8" fmla="*/ 1164 w 24503"/>
                <a:gd name="connsiteY8" fmla="*/ 6029 h 14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503" h="14097">
                  <a:moveTo>
                    <a:pt x="1164" y="6029"/>
                  </a:moveTo>
                  <a:lnTo>
                    <a:pt x="13261" y="13077"/>
                  </a:lnTo>
                  <a:cubicBezTo>
                    <a:pt x="15604" y="14220"/>
                    <a:pt x="18347" y="14220"/>
                    <a:pt x="20690" y="13077"/>
                  </a:cubicBezTo>
                  <a:lnTo>
                    <a:pt x="22595" y="12029"/>
                  </a:lnTo>
                  <a:cubicBezTo>
                    <a:pt x="24691" y="10791"/>
                    <a:pt x="24691" y="8886"/>
                    <a:pt x="22595" y="7743"/>
                  </a:cubicBezTo>
                  <a:lnTo>
                    <a:pt x="10498" y="695"/>
                  </a:lnTo>
                  <a:cubicBezTo>
                    <a:pt x="8155" y="-448"/>
                    <a:pt x="5412" y="-448"/>
                    <a:pt x="3069" y="695"/>
                  </a:cubicBezTo>
                  <a:lnTo>
                    <a:pt x="1164" y="1742"/>
                  </a:lnTo>
                  <a:cubicBezTo>
                    <a:pt x="-836" y="3457"/>
                    <a:pt x="-836" y="4886"/>
                    <a:pt x="1164" y="6029"/>
                  </a:cubicBezTo>
                  <a:close/>
                </a:path>
              </a:pathLst>
            </a:custGeom>
            <a:solidFill>
              <a:srgbClr val="D1D9E8"/>
            </a:solidFill>
            <a:ln w="9525" cap="flat">
              <a:noFill/>
              <a:prstDash val="solid"/>
              <a:miter/>
            </a:ln>
          </p:spPr>
          <p:txBody>
            <a:bodyPr rtlCol="0" anchor="ctr"/>
            <a:lstStyle/>
            <a:p>
              <a:endParaRPr lang="zh-CN" altLang="en-US"/>
            </a:p>
          </p:txBody>
        </p:sp>
        <p:sp>
          <p:nvSpPr>
            <p:cNvPr id="490" name="î$ḷíďê">
              <a:extLst>
                <a:ext uri="{FF2B5EF4-FFF2-40B4-BE49-F238E27FC236}">
                  <a16:creationId xmlns:a16="http://schemas.microsoft.com/office/drawing/2014/main" id="{8FF434E8-3CFE-4172-8F4B-6767CCA19592}"/>
                </a:ext>
              </a:extLst>
            </p:cNvPr>
            <p:cNvSpPr/>
            <p:nvPr/>
          </p:nvSpPr>
          <p:spPr>
            <a:xfrm>
              <a:off x="5997905" y="5437305"/>
              <a:ext cx="78570" cy="53564"/>
            </a:xfrm>
            <a:custGeom>
              <a:avLst/>
              <a:gdLst>
                <a:gd name="connsiteX0" fmla="*/ -336 w 25812"/>
                <a:gd name="connsiteY0" fmla="*/ -163 h 17597"/>
                <a:gd name="connsiteX1" fmla="*/ -336 w 25812"/>
                <a:gd name="connsiteY1" fmla="*/ 7076 h 17597"/>
                <a:gd name="connsiteX2" fmla="*/ 1283 w 25812"/>
                <a:gd name="connsiteY2" fmla="*/ 9267 h 17597"/>
                <a:gd name="connsiteX3" fmla="*/ 13856 w 25812"/>
                <a:gd name="connsiteY3" fmla="*/ 16506 h 17597"/>
                <a:gd name="connsiteX4" fmla="*/ 21571 w 25812"/>
                <a:gd name="connsiteY4" fmla="*/ 16506 h 17597"/>
                <a:gd name="connsiteX5" fmla="*/ 23952 w 25812"/>
                <a:gd name="connsiteY5" fmla="*/ 15173 h 17597"/>
                <a:gd name="connsiteX6" fmla="*/ 25476 w 25812"/>
                <a:gd name="connsiteY6" fmla="*/ 12887 h 17597"/>
                <a:gd name="connsiteX7" fmla="*/ 25476 w 25812"/>
                <a:gd name="connsiteY7" fmla="*/ 5743 h 17597"/>
                <a:gd name="connsiteX8" fmla="*/ 23952 w 25812"/>
                <a:gd name="connsiteY8" fmla="*/ 8029 h 17597"/>
                <a:gd name="connsiteX9" fmla="*/ 21571 w 25812"/>
                <a:gd name="connsiteY9" fmla="*/ 9362 h 17597"/>
                <a:gd name="connsiteX10" fmla="*/ 21571 w 25812"/>
                <a:gd name="connsiteY10" fmla="*/ 9362 h 17597"/>
                <a:gd name="connsiteX11" fmla="*/ 13856 w 25812"/>
                <a:gd name="connsiteY11" fmla="*/ 9362 h 17597"/>
                <a:gd name="connsiteX12" fmla="*/ 3569 w 25812"/>
                <a:gd name="connsiteY12" fmla="*/ 3457 h 17597"/>
                <a:gd name="connsiteX13" fmla="*/ 1283 w 25812"/>
                <a:gd name="connsiteY13" fmla="*/ 2124 h 17597"/>
                <a:gd name="connsiteX14" fmla="*/ -336 w 25812"/>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5812" h="17597">
                  <a:moveTo>
                    <a:pt x="-336" y="-163"/>
                  </a:moveTo>
                  <a:lnTo>
                    <a:pt x="-336" y="7076"/>
                  </a:lnTo>
                  <a:cubicBezTo>
                    <a:pt x="-203" y="8029"/>
                    <a:pt x="407" y="8858"/>
                    <a:pt x="1283" y="9267"/>
                  </a:cubicBezTo>
                  <a:lnTo>
                    <a:pt x="13856" y="16506"/>
                  </a:lnTo>
                  <a:cubicBezTo>
                    <a:pt x="16275" y="17744"/>
                    <a:pt x="19152" y="17744"/>
                    <a:pt x="21571" y="16506"/>
                  </a:cubicBezTo>
                  <a:lnTo>
                    <a:pt x="23952" y="15173"/>
                  </a:lnTo>
                  <a:cubicBezTo>
                    <a:pt x="24819" y="14725"/>
                    <a:pt x="25391" y="13858"/>
                    <a:pt x="25476" y="12887"/>
                  </a:cubicBezTo>
                  <a:lnTo>
                    <a:pt x="25476" y="5743"/>
                  </a:lnTo>
                  <a:cubicBezTo>
                    <a:pt x="25410" y="6724"/>
                    <a:pt x="24829" y="7591"/>
                    <a:pt x="23952" y="8029"/>
                  </a:cubicBezTo>
                  <a:lnTo>
                    <a:pt x="21571" y="9362"/>
                  </a:lnTo>
                  <a:lnTo>
                    <a:pt x="21571" y="9362"/>
                  </a:lnTo>
                  <a:cubicBezTo>
                    <a:pt x="19152" y="10601"/>
                    <a:pt x="16275" y="10601"/>
                    <a:pt x="13856" y="9362"/>
                  </a:cubicBezTo>
                  <a:lnTo>
                    <a:pt x="3569" y="3457"/>
                  </a:lnTo>
                  <a:lnTo>
                    <a:pt x="1283" y="2124"/>
                  </a:lnTo>
                  <a:cubicBezTo>
                    <a:pt x="378" y="1695"/>
                    <a:pt x="-231"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491" name="iṧḷïḓè">
              <a:extLst>
                <a:ext uri="{FF2B5EF4-FFF2-40B4-BE49-F238E27FC236}">
                  <a16:creationId xmlns:a16="http://schemas.microsoft.com/office/drawing/2014/main" id="{42A3CDAC-99FA-439F-BB72-50234BAA68F4}"/>
                </a:ext>
              </a:extLst>
            </p:cNvPr>
            <p:cNvSpPr/>
            <p:nvPr/>
          </p:nvSpPr>
          <p:spPr>
            <a:xfrm>
              <a:off x="5967170" y="5441436"/>
              <a:ext cx="78603" cy="45902"/>
            </a:xfrm>
            <a:custGeom>
              <a:avLst/>
              <a:gdLst>
                <a:gd name="connsiteX0" fmla="*/ -336 w 25823"/>
                <a:gd name="connsiteY0" fmla="*/ 4386 h 15080"/>
                <a:gd name="connsiteX1" fmla="*/ 1283 w 25823"/>
                <a:gd name="connsiteY1" fmla="*/ 6672 h 15080"/>
                <a:gd name="connsiteX2" fmla="*/ 3569 w 25823"/>
                <a:gd name="connsiteY2" fmla="*/ 8005 h 15080"/>
                <a:gd name="connsiteX3" fmla="*/ 13856 w 25823"/>
                <a:gd name="connsiteY3" fmla="*/ 13911 h 15080"/>
                <a:gd name="connsiteX4" fmla="*/ 21571 w 25823"/>
                <a:gd name="connsiteY4" fmla="*/ 13911 h 15080"/>
                <a:gd name="connsiteX5" fmla="*/ 21571 w 25823"/>
                <a:gd name="connsiteY5" fmla="*/ 13911 h 15080"/>
                <a:gd name="connsiteX6" fmla="*/ 23857 w 25823"/>
                <a:gd name="connsiteY6" fmla="*/ 12482 h 15080"/>
                <a:gd name="connsiteX7" fmla="*/ 25391 w 25823"/>
                <a:gd name="connsiteY7" fmla="*/ 9634 h 15080"/>
                <a:gd name="connsiteX8" fmla="*/ 23857 w 25823"/>
                <a:gd name="connsiteY8" fmla="*/ 8100 h 15080"/>
                <a:gd name="connsiteX9" fmla="*/ 11284 w 25823"/>
                <a:gd name="connsiteY9" fmla="*/ 766 h 15080"/>
                <a:gd name="connsiteX10" fmla="*/ 3569 w 25823"/>
                <a:gd name="connsiteY10" fmla="*/ 766 h 15080"/>
                <a:gd name="connsiteX11" fmla="*/ 1283 w 25823"/>
                <a:gd name="connsiteY11" fmla="*/ 2099 h 15080"/>
                <a:gd name="connsiteX12" fmla="*/ -336 w 25823"/>
                <a:gd name="connsiteY12" fmla="*/ 4386 h 15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5823" h="15080">
                  <a:moveTo>
                    <a:pt x="-336" y="4386"/>
                  </a:moveTo>
                  <a:cubicBezTo>
                    <a:pt x="-298" y="5405"/>
                    <a:pt x="340" y="6300"/>
                    <a:pt x="1283" y="6672"/>
                  </a:cubicBezTo>
                  <a:lnTo>
                    <a:pt x="3569" y="8005"/>
                  </a:lnTo>
                  <a:lnTo>
                    <a:pt x="13856" y="13911"/>
                  </a:lnTo>
                  <a:cubicBezTo>
                    <a:pt x="16256" y="15254"/>
                    <a:pt x="19171" y="15254"/>
                    <a:pt x="21571" y="13911"/>
                  </a:cubicBezTo>
                  <a:lnTo>
                    <a:pt x="21571" y="13911"/>
                  </a:lnTo>
                  <a:lnTo>
                    <a:pt x="23857" y="12482"/>
                  </a:lnTo>
                  <a:cubicBezTo>
                    <a:pt x="25067" y="12120"/>
                    <a:pt x="25753" y="10843"/>
                    <a:pt x="25391" y="9634"/>
                  </a:cubicBezTo>
                  <a:cubicBezTo>
                    <a:pt x="25172" y="8900"/>
                    <a:pt x="24600" y="8319"/>
                    <a:pt x="23857" y="8100"/>
                  </a:cubicBezTo>
                  <a:lnTo>
                    <a:pt x="11284" y="766"/>
                  </a:lnTo>
                  <a:cubicBezTo>
                    <a:pt x="8865" y="-472"/>
                    <a:pt x="5988" y="-472"/>
                    <a:pt x="3569" y="766"/>
                  </a:cubicBezTo>
                  <a:lnTo>
                    <a:pt x="1283" y="2099"/>
                  </a:lnTo>
                  <a:cubicBezTo>
                    <a:pt x="359" y="2490"/>
                    <a:pt x="-270" y="3376"/>
                    <a:pt x="-336" y="4386"/>
                  </a:cubicBezTo>
                  <a:close/>
                </a:path>
              </a:pathLst>
            </a:custGeom>
            <a:solidFill>
              <a:srgbClr val="FFFFFF"/>
            </a:solidFill>
            <a:ln w="9525" cap="flat">
              <a:noFill/>
              <a:prstDash val="solid"/>
              <a:miter/>
            </a:ln>
          </p:spPr>
          <p:txBody>
            <a:bodyPr rtlCol="0" anchor="ctr"/>
            <a:lstStyle/>
            <a:p>
              <a:endParaRPr lang="zh-CN" altLang="en-US"/>
            </a:p>
          </p:txBody>
        </p:sp>
        <p:sp>
          <p:nvSpPr>
            <p:cNvPr id="492" name="ïṣ1ïdê">
              <a:extLst>
                <a:ext uri="{FF2B5EF4-FFF2-40B4-BE49-F238E27FC236}">
                  <a16:creationId xmlns:a16="http://schemas.microsoft.com/office/drawing/2014/main" id="{1E5E0525-CB0F-48F2-92D5-3E8B28631E6C}"/>
                </a:ext>
              </a:extLst>
            </p:cNvPr>
            <p:cNvSpPr/>
            <p:nvPr/>
          </p:nvSpPr>
          <p:spPr>
            <a:xfrm>
              <a:off x="5968692" y="5442885"/>
              <a:ext cx="74585" cy="43126"/>
            </a:xfrm>
            <a:custGeom>
              <a:avLst/>
              <a:gdLst>
                <a:gd name="connsiteX0" fmla="*/ 1164 w 24503"/>
                <a:gd name="connsiteY0" fmla="*/ 6100 h 14168"/>
                <a:gd name="connsiteX1" fmla="*/ 13261 w 24503"/>
                <a:gd name="connsiteY1" fmla="*/ 13149 h 14168"/>
                <a:gd name="connsiteX2" fmla="*/ 20690 w 24503"/>
                <a:gd name="connsiteY2" fmla="*/ 13149 h 14168"/>
                <a:gd name="connsiteX3" fmla="*/ 22595 w 24503"/>
                <a:gd name="connsiteY3" fmla="*/ 12006 h 14168"/>
                <a:gd name="connsiteX4" fmla="*/ 22595 w 24503"/>
                <a:gd name="connsiteY4" fmla="*/ 7719 h 14168"/>
                <a:gd name="connsiteX5" fmla="*/ 10498 w 24503"/>
                <a:gd name="connsiteY5" fmla="*/ 766 h 14168"/>
                <a:gd name="connsiteX6" fmla="*/ 3069 w 24503"/>
                <a:gd name="connsiteY6" fmla="*/ 766 h 14168"/>
                <a:gd name="connsiteX7" fmla="*/ 1164 w 24503"/>
                <a:gd name="connsiteY7" fmla="*/ 1814 h 14168"/>
                <a:gd name="connsiteX8" fmla="*/ 1164 w 24503"/>
                <a:gd name="connsiteY8" fmla="*/ 6100 h 14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503" h="14168">
                  <a:moveTo>
                    <a:pt x="1164" y="6100"/>
                  </a:moveTo>
                  <a:lnTo>
                    <a:pt x="13261" y="13149"/>
                  </a:lnTo>
                  <a:cubicBezTo>
                    <a:pt x="15604" y="14292"/>
                    <a:pt x="18347" y="14292"/>
                    <a:pt x="20690" y="13149"/>
                  </a:cubicBezTo>
                  <a:lnTo>
                    <a:pt x="22595" y="12006"/>
                  </a:lnTo>
                  <a:cubicBezTo>
                    <a:pt x="24691" y="10863"/>
                    <a:pt x="24691" y="8958"/>
                    <a:pt x="22595" y="7719"/>
                  </a:cubicBezTo>
                  <a:lnTo>
                    <a:pt x="10498" y="766"/>
                  </a:lnTo>
                  <a:cubicBezTo>
                    <a:pt x="8174" y="-472"/>
                    <a:pt x="5393" y="-472"/>
                    <a:pt x="3069" y="766"/>
                  </a:cubicBezTo>
                  <a:lnTo>
                    <a:pt x="1164" y="1814"/>
                  </a:lnTo>
                  <a:cubicBezTo>
                    <a:pt x="-836" y="3052"/>
                    <a:pt x="-836" y="4957"/>
                    <a:pt x="1164" y="6100"/>
                  </a:cubicBezTo>
                  <a:close/>
                </a:path>
              </a:pathLst>
            </a:custGeom>
            <a:solidFill>
              <a:srgbClr val="D1D9E8"/>
            </a:solidFill>
            <a:ln w="9525" cap="flat">
              <a:noFill/>
              <a:prstDash val="solid"/>
              <a:miter/>
            </a:ln>
          </p:spPr>
          <p:txBody>
            <a:bodyPr rtlCol="0" anchor="ctr"/>
            <a:lstStyle/>
            <a:p>
              <a:endParaRPr lang="zh-CN" altLang="en-US"/>
            </a:p>
          </p:txBody>
        </p:sp>
        <p:sp>
          <p:nvSpPr>
            <p:cNvPr id="493" name="îŝḷïďè">
              <a:extLst>
                <a:ext uri="{FF2B5EF4-FFF2-40B4-BE49-F238E27FC236}">
                  <a16:creationId xmlns:a16="http://schemas.microsoft.com/office/drawing/2014/main" id="{44597149-144F-4460-A8B9-8490DD3FBC68}"/>
                </a:ext>
              </a:extLst>
            </p:cNvPr>
            <p:cNvSpPr/>
            <p:nvPr/>
          </p:nvSpPr>
          <p:spPr>
            <a:xfrm>
              <a:off x="5967170" y="5455283"/>
              <a:ext cx="78570" cy="53801"/>
            </a:xfrm>
            <a:custGeom>
              <a:avLst/>
              <a:gdLst>
                <a:gd name="connsiteX0" fmla="*/ -336 w 25812"/>
                <a:gd name="connsiteY0" fmla="*/ -163 h 17675"/>
                <a:gd name="connsiteX1" fmla="*/ -336 w 25812"/>
                <a:gd name="connsiteY1" fmla="*/ 7076 h 17675"/>
                <a:gd name="connsiteX2" fmla="*/ 1283 w 25812"/>
                <a:gd name="connsiteY2" fmla="*/ 9267 h 17675"/>
                <a:gd name="connsiteX3" fmla="*/ 13856 w 25812"/>
                <a:gd name="connsiteY3" fmla="*/ 16506 h 17675"/>
                <a:gd name="connsiteX4" fmla="*/ 21571 w 25812"/>
                <a:gd name="connsiteY4" fmla="*/ 16506 h 17675"/>
                <a:gd name="connsiteX5" fmla="*/ 23857 w 25812"/>
                <a:gd name="connsiteY5" fmla="*/ 15268 h 17675"/>
                <a:gd name="connsiteX6" fmla="*/ 25476 w 25812"/>
                <a:gd name="connsiteY6" fmla="*/ 12982 h 17675"/>
                <a:gd name="connsiteX7" fmla="*/ 25476 w 25812"/>
                <a:gd name="connsiteY7" fmla="*/ 5838 h 17675"/>
                <a:gd name="connsiteX8" fmla="*/ 23857 w 25812"/>
                <a:gd name="connsiteY8" fmla="*/ 8029 h 17675"/>
                <a:gd name="connsiteX9" fmla="*/ 21571 w 25812"/>
                <a:gd name="connsiteY9" fmla="*/ 9457 h 17675"/>
                <a:gd name="connsiteX10" fmla="*/ 21571 w 25812"/>
                <a:gd name="connsiteY10" fmla="*/ 9457 h 17675"/>
                <a:gd name="connsiteX11" fmla="*/ 13856 w 25812"/>
                <a:gd name="connsiteY11" fmla="*/ 9457 h 17675"/>
                <a:gd name="connsiteX12" fmla="*/ 3569 w 25812"/>
                <a:gd name="connsiteY12" fmla="*/ 3552 h 17675"/>
                <a:gd name="connsiteX13" fmla="*/ 1283 w 25812"/>
                <a:gd name="connsiteY13" fmla="*/ 2219 h 17675"/>
                <a:gd name="connsiteX14" fmla="*/ -336 w 25812"/>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5812" h="17675">
                  <a:moveTo>
                    <a:pt x="-336" y="-163"/>
                  </a:moveTo>
                  <a:lnTo>
                    <a:pt x="-336" y="7076"/>
                  </a:lnTo>
                  <a:cubicBezTo>
                    <a:pt x="-279" y="8067"/>
                    <a:pt x="349" y="8924"/>
                    <a:pt x="1283" y="9267"/>
                  </a:cubicBezTo>
                  <a:lnTo>
                    <a:pt x="13856" y="16506"/>
                  </a:lnTo>
                  <a:cubicBezTo>
                    <a:pt x="16256" y="17849"/>
                    <a:pt x="19171" y="17849"/>
                    <a:pt x="21571" y="16506"/>
                  </a:cubicBezTo>
                  <a:lnTo>
                    <a:pt x="23857" y="15268"/>
                  </a:lnTo>
                  <a:cubicBezTo>
                    <a:pt x="24771" y="14858"/>
                    <a:pt x="25391" y="13982"/>
                    <a:pt x="25476" y="12982"/>
                  </a:cubicBezTo>
                  <a:lnTo>
                    <a:pt x="25476" y="5838"/>
                  </a:lnTo>
                  <a:cubicBezTo>
                    <a:pt x="25419" y="6829"/>
                    <a:pt x="24791" y="7686"/>
                    <a:pt x="23857" y="8029"/>
                  </a:cubicBezTo>
                  <a:lnTo>
                    <a:pt x="21571" y="9457"/>
                  </a:lnTo>
                  <a:lnTo>
                    <a:pt x="21571" y="9457"/>
                  </a:lnTo>
                  <a:cubicBezTo>
                    <a:pt x="19171" y="10801"/>
                    <a:pt x="16256" y="10801"/>
                    <a:pt x="13856" y="9457"/>
                  </a:cubicBezTo>
                  <a:lnTo>
                    <a:pt x="3569" y="3552"/>
                  </a:lnTo>
                  <a:lnTo>
                    <a:pt x="1283" y="2219"/>
                  </a:lnTo>
                  <a:cubicBezTo>
                    <a:pt x="311" y="1828"/>
                    <a:pt x="-336" y="885"/>
                    <a:pt x="-336" y="-163"/>
                  </a:cubicBezTo>
                  <a:close/>
                </a:path>
              </a:pathLst>
            </a:custGeom>
            <a:solidFill>
              <a:srgbClr val="BF4200"/>
            </a:solidFill>
            <a:ln w="9525" cap="flat">
              <a:noFill/>
              <a:prstDash val="solid"/>
              <a:miter/>
            </a:ln>
          </p:spPr>
          <p:txBody>
            <a:bodyPr rtlCol="0" anchor="ctr"/>
            <a:lstStyle/>
            <a:p>
              <a:endParaRPr lang="zh-CN" altLang="en-US"/>
            </a:p>
          </p:txBody>
        </p:sp>
        <p:sp>
          <p:nvSpPr>
            <p:cNvPr id="494" name="islíḋé">
              <a:extLst>
                <a:ext uri="{FF2B5EF4-FFF2-40B4-BE49-F238E27FC236}">
                  <a16:creationId xmlns:a16="http://schemas.microsoft.com/office/drawing/2014/main" id="{A2BCFBA5-FE76-4E84-8F0D-758D8BA9E3C1}"/>
                </a:ext>
              </a:extLst>
            </p:cNvPr>
            <p:cNvSpPr/>
            <p:nvPr/>
          </p:nvSpPr>
          <p:spPr>
            <a:xfrm>
              <a:off x="6044294" y="5468110"/>
              <a:ext cx="109594" cy="63588"/>
            </a:xfrm>
            <a:custGeom>
              <a:avLst/>
              <a:gdLst>
                <a:gd name="connsiteX0" fmla="*/ -336 w 36004"/>
                <a:gd name="connsiteY0" fmla="*/ 10291 h 20890"/>
                <a:gd name="connsiteX1" fmla="*/ 1188 w 36004"/>
                <a:gd name="connsiteY1" fmla="*/ 12577 h 20890"/>
                <a:gd name="connsiteX2" fmla="*/ 3569 w 36004"/>
                <a:gd name="connsiteY2" fmla="*/ 13911 h 20890"/>
                <a:gd name="connsiteX3" fmla="*/ 13856 w 36004"/>
                <a:gd name="connsiteY3" fmla="*/ 19721 h 20890"/>
                <a:gd name="connsiteX4" fmla="*/ 21476 w 36004"/>
                <a:gd name="connsiteY4" fmla="*/ 19721 h 20890"/>
                <a:gd name="connsiteX5" fmla="*/ 31763 w 36004"/>
                <a:gd name="connsiteY5" fmla="*/ 13911 h 20890"/>
                <a:gd name="connsiteX6" fmla="*/ 34144 w 36004"/>
                <a:gd name="connsiteY6" fmla="*/ 12577 h 20890"/>
                <a:gd name="connsiteX7" fmla="*/ 35668 w 36004"/>
                <a:gd name="connsiteY7" fmla="*/ 10291 h 20890"/>
                <a:gd name="connsiteX8" fmla="*/ 34144 w 36004"/>
                <a:gd name="connsiteY8" fmla="*/ 8101 h 20890"/>
                <a:gd name="connsiteX9" fmla="*/ 21476 w 36004"/>
                <a:gd name="connsiteY9" fmla="*/ 766 h 20890"/>
                <a:gd name="connsiteX10" fmla="*/ 13856 w 36004"/>
                <a:gd name="connsiteY10" fmla="*/ 766 h 20890"/>
                <a:gd name="connsiteX11" fmla="*/ 1188 w 36004"/>
                <a:gd name="connsiteY11" fmla="*/ 8101 h 20890"/>
                <a:gd name="connsiteX12" fmla="*/ -336 w 36004"/>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291"/>
                  </a:moveTo>
                  <a:cubicBezTo>
                    <a:pt x="-270" y="11272"/>
                    <a:pt x="311" y="12139"/>
                    <a:pt x="1188" y="12577"/>
                  </a:cubicBezTo>
                  <a:lnTo>
                    <a:pt x="3569" y="13911"/>
                  </a:lnTo>
                  <a:lnTo>
                    <a:pt x="13856" y="19721"/>
                  </a:lnTo>
                  <a:cubicBezTo>
                    <a:pt x="16218" y="21064"/>
                    <a:pt x="19114" y="21064"/>
                    <a:pt x="21476" y="19721"/>
                  </a:cubicBezTo>
                  <a:lnTo>
                    <a:pt x="31763" y="13911"/>
                  </a:lnTo>
                  <a:lnTo>
                    <a:pt x="34144" y="12577"/>
                  </a:lnTo>
                  <a:cubicBezTo>
                    <a:pt x="35021" y="12139"/>
                    <a:pt x="35602" y="11272"/>
                    <a:pt x="35668" y="10291"/>
                  </a:cubicBezTo>
                  <a:cubicBezTo>
                    <a:pt x="35611" y="9339"/>
                    <a:pt x="35021" y="8491"/>
                    <a:pt x="34144" y="8101"/>
                  </a:cubicBezTo>
                  <a:lnTo>
                    <a:pt x="21476" y="766"/>
                  </a:lnTo>
                  <a:cubicBezTo>
                    <a:pt x="19085" y="-472"/>
                    <a:pt x="16247" y="-472"/>
                    <a:pt x="13856" y="766"/>
                  </a:cubicBezTo>
                  <a:lnTo>
                    <a:pt x="1188" y="8101"/>
                  </a:lnTo>
                  <a:cubicBezTo>
                    <a:pt x="311" y="8491"/>
                    <a:pt x="-279"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495" name="íşļïdê">
              <a:extLst>
                <a:ext uri="{FF2B5EF4-FFF2-40B4-BE49-F238E27FC236}">
                  <a16:creationId xmlns:a16="http://schemas.microsoft.com/office/drawing/2014/main" id="{C94FA479-5BB5-458C-8883-3DB4FF96A42F}"/>
                </a:ext>
              </a:extLst>
            </p:cNvPr>
            <p:cNvSpPr/>
            <p:nvPr/>
          </p:nvSpPr>
          <p:spPr>
            <a:xfrm>
              <a:off x="6046179" y="5469269"/>
              <a:ext cx="105825" cy="61104"/>
            </a:xfrm>
            <a:custGeom>
              <a:avLst/>
              <a:gdLst>
                <a:gd name="connsiteX0" fmla="*/ 1235 w 34766"/>
                <a:gd name="connsiteY0" fmla="*/ 12006 h 20074"/>
                <a:gd name="connsiteX1" fmla="*/ 13332 w 34766"/>
                <a:gd name="connsiteY1" fmla="*/ 19054 h 20074"/>
                <a:gd name="connsiteX2" fmla="*/ 20761 w 34766"/>
                <a:gd name="connsiteY2" fmla="*/ 19054 h 20074"/>
                <a:gd name="connsiteX3" fmla="*/ 32858 w 34766"/>
                <a:gd name="connsiteY3" fmla="*/ 12006 h 20074"/>
                <a:gd name="connsiteX4" fmla="*/ 32858 w 34766"/>
                <a:gd name="connsiteY4" fmla="*/ 7719 h 20074"/>
                <a:gd name="connsiteX5" fmla="*/ 20761 w 34766"/>
                <a:gd name="connsiteY5" fmla="*/ 766 h 20074"/>
                <a:gd name="connsiteX6" fmla="*/ 13332 w 34766"/>
                <a:gd name="connsiteY6" fmla="*/ 766 h 20074"/>
                <a:gd name="connsiteX7" fmla="*/ 1235 w 34766"/>
                <a:gd name="connsiteY7" fmla="*/ 7719 h 20074"/>
                <a:gd name="connsiteX8" fmla="*/ 1235 w 34766"/>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6" h="20074">
                  <a:moveTo>
                    <a:pt x="1235" y="12006"/>
                  </a:moveTo>
                  <a:lnTo>
                    <a:pt x="13332" y="19054"/>
                  </a:lnTo>
                  <a:cubicBezTo>
                    <a:pt x="15675" y="20197"/>
                    <a:pt x="18418" y="20197"/>
                    <a:pt x="20761" y="19054"/>
                  </a:cubicBezTo>
                  <a:lnTo>
                    <a:pt x="32858" y="12006"/>
                  </a:lnTo>
                  <a:cubicBezTo>
                    <a:pt x="34954" y="10863"/>
                    <a:pt x="34954" y="8957"/>
                    <a:pt x="32858" y="7719"/>
                  </a:cubicBezTo>
                  <a:lnTo>
                    <a:pt x="20761" y="766"/>
                  </a:lnTo>
                  <a:cubicBezTo>
                    <a:pt x="18437" y="-472"/>
                    <a:pt x="15656" y="-472"/>
                    <a:pt x="13332" y="766"/>
                  </a:cubicBezTo>
                  <a:lnTo>
                    <a:pt x="1235" y="7719"/>
                  </a:lnTo>
                  <a:cubicBezTo>
                    <a:pt x="-860" y="8957"/>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496" name="îṣḷïḓè">
              <a:extLst>
                <a:ext uri="{FF2B5EF4-FFF2-40B4-BE49-F238E27FC236}">
                  <a16:creationId xmlns:a16="http://schemas.microsoft.com/office/drawing/2014/main" id="{09489470-0C34-47CD-B0F6-3D7E963EE67B}"/>
                </a:ext>
              </a:extLst>
            </p:cNvPr>
            <p:cNvSpPr/>
            <p:nvPr/>
          </p:nvSpPr>
          <p:spPr>
            <a:xfrm>
              <a:off x="6044288" y="5499931"/>
              <a:ext cx="109600" cy="54435"/>
            </a:xfrm>
            <a:custGeom>
              <a:avLst/>
              <a:gdLst>
                <a:gd name="connsiteX0" fmla="*/ -335 w 36006"/>
                <a:gd name="connsiteY0" fmla="*/ -163 h 17883"/>
                <a:gd name="connsiteX1" fmla="*/ -335 w 36006"/>
                <a:gd name="connsiteY1" fmla="*/ 7362 h 17883"/>
                <a:gd name="connsiteX2" fmla="*/ 1189 w 36006"/>
                <a:gd name="connsiteY2" fmla="*/ 9553 h 17883"/>
                <a:gd name="connsiteX3" fmla="*/ 13858 w 36006"/>
                <a:gd name="connsiteY3" fmla="*/ 16792 h 17883"/>
                <a:gd name="connsiteX4" fmla="*/ 21478 w 36006"/>
                <a:gd name="connsiteY4" fmla="*/ 16792 h 17883"/>
                <a:gd name="connsiteX5" fmla="*/ 34146 w 36006"/>
                <a:gd name="connsiteY5" fmla="*/ 9553 h 17883"/>
                <a:gd name="connsiteX6" fmla="*/ 35670 w 36006"/>
                <a:gd name="connsiteY6" fmla="*/ 7267 h 17883"/>
                <a:gd name="connsiteX7" fmla="*/ 35670 w 36006"/>
                <a:gd name="connsiteY7" fmla="*/ 123 h 17883"/>
                <a:gd name="connsiteX8" fmla="*/ 34146 w 36006"/>
                <a:gd name="connsiteY8" fmla="*/ 2409 h 17883"/>
                <a:gd name="connsiteX9" fmla="*/ 31765 w 36006"/>
                <a:gd name="connsiteY9" fmla="*/ 3743 h 17883"/>
                <a:gd name="connsiteX10" fmla="*/ 21478 w 36006"/>
                <a:gd name="connsiteY10" fmla="*/ 9553 h 17883"/>
                <a:gd name="connsiteX11" fmla="*/ 13858 w 36006"/>
                <a:gd name="connsiteY11" fmla="*/ 9553 h 17883"/>
                <a:gd name="connsiteX12" fmla="*/ 3571 w 36006"/>
                <a:gd name="connsiteY12" fmla="*/ 3743 h 17883"/>
                <a:gd name="connsiteX13" fmla="*/ 1189 w 36006"/>
                <a:gd name="connsiteY13" fmla="*/ 2409 h 17883"/>
                <a:gd name="connsiteX14" fmla="*/ -335 w 36006"/>
                <a:gd name="connsiteY14" fmla="*/ -163 h 17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6" h="17883">
                  <a:moveTo>
                    <a:pt x="-335" y="-163"/>
                  </a:moveTo>
                  <a:lnTo>
                    <a:pt x="-335" y="7362"/>
                  </a:lnTo>
                  <a:cubicBezTo>
                    <a:pt x="-239" y="8305"/>
                    <a:pt x="342" y="9134"/>
                    <a:pt x="1189" y="9553"/>
                  </a:cubicBezTo>
                  <a:lnTo>
                    <a:pt x="13858" y="16792"/>
                  </a:lnTo>
                  <a:cubicBezTo>
                    <a:pt x="16248" y="18030"/>
                    <a:pt x="19087" y="18030"/>
                    <a:pt x="21478" y="16792"/>
                  </a:cubicBezTo>
                  <a:lnTo>
                    <a:pt x="34146" y="9553"/>
                  </a:lnTo>
                  <a:cubicBezTo>
                    <a:pt x="35013" y="9105"/>
                    <a:pt x="35584" y="8239"/>
                    <a:pt x="35670" y="7267"/>
                  </a:cubicBezTo>
                  <a:lnTo>
                    <a:pt x="35670" y="123"/>
                  </a:lnTo>
                  <a:cubicBezTo>
                    <a:pt x="35603" y="1104"/>
                    <a:pt x="35022" y="1971"/>
                    <a:pt x="34146" y="2409"/>
                  </a:cubicBezTo>
                  <a:lnTo>
                    <a:pt x="31765" y="3743"/>
                  </a:lnTo>
                  <a:lnTo>
                    <a:pt x="21478" y="9553"/>
                  </a:lnTo>
                  <a:cubicBezTo>
                    <a:pt x="19115" y="10896"/>
                    <a:pt x="16220" y="10896"/>
                    <a:pt x="13858" y="9553"/>
                  </a:cubicBezTo>
                  <a:lnTo>
                    <a:pt x="3571" y="3743"/>
                  </a:lnTo>
                  <a:lnTo>
                    <a:pt x="1189" y="2409"/>
                  </a:lnTo>
                  <a:cubicBezTo>
                    <a:pt x="218" y="1923"/>
                    <a:pt x="-373" y="923"/>
                    <a:pt x="-335" y="-163"/>
                  </a:cubicBezTo>
                  <a:close/>
                </a:path>
              </a:pathLst>
            </a:custGeom>
            <a:solidFill>
              <a:srgbClr val="BF4200"/>
            </a:solidFill>
            <a:ln w="9525" cap="flat">
              <a:noFill/>
              <a:prstDash val="solid"/>
              <a:miter/>
            </a:ln>
          </p:spPr>
          <p:txBody>
            <a:bodyPr rtlCol="0" anchor="ctr"/>
            <a:lstStyle/>
            <a:p>
              <a:endParaRPr lang="zh-CN" altLang="en-US"/>
            </a:p>
          </p:txBody>
        </p:sp>
        <p:sp>
          <p:nvSpPr>
            <p:cNvPr id="497" name="ïŝľîdê">
              <a:extLst>
                <a:ext uri="{FF2B5EF4-FFF2-40B4-BE49-F238E27FC236}">
                  <a16:creationId xmlns:a16="http://schemas.microsoft.com/office/drawing/2014/main" id="{ADB2656A-244B-412A-AF24-74CB13D73D03}"/>
                </a:ext>
              </a:extLst>
            </p:cNvPr>
            <p:cNvSpPr/>
            <p:nvPr/>
          </p:nvSpPr>
          <p:spPr>
            <a:xfrm>
              <a:off x="5927812" y="4346502"/>
              <a:ext cx="1038326" cy="599437"/>
            </a:xfrm>
            <a:custGeom>
              <a:avLst/>
              <a:gdLst>
                <a:gd name="connsiteX0" fmla="*/ 126894 w 341114"/>
                <a:gd name="connsiteY0" fmla="*/ 182551 h 196929"/>
                <a:gd name="connsiteX1" fmla="*/ 24310 w 341114"/>
                <a:gd name="connsiteY1" fmla="*/ 123305 h 196929"/>
                <a:gd name="connsiteX2" fmla="*/ 24310 w 341114"/>
                <a:gd name="connsiteY2" fmla="*/ 54630 h 196929"/>
                <a:gd name="connsiteX3" fmla="*/ 94509 w 341114"/>
                <a:gd name="connsiteY3" fmla="*/ 14053 h 196929"/>
                <a:gd name="connsiteX4" fmla="*/ 213571 w 341114"/>
                <a:gd name="connsiteY4" fmla="*/ 14053 h 196929"/>
                <a:gd name="connsiteX5" fmla="*/ 316060 w 341114"/>
                <a:gd name="connsiteY5" fmla="*/ 73299 h 196929"/>
                <a:gd name="connsiteX6" fmla="*/ 316060 w 341114"/>
                <a:gd name="connsiteY6" fmla="*/ 141974 h 196929"/>
                <a:gd name="connsiteX7" fmla="*/ 245861 w 341114"/>
                <a:gd name="connsiteY7" fmla="*/ 182551 h 196929"/>
                <a:gd name="connsiteX8" fmla="*/ 126894 w 341114"/>
                <a:gd name="connsiteY8" fmla="*/ 182551 h 196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1114" h="196929">
                  <a:moveTo>
                    <a:pt x="126894" y="182551"/>
                  </a:moveTo>
                  <a:lnTo>
                    <a:pt x="24310" y="123305"/>
                  </a:lnTo>
                  <a:cubicBezTo>
                    <a:pt x="-8552" y="104255"/>
                    <a:pt x="-8552" y="73585"/>
                    <a:pt x="24310" y="54630"/>
                  </a:cubicBezTo>
                  <a:lnTo>
                    <a:pt x="94509" y="14053"/>
                  </a:lnTo>
                  <a:cubicBezTo>
                    <a:pt x="131932" y="-4901"/>
                    <a:pt x="176148" y="-4901"/>
                    <a:pt x="213571" y="14053"/>
                  </a:cubicBezTo>
                  <a:lnTo>
                    <a:pt x="316060" y="73299"/>
                  </a:lnTo>
                  <a:cubicBezTo>
                    <a:pt x="349017" y="92349"/>
                    <a:pt x="349017" y="123019"/>
                    <a:pt x="316060" y="141974"/>
                  </a:cubicBezTo>
                  <a:lnTo>
                    <a:pt x="245861" y="182551"/>
                  </a:lnTo>
                  <a:cubicBezTo>
                    <a:pt x="208475" y="201506"/>
                    <a:pt x="164279" y="201506"/>
                    <a:pt x="126894" y="182551"/>
                  </a:cubicBezTo>
                  <a:close/>
                </a:path>
              </a:pathLst>
            </a:custGeom>
            <a:solidFill>
              <a:srgbClr val="BF4200"/>
            </a:solidFill>
            <a:ln w="9525" cap="flat">
              <a:noFill/>
              <a:prstDash val="solid"/>
              <a:miter/>
            </a:ln>
          </p:spPr>
          <p:txBody>
            <a:bodyPr rtlCol="0" anchor="ctr"/>
            <a:lstStyle/>
            <a:p>
              <a:endParaRPr lang="zh-CN" altLang="en-US"/>
            </a:p>
          </p:txBody>
        </p:sp>
        <p:sp>
          <p:nvSpPr>
            <p:cNvPr id="498" name="iśľidè">
              <a:extLst>
                <a:ext uri="{FF2B5EF4-FFF2-40B4-BE49-F238E27FC236}">
                  <a16:creationId xmlns:a16="http://schemas.microsoft.com/office/drawing/2014/main" id="{ADAFE166-250E-4604-B46A-26EAF60FFBD4}"/>
                </a:ext>
              </a:extLst>
            </p:cNvPr>
            <p:cNvSpPr/>
            <p:nvPr/>
          </p:nvSpPr>
          <p:spPr>
            <a:xfrm>
              <a:off x="5927812" y="4311710"/>
              <a:ext cx="1038326" cy="599437"/>
            </a:xfrm>
            <a:custGeom>
              <a:avLst/>
              <a:gdLst>
                <a:gd name="connsiteX0" fmla="*/ 126894 w 341114"/>
                <a:gd name="connsiteY0" fmla="*/ 182551 h 196929"/>
                <a:gd name="connsiteX1" fmla="*/ 24310 w 341114"/>
                <a:gd name="connsiteY1" fmla="*/ 123305 h 196929"/>
                <a:gd name="connsiteX2" fmla="*/ 24310 w 341114"/>
                <a:gd name="connsiteY2" fmla="*/ 54630 h 196929"/>
                <a:gd name="connsiteX3" fmla="*/ 94509 w 341114"/>
                <a:gd name="connsiteY3" fmla="*/ 14053 h 196929"/>
                <a:gd name="connsiteX4" fmla="*/ 213571 w 341114"/>
                <a:gd name="connsiteY4" fmla="*/ 14053 h 196929"/>
                <a:gd name="connsiteX5" fmla="*/ 316060 w 341114"/>
                <a:gd name="connsiteY5" fmla="*/ 73299 h 196929"/>
                <a:gd name="connsiteX6" fmla="*/ 316060 w 341114"/>
                <a:gd name="connsiteY6" fmla="*/ 141974 h 196929"/>
                <a:gd name="connsiteX7" fmla="*/ 245861 w 341114"/>
                <a:gd name="connsiteY7" fmla="*/ 182551 h 196929"/>
                <a:gd name="connsiteX8" fmla="*/ 126894 w 341114"/>
                <a:gd name="connsiteY8" fmla="*/ 182551 h 196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1114" h="196929">
                  <a:moveTo>
                    <a:pt x="126894" y="182551"/>
                  </a:moveTo>
                  <a:lnTo>
                    <a:pt x="24310" y="123305"/>
                  </a:lnTo>
                  <a:cubicBezTo>
                    <a:pt x="-8552" y="104255"/>
                    <a:pt x="-8552" y="73585"/>
                    <a:pt x="24310" y="54630"/>
                  </a:cubicBezTo>
                  <a:lnTo>
                    <a:pt x="94509" y="14053"/>
                  </a:lnTo>
                  <a:cubicBezTo>
                    <a:pt x="131932" y="-4901"/>
                    <a:pt x="176148" y="-4901"/>
                    <a:pt x="213571" y="14053"/>
                  </a:cubicBezTo>
                  <a:lnTo>
                    <a:pt x="316060" y="73299"/>
                  </a:lnTo>
                  <a:cubicBezTo>
                    <a:pt x="349017" y="92349"/>
                    <a:pt x="349017" y="123019"/>
                    <a:pt x="316060" y="141974"/>
                  </a:cubicBezTo>
                  <a:lnTo>
                    <a:pt x="245861" y="182551"/>
                  </a:lnTo>
                  <a:cubicBezTo>
                    <a:pt x="208475" y="201505"/>
                    <a:pt x="164279" y="201505"/>
                    <a:pt x="126894" y="182551"/>
                  </a:cubicBezTo>
                  <a:close/>
                </a:path>
              </a:pathLst>
            </a:custGeom>
            <a:solidFill>
              <a:srgbClr val="FF7D33"/>
            </a:solidFill>
            <a:ln w="9525" cap="flat">
              <a:noFill/>
              <a:prstDash val="solid"/>
              <a:miter/>
            </a:ln>
          </p:spPr>
          <p:txBody>
            <a:bodyPr rtlCol="0" anchor="ctr"/>
            <a:lstStyle/>
            <a:p>
              <a:endParaRPr lang="zh-CN" altLang="en-US"/>
            </a:p>
          </p:txBody>
        </p:sp>
        <p:sp>
          <p:nvSpPr>
            <p:cNvPr id="499" name="ïšlídé">
              <a:extLst>
                <a:ext uri="{FF2B5EF4-FFF2-40B4-BE49-F238E27FC236}">
                  <a16:creationId xmlns:a16="http://schemas.microsoft.com/office/drawing/2014/main" id="{D8FA254E-CB3C-43ED-8556-E384DC7E2B24}"/>
                </a:ext>
              </a:extLst>
            </p:cNvPr>
            <p:cNvSpPr/>
            <p:nvPr/>
          </p:nvSpPr>
          <p:spPr>
            <a:xfrm>
              <a:off x="6375915" y="4006641"/>
              <a:ext cx="260198" cy="150440"/>
            </a:xfrm>
            <a:custGeom>
              <a:avLst/>
              <a:gdLst>
                <a:gd name="connsiteX0" fmla="*/ 71979 w 85481"/>
                <a:gd name="connsiteY0" fmla="*/ 6737 h 49423"/>
                <a:gd name="connsiteX1" fmla="*/ 73218 w 85481"/>
                <a:gd name="connsiteY1" fmla="*/ 41694 h 49423"/>
                <a:gd name="connsiteX2" fmla="*/ 12829 w 85481"/>
                <a:gd name="connsiteY2" fmla="*/ 42361 h 49423"/>
                <a:gd name="connsiteX3" fmla="*/ 11591 w 85481"/>
                <a:gd name="connsiteY3" fmla="*/ 7404 h 49423"/>
                <a:gd name="connsiteX4" fmla="*/ 71979 w 85481"/>
                <a:gd name="connsiteY4" fmla="*/ 6737 h 49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481" h="49423">
                  <a:moveTo>
                    <a:pt x="71979" y="6737"/>
                  </a:moveTo>
                  <a:cubicBezTo>
                    <a:pt x="89029" y="16262"/>
                    <a:pt x="89601" y="31884"/>
                    <a:pt x="73218" y="41694"/>
                  </a:cubicBezTo>
                  <a:cubicBezTo>
                    <a:pt x="54349" y="51543"/>
                    <a:pt x="31908" y="51791"/>
                    <a:pt x="12829" y="42361"/>
                  </a:cubicBezTo>
                  <a:cubicBezTo>
                    <a:pt x="-4221" y="32836"/>
                    <a:pt x="-4792" y="17215"/>
                    <a:pt x="11591" y="7404"/>
                  </a:cubicBezTo>
                  <a:cubicBezTo>
                    <a:pt x="30460" y="-2445"/>
                    <a:pt x="52901" y="-2692"/>
                    <a:pt x="71979" y="6737"/>
                  </a:cubicBezTo>
                  <a:close/>
                </a:path>
              </a:pathLst>
            </a:custGeom>
            <a:solidFill>
              <a:srgbClr val="E73E1E"/>
            </a:solidFill>
            <a:ln w="9525" cap="flat">
              <a:noFill/>
              <a:prstDash val="solid"/>
              <a:miter/>
            </a:ln>
          </p:spPr>
          <p:txBody>
            <a:bodyPr rtlCol="0" anchor="ctr"/>
            <a:lstStyle/>
            <a:p>
              <a:endParaRPr lang="zh-CN" altLang="en-US"/>
            </a:p>
          </p:txBody>
        </p:sp>
        <p:sp>
          <p:nvSpPr>
            <p:cNvPr id="500" name="ïŝľiḑê">
              <a:extLst>
                <a:ext uri="{FF2B5EF4-FFF2-40B4-BE49-F238E27FC236}">
                  <a16:creationId xmlns:a16="http://schemas.microsoft.com/office/drawing/2014/main" id="{2D6A3053-63C9-41DB-8442-FFDCA3C0CA80}"/>
                </a:ext>
              </a:extLst>
            </p:cNvPr>
            <p:cNvSpPr/>
            <p:nvPr/>
          </p:nvSpPr>
          <p:spPr>
            <a:xfrm>
              <a:off x="6375398" y="4081863"/>
              <a:ext cx="260070" cy="535488"/>
            </a:xfrm>
            <a:custGeom>
              <a:avLst/>
              <a:gdLst>
                <a:gd name="connsiteX0" fmla="*/ 85103 w 85439"/>
                <a:gd name="connsiteY0" fmla="*/ 151190 h 175920"/>
                <a:gd name="connsiteX1" fmla="*/ 85103 w 85439"/>
                <a:gd name="connsiteY1" fmla="*/ 123 h 175920"/>
                <a:gd name="connsiteX2" fmla="*/ 73197 w 85439"/>
                <a:gd name="connsiteY2" fmla="*/ 17173 h 175920"/>
                <a:gd name="connsiteX3" fmla="*/ 12808 w 85439"/>
                <a:gd name="connsiteY3" fmla="*/ 17744 h 175920"/>
                <a:gd name="connsiteX4" fmla="*/ -336 w 85439"/>
                <a:gd name="connsiteY4" fmla="*/ -163 h 175920"/>
                <a:gd name="connsiteX5" fmla="*/ -336 w 85439"/>
                <a:gd name="connsiteY5" fmla="*/ 150904 h 175920"/>
                <a:gd name="connsiteX6" fmla="*/ 12808 w 85439"/>
                <a:gd name="connsiteY6" fmla="*/ 168811 h 175920"/>
                <a:gd name="connsiteX7" fmla="*/ 73197 w 85439"/>
                <a:gd name="connsiteY7" fmla="*/ 168239 h 175920"/>
                <a:gd name="connsiteX8" fmla="*/ 85103 w 85439"/>
                <a:gd name="connsiteY8" fmla="*/ 151190 h 175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5439" h="175920">
                  <a:moveTo>
                    <a:pt x="85103" y="151190"/>
                  </a:moveTo>
                  <a:lnTo>
                    <a:pt x="85103" y="123"/>
                  </a:lnTo>
                  <a:cubicBezTo>
                    <a:pt x="84436" y="7515"/>
                    <a:pt x="79902" y="14001"/>
                    <a:pt x="73197" y="17173"/>
                  </a:cubicBezTo>
                  <a:cubicBezTo>
                    <a:pt x="54309" y="26993"/>
                    <a:pt x="31877" y="27203"/>
                    <a:pt x="12808" y="17744"/>
                  </a:cubicBezTo>
                  <a:cubicBezTo>
                    <a:pt x="5474" y="14639"/>
                    <a:pt x="426" y="7762"/>
                    <a:pt x="-336" y="-163"/>
                  </a:cubicBezTo>
                  <a:lnTo>
                    <a:pt x="-336" y="150904"/>
                  </a:lnTo>
                  <a:cubicBezTo>
                    <a:pt x="426" y="158829"/>
                    <a:pt x="5474" y="165706"/>
                    <a:pt x="12808" y="168811"/>
                  </a:cubicBezTo>
                  <a:cubicBezTo>
                    <a:pt x="31877" y="178269"/>
                    <a:pt x="54309" y="178059"/>
                    <a:pt x="73197" y="168239"/>
                  </a:cubicBezTo>
                  <a:cubicBezTo>
                    <a:pt x="79902" y="165068"/>
                    <a:pt x="84436" y="158581"/>
                    <a:pt x="85103" y="151190"/>
                  </a:cubicBezTo>
                  <a:close/>
                </a:path>
              </a:pathLst>
            </a:custGeom>
            <a:solidFill>
              <a:srgbClr val="BF4200"/>
            </a:solidFill>
            <a:ln w="9525" cap="flat">
              <a:noFill/>
              <a:prstDash val="solid"/>
              <a:miter/>
            </a:ln>
          </p:spPr>
          <p:txBody>
            <a:bodyPr rtlCol="0" anchor="ctr"/>
            <a:lstStyle/>
            <a:p>
              <a:endParaRPr lang="zh-CN" altLang="en-US"/>
            </a:p>
          </p:txBody>
        </p:sp>
        <p:sp>
          <p:nvSpPr>
            <p:cNvPr id="501" name="ïšļiḋè">
              <a:extLst>
                <a:ext uri="{FF2B5EF4-FFF2-40B4-BE49-F238E27FC236}">
                  <a16:creationId xmlns:a16="http://schemas.microsoft.com/office/drawing/2014/main" id="{B37AE371-C088-4EA0-A603-138189463B17}"/>
                </a:ext>
              </a:extLst>
            </p:cNvPr>
            <p:cNvSpPr/>
            <p:nvPr/>
          </p:nvSpPr>
          <p:spPr>
            <a:xfrm>
              <a:off x="7368421" y="4755091"/>
              <a:ext cx="168451" cy="100264"/>
            </a:xfrm>
            <a:custGeom>
              <a:avLst/>
              <a:gdLst>
                <a:gd name="connsiteX0" fmla="*/ 32811 w 55340"/>
                <a:gd name="connsiteY0" fmla="*/ 27746 h 32939"/>
                <a:gd name="connsiteX1" fmla="*/ 32811 w 55340"/>
                <a:gd name="connsiteY1" fmla="*/ 27746 h 32939"/>
                <a:gd name="connsiteX2" fmla="*/ 36335 w 55340"/>
                <a:gd name="connsiteY2" fmla="*/ 25650 h 32939"/>
                <a:gd name="connsiteX3" fmla="*/ 44146 w 55340"/>
                <a:gd name="connsiteY3" fmla="*/ 20221 h 32939"/>
                <a:gd name="connsiteX4" fmla="*/ 50432 w 55340"/>
                <a:gd name="connsiteY4" fmla="*/ 13553 h 32939"/>
                <a:gd name="connsiteX5" fmla="*/ 53575 w 55340"/>
                <a:gd name="connsiteY5" fmla="*/ 7362 h 32939"/>
                <a:gd name="connsiteX6" fmla="*/ 55004 w 55340"/>
                <a:gd name="connsiteY6" fmla="*/ -163 h 32939"/>
                <a:gd name="connsiteX7" fmla="*/ 55004 w 55340"/>
                <a:gd name="connsiteY7" fmla="*/ -163 h 32939"/>
                <a:gd name="connsiteX8" fmla="*/ 53671 w 55340"/>
                <a:gd name="connsiteY8" fmla="*/ 2219 h 32939"/>
                <a:gd name="connsiteX9" fmla="*/ 53671 w 55340"/>
                <a:gd name="connsiteY9" fmla="*/ 2219 h 32939"/>
                <a:gd name="connsiteX10" fmla="*/ 53194 w 55340"/>
                <a:gd name="connsiteY10" fmla="*/ 2695 h 32939"/>
                <a:gd name="connsiteX11" fmla="*/ 53194 w 55340"/>
                <a:gd name="connsiteY11" fmla="*/ 2695 h 32939"/>
                <a:gd name="connsiteX12" fmla="*/ 52528 w 55340"/>
                <a:gd name="connsiteY12" fmla="*/ 3362 h 32939"/>
                <a:gd name="connsiteX13" fmla="*/ 51861 w 55340"/>
                <a:gd name="connsiteY13" fmla="*/ 3933 h 32939"/>
                <a:gd name="connsiteX14" fmla="*/ 49480 w 55340"/>
                <a:gd name="connsiteY14" fmla="*/ 5743 h 32939"/>
                <a:gd name="connsiteX15" fmla="*/ 48813 w 55340"/>
                <a:gd name="connsiteY15" fmla="*/ 6315 h 32939"/>
                <a:gd name="connsiteX16" fmla="*/ 48813 w 55340"/>
                <a:gd name="connsiteY16" fmla="*/ 6315 h 32939"/>
                <a:gd name="connsiteX17" fmla="*/ 48051 w 55340"/>
                <a:gd name="connsiteY17" fmla="*/ 6886 h 32939"/>
                <a:gd name="connsiteX18" fmla="*/ 45098 w 55340"/>
                <a:gd name="connsiteY18" fmla="*/ 8696 h 32939"/>
                <a:gd name="connsiteX19" fmla="*/ 41574 w 55340"/>
                <a:gd name="connsiteY19" fmla="*/ 10696 h 32939"/>
                <a:gd name="connsiteX20" fmla="*/ 23476 w 55340"/>
                <a:gd name="connsiteY20" fmla="*/ 16030 h 32939"/>
                <a:gd name="connsiteX21" fmla="*/ 23476 w 55340"/>
                <a:gd name="connsiteY21" fmla="*/ 16030 h 32939"/>
                <a:gd name="connsiteX22" fmla="*/ 22619 w 55340"/>
                <a:gd name="connsiteY22" fmla="*/ 21269 h 32939"/>
                <a:gd name="connsiteX23" fmla="*/ 22143 w 55340"/>
                <a:gd name="connsiteY23" fmla="*/ 22793 h 32939"/>
                <a:gd name="connsiteX24" fmla="*/ 22143 w 55340"/>
                <a:gd name="connsiteY24" fmla="*/ 22793 h 32939"/>
                <a:gd name="connsiteX25" fmla="*/ 21476 w 55340"/>
                <a:gd name="connsiteY25" fmla="*/ 24317 h 32939"/>
                <a:gd name="connsiteX26" fmla="*/ 21476 w 55340"/>
                <a:gd name="connsiteY26" fmla="*/ 24317 h 32939"/>
                <a:gd name="connsiteX27" fmla="*/ 16523 w 55340"/>
                <a:gd name="connsiteY27" fmla="*/ 29651 h 32939"/>
                <a:gd name="connsiteX28" fmla="*/ 9189 w 55340"/>
                <a:gd name="connsiteY28" fmla="*/ 31175 h 32939"/>
                <a:gd name="connsiteX29" fmla="*/ -336 w 55340"/>
                <a:gd name="connsiteY29" fmla="*/ 28222 h 32939"/>
                <a:gd name="connsiteX30" fmla="*/ 10903 w 55340"/>
                <a:gd name="connsiteY30" fmla="*/ 32699 h 32939"/>
                <a:gd name="connsiteX31" fmla="*/ 14142 w 55340"/>
                <a:gd name="connsiteY31" fmla="*/ 32699 h 32939"/>
                <a:gd name="connsiteX32" fmla="*/ 18333 w 55340"/>
                <a:gd name="connsiteY32" fmla="*/ 32223 h 32939"/>
                <a:gd name="connsiteX33" fmla="*/ 18333 w 55340"/>
                <a:gd name="connsiteY33" fmla="*/ 32223 h 32939"/>
                <a:gd name="connsiteX34" fmla="*/ 31858 w 55340"/>
                <a:gd name="connsiteY34" fmla="*/ 27269 h 32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55340" h="32939">
                  <a:moveTo>
                    <a:pt x="32811" y="27746"/>
                  </a:moveTo>
                  <a:lnTo>
                    <a:pt x="32811" y="27746"/>
                  </a:lnTo>
                  <a:lnTo>
                    <a:pt x="36335" y="25650"/>
                  </a:lnTo>
                  <a:cubicBezTo>
                    <a:pt x="39088" y="24069"/>
                    <a:pt x="41707" y="22259"/>
                    <a:pt x="44146" y="20221"/>
                  </a:cubicBezTo>
                  <a:cubicBezTo>
                    <a:pt x="46498" y="18259"/>
                    <a:pt x="48613" y="16020"/>
                    <a:pt x="50432" y="13553"/>
                  </a:cubicBezTo>
                  <a:cubicBezTo>
                    <a:pt x="51737" y="11629"/>
                    <a:pt x="52794" y="9553"/>
                    <a:pt x="53575" y="7362"/>
                  </a:cubicBezTo>
                  <a:cubicBezTo>
                    <a:pt x="54423" y="4933"/>
                    <a:pt x="54899" y="2400"/>
                    <a:pt x="55004" y="-163"/>
                  </a:cubicBezTo>
                  <a:lnTo>
                    <a:pt x="55004" y="-163"/>
                  </a:lnTo>
                  <a:cubicBezTo>
                    <a:pt x="54785" y="742"/>
                    <a:pt x="54328" y="1561"/>
                    <a:pt x="53671" y="2219"/>
                  </a:cubicBezTo>
                  <a:lnTo>
                    <a:pt x="53671" y="2219"/>
                  </a:lnTo>
                  <a:cubicBezTo>
                    <a:pt x="53671" y="2219"/>
                    <a:pt x="53671" y="2219"/>
                    <a:pt x="53194" y="2695"/>
                  </a:cubicBezTo>
                  <a:lnTo>
                    <a:pt x="53194" y="2695"/>
                  </a:lnTo>
                  <a:lnTo>
                    <a:pt x="52528" y="3362"/>
                  </a:lnTo>
                  <a:lnTo>
                    <a:pt x="51861" y="3933"/>
                  </a:lnTo>
                  <a:lnTo>
                    <a:pt x="49480" y="5743"/>
                  </a:lnTo>
                  <a:lnTo>
                    <a:pt x="48813" y="6315"/>
                  </a:lnTo>
                  <a:lnTo>
                    <a:pt x="48813" y="6315"/>
                  </a:lnTo>
                  <a:lnTo>
                    <a:pt x="48051" y="6886"/>
                  </a:lnTo>
                  <a:lnTo>
                    <a:pt x="45098" y="8696"/>
                  </a:lnTo>
                  <a:lnTo>
                    <a:pt x="41574" y="10696"/>
                  </a:lnTo>
                  <a:cubicBezTo>
                    <a:pt x="33954" y="15173"/>
                    <a:pt x="25762" y="17554"/>
                    <a:pt x="23476" y="16030"/>
                  </a:cubicBezTo>
                  <a:lnTo>
                    <a:pt x="23476" y="16030"/>
                  </a:lnTo>
                  <a:cubicBezTo>
                    <a:pt x="23305" y="17792"/>
                    <a:pt x="23019" y="19545"/>
                    <a:pt x="22619" y="21269"/>
                  </a:cubicBezTo>
                  <a:cubicBezTo>
                    <a:pt x="22619" y="21840"/>
                    <a:pt x="22619" y="22317"/>
                    <a:pt x="22143" y="22793"/>
                  </a:cubicBezTo>
                  <a:lnTo>
                    <a:pt x="22143" y="22793"/>
                  </a:lnTo>
                  <a:cubicBezTo>
                    <a:pt x="21981" y="23326"/>
                    <a:pt x="21752" y="23831"/>
                    <a:pt x="21476" y="24317"/>
                  </a:cubicBezTo>
                  <a:lnTo>
                    <a:pt x="21476" y="24317"/>
                  </a:lnTo>
                  <a:cubicBezTo>
                    <a:pt x="20352" y="26517"/>
                    <a:pt x="18638" y="28365"/>
                    <a:pt x="16523" y="29651"/>
                  </a:cubicBezTo>
                  <a:cubicBezTo>
                    <a:pt x="14275" y="30851"/>
                    <a:pt x="11732" y="31384"/>
                    <a:pt x="9189" y="31175"/>
                  </a:cubicBezTo>
                  <a:cubicBezTo>
                    <a:pt x="5826" y="30946"/>
                    <a:pt x="2569" y="29936"/>
                    <a:pt x="-336" y="28222"/>
                  </a:cubicBezTo>
                  <a:cubicBezTo>
                    <a:pt x="3159" y="30279"/>
                    <a:pt x="6950" y="31784"/>
                    <a:pt x="10903" y="32699"/>
                  </a:cubicBezTo>
                  <a:cubicBezTo>
                    <a:pt x="11979" y="32803"/>
                    <a:pt x="13065" y="32803"/>
                    <a:pt x="14142" y="32699"/>
                  </a:cubicBezTo>
                  <a:cubicBezTo>
                    <a:pt x="15551" y="32651"/>
                    <a:pt x="16952" y="32489"/>
                    <a:pt x="18333" y="32223"/>
                  </a:cubicBezTo>
                  <a:lnTo>
                    <a:pt x="18333" y="32223"/>
                  </a:lnTo>
                  <a:cubicBezTo>
                    <a:pt x="23076" y="31289"/>
                    <a:pt x="27639" y="29622"/>
                    <a:pt x="31858" y="27269"/>
                  </a:cubicBezTo>
                  <a:close/>
                </a:path>
              </a:pathLst>
            </a:custGeom>
            <a:solidFill>
              <a:srgbClr val="BF4200"/>
            </a:solidFill>
            <a:ln w="9525" cap="flat">
              <a:noFill/>
              <a:prstDash val="solid"/>
              <a:miter/>
            </a:ln>
          </p:spPr>
          <p:txBody>
            <a:bodyPr rtlCol="0" anchor="ctr"/>
            <a:lstStyle/>
            <a:p>
              <a:endParaRPr lang="zh-CN" altLang="en-US"/>
            </a:p>
          </p:txBody>
        </p:sp>
        <p:sp>
          <p:nvSpPr>
            <p:cNvPr id="502" name="iṣḻíďè">
              <a:extLst>
                <a:ext uri="{FF2B5EF4-FFF2-40B4-BE49-F238E27FC236}">
                  <a16:creationId xmlns:a16="http://schemas.microsoft.com/office/drawing/2014/main" id="{6E2B2BA7-4D7D-4353-B040-0DBA45EBB608}"/>
                </a:ext>
              </a:extLst>
            </p:cNvPr>
            <p:cNvSpPr/>
            <p:nvPr/>
          </p:nvSpPr>
          <p:spPr>
            <a:xfrm>
              <a:off x="5454710" y="1859559"/>
              <a:ext cx="166278" cy="110425"/>
            </a:xfrm>
            <a:custGeom>
              <a:avLst/>
              <a:gdLst>
                <a:gd name="connsiteX0" fmla="*/ 37621 w 54626"/>
                <a:gd name="connsiteY0" fmla="*/ 9826 h 36277"/>
                <a:gd name="connsiteX1" fmla="*/ 41050 w 54626"/>
                <a:gd name="connsiteY1" fmla="*/ 7825 h 36277"/>
                <a:gd name="connsiteX2" fmla="*/ 43622 w 54626"/>
                <a:gd name="connsiteY2" fmla="*/ 6492 h 36277"/>
                <a:gd name="connsiteX3" fmla="*/ 45241 w 54626"/>
                <a:gd name="connsiteY3" fmla="*/ 5635 h 36277"/>
                <a:gd name="connsiteX4" fmla="*/ 50671 w 54626"/>
                <a:gd name="connsiteY4" fmla="*/ 3634 h 36277"/>
                <a:gd name="connsiteX5" fmla="*/ 51147 w 54626"/>
                <a:gd name="connsiteY5" fmla="*/ 3634 h 36277"/>
                <a:gd name="connsiteX6" fmla="*/ 54290 w 54626"/>
                <a:gd name="connsiteY6" fmla="*/ 3634 h 36277"/>
                <a:gd name="connsiteX7" fmla="*/ 46099 w 54626"/>
                <a:gd name="connsiteY7" fmla="*/ 491 h 36277"/>
                <a:gd name="connsiteX8" fmla="*/ 38574 w 54626"/>
                <a:gd name="connsiteY8" fmla="*/ -80 h 36277"/>
                <a:gd name="connsiteX9" fmla="*/ 21238 w 54626"/>
                <a:gd name="connsiteY9" fmla="*/ 5730 h 36277"/>
                <a:gd name="connsiteX10" fmla="*/ 21238 w 54626"/>
                <a:gd name="connsiteY10" fmla="*/ 5730 h 36277"/>
                <a:gd name="connsiteX11" fmla="*/ 17809 w 54626"/>
                <a:gd name="connsiteY11" fmla="*/ 7730 h 36277"/>
                <a:gd name="connsiteX12" fmla="*/ 9522 w 54626"/>
                <a:gd name="connsiteY12" fmla="*/ 13540 h 36277"/>
                <a:gd name="connsiteX13" fmla="*/ 3141 w 54626"/>
                <a:gd name="connsiteY13" fmla="*/ 20684 h 36277"/>
                <a:gd name="connsiteX14" fmla="*/ 379 w 54626"/>
                <a:gd name="connsiteY14" fmla="*/ 27256 h 36277"/>
                <a:gd name="connsiteX15" fmla="*/ -288 w 54626"/>
                <a:gd name="connsiteY15" fmla="*/ 36115 h 36277"/>
                <a:gd name="connsiteX16" fmla="*/ 6855 w 54626"/>
                <a:gd name="connsiteY16" fmla="*/ 20970 h 36277"/>
                <a:gd name="connsiteX17" fmla="*/ 12380 w 54626"/>
                <a:gd name="connsiteY17" fmla="*/ 19446 h 36277"/>
                <a:gd name="connsiteX18" fmla="*/ 13047 w 54626"/>
                <a:gd name="connsiteY18" fmla="*/ 19446 h 36277"/>
                <a:gd name="connsiteX19" fmla="*/ 15428 w 54626"/>
                <a:gd name="connsiteY19" fmla="*/ 19446 h 36277"/>
                <a:gd name="connsiteX20" fmla="*/ 16666 w 54626"/>
                <a:gd name="connsiteY20" fmla="*/ 19446 h 36277"/>
                <a:gd name="connsiteX21" fmla="*/ 17428 w 54626"/>
                <a:gd name="connsiteY21" fmla="*/ 19446 h 36277"/>
                <a:gd name="connsiteX22" fmla="*/ 18095 w 54626"/>
                <a:gd name="connsiteY22" fmla="*/ 19446 h 36277"/>
                <a:gd name="connsiteX23" fmla="*/ 18857 w 54626"/>
                <a:gd name="connsiteY23" fmla="*/ 19446 h 36277"/>
                <a:gd name="connsiteX24" fmla="*/ 19619 w 54626"/>
                <a:gd name="connsiteY24" fmla="*/ 19446 h 36277"/>
                <a:gd name="connsiteX25" fmla="*/ 20571 w 54626"/>
                <a:gd name="connsiteY25" fmla="*/ 19446 h 36277"/>
                <a:gd name="connsiteX26" fmla="*/ 21524 w 54626"/>
                <a:gd name="connsiteY26" fmla="*/ 19446 h 36277"/>
                <a:gd name="connsiteX27" fmla="*/ 22191 w 54626"/>
                <a:gd name="connsiteY27" fmla="*/ 19446 h 36277"/>
                <a:gd name="connsiteX28" fmla="*/ 23905 w 54626"/>
                <a:gd name="connsiteY28" fmla="*/ 20303 h 36277"/>
                <a:gd name="connsiteX29" fmla="*/ 23905 w 54626"/>
                <a:gd name="connsiteY29" fmla="*/ 20303 h 36277"/>
                <a:gd name="connsiteX30" fmla="*/ 37621 w 54626"/>
                <a:gd name="connsiteY30" fmla="*/ 9826 h 36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54626" h="36277">
                  <a:moveTo>
                    <a:pt x="37621" y="9826"/>
                  </a:moveTo>
                  <a:lnTo>
                    <a:pt x="41050" y="7825"/>
                  </a:lnTo>
                  <a:lnTo>
                    <a:pt x="43622" y="6492"/>
                  </a:lnTo>
                  <a:cubicBezTo>
                    <a:pt x="44117" y="6130"/>
                    <a:pt x="44660" y="5844"/>
                    <a:pt x="45241" y="5635"/>
                  </a:cubicBezTo>
                  <a:cubicBezTo>
                    <a:pt x="46984" y="4806"/>
                    <a:pt x="48804" y="4139"/>
                    <a:pt x="50671" y="3634"/>
                  </a:cubicBezTo>
                  <a:lnTo>
                    <a:pt x="51147" y="3634"/>
                  </a:lnTo>
                  <a:lnTo>
                    <a:pt x="54290" y="3634"/>
                  </a:lnTo>
                  <a:cubicBezTo>
                    <a:pt x="51699" y="2244"/>
                    <a:pt x="48946" y="1196"/>
                    <a:pt x="46099" y="491"/>
                  </a:cubicBezTo>
                  <a:cubicBezTo>
                    <a:pt x="43641" y="-99"/>
                    <a:pt x="41098" y="-290"/>
                    <a:pt x="38574" y="-80"/>
                  </a:cubicBezTo>
                  <a:cubicBezTo>
                    <a:pt x="32440" y="567"/>
                    <a:pt x="26525" y="2549"/>
                    <a:pt x="21238" y="5730"/>
                  </a:cubicBezTo>
                  <a:lnTo>
                    <a:pt x="21238" y="5730"/>
                  </a:lnTo>
                  <a:lnTo>
                    <a:pt x="17809" y="7730"/>
                  </a:lnTo>
                  <a:cubicBezTo>
                    <a:pt x="14866" y="9397"/>
                    <a:pt x="12094" y="11340"/>
                    <a:pt x="9522" y="13540"/>
                  </a:cubicBezTo>
                  <a:cubicBezTo>
                    <a:pt x="7084" y="15626"/>
                    <a:pt x="4941" y="18027"/>
                    <a:pt x="3141" y="20684"/>
                  </a:cubicBezTo>
                  <a:cubicBezTo>
                    <a:pt x="1950" y="22751"/>
                    <a:pt x="1017" y="24961"/>
                    <a:pt x="379" y="27256"/>
                  </a:cubicBezTo>
                  <a:cubicBezTo>
                    <a:pt x="-117" y="30181"/>
                    <a:pt x="-345" y="33143"/>
                    <a:pt x="-288" y="36115"/>
                  </a:cubicBezTo>
                  <a:cubicBezTo>
                    <a:pt x="-736" y="30162"/>
                    <a:pt x="1969" y="24408"/>
                    <a:pt x="6855" y="20970"/>
                  </a:cubicBezTo>
                  <a:cubicBezTo>
                    <a:pt x="8551" y="20027"/>
                    <a:pt x="10447" y="19503"/>
                    <a:pt x="12380" y="19446"/>
                  </a:cubicBezTo>
                  <a:lnTo>
                    <a:pt x="13047" y="19446"/>
                  </a:lnTo>
                  <a:cubicBezTo>
                    <a:pt x="13837" y="19360"/>
                    <a:pt x="14638" y="19360"/>
                    <a:pt x="15428" y="19446"/>
                  </a:cubicBezTo>
                  <a:lnTo>
                    <a:pt x="16666" y="19446"/>
                  </a:lnTo>
                  <a:lnTo>
                    <a:pt x="17428" y="19446"/>
                  </a:lnTo>
                  <a:lnTo>
                    <a:pt x="18095" y="19446"/>
                  </a:lnTo>
                  <a:lnTo>
                    <a:pt x="18857" y="19446"/>
                  </a:lnTo>
                  <a:cubicBezTo>
                    <a:pt x="18857" y="19446"/>
                    <a:pt x="18857" y="19446"/>
                    <a:pt x="19619" y="19446"/>
                  </a:cubicBezTo>
                  <a:lnTo>
                    <a:pt x="20571" y="19446"/>
                  </a:lnTo>
                  <a:lnTo>
                    <a:pt x="21524" y="19446"/>
                  </a:lnTo>
                  <a:lnTo>
                    <a:pt x="22191" y="19446"/>
                  </a:lnTo>
                  <a:lnTo>
                    <a:pt x="23905" y="20303"/>
                  </a:lnTo>
                  <a:lnTo>
                    <a:pt x="23905" y="20303"/>
                  </a:lnTo>
                  <a:cubicBezTo>
                    <a:pt x="23620" y="20113"/>
                    <a:pt x="29906" y="14302"/>
                    <a:pt x="37621" y="9826"/>
                  </a:cubicBezTo>
                  <a:close/>
                </a:path>
              </a:pathLst>
            </a:custGeom>
            <a:solidFill>
              <a:srgbClr val="D9530B"/>
            </a:solidFill>
            <a:ln w="9525" cap="flat">
              <a:noFill/>
              <a:prstDash val="solid"/>
              <a:miter/>
            </a:ln>
          </p:spPr>
          <p:txBody>
            <a:bodyPr rtlCol="0" anchor="ctr"/>
            <a:lstStyle/>
            <a:p>
              <a:endParaRPr lang="zh-CN" altLang="en-US"/>
            </a:p>
          </p:txBody>
        </p:sp>
        <p:sp>
          <p:nvSpPr>
            <p:cNvPr id="503" name="ïṩ1íḋe">
              <a:extLst>
                <a:ext uri="{FF2B5EF4-FFF2-40B4-BE49-F238E27FC236}">
                  <a16:creationId xmlns:a16="http://schemas.microsoft.com/office/drawing/2014/main" id="{8E052EA0-E3F2-4EB4-B3D7-895BE991E5A3}"/>
                </a:ext>
              </a:extLst>
            </p:cNvPr>
            <p:cNvSpPr/>
            <p:nvPr/>
          </p:nvSpPr>
          <p:spPr>
            <a:xfrm>
              <a:off x="5527630" y="1869668"/>
              <a:ext cx="1931250" cy="1119145"/>
            </a:xfrm>
            <a:custGeom>
              <a:avLst/>
              <a:gdLst>
                <a:gd name="connsiteX0" fmla="*/ 617265 w 634460"/>
                <a:gd name="connsiteY0" fmla="*/ 355025 h 367665"/>
                <a:gd name="connsiteX1" fmla="*/ 620694 w 634460"/>
                <a:gd name="connsiteY1" fmla="*/ 353024 h 367665"/>
                <a:gd name="connsiteX2" fmla="*/ 634124 w 634460"/>
                <a:gd name="connsiteY2" fmla="*/ 348738 h 367665"/>
                <a:gd name="connsiteX3" fmla="*/ 30525 w 634460"/>
                <a:gd name="connsiteY3" fmla="*/ -163 h 367665"/>
                <a:gd name="connsiteX4" fmla="*/ 27191 w 634460"/>
                <a:gd name="connsiteY4" fmla="*/ -163 h 367665"/>
                <a:gd name="connsiteX5" fmla="*/ 26715 w 634460"/>
                <a:gd name="connsiteY5" fmla="*/ -163 h 367665"/>
                <a:gd name="connsiteX6" fmla="*/ 21285 w 634460"/>
                <a:gd name="connsiteY6" fmla="*/ 1838 h 367665"/>
                <a:gd name="connsiteX7" fmla="*/ 19666 w 634460"/>
                <a:gd name="connsiteY7" fmla="*/ 2695 h 367665"/>
                <a:gd name="connsiteX8" fmla="*/ 17095 w 634460"/>
                <a:gd name="connsiteY8" fmla="*/ 4028 h 367665"/>
                <a:gd name="connsiteX9" fmla="*/ 13665 w 634460"/>
                <a:gd name="connsiteY9" fmla="*/ 6029 h 367665"/>
                <a:gd name="connsiteX10" fmla="*/ -336 w 634460"/>
                <a:gd name="connsiteY10" fmla="*/ 18983 h 367665"/>
                <a:gd name="connsiteX11" fmla="*/ 603263 w 634460"/>
                <a:gd name="connsiteY11" fmla="*/ 367502 h 367665"/>
                <a:gd name="connsiteX12" fmla="*/ 617265 w 634460"/>
                <a:gd name="connsiteY12" fmla="*/ 355025 h 3676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34460" h="367665">
                  <a:moveTo>
                    <a:pt x="617265" y="355025"/>
                  </a:moveTo>
                  <a:lnTo>
                    <a:pt x="620694" y="353024"/>
                  </a:lnTo>
                  <a:cubicBezTo>
                    <a:pt x="627075" y="349405"/>
                    <a:pt x="632409" y="347786"/>
                    <a:pt x="634124" y="348738"/>
                  </a:cubicBezTo>
                  <a:lnTo>
                    <a:pt x="30525" y="-163"/>
                  </a:lnTo>
                  <a:lnTo>
                    <a:pt x="27191" y="-163"/>
                  </a:lnTo>
                  <a:lnTo>
                    <a:pt x="26715" y="-163"/>
                  </a:lnTo>
                  <a:cubicBezTo>
                    <a:pt x="24848" y="342"/>
                    <a:pt x="23029" y="1009"/>
                    <a:pt x="21285" y="1838"/>
                  </a:cubicBezTo>
                  <a:cubicBezTo>
                    <a:pt x="20705" y="2047"/>
                    <a:pt x="20162" y="2333"/>
                    <a:pt x="19666" y="2695"/>
                  </a:cubicBezTo>
                  <a:lnTo>
                    <a:pt x="17095" y="4028"/>
                  </a:lnTo>
                  <a:lnTo>
                    <a:pt x="13665" y="6029"/>
                  </a:lnTo>
                  <a:cubicBezTo>
                    <a:pt x="5950" y="10505"/>
                    <a:pt x="-336" y="16316"/>
                    <a:pt x="-336" y="18983"/>
                  </a:cubicBezTo>
                  <a:lnTo>
                    <a:pt x="603263" y="367502"/>
                  </a:lnTo>
                  <a:cubicBezTo>
                    <a:pt x="603263" y="365312"/>
                    <a:pt x="609549" y="359501"/>
                    <a:pt x="617265" y="355025"/>
                  </a:cubicBezTo>
                  <a:close/>
                </a:path>
              </a:pathLst>
            </a:custGeom>
            <a:solidFill>
              <a:srgbClr val="FF7D33"/>
            </a:solidFill>
            <a:ln w="9525" cap="flat">
              <a:noFill/>
              <a:prstDash val="solid"/>
              <a:miter/>
            </a:ln>
          </p:spPr>
          <p:txBody>
            <a:bodyPr rtlCol="0" anchor="ctr"/>
            <a:lstStyle/>
            <a:p>
              <a:endParaRPr lang="zh-CN" altLang="en-US"/>
            </a:p>
          </p:txBody>
        </p:sp>
        <p:sp>
          <p:nvSpPr>
            <p:cNvPr id="504" name="i$ḻiďe">
              <a:extLst>
                <a:ext uri="{FF2B5EF4-FFF2-40B4-BE49-F238E27FC236}">
                  <a16:creationId xmlns:a16="http://schemas.microsoft.com/office/drawing/2014/main" id="{D948C81B-9BC4-456B-95C3-CF00072A1BAD}"/>
                </a:ext>
              </a:extLst>
            </p:cNvPr>
            <p:cNvSpPr/>
            <p:nvPr/>
          </p:nvSpPr>
          <p:spPr>
            <a:xfrm>
              <a:off x="7437716" y="3069702"/>
              <a:ext cx="97707" cy="1739361"/>
            </a:xfrm>
            <a:custGeom>
              <a:avLst/>
              <a:gdLst>
                <a:gd name="connsiteX0" fmla="*/ 18333 w 32099"/>
                <a:gd name="connsiteY0" fmla="*/ 564956 h 571420"/>
                <a:gd name="connsiteX1" fmla="*/ 21857 w 32099"/>
                <a:gd name="connsiteY1" fmla="*/ 562956 h 571420"/>
                <a:gd name="connsiteX2" fmla="*/ 24810 w 32099"/>
                <a:gd name="connsiteY2" fmla="*/ 561146 h 571420"/>
                <a:gd name="connsiteX3" fmla="*/ 25572 w 32099"/>
                <a:gd name="connsiteY3" fmla="*/ 560574 h 571420"/>
                <a:gd name="connsiteX4" fmla="*/ 25572 w 32099"/>
                <a:gd name="connsiteY4" fmla="*/ 560574 h 571420"/>
                <a:gd name="connsiteX5" fmla="*/ 26239 w 32099"/>
                <a:gd name="connsiteY5" fmla="*/ 560003 h 571420"/>
                <a:gd name="connsiteX6" fmla="*/ 28620 w 32099"/>
                <a:gd name="connsiteY6" fmla="*/ 558193 h 571420"/>
                <a:gd name="connsiteX7" fmla="*/ 29286 w 32099"/>
                <a:gd name="connsiteY7" fmla="*/ 557622 h 571420"/>
                <a:gd name="connsiteX8" fmla="*/ 29953 w 32099"/>
                <a:gd name="connsiteY8" fmla="*/ 556955 h 571420"/>
                <a:gd name="connsiteX9" fmla="*/ 29953 w 32099"/>
                <a:gd name="connsiteY9" fmla="*/ 556955 h 571420"/>
                <a:gd name="connsiteX10" fmla="*/ 30430 w 32099"/>
                <a:gd name="connsiteY10" fmla="*/ 556478 h 571420"/>
                <a:gd name="connsiteX11" fmla="*/ 30430 w 32099"/>
                <a:gd name="connsiteY11" fmla="*/ 556478 h 571420"/>
                <a:gd name="connsiteX12" fmla="*/ 31763 w 32099"/>
                <a:gd name="connsiteY12" fmla="*/ 554097 h 571420"/>
                <a:gd name="connsiteX13" fmla="*/ 31763 w 32099"/>
                <a:gd name="connsiteY13" fmla="*/ 554097 h 571420"/>
                <a:gd name="connsiteX14" fmla="*/ 31763 w 32099"/>
                <a:gd name="connsiteY14" fmla="*/ -163 h 571420"/>
                <a:gd name="connsiteX15" fmla="*/ 21285 w 32099"/>
                <a:gd name="connsiteY15" fmla="*/ 9362 h 571420"/>
                <a:gd name="connsiteX16" fmla="*/ 17856 w 32099"/>
                <a:gd name="connsiteY16" fmla="*/ 11363 h 571420"/>
                <a:gd name="connsiteX17" fmla="*/ -336 w 32099"/>
                <a:gd name="connsiteY17" fmla="*/ 16982 h 571420"/>
                <a:gd name="connsiteX18" fmla="*/ -336 w 32099"/>
                <a:gd name="connsiteY18" fmla="*/ 571147 h 571420"/>
                <a:gd name="connsiteX19" fmla="*/ -336 w 32099"/>
                <a:gd name="connsiteY19" fmla="*/ 571147 h 571420"/>
                <a:gd name="connsiteX20" fmla="*/ 18333 w 32099"/>
                <a:gd name="connsiteY20" fmla="*/ 564956 h 571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2099" h="571420">
                  <a:moveTo>
                    <a:pt x="18333" y="564956"/>
                  </a:moveTo>
                  <a:lnTo>
                    <a:pt x="21857" y="562956"/>
                  </a:lnTo>
                  <a:lnTo>
                    <a:pt x="24810" y="561146"/>
                  </a:lnTo>
                  <a:lnTo>
                    <a:pt x="25572" y="560574"/>
                  </a:lnTo>
                  <a:lnTo>
                    <a:pt x="25572" y="560574"/>
                  </a:lnTo>
                  <a:lnTo>
                    <a:pt x="26239" y="560003"/>
                  </a:lnTo>
                  <a:lnTo>
                    <a:pt x="28620" y="558193"/>
                  </a:lnTo>
                  <a:lnTo>
                    <a:pt x="29286" y="557622"/>
                  </a:lnTo>
                  <a:lnTo>
                    <a:pt x="29953" y="556955"/>
                  </a:lnTo>
                  <a:lnTo>
                    <a:pt x="29953" y="556955"/>
                  </a:lnTo>
                  <a:cubicBezTo>
                    <a:pt x="29953" y="556955"/>
                    <a:pt x="29953" y="556955"/>
                    <a:pt x="30430" y="556478"/>
                  </a:cubicBezTo>
                  <a:lnTo>
                    <a:pt x="30430" y="556478"/>
                  </a:lnTo>
                  <a:cubicBezTo>
                    <a:pt x="31087" y="555821"/>
                    <a:pt x="31544" y="555002"/>
                    <a:pt x="31763" y="554097"/>
                  </a:cubicBezTo>
                  <a:lnTo>
                    <a:pt x="31763" y="554097"/>
                  </a:lnTo>
                  <a:cubicBezTo>
                    <a:pt x="31763" y="321116"/>
                    <a:pt x="31763" y="232819"/>
                    <a:pt x="31763" y="-163"/>
                  </a:cubicBezTo>
                  <a:cubicBezTo>
                    <a:pt x="31763" y="1838"/>
                    <a:pt x="27667" y="5648"/>
                    <a:pt x="21285" y="9362"/>
                  </a:cubicBezTo>
                  <a:lnTo>
                    <a:pt x="17856" y="11363"/>
                  </a:lnTo>
                  <a:cubicBezTo>
                    <a:pt x="10046" y="15744"/>
                    <a:pt x="1950" y="18316"/>
                    <a:pt x="-336" y="16982"/>
                  </a:cubicBezTo>
                  <a:cubicBezTo>
                    <a:pt x="-336" y="249869"/>
                    <a:pt x="-336" y="338261"/>
                    <a:pt x="-336" y="571147"/>
                  </a:cubicBezTo>
                  <a:lnTo>
                    <a:pt x="-336" y="571147"/>
                  </a:lnTo>
                  <a:cubicBezTo>
                    <a:pt x="2331" y="571814"/>
                    <a:pt x="10713" y="569432"/>
                    <a:pt x="18333" y="564956"/>
                  </a:cubicBezTo>
                  <a:close/>
                </a:path>
              </a:pathLst>
            </a:custGeom>
            <a:solidFill>
              <a:srgbClr val="BF4200"/>
            </a:solidFill>
            <a:ln w="9525" cap="flat">
              <a:noFill/>
              <a:prstDash val="solid"/>
              <a:miter/>
            </a:ln>
          </p:spPr>
          <p:txBody>
            <a:bodyPr rtlCol="0" anchor="ctr"/>
            <a:lstStyle/>
            <a:p>
              <a:endParaRPr lang="zh-CN" altLang="en-US"/>
            </a:p>
          </p:txBody>
        </p:sp>
        <p:sp>
          <p:nvSpPr>
            <p:cNvPr id="505" name="îśľiḋe">
              <a:extLst>
                <a:ext uri="{FF2B5EF4-FFF2-40B4-BE49-F238E27FC236}">
                  <a16:creationId xmlns:a16="http://schemas.microsoft.com/office/drawing/2014/main" id="{9D35F7AB-9D77-4819-91AE-D2DE743D501A}"/>
                </a:ext>
              </a:extLst>
            </p:cNvPr>
            <p:cNvSpPr/>
            <p:nvPr/>
          </p:nvSpPr>
          <p:spPr>
            <a:xfrm>
              <a:off x="5452829" y="1919241"/>
              <a:ext cx="1985758" cy="2934488"/>
            </a:xfrm>
            <a:custGeom>
              <a:avLst/>
              <a:gdLst>
                <a:gd name="connsiteX0" fmla="*/ 6712 w 652367"/>
                <a:gd name="connsiteY0" fmla="*/ 593818 h 964047"/>
                <a:gd name="connsiteX1" fmla="*/ 22428 w 652367"/>
                <a:gd name="connsiteY1" fmla="*/ 611153 h 964047"/>
                <a:gd name="connsiteX2" fmla="*/ 24048 w 652367"/>
                <a:gd name="connsiteY2" fmla="*/ 612106 h 964047"/>
                <a:gd name="connsiteX3" fmla="*/ 627552 w 652367"/>
                <a:gd name="connsiteY3" fmla="*/ 960530 h 964047"/>
                <a:gd name="connsiteX4" fmla="*/ 652031 w 652367"/>
                <a:gd name="connsiteY4" fmla="*/ 946433 h 964047"/>
                <a:gd name="connsiteX5" fmla="*/ 652031 w 652367"/>
                <a:gd name="connsiteY5" fmla="*/ 393983 h 964047"/>
                <a:gd name="connsiteX6" fmla="*/ 652031 w 652367"/>
                <a:gd name="connsiteY6" fmla="*/ 392174 h 964047"/>
                <a:gd name="connsiteX7" fmla="*/ 644887 w 652367"/>
                <a:gd name="connsiteY7" fmla="*/ 369885 h 964047"/>
                <a:gd name="connsiteX8" fmla="*/ 627647 w 652367"/>
                <a:gd name="connsiteY8" fmla="*/ 351597 h 964047"/>
                <a:gd name="connsiteX9" fmla="*/ 24143 w 652367"/>
                <a:gd name="connsiteY9" fmla="*/ 3173 h 964047"/>
                <a:gd name="connsiteX10" fmla="*/ -336 w 652367"/>
                <a:gd name="connsiteY10" fmla="*/ 17365 h 964047"/>
                <a:gd name="connsiteX11" fmla="*/ -336 w 652367"/>
                <a:gd name="connsiteY11" fmla="*/ 569815 h 964047"/>
                <a:gd name="connsiteX12" fmla="*/ 6712 w 652367"/>
                <a:gd name="connsiteY12" fmla="*/ 593818 h 9640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2367" h="964047">
                  <a:moveTo>
                    <a:pt x="6712" y="593818"/>
                  </a:moveTo>
                  <a:cubicBezTo>
                    <a:pt x="10570" y="600714"/>
                    <a:pt x="15951" y="606639"/>
                    <a:pt x="22428" y="611153"/>
                  </a:cubicBezTo>
                  <a:lnTo>
                    <a:pt x="24048" y="612106"/>
                  </a:lnTo>
                  <a:lnTo>
                    <a:pt x="627552" y="960530"/>
                  </a:lnTo>
                  <a:cubicBezTo>
                    <a:pt x="641077" y="968341"/>
                    <a:pt x="652031" y="962054"/>
                    <a:pt x="652031" y="946433"/>
                  </a:cubicBezTo>
                  <a:lnTo>
                    <a:pt x="652031" y="393983"/>
                  </a:lnTo>
                  <a:cubicBezTo>
                    <a:pt x="651983" y="393383"/>
                    <a:pt x="651983" y="392774"/>
                    <a:pt x="652031" y="392174"/>
                  </a:cubicBezTo>
                  <a:cubicBezTo>
                    <a:pt x="651412" y="384287"/>
                    <a:pt x="648964" y="376657"/>
                    <a:pt x="644887" y="369885"/>
                  </a:cubicBezTo>
                  <a:cubicBezTo>
                    <a:pt x="640791" y="362418"/>
                    <a:pt x="634857" y="356122"/>
                    <a:pt x="627647" y="351597"/>
                  </a:cubicBezTo>
                  <a:lnTo>
                    <a:pt x="24143" y="3173"/>
                  </a:lnTo>
                  <a:cubicBezTo>
                    <a:pt x="10617" y="-4638"/>
                    <a:pt x="-336" y="1744"/>
                    <a:pt x="-336" y="17365"/>
                  </a:cubicBezTo>
                  <a:lnTo>
                    <a:pt x="-336" y="569815"/>
                  </a:lnTo>
                  <a:cubicBezTo>
                    <a:pt x="-89" y="578292"/>
                    <a:pt x="2340" y="586560"/>
                    <a:pt x="6712" y="593818"/>
                  </a:cubicBezTo>
                  <a:close/>
                </a:path>
              </a:pathLst>
            </a:custGeom>
            <a:solidFill>
              <a:srgbClr val="D9530B"/>
            </a:solidFill>
            <a:ln w="9525" cap="flat">
              <a:noFill/>
              <a:prstDash val="solid"/>
              <a:miter/>
            </a:ln>
          </p:spPr>
          <p:txBody>
            <a:bodyPr rtlCol="0" anchor="ctr"/>
            <a:lstStyle/>
            <a:p>
              <a:endParaRPr lang="zh-CN" altLang="en-US"/>
            </a:p>
          </p:txBody>
        </p:sp>
        <p:sp>
          <p:nvSpPr>
            <p:cNvPr id="506" name="ïš1îďe">
              <a:extLst>
                <a:ext uri="{FF2B5EF4-FFF2-40B4-BE49-F238E27FC236}">
                  <a16:creationId xmlns:a16="http://schemas.microsoft.com/office/drawing/2014/main" id="{1A2F6992-CF15-4266-92E2-8C627E6C1CC4}"/>
                </a:ext>
              </a:extLst>
            </p:cNvPr>
            <p:cNvSpPr/>
            <p:nvPr/>
          </p:nvSpPr>
          <p:spPr>
            <a:xfrm>
              <a:off x="5540969" y="2067691"/>
              <a:ext cx="1810348" cy="2427035"/>
            </a:xfrm>
            <a:custGeom>
              <a:avLst/>
              <a:gdLst>
                <a:gd name="connsiteX0" fmla="*/ 594741 w 594741"/>
                <a:gd name="connsiteY0" fmla="*/ 797338 h 797337"/>
                <a:gd name="connsiteX1" fmla="*/ 594741 w 594741"/>
                <a:gd name="connsiteY1" fmla="*/ 343376 h 797337"/>
                <a:gd name="connsiteX2" fmla="*/ 0 w 594741"/>
                <a:gd name="connsiteY2" fmla="*/ 0 h 797337"/>
                <a:gd name="connsiteX3" fmla="*/ 0 w 594741"/>
                <a:gd name="connsiteY3" fmla="*/ 453962 h 797337"/>
                <a:gd name="connsiteX4" fmla="*/ 594741 w 594741"/>
                <a:gd name="connsiteY4" fmla="*/ 797338 h 7973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4741" h="797337">
                  <a:moveTo>
                    <a:pt x="594741" y="797338"/>
                  </a:moveTo>
                  <a:lnTo>
                    <a:pt x="594741" y="343376"/>
                  </a:lnTo>
                  <a:lnTo>
                    <a:pt x="0" y="0"/>
                  </a:lnTo>
                  <a:lnTo>
                    <a:pt x="0" y="453962"/>
                  </a:lnTo>
                  <a:lnTo>
                    <a:pt x="594741" y="797338"/>
                  </a:lnTo>
                  <a:close/>
                </a:path>
              </a:pathLst>
            </a:custGeom>
            <a:solidFill>
              <a:srgbClr val="73A1FF"/>
            </a:solidFill>
            <a:ln w="9525" cap="flat">
              <a:noFill/>
              <a:prstDash val="solid"/>
              <a:miter/>
            </a:ln>
          </p:spPr>
          <p:txBody>
            <a:bodyPr rtlCol="0" anchor="ctr"/>
            <a:lstStyle/>
            <a:p>
              <a:endParaRPr lang="zh-CN" altLang="en-US"/>
            </a:p>
          </p:txBody>
        </p:sp>
        <p:sp>
          <p:nvSpPr>
            <p:cNvPr id="507" name="íş1iďè">
              <a:extLst>
                <a:ext uri="{FF2B5EF4-FFF2-40B4-BE49-F238E27FC236}">
                  <a16:creationId xmlns:a16="http://schemas.microsoft.com/office/drawing/2014/main" id="{A118FC89-23AF-42C9-B170-C7BDECAA3B9B}"/>
                </a:ext>
              </a:extLst>
            </p:cNvPr>
            <p:cNvSpPr/>
            <p:nvPr/>
          </p:nvSpPr>
          <p:spPr>
            <a:xfrm>
              <a:off x="6426426" y="2495140"/>
              <a:ext cx="39720" cy="50864"/>
            </a:xfrm>
            <a:custGeom>
              <a:avLst/>
              <a:gdLst>
                <a:gd name="connsiteX0" fmla="*/ 6236 w 13049"/>
                <a:gd name="connsiteY0" fmla="*/ 15716 h 16710"/>
                <a:gd name="connsiteX1" fmla="*/ 12713 w 13049"/>
                <a:gd name="connsiteY1" fmla="*/ 12002 h 16710"/>
                <a:gd name="connsiteX2" fmla="*/ 6236 w 13049"/>
                <a:gd name="connsiteY2" fmla="*/ 667 h 16710"/>
                <a:gd name="connsiteX3" fmla="*/ -336 w 13049"/>
                <a:gd name="connsiteY3" fmla="*/ 4477 h 16710"/>
                <a:gd name="connsiteX4" fmla="*/ 6236 w 13049"/>
                <a:gd name="connsiteY4" fmla="*/ 15716 h 167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49" h="16710">
                  <a:moveTo>
                    <a:pt x="6236" y="15716"/>
                  </a:moveTo>
                  <a:cubicBezTo>
                    <a:pt x="9760" y="17812"/>
                    <a:pt x="12713" y="15716"/>
                    <a:pt x="12713" y="12002"/>
                  </a:cubicBezTo>
                  <a:cubicBezTo>
                    <a:pt x="12446" y="7420"/>
                    <a:pt x="10046" y="3220"/>
                    <a:pt x="6236" y="667"/>
                  </a:cubicBezTo>
                  <a:cubicBezTo>
                    <a:pt x="2616" y="-1429"/>
                    <a:pt x="-336" y="667"/>
                    <a:pt x="-336" y="4477"/>
                  </a:cubicBezTo>
                  <a:cubicBezTo>
                    <a:pt x="-51" y="9049"/>
                    <a:pt x="2388" y="13221"/>
                    <a:pt x="6236" y="15716"/>
                  </a:cubicBezTo>
                  <a:close/>
                </a:path>
              </a:pathLst>
            </a:custGeom>
            <a:solidFill>
              <a:srgbClr val="BF4200"/>
            </a:solidFill>
            <a:ln w="9525" cap="flat">
              <a:noFill/>
              <a:prstDash val="solid"/>
              <a:miter/>
            </a:ln>
          </p:spPr>
          <p:txBody>
            <a:bodyPr rtlCol="0" anchor="ctr"/>
            <a:lstStyle/>
            <a:p>
              <a:endParaRPr lang="zh-CN" altLang="en-US"/>
            </a:p>
          </p:txBody>
        </p:sp>
        <p:sp>
          <p:nvSpPr>
            <p:cNvPr id="508" name="íṣḻïḑé">
              <a:extLst>
                <a:ext uri="{FF2B5EF4-FFF2-40B4-BE49-F238E27FC236}">
                  <a16:creationId xmlns:a16="http://schemas.microsoft.com/office/drawing/2014/main" id="{65347974-4BE3-42EE-BEC7-37BE5AABB5D8}"/>
                </a:ext>
              </a:extLst>
            </p:cNvPr>
            <p:cNvSpPr/>
            <p:nvPr/>
          </p:nvSpPr>
          <p:spPr>
            <a:xfrm>
              <a:off x="6433966" y="2504747"/>
              <a:ext cx="24644" cy="31642"/>
            </a:xfrm>
            <a:custGeom>
              <a:avLst/>
              <a:gdLst>
                <a:gd name="connsiteX0" fmla="*/ 3759 w 8096"/>
                <a:gd name="connsiteY0" fmla="*/ 9703 h 10395"/>
                <a:gd name="connsiteX1" fmla="*/ 7760 w 8096"/>
                <a:gd name="connsiteY1" fmla="*/ 7416 h 10395"/>
                <a:gd name="connsiteX2" fmla="*/ 3759 w 8096"/>
                <a:gd name="connsiteY2" fmla="*/ 368 h 10395"/>
                <a:gd name="connsiteX3" fmla="*/ -336 w 8096"/>
                <a:gd name="connsiteY3" fmla="*/ 2654 h 10395"/>
                <a:gd name="connsiteX4" fmla="*/ 3759 w 8096"/>
                <a:gd name="connsiteY4" fmla="*/ 9703 h 103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96" h="10395">
                  <a:moveTo>
                    <a:pt x="3759" y="9703"/>
                  </a:moveTo>
                  <a:cubicBezTo>
                    <a:pt x="5950" y="11036"/>
                    <a:pt x="7760" y="9703"/>
                    <a:pt x="7760" y="7416"/>
                  </a:cubicBezTo>
                  <a:cubicBezTo>
                    <a:pt x="7645" y="4559"/>
                    <a:pt x="6150" y="1930"/>
                    <a:pt x="3759" y="368"/>
                  </a:cubicBezTo>
                  <a:cubicBezTo>
                    <a:pt x="1473" y="-965"/>
                    <a:pt x="-336" y="368"/>
                    <a:pt x="-336" y="2654"/>
                  </a:cubicBezTo>
                  <a:cubicBezTo>
                    <a:pt x="-213" y="5531"/>
                    <a:pt x="1321" y="8169"/>
                    <a:pt x="3759" y="9703"/>
                  </a:cubicBezTo>
                  <a:close/>
                </a:path>
              </a:pathLst>
            </a:custGeom>
            <a:solidFill>
              <a:srgbClr val="171A42"/>
            </a:solidFill>
            <a:ln w="9525" cap="flat">
              <a:noFill/>
              <a:prstDash val="solid"/>
              <a:miter/>
            </a:ln>
          </p:spPr>
          <p:txBody>
            <a:bodyPr rtlCol="0" anchor="ctr"/>
            <a:lstStyle/>
            <a:p>
              <a:endParaRPr lang="zh-CN" altLang="en-US"/>
            </a:p>
          </p:txBody>
        </p:sp>
        <p:sp>
          <p:nvSpPr>
            <p:cNvPr id="509" name="îṩľíďè">
              <a:extLst>
                <a:ext uri="{FF2B5EF4-FFF2-40B4-BE49-F238E27FC236}">
                  <a16:creationId xmlns:a16="http://schemas.microsoft.com/office/drawing/2014/main" id="{0F4358EA-5312-4CB5-9F14-ABCCE4D7417F}"/>
                </a:ext>
              </a:extLst>
            </p:cNvPr>
            <p:cNvSpPr/>
            <p:nvPr/>
          </p:nvSpPr>
          <p:spPr>
            <a:xfrm>
              <a:off x="5453100" y="1919957"/>
              <a:ext cx="1987164" cy="2935252"/>
            </a:xfrm>
            <a:custGeom>
              <a:avLst/>
              <a:gdLst>
                <a:gd name="connsiteX0" fmla="*/ 9005 w 652829"/>
                <a:gd name="connsiteY0" fmla="*/ 4938 h 964298"/>
                <a:gd name="connsiteX1" fmla="*/ 25388 w 652829"/>
                <a:gd name="connsiteY1" fmla="*/ 6557 h 964298"/>
                <a:gd name="connsiteX2" fmla="*/ 628891 w 652829"/>
                <a:gd name="connsiteY2" fmla="*/ 354791 h 964298"/>
                <a:gd name="connsiteX3" fmla="*/ 643846 w 652829"/>
                <a:gd name="connsiteY3" fmla="*/ 370222 h 964298"/>
                <a:gd name="connsiteX4" fmla="*/ 649751 w 652829"/>
                <a:gd name="connsiteY4" fmla="*/ 389272 h 964298"/>
                <a:gd name="connsiteX5" fmla="*/ 649751 w 652829"/>
                <a:gd name="connsiteY5" fmla="*/ 943246 h 964298"/>
                <a:gd name="connsiteX6" fmla="*/ 642893 w 652829"/>
                <a:gd name="connsiteY6" fmla="*/ 958295 h 964298"/>
                <a:gd name="connsiteX7" fmla="*/ 626510 w 652829"/>
                <a:gd name="connsiteY7" fmla="*/ 956676 h 964298"/>
                <a:gd name="connsiteX8" fmla="*/ 23006 w 652829"/>
                <a:gd name="connsiteY8" fmla="*/ 608251 h 964298"/>
                <a:gd name="connsiteX9" fmla="*/ 21578 w 652829"/>
                <a:gd name="connsiteY9" fmla="*/ 607394 h 964298"/>
                <a:gd name="connsiteX10" fmla="*/ 8147 w 652829"/>
                <a:gd name="connsiteY10" fmla="*/ 592821 h 964298"/>
                <a:gd name="connsiteX11" fmla="*/ 2147 w 652829"/>
                <a:gd name="connsiteY11" fmla="*/ 572152 h 964298"/>
                <a:gd name="connsiteX12" fmla="*/ 2147 w 652829"/>
                <a:gd name="connsiteY12" fmla="*/ 19702 h 964298"/>
                <a:gd name="connsiteX13" fmla="*/ 9005 w 652829"/>
                <a:gd name="connsiteY13" fmla="*/ 4652 h 964298"/>
                <a:gd name="connsiteX14" fmla="*/ 6909 w 652829"/>
                <a:gd name="connsiteY14" fmla="*/ 1318 h 964298"/>
                <a:gd name="connsiteX15" fmla="*/ -235 w 652829"/>
                <a:gd name="connsiteY15" fmla="*/ 17225 h 964298"/>
                <a:gd name="connsiteX16" fmla="*/ -235 w 652829"/>
                <a:gd name="connsiteY16" fmla="*/ 569675 h 964298"/>
                <a:gd name="connsiteX17" fmla="*/ 6909 w 652829"/>
                <a:gd name="connsiteY17" fmla="*/ 593773 h 964298"/>
                <a:gd name="connsiteX18" fmla="*/ 22625 w 652829"/>
                <a:gd name="connsiteY18" fmla="*/ 611109 h 964298"/>
                <a:gd name="connsiteX19" fmla="*/ 24245 w 652829"/>
                <a:gd name="connsiteY19" fmla="*/ 612061 h 964298"/>
                <a:gd name="connsiteX20" fmla="*/ 627748 w 652829"/>
                <a:gd name="connsiteY20" fmla="*/ 960486 h 964298"/>
                <a:gd name="connsiteX21" fmla="*/ 648846 w 652829"/>
                <a:gd name="connsiteY21" fmla="*/ 958971 h 964298"/>
                <a:gd name="connsiteX22" fmla="*/ 652228 w 652829"/>
                <a:gd name="connsiteY22" fmla="*/ 946389 h 964298"/>
                <a:gd name="connsiteX23" fmla="*/ 652228 w 652829"/>
                <a:gd name="connsiteY23" fmla="*/ 393939 h 964298"/>
                <a:gd name="connsiteX24" fmla="*/ 652228 w 652829"/>
                <a:gd name="connsiteY24" fmla="*/ 392129 h 964298"/>
                <a:gd name="connsiteX25" fmla="*/ 645084 w 652829"/>
                <a:gd name="connsiteY25" fmla="*/ 369841 h 964298"/>
                <a:gd name="connsiteX26" fmla="*/ 627844 w 652829"/>
                <a:gd name="connsiteY26" fmla="*/ 351553 h 964298"/>
                <a:gd name="connsiteX27" fmla="*/ 24340 w 652829"/>
                <a:gd name="connsiteY27" fmla="*/ 3128 h 964298"/>
                <a:gd name="connsiteX28" fmla="*/ 7004 w 652829"/>
                <a:gd name="connsiteY28" fmla="*/ 1414 h 964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652829" h="964298">
                  <a:moveTo>
                    <a:pt x="9005" y="4938"/>
                  </a:moveTo>
                  <a:cubicBezTo>
                    <a:pt x="14367" y="2519"/>
                    <a:pt x="20606" y="3128"/>
                    <a:pt x="25388" y="6557"/>
                  </a:cubicBezTo>
                  <a:lnTo>
                    <a:pt x="628891" y="354791"/>
                  </a:lnTo>
                  <a:cubicBezTo>
                    <a:pt x="635102" y="358592"/>
                    <a:pt x="640245" y="363897"/>
                    <a:pt x="643846" y="370222"/>
                  </a:cubicBezTo>
                  <a:cubicBezTo>
                    <a:pt x="647208" y="376051"/>
                    <a:pt x="649227" y="382566"/>
                    <a:pt x="649751" y="389272"/>
                  </a:cubicBezTo>
                  <a:lnTo>
                    <a:pt x="649751" y="943246"/>
                  </a:lnTo>
                  <a:cubicBezTo>
                    <a:pt x="650370" y="949132"/>
                    <a:pt x="647741" y="954895"/>
                    <a:pt x="642893" y="958295"/>
                  </a:cubicBezTo>
                  <a:cubicBezTo>
                    <a:pt x="637550" y="960800"/>
                    <a:pt x="631263" y="960181"/>
                    <a:pt x="626510" y="956676"/>
                  </a:cubicBezTo>
                  <a:lnTo>
                    <a:pt x="23006" y="608251"/>
                  </a:lnTo>
                  <a:lnTo>
                    <a:pt x="21578" y="607394"/>
                  </a:lnTo>
                  <a:cubicBezTo>
                    <a:pt x="16034" y="603641"/>
                    <a:pt x="11433" y="598650"/>
                    <a:pt x="8147" y="592821"/>
                  </a:cubicBezTo>
                  <a:cubicBezTo>
                    <a:pt x="4375" y="586573"/>
                    <a:pt x="2308" y="579448"/>
                    <a:pt x="2147" y="572152"/>
                  </a:cubicBezTo>
                  <a:lnTo>
                    <a:pt x="2147" y="19702"/>
                  </a:lnTo>
                  <a:cubicBezTo>
                    <a:pt x="1565" y="13815"/>
                    <a:pt x="4185" y="8072"/>
                    <a:pt x="9005" y="4652"/>
                  </a:cubicBezTo>
                  <a:close/>
                  <a:moveTo>
                    <a:pt x="6909" y="1318"/>
                  </a:moveTo>
                  <a:cubicBezTo>
                    <a:pt x="1823" y="4938"/>
                    <a:pt x="-911" y="11024"/>
                    <a:pt x="-235" y="17225"/>
                  </a:cubicBezTo>
                  <a:lnTo>
                    <a:pt x="-235" y="569675"/>
                  </a:lnTo>
                  <a:cubicBezTo>
                    <a:pt x="23" y="578191"/>
                    <a:pt x="2480" y="586496"/>
                    <a:pt x="6909" y="593773"/>
                  </a:cubicBezTo>
                  <a:cubicBezTo>
                    <a:pt x="10767" y="600670"/>
                    <a:pt x="16148" y="606594"/>
                    <a:pt x="22625" y="611109"/>
                  </a:cubicBezTo>
                  <a:lnTo>
                    <a:pt x="24245" y="612061"/>
                  </a:lnTo>
                  <a:lnTo>
                    <a:pt x="627748" y="960486"/>
                  </a:lnTo>
                  <a:cubicBezTo>
                    <a:pt x="633997" y="965896"/>
                    <a:pt x="643436" y="965210"/>
                    <a:pt x="648846" y="958971"/>
                  </a:cubicBezTo>
                  <a:cubicBezTo>
                    <a:pt x="651837" y="955514"/>
                    <a:pt x="653085" y="950875"/>
                    <a:pt x="652228" y="946389"/>
                  </a:cubicBezTo>
                  <a:lnTo>
                    <a:pt x="652228" y="393939"/>
                  </a:lnTo>
                  <a:cubicBezTo>
                    <a:pt x="652180" y="393339"/>
                    <a:pt x="652180" y="392729"/>
                    <a:pt x="652228" y="392129"/>
                  </a:cubicBezTo>
                  <a:cubicBezTo>
                    <a:pt x="651609" y="384242"/>
                    <a:pt x="649161" y="376613"/>
                    <a:pt x="645084" y="369841"/>
                  </a:cubicBezTo>
                  <a:cubicBezTo>
                    <a:pt x="640988" y="362373"/>
                    <a:pt x="635054" y="356077"/>
                    <a:pt x="627844" y="351553"/>
                  </a:cubicBezTo>
                  <a:lnTo>
                    <a:pt x="24340" y="3128"/>
                  </a:lnTo>
                  <a:cubicBezTo>
                    <a:pt x="19291" y="-539"/>
                    <a:pt x="12672" y="-1187"/>
                    <a:pt x="7004" y="1414"/>
                  </a:cubicBezTo>
                  <a:close/>
                </a:path>
              </a:pathLst>
            </a:custGeom>
            <a:solidFill>
              <a:srgbClr val="D1D9E8"/>
            </a:solidFill>
            <a:ln w="9525" cap="flat">
              <a:noFill/>
              <a:prstDash val="solid"/>
              <a:miter/>
            </a:ln>
          </p:spPr>
          <p:txBody>
            <a:bodyPr rtlCol="0" anchor="ctr"/>
            <a:lstStyle/>
            <a:p>
              <a:endParaRPr lang="zh-CN" altLang="en-US"/>
            </a:p>
          </p:txBody>
        </p:sp>
        <p:sp>
          <p:nvSpPr>
            <p:cNvPr id="510" name="ïṥḻíḍê">
              <a:extLst>
                <a:ext uri="{FF2B5EF4-FFF2-40B4-BE49-F238E27FC236}">
                  <a16:creationId xmlns:a16="http://schemas.microsoft.com/office/drawing/2014/main" id="{AA0554F0-88D8-4531-B4AA-5B83B55D4FE3}"/>
                </a:ext>
              </a:extLst>
            </p:cNvPr>
            <p:cNvSpPr/>
            <p:nvPr/>
          </p:nvSpPr>
          <p:spPr>
            <a:xfrm>
              <a:off x="5541258" y="2067694"/>
              <a:ext cx="1810348" cy="2425586"/>
            </a:xfrm>
            <a:custGeom>
              <a:avLst/>
              <a:gdLst>
                <a:gd name="connsiteX0" fmla="*/ 2045 w 594741"/>
                <a:gd name="connsiteY0" fmla="*/ 4028 h 796861"/>
                <a:gd name="connsiteX1" fmla="*/ 591928 w 594741"/>
                <a:gd name="connsiteY1" fmla="*/ 344357 h 796861"/>
                <a:gd name="connsiteX2" fmla="*/ 591928 w 594741"/>
                <a:gd name="connsiteY2" fmla="*/ 792984 h 796861"/>
                <a:gd name="connsiteX3" fmla="*/ 2045 w 594741"/>
                <a:gd name="connsiteY3" fmla="*/ 452370 h 796861"/>
                <a:gd name="connsiteX4" fmla="*/ 2045 w 594741"/>
                <a:gd name="connsiteY4" fmla="*/ 4028 h 796861"/>
                <a:gd name="connsiteX5" fmla="*/ -336 w 594741"/>
                <a:gd name="connsiteY5" fmla="*/ -163 h 796861"/>
                <a:gd name="connsiteX6" fmla="*/ -336 w 594741"/>
                <a:gd name="connsiteY6" fmla="*/ 453799 h 796861"/>
                <a:gd name="connsiteX7" fmla="*/ 594405 w 594741"/>
                <a:gd name="connsiteY7" fmla="*/ 796699 h 796861"/>
                <a:gd name="connsiteX8" fmla="*/ 594405 w 594741"/>
                <a:gd name="connsiteY8" fmla="*/ 343214 h 796861"/>
                <a:gd name="connsiteX9" fmla="*/ -336 w 594741"/>
                <a:gd name="connsiteY9" fmla="*/ 314 h 796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94741" h="796861">
                  <a:moveTo>
                    <a:pt x="2045" y="4028"/>
                  </a:moveTo>
                  <a:lnTo>
                    <a:pt x="591928" y="344357"/>
                  </a:lnTo>
                  <a:lnTo>
                    <a:pt x="591928" y="792984"/>
                  </a:lnTo>
                  <a:lnTo>
                    <a:pt x="2045" y="452370"/>
                  </a:lnTo>
                  <a:lnTo>
                    <a:pt x="2045" y="4028"/>
                  </a:lnTo>
                  <a:close/>
                  <a:moveTo>
                    <a:pt x="-336" y="-163"/>
                  </a:moveTo>
                  <a:lnTo>
                    <a:pt x="-336" y="453799"/>
                  </a:lnTo>
                  <a:lnTo>
                    <a:pt x="594405" y="796699"/>
                  </a:lnTo>
                  <a:lnTo>
                    <a:pt x="594405" y="343214"/>
                  </a:lnTo>
                  <a:lnTo>
                    <a:pt x="-336" y="314"/>
                  </a:lnTo>
                  <a:close/>
                </a:path>
              </a:pathLst>
            </a:custGeom>
            <a:solidFill>
              <a:srgbClr val="316DE6"/>
            </a:solidFill>
            <a:ln w="9525" cap="flat">
              <a:noFill/>
              <a:prstDash val="solid"/>
              <a:miter/>
            </a:ln>
          </p:spPr>
          <p:txBody>
            <a:bodyPr rtlCol="0" anchor="ctr"/>
            <a:lstStyle/>
            <a:p>
              <a:endParaRPr lang="zh-CN" altLang="en-US"/>
            </a:p>
          </p:txBody>
        </p:sp>
        <p:sp>
          <p:nvSpPr>
            <p:cNvPr id="511" name="ïsľïḍe">
              <a:extLst>
                <a:ext uri="{FF2B5EF4-FFF2-40B4-BE49-F238E27FC236}">
                  <a16:creationId xmlns:a16="http://schemas.microsoft.com/office/drawing/2014/main" id="{AC21A816-E9BB-4098-B48C-7C2C08CC55E9}"/>
                </a:ext>
              </a:extLst>
            </p:cNvPr>
            <p:cNvSpPr/>
            <p:nvPr/>
          </p:nvSpPr>
          <p:spPr>
            <a:xfrm>
              <a:off x="6693165" y="2844613"/>
              <a:ext cx="510479" cy="888747"/>
            </a:xfrm>
            <a:custGeom>
              <a:avLst/>
              <a:gdLst>
                <a:gd name="connsiteX0" fmla="*/ 167304 w 167704"/>
                <a:gd name="connsiteY0" fmla="*/ 111504 h 291974"/>
                <a:gd name="connsiteX1" fmla="*/ 167304 w 167704"/>
                <a:gd name="connsiteY1" fmla="*/ 268380 h 291974"/>
                <a:gd name="connsiteX2" fmla="*/ 160636 w 167704"/>
                <a:gd name="connsiteY2" fmla="*/ 284478 h 291974"/>
                <a:gd name="connsiteX3" fmla="*/ 158636 w 167704"/>
                <a:gd name="connsiteY3" fmla="*/ 285621 h 291974"/>
                <a:gd name="connsiteX4" fmla="*/ 147873 w 167704"/>
                <a:gd name="connsiteY4" fmla="*/ 291812 h 291974"/>
                <a:gd name="connsiteX5" fmla="*/ 152159 w 167704"/>
                <a:gd name="connsiteY5" fmla="*/ 286668 h 291974"/>
                <a:gd name="connsiteX6" fmla="*/ 154445 w 167704"/>
                <a:gd name="connsiteY6" fmla="*/ 275810 h 291974"/>
                <a:gd name="connsiteX7" fmla="*/ 154445 w 167704"/>
                <a:gd name="connsiteY7" fmla="*/ 118933 h 291974"/>
                <a:gd name="connsiteX8" fmla="*/ 152254 w 167704"/>
                <a:gd name="connsiteY8" fmla="*/ 105693 h 291974"/>
                <a:gd name="connsiteX9" fmla="*/ 128823 w 167704"/>
                <a:gd name="connsiteY9" fmla="*/ 74451 h 291974"/>
                <a:gd name="connsiteX10" fmla="*/ 17761 w 167704"/>
                <a:gd name="connsiteY10" fmla="*/ 10443 h 291974"/>
                <a:gd name="connsiteX11" fmla="*/ 7188 w 167704"/>
                <a:gd name="connsiteY11" fmla="*/ 6919 h 291974"/>
                <a:gd name="connsiteX12" fmla="*/ -336 w 167704"/>
                <a:gd name="connsiteY12" fmla="*/ 8634 h 291974"/>
                <a:gd name="connsiteX13" fmla="*/ 12046 w 167704"/>
                <a:gd name="connsiteY13" fmla="*/ 1490 h 291974"/>
                <a:gd name="connsiteX14" fmla="*/ 12046 w 167704"/>
                <a:gd name="connsiteY14" fmla="*/ 1490 h 291974"/>
                <a:gd name="connsiteX15" fmla="*/ 30239 w 167704"/>
                <a:gd name="connsiteY15" fmla="*/ 3300 h 291974"/>
                <a:gd name="connsiteX16" fmla="*/ 141205 w 167704"/>
                <a:gd name="connsiteY16" fmla="*/ 67403 h 291974"/>
                <a:gd name="connsiteX17" fmla="*/ 167304 w 167704"/>
                <a:gd name="connsiteY17" fmla="*/ 111504 h 2919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67704" h="291974">
                  <a:moveTo>
                    <a:pt x="167304" y="111504"/>
                  </a:moveTo>
                  <a:lnTo>
                    <a:pt x="167304" y="268380"/>
                  </a:lnTo>
                  <a:cubicBezTo>
                    <a:pt x="167808" y="274505"/>
                    <a:pt x="165322" y="280506"/>
                    <a:pt x="160636" y="284478"/>
                  </a:cubicBezTo>
                  <a:lnTo>
                    <a:pt x="158636" y="285621"/>
                  </a:lnTo>
                  <a:lnTo>
                    <a:pt x="147873" y="291812"/>
                  </a:lnTo>
                  <a:cubicBezTo>
                    <a:pt x="149711" y="290488"/>
                    <a:pt x="151187" y="288716"/>
                    <a:pt x="152159" y="286668"/>
                  </a:cubicBezTo>
                  <a:cubicBezTo>
                    <a:pt x="153797" y="283287"/>
                    <a:pt x="154578" y="279563"/>
                    <a:pt x="154445" y="275810"/>
                  </a:cubicBezTo>
                  <a:lnTo>
                    <a:pt x="154445" y="118933"/>
                  </a:lnTo>
                  <a:cubicBezTo>
                    <a:pt x="154397" y="114437"/>
                    <a:pt x="153664" y="109970"/>
                    <a:pt x="152254" y="105693"/>
                  </a:cubicBezTo>
                  <a:cubicBezTo>
                    <a:pt x="148358" y="92854"/>
                    <a:pt x="140062" y="81795"/>
                    <a:pt x="128823" y="74451"/>
                  </a:cubicBezTo>
                  <a:lnTo>
                    <a:pt x="17761" y="10443"/>
                  </a:lnTo>
                  <a:cubicBezTo>
                    <a:pt x="14561" y="8453"/>
                    <a:pt x="10941" y="7243"/>
                    <a:pt x="7188" y="6919"/>
                  </a:cubicBezTo>
                  <a:cubicBezTo>
                    <a:pt x="4569" y="6776"/>
                    <a:pt x="1959" y="7367"/>
                    <a:pt x="-336" y="8634"/>
                  </a:cubicBezTo>
                  <a:lnTo>
                    <a:pt x="12046" y="1490"/>
                  </a:lnTo>
                  <a:lnTo>
                    <a:pt x="12046" y="1490"/>
                  </a:lnTo>
                  <a:cubicBezTo>
                    <a:pt x="17990" y="-1244"/>
                    <a:pt x="24943" y="-549"/>
                    <a:pt x="30239" y="3300"/>
                  </a:cubicBezTo>
                  <a:lnTo>
                    <a:pt x="141205" y="67403"/>
                  </a:lnTo>
                  <a:cubicBezTo>
                    <a:pt x="156455" y="77080"/>
                    <a:pt x="166160" y="93473"/>
                    <a:pt x="167304" y="111504"/>
                  </a:cubicBezTo>
                  <a:close/>
                </a:path>
              </a:pathLst>
            </a:custGeom>
            <a:solidFill>
              <a:srgbClr val="D9530B"/>
            </a:solidFill>
            <a:ln w="9525" cap="flat">
              <a:noFill/>
              <a:prstDash val="solid"/>
              <a:miter/>
            </a:ln>
          </p:spPr>
          <p:txBody>
            <a:bodyPr rtlCol="0" anchor="ctr"/>
            <a:lstStyle/>
            <a:p>
              <a:endParaRPr lang="zh-CN" altLang="en-US"/>
            </a:p>
          </p:txBody>
        </p:sp>
        <p:sp>
          <p:nvSpPr>
            <p:cNvPr id="512" name="i$ļïďè">
              <a:extLst>
                <a:ext uri="{FF2B5EF4-FFF2-40B4-BE49-F238E27FC236}">
                  <a16:creationId xmlns:a16="http://schemas.microsoft.com/office/drawing/2014/main" id="{8293DB5B-33B0-4F7F-9AC4-F214DE8A1B7E}"/>
                </a:ext>
              </a:extLst>
            </p:cNvPr>
            <p:cNvSpPr/>
            <p:nvPr/>
          </p:nvSpPr>
          <p:spPr>
            <a:xfrm>
              <a:off x="6669977" y="2868426"/>
              <a:ext cx="494331" cy="347114"/>
            </a:xfrm>
            <a:custGeom>
              <a:avLst/>
              <a:gdLst>
                <a:gd name="connsiteX0" fmla="*/ 162063 w 162399"/>
                <a:gd name="connsiteY0" fmla="*/ 111110 h 114035"/>
                <a:gd name="connsiteX1" fmla="*/ 162063 w 162399"/>
                <a:gd name="connsiteY1" fmla="*/ 113873 h 114035"/>
                <a:gd name="connsiteX2" fmla="*/ 12616 w 162399"/>
                <a:gd name="connsiteY2" fmla="*/ 28148 h 114035"/>
                <a:gd name="connsiteX3" fmla="*/ -243 w 162399"/>
                <a:gd name="connsiteY3" fmla="*/ 20718 h 114035"/>
                <a:gd name="connsiteX4" fmla="*/ -243 w 162399"/>
                <a:gd name="connsiteY4" fmla="*/ 17861 h 114035"/>
                <a:gd name="connsiteX5" fmla="*/ 6805 w 162399"/>
                <a:gd name="connsiteY5" fmla="*/ 1573 h 114035"/>
                <a:gd name="connsiteX6" fmla="*/ 7282 w 162399"/>
                <a:gd name="connsiteY6" fmla="*/ 1573 h 114035"/>
                <a:gd name="connsiteX7" fmla="*/ 14806 w 162399"/>
                <a:gd name="connsiteY7" fmla="*/ -142 h 114035"/>
                <a:gd name="connsiteX8" fmla="*/ 25379 w 162399"/>
                <a:gd name="connsiteY8" fmla="*/ 3383 h 114035"/>
                <a:gd name="connsiteX9" fmla="*/ 136441 w 162399"/>
                <a:gd name="connsiteY9" fmla="*/ 67391 h 114035"/>
                <a:gd name="connsiteX10" fmla="*/ 159872 w 162399"/>
                <a:gd name="connsiteY10" fmla="*/ 98633 h 114035"/>
                <a:gd name="connsiteX11" fmla="*/ 162063 w 162399"/>
                <a:gd name="connsiteY11" fmla="*/ 111110 h 1140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2399" h="114035">
                  <a:moveTo>
                    <a:pt x="162063" y="111110"/>
                  </a:moveTo>
                  <a:lnTo>
                    <a:pt x="162063" y="113873"/>
                  </a:lnTo>
                  <a:lnTo>
                    <a:pt x="12616" y="28148"/>
                  </a:lnTo>
                  <a:lnTo>
                    <a:pt x="-243" y="20718"/>
                  </a:lnTo>
                  <a:lnTo>
                    <a:pt x="-243" y="17861"/>
                  </a:lnTo>
                  <a:cubicBezTo>
                    <a:pt x="-881" y="11574"/>
                    <a:pt x="1786" y="5411"/>
                    <a:pt x="6805" y="1573"/>
                  </a:cubicBezTo>
                  <a:lnTo>
                    <a:pt x="7282" y="1573"/>
                  </a:lnTo>
                  <a:cubicBezTo>
                    <a:pt x="9577" y="306"/>
                    <a:pt x="12187" y="-285"/>
                    <a:pt x="14806" y="-142"/>
                  </a:cubicBezTo>
                  <a:cubicBezTo>
                    <a:pt x="18559" y="182"/>
                    <a:pt x="22179" y="1392"/>
                    <a:pt x="25379" y="3383"/>
                  </a:cubicBezTo>
                  <a:lnTo>
                    <a:pt x="136441" y="67391"/>
                  </a:lnTo>
                  <a:cubicBezTo>
                    <a:pt x="147680" y="74734"/>
                    <a:pt x="155976" y="85793"/>
                    <a:pt x="159872" y="98633"/>
                  </a:cubicBezTo>
                  <a:cubicBezTo>
                    <a:pt x="161206" y="102662"/>
                    <a:pt x="161939" y="106862"/>
                    <a:pt x="162063" y="111110"/>
                  </a:cubicBezTo>
                  <a:close/>
                </a:path>
              </a:pathLst>
            </a:custGeom>
            <a:solidFill>
              <a:srgbClr val="FF7D33"/>
            </a:solidFill>
            <a:ln w="9525" cap="flat">
              <a:noFill/>
              <a:prstDash val="solid"/>
              <a:miter/>
            </a:ln>
          </p:spPr>
          <p:txBody>
            <a:bodyPr rtlCol="0" anchor="ctr"/>
            <a:lstStyle/>
            <a:p>
              <a:endParaRPr lang="zh-CN" altLang="en-US"/>
            </a:p>
          </p:txBody>
        </p:sp>
        <p:sp>
          <p:nvSpPr>
            <p:cNvPr id="513" name="ïslíḓè">
              <a:extLst>
                <a:ext uri="{FF2B5EF4-FFF2-40B4-BE49-F238E27FC236}">
                  <a16:creationId xmlns:a16="http://schemas.microsoft.com/office/drawing/2014/main" id="{0DC5CFFF-D522-4F38-AA96-3AB0E2F667AD}"/>
                </a:ext>
              </a:extLst>
            </p:cNvPr>
            <p:cNvSpPr/>
            <p:nvPr/>
          </p:nvSpPr>
          <p:spPr>
            <a:xfrm>
              <a:off x="6670263" y="3390952"/>
              <a:ext cx="494090" cy="349053"/>
            </a:xfrm>
            <a:custGeom>
              <a:avLst/>
              <a:gdLst>
                <a:gd name="connsiteX0" fmla="*/ 161970 w 162320"/>
                <a:gd name="connsiteY0" fmla="*/ 93468 h 114672"/>
                <a:gd name="connsiteX1" fmla="*/ 161970 w 162320"/>
                <a:gd name="connsiteY1" fmla="*/ 96326 h 114672"/>
                <a:gd name="connsiteX2" fmla="*/ 159684 w 162320"/>
                <a:gd name="connsiteY2" fmla="*/ 107184 h 114672"/>
                <a:gd name="connsiteX3" fmla="*/ 155397 w 162320"/>
                <a:gd name="connsiteY3" fmla="*/ 112328 h 114672"/>
                <a:gd name="connsiteX4" fmla="*/ 153302 w 162320"/>
                <a:gd name="connsiteY4" fmla="*/ 113471 h 114672"/>
                <a:gd name="connsiteX5" fmla="*/ 136347 w 162320"/>
                <a:gd name="connsiteY5" fmla="*/ 111185 h 114672"/>
                <a:gd name="connsiteX6" fmla="*/ 25286 w 162320"/>
                <a:gd name="connsiteY6" fmla="*/ 47081 h 114672"/>
                <a:gd name="connsiteX7" fmla="*/ -336 w 162320"/>
                <a:gd name="connsiteY7" fmla="*/ 2600 h 114672"/>
                <a:gd name="connsiteX8" fmla="*/ -336 w 162320"/>
                <a:gd name="connsiteY8" fmla="*/ -163 h 114672"/>
                <a:gd name="connsiteX9" fmla="*/ 14713 w 162320"/>
                <a:gd name="connsiteY9" fmla="*/ 8505 h 114672"/>
                <a:gd name="connsiteX10" fmla="*/ 25762 w 162320"/>
                <a:gd name="connsiteY10" fmla="*/ 14887 h 114672"/>
                <a:gd name="connsiteX11" fmla="*/ 37002 w 162320"/>
                <a:gd name="connsiteY11" fmla="*/ 21364 h 114672"/>
                <a:gd name="connsiteX12" fmla="*/ 128823 w 162320"/>
                <a:gd name="connsiteY12" fmla="*/ 74418 h 114672"/>
                <a:gd name="connsiteX13" fmla="*/ 141491 w 162320"/>
                <a:gd name="connsiteY13" fmla="*/ 81752 h 114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2320" h="114672">
                  <a:moveTo>
                    <a:pt x="161970" y="93468"/>
                  </a:moveTo>
                  <a:lnTo>
                    <a:pt x="161970" y="96326"/>
                  </a:lnTo>
                  <a:cubicBezTo>
                    <a:pt x="162103" y="100078"/>
                    <a:pt x="161322" y="103803"/>
                    <a:pt x="159684" y="107184"/>
                  </a:cubicBezTo>
                  <a:cubicBezTo>
                    <a:pt x="158712" y="109232"/>
                    <a:pt x="157236" y="111004"/>
                    <a:pt x="155397" y="112328"/>
                  </a:cubicBezTo>
                  <a:lnTo>
                    <a:pt x="153302" y="113471"/>
                  </a:lnTo>
                  <a:cubicBezTo>
                    <a:pt x="147606" y="115433"/>
                    <a:pt x="141320" y="114585"/>
                    <a:pt x="136347" y="111185"/>
                  </a:cubicBezTo>
                  <a:lnTo>
                    <a:pt x="25286" y="47081"/>
                  </a:lnTo>
                  <a:cubicBezTo>
                    <a:pt x="10189" y="37137"/>
                    <a:pt x="692" y="20640"/>
                    <a:pt x="-336" y="2600"/>
                  </a:cubicBezTo>
                  <a:lnTo>
                    <a:pt x="-336" y="-163"/>
                  </a:lnTo>
                  <a:lnTo>
                    <a:pt x="14713" y="8505"/>
                  </a:lnTo>
                  <a:lnTo>
                    <a:pt x="25762" y="14887"/>
                  </a:lnTo>
                  <a:lnTo>
                    <a:pt x="37002" y="21364"/>
                  </a:lnTo>
                  <a:lnTo>
                    <a:pt x="128823" y="74418"/>
                  </a:lnTo>
                  <a:lnTo>
                    <a:pt x="141491" y="81752"/>
                  </a:lnTo>
                  <a:close/>
                </a:path>
              </a:pathLst>
            </a:custGeom>
            <a:solidFill>
              <a:srgbClr val="FF7D33"/>
            </a:solidFill>
            <a:ln w="9525" cap="flat">
              <a:noFill/>
              <a:prstDash val="solid"/>
              <a:miter/>
            </a:ln>
          </p:spPr>
          <p:txBody>
            <a:bodyPr rtlCol="0" anchor="ctr"/>
            <a:lstStyle/>
            <a:p>
              <a:endParaRPr lang="zh-CN" altLang="en-US"/>
            </a:p>
          </p:txBody>
        </p:sp>
        <p:sp>
          <p:nvSpPr>
            <p:cNvPr id="514" name="íŝḷïḍé">
              <a:extLst>
                <a:ext uri="{FF2B5EF4-FFF2-40B4-BE49-F238E27FC236}">
                  <a16:creationId xmlns:a16="http://schemas.microsoft.com/office/drawing/2014/main" id="{0250F932-7436-4644-B6F3-F29AF67D7F44}"/>
                </a:ext>
              </a:extLst>
            </p:cNvPr>
            <p:cNvSpPr/>
            <p:nvPr/>
          </p:nvSpPr>
          <p:spPr>
            <a:xfrm>
              <a:off x="6669971" y="2930245"/>
              <a:ext cx="494337" cy="745707"/>
            </a:xfrm>
            <a:custGeom>
              <a:avLst/>
              <a:gdLst>
                <a:gd name="connsiteX0" fmla="*/ 162401 w 162401"/>
                <a:gd name="connsiteY0" fmla="*/ 93726 h 244982"/>
                <a:gd name="connsiteX1" fmla="*/ 162401 w 162401"/>
                <a:gd name="connsiteY1" fmla="*/ 244983 h 244982"/>
                <a:gd name="connsiteX2" fmla="*/ 141922 w 162401"/>
                <a:gd name="connsiteY2" fmla="*/ 233172 h 244982"/>
                <a:gd name="connsiteX3" fmla="*/ 129254 w 162401"/>
                <a:gd name="connsiteY3" fmla="*/ 225838 h 244982"/>
                <a:gd name="connsiteX4" fmla="*/ 37433 w 162401"/>
                <a:gd name="connsiteY4" fmla="*/ 172879 h 244982"/>
                <a:gd name="connsiteX5" fmla="*/ 26194 w 162401"/>
                <a:gd name="connsiteY5" fmla="*/ 166306 h 244982"/>
                <a:gd name="connsiteX6" fmla="*/ 15050 w 162401"/>
                <a:gd name="connsiteY6" fmla="*/ 159925 h 244982"/>
                <a:gd name="connsiteX7" fmla="*/ 0 w 162401"/>
                <a:gd name="connsiteY7" fmla="*/ 151257 h 244982"/>
                <a:gd name="connsiteX8" fmla="*/ 0 w 162401"/>
                <a:gd name="connsiteY8" fmla="*/ 0 h 244982"/>
                <a:gd name="connsiteX9" fmla="*/ 12859 w 162401"/>
                <a:gd name="connsiteY9" fmla="*/ 7429 h 244982"/>
                <a:gd name="connsiteX10" fmla="*/ 162401 w 162401"/>
                <a:gd name="connsiteY10" fmla="*/ 93726 h 244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2401" h="244982">
                  <a:moveTo>
                    <a:pt x="162401" y="93726"/>
                  </a:moveTo>
                  <a:lnTo>
                    <a:pt x="162401" y="244983"/>
                  </a:lnTo>
                  <a:lnTo>
                    <a:pt x="141922" y="233172"/>
                  </a:lnTo>
                  <a:lnTo>
                    <a:pt x="129254" y="225838"/>
                  </a:lnTo>
                  <a:lnTo>
                    <a:pt x="37433" y="172879"/>
                  </a:lnTo>
                  <a:lnTo>
                    <a:pt x="26194" y="166306"/>
                  </a:lnTo>
                  <a:lnTo>
                    <a:pt x="15050" y="159925"/>
                  </a:lnTo>
                  <a:lnTo>
                    <a:pt x="0" y="151257"/>
                  </a:lnTo>
                  <a:lnTo>
                    <a:pt x="0" y="0"/>
                  </a:lnTo>
                  <a:lnTo>
                    <a:pt x="12859" y="7429"/>
                  </a:lnTo>
                  <a:lnTo>
                    <a:pt x="162401" y="93726"/>
                  </a:lnTo>
                  <a:close/>
                </a:path>
              </a:pathLst>
            </a:custGeom>
            <a:solidFill>
              <a:srgbClr val="EDF4FF"/>
            </a:solidFill>
            <a:ln w="9525" cap="flat">
              <a:noFill/>
              <a:prstDash val="solid"/>
              <a:miter/>
            </a:ln>
          </p:spPr>
          <p:txBody>
            <a:bodyPr rtlCol="0" anchor="ctr"/>
            <a:lstStyle/>
            <a:p>
              <a:endParaRPr lang="zh-CN" altLang="en-US"/>
            </a:p>
          </p:txBody>
        </p:sp>
        <p:sp>
          <p:nvSpPr>
            <p:cNvPr id="515" name="îṡḻîḓè">
              <a:extLst>
                <a:ext uri="{FF2B5EF4-FFF2-40B4-BE49-F238E27FC236}">
                  <a16:creationId xmlns:a16="http://schemas.microsoft.com/office/drawing/2014/main" id="{7435C042-062D-4B8A-BEC7-A86A47AA566A}"/>
                </a:ext>
              </a:extLst>
            </p:cNvPr>
            <p:cNvSpPr/>
            <p:nvPr/>
          </p:nvSpPr>
          <p:spPr>
            <a:xfrm>
              <a:off x="6809955" y="3127117"/>
              <a:ext cx="227363" cy="241797"/>
            </a:xfrm>
            <a:custGeom>
              <a:avLst/>
              <a:gdLst>
                <a:gd name="connsiteX0" fmla="*/ 74358 w 74694"/>
                <a:gd name="connsiteY0" fmla="*/ 69749 h 79436"/>
                <a:gd name="connsiteX1" fmla="*/ 73215 w 74694"/>
                <a:gd name="connsiteY1" fmla="*/ 79274 h 79436"/>
                <a:gd name="connsiteX2" fmla="*/ 65595 w 74694"/>
                <a:gd name="connsiteY2" fmla="*/ 74988 h 79436"/>
                <a:gd name="connsiteX3" fmla="*/ 67119 w 74694"/>
                <a:gd name="connsiteY3" fmla="*/ 65463 h 79436"/>
                <a:gd name="connsiteX4" fmla="*/ 62261 w 74694"/>
                <a:gd name="connsiteY4" fmla="*/ 43841 h 79436"/>
                <a:gd name="connsiteX5" fmla="*/ 11779 w 74694"/>
                <a:gd name="connsiteY5" fmla="*/ 14599 h 79436"/>
                <a:gd name="connsiteX6" fmla="*/ 6921 w 74694"/>
                <a:gd name="connsiteY6" fmla="*/ 30697 h 79436"/>
                <a:gd name="connsiteX7" fmla="*/ 8350 w 74694"/>
                <a:gd name="connsiteY7" fmla="*/ 42222 h 79436"/>
                <a:gd name="connsiteX8" fmla="*/ 825 w 74694"/>
                <a:gd name="connsiteY8" fmla="*/ 37840 h 79436"/>
                <a:gd name="connsiteX9" fmla="*/ -318 w 74694"/>
                <a:gd name="connsiteY9" fmla="*/ 26506 h 79436"/>
                <a:gd name="connsiteX10" fmla="*/ 3397 w 74694"/>
                <a:gd name="connsiteY10" fmla="*/ 9837 h 79436"/>
                <a:gd name="connsiteX11" fmla="*/ 37020 w 74694"/>
                <a:gd name="connsiteY11" fmla="*/ 4884 h 79436"/>
                <a:gd name="connsiteX12" fmla="*/ 70548 w 74694"/>
                <a:gd name="connsiteY12" fmla="*/ 48604 h 79436"/>
                <a:gd name="connsiteX13" fmla="*/ 74358 w 74694"/>
                <a:gd name="connsiteY13" fmla="*/ 69749 h 794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4694" h="79436">
                  <a:moveTo>
                    <a:pt x="74358" y="69749"/>
                  </a:moveTo>
                  <a:cubicBezTo>
                    <a:pt x="74320" y="72959"/>
                    <a:pt x="73929" y="76150"/>
                    <a:pt x="73215" y="79274"/>
                  </a:cubicBezTo>
                  <a:lnTo>
                    <a:pt x="65595" y="74988"/>
                  </a:lnTo>
                  <a:cubicBezTo>
                    <a:pt x="66605" y="71911"/>
                    <a:pt x="67119" y="68701"/>
                    <a:pt x="67119" y="65463"/>
                  </a:cubicBezTo>
                  <a:cubicBezTo>
                    <a:pt x="66957" y="58005"/>
                    <a:pt x="65309" y="50652"/>
                    <a:pt x="62261" y="43841"/>
                  </a:cubicBezTo>
                  <a:lnTo>
                    <a:pt x="11779" y="14599"/>
                  </a:lnTo>
                  <a:cubicBezTo>
                    <a:pt x="8350" y="19238"/>
                    <a:pt x="6626" y="24934"/>
                    <a:pt x="6921" y="30697"/>
                  </a:cubicBezTo>
                  <a:cubicBezTo>
                    <a:pt x="6940" y="34583"/>
                    <a:pt x="7416" y="38450"/>
                    <a:pt x="8350" y="42222"/>
                  </a:cubicBezTo>
                  <a:lnTo>
                    <a:pt x="825" y="37840"/>
                  </a:lnTo>
                  <a:cubicBezTo>
                    <a:pt x="82" y="34107"/>
                    <a:pt x="-299" y="30316"/>
                    <a:pt x="-318" y="26506"/>
                  </a:cubicBezTo>
                  <a:cubicBezTo>
                    <a:pt x="-509" y="20724"/>
                    <a:pt x="777" y="14990"/>
                    <a:pt x="3397" y="9837"/>
                  </a:cubicBezTo>
                  <a:cubicBezTo>
                    <a:pt x="9493" y="-1022"/>
                    <a:pt x="22447" y="-3593"/>
                    <a:pt x="37020" y="4884"/>
                  </a:cubicBezTo>
                  <a:cubicBezTo>
                    <a:pt x="52879" y="15180"/>
                    <a:pt x="64719" y="30611"/>
                    <a:pt x="70548" y="48604"/>
                  </a:cubicBezTo>
                  <a:cubicBezTo>
                    <a:pt x="73006" y="55385"/>
                    <a:pt x="74292" y="62539"/>
                    <a:pt x="74358" y="69749"/>
                  </a:cubicBezTo>
                  <a:close/>
                </a:path>
              </a:pathLst>
            </a:custGeom>
            <a:solidFill>
              <a:srgbClr val="D9530B"/>
            </a:solidFill>
            <a:ln w="9525" cap="flat">
              <a:noFill/>
              <a:prstDash val="solid"/>
              <a:miter/>
            </a:ln>
          </p:spPr>
          <p:txBody>
            <a:bodyPr rtlCol="0" anchor="ctr"/>
            <a:lstStyle/>
            <a:p>
              <a:endParaRPr lang="zh-CN" altLang="en-US"/>
            </a:p>
          </p:txBody>
        </p:sp>
        <p:sp>
          <p:nvSpPr>
            <p:cNvPr id="516" name="íSľidê">
              <a:extLst>
                <a:ext uri="{FF2B5EF4-FFF2-40B4-BE49-F238E27FC236}">
                  <a16:creationId xmlns:a16="http://schemas.microsoft.com/office/drawing/2014/main" id="{932F3A8F-B253-4E14-8EC2-CC6E51169FED}"/>
                </a:ext>
              </a:extLst>
            </p:cNvPr>
            <p:cNvSpPr/>
            <p:nvPr/>
          </p:nvSpPr>
          <p:spPr>
            <a:xfrm>
              <a:off x="6783917" y="3350940"/>
              <a:ext cx="279493" cy="267028"/>
            </a:xfrm>
            <a:custGeom>
              <a:avLst/>
              <a:gdLst>
                <a:gd name="connsiteX0" fmla="*/ 91485 w 91820"/>
                <a:gd name="connsiteY0" fmla="*/ 87563 h 87725"/>
                <a:gd name="connsiteX1" fmla="*/ -336 w 91820"/>
                <a:gd name="connsiteY1" fmla="*/ 34508 h 87725"/>
                <a:gd name="connsiteX2" fmla="*/ 19952 w 91820"/>
                <a:gd name="connsiteY2" fmla="*/ 409 h 87725"/>
                <a:gd name="connsiteX3" fmla="*/ 25762 w 91820"/>
                <a:gd name="connsiteY3" fmla="*/ -163 h 87725"/>
                <a:gd name="connsiteX4" fmla="*/ 33096 w 91820"/>
                <a:gd name="connsiteY4" fmla="*/ 790 h 87725"/>
                <a:gd name="connsiteX5" fmla="*/ 35192 w 91820"/>
                <a:gd name="connsiteY5" fmla="*/ 1266 h 87725"/>
                <a:gd name="connsiteX6" fmla="*/ 45574 w 91820"/>
                <a:gd name="connsiteY6" fmla="*/ 9458 h 87725"/>
                <a:gd name="connsiteX7" fmla="*/ 55956 w 91820"/>
                <a:gd name="connsiteY7" fmla="*/ 13363 h 87725"/>
                <a:gd name="connsiteX8" fmla="*/ 58052 w 91820"/>
                <a:gd name="connsiteY8" fmla="*/ 15077 h 87725"/>
                <a:gd name="connsiteX9" fmla="*/ 65386 w 91820"/>
                <a:gd name="connsiteY9" fmla="*/ 22697 h 87725"/>
                <a:gd name="connsiteX10" fmla="*/ 71101 w 91820"/>
                <a:gd name="connsiteY10" fmla="*/ 29936 h 87725"/>
                <a:gd name="connsiteX11" fmla="*/ 91485 w 91820"/>
                <a:gd name="connsiteY11" fmla="*/ 87563 h 87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1820" h="87725">
                  <a:moveTo>
                    <a:pt x="91485" y="87563"/>
                  </a:moveTo>
                  <a:lnTo>
                    <a:pt x="-336" y="34508"/>
                  </a:lnTo>
                  <a:cubicBezTo>
                    <a:pt x="-336" y="15458"/>
                    <a:pt x="7760" y="3266"/>
                    <a:pt x="19952" y="409"/>
                  </a:cubicBezTo>
                  <a:cubicBezTo>
                    <a:pt x="21866" y="28"/>
                    <a:pt x="23809" y="-163"/>
                    <a:pt x="25762" y="-163"/>
                  </a:cubicBezTo>
                  <a:cubicBezTo>
                    <a:pt x="28239" y="-163"/>
                    <a:pt x="30705" y="152"/>
                    <a:pt x="33096" y="790"/>
                  </a:cubicBezTo>
                  <a:lnTo>
                    <a:pt x="35192" y="1266"/>
                  </a:lnTo>
                  <a:cubicBezTo>
                    <a:pt x="38240" y="4476"/>
                    <a:pt x="41736" y="7238"/>
                    <a:pt x="45574" y="9458"/>
                  </a:cubicBezTo>
                  <a:cubicBezTo>
                    <a:pt x="48755" y="11401"/>
                    <a:pt x="52280" y="12725"/>
                    <a:pt x="55956" y="13363"/>
                  </a:cubicBezTo>
                  <a:lnTo>
                    <a:pt x="58052" y="15077"/>
                  </a:lnTo>
                  <a:cubicBezTo>
                    <a:pt x="60528" y="17459"/>
                    <a:pt x="63005" y="19935"/>
                    <a:pt x="65386" y="22697"/>
                  </a:cubicBezTo>
                  <a:cubicBezTo>
                    <a:pt x="67415" y="25012"/>
                    <a:pt x="69329" y="27422"/>
                    <a:pt x="71101" y="29936"/>
                  </a:cubicBezTo>
                  <a:cubicBezTo>
                    <a:pt x="83550" y="46653"/>
                    <a:pt x="90656" y="66741"/>
                    <a:pt x="91485" y="87563"/>
                  </a:cubicBezTo>
                  <a:close/>
                </a:path>
              </a:pathLst>
            </a:custGeom>
            <a:solidFill>
              <a:srgbClr val="316DE6"/>
            </a:solidFill>
            <a:ln w="9525" cap="flat">
              <a:noFill/>
              <a:prstDash val="solid"/>
              <a:miter/>
            </a:ln>
          </p:spPr>
          <p:txBody>
            <a:bodyPr rtlCol="0" anchor="ctr"/>
            <a:lstStyle/>
            <a:p>
              <a:endParaRPr lang="zh-CN" altLang="en-US"/>
            </a:p>
          </p:txBody>
        </p:sp>
        <p:sp>
          <p:nvSpPr>
            <p:cNvPr id="517" name="iŝ1ïḓè">
              <a:extLst>
                <a:ext uri="{FF2B5EF4-FFF2-40B4-BE49-F238E27FC236}">
                  <a16:creationId xmlns:a16="http://schemas.microsoft.com/office/drawing/2014/main" id="{DB8257D6-8F6F-4127-BD39-D5D6D209F36F}"/>
                </a:ext>
              </a:extLst>
            </p:cNvPr>
            <p:cNvSpPr/>
            <p:nvPr/>
          </p:nvSpPr>
          <p:spPr>
            <a:xfrm>
              <a:off x="6831944" y="3171762"/>
              <a:ext cx="183336" cy="220411"/>
            </a:xfrm>
            <a:custGeom>
              <a:avLst/>
              <a:gdLst>
                <a:gd name="connsiteX0" fmla="*/ 59894 w 60230"/>
                <a:gd name="connsiteY0" fmla="*/ 50987 h 72410"/>
                <a:gd name="connsiteX1" fmla="*/ 58370 w 60230"/>
                <a:gd name="connsiteY1" fmla="*/ 60512 h 72410"/>
                <a:gd name="connsiteX2" fmla="*/ 40177 w 60230"/>
                <a:gd name="connsiteY2" fmla="*/ 71942 h 72410"/>
                <a:gd name="connsiteX3" fmla="*/ 29795 w 60230"/>
                <a:gd name="connsiteY3" fmla="*/ 68036 h 72410"/>
                <a:gd name="connsiteX4" fmla="*/ 19413 w 60230"/>
                <a:gd name="connsiteY4" fmla="*/ 59845 h 72410"/>
                <a:gd name="connsiteX5" fmla="*/ 1125 w 60230"/>
                <a:gd name="connsiteY5" fmla="*/ 27460 h 72410"/>
                <a:gd name="connsiteX6" fmla="*/ -304 w 60230"/>
                <a:gd name="connsiteY6" fmla="*/ 15935 h 72410"/>
                <a:gd name="connsiteX7" fmla="*/ 4554 w 60230"/>
                <a:gd name="connsiteY7" fmla="*/ -163 h 72410"/>
                <a:gd name="connsiteX8" fmla="*/ 55037 w 60230"/>
                <a:gd name="connsiteY8" fmla="*/ 29079 h 72410"/>
                <a:gd name="connsiteX9" fmla="*/ 59894 w 60230"/>
                <a:gd name="connsiteY9" fmla="*/ 50987 h 72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0230" h="72410">
                  <a:moveTo>
                    <a:pt x="59894" y="50987"/>
                  </a:moveTo>
                  <a:cubicBezTo>
                    <a:pt x="59894" y="54225"/>
                    <a:pt x="59380" y="57435"/>
                    <a:pt x="58370" y="60512"/>
                  </a:cubicBezTo>
                  <a:cubicBezTo>
                    <a:pt x="56303" y="68551"/>
                    <a:pt x="48312" y="73570"/>
                    <a:pt x="40177" y="71942"/>
                  </a:cubicBezTo>
                  <a:cubicBezTo>
                    <a:pt x="36501" y="71303"/>
                    <a:pt x="32977" y="69979"/>
                    <a:pt x="29795" y="68036"/>
                  </a:cubicBezTo>
                  <a:cubicBezTo>
                    <a:pt x="25957" y="65817"/>
                    <a:pt x="22461" y="63055"/>
                    <a:pt x="19413" y="59845"/>
                  </a:cubicBezTo>
                  <a:cubicBezTo>
                    <a:pt x="10564" y="50853"/>
                    <a:pt x="4259" y="39680"/>
                    <a:pt x="1125" y="27460"/>
                  </a:cubicBezTo>
                  <a:cubicBezTo>
                    <a:pt x="191" y="23688"/>
                    <a:pt x="-285" y="19821"/>
                    <a:pt x="-304" y="15935"/>
                  </a:cubicBezTo>
                  <a:cubicBezTo>
                    <a:pt x="-599" y="10172"/>
                    <a:pt x="1125" y="4476"/>
                    <a:pt x="4554" y="-163"/>
                  </a:cubicBezTo>
                  <a:lnTo>
                    <a:pt x="55037" y="29079"/>
                  </a:lnTo>
                  <a:cubicBezTo>
                    <a:pt x="58123" y="35975"/>
                    <a:pt x="59770" y="43433"/>
                    <a:pt x="59894" y="50987"/>
                  </a:cubicBezTo>
                  <a:close/>
                </a:path>
              </a:pathLst>
            </a:custGeom>
            <a:solidFill>
              <a:srgbClr val="FFB4A1"/>
            </a:solidFill>
            <a:ln w="9525" cap="flat">
              <a:noFill/>
              <a:prstDash val="solid"/>
              <a:miter/>
            </a:ln>
          </p:spPr>
          <p:txBody>
            <a:bodyPr rtlCol="0" anchor="ctr"/>
            <a:lstStyle/>
            <a:p>
              <a:endParaRPr lang="zh-CN" altLang="en-US"/>
            </a:p>
          </p:txBody>
        </p:sp>
        <p:sp>
          <p:nvSpPr>
            <p:cNvPr id="518" name="išļiḍê">
              <a:extLst>
                <a:ext uri="{FF2B5EF4-FFF2-40B4-BE49-F238E27FC236}">
                  <a16:creationId xmlns:a16="http://schemas.microsoft.com/office/drawing/2014/main" id="{5EBF4F95-25D0-4AFE-82AF-DCD33C3127AA}"/>
                </a:ext>
              </a:extLst>
            </p:cNvPr>
            <p:cNvSpPr/>
            <p:nvPr/>
          </p:nvSpPr>
          <p:spPr>
            <a:xfrm>
              <a:off x="7048915" y="3088934"/>
              <a:ext cx="80116" cy="105728"/>
            </a:xfrm>
            <a:custGeom>
              <a:avLst/>
              <a:gdLst>
                <a:gd name="connsiteX0" fmla="*/ 25953 w 26320"/>
                <a:gd name="connsiteY0" fmla="*/ 23523 h 34734"/>
                <a:gd name="connsiteX1" fmla="*/ 22429 w 26320"/>
                <a:gd name="connsiteY1" fmla="*/ 31715 h 34734"/>
                <a:gd name="connsiteX2" fmla="*/ 17475 w 26320"/>
                <a:gd name="connsiteY2" fmla="*/ 34572 h 34734"/>
                <a:gd name="connsiteX3" fmla="*/ 19380 w 26320"/>
                <a:gd name="connsiteY3" fmla="*/ 32572 h 34734"/>
                <a:gd name="connsiteX4" fmla="*/ 21000 w 26320"/>
                <a:gd name="connsiteY4" fmla="*/ 26381 h 34734"/>
                <a:gd name="connsiteX5" fmla="*/ 8331 w 26320"/>
                <a:gd name="connsiteY5" fmla="*/ 4378 h 34734"/>
                <a:gd name="connsiteX6" fmla="*/ 2140 w 26320"/>
                <a:gd name="connsiteY6" fmla="*/ 2664 h 34734"/>
                <a:gd name="connsiteX7" fmla="*/ -336 w 26320"/>
                <a:gd name="connsiteY7" fmla="*/ 3330 h 34734"/>
                <a:gd name="connsiteX8" fmla="*/ 3855 w 26320"/>
                <a:gd name="connsiteY8" fmla="*/ 949 h 34734"/>
                <a:gd name="connsiteX9" fmla="*/ 3855 w 26320"/>
                <a:gd name="connsiteY9" fmla="*/ 949 h 34734"/>
                <a:gd name="connsiteX10" fmla="*/ 4712 w 26320"/>
                <a:gd name="connsiteY10" fmla="*/ 378 h 34734"/>
                <a:gd name="connsiteX11" fmla="*/ 13284 w 26320"/>
                <a:gd name="connsiteY11" fmla="*/ 1521 h 34734"/>
                <a:gd name="connsiteX12" fmla="*/ 25953 w 26320"/>
                <a:gd name="connsiteY12" fmla="*/ 23523 h 34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320" h="34734">
                  <a:moveTo>
                    <a:pt x="25953" y="23523"/>
                  </a:moveTo>
                  <a:cubicBezTo>
                    <a:pt x="26210" y="26667"/>
                    <a:pt x="24886" y="29734"/>
                    <a:pt x="22429" y="31715"/>
                  </a:cubicBezTo>
                  <a:lnTo>
                    <a:pt x="17475" y="34572"/>
                  </a:lnTo>
                  <a:cubicBezTo>
                    <a:pt x="18266" y="34077"/>
                    <a:pt x="18923" y="33391"/>
                    <a:pt x="19380" y="32572"/>
                  </a:cubicBezTo>
                  <a:cubicBezTo>
                    <a:pt x="20533" y="30715"/>
                    <a:pt x="21095" y="28562"/>
                    <a:pt x="21000" y="26381"/>
                  </a:cubicBezTo>
                  <a:cubicBezTo>
                    <a:pt x="20447" y="17475"/>
                    <a:pt x="15761" y="9331"/>
                    <a:pt x="8331" y="4378"/>
                  </a:cubicBezTo>
                  <a:cubicBezTo>
                    <a:pt x="6464" y="3254"/>
                    <a:pt x="4322" y="2664"/>
                    <a:pt x="2140" y="2664"/>
                  </a:cubicBezTo>
                  <a:cubicBezTo>
                    <a:pt x="1283" y="2740"/>
                    <a:pt x="445" y="2968"/>
                    <a:pt x="-336" y="3330"/>
                  </a:cubicBezTo>
                  <a:lnTo>
                    <a:pt x="3855" y="949"/>
                  </a:lnTo>
                  <a:lnTo>
                    <a:pt x="3855" y="949"/>
                  </a:lnTo>
                  <a:lnTo>
                    <a:pt x="4712" y="378"/>
                  </a:lnTo>
                  <a:cubicBezTo>
                    <a:pt x="7588" y="-632"/>
                    <a:pt x="10779" y="-213"/>
                    <a:pt x="13284" y="1521"/>
                  </a:cubicBezTo>
                  <a:cubicBezTo>
                    <a:pt x="20790" y="6397"/>
                    <a:pt x="25505" y="14579"/>
                    <a:pt x="25953" y="23523"/>
                  </a:cubicBezTo>
                  <a:close/>
                </a:path>
              </a:pathLst>
            </a:custGeom>
            <a:solidFill>
              <a:srgbClr val="BF4200"/>
            </a:solidFill>
            <a:ln w="9525" cap="flat">
              <a:noFill/>
              <a:prstDash val="solid"/>
              <a:miter/>
            </a:ln>
          </p:spPr>
          <p:txBody>
            <a:bodyPr rtlCol="0" anchor="ctr"/>
            <a:lstStyle/>
            <a:p>
              <a:endParaRPr lang="zh-CN" altLang="en-US"/>
            </a:p>
          </p:txBody>
        </p:sp>
        <p:sp>
          <p:nvSpPr>
            <p:cNvPr id="519" name="iṥḷîďê">
              <a:extLst>
                <a:ext uri="{FF2B5EF4-FFF2-40B4-BE49-F238E27FC236}">
                  <a16:creationId xmlns:a16="http://schemas.microsoft.com/office/drawing/2014/main" id="{E5DB3C64-0B12-409E-9295-70FD03254879}"/>
                </a:ext>
              </a:extLst>
            </p:cNvPr>
            <p:cNvSpPr/>
            <p:nvPr/>
          </p:nvSpPr>
          <p:spPr>
            <a:xfrm>
              <a:off x="7035218" y="3097539"/>
              <a:ext cx="78670" cy="100237"/>
            </a:xfrm>
            <a:custGeom>
              <a:avLst/>
              <a:gdLst>
                <a:gd name="connsiteX0" fmla="*/ 25499 w 25845"/>
                <a:gd name="connsiteY0" fmla="*/ 23555 h 32930"/>
                <a:gd name="connsiteX1" fmla="*/ 23880 w 25845"/>
                <a:gd name="connsiteY1" fmla="*/ 29746 h 32930"/>
                <a:gd name="connsiteX2" fmla="*/ 21975 w 25845"/>
                <a:gd name="connsiteY2" fmla="*/ 31746 h 32930"/>
                <a:gd name="connsiteX3" fmla="*/ 12450 w 25845"/>
                <a:gd name="connsiteY3" fmla="*/ 30889 h 32930"/>
                <a:gd name="connsiteX4" fmla="*/ -313 w 25845"/>
                <a:gd name="connsiteY4" fmla="*/ 8886 h 32930"/>
                <a:gd name="connsiteX5" fmla="*/ 3020 w 25845"/>
                <a:gd name="connsiteY5" fmla="*/ 980 h 32930"/>
                <a:gd name="connsiteX6" fmla="*/ 3020 w 25845"/>
                <a:gd name="connsiteY6" fmla="*/ 980 h 32930"/>
                <a:gd name="connsiteX7" fmla="*/ 3782 w 25845"/>
                <a:gd name="connsiteY7" fmla="*/ 504 h 32930"/>
                <a:gd name="connsiteX8" fmla="*/ 6259 w 25845"/>
                <a:gd name="connsiteY8" fmla="*/ -163 h 32930"/>
                <a:gd name="connsiteX9" fmla="*/ 12450 w 25845"/>
                <a:gd name="connsiteY9" fmla="*/ 1552 h 32930"/>
                <a:gd name="connsiteX10" fmla="*/ 25499 w 25845"/>
                <a:gd name="connsiteY10" fmla="*/ 23555 h 329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5845" h="32930">
                  <a:moveTo>
                    <a:pt x="25499" y="23555"/>
                  </a:moveTo>
                  <a:cubicBezTo>
                    <a:pt x="25595" y="25736"/>
                    <a:pt x="25033" y="27888"/>
                    <a:pt x="23880" y="29746"/>
                  </a:cubicBezTo>
                  <a:cubicBezTo>
                    <a:pt x="23423" y="30565"/>
                    <a:pt x="22766" y="31251"/>
                    <a:pt x="21975" y="31746"/>
                  </a:cubicBezTo>
                  <a:cubicBezTo>
                    <a:pt x="18908" y="33375"/>
                    <a:pt x="15174" y="33032"/>
                    <a:pt x="12450" y="30889"/>
                  </a:cubicBezTo>
                  <a:cubicBezTo>
                    <a:pt x="4916" y="26022"/>
                    <a:pt x="172" y="17840"/>
                    <a:pt x="-313" y="8886"/>
                  </a:cubicBezTo>
                  <a:cubicBezTo>
                    <a:pt x="-523" y="5867"/>
                    <a:pt x="715" y="2933"/>
                    <a:pt x="3020" y="980"/>
                  </a:cubicBezTo>
                  <a:lnTo>
                    <a:pt x="3020" y="980"/>
                  </a:lnTo>
                  <a:lnTo>
                    <a:pt x="3782" y="504"/>
                  </a:lnTo>
                  <a:cubicBezTo>
                    <a:pt x="4563" y="142"/>
                    <a:pt x="5402" y="-86"/>
                    <a:pt x="6259" y="-163"/>
                  </a:cubicBezTo>
                  <a:cubicBezTo>
                    <a:pt x="8440" y="-163"/>
                    <a:pt x="10583" y="428"/>
                    <a:pt x="12450" y="1552"/>
                  </a:cubicBezTo>
                  <a:cubicBezTo>
                    <a:pt x="20023" y="6419"/>
                    <a:pt x="24861" y="14573"/>
                    <a:pt x="25499" y="23555"/>
                  </a:cubicBezTo>
                  <a:close/>
                </a:path>
              </a:pathLst>
            </a:custGeom>
            <a:solidFill>
              <a:srgbClr val="D9530B"/>
            </a:solidFill>
            <a:ln w="9525" cap="flat">
              <a:noFill/>
              <a:prstDash val="solid"/>
              <a:miter/>
            </a:ln>
          </p:spPr>
          <p:txBody>
            <a:bodyPr rtlCol="0" anchor="ctr"/>
            <a:lstStyle/>
            <a:p>
              <a:endParaRPr lang="zh-CN" altLang="en-US"/>
            </a:p>
          </p:txBody>
        </p:sp>
        <p:sp>
          <p:nvSpPr>
            <p:cNvPr id="520" name="í$ḷîde">
              <a:extLst>
                <a:ext uri="{FF2B5EF4-FFF2-40B4-BE49-F238E27FC236}">
                  <a16:creationId xmlns:a16="http://schemas.microsoft.com/office/drawing/2014/main" id="{861E9F79-58AF-4D8D-BBC1-ADB793270DB9}"/>
                </a:ext>
              </a:extLst>
            </p:cNvPr>
            <p:cNvSpPr/>
            <p:nvPr/>
          </p:nvSpPr>
          <p:spPr>
            <a:xfrm>
              <a:off x="5661292" y="2264030"/>
              <a:ext cx="830368" cy="1632674"/>
            </a:xfrm>
            <a:custGeom>
              <a:avLst/>
              <a:gdLst>
                <a:gd name="connsiteX0" fmla="*/ -336 w 272795"/>
                <a:gd name="connsiteY0" fmla="*/ 357674 h 536371"/>
                <a:gd name="connsiteX1" fmla="*/ -336 w 272795"/>
                <a:gd name="connsiteY1" fmla="*/ 20966 h 536371"/>
                <a:gd name="connsiteX2" fmla="*/ 29096 w 272795"/>
                <a:gd name="connsiteY2" fmla="*/ 3916 h 536371"/>
                <a:gd name="connsiteX3" fmla="*/ 243027 w 272795"/>
                <a:gd name="connsiteY3" fmla="*/ 127455 h 536371"/>
                <a:gd name="connsiteX4" fmla="*/ 272460 w 272795"/>
                <a:gd name="connsiteY4" fmla="*/ 178509 h 536371"/>
                <a:gd name="connsiteX5" fmla="*/ 272460 w 272795"/>
                <a:gd name="connsiteY5" fmla="*/ 515123 h 536371"/>
                <a:gd name="connsiteX6" fmla="*/ 243027 w 272795"/>
                <a:gd name="connsiteY6" fmla="*/ 532172 h 536371"/>
                <a:gd name="connsiteX7" fmla="*/ 29191 w 272795"/>
                <a:gd name="connsiteY7" fmla="*/ 408347 h 536371"/>
                <a:gd name="connsiteX8" fmla="*/ -336 w 272795"/>
                <a:gd name="connsiteY8" fmla="*/ 357674 h 536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2795" h="536371">
                  <a:moveTo>
                    <a:pt x="-336" y="357674"/>
                  </a:moveTo>
                  <a:lnTo>
                    <a:pt x="-336" y="20966"/>
                  </a:lnTo>
                  <a:cubicBezTo>
                    <a:pt x="-336" y="1916"/>
                    <a:pt x="12808" y="-5514"/>
                    <a:pt x="29096" y="3916"/>
                  </a:cubicBezTo>
                  <a:lnTo>
                    <a:pt x="243027" y="127455"/>
                  </a:lnTo>
                  <a:cubicBezTo>
                    <a:pt x="260411" y="138809"/>
                    <a:pt x="271345" y="157773"/>
                    <a:pt x="272460" y="178509"/>
                  </a:cubicBezTo>
                  <a:lnTo>
                    <a:pt x="272460" y="515123"/>
                  </a:lnTo>
                  <a:cubicBezTo>
                    <a:pt x="272460" y="534173"/>
                    <a:pt x="259315" y="541507"/>
                    <a:pt x="243027" y="532172"/>
                  </a:cubicBezTo>
                  <a:lnTo>
                    <a:pt x="29191" y="408347"/>
                  </a:lnTo>
                  <a:cubicBezTo>
                    <a:pt x="11875" y="397089"/>
                    <a:pt x="921" y="378286"/>
                    <a:pt x="-336" y="357674"/>
                  </a:cubicBezTo>
                  <a:close/>
                </a:path>
              </a:pathLst>
            </a:custGeom>
            <a:solidFill>
              <a:srgbClr val="D1D9E8"/>
            </a:solidFill>
            <a:ln w="9525" cap="flat">
              <a:noFill/>
              <a:prstDash val="solid"/>
              <a:miter/>
            </a:ln>
          </p:spPr>
          <p:txBody>
            <a:bodyPr rtlCol="0" anchor="ctr"/>
            <a:lstStyle/>
            <a:p>
              <a:endParaRPr lang="zh-CN" altLang="en-US"/>
            </a:p>
          </p:txBody>
        </p:sp>
        <p:sp>
          <p:nvSpPr>
            <p:cNvPr id="521" name="iṩļíḍê">
              <a:extLst>
                <a:ext uri="{FF2B5EF4-FFF2-40B4-BE49-F238E27FC236}">
                  <a16:creationId xmlns:a16="http://schemas.microsoft.com/office/drawing/2014/main" id="{68DAAF74-2F31-4911-9130-71AE66381506}"/>
                </a:ext>
              </a:extLst>
            </p:cNvPr>
            <p:cNvSpPr/>
            <p:nvPr/>
          </p:nvSpPr>
          <p:spPr>
            <a:xfrm>
              <a:off x="5643026" y="2274595"/>
              <a:ext cx="830368" cy="1633834"/>
            </a:xfrm>
            <a:custGeom>
              <a:avLst/>
              <a:gdLst>
                <a:gd name="connsiteX0" fmla="*/ -336 w 272795"/>
                <a:gd name="connsiteY0" fmla="*/ 357633 h 536752"/>
                <a:gd name="connsiteX1" fmla="*/ -336 w 272795"/>
                <a:gd name="connsiteY1" fmla="*/ 20924 h 536752"/>
                <a:gd name="connsiteX2" fmla="*/ 29191 w 272795"/>
                <a:gd name="connsiteY2" fmla="*/ 3874 h 536752"/>
                <a:gd name="connsiteX3" fmla="*/ 242932 w 272795"/>
                <a:gd name="connsiteY3" fmla="*/ 127699 h 536752"/>
                <a:gd name="connsiteX4" fmla="*/ 272460 w 272795"/>
                <a:gd name="connsiteY4" fmla="*/ 178753 h 536752"/>
                <a:gd name="connsiteX5" fmla="*/ 272460 w 272795"/>
                <a:gd name="connsiteY5" fmla="*/ 515462 h 536752"/>
                <a:gd name="connsiteX6" fmla="*/ 242932 w 272795"/>
                <a:gd name="connsiteY6" fmla="*/ 532512 h 536752"/>
                <a:gd name="connsiteX7" fmla="*/ 29191 w 272795"/>
                <a:gd name="connsiteY7" fmla="*/ 408687 h 536752"/>
                <a:gd name="connsiteX8" fmla="*/ -336 w 272795"/>
                <a:gd name="connsiteY8" fmla="*/ 357633 h 5367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2795" h="536752">
                  <a:moveTo>
                    <a:pt x="-336" y="357633"/>
                  </a:moveTo>
                  <a:lnTo>
                    <a:pt x="-336" y="20924"/>
                  </a:lnTo>
                  <a:cubicBezTo>
                    <a:pt x="-336" y="1874"/>
                    <a:pt x="12903" y="-5460"/>
                    <a:pt x="29191" y="3874"/>
                  </a:cubicBezTo>
                  <a:lnTo>
                    <a:pt x="242932" y="127699"/>
                  </a:lnTo>
                  <a:cubicBezTo>
                    <a:pt x="260344" y="139043"/>
                    <a:pt x="271307" y="158008"/>
                    <a:pt x="272460" y="178753"/>
                  </a:cubicBezTo>
                  <a:lnTo>
                    <a:pt x="272460" y="515462"/>
                  </a:lnTo>
                  <a:cubicBezTo>
                    <a:pt x="272460" y="534512"/>
                    <a:pt x="259220" y="541941"/>
                    <a:pt x="242932" y="532512"/>
                  </a:cubicBezTo>
                  <a:lnTo>
                    <a:pt x="29191" y="408687"/>
                  </a:lnTo>
                  <a:cubicBezTo>
                    <a:pt x="11780" y="397342"/>
                    <a:pt x="816" y="378378"/>
                    <a:pt x="-336" y="357633"/>
                  </a:cubicBezTo>
                  <a:close/>
                </a:path>
              </a:pathLst>
            </a:custGeom>
            <a:solidFill>
              <a:srgbClr val="EDF4FF"/>
            </a:solidFill>
            <a:ln w="9525" cap="flat">
              <a:noFill/>
              <a:prstDash val="solid"/>
              <a:miter/>
            </a:ln>
          </p:spPr>
          <p:txBody>
            <a:bodyPr rtlCol="0" anchor="ctr"/>
            <a:lstStyle/>
            <a:p>
              <a:endParaRPr lang="zh-CN" altLang="en-US"/>
            </a:p>
          </p:txBody>
        </p:sp>
        <p:sp>
          <p:nvSpPr>
            <p:cNvPr id="522" name="ïş1íḍe">
              <a:extLst>
                <a:ext uri="{FF2B5EF4-FFF2-40B4-BE49-F238E27FC236}">
                  <a16:creationId xmlns:a16="http://schemas.microsoft.com/office/drawing/2014/main" id="{8C5ACDAA-9147-41FB-BF1B-62AC028B50EF}"/>
                </a:ext>
              </a:extLst>
            </p:cNvPr>
            <p:cNvSpPr/>
            <p:nvPr/>
          </p:nvSpPr>
          <p:spPr>
            <a:xfrm>
              <a:off x="5963819" y="2599522"/>
              <a:ext cx="431315" cy="268967"/>
            </a:xfrm>
            <a:custGeom>
              <a:avLst/>
              <a:gdLst>
                <a:gd name="connsiteX0" fmla="*/ 134115 w 141697"/>
                <a:gd name="connsiteY0" fmla="*/ 88009 h 88362"/>
                <a:gd name="connsiteX1" fmla="*/ 130400 w 141697"/>
                <a:gd name="connsiteY1" fmla="*/ 87057 h 88362"/>
                <a:gd name="connsiteX2" fmla="*/ 2670 w 141697"/>
                <a:gd name="connsiteY2" fmla="*/ 13238 h 88362"/>
                <a:gd name="connsiteX3" fmla="*/ 1127 w 141697"/>
                <a:gd name="connsiteY3" fmla="*/ 2846 h 88362"/>
                <a:gd name="connsiteX4" fmla="*/ 10100 w 141697"/>
                <a:gd name="connsiteY4" fmla="*/ 474 h 88362"/>
                <a:gd name="connsiteX5" fmla="*/ 137735 w 141697"/>
                <a:gd name="connsiteY5" fmla="*/ 74388 h 88362"/>
                <a:gd name="connsiteX6" fmla="*/ 140316 w 141697"/>
                <a:gd name="connsiteY6" fmla="*/ 84571 h 88362"/>
                <a:gd name="connsiteX7" fmla="*/ 134020 w 141697"/>
                <a:gd name="connsiteY7" fmla="*/ 88200 h 883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1697" h="88362">
                  <a:moveTo>
                    <a:pt x="134115" y="88009"/>
                  </a:moveTo>
                  <a:cubicBezTo>
                    <a:pt x="132820" y="88009"/>
                    <a:pt x="131544" y="87685"/>
                    <a:pt x="130400" y="87057"/>
                  </a:cubicBezTo>
                  <a:lnTo>
                    <a:pt x="2670" y="13238"/>
                  </a:lnTo>
                  <a:cubicBezTo>
                    <a:pt x="-625" y="10800"/>
                    <a:pt x="-1321" y="6142"/>
                    <a:pt x="1127" y="2846"/>
                  </a:cubicBezTo>
                  <a:cubicBezTo>
                    <a:pt x="3194" y="55"/>
                    <a:pt x="6918" y="-935"/>
                    <a:pt x="10100" y="474"/>
                  </a:cubicBezTo>
                  <a:lnTo>
                    <a:pt x="137735" y="74388"/>
                  </a:lnTo>
                  <a:cubicBezTo>
                    <a:pt x="141259" y="76493"/>
                    <a:pt x="142412" y="81046"/>
                    <a:pt x="140316" y="84571"/>
                  </a:cubicBezTo>
                  <a:cubicBezTo>
                    <a:pt x="138992" y="86799"/>
                    <a:pt x="136611" y="88171"/>
                    <a:pt x="134020" y="88200"/>
                  </a:cubicBezTo>
                  <a:close/>
                </a:path>
              </a:pathLst>
            </a:custGeom>
            <a:solidFill>
              <a:srgbClr val="D1D9E8"/>
            </a:solidFill>
            <a:ln w="9525" cap="flat">
              <a:noFill/>
              <a:prstDash val="solid"/>
              <a:miter/>
            </a:ln>
          </p:spPr>
          <p:txBody>
            <a:bodyPr rtlCol="0" anchor="ctr"/>
            <a:lstStyle/>
            <a:p>
              <a:endParaRPr lang="zh-CN" altLang="en-US"/>
            </a:p>
          </p:txBody>
        </p:sp>
        <p:sp>
          <p:nvSpPr>
            <p:cNvPr id="523" name="iṩḻíḓè">
              <a:extLst>
                <a:ext uri="{FF2B5EF4-FFF2-40B4-BE49-F238E27FC236}">
                  <a16:creationId xmlns:a16="http://schemas.microsoft.com/office/drawing/2014/main" id="{315FC18A-E5F2-4357-A87A-1BB8420D53CB}"/>
                </a:ext>
              </a:extLst>
            </p:cNvPr>
            <p:cNvSpPr/>
            <p:nvPr/>
          </p:nvSpPr>
          <p:spPr>
            <a:xfrm>
              <a:off x="5962318" y="2676789"/>
              <a:ext cx="433108" cy="269111"/>
            </a:xfrm>
            <a:custGeom>
              <a:avLst/>
              <a:gdLst>
                <a:gd name="connsiteX0" fmla="*/ 134608 w 142286"/>
                <a:gd name="connsiteY0" fmla="*/ 88247 h 88409"/>
                <a:gd name="connsiteX1" fmla="*/ 130893 w 142286"/>
                <a:gd name="connsiteY1" fmla="*/ 87295 h 88409"/>
                <a:gd name="connsiteX2" fmla="*/ 3163 w 142286"/>
                <a:gd name="connsiteY2" fmla="*/ 13571 h 88409"/>
                <a:gd name="connsiteX3" fmla="*/ 792 w 142286"/>
                <a:gd name="connsiteY3" fmla="*/ 3341 h 88409"/>
                <a:gd name="connsiteX4" fmla="*/ 10593 w 142286"/>
                <a:gd name="connsiteY4" fmla="*/ 713 h 88409"/>
                <a:gd name="connsiteX5" fmla="*/ 138323 w 142286"/>
                <a:gd name="connsiteY5" fmla="*/ 74436 h 88409"/>
                <a:gd name="connsiteX6" fmla="*/ 140905 w 142286"/>
                <a:gd name="connsiteY6" fmla="*/ 84618 h 88409"/>
                <a:gd name="connsiteX7" fmla="*/ 134608 w 142286"/>
                <a:gd name="connsiteY7" fmla="*/ 88247 h 88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2286" h="88409">
                  <a:moveTo>
                    <a:pt x="134608" y="88247"/>
                  </a:moveTo>
                  <a:cubicBezTo>
                    <a:pt x="133313" y="88247"/>
                    <a:pt x="132037" y="87923"/>
                    <a:pt x="130893" y="87295"/>
                  </a:cubicBezTo>
                  <a:lnTo>
                    <a:pt x="3163" y="13571"/>
                  </a:lnTo>
                  <a:cubicBezTo>
                    <a:pt x="-323" y="11400"/>
                    <a:pt x="-1380" y="6818"/>
                    <a:pt x="792" y="3341"/>
                  </a:cubicBezTo>
                  <a:cubicBezTo>
                    <a:pt x="2859" y="17"/>
                    <a:pt x="7145" y="-1126"/>
                    <a:pt x="10593" y="713"/>
                  </a:cubicBezTo>
                  <a:lnTo>
                    <a:pt x="138323" y="74436"/>
                  </a:lnTo>
                  <a:cubicBezTo>
                    <a:pt x="141847" y="76541"/>
                    <a:pt x="143000" y="81094"/>
                    <a:pt x="140905" y="84618"/>
                  </a:cubicBezTo>
                  <a:cubicBezTo>
                    <a:pt x="139580" y="86847"/>
                    <a:pt x="137199" y="88219"/>
                    <a:pt x="134608" y="88247"/>
                  </a:cubicBezTo>
                  <a:close/>
                </a:path>
              </a:pathLst>
            </a:custGeom>
            <a:solidFill>
              <a:srgbClr val="D1D9E8"/>
            </a:solidFill>
            <a:ln w="9525" cap="flat">
              <a:noFill/>
              <a:prstDash val="solid"/>
              <a:miter/>
            </a:ln>
          </p:spPr>
          <p:txBody>
            <a:bodyPr rtlCol="0" anchor="ctr"/>
            <a:lstStyle/>
            <a:p>
              <a:endParaRPr lang="zh-CN" altLang="en-US"/>
            </a:p>
          </p:txBody>
        </p:sp>
        <p:sp>
          <p:nvSpPr>
            <p:cNvPr id="524" name="iŝḻiḑe">
              <a:extLst>
                <a:ext uri="{FF2B5EF4-FFF2-40B4-BE49-F238E27FC236}">
                  <a16:creationId xmlns:a16="http://schemas.microsoft.com/office/drawing/2014/main" id="{3E5C57BA-825C-4837-B50D-B6360B00876D}"/>
                </a:ext>
              </a:extLst>
            </p:cNvPr>
            <p:cNvSpPr/>
            <p:nvPr/>
          </p:nvSpPr>
          <p:spPr>
            <a:xfrm>
              <a:off x="5716743" y="3357576"/>
              <a:ext cx="433985" cy="269668"/>
            </a:xfrm>
            <a:custGeom>
              <a:avLst/>
              <a:gdLst>
                <a:gd name="connsiteX0" fmla="*/ 134798 w 142574"/>
                <a:gd name="connsiteY0" fmla="*/ 88430 h 88592"/>
                <a:gd name="connsiteX1" fmla="*/ 131084 w 142574"/>
                <a:gd name="connsiteY1" fmla="*/ 87383 h 88592"/>
                <a:gd name="connsiteX2" fmla="*/ 3353 w 142574"/>
                <a:gd name="connsiteY2" fmla="*/ 13659 h 88592"/>
                <a:gd name="connsiteX3" fmla="*/ 639 w 142574"/>
                <a:gd name="connsiteY3" fmla="*/ 3648 h 88592"/>
                <a:gd name="connsiteX4" fmla="*/ 686 w 142574"/>
                <a:gd name="connsiteY4" fmla="*/ 3563 h 88592"/>
                <a:gd name="connsiteX5" fmla="*/ 10783 w 142574"/>
                <a:gd name="connsiteY5" fmla="*/ 800 h 88592"/>
                <a:gd name="connsiteX6" fmla="*/ 138513 w 142574"/>
                <a:gd name="connsiteY6" fmla="*/ 74619 h 88592"/>
                <a:gd name="connsiteX7" fmla="*/ 141275 w 142574"/>
                <a:gd name="connsiteY7" fmla="*/ 84716 h 88592"/>
                <a:gd name="connsiteX8" fmla="*/ 134798 w 142574"/>
                <a:gd name="connsiteY8" fmla="*/ 88430 h 885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574" h="88592">
                  <a:moveTo>
                    <a:pt x="134798" y="88430"/>
                  </a:moveTo>
                  <a:cubicBezTo>
                    <a:pt x="133493" y="88402"/>
                    <a:pt x="132217" y="88040"/>
                    <a:pt x="131084" y="87383"/>
                  </a:cubicBezTo>
                  <a:lnTo>
                    <a:pt x="3353" y="13659"/>
                  </a:lnTo>
                  <a:cubicBezTo>
                    <a:pt x="-161" y="11649"/>
                    <a:pt x="-1381" y="7163"/>
                    <a:pt x="639" y="3648"/>
                  </a:cubicBezTo>
                  <a:cubicBezTo>
                    <a:pt x="648" y="3620"/>
                    <a:pt x="667" y="3591"/>
                    <a:pt x="686" y="3563"/>
                  </a:cubicBezTo>
                  <a:cubicBezTo>
                    <a:pt x="2725" y="29"/>
                    <a:pt x="7230" y="-1209"/>
                    <a:pt x="10783" y="800"/>
                  </a:cubicBezTo>
                  <a:lnTo>
                    <a:pt x="138513" y="74619"/>
                  </a:lnTo>
                  <a:cubicBezTo>
                    <a:pt x="142047" y="76658"/>
                    <a:pt x="143285" y="81163"/>
                    <a:pt x="141275" y="84716"/>
                  </a:cubicBezTo>
                  <a:cubicBezTo>
                    <a:pt x="139923" y="87011"/>
                    <a:pt x="137465" y="88430"/>
                    <a:pt x="134798" y="88430"/>
                  </a:cubicBezTo>
                  <a:close/>
                </a:path>
              </a:pathLst>
            </a:custGeom>
            <a:solidFill>
              <a:srgbClr val="D1D9E8"/>
            </a:solidFill>
            <a:ln w="9525" cap="flat">
              <a:noFill/>
              <a:prstDash val="solid"/>
              <a:miter/>
            </a:ln>
          </p:spPr>
          <p:txBody>
            <a:bodyPr rtlCol="0" anchor="ctr"/>
            <a:lstStyle/>
            <a:p>
              <a:endParaRPr lang="zh-CN" altLang="en-US"/>
            </a:p>
          </p:txBody>
        </p:sp>
        <p:sp>
          <p:nvSpPr>
            <p:cNvPr id="525" name="íṧ1îḓê">
              <a:extLst>
                <a:ext uri="{FF2B5EF4-FFF2-40B4-BE49-F238E27FC236}">
                  <a16:creationId xmlns:a16="http://schemas.microsoft.com/office/drawing/2014/main" id="{B0561443-4366-4458-BE1A-9379CE42C2D2}"/>
                </a:ext>
              </a:extLst>
            </p:cNvPr>
            <p:cNvSpPr/>
            <p:nvPr/>
          </p:nvSpPr>
          <p:spPr>
            <a:xfrm>
              <a:off x="5721017" y="2673928"/>
              <a:ext cx="674397" cy="922602"/>
            </a:xfrm>
            <a:custGeom>
              <a:avLst/>
              <a:gdLst>
                <a:gd name="connsiteX0" fmla="*/ 192640 w 221555"/>
                <a:gd name="connsiteY0" fmla="*/ 299023 h 303096"/>
                <a:gd name="connsiteX1" fmla="*/ 28239 w 221555"/>
                <a:gd name="connsiteY1" fmla="*/ 203773 h 303096"/>
                <a:gd name="connsiteX2" fmla="*/ -336 w 221555"/>
                <a:gd name="connsiteY2" fmla="*/ 153767 h 303096"/>
                <a:gd name="connsiteX3" fmla="*/ -336 w 221555"/>
                <a:gd name="connsiteY3" fmla="*/ 20417 h 303096"/>
                <a:gd name="connsiteX4" fmla="*/ 28239 w 221555"/>
                <a:gd name="connsiteY4" fmla="*/ 3748 h 303096"/>
                <a:gd name="connsiteX5" fmla="*/ 192640 w 221555"/>
                <a:gd name="connsiteY5" fmla="*/ 98998 h 303096"/>
                <a:gd name="connsiteX6" fmla="*/ 221215 w 221555"/>
                <a:gd name="connsiteY6" fmla="*/ 149004 h 303096"/>
                <a:gd name="connsiteX7" fmla="*/ 221215 w 221555"/>
                <a:gd name="connsiteY7" fmla="*/ 282354 h 303096"/>
                <a:gd name="connsiteX8" fmla="*/ 192640 w 221555"/>
                <a:gd name="connsiteY8" fmla="*/ 299023 h 303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1555" h="303096">
                  <a:moveTo>
                    <a:pt x="192640" y="299023"/>
                  </a:moveTo>
                  <a:lnTo>
                    <a:pt x="28239" y="203773"/>
                  </a:lnTo>
                  <a:cubicBezTo>
                    <a:pt x="11293" y="192610"/>
                    <a:pt x="683" y="174036"/>
                    <a:pt x="-336" y="153767"/>
                  </a:cubicBezTo>
                  <a:lnTo>
                    <a:pt x="-336" y="20417"/>
                  </a:lnTo>
                  <a:cubicBezTo>
                    <a:pt x="-336" y="2034"/>
                    <a:pt x="12618" y="-5396"/>
                    <a:pt x="28239" y="3748"/>
                  </a:cubicBezTo>
                  <a:lnTo>
                    <a:pt x="192640" y="98998"/>
                  </a:lnTo>
                  <a:cubicBezTo>
                    <a:pt x="209547" y="110200"/>
                    <a:pt x="220148" y="128754"/>
                    <a:pt x="221215" y="149004"/>
                  </a:cubicBezTo>
                  <a:lnTo>
                    <a:pt x="221215" y="282354"/>
                  </a:lnTo>
                  <a:cubicBezTo>
                    <a:pt x="221501" y="300738"/>
                    <a:pt x="208547" y="308167"/>
                    <a:pt x="192640" y="299023"/>
                  </a:cubicBezTo>
                  <a:close/>
                </a:path>
              </a:pathLst>
            </a:custGeom>
            <a:solidFill>
              <a:srgbClr val="D1D9E8"/>
            </a:solidFill>
            <a:ln w="9525" cap="flat">
              <a:noFill/>
              <a:prstDash val="solid"/>
              <a:miter/>
            </a:ln>
          </p:spPr>
          <p:txBody>
            <a:bodyPr rtlCol="0" anchor="ctr"/>
            <a:lstStyle/>
            <a:p>
              <a:endParaRPr lang="zh-CN" altLang="en-US"/>
            </a:p>
          </p:txBody>
        </p:sp>
        <p:sp>
          <p:nvSpPr>
            <p:cNvPr id="526" name="iṡļiḑè">
              <a:extLst>
                <a:ext uri="{FF2B5EF4-FFF2-40B4-BE49-F238E27FC236}">
                  <a16:creationId xmlns:a16="http://schemas.microsoft.com/office/drawing/2014/main" id="{20C440AA-F5C9-40C3-B04C-E01DEDCEBB09}"/>
                </a:ext>
              </a:extLst>
            </p:cNvPr>
            <p:cNvSpPr/>
            <p:nvPr/>
          </p:nvSpPr>
          <p:spPr>
            <a:xfrm>
              <a:off x="5684667" y="2813404"/>
              <a:ext cx="92307" cy="154534"/>
            </a:xfrm>
            <a:custGeom>
              <a:avLst/>
              <a:gdLst>
                <a:gd name="connsiteX0" fmla="*/ 12272 w 30325"/>
                <a:gd name="connsiteY0" fmla="*/ 50606 h 50768"/>
                <a:gd name="connsiteX1" fmla="*/ 29989 w 30325"/>
                <a:gd name="connsiteY1" fmla="*/ 40414 h 50768"/>
                <a:gd name="connsiteX2" fmla="*/ 17416 w 30325"/>
                <a:gd name="connsiteY2" fmla="*/ 3171 h 50768"/>
                <a:gd name="connsiteX3" fmla="*/ 17416 w 30325"/>
                <a:gd name="connsiteY3" fmla="*/ -163 h 50768"/>
                <a:gd name="connsiteX4" fmla="*/ -301 w 30325"/>
                <a:gd name="connsiteY4" fmla="*/ 10029 h 50768"/>
                <a:gd name="connsiteX5" fmla="*/ -301 w 30325"/>
                <a:gd name="connsiteY5" fmla="*/ 12220 h 50768"/>
                <a:gd name="connsiteX6" fmla="*/ -301 w 30325"/>
                <a:gd name="connsiteY6" fmla="*/ 12220 h 50768"/>
                <a:gd name="connsiteX7" fmla="*/ -301 w 30325"/>
                <a:gd name="connsiteY7" fmla="*/ 13363 h 50768"/>
                <a:gd name="connsiteX8" fmla="*/ 12272 w 30325"/>
                <a:gd name="connsiteY8" fmla="*/ 50606 h 50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325" h="50768">
                  <a:moveTo>
                    <a:pt x="12272" y="50606"/>
                  </a:moveTo>
                  <a:lnTo>
                    <a:pt x="29989" y="40414"/>
                  </a:lnTo>
                  <a:cubicBezTo>
                    <a:pt x="22321" y="29460"/>
                    <a:pt x="17949" y="16535"/>
                    <a:pt x="17416" y="3171"/>
                  </a:cubicBezTo>
                  <a:cubicBezTo>
                    <a:pt x="17416" y="2028"/>
                    <a:pt x="17416" y="885"/>
                    <a:pt x="17416" y="-163"/>
                  </a:cubicBezTo>
                  <a:lnTo>
                    <a:pt x="-301" y="10029"/>
                  </a:lnTo>
                  <a:cubicBezTo>
                    <a:pt x="-301" y="10696"/>
                    <a:pt x="-301" y="11458"/>
                    <a:pt x="-301" y="12220"/>
                  </a:cubicBezTo>
                  <a:lnTo>
                    <a:pt x="-301" y="12220"/>
                  </a:lnTo>
                  <a:cubicBezTo>
                    <a:pt x="-348" y="12601"/>
                    <a:pt x="-348" y="12982"/>
                    <a:pt x="-301" y="13363"/>
                  </a:cubicBezTo>
                  <a:cubicBezTo>
                    <a:pt x="233" y="26726"/>
                    <a:pt x="4605" y="39652"/>
                    <a:pt x="12272" y="50606"/>
                  </a:cubicBezTo>
                  <a:close/>
                </a:path>
              </a:pathLst>
            </a:custGeom>
            <a:solidFill>
              <a:srgbClr val="214EA6"/>
            </a:solidFill>
            <a:ln w="9525" cap="flat">
              <a:noFill/>
              <a:prstDash val="solid"/>
              <a:miter/>
            </a:ln>
          </p:spPr>
          <p:txBody>
            <a:bodyPr rtlCol="0" anchor="ctr"/>
            <a:lstStyle/>
            <a:p>
              <a:endParaRPr lang="zh-CN" altLang="en-US"/>
            </a:p>
          </p:txBody>
        </p:sp>
        <p:sp>
          <p:nvSpPr>
            <p:cNvPr id="527" name="ïṧľîdé">
              <a:extLst>
                <a:ext uri="{FF2B5EF4-FFF2-40B4-BE49-F238E27FC236}">
                  <a16:creationId xmlns:a16="http://schemas.microsoft.com/office/drawing/2014/main" id="{9187EADF-A17F-4EE3-A617-7FF3982DECA0}"/>
                </a:ext>
              </a:extLst>
            </p:cNvPr>
            <p:cNvSpPr/>
            <p:nvPr/>
          </p:nvSpPr>
          <p:spPr>
            <a:xfrm>
              <a:off x="5623021" y="2802385"/>
              <a:ext cx="100026" cy="199475"/>
            </a:xfrm>
            <a:custGeom>
              <a:avLst/>
              <a:gdLst>
                <a:gd name="connsiteX0" fmla="*/ 19761 w 32861"/>
                <a:gd name="connsiteY0" fmla="*/ 65369 h 65532"/>
                <a:gd name="connsiteX1" fmla="*/ 32525 w 32861"/>
                <a:gd name="connsiteY1" fmla="*/ 54225 h 65532"/>
                <a:gd name="connsiteX2" fmla="*/ 19952 w 32861"/>
                <a:gd name="connsiteY2" fmla="*/ 16982 h 65532"/>
                <a:gd name="connsiteX3" fmla="*/ 19952 w 32861"/>
                <a:gd name="connsiteY3" fmla="*/ 15839 h 65532"/>
                <a:gd name="connsiteX4" fmla="*/ 19952 w 32861"/>
                <a:gd name="connsiteY4" fmla="*/ 15839 h 65532"/>
                <a:gd name="connsiteX5" fmla="*/ 19952 w 32861"/>
                <a:gd name="connsiteY5" fmla="*/ 13649 h 65532"/>
                <a:gd name="connsiteX6" fmla="*/ 19190 w 32861"/>
                <a:gd name="connsiteY6" fmla="*/ 13077 h 65532"/>
                <a:gd name="connsiteX7" fmla="*/ -336 w 32861"/>
                <a:gd name="connsiteY7" fmla="*/ -163 h 65532"/>
                <a:gd name="connsiteX8" fmla="*/ -336 w 32861"/>
                <a:gd name="connsiteY8" fmla="*/ 5171 h 65532"/>
                <a:gd name="connsiteX9" fmla="*/ 19761 w 32861"/>
                <a:gd name="connsiteY9" fmla="*/ 65369 h 65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2861" h="65532">
                  <a:moveTo>
                    <a:pt x="19761" y="65369"/>
                  </a:moveTo>
                  <a:lnTo>
                    <a:pt x="32525" y="54225"/>
                  </a:lnTo>
                  <a:cubicBezTo>
                    <a:pt x="24857" y="43271"/>
                    <a:pt x="20485" y="30346"/>
                    <a:pt x="19952" y="16982"/>
                  </a:cubicBezTo>
                  <a:cubicBezTo>
                    <a:pt x="19904" y="16601"/>
                    <a:pt x="19904" y="16220"/>
                    <a:pt x="19952" y="15839"/>
                  </a:cubicBezTo>
                  <a:lnTo>
                    <a:pt x="19952" y="15839"/>
                  </a:lnTo>
                  <a:cubicBezTo>
                    <a:pt x="19952" y="15077"/>
                    <a:pt x="19952" y="14315"/>
                    <a:pt x="19952" y="13649"/>
                  </a:cubicBezTo>
                  <a:lnTo>
                    <a:pt x="19190" y="13077"/>
                  </a:lnTo>
                  <a:lnTo>
                    <a:pt x="-336" y="-163"/>
                  </a:lnTo>
                  <a:cubicBezTo>
                    <a:pt x="-336" y="1552"/>
                    <a:pt x="-336" y="3266"/>
                    <a:pt x="-336" y="5171"/>
                  </a:cubicBezTo>
                  <a:cubicBezTo>
                    <a:pt x="549" y="26736"/>
                    <a:pt x="7512" y="47605"/>
                    <a:pt x="19761" y="65369"/>
                  </a:cubicBezTo>
                  <a:close/>
                </a:path>
              </a:pathLst>
            </a:custGeom>
            <a:solidFill>
              <a:srgbClr val="316DE6"/>
            </a:solidFill>
            <a:ln w="9525" cap="flat">
              <a:noFill/>
              <a:prstDash val="solid"/>
              <a:miter/>
            </a:ln>
          </p:spPr>
          <p:txBody>
            <a:bodyPr rtlCol="0" anchor="ctr"/>
            <a:lstStyle/>
            <a:p>
              <a:endParaRPr lang="zh-CN" altLang="en-US"/>
            </a:p>
          </p:txBody>
        </p:sp>
        <p:sp>
          <p:nvSpPr>
            <p:cNvPr id="528" name="îŝlîḍé">
              <a:extLst>
                <a:ext uri="{FF2B5EF4-FFF2-40B4-BE49-F238E27FC236}">
                  <a16:creationId xmlns:a16="http://schemas.microsoft.com/office/drawing/2014/main" id="{D41F7288-329F-489A-8815-062C302FBE7A}"/>
                </a:ext>
              </a:extLst>
            </p:cNvPr>
            <p:cNvSpPr/>
            <p:nvPr/>
          </p:nvSpPr>
          <p:spPr>
            <a:xfrm>
              <a:off x="5623599" y="2757444"/>
              <a:ext cx="115392" cy="86688"/>
            </a:xfrm>
            <a:custGeom>
              <a:avLst/>
              <a:gdLst>
                <a:gd name="connsiteX0" fmla="*/ 0 w 37909"/>
                <a:gd name="connsiteY0" fmla="*/ 14668 h 28479"/>
                <a:gd name="connsiteX1" fmla="*/ 25527 w 37909"/>
                <a:gd name="connsiteY1" fmla="*/ 0 h 28479"/>
                <a:gd name="connsiteX2" fmla="*/ 37909 w 37909"/>
                <a:gd name="connsiteY2" fmla="*/ 18288 h 28479"/>
                <a:gd name="connsiteX3" fmla="*/ 20288 w 37909"/>
                <a:gd name="connsiteY3" fmla="*/ 28480 h 28479"/>
                <a:gd name="connsiteX4" fmla="*/ 0 w 37909"/>
                <a:gd name="connsiteY4" fmla="*/ 14668 h 284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09" h="28479">
                  <a:moveTo>
                    <a:pt x="0" y="14668"/>
                  </a:moveTo>
                  <a:lnTo>
                    <a:pt x="25527" y="0"/>
                  </a:lnTo>
                  <a:lnTo>
                    <a:pt x="37909" y="18288"/>
                  </a:lnTo>
                  <a:lnTo>
                    <a:pt x="20288" y="28480"/>
                  </a:lnTo>
                  <a:lnTo>
                    <a:pt x="0" y="14668"/>
                  </a:lnTo>
                  <a:close/>
                </a:path>
              </a:pathLst>
            </a:custGeom>
            <a:solidFill>
              <a:srgbClr val="323A82"/>
            </a:solidFill>
            <a:ln w="9525" cap="flat">
              <a:noFill/>
              <a:prstDash val="solid"/>
              <a:miter/>
            </a:ln>
          </p:spPr>
          <p:txBody>
            <a:bodyPr rtlCol="0" anchor="ctr"/>
            <a:lstStyle/>
            <a:p>
              <a:endParaRPr lang="zh-CN" altLang="en-US"/>
            </a:p>
          </p:txBody>
        </p:sp>
        <p:sp>
          <p:nvSpPr>
            <p:cNvPr id="529" name="ïšļíḑè">
              <a:extLst>
                <a:ext uri="{FF2B5EF4-FFF2-40B4-BE49-F238E27FC236}">
                  <a16:creationId xmlns:a16="http://schemas.microsoft.com/office/drawing/2014/main" id="{7F8E1B6A-0057-425A-AA04-03BC117A10D6}"/>
                </a:ext>
              </a:extLst>
            </p:cNvPr>
            <p:cNvSpPr/>
            <p:nvPr/>
          </p:nvSpPr>
          <p:spPr>
            <a:xfrm>
              <a:off x="5684195" y="2936914"/>
              <a:ext cx="92487" cy="64653"/>
            </a:xfrm>
            <a:custGeom>
              <a:avLst/>
              <a:gdLst>
                <a:gd name="connsiteX0" fmla="*/ 0 w 30384"/>
                <a:gd name="connsiteY0" fmla="*/ 21241 h 21240"/>
                <a:gd name="connsiteX1" fmla="*/ 23622 w 30384"/>
                <a:gd name="connsiteY1" fmla="*/ 7715 h 21240"/>
                <a:gd name="connsiteX2" fmla="*/ 30385 w 30384"/>
                <a:gd name="connsiteY2" fmla="*/ 0 h 21240"/>
                <a:gd name="connsiteX3" fmla="*/ 12668 w 30384"/>
                <a:gd name="connsiteY3" fmla="*/ 10192 h 21240"/>
                <a:gd name="connsiteX4" fmla="*/ 0 w 30384"/>
                <a:gd name="connsiteY4" fmla="*/ 21241 h 212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384" h="21240">
                  <a:moveTo>
                    <a:pt x="0" y="21241"/>
                  </a:moveTo>
                  <a:lnTo>
                    <a:pt x="23622" y="7715"/>
                  </a:lnTo>
                  <a:lnTo>
                    <a:pt x="30385" y="0"/>
                  </a:lnTo>
                  <a:lnTo>
                    <a:pt x="12668" y="10192"/>
                  </a:lnTo>
                  <a:lnTo>
                    <a:pt x="0" y="21241"/>
                  </a:lnTo>
                  <a:close/>
                </a:path>
              </a:pathLst>
            </a:custGeom>
            <a:solidFill>
              <a:srgbClr val="171A42"/>
            </a:solidFill>
            <a:ln w="9525" cap="flat">
              <a:noFill/>
              <a:prstDash val="solid"/>
              <a:miter/>
            </a:ln>
          </p:spPr>
          <p:txBody>
            <a:bodyPr rtlCol="0" anchor="ctr"/>
            <a:lstStyle/>
            <a:p>
              <a:endParaRPr lang="zh-CN" altLang="en-US"/>
            </a:p>
          </p:txBody>
        </p:sp>
        <p:sp>
          <p:nvSpPr>
            <p:cNvPr id="530" name="isḻíḓé">
              <a:extLst>
                <a:ext uri="{FF2B5EF4-FFF2-40B4-BE49-F238E27FC236}">
                  <a16:creationId xmlns:a16="http://schemas.microsoft.com/office/drawing/2014/main" id="{4BD42C2D-F8B4-4852-A716-008F5C9A74DA}"/>
                </a:ext>
              </a:extLst>
            </p:cNvPr>
            <p:cNvSpPr/>
            <p:nvPr/>
          </p:nvSpPr>
          <p:spPr>
            <a:xfrm>
              <a:off x="5735223" y="2763243"/>
              <a:ext cx="31021" cy="17685"/>
            </a:xfrm>
            <a:custGeom>
              <a:avLst/>
              <a:gdLst>
                <a:gd name="connsiteX0" fmla="*/ -336 w 10191"/>
                <a:gd name="connsiteY0" fmla="*/ 5647 h 5810"/>
                <a:gd name="connsiteX1" fmla="*/ 9855 w 10191"/>
                <a:gd name="connsiteY1" fmla="*/ -163 h 5810"/>
                <a:gd name="connsiteX2" fmla="*/ 2331 w 10191"/>
                <a:gd name="connsiteY2" fmla="*/ 2980 h 5810"/>
                <a:gd name="connsiteX3" fmla="*/ -336 w 10191"/>
                <a:gd name="connsiteY3" fmla="*/ 5647 h 5810"/>
              </a:gdLst>
              <a:ahLst/>
              <a:cxnLst>
                <a:cxn ang="0">
                  <a:pos x="connsiteX0" y="connsiteY0"/>
                </a:cxn>
                <a:cxn ang="0">
                  <a:pos x="connsiteX1" y="connsiteY1"/>
                </a:cxn>
                <a:cxn ang="0">
                  <a:pos x="connsiteX2" y="connsiteY2"/>
                </a:cxn>
                <a:cxn ang="0">
                  <a:pos x="connsiteX3" y="connsiteY3"/>
                </a:cxn>
              </a:cxnLst>
              <a:rect l="l" t="t" r="r" b="b"/>
              <a:pathLst>
                <a:path w="10191" h="5810">
                  <a:moveTo>
                    <a:pt x="-336" y="5647"/>
                  </a:moveTo>
                  <a:lnTo>
                    <a:pt x="9855" y="-163"/>
                  </a:lnTo>
                  <a:cubicBezTo>
                    <a:pt x="7122" y="218"/>
                    <a:pt x="4531" y="1304"/>
                    <a:pt x="2331" y="2980"/>
                  </a:cubicBezTo>
                  <a:cubicBezTo>
                    <a:pt x="1350" y="3771"/>
                    <a:pt x="454" y="4666"/>
                    <a:pt x="-336" y="5647"/>
                  </a:cubicBezTo>
                  <a:close/>
                </a:path>
              </a:pathLst>
            </a:custGeom>
            <a:solidFill>
              <a:srgbClr val="D9530B"/>
            </a:solidFill>
            <a:ln w="9525" cap="flat">
              <a:noFill/>
              <a:prstDash val="solid"/>
              <a:miter/>
            </a:ln>
          </p:spPr>
          <p:txBody>
            <a:bodyPr rtlCol="0" anchor="ctr"/>
            <a:lstStyle/>
            <a:p>
              <a:endParaRPr lang="zh-CN" altLang="en-US"/>
            </a:p>
          </p:txBody>
        </p:sp>
        <p:sp>
          <p:nvSpPr>
            <p:cNvPr id="531" name="ïśliḋê">
              <a:extLst>
                <a:ext uri="{FF2B5EF4-FFF2-40B4-BE49-F238E27FC236}">
                  <a16:creationId xmlns:a16="http://schemas.microsoft.com/office/drawing/2014/main" id="{10B72A1A-30F8-431A-9E11-D878285C6ECD}"/>
                </a:ext>
              </a:extLst>
            </p:cNvPr>
            <p:cNvSpPr/>
            <p:nvPr/>
          </p:nvSpPr>
          <p:spPr>
            <a:xfrm>
              <a:off x="5706230" y="2651093"/>
              <a:ext cx="281816" cy="172168"/>
            </a:xfrm>
            <a:custGeom>
              <a:avLst/>
              <a:gdLst>
                <a:gd name="connsiteX0" fmla="*/ 74530 w 92583"/>
                <a:gd name="connsiteY0" fmla="*/ 56399 h 56561"/>
                <a:gd name="connsiteX1" fmla="*/ 92247 w 92583"/>
                <a:gd name="connsiteY1" fmla="*/ 46207 h 56561"/>
                <a:gd name="connsiteX2" fmla="*/ 55099 w 92583"/>
                <a:gd name="connsiteY2" fmla="*/ 7250 h 56561"/>
                <a:gd name="connsiteX3" fmla="*/ 16999 w 92583"/>
                <a:gd name="connsiteY3" fmla="*/ 3440 h 56561"/>
                <a:gd name="connsiteX4" fmla="*/ -336 w 92583"/>
                <a:gd name="connsiteY4" fmla="*/ 13631 h 56561"/>
                <a:gd name="connsiteX5" fmla="*/ 9189 w 92583"/>
                <a:gd name="connsiteY5" fmla="*/ 10393 h 56561"/>
                <a:gd name="connsiteX6" fmla="*/ 10141 w 92583"/>
                <a:gd name="connsiteY6" fmla="*/ 10393 h 56561"/>
                <a:gd name="connsiteX7" fmla="*/ 37192 w 92583"/>
                <a:gd name="connsiteY7" fmla="*/ 17632 h 56561"/>
                <a:gd name="connsiteX8" fmla="*/ 53956 w 92583"/>
                <a:gd name="connsiteY8" fmla="*/ 30491 h 56561"/>
                <a:gd name="connsiteX9" fmla="*/ 53956 w 92583"/>
                <a:gd name="connsiteY9" fmla="*/ 30491 h 56561"/>
                <a:gd name="connsiteX10" fmla="*/ 74530 w 92583"/>
                <a:gd name="connsiteY10" fmla="*/ 56399 h 565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2583" h="56561">
                  <a:moveTo>
                    <a:pt x="74530" y="56399"/>
                  </a:moveTo>
                  <a:lnTo>
                    <a:pt x="92247" y="46207"/>
                  </a:lnTo>
                  <a:cubicBezTo>
                    <a:pt x="83303" y="30329"/>
                    <a:pt x="70539" y="16936"/>
                    <a:pt x="55099" y="7250"/>
                  </a:cubicBezTo>
                  <a:cubicBezTo>
                    <a:pt x="40240" y="-1323"/>
                    <a:pt x="26524" y="-2275"/>
                    <a:pt x="16999" y="3440"/>
                  </a:cubicBezTo>
                  <a:lnTo>
                    <a:pt x="-336" y="13631"/>
                  </a:lnTo>
                  <a:cubicBezTo>
                    <a:pt x="2588" y="11917"/>
                    <a:pt x="5826" y="10812"/>
                    <a:pt x="9189" y="10393"/>
                  </a:cubicBezTo>
                  <a:lnTo>
                    <a:pt x="10141" y="10393"/>
                  </a:lnTo>
                  <a:cubicBezTo>
                    <a:pt x="19695" y="9945"/>
                    <a:pt x="29144" y="12479"/>
                    <a:pt x="37192" y="17632"/>
                  </a:cubicBezTo>
                  <a:cubicBezTo>
                    <a:pt x="43260" y="21251"/>
                    <a:pt x="48879" y="25576"/>
                    <a:pt x="53956" y="30491"/>
                  </a:cubicBezTo>
                  <a:lnTo>
                    <a:pt x="53956" y="30491"/>
                  </a:lnTo>
                  <a:cubicBezTo>
                    <a:pt x="61948" y="38158"/>
                    <a:pt x="68872" y="46874"/>
                    <a:pt x="74530" y="56399"/>
                  </a:cubicBezTo>
                  <a:close/>
                </a:path>
              </a:pathLst>
            </a:custGeom>
            <a:solidFill>
              <a:srgbClr val="D9530B"/>
            </a:solidFill>
            <a:ln w="9525" cap="flat">
              <a:noFill/>
              <a:prstDash val="solid"/>
              <a:miter/>
            </a:ln>
          </p:spPr>
          <p:txBody>
            <a:bodyPr rtlCol="0" anchor="ctr"/>
            <a:lstStyle/>
            <a:p>
              <a:endParaRPr lang="zh-CN" altLang="en-US"/>
            </a:p>
          </p:txBody>
        </p:sp>
        <p:sp>
          <p:nvSpPr>
            <p:cNvPr id="532" name="îsḻîḑê">
              <a:extLst>
                <a:ext uri="{FF2B5EF4-FFF2-40B4-BE49-F238E27FC236}">
                  <a16:creationId xmlns:a16="http://schemas.microsoft.com/office/drawing/2014/main" id="{548A6113-DD6C-46E3-85EB-D02F719B9CF3}"/>
                </a:ext>
              </a:extLst>
            </p:cNvPr>
            <p:cNvSpPr/>
            <p:nvPr/>
          </p:nvSpPr>
          <p:spPr>
            <a:xfrm>
              <a:off x="5685936" y="2682488"/>
              <a:ext cx="248181" cy="167154"/>
            </a:xfrm>
            <a:custGeom>
              <a:avLst/>
              <a:gdLst>
                <a:gd name="connsiteX0" fmla="*/ 67005 w 81533"/>
                <a:gd name="connsiteY0" fmla="*/ 54752 h 54914"/>
                <a:gd name="connsiteX1" fmla="*/ 81198 w 81533"/>
                <a:gd name="connsiteY1" fmla="*/ 46084 h 54914"/>
                <a:gd name="connsiteX2" fmla="*/ 60814 w 81533"/>
                <a:gd name="connsiteY2" fmla="*/ 19986 h 54914"/>
                <a:gd name="connsiteX3" fmla="*/ 60814 w 81533"/>
                <a:gd name="connsiteY3" fmla="*/ 19986 h 54914"/>
                <a:gd name="connsiteX4" fmla="*/ 44431 w 81533"/>
                <a:gd name="connsiteY4" fmla="*/ 7127 h 54914"/>
                <a:gd name="connsiteX5" fmla="*/ 17380 w 81533"/>
                <a:gd name="connsiteY5" fmla="*/ -112 h 54914"/>
                <a:gd name="connsiteX6" fmla="*/ 16428 w 81533"/>
                <a:gd name="connsiteY6" fmla="*/ -112 h 54914"/>
                <a:gd name="connsiteX7" fmla="*/ 6903 w 81533"/>
                <a:gd name="connsiteY7" fmla="*/ 3127 h 54914"/>
                <a:gd name="connsiteX8" fmla="*/ -336 w 81533"/>
                <a:gd name="connsiteY8" fmla="*/ 9318 h 54914"/>
                <a:gd name="connsiteX9" fmla="*/ 9189 w 81533"/>
                <a:gd name="connsiteY9" fmla="*/ 21891 h 54914"/>
                <a:gd name="connsiteX10" fmla="*/ 9855 w 81533"/>
                <a:gd name="connsiteY10" fmla="*/ 22748 h 54914"/>
                <a:gd name="connsiteX11" fmla="*/ 9855 w 81533"/>
                <a:gd name="connsiteY11" fmla="*/ 22748 h 54914"/>
                <a:gd name="connsiteX12" fmla="*/ 16809 w 81533"/>
                <a:gd name="connsiteY12" fmla="*/ 32273 h 54914"/>
                <a:gd name="connsiteX13" fmla="*/ 19476 w 81533"/>
                <a:gd name="connsiteY13" fmla="*/ 29606 h 54914"/>
                <a:gd name="connsiteX14" fmla="*/ 27001 w 81533"/>
                <a:gd name="connsiteY14" fmla="*/ 26463 h 54914"/>
                <a:gd name="connsiteX15" fmla="*/ 31954 w 81533"/>
                <a:gd name="connsiteY15" fmla="*/ 26463 h 54914"/>
                <a:gd name="connsiteX16" fmla="*/ 44812 w 81533"/>
                <a:gd name="connsiteY16" fmla="*/ 30940 h 54914"/>
                <a:gd name="connsiteX17" fmla="*/ 67005 w 81533"/>
                <a:gd name="connsiteY17" fmla="*/ 54752 h 54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1533" h="54914">
                  <a:moveTo>
                    <a:pt x="67005" y="54752"/>
                  </a:moveTo>
                  <a:lnTo>
                    <a:pt x="81198" y="46084"/>
                  </a:lnTo>
                  <a:cubicBezTo>
                    <a:pt x="75607" y="36502"/>
                    <a:pt x="68749" y="27730"/>
                    <a:pt x="60814" y="19986"/>
                  </a:cubicBezTo>
                  <a:lnTo>
                    <a:pt x="60814" y="19986"/>
                  </a:lnTo>
                  <a:cubicBezTo>
                    <a:pt x="55861" y="15090"/>
                    <a:pt x="50365" y="10775"/>
                    <a:pt x="44431" y="7127"/>
                  </a:cubicBezTo>
                  <a:cubicBezTo>
                    <a:pt x="36383" y="1974"/>
                    <a:pt x="26934" y="-560"/>
                    <a:pt x="17380" y="-112"/>
                  </a:cubicBezTo>
                  <a:lnTo>
                    <a:pt x="16428" y="-112"/>
                  </a:lnTo>
                  <a:cubicBezTo>
                    <a:pt x="13065" y="307"/>
                    <a:pt x="9827" y="1412"/>
                    <a:pt x="6903" y="3127"/>
                  </a:cubicBezTo>
                  <a:cubicBezTo>
                    <a:pt x="4131" y="4736"/>
                    <a:pt x="1683" y="6832"/>
                    <a:pt x="-336" y="9318"/>
                  </a:cubicBezTo>
                  <a:lnTo>
                    <a:pt x="9189" y="21891"/>
                  </a:lnTo>
                  <a:lnTo>
                    <a:pt x="9855" y="22748"/>
                  </a:lnTo>
                  <a:lnTo>
                    <a:pt x="9855" y="22748"/>
                  </a:lnTo>
                  <a:lnTo>
                    <a:pt x="16809" y="32273"/>
                  </a:lnTo>
                  <a:cubicBezTo>
                    <a:pt x="17599" y="31292"/>
                    <a:pt x="18495" y="30397"/>
                    <a:pt x="19476" y="29606"/>
                  </a:cubicBezTo>
                  <a:cubicBezTo>
                    <a:pt x="21676" y="27930"/>
                    <a:pt x="24267" y="26844"/>
                    <a:pt x="27001" y="26463"/>
                  </a:cubicBezTo>
                  <a:cubicBezTo>
                    <a:pt x="28639" y="26215"/>
                    <a:pt x="30315" y="26215"/>
                    <a:pt x="31954" y="26463"/>
                  </a:cubicBezTo>
                  <a:cubicBezTo>
                    <a:pt x="36516" y="27015"/>
                    <a:pt x="40897" y="28539"/>
                    <a:pt x="44812" y="30940"/>
                  </a:cubicBezTo>
                  <a:cubicBezTo>
                    <a:pt x="54061" y="36921"/>
                    <a:pt x="61691" y="45103"/>
                    <a:pt x="67005" y="54752"/>
                  </a:cubicBezTo>
                  <a:close/>
                </a:path>
              </a:pathLst>
            </a:custGeom>
            <a:solidFill>
              <a:srgbClr val="FF7D33"/>
            </a:solidFill>
            <a:ln w="9525" cap="flat">
              <a:noFill/>
              <a:prstDash val="solid"/>
              <a:miter/>
            </a:ln>
          </p:spPr>
          <p:txBody>
            <a:bodyPr rtlCol="0" anchor="ctr"/>
            <a:lstStyle/>
            <a:p>
              <a:endParaRPr lang="zh-CN" altLang="en-US"/>
            </a:p>
          </p:txBody>
        </p:sp>
        <p:sp>
          <p:nvSpPr>
            <p:cNvPr id="533" name="ïṥļíḍê">
              <a:extLst>
                <a:ext uri="{FF2B5EF4-FFF2-40B4-BE49-F238E27FC236}">
                  <a16:creationId xmlns:a16="http://schemas.microsoft.com/office/drawing/2014/main" id="{F16AAC2D-46B8-4179-94CA-6F31F4457C4F}"/>
                </a:ext>
              </a:extLst>
            </p:cNvPr>
            <p:cNvSpPr/>
            <p:nvPr/>
          </p:nvSpPr>
          <p:spPr>
            <a:xfrm>
              <a:off x="5934119" y="2792236"/>
              <a:ext cx="104041" cy="300950"/>
            </a:xfrm>
            <a:custGeom>
              <a:avLst/>
              <a:gdLst>
                <a:gd name="connsiteX0" fmla="*/ 140 w 34180"/>
                <a:gd name="connsiteY0" fmla="*/ 98707 h 98869"/>
                <a:gd name="connsiteX1" fmla="*/ 17856 w 34180"/>
                <a:gd name="connsiteY1" fmla="*/ 88515 h 98869"/>
                <a:gd name="connsiteX2" fmla="*/ 33668 w 34180"/>
                <a:gd name="connsiteY2" fmla="*/ 53844 h 98869"/>
                <a:gd name="connsiteX3" fmla="*/ 17380 w 34180"/>
                <a:gd name="connsiteY3" fmla="*/ -163 h 98869"/>
                <a:gd name="connsiteX4" fmla="*/ -336 w 34180"/>
                <a:gd name="connsiteY4" fmla="*/ 10029 h 98869"/>
                <a:gd name="connsiteX5" fmla="*/ 13285 w 34180"/>
                <a:gd name="connsiteY5" fmla="*/ 43081 h 98869"/>
                <a:gd name="connsiteX6" fmla="*/ 15952 w 34180"/>
                <a:gd name="connsiteY6" fmla="*/ 64036 h 98869"/>
                <a:gd name="connsiteX7" fmla="*/ 10998 w 34180"/>
                <a:gd name="connsiteY7" fmla="*/ 86991 h 98869"/>
                <a:gd name="connsiteX8" fmla="*/ 7951 w 34180"/>
                <a:gd name="connsiteY8" fmla="*/ 91754 h 98869"/>
                <a:gd name="connsiteX9" fmla="*/ 140 w 34180"/>
                <a:gd name="connsiteY9" fmla="*/ 98707 h 98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4180" h="98869">
                  <a:moveTo>
                    <a:pt x="140" y="98707"/>
                  </a:moveTo>
                  <a:lnTo>
                    <a:pt x="17856" y="88515"/>
                  </a:lnTo>
                  <a:cubicBezTo>
                    <a:pt x="28944" y="80609"/>
                    <a:pt x="34973" y="67398"/>
                    <a:pt x="33668" y="53844"/>
                  </a:cubicBezTo>
                  <a:cubicBezTo>
                    <a:pt x="32982" y="34737"/>
                    <a:pt x="27372" y="16135"/>
                    <a:pt x="17380" y="-163"/>
                  </a:cubicBezTo>
                  <a:lnTo>
                    <a:pt x="-336" y="10029"/>
                  </a:lnTo>
                  <a:cubicBezTo>
                    <a:pt x="5779" y="20326"/>
                    <a:pt x="10370" y="31460"/>
                    <a:pt x="13285" y="43081"/>
                  </a:cubicBezTo>
                  <a:cubicBezTo>
                    <a:pt x="14989" y="49939"/>
                    <a:pt x="15885" y="56968"/>
                    <a:pt x="15952" y="64036"/>
                  </a:cubicBezTo>
                  <a:cubicBezTo>
                    <a:pt x="16104" y="71970"/>
                    <a:pt x="14408" y="79828"/>
                    <a:pt x="10998" y="86991"/>
                  </a:cubicBezTo>
                  <a:cubicBezTo>
                    <a:pt x="10151" y="88677"/>
                    <a:pt x="9132" y="90277"/>
                    <a:pt x="7951" y="91754"/>
                  </a:cubicBezTo>
                  <a:cubicBezTo>
                    <a:pt x="5855" y="94582"/>
                    <a:pt x="3188" y="96945"/>
                    <a:pt x="140" y="98707"/>
                  </a:cubicBezTo>
                  <a:close/>
                </a:path>
              </a:pathLst>
            </a:custGeom>
            <a:solidFill>
              <a:srgbClr val="171A42"/>
            </a:solidFill>
            <a:ln w="9525" cap="flat">
              <a:noFill/>
              <a:prstDash val="solid"/>
              <a:miter/>
            </a:ln>
          </p:spPr>
          <p:txBody>
            <a:bodyPr rtlCol="0" anchor="ctr"/>
            <a:lstStyle/>
            <a:p>
              <a:endParaRPr lang="zh-CN" altLang="en-US"/>
            </a:p>
          </p:txBody>
        </p:sp>
        <p:sp>
          <p:nvSpPr>
            <p:cNvPr id="534" name="ïṧľîďê">
              <a:extLst>
                <a:ext uri="{FF2B5EF4-FFF2-40B4-BE49-F238E27FC236}">
                  <a16:creationId xmlns:a16="http://schemas.microsoft.com/office/drawing/2014/main" id="{C0E405A1-E8B6-4353-B7F4-7492A8850334}"/>
                </a:ext>
              </a:extLst>
            </p:cNvPr>
            <p:cNvSpPr/>
            <p:nvPr/>
          </p:nvSpPr>
          <p:spPr>
            <a:xfrm>
              <a:off x="5882510" y="2823260"/>
              <a:ext cx="101214" cy="276596"/>
            </a:xfrm>
            <a:custGeom>
              <a:avLst/>
              <a:gdLst>
                <a:gd name="connsiteX0" fmla="*/ 17095 w 33251"/>
                <a:gd name="connsiteY0" fmla="*/ 88515 h 90868"/>
                <a:gd name="connsiteX1" fmla="*/ 24905 w 33251"/>
                <a:gd name="connsiteY1" fmla="*/ 81562 h 90868"/>
                <a:gd name="connsiteX2" fmla="*/ 27953 w 33251"/>
                <a:gd name="connsiteY2" fmla="*/ 76799 h 90868"/>
                <a:gd name="connsiteX3" fmla="*/ 32906 w 33251"/>
                <a:gd name="connsiteY3" fmla="*/ 53844 h 90868"/>
                <a:gd name="connsiteX4" fmla="*/ 30239 w 33251"/>
                <a:gd name="connsiteY4" fmla="*/ 32889 h 90868"/>
                <a:gd name="connsiteX5" fmla="*/ 16618 w 33251"/>
                <a:gd name="connsiteY5" fmla="*/ -163 h 90868"/>
                <a:gd name="connsiteX6" fmla="*/ 2426 w 33251"/>
                <a:gd name="connsiteY6" fmla="*/ 8505 h 90868"/>
                <a:gd name="connsiteX7" fmla="*/ 12522 w 33251"/>
                <a:gd name="connsiteY7" fmla="*/ 42033 h 90868"/>
                <a:gd name="connsiteX8" fmla="*/ 9951 w 33251"/>
                <a:gd name="connsiteY8" fmla="*/ 55463 h 90868"/>
                <a:gd name="connsiteX9" fmla="*/ 5474 w 33251"/>
                <a:gd name="connsiteY9" fmla="*/ 61559 h 90868"/>
                <a:gd name="connsiteX10" fmla="*/ -336 w 33251"/>
                <a:gd name="connsiteY10" fmla="*/ 64893 h 90868"/>
                <a:gd name="connsiteX11" fmla="*/ 6522 w 33251"/>
                <a:gd name="connsiteY11" fmla="*/ 79085 h 90868"/>
                <a:gd name="connsiteX12" fmla="*/ 12142 w 33251"/>
                <a:gd name="connsiteY12" fmla="*/ 90706 h 90868"/>
                <a:gd name="connsiteX13" fmla="*/ 17095 w 33251"/>
                <a:gd name="connsiteY13" fmla="*/ 88515 h 90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3251" h="90868">
                  <a:moveTo>
                    <a:pt x="17095" y="88515"/>
                  </a:moveTo>
                  <a:cubicBezTo>
                    <a:pt x="20143" y="86753"/>
                    <a:pt x="22810" y="84391"/>
                    <a:pt x="24905" y="81562"/>
                  </a:cubicBezTo>
                  <a:cubicBezTo>
                    <a:pt x="26086" y="80086"/>
                    <a:pt x="27105" y="78485"/>
                    <a:pt x="27953" y="76799"/>
                  </a:cubicBezTo>
                  <a:cubicBezTo>
                    <a:pt x="31363" y="69637"/>
                    <a:pt x="33058" y="61779"/>
                    <a:pt x="32906" y="53844"/>
                  </a:cubicBezTo>
                  <a:cubicBezTo>
                    <a:pt x="32839" y="46777"/>
                    <a:pt x="31944" y="39747"/>
                    <a:pt x="30239" y="32889"/>
                  </a:cubicBezTo>
                  <a:cubicBezTo>
                    <a:pt x="27324" y="21269"/>
                    <a:pt x="22733" y="10134"/>
                    <a:pt x="16618" y="-163"/>
                  </a:cubicBezTo>
                  <a:lnTo>
                    <a:pt x="2426" y="8505"/>
                  </a:lnTo>
                  <a:cubicBezTo>
                    <a:pt x="8646" y="18611"/>
                    <a:pt x="12132" y="30165"/>
                    <a:pt x="12522" y="42033"/>
                  </a:cubicBezTo>
                  <a:cubicBezTo>
                    <a:pt x="12618" y="46643"/>
                    <a:pt x="11741" y="51215"/>
                    <a:pt x="9951" y="55463"/>
                  </a:cubicBezTo>
                  <a:cubicBezTo>
                    <a:pt x="8865" y="57768"/>
                    <a:pt x="7341" y="59835"/>
                    <a:pt x="5474" y="61559"/>
                  </a:cubicBezTo>
                  <a:cubicBezTo>
                    <a:pt x="3807" y="63083"/>
                    <a:pt x="1826" y="64217"/>
                    <a:pt x="-336" y="64893"/>
                  </a:cubicBezTo>
                  <a:lnTo>
                    <a:pt x="6522" y="79085"/>
                  </a:lnTo>
                  <a:lnTo>
                    <a:pt x="12142" y="90706"/>
                  </a:lnTo>
                  <a:cubicBezTo>
                    <a:pt x="13856" y="90134"/>
                    <a:pt x="15513" y="89401"/>
                    <a:pt x="17095" y="88515"/>
                  </a:cubicBezTo>
                  <a:close/>
                </a:path>
              </a:pathLst>
            </a:custGeom>
            <a:solidFill>
              <a:srgbClr val="323A82"/>
            </a:solidFill>
            <a:ln w="9525" cap="flat">
              <a:noFill/>
              <a:prstDash val="solid"/>
              <a:miter/>
            </a:ln>
          </p:spPr>
          <p:txBody>
            <a:bodyPr rtlCol="0" anchor="ctr"/>
            <a:lstStyle/>
            <a:p>
              <a:endParaRPr lang="zh-CN" altLang="en-US"/>
            </a:p>
          </p:txBody>
        </p:sp>
        <p:sp>
          <p:nvSpPr>
            <p:cNvPr id="535" name="íṧḻidé">
              <a:extLst>
                <a:ext uri="{FF2B5EF4-FFF2-40B4-BE49-F238E27FC236}">
                  <a16:creationId xmlns:a16="http://schemas.microsoft.com/office/drawing/2014/main" id="{9BB3FF6A-BF01-471F-BB45-7A6342AA689C}"/>
                </a:ext>
              </a:extLst>
            </p:cNvPr>
            <p:cNvSpPr/>
            <p:nvPr/>
          </p:nvSpPr>
          <p:spPr>
            <a:xfrm>
              <a:off x="5757547" y="2917199"/>
              <a:ext cx="156272" cy="104623"/>
            </a:xfrm>
            <a:custGeom>
              <a:avLst/>
              <a:gdLst>
                <a:gd name="connsiteX0" fmla="*/ 46527 w 51339"/>
                <a:gd name="connsiteY0" fmla="*/ 30698 h 34371"/>
                <a:gd name="connsiteX1" fmla="*/ 51004 w 51339"/>
                <a:gd name="connsiteY1" fmla="*/ 24602 h 34371"/>
                <a:gd name="connsiteX2" fmla="*/ 38049 w 51339"/>
                <a:gd name="connsiteY2" fmla="*/ 20126 h 34371"/>
                <a:gd name="connsiteX3" fmla="*/ 17380 w 51339"/>
                <a:gd name="connsiteY3" fmla="*/ -163 h 34371"/>
                <a:gd name="connsiteX4" fmla="*/ -336 w 51339"/>
                <a:gd name="connsiteY4" fmla="*/ 9934 h 34371"/>
                <a:gd name="connsiteX5" fmla="*/ 20333 w 51339"/>
                <a:gd name="connsiteY5" fmla="*/ 30317 h 34371"/>
                <a:gd name="connsiteX6" fmla="*/ 21286 w 51339"/>
                <a:gd name="connsiteY6" fmla="*/ 30317 h 34371"/>
                <a:gd name="connsiteX7" fmla="*/ 40336 w 51339"/>
                <a:gd name="connsiteY7" fmla="*/ 33556 h 34371"/>
                <a:gd name="connsiteX8" fmla="*/ 46527 w 51339"/>
                <a:gd name="connsiteY8" fmla="*/ 30698 h 34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339" h="34371">
                  <a:moveTo>
                    <a:pt x="46527" y="30698"/>
                  </a:moveTo>
                  <a:cubicBezTo>
                    <a:pt x="48394" y="28974"/>
                    <a:pt x="49918" y="26907"/>
                    <a:pt x="51004" y="24602"/>
                  </a:cubicBezTo>
                  <a:cubicBezTo>
                    <a:pt x="46413" y="24069"/>
                    <a:pt x="41993" y="22535"/>
                    <a:pt x="38049" y="20126"/>
                  </a:cubicBezTo>
                  <a:cubicBezTo>
                    <a:pt x="29734" y="14992"/>
                    <a:pt x="22667" y="8057"/>
                    <a:pt x="17380" y="-163"/>
                  </a:cubicBezTo>
                  <a:lnTo>
                    <a:pt x="-336" y="9934"/>
                  </a:lnTo>
                  <a:cubicBezTo>
                    <a:pt x="4950" y="18182"/>
                    <a:pt x="12008" y="25145"/>
                    <a:pt x="20333" y="30317"/>
                  </a:cubicBezTo>
                  <a:cubicBezTo>
                    <a:pt x="20647" y="30365"/>
                    <a:pt x="20971" y="30365"/>
                    <a:pt x="21286" y="30317"/>
                  </a:cubicBezTo>
                  <a:cubicBezTo>
                    <a:pt x="26943" y="33908"/>
                    <a:pt x="33811" y="35080"/>
                    <a:pt x="40336" y="33556"/>
                  </a:cubicBezTo>
                  <a:cubicBezTo>
                    <a:pt x="42583" y="33080"/>
                    <a:pt x="44698" y="32098"/>
                    <a:pt x="46527" y="30698"/>
                  </a:cubicBezTo>
                  <a:close/>
                </a:path>
              </a:pathLst>
            </a:custGeom>
            <a:solidFill>
              <a:srgbClr val="171A42"/>
            </a:solidFill>
            <a:ln w="9525" cap="flat">
              <a:noFill/>
              <a:prstDash val="solid"/>
              <a:miter/>
            </a:ln>
          </p:spPr>
          <p:txBody>
            <a:bodyPr rtlCol="0" anchor="ctr"/>
            <a:lstStyle/>
            <a:p>
              <a:endParaRPr lang="zh-CN" altLang="en-US"/>
            </a:p>
          </p:txBody>
        </p:sp>
        <p:sp>
          <p:nvSpPr>
            <p:cNvPr id="536" name="íṡḻîḓê">
              <a:extLst>
                <a:ext uri="{FF2B5EF4-FFF2-40B4-BE49-F238E27FC236}">
                  <a16:creationId xmlns:a16="http://schemas.microsoft.com/office/drawing/2014/main" id="{75840C2D-C140-4A8E-BE17-14F3E859FFDB}"/>
                </a:ext>
              </a:extLst>
            </p:cNvPr>
            <p:cNvSpPr/>
            <p:nvPr/>
          </p:nvSpPr>
          <p:spPr>
            <a:xfrm>
              <a:off x="5720147" y="2949382"/>
              <a:ext cx="200342" cy="154096"/>
            </a:xfrm>
            <a:custGeom>
              <a:avLst/>
              <a:gdLst>
                <a:gd name="connsiteX0" fmla="*/ 65481 w 65817"/>
                <a:gd name="connsiteY0" fmla="*/ 49272 h 50624"/>
                <a:gd name="connsiteX1" fmla="*/ 59861 w 65817"/>
                <a:gd name="connsiteY1" fmla="*/ 37652 h 50624"/>
                <a:gd name="connsiteX2" fmla="*/ 53003 w 65817"/>
                <a:gd name="connsiteY2" fmla="*/ 23459 h 50624"/>
                <a:gd name="connsiteX3" fmla="*/ 33953 w 65817"/>
                <a:gd name="connsiteY3" fmla="*/ 20221 h 50624"/>
                <a:gd name="connsiteX4" fmla="*/ 33001 w 65817"/>
                <a:gd name="connsiteY4" fmla="*/ 20221 h 50624"/>
                <a:gd name="connsiteX5" fmla="*/ 12332 w 65817"/>
                <a:gd name="connsiteY5" fmla="*/ -163 h 50624"/>
                <a:gd name="connsiteX6" fmla="*/ -336 w 65817"/>
                <a:gd name="connsiteY6" fmla="*/ 10982 h 50624"/>
                <a:gd name="connsiteX7" fmla="*/ 32906 w 65817"/>
                <a:gd name="connsiteY7" fmla="*/ 43748 h 50624"/>
                <a:gd name="connsiteX8" fmla="*/ 65481 w 65817"/>
                <a:gd name="connsiteY8" fmla="*/ 49272 h 506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5817" h="50624">
                  <a:moveTo>
                    <a:pt x="65481" y="49272"/>
                  </a:moveTo>
                  <a:lnTo>
                    <a:pt x="59861" y="37652"/>
                  </a:lnTo>
                  <a:lnTo>
                    <a:pt x="53003" y="23459"/>
                  </a:lnTo>
                  <a:cubicBezTo>
                    <a:pt x="46479" y="24983"/>
                    <a:pt x="39612" y="23812"/>
                    <a:pt x="33953" y="20221"/>
                  </a:cubicBezTo>
                  <a:cubicBezTo>
                    <a:pt x="33639" y="20268"/>
                    <a:pt x="33315" y="20268"/>
                    <a:pt x="33001" y="20221"/>
                  </a:cubicBezTo>
                  <a:cubicBezTo>
                    <a:pt x="24676" y="15049"/>
                    <a:pt x="17618" y="8086"/>
                    <a:pt x="12332" y="-163"/>
                  </a:cubicBezTo>
                  <a:lnTo>
                    <a:pt x="-336" y="10982"/>
                  </a:lnTo>
                  <a:cubicBezTo>
                    <a:pt x="8160" y="24250"/>
                    <a:pt x="19523" y="35442"/>
                    <a:pt x="32906" y="43748"/>
                  </a:cubicBezTo>
                  <a:cubicBezTo>
                    <a:pt x="42545" y="49996"/>
                    <a:pt x="54327" y="51996"/>
                    <a:pt x="65481" y="49272"/>
                  </a:cubicBezTo>
                  <a:close/>
                </a:path>
              </a:pathLst>
            </a:custGeom>
            <a:solidFill>
              <a:srgbClr val="323A82"/>
            </a:solidFill>
            <a:ln w="9525" cap="flat">
              <a:noFill/>
              <a:prstDash val="solid"/>
              <a:miter/>
            </a:ln>
          </p:spPr>
          <p:txBody>
            <a:bodyPr rtlCol="0" anchor="ctr"/>
            <a:lstStyle/>
            <a:p>
              <a:endParaRPr lang="zh-CN" altLang="en-US"/>
            </a:p>
          </p:txBody>
        </p:sp>
        <p:sp>
          <p:nvSpPr>
            <p:cNvPr id="537" name="íṩľíḋe">
              <a:extLst>
                <a:ext uri="{FF2B5EF4-FFF2-40B4-BE49-F238E27FC236}">
                  <a16:creationId xmlns:a16="http://schemas.microsoft.com/office/drawing/2014/main" id="{AFD48327-DB52-4ED8-B104-E48F027A64D6}"/>
                </a:ext>
              </a:extLst>
            </p:cNvPr>
            <p:cNvSpPr/>
            <p:nvPr/>
          </p:nvSpPr>
          <p:spPr>
            <a:xfrm>
              <a:off x="5719857" y="2762229"/>
              <a:ext cx="61755" cy="62190"/>
            </a:xfrm>
            <a:custGeom>
              <a:avLst/>
              <a:gdLst>
                <a:gd name="connsiteX0" fmla="*/ -336 w 20288"/>
                <a:gd name="connsiteY0" fmla="*/ 20268 h 20431"/>
                <a:gd name="connsiteX1" fmla="*/ 17380 w 20288"/>
                <a:gd name="connsiteY1" fmla="*/ 10077 h 20431"/>
                <a:gd name="connsiteX2" fmla="*/ 19952 w 20288"/>
                <a:gd name="connsiteY2" fmla="*/ -20 h 20431"/>
                <a:gd name="connsiteX3" fmla="*/ 15094 w 20288"/>
                <a:gd name="connsiteY3" fmla="*/ -20 h 20431"/>
                <a:gd name="connsiteX4" fmla="*/ 4902 w 20288"/>
                <a:gd name="connsiteY4" fmla="*/ 5791 h 20431"/>
                <a:gd name="connsiteX5" fmla="*/ -336 w 20288"/>
                <a:gd name="connsiteY5" fmla="*/ 20268 h 20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288" h="20431">
                  <a:moveTo>
                    <a:pt x="-336" y="20268"/>
                  </a:moveTo>
                  <a:lnTo>
                    <a:pt x="17380" y="10077"/>
                  </a:lnTo>
                  <a:cubicBezTo>
                    <a:pt x="17656" y="6591"/>
                    <a:pt x="18523" y="3171"/>
                    <a:pt x="19952" y="-20"/>
                  </a:cubicBezTo>
                  <a:cubicBezTo>
                    <a:pt x="18342" y="-210"/>
                    <a:pt x="16704" y="-210"/>
                    <a:pt x="15094" y="-20"/>
                  </a:cubicBezTo>
                  <a:lnTo>
                    <a:pt x="4902" y="5791"/>
                  </a:lnTo>
                  <a:cubicBezTo>
                    <a:pt x="1759" y="9991"/>
                    <a:pt x="-60" y="15030"/>
                    <a:pt x="-336" y="20268"/>
                  </a:cubicBezTo>
                  <a:close/>
                </a:path>
              </a:pathLst>
            </a:custGeom>
            <a:solidFill>
              <a:srgbClr val="BF4200"/>
            </a:solidFill>
            <a:ln w="9525" cap="flat">
              <a:noFill/>
              <a:prstDash val="solid"/>
              <a:miter/>
            </a:ln>
          </p:spPr>
          <p:txBody>
            <a:bodyPr rtlCol="0" anchor="ctr"/>
            <a:lstStyle/>
            <a:p>
              <a:endParaRPr lang="zh-CN" altLang="en-US"/>
            </a:p>
          </p:txBody>
        </p:sp>
        <p:sp>
          <p:nvSpPr>
            <p:cNvPr id="538" name="î$lîḋê">
              <a:extLst>
                <a:ext uri="{FF2B5EF4-FFF2-40B4-BE49-F238E27FC236}">
                  <a16:creationId xmlns:a16="http://schemas.microsoft.com/office/drawing/2014/main" id="{1986BCF3-822C-49B8-8FB6-9E4B8B537E25}"/>
                </a:ext>
              </a:extLst>
            </p:cNvPr>
            <p:cNvSpPr/>
            <p:nvPr/>
          </p:nvSpPr>
          <p:spPr>
            <a:xfrm>
              <a:off x="5658102" y="2711055"/>
              <a:ext cx="77410" cy="113362"/>
            </a:xfrm>
            <a:custGeom>
              <a:avLst/>
              <a:gdLst>
                <a:gd name="connsiteX0" fmla="*/ 19952 w 25431"/>
                <a:gd name="connsiteY0" fmla="*/ 37080 h 37242"/>
                <a:gd name="connsiteX1" fmla="*/ 25096 w 25431"/>
                <a:gd name="connsiteY1" fmla="*/ 22793 h 37242"/>
                <a:gd name="connsiteX2" fmla="*/ 18142 w 25431"/>
                <a:gd name="connsiteY2" fmla="*/ 13268 h 37242"/>
                <a:gd name="connsiteX3" fmla="*/ 18142 w 25431"/>
                <a:gd name="connsiteY3" fmla="*/ 13268 h 37242"/>
                <a:gd name="connsiteX4" fmla="*/ 17475 w 25431"/>
                <a:gd name="connsiteY4" fmla="*/ 12410 h 37242"/>
                <a:gd name="connsiteX5" fmla="*/ 7950 w 25431"/>
                <a:gd name="connsiteY5" fmla="*/ -163 h 37242"/>
                <a:gd name="connsiteX6" fmla="*/ -336 w 25431"/>
                <a:gd name="connsiteY6" fmla="*/ 22983 h 37242"/>
                <a:gd name="connsiteX7" fmla="*/ 18714 w 25431"/>
                <a:gd name="connsiteY7" fmla="*/ 36318 h 37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431" h="37242">
                  <a:moveTo>
                    <a:pt x="19952" y="37080"/>
                  </a:moveTo>
                  <a:cubicBezTo>
                    <a:pt x="20238" y="31918"/>
                    <a:pt x="22028" y="26955"/>
                    <a:pt x="25096" y="22793"/>
                  </a:cubicBezTo>
                  <a:lnTo>
                    <a:pt x="18142" y="13268"/>
                  </a:lnTo>
                  <a:lnTo>
                    <a:pt x="18142" y="13268"/>
                  </a:lnTo>
                  <a:lnTo>
                    <a:pt x="17475" y="12410"/>
                  </a:lnTo>
                  <a:lnTo>
                    <a:pt x="7950" y="-163"/>
                  </a:lnTo>
                  <a:cubicBezTo>
                    <a:pt x="2902" y="6533"/>
                    <a:pt x="7" y="14601"/>
                    <a:pt x="-336" y="22983"/>
                  </a:cubicBezTo>
                  <a:lnTo>
                    <a:pt x="18714" y="36318"/>
                  </a:lnTo>
                  <a:close/>
                </a:path>
              </a:pathLst>
            </a:custGeom>
            <a:solidFill>
              <a:srgbClr val="D9530B"/>
            </a:solidFill>
            <a:ln w="9525" cap="flat">
              <a:noFill/>
              <a:prstDash val="solid"/>
              <a:miter/>
            </a:ln>
          </p:spPr>
          <p:txBody>
            <a:bodyPr rtlCol="0" anchor="ctr"/>
            <a:lstStyle/>
            <a:p>
              <a:endParaRPr lang="zh-CN" altLang="en-US"/>
            </a:p>
          </p:txBody>
        </p:sp>
        <p:sp>
          <p:nvSpPr>
            <p:cNvPr id="539" name="ïŝļiḍe">
              <a:extLst>
                <a:ext uri="{FF2B5EF4-FFF2-40B4-BE49-F238E27FC236}">
                  <a16:creationId xmlns:a16="http://schemas.microsoft.com/office/drawing/2014/main" id="{251B3ABE-F55C-4F34-A4B6-984E52CC8D32}"/>
                </a:ext>
              </a:extLst>
            </p:cNvPr>
            <p:cNvSpPr/>
            <p:nvPr/>
          </p:nvSpPr>
          <p:spPr>
            <a:xfrm>
              <a:off x="6306973" y="3583469"/>
              <a:ext cx="84661" cy="51318"/>
            </a:xfrm>
            <a:custGeom>
              <a:avLst/>
              <a:gdLst>
                <a:gd name="connsiteX0" fmla="*/ -336 w 27813"/>
                <a:gd name="connsiteY0" fmla="*/ 16697 h 16859"/>
                <a:gd name="connsiteX1" fmla="*/ 21381 w 27813"/>
                <a:gd name="connsiteY1" fmla="*/ 4314 h 16859"/>
                <a:gd name="connsiteX2" fmla="*/ 27477 w 27813"/>
                <a:gd name="connsiteY2" fmla="*/ -163 h 16859"/>
                <a:gd name="connsiteX3" fmla="*/ 5855 w 27813"/>
                <a:gd name="connsiteY3" fmla="*/ 12315 h 16859"/>
                <a:gd name="connsiteX4" fmla="*/ -336 w 27813"/>
                <a:gd name="connsiteY4" fmla="*/ 16697 h 16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813" h="16859">
                  <a:moveTo>
                    <a:pt x="-336" y="16697"/>
                  </a:moveTo>
                  <a:lnTo>
                    <a:pt x="21381" y="4314"/>
                  </a:lnTo>
                  <a:cubicBezTo>
                    <a:pt x="23572" y="3047"/>
                    <a:pt x="25610" y="1552"/>
                    <a:pt x="27477" y="-163"/>
                  </a:cubicBezTo>
                  <a:lnTo>
                    <a:pt x="5855" y="12315"/>
                  </a:lnTo>
                  <a:cubicBezTo>
                    <a:pt x="3959" y="14001"/>
                    <a:pt x="1883" y="15468"/>
                    <a:pt x="-336" y="16697"/>
                  </a:cubicBezTo>
                  <a:close/>
                </a:path>
              </a:pathLst>
            </a:custGeom>
            <a:solidFill>
              <a:srgbClr val="171A42"/>
            </a:solidFill>
            <a:ln w="9525" cap="flat">
              <a:noFill/>
              <a:prstDash val="solid"/>
              <a:miter/>
            </a:ln>
          </p:spPr>
          <p:txBody>
            <a:bodyPr rtlCol="0" anchor="ctr"/>
            <a:lstStyle/>
            <a:p>
              <a:endParaRPr lang="zh-CN" altLang="en-US"/>
            </a:p>
          </p:txBody>
        </p:sp>
        <p:sp>
          <p:nvSpPr>
            <p:cNvPr id="540" name="íśľíďé">
              <a:extLst>
                <a:ext uri="{FF2B5EF4-FFF2-40B4-BE49-F238E27FC236}">
                  <a16:creationId xmlns:a16="http://schemas.microsoft.com/office/drawing/2014/main" id="{3E86404A-CA72-43F4-ABEB-33F6693B9F99}"/>
                </a:ext>
              </a:extLst>
            </p:cNvPr>
            <p:cNvSpPr/>
            <p:nvPr/>
          </p:nvSpPr>
          <p:spPr>
            <a:xfrm>
              <a:off x="6148089" y="3357320"/>
              <a:ext cx="28993" cy="578"/>
            </a:xfrm>
            <a:custGeom>
              <a:avLst/>
              <a:gdLst>
                <a:gd name="connsiteX0" fmla="*/ 0 w 9525"/>
                <a:gd name="connsiteY0" fmla="*/ 191 h 190"/>
                <a:gd name="connsiteX1" fmla="*/ 0 w 9525"/>
                <a:gd name="connsiteY1" fmla="*/ 95 h 190"/>
                <a:gd name="connsiteX2" fmla="*/ 0 w 9525"/>
                <a:gd name="connsiteY2" fmla="*/ 0 h 190"/>
                <a:gd name="connsiteX3" fmla="*/ 0 w 9525"/>
                <a:gd name="connsiteY3" fmla="*/ 95 h 190"/>
                <a:gd name="connsiteX4" fmla="*/ 0 w 9525"/>
                <a:gd name="connsiteY4" fmla="*/ 95 h 190"/>
                <a:gd name="connsiteX5" fmla="*/ 0 w 9525"/>
                <a:gd name="connsiteY5" fmla="*/ 191 h 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525" h="190">
                  <a:moveTo>
                    <a:pt x="0" y="191"/>
                  </a:moveTo>
                  <a:lnTo>
                    <a:pt x="0" y="95"/>
                  </a:lnTo>
                  <a:lnTo>
                    <a:pt x="0" y="0"/>
                  </a:lnTo>
                  <a:lnTo>
                    <a:pt x="0" y="95"/>
                  </a:lnTo>
                  <a:lnTo>
                    <a:pt x="0" y="95"/>
                  </a:lnTo>
                  <a:lnTo>
                    <a:pt x="0" y="191"/>
                  </a:lnTo>
                  <a:close/>
                </a:path>
              </a:pathLst>
            </a:custGeom>
            <a:solidFill>
              <a:srgbClr val="2E3192"/>
            </a:solidFill>
            <a:ln w="9525" cap="flat">
              <a:noFill/>
              <a:prstDash val="solid"/>
              <a:miter/>
            </a:ln>
          </p:spPr>
          <p:txBody>
            <a:bodyPr rtlCol="0" anchor="ctr"/>
            <a:lstStyle/>
            <a:p>
              <a:endParaRPr lang="zh-CN" altLang="en-US"/>
            </a:p>
          </p:txBody>
        </p:sp>
        <p:sp>
          <p:nvSpPr>
            <p:cNvPr id="541" name="iṡ1íḋe">
              <a:extLst>
                <a:ext uri="{FF2B5EF4-FFF2-40B4-BE49-F238E27FC236}">
                  <a16:creationId xmlns:a16="http://schemas.microsoft.com/office/drawing/2014/main" id="{8E31489C-0C66-4687-A4F7-764EFB5EC246}"/>
                </a:ext>
              </a:extLst>
            </p:cNvPr>
            <p:cNvSpPr/>
            <p:nvPr/>
          </p:nvSpPr>
          <p:spPr>
            <a:xfrm>
              <a:off x="5957603" y="3373553"/>
              <a:ext cx="340381" cy="292068"/>
            </a:xfrm>
            <a:custGeom>
              <a:avLst/>
              <a:gdLst>
                <a:gd name="connsiteX0" fmla="*/ 105391 w 111823"/>
                <a:gd name="connsiteY0" fmla="*/ 90896 h 95951"/>
                <a:gd name="connsiteX1" fmla="*/ 111487 w 111823"/>
                <a:gd name="connsiteY1" fmla="*/ 86420 h 95951"/>
                <a:gd name="connsiteX2" fmla="*/ 53099 w 111823"/>
                <a:gd name="connsiteY2" fmla="*/ -163 h 95951"/>
                <a:gd name="connsiteX3" fmla="*/ -336 w 111823"/>
                <a:gd name="connsiteY3" fmla="*/ 28412 h 95951"/>
                <a:gd name="connsiteX4" fmla="*/ 52908 w 111823"/>
                <a:gd name="connsiteY4" fmla="*/ 85562 h 95951"/>
                <a:gd name="connsiteX5" fmla="*/ 105391 w 111823"/>
                <a:gd name="connsiteY5" fmla="*/ 90896 h 95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1823" h="95951">
                  <a:moveTo>
                    <a:pt x="105391" y="90896"/>
                  </a:moveTo>
                  <a:cubicBezTo>
                    <a:pt x="107582" y="89630"/>
                    <a:pt x="109620" y="88134"/>
                    <a:pt x="111487" y="86420"/>
                  </a:cubicBezTo>
                  <a:lnTo>
                    <a:pt x="53099" y="-163"/>
                  </a:lnTo>
                  <a:lnTo>
                    <a:pt x="-336" y="28412"/>
                  </a:lnTo>
                  <a:cubicBezTo>
                    <a:pt x="12141" y="51768"/>
                    <a:pt x="30496" y="71465"/>
                    <a:pt x="52908" y="85562"/>
                  </a:cubicBezTo>
                  <a:cubicBezTo>
                    <a:pt x="73387" y="97469"/>
                    <a:pt x="91866" y="98612"/>
                    <a:pt x="105391" y="90896"/>
                  </a:cubicBezTo>
                  <a:close/>
                </a:path>
              </a:pathLst>
            </a:custGeom>
            <a:solidFill>
              <a:srgbClr val="323A82"/>
            </a:solidFill>
            <a:ln w="9525" cap="flat">
              <a:noFill/>
              <a:prstDash val="solid"/>
              <a:miter/>
            </a:ln>
          </p:spPr>
          <p:txBody>
            <a:bodyPr rtlCol="0" anchor="ctr"/>
            <a:lstStyle/>
            <a:p>
              <a:endParaRPr lang="zh-CN" altLang="en-US"/>
            </a:p>
          </p:txBody>
        </p:sp>
        <p:sp>
          <p:nvSpPr>
            <p:cNvPr id="542" name="ï$ḷïdê">
              <a:extLst>
                <a:ext uri="{FF2B5EF4-FFF2-40B4-BE49-F238E27FC236}">
                  <a16:creationId xmlns:a16="http://schemas.microsoft.com/office/drawing/2014/main" id="{D5D503FB-C796-4F1F-BA36-3987E27E0D4C}"/>
                </a:ext>
              </a:extLst>
            </p:cNvPr>
            <p:cNvSpPr/>
            <p:nvPr/>
          </p:nvSpPr>
          <p:spPr>
            <a:xfrm>
              <a:off x="6120256" y="3328616"/>
              <a:ext cx="250792" cy="308490"/>
            </a:xfrm>
            <a:custGeom>
              <a:avLst/>
              <a:gdLst>
                <a:gd name="connsiteX0" fmla="*/ 58388 w 82391"/>
                <a:gd name="connsiteY0" fmla="*/ 101346 h 101346"/>
                <a:gd name="connsiteX1" fmla="*/ 82391 w 82391"/>
                <a:gd name="connsiteY1" fmla="*/ 87535 h 101346"/>
                <a:gd name="connsiteX2" fmla="*/ 78105 w 82391"/>
                <a:gd name="connsiteY2" fmla="*/ 80867 h 101346"/>
                <a:gd name="connsiteX3" fmla="*/ 27813 w 82391"/>
                <a:gd name="connsiteY3" fmla="*/ 3143 h 101346"/>
                <a:gd name="connsiteX4" fmla="*/ 25718 w 82391"/>
                <a:gd name="connsiteY4" fmla="*/ 0 h 101346"/>
                <a:gd name="connsiteX5" fmla="*/ 0 w 82391"/>
                <a:gd name="connsiteY5" fmla="*/ 14764 h 101346"/>
                <a:gd name="connsiteX6" fmla="*/ 58388 w 82391"/>
                <a:gd name="connsiteY6" fmla="*/ 101346 h 101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391" h="101346">
                  <a:moveTo>
                    <a:pt x="58388" y="101346"/>
                  </a:moveTo>
                  <a:lnTo>
                    <a:pt x="82391" y="87535"/>
                  </a:lnTo>
                  <a:lnTo>
                    <a:pt x="78105" y="80867"/>
                  </a:lnTo>
                  <a:lnTo>
                    <a:pt x="27813" y="3143"/>
                  </a:lnTo>
                  <a:lnTo>
                    <a:pt x="25718" y="0"/>
                  </a:lnTo>
                  <a:lnTo>
                    <a:pt x="0" y="14764"/>
                  </a:lnTo>
                  <a:lnTo>
                    <a:pt x="58388" y="101346"/>
                  </a:lnTo>
                  <a:close/>
                </a:path>
              </a:pathLst>
            </a:custGeom>
            <a:solidFill>
              <a:srgbClr val="171A42"/>
            </a:solidFill>
            <a:ln w="9525" cap="flat">
              <a:noFill/>
              <a:prstDash val="solid"/>
              <a:miter/>
            </a:ln>
          </p:spPr>
          <p:txBody>
            <a:bodyPr rtlCol="0" anchor="ctr"/>
            <a:lstStyle/>
            <a:p>
              <a:endParaRPr lang="zh-CN" altLang="en-US"/>
            </a:p>
          </p:txBody>
        </p:sp>
        <p:sp>
          <p:nvSpPr>
            <p:cNvPr id="543" name="íŝļiďé">
              <a:extLst>
                <a:ext uri="{FF2B5EF4-FFF2-40B4-BE49-F238E27FC236}">
                  <a16:creationId xmlns:a16="http://schemas.microsoft.com/office/drawing/2014/main" id="{8265D060-D981-4AD7-BA2E-E4F9E951D1A7}"/>
                </a:ext>
              </a:extLst>
            </p:cNvPr>
            <p:cNvSpPr/>
            <p:nvPr/>
          </p:nvSpPr>
          <p:spPr>
            <a:xfrm>
              <a:off x="5957314" y="3328616"/>
              <a:ext cx="241222" cy="131918"/>
            </a:xfrm>
            <a:custGeom>
              <a:avLst/>
              <a:gdLst>
                <a:gd name="connsiteX0" fmla="*/ 0 w 79247"/>
                <a:gd name="connsiteY0" fmla="*/ 43339 h 43338"/>
                <a:gd name="connsiteX1" fmla="*/ 73914 w 79247"/>
                <a:gd name="connsiteY1" fmla="*/ 857 h 43338"/>
                <a:gd name="connsiteX2" fmla="*/ 79248 w 79247"/>
                <a:gd name="connsiteY2" fmla="*/ 0 h 43338"/>
                <a:gd name="connsiteX3" fmla="*/ 53530 w 79247"/>
                <a:gd name="connsiteY3" fmla="*/ 14764 h 43338"/>
                <a:gd name="connsiteX4" fmla="*/ 0 w 79247"/>
                <a:gd name="connsiteY4" fmla="*/ 43339 h 433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247" h="43338">
                  <a:moveTo>
                    <a:pt x="0" y="43339"/>
                  </a:moveTo>
                  <a:lnTo>
                    <a:pt x="73914" y="857"/>
                  </a:lnTo>
                  <a:lnTo>
                    <a:pt x="79248" y="0"/>
                  </a:lnTo>
                  <a:lnTo>
                    <a:pt x="53530" y="14764"/>
                  </a:lnTo>
                  <a:lnTo>
                    <a:pt x="0" y="43339"/>
                  </a:lnTo>
                  <a:close/>
                </a:path>
              </a:pathLst>
            </a:custGeom>
            <a:solidFill>
              <a:srgbClr val="171A42"/>
            </a:solidFill>
            <a:ln w="9525" cap="flat">
              <a:noFill/>
              <a:prstDash val="solid"/>
              <a:miter/>
            </a:ln>
          </p:spPr>
          <p:txBody>
            <a:bodyPr rtlCol="0" anchor="ctr"/>
            <a:lstStyle/>
            <a:p>
              <a:endParaRPr lang="zh-CN" altLang="en-US"/>
            </a:p>
          </p:txBody>
        </p:sp>
        <p:sp>
          <p:nvSpPr>
            <p:cNvPr id="544" name="îŝľïḋè">
              <a:extLst>
                <a:ext uri="{FF2B5EF4-FFF2-40B4-BE49-F238E27FC236}">
                  <a16:creationId xmlns:a16="http://schemas.microsoft.com/office/drawing/2014/main" id="{9C95ABED-24C3-4D9B-9E74-B866D5FFA345}"/>
                </a:ext>
              </a:extLst>
            </p:cNvPr>
            <p:cNvSpPr/>
            <p:nvPr/>
          </p:nvSpPr>
          <p:spPr>
            <a:xfrm>
              <a:off x="6279429" y="3621448"/>
              <a:ext cx="47838" cy="29283"/>
            </a:xfrm>
            <a:custGeom>
              <a:avLst/>
              <a:gdLst>
                <a:gd name="connsiteX0" fmla="*/ -336 w 15716"/>
                <a:gd name="connsiteY0" fmla="*/ 9458 h 9620"/>
                <a:gd name="connsiteX1" fmla="*/ 9189 w 15716"/>
                <a:gd name="connsiteY1" fmla="*/ 4219 h 9620"/>
                <a:gd name="connsiteX2" fmla="*/ 15380 w 15716"/>
                <a:gd name="connsiteY2" fmla="*/ -163 h 9620"/>
                <a:gd name="connsiteX3" fmla="*/ 5855 w 15716"/>
                <a:gd name="connsiteY3" fmla="*/ 4981 h 9620"/>
                <a:gd name="connsiteX4" fmla="*/ -336 w 15716"/>
                <a:gd name="connsiteY4" fmla="*/ 9458 h 9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16" h="9620">
                  <a:moveTo>
                    <a:pt x="-336" y="9458"/>
                  </a:moveTo>
                  <a:lnTo>
                    <a:pt x="9189" y="4219"/>
                  </a:lnTo>
                  <a:cubicBezTo>
                    <a:pt x="11408" y="2990"/>
                    <a:pt x="13485" y="1523"/>
                    <a:pt x="15380" y="-163"/>
                  </a:cubicBezTo>
                  <a:lnTo>
                    <a:pt x="5855" y="4981"/>
                  </a:lnTo>
                  <a:cubicBezTo>
                    <a:pt x="3960" y="6695"/>
                    <a:pt x="1883" y="8200"/>
                    <a:pt x="-336" y="9458"/>
                  </a:cubicBezTo>
                  <a:close/>
                </a:path>
              </a:pathLst>
            </a:custGeom>
            <a:solidFill>
              <a:srgbClr val="171A42"/>
            </a:solidFill>
            <a:ln w="9525" cap="flat">
              <a:noFill/>
              <a:prstDash val="solid"/>
              <a:miter/>
            </a:ln>
          </p:spPr>
          <p:txBody>
            <a:bodyPr rtlCol="0" anchor="ctr"/>
            <a:lstStyle/>
            <a:p>
              <a:endParaRPr lang="zh-CN" altLang="en-US"/>
            </a:p>
          </p:txBody>
        </p:sp>
        <p:sp>
          <p:nvSpPr>
            <p:cNvPr id="545" name="ïśḻïḍè">
              <a:extLst>
                <a:ext uri="{FF2B5EF4-FFF2-40B4-BE49-F238E27FC236}">
                  <a16:creationId xmlns:a16="http://schemas.microsoft.com/office/drawing/2014/main" id="{E7BB29C3-D716-446A-8369-F96927092948}"/>
                </a:ext>
              </a:extLst>
            </p:cNvPr>
            <p:cNvSpPr/>
            <p:nvPr/>
          </p:nvSpPr>
          <p:spPr>
            <a:xfrm>
              <a:off x="6325240" y="3260191"/>
              <a:ext cx="114933" cy="361256"/>
            </a:xfrm>
            <a:custGeom>
              <a:avLst/>
              <a:gdLst>
                <a:gd name="connsiteX0" fmla="*/ -146 w 37758"/>
                <a:gd name="connsiteY0" fmla="*/ 118519 h 118681"/>
                <a:gd name="connsiteX1" fmla="*/ 21476 w 37758"/>
                <a:gd name="connsiteY1" fmla="*/ 106041 h 118681"/>
                <a:gd name="connsiteX2" fmla="*/ 37287 w 37758"/>
                <a:gd name="connsiteY2" fmla="*/ 62512 h 118681"/>
                <a:gd name="connsiteX3" fmla="*/ 21285 w 37758"/>
                <a:gd name="connsiteY3" fmla="*/ -163 h 118681"/>
                <a:gd name="connsiteX4" fmla="*/ -336 w 37758"/>
                <a:gd name="connsiteY4" fmla="*/ 12220 h 118681"/>
                <a:gd name="connsiteX5" fmla="*/ 15570 w 37758"/>
                <a:gd name="connsiteY5" fmla="*/ 74894 h 118681"/>
                <a:gd name="connsiteX6" fmla="*/ 13475 w 37758"/>
                <a:gd name="connsiteY6" fmla="*/ 93944 h 118681"/>
                <a:gd name="connsiteX7" fmla="*/ 3378 w 37758"/>
                <a:gd name="connsiteY7" fmla="*/ 114709 h 118681"/>
                <a:gd name="connsiteX8" fmla="*/ -146 w 37758"/>
                <a:gd name="connsiteY8" fmla="*/ 118519 h 118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758" h="118681">
                  <a:moveTo>
                    <a:pt x="-146" y="118519"/>
                  </a:moveTo>
                  <a:lnTo>
                    <a:pt x="21476" y="106041"/>
                  </a:lnTo>
                  <a:cubicBezTo>
                    <a:pt x="32649" y="94411"/>
                    <a:pt x="38392" y="78600"/>
                    <a:pt x="37287" y="62512"/>
                  </a:cubicBezTo>
                  <a:cubicBezTo>
                    <a:pt x="36687" y="40690"/>
                    <a:pt x="31220" y="19278"/>
                    <a:pt x="21285" y="-163"/>
                  </a:cubicBezTo>
                  <a:lnTo>
                    <a:pt x="-336" y="12220"/>
                  </a:lnTo>
                  <a:cubicBezTo>
                    <a:pt x="9598" y="31651"/>
                    <a:pt x="15037" y="53072"/>
                    <a:pt x="15570" y="74894"/>
                  </a:cubicBezTo>
                  <a:cubicBezTo>
                    <a:pt x="15599" y="81305"/>
                    <a:pt x="14894" y="87696"/>
                    <a:pt x="13475" y="93944"/>
                  </a:cubicBezTo>
                  <a:cubicBezTo>
                    <a:pt x="11741" y="101545"/>
                    <a:pt x="8284" y="108651"/>
                    <a:pt x="3378" y="114709"/>
                  </a:cubicBezTo>
                  <a:cubicBezTo>
                    <a:pt x="2311" y="116071"/>
                    <a:pt x="1130" y="117347"/>
                    <a:pt x="-146" y="118519"/>
                  </a:cubicBezTo>
                  <a:close/>
                </a:path>
              </a:pathLst>
            </a:custGeom>
            <a:solidFill>
              <a:srgbClr val="323A82"/>
            </a:solidFill>
            <a:ln w="9525" cap="flat">
              <a:noFill/>
              <a:prstDash val="solid"/>
              <a:miter/>
            </a:ln>
          </p:spPr>
          <p:txBody>
            <a:bodyPr rtlCol="0" anchor="ctr"/>
            <a:lstStyle/>
            <a:p>
              <a:endParaRPr lang="zh-CN" altLang="en-US"/>
            </a:p>
          </p:txBody>
        </p:sp>
        <p:sp>
          <p:nvSpPr>
            <p:cNvPr id="546" name="íSļïḋê">
              <a:extLst>
                <a:ext uri="{FF2B5EF4-FFF2-40B4-BE49-F238E27FC236}">
                  <a16:creationId xmlns:a16="http://schemas.microsoft.com/office/drawing/2014/main" id="{8C859C71-7D8F-44B2-A591-4DE8E3D4C6F6}"/>
                </a:ext>
              </a:extLst>
            </p:cNvPr>
            <p:cNvSpPr/>
            <p:nvPr/>
          </p:nvSpPr>
          <p:spPr>
            <a:xfrm>
              <a:off x="6147511" y="3298174"/>
              <a:ext cx="226149" cy="323274"/>
            </a:xfrm>
            <a:custGeom>
              <a:avLst/>
              <a:gdLst>
                <a:gd name="connsiteX0" fmla="*/ 58242 w 74295"/>
                <a:gd name="connsiteY0" fmla="*/ 106041 h 106203"/>
                <a:gd name="connsiteX1" fmla="*/ 61767 w 74295"/>
                <a:gd name="connsiteY1" fmla="*/ 102326 h 106203"/>
                <a:gd name="connsiteX2" fmla="*/ 71863 w 74295"/>
                <a:gd name="connsiteY2" fmla="*/ 81562 h 106203"/>
                <a:gd name="connsiteX3" fmla="*/ 73959 w 74295"/>
                <a:gd name="connsiteY3" fmla="*/ 62512 h 106203"/>
                <a:gd name="connsiteX4" fmla="*/ 58052 w 74295"/>
                <a:gd name="connsiteY4" fmla="*/ -163 h 106203"/>
                <a:gd name="connsiteX5" fmla="*/ 35668 w 74295"/>
                <a:gd name="connsiteY5" fmla="*/ 6791 h 106203"/>
                <a:gd name="connsiteX6" fmla="*/ 24143 w 74295"/>
                <a:gd name="connsiteY6" fmla="*/ 10696 h 106203"/>
                <a:gd name="connsiteX7" fmla="*/ -336 w 74295"/>
                <a:gd name="connsiteY7" fmla="*/ 18887 h 106203"/>
                <a:gd name="connsiteX8" fmla="*/ -336 w 74295"/>
                <a:gd name="connsiteY8" fmla="*/ 18887 h 106203"/>
                <a:gd name="connsiteX9" fmla="*/ 35668 w 74295"/>
                <a:gd name="connsiteY9" fmla="*/ 73466 h 106203"/>
                <a:gd name="connsiteX10" fmla="*/ 55766 w 74295"/>
                <a:gd name="connsiteY10" fmla="*/ 103279 h 106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4295" h="106203">
                  <a:moveTo>
                    <a:pt x="58242" y="106041"/>
                  </a:moveTo>
                  <a:cubicBezTo>
                    <a:pt x="59509" y="104898"/>
                    <a:pt x="60690" y="103660"/>
                    <a:pt x="61767" y="102326"/>
                  </a:cubicBezTo>
                  <a:cubicBezTo>
                    <a:pt x="66672" y="96268"/>
                    <a:pt x="70130" y="89163"/>
                    <a:pt x="71863" y="81562"/>
                  </a:cubicBezTo>
                  <a:cubicBezTo>
                    <a:pt x="73282" y="75313"/>
                    <a:pt x="73987" y="68922"/>
                    <a:pt x="73959" y="62512"/>
                  </a:cubicBezTo>
                  <a:cubicBezTo>
                    <a:pt x="73425" y="40690"/>
                    <a:pt x="67987" y="19268"/>
                    <a:pt x="58052" y="-163"/>
                  </a:cubicBezTo>
                  <a:lnTo>
                    <a:pt x="35668" y="6791"/>
                  </a:lnTo>
                  <a:lnTo>
                    <a:pt x="24143" y="10696"/>
                  </a:lnTo>
                  <a:lnTo>
                    <a:pt x="-336" y="18887"/>
                  </a:lnTo>
                  <a:lnTo>
                    <a:pt x="-336" y="18887"/>
                  </a:lnTo>
                  <a:lnTo>
                    <a:pt x="35668" y="73466"/>
                  </a:lnTo>
                  <a:lnTo>
                    <a:pt x="55766" y="103279"/>
                  </a:lnTo>
                  <a:close/>
                </a:path>
              </a:pathLst>
            </a:custGeom>
            <a:solidFill>
              <a:srgbClr val="316DE6"/>
            </a:solidFill>
            <a:ln w="9525" cap="flat">
              <a:noFill/>
              <a:prstDash val="solid"/>
              <a:miter/>
            </a:ln>
          </p:spPr>
          <p:txBody>
            <a:bodyPr rtlCol="0" anchor="ctr"/>
            <a:lstStyle/>
            <a:p>
              <a:endParaRPr lang="zh-CN" altLang="en-US"/>
            </a:p>
          </p:txBody>
        </p:sp>
        <p:sp>
          <p:nvSpPr>
            <p:cNvPr id="547" name="iṡḻiḓe">
              <a:extLst>
                <a:ext uri="{FF2B5EF4-FFF2-40B4-BE49-F238E27FC236}">
                  <a16:creationId xmlns:a16="http://schemas.microsoft.com/office/drawing/2014/main" id="{7E1CFF34-A09B-4BE5-B4EF-506FD9F473F1}"/>
                </a:ext>
              </a:extLst>
            </p:cNvPr>
            <p:cNvSpPr/>
            <p:nvPr/>
          </p:nvSpPr>
          <p:spPr>
            <a:xfrm>
              <a:off x="6027188" y="3029337"/>
              <a:ext cx="167580" cy="58051"/>
            </a:xfrm>
            <a:custGeom>
              <a:avLst/>
              <a:gdLst>
                <a:gd name="connsiteX0" fmla="*/ 33096 w 55054"/>
                <a:gd name="connsiteY0" fmla="*/ 18909 h 19071"/>
                <a:gd name="connsiteX1" fmla="*/ 54718 w 55054"/>
                <a:gd name="connsiteY1" fmla="*/ 6431 h 19071"/>
                <a:gd name="connsiteX2" fmla="*/ 21285 w 55054"/>
                <a:gd name="connsiteY2" fmla="*/ 240 h 19071"/>
                <a:gd name="connsiteX3" fmla="*/ -336 w 55054"/>
                <a:gd name="connsiteY3" fmla="*/ 12622 h 19071"/>
                <a:gd name="connsiteX4" fmla="*/ 28239 w 55054"/>
                <a:gd name="connsiteY4" fmla="*/ 16718 h 19071"/>
                <a:gd name="connsiteX5" fmla="*/ 33096 w 55054"/>
                <a:gd name="connsiteY5" fmla="*/ 18909 h 190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5054" h="19071">
                  <a:moveTo>
                    <a:pt x="33096" y="18909"/>
                  </a:moveTo>
                  <a:lnTo>
                    <a:pt x="54718" y="6431"/>
                  </a:lnTo>
                  <a:cubicBezTo>
                    <a:pt x="44460" y="1021"/>
                    <a:pt x="32801" y="-1132"/>
                    <a:pt x="21285" y="240"/>
                  </a:cubicBezTo>
                  <a:lnTo>
                    <a:pt x="-336" y="12622"/>
                  </a:lnTo>
                  <a:cubicBezTo>
                    <a:pt x="9389" y="11355"/>
                    <a:pt x="19266" y="12775"/>
                    <a:pt x="28239" y="16718"/>
                  </a:cubicBezTo>
                  <a:cubicBezTo>
                    <a:pt x="29763" y="17004"/>
                    <a:pt x="31382" y="17670"/>
                    <a:pt x="33096" y="18909"/>
                  </a:cubicBezTo>
                  <a:close/>
                </a:path>
              </a:pathLst>
            </a:custGeom>
            <a:solidFill>
              <a:srgbClr val="D9530B"/>
            </a:solidFill>
            <a:ln w="9525" cap="flat">
              <a:noFill/>
              <a:prstDash val="solid"/>
              <a:miter/>
            </a:ln>
          </p:spPr>
          <p:txBody>
            <a:bodyPr rtlCol="0" anchor="ctr"/>
            <a:lstStyle/>
            <a:p>
              <a:endParaRPr lang="zh-CN" altLang="en-US"/>
            </a:p>
          </p:txBody>
        </p:sp>
        <p:sp>
          <p:nvSpPr>
            <p:cNvPr id="548" name="iSḷîḓé">
              <a:extLst>
                <a:ext uri="{FF2B5EF4-FFF2-40B4-BE49-F238E27FC236}">
                  <a16:creationId xmlns:a16="http://schemas.microsoft.com/office/drawing/2014/main" id="{88F8401C-990C-4892-956B-C1F7F72EEAD5}"/>
                </a:ext>
              </a:extLst>
            </p:cNvPr>
            <p:cNvSpPr/>
            <p:nvPr/>
          </p:nvSpPr>
          <p:spPr>
            <a:xfrm>
              <a:off x="6027188" y="3065724"/>
              <a:ext cx="120902" cy="291593"/>
            </a:xfrm>
            <a:custGeom>
              <a:avLst/>
              <a:gdLst>
                <a:gd name="connsiteX0" fmla="*/ 39383 w 39719"/>
                <a:gd name="connsiteY0" fmla="*/ 95633 h 95795"/>
                <a:gd name="connsiteX1" fmla="*/ 39383 w 39719"/>
                <a:gd name="connsiteY1" fmla="*/ 94966 h 95795"/>
                <a:gd name="connsiteX2" fmla="*/ 35573 w 39719"/>
                <a:gd name="connsiteY2" fmla="*/ 40388 h 95795"/>
                <a:gd name="connsiteX3" fmla="*/ 33954 w 39719"/>
                <a:gd name="connsiteY3" fmla="*/ 18099 h 95795"/>
                <a:gd name="connsiteX4" fmla="*/ 33954 w 39719"/>
                <a:gd name="connsiteY4" fmla="*/ 18099 h 95795"/>
                <a:gd name="connsiteX5" fmla="*/ 33192 w 39719"/>
                <a:gd name="connsiteY5" fmla="*/ 6574 h 95795"/>
                <a:gd name="connsiteX6" fmla="*/ 28239 w 39719"/>
                <a:gd name="connsiteY6" fmla="*/ 4383 h 95795"/>
                <a:gd name="connsiteX7" fmla="*/ -336 w 39719"/>
                <a:gd name="connsiteY7" fmla="*/ 288 h 95795"/>
                <a:gd name="connsiteX8" fmla="*/ 14713 w 39719"/>
                <a:gd name="connsiteY8" fmla="*/ 36578 h 95795"/>
                <a:gd name="connsiteX9" fmla="*/ 39097 w 39719"/>
                <a:gd name="connsiteY9" fmla="*/ 95061 h 95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719" h="95795">
                  <a:moveTo>
                    <a:pt x="39383" y="95633"/>
                  </a:moveTo>
                  <a:lnTo>
                    <a:pt x="39383" y="94966"/>
                  </a:lnTo>
                  <a:lnTo>
                    <a:pt x="35573" y="40388"/>
                  </a:lnTo>
                  <a:lnTo>
                    <a:pt x="33954" y="18099"/>
                  </a:lnTo>
                  <a:lnTo>
                    <a:pt x="33954" y="18099"/>
                  </a:lnTo>
                  <a:lnTo>
                    <a:pt x="33192" y="6574"/>
                  </a:lnTo>
                  <a:cubicBezTo>
                    <a:pt x="31477" y="5717"/>
                    <a:pt x="29858" y="5050"/>
                    <a:pt x="28239" y="4383"/>
                  </a:cubicBezTo>
                  <a:cubicBezTo>
                    <a:pt x="19266" y="440"/>
                    <a:pt x="9389" y="-979"/>
                    <a:pt x="-336" y="288"/>
                  </a:cubicBezTo>
                  <a:lnTo>
                    <a:pt x="14713" y="36578"/>
                  </a:lnTo>
                  <a:lnTo>
                    <a:pt x="39097" y="95061"/>
                  </a:lnTo>
                  <a:close/>
                </a:path>
              </a:pathLst>
            </a:custGeom>
            <a:solidFill>
              <a:srgbClr val="FF7D33"/>
            </a:solidFill>
            <a:ln w="9525" cap="flat">
              <a:noFill/>
              <a:prstDash val="solid"/>
              <a:miter/>
            </a:ln>
          </p:spPr>
          <p:txBody>
            <a:bodyPr rtlCol="0" anchor="ctr"/>
            <a:lstStyle/>
            <a:p>
              <a:endParaRPr lang="zh-CN" altLang="en-US"/>
            </a:p>
          </p:txBody>
        </p:sp>
        <p:sp>
          <p:nvSpPr>
            <p:cNvPr id="549" name="îsľîḓe">
              <a:extLst>
                <a:ext uri="{FF2B5EF4-FFF2-40B4-BE49-F238E27FC236}">
                  <a16:creationId xmlns:a16="http://schemas.microsoft.com/office/drawing/2014/main" id="{70C8300C-A6D0-4189-B9CE-1B833E1C6836}"/>
                </a:ext>
              </a:extLst>
            </p:cNvPr>
            <p:cNvSpPr/>
            <p:nvPr/>
          </p:nvSpPr>
          <p:spPr>
            <a:xfrm>
              <a:off x="5988916" y="3029404"/>
              <a:ext cx="104084" cy="51025"/>
            </a:xfrm>
            <a:custGeom>
              <a:avLst/>
              <a:gdLst>
                <a:gd name="connsiteX0" fmla="*/ 12237 w 34194"/>
                <a:gd name="connsiteY0" fmla="*/ 12220 h 16763"/>
                <a:gd name="connsiteX1" fmla="*/ 33858 w 34194"/>
                <a:gd name="connsiteY1" fmla="*/ -163 h 16763"/>
                <a:gd name="connsiteX2" fmla="*/ 21381 w 34194"/>
                <a:gd name="connsiteY2" fmla="*/ 4219 h 16763"/>
                <a:gd name="connsiteX3" fmla="*/ -336 w 34194"/>
                <a:gd name="connsiteY3" fmla="*/ 16601 h 16763"/>
                <a:gd name="connsiteX4" fmla="*/ 11665 w 34194"/>
                <a:gd name="connsiteY4" fmla="*/ 12315 h 16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194" h="16763">
                  <a:moveTo>
                    <a:pt x="12237" y="12220"/>
                  </a:moveTo>
                  <a:lnTo>
                    <a:pt x="33858" y="-163"/>
                  </a:lnTo>
                  <a:cubicBezTo>
                    <a:pt x="29458" y="485"/>
                    <a:pt x="25219" y="1971"/>
                    <a:pt x="21381" y="4219"/>
                  </a:cubicBezTo>
                  <a:lnTo>
                    <a:pt x="-336" y="16601"/>
                  </a:lnTo>
                  <a:cubicBezTo>
                    <a:pt x="3379" y="14468"/>
                    <a:pt x="7445" y="13020"/>
                    <a:pt x="11665" y="12315"/>
                  </a:cubicBezTo>
                  <a:close/>
                </a:path>
              </a:pathLst>
            </a:custGeom>
            <a:solidFill>
              <a:srgbClr val="E1E8F2"/>
            </a:solidFill>
            <a:ln w="9525" cap="flat">
              <a:noFill/>
              <a:prstDash val="solid"/>
              <a:miter/>
            </a:ln>
          </p:spPr>
          <p:txBody>
            <a:bodyPr rtlCol="0" anchor="ctr"/>
            <a:lstStyle/>
            <a:p>
              <a:endParaRPr lang="zh-CN" altLang="en-US"/>
            </a:p>
          </p:txBody>
        </p:sp>
        <p:sp>
          <p:nvSpPr>
            <p:cNvPr id="550" name="iS1ïḍe">
              <a:extLst>
                <a:ext uri="{FF2B5EF4-FFF2-40B4-BE49-F238E27FC236}">
                  <a16:creationId xmlns:a16="http://schemas.microsoft.com/office/drawing/2014/main" id="{17A4E233-76D7-4A29-B0B0-8BDD03766D4C}"/>
                </a:ext>
              </a:extLst>
            </p:cNvPr>
            <p:cNvSpPr/>
            <p:nvPr/>
          </p:nvSpPr>
          <p:spPr>
            <a:xfrm>
              <a:off x="5922233" y="3067383"/>
              <a:ext cx="225856" cy="376044"/>
            </a:xfrm>
            <a:custGeom>
              <a:avLst/>
              <a:gdLst>
                <a:gd name="connsiteX0" fmla="*/ 73863 w 74199"/>
                <a:gd name="connsiteY0" fmla="*/ 95183 h 123539"/>
                <a:gd name="connsiteX1" fmla="*/ 73863 w 74199"/>
                <a:gd name="connsiteY1" fmla="*/ 95183 h 123539"/>
                <a:gd name="connsiteX2" fmla="*/ 73863 w 74199"/>
                <a:gd name="connsiteY2" fmla="*/ 94611 h 123539"/>
                <a:gd name="connsiteX3" fmla="*/ 49479 w 74199"/>
                <a:gd name="connsiteY3" fmla="*/ 36128 h 123539"/>
                <a:gd name="connsiteX4" fmla="*/ 34430 w 74199"/>
                <a:gd name="connsiteY4" fmla="*/ -163 h 123539"/>
                <a:gd name="connsiteX5" fmla="*/ 33477 w 74199"/>
                <a:gd name="connsiteY5" fmla="*/ -163 h 123539"/>
                <a:gd name="connsiteX6" fmla="*/ 21476 w 74199"/>
                <a:gd name="connsiteY6" fmla="*/ 4124 h 123539"/>
                <a:gd name="connsiteX7" fmla="*/ -336 w 74199"/>
                <a:gd name="connsiteY7" fmla="*/ 51749 h 123539"/>
                <a:gd name="connsiteX8" fmla="*/ 20237 w 74199"/>
                <a:gd name="connsiteY8" fmla="*/ 123377 h 123539"/>
                <a:gd name="connsiteX9" fmla="*/ 40621 w 74199"/>
                <a:gd name="connsiteY9" fmla="*/ 112518 h 123539"/>
                <a:gd name="connsiteX10" fmla="*/ 42335 w 74199"/>
                <a:gd name="connsiteY10" fmla="*/ 111661 h 123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4199" h="123539">
                  <a:moveTo>
                    <a:pt x="73863" y="95183"/>
                  </a:moveTo>
                  <a:lnTo>
                    <a:pt x="73863" y="95183"/>
                  </a:lnTo>
                  <a:lnTo>
                    <a:pt x="73863" y="94611"/>
                  </a:lnTo>
                  <a:lnTo>
                    <a:pt x="49479" y="36128"/>
                  </a:lnTo>
                  <a:lnTo>
                    <a:pt x="34430" y="-163"/>
                  </a:lnTo>
                  <a:lnTo>
                    <a:pt x="33477" y="-163"/>
                  </a:lnTo>
                  <a:cubicBezTo>
                    <a:pt x="29258" y="542"/>
                    <a:pt x="25191" y="1990"/>
                    <a:pt x="21476" y="4124"/>
                  </a:cubicBezTo>
                  <a:cubicBezTo>
                    <a:pt x="8045" y="11839"/>
                    <a:pt x="-336" y="28412"/>
                    <a:pt x="-336" y="51749"/>
                  </a:cubicBezTo>
                  <a:cubicBezTo>
                    <a:pt x="426" y="76971"/>
                    <a:pt x="7503" y="101593"/>
                    <a:pt x="20237" y="123377"/>
                  </a:cubicBezTo>
                  <a:lnTo>
                    <a:pt x="40621" y="112518"/>
                  </a:lnTo>
                  <a:lnTo>
                    <a:pt x="42335" y="111661"/>
                  </a:lnTo>
                  <a:close/>
                </a:path>
              </a:pathLst>
            </a:custGeom>
            <a:solidFill>
              <a:srgbClr val="EDF4FF"/>
            </a:solidFill>
            <a:ln w="9525" cap="flat">
              <a:noFill/>
              <a:prstDash val="solid"/>
              <a:miter/>
            </a:ln>
          </p:spPr>
          <p:txBody>
            <a:bodyPr rtlCol="0" anchor="ctr"/>
            <a:lstStyle/>
            <a:p>
              <a:endParaRPr lang="zh-CN" altLang="en-US"/>
            </a:p>
          </p:txBody>
        </p:sp>
        <p:sp>
          <p:nvSpPr>
            <p:cNvPr id="551" name="iSḷíḍê">
              <a:extLst>
                <a:ext uri="{FF2B5EF4-FFF2-40B4-BE49-F238E27FC236}">
                  <a16:creationId xmlns:a16="http://schemas.microsoft.com/office/drawing/2014/main" id="{F76D0AA9-6476-4107-AC10-596F4FD2EB7F}"/>
                </a:ext>
              </a:extLst>
            </p:cNvPr>
            <p:cNvSpPr/>
            <p:nvPr/>
          </p:nvSpPr>
          <p:spPr>
            <a:xfrm>
              <a:off x="6128955" y="3086231"/>
              <a:ext cx="196285" cy="271086"/>
            </a:xfrm>
            <a:custGeom>
              <a:avLst/>
              <a:gdLst>
                <a:gd name="connsiteX0" fmla="*/ 64148 w 64484"/>
                <a:gd name="connsiteY0" fmla="*/ 69370 h 89058"/>
                <a:gd name="connsiteX1" fmla="*/ 61862 w 64484"/>
                <a:gd name="connsiteY1" fmla="*/ 64988 h 89058"/>
                <a:gd name="connsiteX2" fmla="*/ 23286 w 64484"/>
                <a:gd name="connsiteY2" fmla="*/ 15554 h 89058"/>
                <a:gd name="connsiteX3" fmla="*/ 6141 w 64484"/>
                <a:gd name="connsiteY3" fmla="*/ 3266 h 89058"/>
                <a:gd name="connsiteX4" fmla="*/ -336 w 64484"/>
                <a:gd name="connsiteY4" fmla="*/ -163 h 89058"/>
                <a:gd name="connsiteX5" fmla="*/ 426 w 64484"/>
                <a:gd name="connsiteY5" fmla="*/ 11363 h 89058"/>
                <a:gd name="connsiteX6" fmla="*/ 426 w 64484"/>
                <a:gd name="connsiteY6" fmla="*/ 11363 h 89058"/>
                <a:gd name="connsiteX7" fmla="*/ 2045 w 64484"/>
                <a:gd name="connsiteY7" fmla="*/ 33651 h 89058"/>
                <a:gd name="connsiteX8" fmla="*/ 5855 w 64484"/>
                <a:gd name="connsiteY8" fmla="*/ 88229 h 89058"/>
                <a:gd name="connsiteX9" fmla="*/ 5855 w 64484"/>
                <a:gd name="connsiteY9" fmla="*/ 88896 h 89058"/>
                <a:gd name="connsiteX10" fmla="*/ 5855 w 64484"/>
                <a:gd name="connsiteY10" fmla="*/ 88896 h 89058"/>
                <a:gd name="connsiteX11" fmla="*/ 30334 w 64484"/>
                <a:gd name="connsiteY11" fmla="*/ 80705 h 89058"/>
                <a:gd name="connsiteX12" fmla="*/ 41764 w 64484"/>
                <a:gd name="connsiteY12" fmla="*/ 76418 h 890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4484" h="89058">
                  <a:moveTo>
                    <a:pt x="64148" y="69370"/>
                  </a:moveTo>
                  <a:lnTo>
                    <a:pt x="61862" y="64988"/>
                  </a:lnTo>
                  <a:cubicBezTo>
                    <a:pt x="52204" y="46243"/>
                    <a:pt x="39126" y="29479"/>
                    <a:pt x="23286" y="15554"/>
                  </a:cubicBezTo>
                  <a:cubicBezTo>
                    <a:pt x="17961" y="10934"/>
                    <a:pt x="12218" y="6829"/>
                    <a:pt x="6141" y="3266"/>
                  </a:cubicBezTo>
                  <a:lnTo>
                    <a:pt x="-336" y="-163"/>
                  </a:lnTo>
                  <a:lnTo>
                    <a:pt x="426" y="11363"/>
                  </a:lnTo>
                  <a:lnTo>
                    <a:pt x="426" y="11363"/>
                  </a:lnTo>
                  <a:lnTo>
                    <a:pt x="2045" y="33651"/>
                  </a:lnTo>
                  <a:lnTo>
                    <a:pt x="5855" y="88229"/>
                  </a:lnTo>
                  <a:lnTo>
                    <a:pt x="5855" y="88896"/>
                  </a:lnTo>
                  <a:lnTo>
                    <a:pt x="5855" y="88896"/>
                  </a:lnTo>
                  <a:lnTo>
                    <a:pt x="30334" y="80705"/>
                  </a:lnTo>
                  <a:lnTo>
                    <a:pt x="41764" y="76418"/>
                  </a:lnTo>
                  <a:close/>
                </a:path>
              </a:pathLst>
            </a:custGeom>
            <a:solidFill>
              <a:srgbClr val="D9530B"/>
            </a:solidFill>
            <a:ln w="9525" cap="flat">
              <a:noFill/>
              <a:prstDash val="solid"/>
              <a:miter/>
            </a:ln>
          </p:spPr>
          <p:txBody>
            <a:bodyPr rtlCol="0" anchor="ctr"/>
            <a:lstStyle/>
            <a:p>
              <a:endParaRPr lang="zh-CN" altLang="en-US"/>
            </a:p>
          </p:txBody>
        </p:sp>
        <p:sp>
          <p:nvSpPr>
            <p:cNvPr id="552" name="íṥľîdé">
              <a:extLst>
                <a:ext uri="{FF2B5EF4-FFF2-40B4-BE49-F238E27FC236}">
                  <a16:creationId xmlns:a16="http://schemas.microsoft.com/office/drawing/2014/main" id="{9D306BBB-758A-4E40-A679-D8AAA3B8B3C6}"/>
                </a:ext>
              </a:extLst>
            </p:cNvPr>
            <p:cNvSpPr/>
            <p:nvPr/>
          </p:nvSpPr>
          <p:spPr>
            <a:xfrm>
              <a:off x="6128955" y="3048249"/>
              <a:ext cx="262100" cy="249632"/>
            </a:xfrm>
            <a:custGeom>
              <a:avLst/>
              <a:gdLst>
                <a:gd name="connsiteX0" fmla="*/ 64148 w 86106"/>
                <a:gd name="connsiteY0" fmla="*/ 81848 h 82010"/>
                <a:gd name="connsiteX1" fmla="*/ 85770 w 86106"/>
                <a:gd name="connsiteY1" fmla="*/ 69465 h 82010"/>
                <a:gd name="connsiteX2" fmla="*/ 27858 w 86106"/>
                <a:gd name="connsiteY2" fmla="*/ 3362 h 82010"/>
                <a:gd name="connsiteX3" fmla="*/ 21286 w 86106"/>
                <a:gd name="connsiteY3" fmla="*/ -163 h 82010"/>
                <a:gd name="connsiteX4" fmla="*/ -336 w 86106"/>
                <a:gd name="connsiteY4" fmla="*/ 12696 h 82010"/>
                <a:gd name="connsiteX5" fmla="*/ 6141 w 86106"/>
                <a:gd name="connsiteY5" fmla="*/ 16125 h 82010"/>
                <a:gd name="connsiteX6" fmla="*/ 23286 w 86106"/>
                <a:gd name="connsiteY6" fmla="*/ 28412 h 82010"/>
                <a:gd name="connsiteX7" fmla="*/ 61862 w 86106"/>
                <a:gd name="connsiteY7" fmla="*/ 77847 h 82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6106" h="82010">
                  <a:moveTo>
                    <a:pt x="64148" y="81848"/>
                  </a:moveTo>
                  <a:lnTo>
                    <a:pt x="85770" y="69465"/>
                  </a:lnTo>
                  <a:cubicBezTo>
                    <a:pt x="73168" y="42357"/>
                    <a:pt x="53071" y="19421"/>
                    <a:pt x="27858" y="3362"/>
                  </a:cubicBezTo>
                  <a:cubicBezTo>
                    <a:pt x="25724" y="2076"/>
                    <a:pt x="23533" y="904"/>
                    <a:pt x="21286" y="-163"/>
                  </a:cubicBezTo>
                  <a:lnTo>
                    <a:pt x="-336" y="12696"/>
                  </a:lnTo>
                  <a:lnTo>
                    <a:pt x="6141" y="16125"/>
                  </a:lnTo>
                  <a:cubicBezTo>
                    <a:pt x="12218" y="19687"/>
                    <a:pt x="17961" y="23793"/>
                    <a:pt x="23286" y="28412"/>
                  </a:cubicBezTo>
                  <a:cubicBezTo>
                    <a:pt x="39126" y="42338"/>
                    <a:pt x="52204" y="59102"/>
                    <a:pt x="61862" y="77847"/>
                  </a:cubicBezTo>
                  <a:close/>
                </a:path>
              </a:pathLst>
            </a:custGeom>
            <a:solidFill>
              <a:srgbClr val="BF4200"/>
            </a:solidFill>
            <a:ln w="9525" cap="flat">
              <a:noFill/>
              <a:prstDash val="solid"/>
              <a:miter/>
            </a:ln>
          </p:spPr>
          <p:txBody>
            <a:bodyPr rtlCol="0" anchor="ctr"/>
            <a:lstStyle/>
            <a:p>
              <a:endParaRPr lang="zh-CN" altLang="en-US"/>
            </a:p>
          </p:txBody>
        </p:sp>
        <p:sp>
          <p:nvSpPr>
            <p:cNvPr id="553" name="ïṩḻíḓè">
              <a:extLst>
                <a:ext uri="{FF2B5EF4-FFF2-40B4-BE49-F238E27FC236}">
                  <a16:creationId xmlns:a16="http://schemas.microsoft.com/office/drawing/2014/main" id="{C4FEAF1C-8CAB-4EBE-98DA-0FB4A65E0B3E}"/>
                </a:ext>
              </a:extLst>
            </p:cNvPr>
            <p:cNvSpPr/>
            <p:nvPr/>
          </p:nvSpPr>
          <p:spPr>
            <a:xfrm>
              <a:off x="6765069" y="3674485"/>
              <a:ext cx="227887" cy="124981"/>
            </a:xfrm>
            <a:custGeom>
              <a:avLst/>
              <a:gdLst>
                <a:gd name="connsiteX0" fmla="*/ -336 w 74866"/>
                <a:gd name="connsiteY0" fmla="*/ 3940 h 41059"/>
                <a:gd name="connsiteX1" fmla="*/ 2045 w 74866"/>
                <a:gd name="connsiteY1" fmla="*/ 3178 h 41059"/>
                <a:gd name="connsiteX2" fmla="*/ 12141 w 74866"/>
                <a:gd name="connsiteY2" fmla="*/ 5654 h 41059"/>
                <a:gd name="connsiteX3" fmla="*/ 67672 w 74866"/>
                <a:gd name="connsiteY3" fmla="*/ 37658 h 41059"/>
                <a:gd name="connsiteX4" fmla="*/ 73292 w 74866"/>
                <a:gd name="connsiteY4" fmla="*/ 40897 h 41059"/>
                <a:gd name="connsiteX5" fmla="*/ 74530 w 74866"/>
                <a:gd name="connsiteY5" fmla="*/ 35087 h 41059"/>
                <a:gd name="connsiteX6" fmla="*/ 74530 w 74866"/>
                <a:gd name="connsiteY6" fmla="*/ 35087 h 41059"/>
                <a:gd name="connsiteX7" fmla="*/ 73292 w 74866"/>
                <a:gd name="connsiteY7" fmla="*/ 34420 h 41059"/>
                <a:gd name="connsiteX8" fmla="*/ 17761 w 74866"/>
                <a:gd name="connsiteY8" fmla="*/ 2321 h 41059"/>
                <a:gd name="connsiteX9" fmla="*/ 5283 w 74866"/>
                <a:gd name="connsiteY9" fmla="*/ 606 h 41059"/>
                <a:gd name="connsiteX10" fmla="*/ 3950 w 74866"/>
                <a:gd name="connsiteY10" fmla="*/ 1463 h 41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4866" h="41059">
                  <a:moveTo>
                    <a:pt x="-336" y="3940"/>
                  </a:moveTo>
                  <a:cubicBezTo>
                    <a:pt x="416" y="3578"/>
                    <a:pt x="1226" y="3330"/>
                    <a:pt x="2045" y="3178"/>
                  </a:cubicBezTo>
                  <a:cubicBezTo>
                    <a:pt x="5598" y="2806"/>
                    <a:pt x="9160" y="3683"/>
                    <a:pt x="12141" y="5654"/>
                  </a:cubicBezTo>
                  <a:lnTo>
                    <a:pt x="67672" y="37658"/>
                  </a:lnTo>
                  <a:lnTo>
                    <a:pt x="73292" y="40897"/>
                  </a:lnTo>
                  <a:cubicBezTo>
                    <a:pt x="73254" y="38887"/>
                    <a:pt x="73682" y="36906"/>
                    <a:pt x="74530" y="35087"/>
                  </a:cubicBezTo>
                  <a:lnTo>
                    <a:pt x="74530" y="35087"/>
                  </a:lnTo>
                  <a:lnTo>
                    <a:pt x="73292" y="34420"/>
                  </a:lnTo>
                  <a:lnTo>
                    <a:pt x="17761" y="2321"/>
                  </a:lnTo>
                  <a:cubicBezTo>
                    <a:pt x="14113" y="-213"/>
                    <a:pt x="9474" y="-851"/>
                    <a:pt x="5283" y="606"/>
                  </a:cubicBezTo>
                  <a:lnTo>
                    <a:pt x="3950" y="1463"/>
                  </a:lnTo>
                  <a:close/>
                </a:path>
              </a:pathLst>
            </a:custGeom>
            <a:solidFill>
              <a:srgbClr val="316DE6"/>
            </a:solidFill>
            <a:ln w="9525" cap="flat">
              <a:noFill/>
              <a:prstDash val="solid"/>
              <a:miter/>
            </a:ln>
          </p:spPr>
          <p:txBody>
            <a:bodyPr rtlCol="0" anchor="ctr"/>
            <a:lstStyle/>
            <a:p>
              <a:endParaRPr lang="zh-CN" altLang="en-US"/>
            </a:p>
          </p:txBody>
        </p:sp>
        <p:sp>
          <p:nvSpPr>
            <p:cNvPr id="554" name="î$ļíḍè">
              <a:extLst>
                <a:ext uri="{FF2B5EF4-FFF2-40B4-BE49-F238E27FC236}">
                  <a16:creationId xmlns:a16="http://schemas.microsoft.com/office/drawing/2014/main" id="{C2BEA9DC-A6A3-4CD2-AC28-E529CDF85665}"/>
                </a:ext>
              </a:extLst>
            </p:cNvPr>
            <p:cNvSpPr/>
            <p:nvPr/>
          </p:nvSpPr>
          <p:spPr>
            <a:xfrm>
              <a:off x="6745907" y="3685848"/>
              <a:ext cx="390855" cy="518177"/>
            </a:xfrm>
            <a:custGeom>
              <a:avLst/>
              <a:gdLst>
                <a:gd name="connsiteX0" fmla="*/ -328 w 128405"/>
                <a:gd name="connsiteY0" fmla="*/ 12780 h 170233"/>
                <a:gd name="connsiteX1" fmla="*/ -328 w 128405"/>
                <a:gd name="connsiteY1" fmla="*/ 17066 h 170233"/>
                <a:gd name="connsiteX2" fmla="*/ 5292 w 128405"/>
                <a:gd name="connsiteY2" fmla="*/ 20400 h 170233"/>
                <a:gd name="connsiteX3" fmla="*/ 51488 w 128405"/>
                <a:gd name="connsiteY3" fmla="*/ 46974 h 170233"/>
                <a:gd name="connsiteX4" fmla="*/ 86730 w 128405"/>
                <a:gd name="connsiteY4" fmla="*/ 67072 h 170233"/>
                <a:gd name="connsiteX5" fmla="*/ 105780 w 128405"/>
                <a:gd name="connsiteY5" fmla="*/ 99552 h 170233"/>
                <a:gd name="connsiteX6" fmla="*/ 105780 w 128405"/>
                <a:gd name="connsiteY6" fmla="*/ 162989 h 170233"/>
                <a:gd name="connsiteX7" fmla="*/ 116829 w 128405"/>
                <a:gd name="connsiteY7" fmla="*/ 168609 h 170233"/>
                <a:gd name="connsiteX8" fmla="*/ 116829 w 128405"/>
                <a:gd name="connsiteY8" fmla="*/ 168609 h 170233"/>
                <a:gd name="connsiteX9" fmla="*/ 128069 w 128405"/>
                <a:gd name="connsiteY9" fmla="*/ 149559 h 170233"/>
                <a:gd name="connsiteX10" fmla="*/ 128069 w 128405"/>
                <a:gd name="connsiteY10" fmla="*/ 65358 h 170233"/>
                <a:gd name="connsiteX11" fmla="*/ 114353 w 128405"/>
                <a:gd name="connsiteY11" fmla="*/ 41640 h 170233"/>
                <a:gd name="connsiteX12" fmla="*/ 93779 w 128405"/>
                <a:gd name="connsiteY12" fmla="*/ 29734 h 170233"/>
                <a:gd name="connsiteX13" fmla="*/ 87302 w 128405"/>
                <a:gd name="connsiteY13" fmla="*/ 27924 h 170233"/>
                <a:gd name="connsiteX14" fmla="*/ 84635 w 128405"/>
                <a:gd name="connsiteY14" fmla="*/ 28496 h 170233"/>
                <a:gd name="connsiteX15" fmla="*/ 83778 w 128405"/>
                <a:gd name="connsiteY15" fmla="*/ 28972 h 170233"/>
                <a:gd name="connsiteX16" fmla="*/ 81301 w 128405"/>
                <a:gd name="connsiteY16" fmla="*/ 31830 h 170233"/>
                <a:gd name="connsiteX17" fmla="*/ 81301 w 128405"/>
                <a:gd name="connsiteY17" fmla="*/ 31830 h 170233"/>
                <a:gd name="connsiteX18" fmla="*/ 80063 w 128405"/>
                <a:gd name="connsiteY18" fmla="*/ 37640 h 170233"/>
                <a:gd name="connsiteX19" fmla="*/ 74443 w 128405"/>
                <a:gd name="connsiteY19" fmla="*/ 34401 h 170233"/>
                <a:gd name="connsiteX20" fmla="*/ 18913 w 128405"/>
                <a:gd name="connsiteY20" fmla="*/ 2397 h 170233"/>
                <a:gd name="connsiteX21" fmla="*/ 8816 w 128405"/>
                <a:gd name="connsiteY21" fmla="*/ -79 h 170233"/>
                <a:gd name="connsiteX22" fmla="*/ 6435 w 128405"/>
                <a:gd name="connsiteY22" fmla="*/ 683 h 170233"/>
                <a:gd name="connsiteX23" fmla="*/ 5006 w 128405"/>
                <a:gd name="connsiteY23" fmla="*/ 1445 h 170233"/>
                <a:gd name="connsiteX24" fmla="*/ -328 w 128405"/>
                <a:gd name="connsiteY24" fmla="*/ 12780 h 170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28405" h="170233">
                  <a:moveTo>
                    <a:pt x="-328" y="12780"/>
                  </a:moveTo>
                  <a:lnTo>
                    <a:pt x="-328" y="17066"/>
                  </a:lnTo>
                  <a:lnTo>
                    <a:pt x="5292" y="20400"/>
                  </a:lnTo>
                  <a:lnTo>
                    <a:pt x="51488" y="46974"/>
                  </a:lnTo>
                  <a:lnTo>
                    <a:pt x="86730" y="67072"/>
                  </a:lnTo>
                  <a:cubicBezTo>
                    <a:pt x="97932" y="74206"/>
                    <a:pt x="105019" y="86294"/>
                    <a:pt x="105780" y="99552"/>
                  </a:cubicBezTo>
                  <a:lnTo>
                    <a:pt x="105780" y="162989"/>
                  </a:lnTo>
                  <a:cubicBezTo>
                    <a:pt x="105780" y="169371"/>
                    <a:pt x="110924" y="171942"/>
                    <a:pt x="116829" y="168609"/>
                  </a:cubicBezTo>
                  <a:lnTo>
                    <a:pt x="116829" y="168609"/>
                  </a:lnTo>
                  <a:cubicBezTo>
                    <a:pt x="123364" y="164380"/>
                    <a:pt x="127526" y="157322"/>
                    <a:pt x="128069" y="149559"/>
                  </a:cubicBezTo>
                  <a:lnTo>
                    <a:pt x="128069" y="65358"/>
                  </a:lnTo>
                  <a:cubicBezTo>
                    <a:pt x="127526" y="55718"/>
                    <a:pt x="122430" y="46917"/>
                    <a:pt x="114353" y="41640"/>
                  </a:cubicBezTo>
                  <a:lnTo>
                    <a:pt x="93779" y="29734"/>
                  </a:lnTo>
                  <a:cubicBezTo>
                    <a:pt x="91836" y="28524"/>
                    <a:pt x="89588" y="27896"/>
                    <a:pt x="87302" y="27924"/>
                  </a:cubicBezTo>
                  <a:cubicBezTo>
                    <a:pt x="86387" y="27953"/>
                    <a:pt x="85483" y="28153"/>
                    <a:pt x="84635" y="28496"/>
                  </a:cubicBezTo>
                  <a:lnTo>
                    <a:pt x="83778" y="28972"/>
                  </a:lnTo>
                  <a:cubicBezTo>
                    <a:pt x="82721" y="29696"/>
                    <a:pt x="81863" y="30677"/>
                    <a:pt x="81301" y="31830"/>
                  </a:cubicBezTo>
                  <a:lnTo>
                    <a:pt x="81301" y="31830"/>
                  </a:lnTo>
                  <a:cubicBezTo>
                    <a:pt x="80454" y="33649"/>
                    <a:pt x="80025" y="35630"/>
                    <a:pt x="80063" y="37640"/>
                  </a:cubicBezTo>
                  <a:lnTo>
                    <a:pt x="74443" y="34401"/>
                  </a:lnTo>
                  <a:lnTo>
                    <a:pt x="18913" y="2397"/>
                  </a:lnTo>
                  <a:cubicBezTo>
                    <a:pt x="15931" y="426"/>
                    <a:pt x="12369" y="-451"/>
                    <a:pt x="8816" y="-79"/>
                  </a:cubicBezTo>
                  <a:cubicBezTo>
                    <a:pt x="7997" y="73"/>
                    <a:pt x="7187" y="321"/>
                    <a:pt x="6435" y="683"/>
                  </a:cubicBezTo>
                  <a:lnTo>
                    <a:pt x="5006" y="1445"/>
                  </a:lnTo>
                  <a:cubicBezTo>
                    <a:pt x="1510" y="4140"/>
                    <a:pt x="-480" y="8360"/>
                    <a:pt x="-328" y="12780"/>
                  </a:cubicBezTo>
                  <a:close/>
                </a:path>
              </a:pathLst>
            </a:custGeom>
            <a:solidFill>
              <a:srgbClr val="323A82"/>
            </a:solidFill>
            <a:ln w="9525" cap="flat">
              <a:noFill/>
              <a:prstDash val="solid"/>
              <a:miter/>
            </a:ln>
          </p:spPr>
          <p:txBody>
            <a:bodyPr rtlCol="0" anchor="ctr"/>
            <a:lstStyle/>
            <a:p>
              <a:endParaRPr lang="zh-CN" altLang="en-US"/>
            </a:p>
          </p:txBody>
        </p:sp>
        <p:sp>
          <p:nvSpPr>
            <p:cNvPr id="555" name="ïṣlíḓe">
              <a:extLst>
                <a:ext uri="{FF2B5EF4-FFF2-40B4-BE49-F238E27FC236}">
                  <a16:creationId xmlns:a16="http://schemas.microsoft.com/office/drawing/2014/main" id="{CDA81D9D-9092-4193-B7B5-6076AB688EB0}"/>
                </a:ext>
              </a:extLst>
            </p:cNvPr>
            <p:cNvSpPr/>
            <p:nvPr/>
          </p:nvSpPr>
          <p:spPr>
            <a:xfrm>
              <a:off x="6754053" y="3705265"/>
              <a:ext cx="322114" cy="451667"/>
            </a:xfrm>
            <a:custGeom>
              <a:avLst/>
              <a:gdLst>
                <a:gd name="connsiteX0" fmla="*/ 8522 w 105822"/>
                <a:gd name="connsiteY0" fmla="*/ 96127 h 148383"/>
                <a:gd name="connsiteX1" fmla="*/ 96628 w 105822"/>
                <a:gd name="connsiteY1" fmla="*/ 146991 h 148383"/>
                <a:gd name="connsiteX2" fmla="*/ 105486 w 105822"/>
                <a:gd name="connsiteY2" fmla="*/ 141847 h 148383"/>
                <a:gd name="connsiteX3" fmla="*/ 105486 w 105822"/>
                <a:gd name="connsiteY3" fmla="*/ 67266 h 148383"/>
                <a:gd name="connsiteX4" fmla="*/ 96628 w 105822"/>
                <a:gd name="connsiteY4" fmla="*/ 51931 h 148383"/>
                <a:gd name="connsiteX5" fmla="*/ 8522 w 105822"/>
                <a:gd name="connsiteY5" fmla="*/ 1068 h 148383"/>
                <a:gd name="connsiteX6" fmla="*/ -336 w 105822"/>
                <a:gd name="connsiteY6" fmla="*/ 6211 h 148383"/>
                <a:gd name="connsiteX7" fmla="*/ -336 w 105822"/>
                <a:gd name="connsiteY7" fmla="*/ 80697 h 148383"/>
                <a:gd name="connsiteX8" fmla="*/ 8522 w 105822"/>
                <a:gd name="connsiteY8" fmla="*/ 96127 h 1483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822" h="148383">
                  <a:moveTo>
                    <a:pt x="8522" y="96127"/>
                  </a:moveTo>
                  <a:lnTo>
                    <a:pt x="96628" y="146991"/>
                  </a:lnTo>
                  <a:cubicBezTo>
                    <a:pt x="101486" y="149848"/>
                    <a:pt x="105486" y="147562"/>
                    <a:pt x="105486" y="141847"/>
                  </a:cubicBezTo>
                  <a:lnTo>
                    <a:pt x="105486" y="67266"/>
                  </a:lnTo>
                  <a:cubicBezTo>
                    <a:pt x="105143" y="61037"/>
                    <a:pt x="101848" y="55341"/>
                    <a:pt x="96628" y="51931"/>
                  </a:cubicBezTo>
                  <a:lnTo>
                    <a:pt x="8522" y="1068"/>
                  </a:lnTo>
                  <a:cubicBezTo>
                    <a:pt x="3664" y="-1790"/>
                    <a:pt x="-336" y="496"/>
                    <a:pt x="-336" y="6211"/>
                  </a:cubicBezTo>
                  <a:lnTo>
                    <a:pt x="-336" y="80697"/>
                  </a:lnTo>
                  <a:cubicBezTo>
                    <a:pt x="-22" y="86964"/>
                    <a:pt x="3274" y="92698"/>
                    <a:pt x="8522" y="96127"/>
                  </a:cubicBezTo>
                  <a:close/>
                </a:path>
              </a:pathLst>
            </a:custGeom>
            <a:solidFill>
              <a:srgbClr val="D1D9E8"/>
            </a:solidFill>
            <a:ln w="9525" cap="flat">
              <a:noFill/>
              <a:prstDash val="solid"/>
              <a:miter/>
            </a:ln>
          </p:spPr>
          <p:txBody>
            <a:bodyPr rtlCol="0" anchor="ctr"/>
            <a:lstStyle/>
            <a:p>
              <a:endParaRPr lang="zh-CN" altLang="en-US"/>
            </a:p>
          </p:txBody>
        </p:sp>
        <p:sp>
          <p:nvSpPr>
            <p:cNvPr id="556" name="ïśḻïďé">
              <a:extLst>
                <a:ext uri="{FF2B5EF4-FFF2-40B4-BE49-F238E27FC236}">
                  <a16:creationId xmlns:a16="http://schemas.microsoft.com/office/drawing/2014/main" id="{47198294-6260-4732-9E8F-604111619567}"/>
                </a:ext>
              </a:extLst>
            </p:cNvPr>
            <p:cNvSpPr/>
            <p:nvPr/>
          </p:nvSpPr>
          <p:spPr>
            <a:xfrm>
              <a:off x="6736946" y="3715121"/>
              <a:ext cx="322114" cy="451667"/>
            </a:xfrm>
            <a:custGeom>
              <a:avLst/>
              <a:gdLst>
                <a:gd name="connsiteX0" fmla="*/ 8522 w 105822"/>
                <a:gd name="connsiteY0" fmla="*/ 96127 h 148383"/>
                <a:gd name="connsiteX1" fmla="*/ 96628 w 105822"/>
                <a:gd name="connsiteY1" fmla="*/ 146991 h 148383"/>
                <a:gd name="connsiteX2" fmla="*/ 105487 w 105822"/>
                <a:gd name="connsiteY2" fmla="*/ 141847 h 148383"/>
                <a:gd name="connsiteX3" fmla="*/ 105487 w 105822"/>
                <a:gd name="connsiteY3" fmla="*/ 67362 h 148383"/>
                <a:gd name="connsiteX4" fmla="*/ 96628 w 105822"/>
                <a:gd name="connsiteY4" fmla="*/ 51931 h 148383"/>
                <a:gd name="connsiteX5" fmla="*/ 8522 w 105822"/>
                <a:gd name="connsiteY5" fmla="*/ 1068 h 148383"/>
                <a:gd name="connsiteX6" fmla="*/ -336 w 105822"/>
                <a:gd name="connsiteY6" fmla="*/ 6211 h 148383"/>
                <a:gd name="connsiteX7" fmla="*/ -336 w 105822"/>
                <a:gd name="connsiteY7" fmla="*/ 80792 h 148383"/>
                <a:gd name="connsiteX8" fmla="*/ 8522 w 105822"/>
                <a:gd name="connsiteY8" fmla="*/ 96127 h 1483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822" h="148383">
                  <a:moveTo>
                    <a:pt x="8522" y="96127"/>
                  </a:moveTo>
                  <a:lnTo>
                    <a:pt x="96628" y="146991"/>
                  </a:lnTo>
                  <a:cubicBezTo>
                    <a:pt x="101486" y="149848"/>
                    <a:pt x="105487" y="147562"/>
                    <a:pt x="105487" y="141847"/>
                  </a:cubicBezTo>
                  <a:lnTo>
                    <a:pt x="105487" y="67362"/>
                  </a:lnTo>
                  <a:cubicBezTo>
                    <a:pt x="105172" y="61094"/>
                    <a:pt x="101877" y="55360"/>
                    <a:pt x="96628" y="51931"/>
                  </a:cubicBezTo>
                  <a:lnTo>
                    <a:pt x="8522" y="1068"/>
                  </a:lnTo>
                  <a:cubicBezTo>
                    <a:pt x="3664" y="-1790"/>
                    <a:pt x="-336" y="496"/>
                    <a:pt x="-336" y="6211"/>
                  </a:cubicBezTo>
                  <a:lnTo>
                    <a:pt x="-336" y="80792"/>
                  </a:lnTo>
                  <a:cubicBezTo>
                    <a:pt x="7" y="87021"/>
                    <a:pt x="3302" y="92717"/>
                    <a:pt x="8522" y="96127"/>
                  </a:cubicBezTo>
                  <a:close/>
                </a:path>
              </a:pathLst>
            </a:custGeom>
            <a:solidFill>
              <a:srgbClr val="EDF4FF"/>
            </a:solidFill>
            <a:ln w="9525" cap="flat">
              <a:noFill/>
              <a:prstDash val="solid"/>
              <a:miter/>
            </a:ln>
          </p:spPr>
          <p:txBody>
            <a:bodyPr rtlCol="0" anchor="ctr"/>
            <a:lstStyle/>
            <a:p>
              <a:endParaRPr lang="zh-CN" altLang="en-US"/>
            </a:p>
          </p:txBody>
        </p:sp>
        <p:sp>
          <p:nvSpPr>
            <p:cNvPr id="557" name="íṧḷïḋe">
              <a:extLst>
                <a:ext uri="{FF2B5EF4-FFF2-40B4-BE49-F238E27FC236}">
                  <a16:creationId xmlns:a16="http://schemas.microsoft.com/office/drawing/2014/main" id="{70FBC7E9-2415-4502-A225-7E398BFDF377}"/>
                </a:ext>
              </a:extLst>
            </p:cNvPr>
            <p:cNvSpPr/>
            <p:nvPr/>
          </p:nvSpPr>
          <p:spPr>
            <a:xfrm>
              <a:off x="6660525" y="3735385"/>
              <a:ext cx="390146" cy="528581"/>
            </a:xfrm>
            <a:custGeom>
              <a:avLst/>
              <a:gdLst>
                <a:gd name="connsiteX0" fmla="*/ -281 w 128172"/>
                <a:gd name="connsiteY0" fmla="*/ 12698 h 173651"/>
                <a:gd name="connsiteX1" fmla="*/ -281 w 128172"/>
                <a:gd name="connsiteY1" fmla="*/ 86327 h 173651"/>
                <a:gd name="connsiteX2" fmla="*/ 18769 w 128172"/>
                <a:gd name="connsiteY2" fmla="*/ 118807 h 173651"/>
                <a:gd name="connsiteX3" fmla="*/ 109066 w 128172"/>
                <a:gd name="connsiteY3" fmla="*/ 171004 h 173651"/>
                <a:gd name="connsiteX4" fmla="*/ 121639 w 128172"/>
                <a:gd name="connsiteY4" fmla="*/ 172623 h 173651"/>
                <a:gd name="connsiteX5" fmla="*/ 122782 w 128172"/>
                <a:gd name="connsiteY5" fmla="*/ 172052 h 173651"/>
                <a:gd name="connsiteX6" fmla="*/ 124878 w 128172"/>
                <a:gd name="connsiteY6" fmla="*/ 170147 h 173651"/>
                <a:gd name="connsiteX7" fmla="*/ 127830 w 128172"/>
                <a:gd name="connsiteY7" fmla="*/ 160622 h 173651"/>
                <a:gd name="connsiteX8" fmla="*/ 127830 w 128172"/>
                <a:gd name="connsiteY8" fmla="*/ 86993 h 173651"/>
                <a:gd name="connsiteX9" fmla="*/ 108780 w 128172"/>
                <a:gd name="connsiteY9" fmla="*/ 54513 h 173651"/>
                <a:gd name="connsiteX10" fmla="*/ 33343 w 128172"/>
                <a:gd name="connsiteY10" fmla="*/ 10984 h 173651"/>
                <a:gd name="connsiteX11" fmla="*/ 27723 w 128172"/>
                <a:gd name="connsiteY11" fmla="*/ 7745 h 173651"/>
                <a:gd name="connsiteX12" fmla="*/ 18198 w 128172"/>
                <a:gd name="connsiteY12" fmla="*/ 2316 h 173651"/>
                <a:gd name="connsiteX13" fmla="*/ 8006 w 128172"/>
                <a:gd name="connsiteY13" fmla="*/ -65 h 173651"/>
                <a:gd name="connsiteX14" fmla="*/ 4672 w 128172"/>
                <a:gd name="connsiteY14" fmla="*/ 1173 h 173651"/>
                <a:gd name="connsiteX15" fmla="*/ -281 w 128172"/>
                <a:gd name="connsiteY15" fmla="*/ 12698 h 173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8172" h="173651">
                  <a:moveTo>
                    <a:pt x="-281" y="12698"/>
                  </a:moveTo>
                  <a:lnTo>
                    <a:pt x="-281" y="86327"/>
                  </a:lnTo>
                  <a:cubicBezTo>
                    <a:pt x="481" y="99586"/>
                    <a:pt x="7568" y="111673"/>
                    <a:pt x="18769" y="118807"/>
                  </a:cubicBezTo>
                  <a:lnTo>
                    <a:pt x="109066" y="171004"/>
                  </a:lnTo>
                  <a:cubicBezTo>
                    <a:pt x="112733" y="173595"/>
                    <a:pt x="117439" y="174204"/>
                    <a:pt x="121639" y="172623"/>
                  </a:cubicBezTo>
                  <a:lnTo>
                    <a:pt x="122782" y="172052"/>
                  </a:lnTo>
                  <a:cubicBezTo>
                    <a:pt x="123544" y="171499"/>
                    <a:pt x="124249" y="170852"/>
                    <a:pt x="124878" y="170147"/>
                  </a:cubicBezTo>
                  <a:cubicBezTo>
                    <a:pt x="126888" y="167384"/>
                    <a:pt x="127926" y="164032"/>
                    <a:pt x="127830" y="160622"/>
                  </a:cubicBezTo>
                  <a:lnTo>
                    <a:pt x="127830" y="86993"/>
                  </a:lnTo>
                  <a:cubicBezTo>
                    <a:pt x="127040" y="73744"/>
                    <a:pt x="119953" y="61676"/>
                    <a:pt x="108780" y="54513"/>
                  </a:cubicBezTo>
                  <a:lnTo>
                    <a:pt x="33343" y="10984"/>
                  </a:lnTo>
                  <a:lnTo>
                    <a:pt x="27723" y="7745"/>
                  </a:lnTo>
                  <a:lnTo>
                    <a:pt x="18198" y="2316"/>
                  </a:lnTo>
                  <a:cubicBezTo>
                    <a:pt x="15178" y="373"/>
                    <a:pt x="11578" y="-465"/>
                    <a:pt x="8006" y="-65"/>
                  </a:cubicBezTo>
                  <a:cubicBezTo>
                    <a:pt x="6825" y="135"/>
                    <a:pt x="5691" y="554"/>
                    <a:pt x="4672" y="1173"/>
                  </a:cubicBezTo>
                  <a:cubicBezTo>
                    <a:pt x="1177" y="3926"/>
                    <a:pt x="-690" y="8269"/>
                    <a:pt x="-281" y="12698"/>
                  </a:cubicBezTo>
                  <a:close/>
                </a:path>
              </a:pathLst>
            </a:custGeom>
            <a:solidFill>
              <a:srgbClr val="214EA6"/>
            </a:solidFill>
            <a:ln w="9525" cap="flat">
              <a:noFill/>
              <a:prstDash val="solid"/>
              <a:miter/>
            </a:ln>
          </p:spPr>
          <p:txBody>
            <a:bodyPr rtlCol="0" anchor="ctr"/>
            <a:lstStyle/>
            <a:p>
              <a:endParaRPr lang="zh-CN" altLang="en-US"/>
            </a:p>
          </p:txBody>
        </p:sp>
        <p:sp>
          <p:nvSpPr>
            <p:cNvPr id="558" name="iš1ïďè">
              <a:extLst>
                <a:ext uri="{FF2B5EF4-FFF2-40B4-BE49-F238E27FC236}">
                  <a16:creationId xmlns:a16="http://schemas.microsoft.com/office/drawing/2014/main" id="{2C534D3B-94BC-4D65-AB59-57A0B8F67E48}"/>
                </a:ext>
              </a:extLst>
            </p:cNvPr>
            <p:cNvSpPr/>
            <p:nvPr/>
          </p:nvSpPr>
          <p:spPr>
            <a:xfrm>
              <a:off x="6676640" y="3721158"/>
              <a:ext cx="477717" cy="536982"/>
            </a:xfrm>
            <a:custGeom>
              <a:avLst/>
              <a:gdLst>
                <a:gd name="connsiteX0" fmla="*/ -336 w 156941"/>
                <a:gd name="connsiteY0" fmla="*/ 5371 h 176411"/>
                <a:gd name="connsiteX1" fmla="*/ 2997 w 156941"/>
                <a:gd name="connsiteY1" fmla="*/ 4132 h 176411"/>
                <a:gd name="connsiteX2" fmla="*/ 13189 w 156941"/>
                <a:gd name="connsiteY2" fmla="*/ 6514 h 176411"/>
                <a:gd name="connsiteX3" fmla="*/ 22714 w 156941"/>
                <a:gd name="connsiteY3" fmla="*/ 11943 h 176411"/>
                <a:gd name="connsiteX4" fmla="*/ 28334 w 156941"/>
                <a:gd name="connsiteY4" fmla="*/ 15181 h 176411"/>
                <a:gd name="connsiteX5" fmla="*/ 103772 w 156941"/>
                <a:gd name="connsiteY5" fmla="*/ 58711 h 176411"/>
                <a:gd name="connsiteX6" fmla="*/ 122822 w 156941"/>
                <a:gd name="connsiteY6" fmla="*/ 91191 h 176411"/>
                <a:gd name="connsiteX7" fmla="*/ 122822 w 156941"/>
                <a:gd name="connsiteY7" fmla="*/ 164819 h 176411"/>
                <a:gd name="connsiteX8" fmla="*/ 119869 w 156941"/>
                <a:gd name="connsiteY8" fmla="*/ 174344 h 176411"/>
                <a:gd name="connsiteX9" fmla="*/ 117774 w 156941"/>
                <a:gd name="connsiteY9" fmla="*/ 176249 h 176411"/>
                <a:gd name="connsiteX10" fmla="*/ 122250 w 156941"/>
                <a:gd name="connsiteY10" fmla="*/ 173582 h 176411"/>
                <a:gd name="connsiteX11" fmla="*/ 123489 w 156941"/>
                <a:gd name="connsiteY11" fmla="*/ 172915 h 176411"/>
                <a:gd name="connsiteX12" fmla="*/ 151302 w 156941"/>
                <a:gd name="connsiteY12" fmla="*/ 156818 h 176411"/>
                <a:gd name="connsiteX13" fmla="*/ 156540 w 156941"/>
                <a:gd name="connsiteY13" fmla="*/ 144817 h 176411"/>
                <a:gd name="connsiteX14" fmla="*/ 156540 w 156941"/>
                <a:gd name="connsiteY14" fmla="*/ 49567 h 176411"/>
                <a:gd name="connsiteX15" fmla="*/ 142824 w 156941"/>
                <a:gd name="connsiteY15" fmla="*/ 25849 h 176411"/>
                <a:gd name="connsiteX16" fmla="*/ 122250 w 156941"/>
                <a:gd name="connsiteY16" fmla="*/ 13943 h 176411"/>
                <a:gd name="connsiteX17" fmla="*/ 112725 w 156941"/>
                <a:gd name="connsiteY17" fmla="*/ 12705 h 176411"/>
                <a:gd name="connsiteX18" fmla="*/ 112725 w 156941"/>
                <a:gd name="connsiteY18" fmla="*/ 12705 h 176411"/>
                <a:gd name="connsiteX19" fmla="*/ 111773 w 156941"/>
                <a:gd name="connsiteY19" fmla="*/ 13276 h 176411"/>
                <a:gd name="connsiteX20" fmla="*/ 107106 w 156941"/>
                <a:gd name="connsiteY20" fmla="*/ 15943 h 176411"/>
                <a:gd name="connsiteX21" fmla="*/ 109773 w 156941"/>
                <a:gd name="connsiteY21" fmla="*/ 15372 h 176411"/>
                <a:gd name="connsiteX22" fmla="*/ 116250 w 156941"/>
                <a:gd name="connsiteY22" fmla="*/ 17182 h 176411"/>
                <a:gd name="connsiteX23" fmla="*/ 136824 w 156941"/>
                <a:gd name="connsiteY23" fmla="*/ 29088 h 176411"/>
                <a:gd name="connsiteX24" fmla="*/ 150540 w 156941"/>
                <a:gd name="connsiteY24" fmla="*/ 52805 h 176411"/>
                <a:gd name="connsiteX25" fmla="*/ 150540 w 156941"/>
                <a:gd name="connsiteY25" fmla="*/ 137006 h 176411"/>
                <a:gd name="connsiteX26" fmla="*/ 139300 w 156941"/>
                <a:gd name="connsiteY26" fmla="*/ 156056 h 176411"/>
                <a:gd name="connsiteX27" fmla="*/ 139300 w 156941"/>
                <a:gd name="connsiteY27" fmla="*/ 156056 h 176411"/>
                <a:gd name="connsiteX28" fmla="*/ 128251 w 156941"/>
                <a:gd name="connsiteY28" fmla="*/ 150436 h 176411"/>
                <a:gd name="connsiteX29" fmla="*/ 128251 w 156941"/>
                <a:gd name="connsiteY29" fmla="*/ 87000 h 176411"/>
                <a:gd name="connsiteX30" fmla="*/ 109201 w 156941"/>
                <a:gd name="connsiteY30" fmla="*/ 54520 h 176411"/>
                <a:gd name="connsiteX31" fmla="*/ 74340 w 156941"/>
                <a:gd name="connsiteY31" fmla="*/ 34327 h 176411"/>
                <a:gd name="connsiteX32" fmla="*/ 28143 w 156941"/>
                <a:gd name="connsiteY32" fmla="*/ 7752 h 176411"/>
                <a:gd name="connsiteX33" fmla="*/ 22524 w 156941"/>
                <a:gd name="connsiteY33" fmla="*/ 4418 h 176411"/>
                <a:gd name="connsiteX34" fmla="*/ 18904 w 156941"/>
                <a:gd name="connsiteY34" fmla="*/ 2323 h 176411"/>
                <a:gd name="connsiteX35" fmla="*/ 6236 w 156941"/>
                <a:gd name="connsiteY35" fmla="*/ 703 h 176411"/>
                <a:gd name="connsiteX36" fmla="*/ 5664 w 156941"/>
                <a:gd name="connsiteY36" fmla="*/ 703 h 176411"/>
                <a:gd name="connsiteX37" fmla="*/ 5664 w 156941"/>
                <a:gd name="connsiteY37" fmla="*/ 703 h 1764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56941" h="176411">
                  <a:moveTo>
                    <a:pt x="-336" y="5371"/>
                  </a:moveTo>
                  <a:cubicBezTo>
                    <a:pt x="683" y="4751"/>
                    <a:pt x="1816" y="4332"/>
                    <a:pt x="2997" y="4132"/>
                  </a:cubicBezTo>
                  <a:cubicBezTo>
                    <a:pt x="6569" y="3732"/>
                    <a:pt x="10170" y="4571"/>
                    <a:pt x="13189" y="6514"/>
                  </a:cubicBezTo>
                  <a:lnTo>
                    <a:pt x="22714" y="11943"/>
                  </a:lnTo>
                  <a:lnTo>
                    <a:pt x="28334" y="15181"/>
                  </a:lnTo>
                  <a:lnTo>
                    <a:pt x="103772" y="58711"/>
                  </a:lnTo>
                  <a:cubicBezTo>
                    <a:pt x="114945" y="65873"/>
                    <a:pt x="122031" y="77942"/>
                    <a:pt x="122822" y="91191"/>
                  </a:cubicBezTo>
                  <a:lnTo>
                    <a:pt x="122822" y="164819"/>
                  </a:lnTo>
                  <a:cubicBezTo>
                    <a:pt x="122917" y="168229"/>
                    <a:pt x="121879" y="171582"/>
                    <a:pt x="119869" y="174344"/>
                  </a:cubicBezTo>
                  <a:cubicBezTo>
                    <a:pt x="119240" y="175049"/>
                    <a:pt x="118536" y="175697"/>
                    <a:pt x="117774" y="176249"/>
                  </a:cubicBezTo>
                  <a:lnTo>
                    <a:pt x="122250" y="173582"/>
                  </a:lnTo>
                  <a:lnTo>
                    <a:pt x="123489" y="172915"/>
                  </a:lnTo>
                  <a:lnTo>
                    <a:pt x="151302" y="156818"/>
                  </a:lnTo>
                  <a:cubicBezTo>
                    <a:pt x="155016" y="153999"/>
                    <a:pt x="156998" y="149455"/>
                    <a:pt x="156540" y="144817"/>
                  </a:cubicBezTo>
                  <a:lnTo>
                    <a:pt x="156540" y="49567"/>
                  </a:lnTo>
                  <a:cubicBezTo>
                    <a:pt x="155997" y="39927"/>
                    <a:pt x="150902" y="31126"/>
                    <a:pt x="142824" y="25849"/>
                  </a:cubicBezTo>
                  <a:lnTo>
                    <a:pt x="122250" y="13943"/>
                  </a:lnTo>
                  <a:cubicBezTo>
                    <a:pt x="119498" y="11933"/>
                    <a:pt x="115907" y="11467"/>
                    <a:pt x="112725" y="12705"/>
                  </a:cubicBezTo>
                  <a:lnTo>
                    <a:pt x="112725" y="12705"/>
                  </a:lnTo>
                  <a:lnTo>
                    <a:pt x="111773" y="13276"/>
                  </a:lnTo>
                  <a:lnTo>
                    <a:pt x="107106" y="15943"/>
                  </a:lnTo>
                  <a:cubicBezTo>
                    <a:pt x="107953" y="15601"/>
                    <a:pt x="108858" y="15400"/>
                    <a:pt x="109773" y="15372"/>
                  </a:cubicBezTo>
                  <a:cubicBezTo>
                    <a:pt x="112059" y="15343"/>
                    <a:pt x="114307" y="15972"/>
                    <a:pt x="116250" y="17182"/>
                  </a:cubicBezTo>
                  <a:lnTo>
                    <a:pt x="136824" y="29088"/>
                  </a:lnTo>
                  <a:cubicBezTo>
                    <a:pt x="144901" y="34365"/>
                    <a:pt x="149997" y="43166"/>
                    <a:pt x="150540" y="52805"/>
                  </a:cubicBezTo>
                  <a:lnTo>
                    <a:pt x="150540" y="137006"/>
                  </a:lnTo>
                  <a:cubicBezTo>
                    <a:pt x="149997" y="144769"/>
                    <a:pt x="145834" y="151827"/>
                    <a:pt x="139300" y="156056"/>
                  </a:cubicBezTo>
                  <a:lnTo>
                    <a:pt x="139300" y="156056"/>
                  </a:lnTo>
                  <a:cubicBezTo>
                    <a:pt x="133395" y="159390"/>
                    <a:pt x="128632" y="156818"/>
                    <a:pt x="128251" y="150436"/>
                  </a:cubicBezTo>
                  <a:lnTo>
                    <a:pt x="128251" y="87000"/>
                  </a:lnTo>
                  <a:cubicBezTo>
                    <a:pt x="127489" y="73741"/>
                    <a:pt x="120403" y="61654"/>
                    <a:pt x="109201" y="54520"/>
                  </a:cubicBezTo>
                  <a:lnTo>
                    <a:pt x="74340" y="34327"/>
                  </a:lnTo>
                  <a:lnTo>
                    <a:pt x="28143" y="7752"/>
                  </a:lnTo>
                  <a:lnTo>
                    <a:pt x="22524" y="4418"/>
                  </a:lnTo>
                  <a:lnTo>
                    <a:pt x="18904" y="2323"/>
                  </a:lnTo>
                  <a:cubicBezTo>
                    <a:pt x="15208" y="-268"/>
                    <a:pt x="10465" y="-878"/>
                    <a:pt x="6236" y="703"/>
                  </a:cubicBezTo>
                  <a:lnTo>
                    <a:pt x="5664" y="703"/>
                  </a:lnTo>
                  <a:lnTo>
                    <a:pt x="5664" y="703"/>
                  </a:lnTo>
                  <a:close/>
                </a:path>
              </a:pathLst>
            </a:custGeom>
            <a:solidFill>
              <a:srgbClr val="316DE6"/>
            </a:solidFill>
            <a:ln w="9525" cap="flat">
              <a:noFill/>
              <a:prstDash val="solid"/>
              <a:miter/>
            </a:ln>
          </p:spPr>
          <p:txBody>
            <a:bodyPr rtlCol="0" anchor="ctr"/>
            <a:lstStyle/>
            <a:p>
              <a:endParaRPr lang="zh-CN" altLang="en-US"/>
            </a:p>
          </p:txBody>
        </p:sp>
      </p:grpSp>
      <p:sp>
        <p:nvSpPr>
          <p:cNvPr id="378" name="文本框 377">
            <a:extLst>
              <a:ext uri="{FF2B5EF4-FFF2-40B4-BE49-F238E27FC236}">
                <a16:creationId xmlns:a16="http://schemas.microsoft.com/office/drawing/2014/main" id="{1CF5634A-E68D-4E0D-8680-CEE6D35598C2}"/>
              </a:ext>
            </a:extLst>
          </p:cNvPr>
          <p:cNvSpPr txBox="1"/>
          <p:nvPr/>
        </p:nvSpPr>
        <p:spPr>
          <a:xfrm>
            <a:off x="669924" y="2521620"/>
            <a:ext cx="7588572" cy="646331"/>
          </a:xfrm>
          <a:prstGeom prst="rect">
            <a:avLst/>
          </a:prstGeom>
          <a:noFill/>
        </p:spPr>
        <p:txBody>
          <a:bodyPr wrap="square" rtlCol="0">
            <a:spAutoFit/>
          </a:bodyPr>
          <a:lstStyle/>
          <a:p>
            <a:pPr algn="l"/>
            <a:r>
              <a:rPr lang="en-US" altLang="zh-CN" b="1" i="0" dirty="0">
                <a:effectLst/>
                <a:latin typeface="+mj-ea"/>
                <a:ea typeface="+mj-ea"/>
              </a:rPr>
              <a:t>3</a:t>
            </a:r>
            <a:r>
              <a:rPr lang="zh-CN" altLang="en-US" b="1" i="0" dirty="0">
                <a:effectLst/>
                <a:latin typeface="+mj-ea"/>
                <a:ea typeface="+mj-ea"/>
              </a:rPr>
              <a:t>、抽象类</a:t>
            </a:r>
          </a:p>
          <a:p>
            <a:pPr algn="l"/>
            <a:r>
              <a:rPr lang="zh-CN" altLang="en-US" b="0" i="0" dirty="0">
                <a:effectLst/>
                <a:latin typeface="-apple-system"/>
              </a:rPr>
              <a:t>​ 不能被实例化的类，一般至少包含一个抽象操作</a:t>
            </a:r>
          </a:p>
        </p:txBody>
      </p:sp>
      <p:sp>
        <p:nvSpPr>
          <p:cNvPr id="379" name="文本框 378">
            <a:extLst>
              <a:ext uri="{FF2B5EF4-FFF2-40B4-BE49-F238E27FC236}">
                <a16:creationId xmlns:a16="http://schemas.microsoft.com/office/drawing/2014/main" id="{AEF001FE-E423-4AD6-B717-1BC79503FFBC}"/>
              </a:ext>
            </a:extLst>
          </p:cNvPr>
          <p:cNvSpPr txBox="1"/>
          <p:nvPr/>
        </p:nvSpPr>
        <p:spPr>
          <a:xfrm>
            <a:off x="669924" y="3771384"/>
            <a:ext cx="7588572" cy="923330"/>
          </a:xfrm>
          <a:prstGeom prst="rect">
            <a:avLst/>
          </a:prstGeom>
          <a:noFill/>
        </p:spPr>
        <p:txBody>
          <a:bodyPr wrap="square" rtlCol="0">
            <a:spAutoFit/>
          </a:bodyPr>
          <a:lstStyle/>
          <a:p>
            <a:pPr algn="l"/>
            <a:r>
              <a:rPr lang="zh-CN" altLang="en-US" b="1" i="0" dirty="0">
                <a:effectLst/>
                <a:latin typeface="+mj-ea"/>
                <a:ea typeface="+mj-ea"/>
              </a:rPr>
              <a:t>​</a:t>
            </a:r>
            <a:r>
              <a:rPr lang="en-US" altLang="zh-CN" b="1" i="0" dirty="0">
                <a:effectLst/>
                <a:latin typeface="+mj-ea"/>
                <a:ea typeface="+mj-ea"/>
              </a:rPr>
              <a:t>4</a:t>
            </a:r>
            <a:r>
              <a:rPr lang="zh-CN" altLang="en-US" b="1" i="0" dirty="0">
                <a:effectLst/>
                <a:latin typeface="+mj-ea"/>
                <a:ea typeface="+mj-ea"/>
              </a:rPr>
              <a:t>、模板类</a:t>
            </a:r>
          </a:p>
          <a:p>
            <a:pPr algn="l"/>
            <a:r>
              <a:rPr lang="zh-CN" altLang="en-US" i="0" dirty="0">
                <a:effectLst/>
                <a:latin typeface="PingFang SC"/>
              </a:rPr>
              <a:t>​ 一种参数化的类，在编译时把模板参数绑定到不同的数据类型，从而产生不同的类</a:t>
            </a:r>
            <a:endParaRPr lang="zh-CN" altLang="en-US" i="0" dirty="0">
              <a:effectLst/>
              <a:latin typeface="-apple-system"/>
            </a:endParaRPr>
          </a:p>
        </p:txBody>
      </p:sp>
      <p:pic>
        <p:nvPicPr>
          <p:cNvPr id="9220" name="Picture 4">
            <a:extLst>
              <a:ext uri="{FF2B5EF4-FFF2-40B4-BE49-F238E27FC236}">
                <a16:creationId xmlns:a16="http://schemas.microsoft.com/office/drawing/2014/main" id="{1B77C91E-634A-45B3-BCA6-19268C61740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36191" y="4777523"/>
            <a:ext cx="7448788" cy="1858089"/>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542457980"/>
      </p:ext>
    </p:extLst>
  </p:cSld>
  <p:clrMapOvr>
    <a:masterClrMapping/>
  </p:clrMapOvr>
  <mc:AlternateContent xmlns:mc="http://schemas.openxmlformats.org/markup-compatibility/2006">
    <mc:Choice xmlns:p14="http://schemas.microsoft.com/office/powerpoint/2010/main" Requires="p14">
      <p:transition spd="slow" p14:dur="1250">
        <p:blinds dir="vert"/>
      </p:transition>
    </mc:Choice>
    <mc:Fallback>
      <p:transition spd="slow">
        <p:blinds dir="vert"/>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42" name="Picture 2">
            <a:extLst>
              <a:ext uri="{FF2B5EF4-FFF2-40B4-BE49-F238E27FC236}">
                <a16:creationId xmlns:a16="http://schemas.microsoft.com/office/drawing/2014/main" id="{3F6C0756-350D-45B9-9345-1DB3DA26E6ED}"/>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148637" y="1134955"/>
            <a:ext cx="3833812" cy="2262645"/>
          </a:xfrm>
          <a:prstGeom prst="rect">
            <a:avLst/>
          </a:prstGeom>
          <a:noFill/>
          <a:extLst>
            <a:ext uri="{909E8E84-426E-40DD-AFC4-6F175D3DCCD1}">
              <a14:hiddenFill xmlns:a14="http://schemas.microsoft.com/office/drawing/2010/main">
                <a:solidFill>
                  <a:srgbClr val="FFFFFF"/>
                </a:solidFill>
              </a14:hiddenFill>
            </a:ext>
          </a:extLst>
        </p:spPr>
      </p:pic>
      <p:sp>
        <p:nvSpPr>
          <p:cNvPr id="4" name="灯片编号占位符 3">
            <a:extLst>
              <a:ext uri="{FF2B5EF4-FFF2-40B4-BE49-F238E27FC236}">
                <a16:creationId xmlns:a16="http://schemas.microsoft.com/office/drawing/2014/main" id="{2A5C0DA9-421E-435E-A37F-75EEA4A204CB}"/>
              </a:ext>
            </a:extLst>
          </p:cNvPr>
          <p:cNvSpPr>
            <a:spLocks noGrp="1"/>
          </p:cNvSpPr>
          <p:nvPr>
            <p:ph type="sldNum" sz="quarter" idx="12"/>
          </p:nvPr>
        </p:nvSpPr>
        <p:spPr/>
        <p:txBody>
          <a:bodyPr/>
          <a:lstStyle/>
          <a:p>
            <a:fld id="{5DD3DB80-B894-403A-B48E-6FDC1A72010E}" type="slidenum">
              <a:rPr lang="zh-CN" altLang="en-US" smtClean="0"/>
              <a:pPr/>
              <a:t>12</a:t>
            </a:fld>
            <a:endParaRPr lang="zh-CN" altLang="en-US"/>
          </a:p>
        </p:txBody>
      </p:sp>
      <p:sp>
        <p:nvSpPr>
          <p:cNvPr id="5" name="标题 1">
            <a:extLst>
              <a:ext uri="{FF2B5EF4-FFF2-40B4-BE49-F238E27FC236}">
                <a16:creationId xmlns:a16="http://schemas.microsoft.com/office/drawing/2014/main" id="{A66C21BB-C083-4C2F-A2AE-920B8A20D84E}"/>
              </a:ext>
            </a:extLst>
          </p:cNvPr>
          <p:cNvSpPr>
            <a:spLocks noGrp="1"/>
          </p:cNvSpPr>
          <p:nvPr>
            <p:ph type="title"/>
          </p:nvPr>
        </p:nvSpPr>
        <p:spPr>
          <a:xfrm>
            <a:off x="669924" y="1"/>
            <a:ext cx="10850563" cy="1028699"/>
          </a:xfrm>
        </p:spPr>
        <p:txBody>
          <a:bodyPr/>
          <a:lstStyle/>
          <a:p>
            <a:r>
              <a:rPr lang="en-US" altLang="zh-CN" dirty="0"/>
              <a:t>UML</a:t>
            </a:r>
            <a:r>
              <a:rPr lang="zh-CN" altLang="en-US" dirty="0"/>
              <a:t>类图中的关系及解释</a:t>
            </a:r>
          </a:p>
        </p:txBody>
      </p:sp>
      <p:sp>
        <p:nvSpPr>
          <p:cNvPr id="6" name="文本框 5">
            <a:extLst>
              <a:ext uri="{FF2B5EF4-FFF2-40B4-BE49-F238E27FC236}">
                <a16:creationId xmlns:a16="http://schemas.microsoft.com/office/drawing/2014/main" id="{AD4EF72B-B237-4531-96CB-FAD2B6E29EE8}"/>
              </a:ext>
            </a:extLst>
          </p:cNvPr>
          <p:cNvSpPr txBox="1"/>
          <p:nvPr/>
        </p:nvSpPr>
        <p:spPr>
          <a:xfrm>
            <a:off x="669924" y="1238348"/>
            <a:ext cx="7588572" cy="1200329"/>
          </a:xfrm>
          <a:prstGeom prst="rect">
            <a:avLst/>
          </a:prstGeom>
          <a:noFill/>
        </p:spPr>
        <p:txBody>
          <a:bodyPr wrap="square" rtlCol="0">
            <a:spAutoFit/>
          </a:bodyPr>
          <a:lstStyle/>
          <a:p>
            <a:pPr algn="l"/>
            <a:r>
              <a:rPr lang="en-US" altLang="zh-CN" b="0" i="0" dirty="0">
                <a:solidFill>
                  <a:srgbClr val="0D0016"/>
                </a:solidFill>
                <a:effectLst/>
                <a:latin typeface="PingFang SC"/>
              </a:rPr>
              <a:t>1</a:t>
            </a:r>
            <a:r>
              <a:rPr lang="zh-CN" altLang="en-US" b="0" i="0" dirty="0">
                <a:solidFill>
                  <a:srgbClr val="0D0016"/>
                </a:solidFill>
                <a:effectLst/>
                <a:latin typeface="PingFang SC"/>
              </a:rPr>
              <a:t>、泛化（</a:t>
            </a:r>
            <a:r>
              <a:rPr lang="en-US" altLang="zh-CN" b="0" i="0" dirty="0">
                <a:solidFill>
                  <a:srgbClr val="0D0016"/>
                </a:solidFill>
                <a:effectLst/>
                <a:latin typeface="PingFang SC"/>
              </a:rPr>
              <a:t>Generalization</a:t>
            </a:r>
            <a:r>
              <a:rPr lang="zh-CN" altLang="en-US" b="0" i="0" dirty="0">
                <a:solidFill>
                  <a:srgbClr val="0D0016"/>
                </a:solidFill>
                <a:effectLst/>
                <a:latin typeface="PingFang SC"/>
              </a:rPr>
              <a:t>）</a:t>
            </a:r>
            <a:endParaRPr lang="zh-CN" altLang="en-US" b="1" i="0" dirty="0">
              <a:solidFill>
                <a:srgbClr val="4F4F4F"/>
              </a:solidFill>
              <a:effectLst/>
              <a:latin typeface="PingFang SC"/>
            </a:endParaRPr>
          </a:p>
          <a:p>
            <a:pPr marL="0" algn="l"/>
            <a:r>
              <a:rPr lang="zh-CN" altLang="en-US" b="0" i="0" dirty="0">
                <a:solidFill>
                  <a:srgbClr val="0D0016"/>
                </a:solidFill>
                <a:effectLst/>
                <a:latin typeface="-apple-system"/>
              </a:rPr>
              <a:t>        泛化是继承关系的一种，子类继承父类的所有行为和属性，子类可以新增新的功能或者重写父类功能。</a:t>
            </a:r>
            <a:br>
              <a:rPr lang="zh-CN" altLang="en-US" b="0" i="0" dirty="0">
                <a:solidFill>
                  <a:srgbClr val="0D0016"/>
                </a:solidFill>
                <a:effectLst/>
                <a:latin typeface="-apple-system"/>
              </a:rPr>
            </a:br>
            <a:r>
              <a:rPr lang="zh-CN" altLang="en-US" b="0" i="0" dirty="0">
                <a:solidFill>
                  <a:srgbClr val="0D0016"/>
                </a:solidFill>
                <a:effectLst/>
                <a:latin typeface="-apple-system"/>
              </a:rPr>
              <a:t>        </a:t>
            </a:r>
            <a:r>
              <a:rPr lang="en-US" altLang="zh-CN" b="0" i="0" dirty="0">
                <a:solidFill>
                  <a:srgbClr val="0D0016"/>
                </a:solidFill>
                <a:effectLst/>
                <a:latin typeface="-apple-system"/>
              </a:rPr>
              <a:t>UML</a:t>
            </a:r>
            <a:r>
              <a:rPr lang="zh-CN" altLang="en-US" b="0" i="0" dirty="0">
                <a:solidFill>
                  <a:srgbClr val="0D0016"/>
                </a:solidFill>
                <a:effectLst/>
                <a:latin typeface="-apple-system"/>
              </a:rPr>
              <a:t>中使用带</a:t>
            </a:r>
            <a:r>
              <a:rPr lang="zh-CN" altLang="en-US" b="1" i="0" dirty="0">
                <a:solidFill>
                  <a:srgbClr val="FE2C24"/>
                </a:solidFill>
                <a:effectLst/>
                <a:latin typeface="-apple-system"/>
              </a:rPr>
              <a:t>空心三角箭头的实线</a:t>
            </a:r>
            <a:r>
              <a:rPr lang="zh-CN" altLang="en-US" b="0" i="0" dirty="0">
                <a:solidFill>
                  <a:srgbClr val="0D0016"/>
                </a:solidFill>
                <a:effectLst/>
                <a:latin typeface="-apple-system"/>
              </a:rPr>
              <a:t>标示</a:t>
            </a:r>
            <a:r>
              <a:rPr lang="en-US" altLang="zh-CN" b="0" i="0" dirty="0">
                <a:solidFill>
                  <a:srgbClr val="0D0016"/>
                </a:solidFill>
                <a:effectLst/>
                <a:latin typeface="-apple-system"/>
              </a:rPr>
              <a:t>【</a:t>
            </a:r>
            <a:r>
              <a:rPr lang="zh-CN" altLang="en-US" b="0" i="0" dirty="0">
                <a:solidFill>
                  <a:srgbClr val="0D0016"/>
                </a:solidFill>
                <a:effectLst/>
                <a:latin typeface="-apple-system"/>
              </a:rPr>
              <a:t>箭头指向</a:t>
            </a:r>
            <a:r>
              <a:rPr lang="en-US" altLang="zh-CN" b="0" i="0" dirty="0">
                <a:solidFill>
                  <a:srgbClr val="0D0016"/>
                </a:solidFill>
                <a:effectLst/>
                <a:latin typeface="-apple-system"/>
              </a:rPr>
              <a:t>】</a:t>
            </a:r>
            <a:r>
              <a:rPr lang="zh-CN" altLang="en-US" b="0" i="0" dirty="0">
                <a:solidFill>
                  <a:srgbClr val="0D0016"/>
                </a:solidFill>
                <a:effectLst/>
                <a:latin typeface="-apple-system"/>
              </a:rPr>
              <a:t>：箭头指向父类</a:t>
            </a:r>
            <a:endParaRPr lang="zh-CN" altLang="en-US" b="0" i="0" dirty="0">
              <a:solidFill>
                <a:srgbClr val="4D4D4D"/>
              </a:solidFill>
              <a:effectLst/>
              <a:latin typeface="-apple-system"/>
            </a:endParaRPr>
          </a:p>
        </p:txBody>
      </p:sp>
      <p:grpSp>
        <p:nvGrpSpPr>
          <p:cNvPr id="126" name="组合 125">
            <a:extLst>
              <a:ext uri="{FF2B5EF4-FFF2-40B4-BE49-F238E27FC236}">
                <a16:creationId xmlns:a16="http://schemas.microsoft.com/office/drawing/2014/main" id="{1DC0C2F1-9738-41E7-81F6-362198F3177B}"/>
              </a:ext>
            </a:extLst>
          </p:cNvPr>
          <p:cNvGrpSpPr/>
          <p:nvPr/>
        </p:nvGrpSpPr>
        <p:grpSpPr>
          <a:xfrm>
            <a:off x="10440193" y="68734"/>
            <a:ext cx="1080294" cy="1067017"/>
            <a:chOff x="4239419" y="1802606"/>
            <a:chExt cx="3713163" cy="3938588"/>
          </a:xfrm>
        </p:grpSpPr>
        <p:sp>
          <p:nvSpPr>
            <p:cNvPr id="127" name="Freeform 5">
              <a:extLst>
                <a:ext uri="{FF2B5EF4-FFF2-40B4-BE49-F238E27FC236}">
                  <a16:creationId xmlns:a16="http://schemas.microsoft.com/office/drawing/2014/main" id="{EFC19AB8-DD1E-4452-82DE-EF85C5345860}"/>
                </a:ext>
              </a:extLst>
            </p:cNvPr>
            <p:cNvSpPr>
              <a:spLocks/>
            </p:cNvSpPr>
            <p:nvPr/>
          </p:nvSpPr>
          <p:spPr bwMode="auto">
            <a:xfrm>
              <a:off x="4888706" y="1837531"/>
              <a:ext cx="3008313" cy="3455988"/>
            </a:xfrm>
            <a:custGeom>
              <a:avLst/>
              <a:gdLst>
                <a:gd name="T0" fmla="*/ 1061 w 1706"/>
                <a:gd name="T1" fmla="*/ 1952 h 1960"/>
                <a:gd name="T2" fmla="*/ 32 w 1706"/>
                <a:gd name="T3" fmla="*/ 1539 h 1960"/>
                <a:gd name="T4" fmla="*/ 9 w 1706"/>
                <a:gd name="T5" fmla="*/ 1485 h 1960"/>
                <a:gd name="T6" fmla="*/ 592 w 1706"/>
                <a:gd name="T7" fmla="*/ 32 h 1960"/>
                <a:gd name="T8" fmla="*/ 646 w 1706"/>
                <a:gd name="T9" fmla="*/ 9 h 1960"/>
                <a:gd name="T10" fmla="*/ 1674 w 1706"/>
                <a:gd name="T11" fmla="*/ 421 h 1960"/>
                <a:gd name="T12" fmla="*/ 1698 w 1706"/>
                <a:gd name="T13" fmla="*/ 475 h 1960"/>
                <a:gd name="T14" fmla="*/ 1115 w 1706"/>
                <a:gd name="T15" fmla="*/ 1929 h 1960"/>
                <a:gd name="T16" fmla="*/ 1061 w 1706"/>
                <a:gd name="T17" fmla="*/ 1952 h 19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06" h="1960">
                  <a:moveTo>
                    <a:pt x="1061" y="1952"/>
                  </a:moveTo>
                  <a:cubicBezTo>
                    <a:pt x="32" y="1539"/>
                    <a:pt x="32" y="1539"/>
                    <a:pt x="32" y="1539"/>
                  </a:cubicBezTo>
                  <a:cubicBezTo>
                    <a:pt x="11" y="1531"/>
                    <a:pt x="0" y="1507"/>
                    <a:pt x="9" y="1485"/>
                  </a:cubicBezTo>
                  <a:cubicBezTo>
                    <a:pt x="592" y="32"/>
                    <a:pt x="592" y="32"/>
                    <a:pt x="592" y="32"/>
                  </a:cubicBezTo>
                  <a:cubicBezTo>
                    <a:pt x="601" y="11"/>
                    <a:pt x="625" y="0"/>
                    <a:pt x="646" y="9"/>
                  </a:cubicBezTo>
                  <a:cubicBezTo>
                    <a:pt x="1674" y="421"/>
                    <a:pt x="1674" y="421"/>
                    <a:pt x="1674" y="421"/>
                  </a:cubicBezTo>
                  <a:cubicBezTo>
                    <a:pt x="1696" y="430"/>
                    <a:pt x="1706" y="454"/>
                    <a:pt x="1698" y="475"/>
                  </a:cubicBezTo>
                  <a:cubicBezTo>
                    <a:pt x="1115" y="1929"/>
                    <a:pt x="1115" y="1929"/>
                    <a:pt x="1115" y="1929"/>
                  </a:cubicBezTo>
                  <a:cubicBezTo>
                    <a:pt x="1106" y="1950"/>
                    <a:pt x="1082" y="1960"/>
                    <a:pt x="1061" y="1952"/>
                  </a:cubicBezTo>
                  <a:close/>
                </a:path>
              </a:pathLst>
            </a:custGeom>
            <a:solidFill>
              <a:srgbClr val="424242">
                <a:alpha val="20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8" name="Freeform 6">
              <a:extLst>
                <a:ext uri="{FF2B5EF4-FFF2-40B4-BE49-F238E27FC236}">
                  <a16:creationId xmlns:a16="http://schemas.microsoft.com/office/drawing/2014/main" id="{DC027539-F95C-4F53-80F9-00814C589D1A}"/>
                </a:ext>
              </a:extLst>
            </p:cNvPr>
            <p:cNvSpPr>
              <a:spLocks/>
            </p:cNvSpPr>
            <p:nvPr/>
          </p:nvSpPr>
          <p:spPr bwMode="auto">
            <a:xfrm>
              <a:off x="4944269" y="1802606"/>
              <a:ext cx="3008313" cy="3455988"/>
            </a:xfrm>
            <a:custGeom>
              <a:avLst/>
              <a:gdLst>
                <a:gd name="T0" fmla="*/ 1061 w 1706"/>
                <a:gd name="T1" fmla="*/ 1952 h 1960"/>
                <a:gd name="T2" fmla="*/ 32 w 1706"/>
                <a:gd name="T3" fmla="*/ 1539 h 1960"/>
                <a:gd name="T4" fmla="*/ 9 w 1706"/>
                <a:gd name="T5" fmla="*/ 1485 h 1960"/>
                <a:gd name="T6" fmla="*/ 592 w 1706"/>
                <a:gd name="T7" fmla="*/ 32 h 1960"/>
                <a:gd name="T8" fmla="*/ 646 w 1706"/>
                <a:gd name="T9" fmla="*/ 9 h 1960"/>
                <a:gd name="T10" fmla="*/ 1674 w 1706"/>
                <a:gd name="T11" fmla="*/ 421 h 1960"/>
                <a:gd name="T12" fmla="*/ 1698 w 1706"/>
                <a:gd name="T13" fmla="*/ 475 h 1960"/>
                <a:gd name="T14" fmla="*/ 1115 w 1706"/>
                <a:gd name="T15" fmla="*/ 1929 h 1960"/>
                <a:gd name="T16" fmla="*/ 1061 w 1706"/>
                <a:gd name="T17" fmla="*/ 1952 h 19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06" h="1960">
                  <a:moveTo>
                    <a:pt x="1061" y="1952"/>
                  </a:moveTo>
                  <a:cubicBezTo>
                    <a:pt x="32" y="1539"/>
                    <a:pt x="32" y="1539"/>
                    <a:pt x="32" y="1539"/>
                  </a:cubicBezTo>
                  <a:cubicBezTo>
                    <a:pt x="11" y="1531"/>
                    <a:pt x="0" y="1507"/>
                    <a:pt x="9" y="1485"/>
                  </a:cubicBezTo>
                  <a:cubicBezTo>
                    <a:pt x="592" y="32"/>
                    <a:pt x="592" y="32"/>
                    <a:pt x="592" y="32"/>
                  </a:cubicBezTo>
                  <a:cubicBezTo>
                    <a:pt x="601" y="11"/>
                    <a:pt x="625" y="0"/>
                    <a:pt x="646" y="9"/>
                  </a:cubicBezTo>
                  <a:cubicBezTo>
                    <a:pt x="1674" y="421"/>
                    <a:pt x="1674" y="421"/>
                    <a:pt x="1674" y="421"/>
                  </a:cubicBezTo>
                  <a:cubicBezTo>
                    <a:pt x="1696" y="430"/>
                    <a:pt x="1706" y="454"/>
                    <a:pt x="1698" y="475"/>
                  </a:cubicBezTo>
                  <a:cubicBezTo>
                    <a:pt x="1115" y="1929"/>
                    <a:pt x="1115" y="1929"/>
                    <a:pt x="1115" y="1929"/>
                  </a:cubicBezTo>
                  <a:cubicBezTo>
                    <a:pt x="1106" y="1950"/>
                    <a:pt x="1082" y="1960"/>
                    <a:pt x="1061" y="1952"/>
                  </a:cubicBezTo>
                  <a:close/>
                </a:path>
              </a:pathLst>
            </a:custGeom>
            <a:solidFill>
              <a:srgbClr val="E4E4E4"/>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29" name="Freeform 7">
              <a:extLst>
                <a:ext uri="{FF2B5EF4-FFF2-40B4-BE49-F238E27FC236}">
                  <a16:creationId xmlns:a16="http://schemas.microsoft.com/office/drawing/2014/main" id="{86C72124-010E-4EAB-AF5E-A53C0D0B786F}"/>
                </a:ext>
              </a:extLst>
            </p:cNvPr>
            <p:cNvSpPr>
              <a:spLocks/>
            </p:cNvSpPr>
            <p:nvPr/>
          </p:nvSpPr>
          <p:spPr bwMode="auto">
            <a:xfrm>
              <a:off x="4944269" y="1802606"/>
              <a:ext cx="1427163" cy="2827338"/>
            </a:xfrm>
            <a:custGeom>
              <a:avLst/>
              <a:gdLst>
                <a:gd name="T0" fmla="*/ 194 w 809"/>
                <a:gd name="T1" fmla="*/ 1604 h 1604"/>
                <a:gd name="T2" fmla="*/ 32 w 809"/>
                <a:gd name="T3" fmla="*/ 1539 h 1604"/>
                <a:gd name="T4" fmla="*/ 9 w 809"/>
                <a:gd name="T5" fmla="*/ 1486 h 1604"/>
                <a:gd name="T6" fmla="*/ 592 w 809"/>
                <a:gd name="T7" fmla="*/ 32 h 1604"/>
                <a:gd name="T8" fmla="*/ 646 w 809"/>
                <a:gd name="T9" fmla="*/ 9 h 1604"/>
                <a:gd name="T10" fmla="*/ 809 w 809"/>
                <a:gd name="T11" fmla="*/ 74 h 1604"/>
                <a:gd name="T12" fmla="*/ 195 w 809"/>
                <a:gd name="T13" fmla="*/ 1604 h 1604"/>
                <a:gd name="T14" fmla="*/ 194 w 809"/>
                <a:gd name="T15" fmla="*/ 1604 h 16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9" h="1604">
                  <a:moveTo>
                    <a:pt x="194" y="1604"/>
                  </a:moveTo>
                  <a:cubicBezTo>
                    <a:pt x="32" y="1539"/>
                    <a:pt x="32" y="1539"/>
                    <a:pt x="32" y="1539"/>
                  </a:cubicBezTo>
                  <a:cubicBezTo>
                    <a:pt x="11" y="1531"/>
                    <a:pt x="0" y="1507"/>
                    <a:pt x="9" y="1486"/>
                  </a:cubicBezTo>
                  <a:cubicBezTo>
                    <a:pt x="592" y="32"/>
                    <a:pt x="592" y="32"/>
                    <a:pt x="592" y="32"/>
                  </a:cubicBezTo>
                  <a:cubicBezTo>
                    <a:pt x="601" y="10"/>
                    <a:pt x="625" y="0"/>
                    <a:pt x="646" y="9"/>
                  </a:cubicBezTo>
                  <a:cubicBezTo>
                    <a:pt x="809" y="74"/>
                    <a:pt x="809" y="74"/>
                    <a:pt x="809" y="74"/>
                  </a:cubicBezTo>
                  <a:cubicBezTo>
                    <a:pt x="195" y="1604"/>
                    <a:pt x="195" y="1604"/>
                    <a:pt x="195" y="1604"/>
                  </a:cubicBezTo>
                  <a:cubicBezTo>
                    <a:pt x="195" y="1604"/>
                    <a:pt x="194" y="1604"/>
                    <a:pt x="194" y="1604"/>
                  </a:cubicBezTo>
                  <a:close/>
                </a:path>
              </a:pathLst>
            </a:custGeom>
            <a:solidFill>
              <a:srgbClr val="C1C0BF"/>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30" name="Freeform 8">
              <a:extLst>
                <a:ext uri="{FF2B5EF4-FFF2-40B4-BE49-F238E27FC236}">
                  <a16:creationId xmlns:a16="http://schemas.microsoft.com/office/drawing/2014/main" id="{8571DE63-0356-4765-A3E4-5C55AF1CDE96}"/>
                </a:ext>
              </a:extLst>
            </p:cNvPr>
            <p:cNvSpPr>
              <a:spLocks/>
            </p:cNvSpPr>
            <p:nvPr/>
          </p:nvSpPr>
          <p:spPr bwMode="auto">
            <a:xfrm>
              <a:off x="4291806" y="1967706"/>
              <a:ext cx="1431925" cy="2081213"/>
            </a:xfrm>
            <a:custGeom>
              <a:avLst/>
              <a:gdLst>
                <a:gd name="T0" fmla="*/ 775 w 812"/>
                <a:gd name="T1" fmla="*/ 1108 h 1180"/>
                <a:gd name="T2" fmla="*/ 163 w 812"/>
                <a:gd name="T3" fmla="*/ 1178 h 1180"/>
                <a:gd name="T4" fmla="*/ 120 w 812"/>
                <a:gd name="T5" fmla="*/ 1144 h 1180"/>
                <a:gd name="T6" fmla="*/ 2 w 812"/>
                <a:gd name="T7" fmla="*/ 115 h 1180"/>
                <a:gd name="T8" fmla="*/ 36 w 812"/>
                <a:gd name="T9" fmla="*/ 72 h 1180"/>
                <a:gd name="T10" fmla="*/ 649 w 812"/>
                <a:gd name="T11" fmla="*/ 2 h 1180"/>
                <a:gd name="T12" fmla="*/ 692 w 812"/>
                <a:gd name="T13" fmla="*/ 36 h 1180"/>
                <a:gd name="T14" fmla="*/ 809 w 812"/>
                <a:gd name="T15" fmla="*/ 1065 h 1180"/>
                <a:gd name="T16" fmla="*/ 775 w 812"/>
                <a:gd name="T17" fmla="*/ 1108 h 1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2" h="1180">
                  <a:moveTo>
                    <a:pt x="775" y="1108"/>
                  </a:moveTo>
                  <a:cubicBezTo>
                    <a:pt x="163" y="1178"/>
                    <a:pt x="163" y="1178"/>
                    <a:pt x="163" y="1178"/>
                  </a:cubicBezTo>
                  <a:cubicBezTo>
                    <a:pt x="141" y="1180"/>
                    <a:pt x="122" y="1165"/>
                    <a:pt x="120" y="1144"/>
                  </a:cubicBezTo>
                  <a:cubicBezTo>
                    <a:pt x="2" y="115"/>
                    <a:pt x="2" y="115"/>
                    <a:pt x="2" y="115"/>
                  </a:cubicBezTo>
                  <a:cubicBezTo>
                    <a:pt x="0" y="94"/>
                    <a:pt x="15" y="75"/>
                    <a:pt x="36" y="72"/>
                  </a:cubicBezTo>
                  <a:cubicBezTo>
                    <a:pt x="649" y="2"/>
                    <a:pt x="649" y="2"/>
                    <a:pt x="649" y="2"/>
                  </a:cubicBezTo>
                  <a:cubicBezTo>
                    <a:pt x="670" y="0"/>
                    <a:pt x="689" y="15"/>
                    <a:pt x="692" y="36"/>
                  </a:cubicBezTo>
                  <a:cubicBezTo>
                    <a:pt x="809" y="1065"/>
                    <a:pt x="809" y="1065"/>
                    <a:pt x="809" y="1065"/>
                  </a:cubicBezTo>
                  <a:cubicBezTo>
                    <a:pt x="812" y="1086"/>
                    <a:pt x="796" y="1105"/>
                    <a:pt x="775" y="1108"/>
                  </a:cubicBezTo>
                  <a:close/>
                </a:path>
              </a:pathLst>
            </a:custGeom>
            <a:solidFill>
              <a:srgbClr val="424242">
                <a:alpha val="20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31" name="Freeform 9">
              <a:extLst>
                <a:ext uri="{FF2B5EF4-FFF2-40B4-BE49-F238E27FC236}">
                  <a16:creationId xmlns:a16="http://schemas.microsoft.com/office/drawing/2014/main" id="{875D7BCF-A630-497B-8704-AEA1F08B7D18}"/>
                </a:ext>
              </a:extLst>
            </p:cNvPr>
            <p:cNvSpPr>
              <a:spLocks/>
            </p:cNvSpPr>
            <p:nvPr/>
          </p:nvSpPr>
          <p:spPr bwMode="auto">
            <a:xfrm>
              <a:off x="4334669" y="1918494"/>
              <a:ext cx="1431925" cy="2081213"/>
            </a:xfrm>
            <a:custGeom>
              <a:avLst/>
              <a:gdLst>
                <a:gd name="T0" fmla="*/ 775 w 812"/>
                <a:gd name="T1" fmla="*/ 1108 h 1180"/>
                <a:gd name="T2" fmla="*/ 163 w 812"/>
                <a:gd name="T3" fmla="*/ 1178 h 1180"/>
                <a:gd name="T4" fmla="*/ 120 w 812"/>
                <a:gd name="T5" fmla="*/ 1144 h 1180"/>
                <a:gd name="T6" fmla="*/ 2 w 812"/>
                <a:gd name="T7" fmla="*/ 115 h 1180"/>
                <a:gd name="T8" fmla="*/ 36 w 812"/>
                <a:gd name="T9" fmla="*/ 72 h 1180"/>
                <a:gd name="T10" fmla="*/ 649 w 812"/>
                <a:gd name="T11" fmla="*/ 2 h 1180"/>
                <a:gd name="T12" fmla="*/ 692 w 812"/>
                <a:gd name="T13" fmla="*/ 36 h 1180"/>
                <a:gd name="T14" fmla="*/ 809 w 812"/>
                <a:gd name="T15" fmla="*/ 1065 h 1180"/>
                <a:gd name="T16" fmla="*/ 775 w 812"/>
                <a:gd name="T17" fmla="*/ 1108 h 1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2" h="1180">
                  <a:moveTo>
                    <a:pt x="775" y="1108"/>
                  </a:moveTo>
                  <a:cubicBezTo>
                    <a:pt x="163" y="1178"/>
                    <a:pt x="163" y="1178"/>
                    <a:pt x="163" y="1178"/>
                  </a:cubicBezTo>
                  <a:cubicBezTo>
                    <a:pt x="141" y="1180"/>
                    <a:pt x="122" y="1165"/>
                    <a:pt x="120" y="1144"/>
                  </a:cubicBezTo>
                  <a:cubicBezTo>
                    <a:pt x="2" y="115"/>
                    <a:pt x="2" y="115"/>
                    <a:pt x="2" y="115"/>
                  </a:cubicBezTo>
                  <a:cubicBezTo>
                    <a:pt x="0" y="94"/>
                    <a:pt x="15" y="75"/>
                    <a:pt x="36" y="72"/>
                  </a:cubicBezTo>
                  <a:cubicBezTo>
                    <a:pt x="649" y="2"/>
                    <a:pt x="649" y="2"/>
                    <a:pt x="649" y="2"/>
                  </a:cubicBezTo>
                  <a:cubicBezTo>
                    <a:pt x="670" y="0"/>
                    <a:pt x="689" y="15"/>
                    <a:pt x="692" y="36"/>
                  </a:cubicBezTo>
                  <a:cubicBezTo>
                    <a:pt x="809" y="1065"/>
                    <a:pt x="809" y="1065"/>
                    <a:pt x="809" y="1065"/>
                  </a:cubicBezTo>
                  <a:cubicBezTo>
                    <a:pt x="812" y="1086"/>
                    <a:pt x="796" y="1105"/>
                    <a:pt x="775" y="1108"/>
                  </a:cubicBezTo>
                  <a:close/>
                </a:path>
              </a:pathLst>
            </a:custGeom>
            <a:solidFill>
              <a:srgbClr val="1B4771"/>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32" name="Freeform 10">
              <a:extLst>
                <a:ext uri="{FF2B5EF4-FFF2-40B4-BE49-F238E27FC236}">
                  <a16:creationId xmlns:a16="http://schemas.microsoft.com/office/drawing/2014/main" id="{BAA0F5BB-A4A7-4D56-83DE-AC83AF98351B}"/>
                </a:ext>
              </a:extLst>
            </p:cNvPr>
            <p:cNvSpPr>
              <a:spLocks/>
            </p:cNvSpPr>
            <p:nvPr/>
          </p:nvSpPr>
          <p:spPr bwMode="auto">
            <a:xfrm>
              <a:off x="4415631" y="1918494"/>
              <a:ext cx="1350963" cy="2071688"/>
            </a:xfrm>
            <a:custGeom>
              <a:avLst/>
              <a:gdLst>
                <a:gd name="T0" fmla="*/ 730 w 766"/>
                <a:gd name="T1" fmla="*/ 1108 h 1175"/>
                <a:gd name="T2" fmla="*/ 162 w 766"/>
                <a:gd name="T3" fmla="*/ 1173 h 1175"/>
                <a:gd name="T4" fmla="*/ 120 w 766"/>
                <a:gd name="T5" fmla="*/ 1140 h 1175"/>
                <a:gd name="T6" fmla="*/ 2 w 766"/>
                <a:gd name="T7" fmla="*/ 109 h 1175"/>
                <a:gd name="T8" fmla="*/ 35 w 766"/>
                <a:gd name="T9" fmla="*/ 67 h 1175"/>
                <a:gd name="T10" fmla="*/ 604 w 766"/>
                <a:gd name="T11" fmla="*/ 2 h 1175"/>
                <a:gd name="T12" fmla="*/ 646 w 766"/>
                <a:gd name="T13" fmla="*/ 35 h 1175"/>
                <a:gd name="T14" fmla="*/ 763 w 766"/>
                <a:gd name="T15" fmla="*/ 1066 h 1175"/>
                <a:gd name="T16" fmla="*/ 730 w 766"/>
                <a:gd name="T17" fmla="*/ 1108 h 1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6" h="1175">
                  <a:moveTo>
                    <a:pt x="730" y="1108"/>
                  </a:moveTo>
                  <a:cubicBezTo>
                    <a:pt x="162" y="1173"/>
                    <a:pt x="162" y="1173"/>
                    <a:pt x="162" y="1173"/>
                  </a:cubicBezTo>
                  <a:cubicBezTo>
                    <a:pt x="141" y="1175"/>
                    <a:pt x="122" y="1160"/>
                    <a:pt x="120" y="1140"/>
                  </a:cubicBezTo>
                  <a:cubicBezTo>
                    <a:pt x="2" y="109"/>
                    <a:pt x="2" y="109"/>
                    <a:pt x="2" y="109"/>
                  </a:cubicBezTo>
                  <a:cubicBezTo>
                    <a:pt x="0" y="88"/>
                    <a:pt x="15" y="69"/>
                    <a:pt x="35" y="67"/>
                  </a:cubicBezTo>
                  <a:cubicBezTo>
                    <a:pt x="604" y="2"/>
                    <a:pt x="604" y="2"/>
                    <a:pt x="604" y="2"/>
                  </a:cubicBezTo>
                  <a:cubicBezTo>
                    <a:pt x="625" y="0"/>
                    <a:pt x="643" y="14"/>
                    <a:pt x="646" y="35"/>
                  </a:cubicBezTo>
                  <a:cubicBezTo>
                    <a:pt x="763" y="1066"/>
                    <a:pt x="763" y="1066"/>
                    <a:pt x="763" y="1066"/>
                  </a:cubicBezTo>
                  <a:cubicBezTo>
                    <a:pt x="766" y="1087"/>
                    <a:pt x="751" y="1105"/>
                    <a:pt x="730" y="1108"/>
                  </a:cubicBezTo>
                  <a:close/>
                </a:path>
              </a:pathLst>
            </a:custGeom>
            <a:solidFill>
              <a:srgbClr val="417DBB"/>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33" name="Freeform 11">
              <a:extLst>
                <a:ext uri="{FF2B5EF4-FFF2-40B4-BE49-F238E27FC236}">
                  <a16:creationId xmlns:a16="http://schemas.microsoft.com/office/drawing/2014/main" id="{F97D3F5B-4953-4582-B499-512E9B8B9C1D}"/>
                </a:ext>
              </a:extLst>
            </p:cNvPr>
            <p:cNvSpPr>
              <a:spLocks/>
            </p:cNvSpPr>
            <p:nvPr/>
          </p:nvSpPr>
          <p:spPr bwMode="auto">
            <a:xfrm>
              <a:off x="4415631" y="1918494"/>
              <a:ext cx="1209675" cy="819150"/>
            </a:xfrm>
            <a:custGeom>
              <a:avLst/>
              <a:gdLst>
                <a:gd name="T0" fmla="*/ 686 w 686"/>
                <a:gd name="T1" fmla="*/ 391 h 465"/>
                <a:gd name="T2" fmla="*/ 646 w 686"/>
                <a:gd name="T3" fmla="*/ 35 h 465"/>
                <a:gd name="T4" fmla="*/ 604 w 686"/>
                <a:gd name="T5" fmla="*/ 2 h 465"/>
                <a:gd name="T6" fmla="*/ 35 w 686"/>
                <a:gd name="T7" fmla="*/ 67 h 465"/>
                <a:gd name="T8" fmla="*/ 2 w 686"/>
                <a:gd name="T9" fmla="*/ 109 h 465"/>
                <a:gd name="T10" fmla="*/ 43 w 686"/>
                <a:gd name="T11" fmla="*/ 465 h 465"/>
                <a:gd name="T12" fmla="*/ 686 w 686"/>
                <a:gd name="T13" fmla="*/ 391 h 465"/>
              </a:gdLst>
              <a:ahLst/>
              <a:cxnLst>
                <a:cxn ang="0">
                  <a:pos x="T0" y="T1"/>
                </a:cxn>
                <a:cxn ang="0">
                  <a:pos x="T2" y="T3"/>
                </a:cxn>
                <a:cxn ang="0">
                  <a:pos x="T4" y="T5"/>
                </a:cxn>
                <a:cxn ang="0">
                  <a:pos x="T6" y="T7"/>
                </a:cxn>
                <a:cxn ang="0">
                  <a:pos x="T8" y="T9"/>
                </a:cxn>
                <a:cxn ang="0">
                  <a:pos x="T10" y="T11"/>
                </a:cxn>
                <a:cxn ang="0">
                  <a:pos x="T12" y="T13"/>
                </a:cxn>
              </a:cxnLst>
              <a:rect l="0" t="0" r="r" b="b"/>
              <a:pathLst>
                <a:path w="686" h="465">
                  <a:moveTo>
                    <a:pt x="686" y="391"/>
                  </a:moveTo>
                  <a:cubicBezTo>
                    <a:pt x="646" y="35"/>
                    <a:pt x="646" y="35"/>
                    <a:pt x="646" y="35"/>
                  </a:cubicBezTo>
                  <a:cubicBezTo>
                    <a:pt x="643" y="14"/>
                    <a:pt x="625" y="0"/>
                    <a:pt x="604" y="2"/>
                  </a:cubicBezTo>
                  <a:cubicBezTo>
                    <a:pt x="35" y="67"/>
                    <a:pt x="35" y="67"/>
                    <a:pt x="35" y="67"/>
                  </a:cubicBezTo>
                  <a:cubicBezTo>
                    <a:pt x="15" y="69"/>
                    <a:pt x="0" y="88"/>
                    <a:pt x="2" y="109"/>
                  </a:cubicBezTo>
                  <a:cubicBezTo>
                    <a:pt x="43" y="465"/>
                    <a:pt x="43" y="465"/>
                    <a:pt x="43" y="465"/>
                  </a:cubicBezTo>
                  <a:lnTo>
                    <a:pt x="686" y="391"/>
                  </a:lnTo>
                  <a:close/>
                </a:path>
              </a:pathLst>
            </a:custGeom>
            <a:solidFill>
              <a:srgbClr val="336290"/>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34" name="Freeform 12">
              <a:extLst>
                <a:ext uri="{FF2B5EF4-FFF2-40B4-BE49-F238E27FC236}">
                  <a16:creationId xmlns:a16="http://schemas.microsoft.com/office/drawing/2014/main" id="{636A327B-0A95-4CEB-A5AC-3AE3BBD3EF25}"/>
                </a:ext>
              </a:extLst>
            </p:cNvPr>
            <p:cNvSpPr>
              <a:spLocks/>
            </p:cNvSpPr>
            <p:nvPr/>
          </p:nvSpPr>
          <p:spPr bwMode="auto">
            <a:xfrm>
              <a:off x="4542631" y="2067719"/>
              <a:ext cx="957263" cy="555625"/>
            </a:xfrm>
            <a:custGeom>
              <a:avLst/>
              <a:gdLst>
                <a:gd name="T0" fmla="*/ 527 w 543"/>
                <a:gd name="T1" fmla="*/ 259 h 315"/>
                <a:gd name="T2" fmla="*/ 46 w 543"/>
                <a:gd name="T3" fmla="*/ 314 h 315"/>
                <a:gd name="T4" fmla="*/ 27 w 543"/>
                <a:gd name="T5" fmla="*/ 299 h 315"/>
                <a:gd name="T6" fmla="*/ 1 w 543"/>
                <a:gd name="T7" fmla="*/ 75 h 315"/>
                <a:gd name="T8" fmla="*/ 16 w 543"/>
                <a:gd name="T9" fmla="*/ 56 h 315"/>
                <a:gd name="T10" fmla="*/ 498 w 543"/>
                <a:gd name="T11" fmla="*/ 1 h 315"/>
                <a:gd name="T12" fmla="*/ 516 w 543"/>
                <a:gd name="T13" fmla="*/ 16 h 315"/>
                <a:gd name="T14" fmla="*/ 542 w 543"/>
                <a:gd name="T15" fmla="*/ 241 h 315"/>
                <a:gd name="T16" fmla="*/ 527 w 543"/>
                <a:gd name="T17" fmla="*/ 259 h 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3" h="315">
                  <a:moveTo>
                    <a:pt x="527" y="259"/>
                  </a:moveTo>
                  <a:cubicBezTo>
                    <a:pt x="46" y="314"/>
                    <a:pt x="46" y="314"/>
                    <a:pt x="46" y="314"/>
                  </a:cubicBezTo>
                  <a:cubicBezTo>
                    <a:pt x="36" y="315"/>
                    <a:pt x="28" y="309"/>
                    <a:pt x="27" y="299"/>
                  </a:cubicBezTo>
                  <a:cubicBezTo>
                    <a:pt x="1" y="75"/>
                    <a:pt x="1" y="75"/>
                    <a:pt x="1" y="75"/>
                  </a:cubicBezTo>
                  <a:cubicBezTo>
                    <a:pt x="0" y="66"/>
                    <a:pt x="7" y="57"/>
                    <a:pt x="16" y="56"/>
                  </a:cubicBezTo>
                  <a:cubicBezTo>
                    <a:pt x="498" y="1"/>
                    <a:pt x="498" y="1"/>
                    <a:pt x="498" y="1"/>
                  </a:cubicBezTo>
                  <a:cubicBezTo>
                    <a:pt x="507" y="0"/>
                    <a:pt x="515" y="7"/>
                    <a:pt x="516" y="16"/>
                  </a:cubicBezTo>
                  <a:cubicBezTo>
                    <a:pt x="542" y="241"/>
                    <a:pt x="542" y="241"/>
                    <a:pt x="542" y="241"/>
                  </a:cubicBezTo>
                  <a:cubicBezTo>
                    <a:pt x="543" y="250"/>
                    <a:pt x="536" y="258"/>
                    <a:pt x="527" y="259"/>
                  </a:cubicBezTo>
                  <a:close/>
                </a:path>
              </a:pathLst>
            </a:custGeom>
            <a:solidFill>
              <a:srgbClr val="01B1E9"/>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35" name="Freeform 13">
              <a:extLst>
                <a:ext uri="{FF2B5EF4-FFF2-40B4-BE49-F238E27FC236}">
                  <a16:creationId xmlns:a16="http://schemas.microsoft.com/office/drawing/2014/main" id="{A2CD11F0-9BEA-409C-B692-31B8F733EE84}"/>
                </a:ext>
              </a:extLst>
            </p:cNvPr>
            <p:cNvSpPr>
              <a:spLocks/>
            </p:cNvSpPr>
            <p:nvPr/>
          </p:nvSpPr>
          <p:spPr bwMode="auto">
            <a:xfrm>
              <a:off x="5409406" y="2971006"/>
              <a:ext cx="217488" cy="320675"/>
            </a:xfrm>
            <a:custGeom>
              <a:avLst/>
              <a:gdLst>
                <a:gd name="T0" fmla="*/ 95 w 123"/>
                <a:gd name="T1" fmla="*/ 174 h 182"/>
                <a:gd name="T2" fmla="*/ 47 w 123"/>
                <a:gd name="T3" fmla="*/ 180 h 182"/>
                <a:gd name="T4" fmla="*/ 15 w 123"/>
                <a:gd name="T5" fmla="*/ 154 h 182"/>
                <a:gd name="T6" fmla="*/ 2 w 123"/>
                <a:gd name="T7" fmla="*/ 40 h 182"/>
                <a:gd name="T8" fmla="*/ 28 w 123"/>
                <a:gd name="T9" fmla="*/ 7 h 182"/>
                <a:gd name="T10" fmla="*/ 75 w 123"/>
                <a:gd name="T11" fmla="*/ 2 h 182"/>
                <a:gd name="T12" fmla="*/ 108 w 123"/>
                <a:gd name="T13" fmla="*/ 28 h 182"/>
                <a:gd name="T14" fmla="*/ 121 w 123"/>
                <a:gd name="T15" fmla="*/ 142 h 182"/>
                <a:gd name="T16" fmla="*/ 95 w 123"/>
                <a:gd name="T17" fmla="*/ 174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182">
                  <a:moveTo>
                    <a:pt x="95" y="174"/>
                  </a:moveTo>
                  <a:cubicBezTo>
                    <a:pt x="47" y="180"/>
                    <a:pt x="47" y="180"/>
                    <a:pt x="47" y="180"/>
                  </a:cubicBezTo>
                  <a:cubicBezTo>
                    <a:pt x="31" y="182"/>
                    <a:pt x="16" y="170"/>
                    <a:pt x="15" y="154"/>
                  </a:cubicBezTo>
                  <a:cubicBezTo>
                    <a:pt x="2" y="40"/>
                    <a:pt x="2" y="40"/>
                    <a:pt x="2" y="40"/>
                  </a:cubicBezTo>
                  <a:cubicBezTo>
                    <a:pt x="0" y="24"/>
                    <a:pt x="11" y="9"/>
                    <a:pt x="28" y="7"/>
                  </a:cubicBezTo>
                  <a:cubicBezTo>
                    <a:pt x="75" y="2"/>
                    <a:pt x="75" y="2"/>
                    <a:pt x="75" y="2"/>
                  </a:cubicBezTo>
                  <a:cubicBezTo>
                    <a:pt x="91" y="0"/>
                    <a:pt x="106" y="11"/>
                    <a:pt x="108" y="28"/>
                  </a:cubicBezTo>
                  <a:cubicBezTo>
                    <a:pt x="121" y="142"/>
                    <a:pt x="121" y="142"/>
                    <a:pt x="121" y="142"/>
                  </a:cubicBezTo>
                  <a:cubicBezTo>
                    <a:pt x="123" y="158"/>
                    <a:pt x="111" y="172"/>
                    <a:pt x="95" y="174"/>
                  </a:cubicBezTo>
                  <a:close/>
                </a:path>
              </a:pathLst>
            </a:custGeom>
            <a:solidFill>
              <a:srgbClr val="06AEED"/>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36" name="Freeform 14">
              <a:extLst>
                <a:ext uri="{FF2B5EF4-FFF2-40B4-BE49-F238E27FC236}">
                  <a16:creationId xmlns:a16="http://schemas.microsoft.com/office/drawing/2014/main" id="{C8B0A36D-71F5-4D3A-97E1-765AE8611816}"/>
                </a:ext>
              </a:extLst>
            </p:cNvPr>
            <p:cNvSpPr>
              <a:spLocks/>
            </p:cNvSpPr>
            <p:nvPr/>
          </p:nvSpPr>
          <p:spPr bwMode="auto">
            <a:xfrm>
              <a:off x="5447506" y="3309144"/>
              <a:ext cx="200025" cy="168275"/>
            </a:xfrm>
            <a:custGeom>
              <a:avLst/>
              <a:gdLst>
                <a:gd name="T0" fmla="*/ 85 w 114"/>
                <a:gd name="T1" fmla="*/ 1 h 95"/>
                <a:gd name="T2" fmla="*/ 20 w 114"/>
                <a:gd name="T3" fmla="*/ 8 h 95"/>
                <a:gd name="T4" fmla="*/ 2 w 114"/>
                <a:gd name="T5" fmla="*/ 31 h 95"/>
                <a:gd name="T6" fmla="*/ 7 w 114"/>
                <a:gd name="T7" fmla="*/ 75 h 95"/>
                <a:gd name="T8" fmla="*/ 30 w 114"/>
                <a:gd name="T9" fmla="*/ 93 h 95"/>
                <a:gd name="T10" fmla="*/ 94 w 114"/>
                <a:gd name="T11" fmla="*/ 86 h 95"/>
                <a:gd name="T12" fmla="*/ 113 w 114"/>
                <a:gd name="T13" fmla="*/ 63 h 95"/>
                <a:gd name="T14" fmla="*/ 108 w 114"/>
                <a:gd name="T15" fmla="*/ 19 h 95"/>
                <a:gd name="T16" fmla="*/ 85 w 114"/>
                <a:gd name="T17" fmla="*/ 1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4" h="95">
                  <a:moveTo>
                    <a:pt x="85" y="1"/>
                  </a:moveTo>
                  <a:cubicBezTo>
                    <a:pt x="20" y="8"/>
                    <a:pt x="20" y="8"/>
                    <a:pt x="20" y="8"/>
                  </a:cubicBezTo>
                  <a:cubicBezTo>
                    <a:pt x="8" y="10"/>
                    <a:pt x="0" y="20"/>
                    <a:pt x="2" y="31"/>
                  </a:cubicBezTo>
                  <a:cubicBezTo>
                    <a:pt x="7" y="75"/>
                    <a:pt x="7" y="75"/>
                    <a:pt x="7" y="75"/>
                  </a:cubicBezTo>
                  <a:cubicBezTo>
                    <a:pt x="8" y="86"/>
                    <a:pt x="18" y="95"/>
                    <a:pt x="30" y="93"/>
                  </a:cubicBezTo>
                  <a:cubicBezTo>
                    <a:pt x="94" y="86"/>
                    <a:pt x="94" y="86"/>
                    <a:pt x="94" y="86"/>
                  </a:cubicBezTo>
                  <a:cubicBezTo>
                    <a:pt x="106" y="85"/>
                    <a:pt x="114" y="74"/>
                    <a:pt x="113" y="63"/>
                  </a:cubicBezTo>
                  <a:cubicBezTo>
                    <a:pt x="108" y="19"/>
                    <a:pt x="108" y="19"/>
                    <a:pt x="108" y="19"/>
                  </a:cubicBezTo>
                  <a:cubicBezTo>
                    <a:pt x="106" y="8"/>
                    <a:pt x="96" y="0"/>
                    <a:pt x="85" y="1"/>
                  </a:cubicBezTo>
                  <a:close/>
                </a:path>
              </a:pathLst>
            </a:custGeom>
            <a:solidFill>
              <a:srgbClr val="06AEED"/>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37" name="Freeform 15">
              <a:extLst>
                <a:ext uri="{FF2B5EF4-FFF2-40B4-BE49-F238E27FC236}">
                  <a16:creationId xmlns:a16="http://schemas.microsoft.com/office/drawing/2014/main" id="{1AAF0803-2FD3-400E-AC3E-C021C37D151B}"/>
                </a:ext>
              </a:extLst>
            </p:cNvPr>
            <p:cNvSpPr>
              <a:spLocks/>
            </p:cNvSpPr>
            <p:nvPr/>
          </p:nvSpPr>
          <p:spPr bwMode="auto">
            <a:xfrm>
              <a:off x="5469731" y="3505994"/>
              <a:ext cx="201613" cy="166688"/>
            </a:xfrm>
            <a:custGeom>
              <a:avLst/>
              <a:gdLst>
                <a:gd name="T0" fmla="*/ 84 w 114"/>
                <a:gd name="T1" fmla="*/ 1 h 95"/>
                <a:gd name="T2" fmla="*/ 20 w 114"/>
                <a:gd name="T3" fmla="*/ 8 h 95"/>
                <a:gd name="T4" fmla="*/ 1 w 114"/>
                <a:gd name="T5" fmla="*/ 31 h 95"/>
                <a:gd name="T6" fmla="*/ 6 w 114"/>
                <a:gd name="T7" fmla="*/ 75 h 95"/>
                <a:gd name="T8" fmla="*/ 29 w 114"/>
                <a:gd name="T9" fmla="*/ 93 h 95"/>
                <a:gd name="T10" fmla="*/ 94 w 114"/>
                <a:gd name="T11" fmla="*/ 86 h 95"/>
                <a:gd name="T12" fmla="*/ 112 w 114"/>
                <a:gd name="T13" fmla="*/ 63 h 95"/>
                <a:gd name="T14" fmla="*/ 107 w 114"/>
                <a:gd name="T15" fmla="*/ 19 h 95"/>
                <a:gd name="T16" fmla="*/ 84 w 114"/>
                <a:gd name="T17" fmla="*/ 1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4" h="95">
                  <a:moveTo>
                    <a:pt x="84" y="1"/>
                  </a:moveTo>
                  <a:cubicBezTo>
                    <a:pt x="20" y="8"/>
                    <a:pt x="20" y="8"/>
                    <a:pt x="20" y="8"/>
                  </a:cubicBezTo>
                  <a:cubicBezTo>
                    <a:pt x="8" y="10"/>
                    <a:pt x="0" y="20"/>
                    <a:pt x="1" y="31"/>
                  </a:cubicBezTo>
                  <a:cubicBezTo>
                    <a:pt x="6" y="75"/>
                    <a:pt x="6" y="75"/>
                    <a:pt x="6" y="75"/>
                  </a:cubicBezTo>
                  <a:cubicBezTo>
                    <a:pt x="8" y="86"/>
                    <a:pt x="18" y="95"/>
                    <a:pt x="29" y="93"/>
                  </a:cubicBezTo>
                  <a:cubicBezTo>
                    <a:pt x="94" y="86"/>
                    <a:pt x="94" y="86"/>
                    <a:pt x="94" y="86"/>
                  </a:cubicBezTo>
                  <a:cubicBezTo>
                    <a:pt x="106" y="85"/>
                    <a:pt x="114" y="74"/>
                    <a:pt x="112" y="63"/>
                  </a:cubicBezTo>
                  <a:cubicBezTo>
                    <a:pt x="107" y="19"/>
                    <a:pt x="107" y="19"/>
                    <a:pt x="107" y="19"/>
                  </a:cubicBezTo>
                  <a:cubicBezTo>
                    <a:pt x="106" y="8"/>
                    <a:pt x="96" y="0"/>
                    <a:pt x="84" y="1"/>
                  </a:cubicBezTo>
                  <a:close/>
                </a:path>
              </a:pathLst>
            </a:custGeom>
            <a:solidFill>
              <a:srgbClr val="06AEED"/>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38" name="Freeform 16">
              <a:extLst>
                <a:ext uri="{FF2B5EF4-FFF2-40B4-BE49-F238E27FC236}">
                  <a16:creationId xmlns:a16="http://schemas.microsoft.com/office/drawing/2014/main" id="{35961C2F-4A42-40C0-BB13-4FC120B9EC86}"/>
                </a:ext>
              </a:extLst>
            </p:cNvPr>
            <p:cNvSpPr>
              <a:spLocks/>
            </p:cNvSpPr>
            <p:nvPr/>
          </p:nvSpPr>
          <p:spPr bwMode="auto">
            <a:xfrm>
              <a:off x="4669631" y="3053556"/>
              <a:ext cx="196850" cy="133350"/>
            </a:xfrm>
            <a:custGeom>
              <a:avLst/>
              <a:gdLst>
                <a:gd name="T0" fmla="*/ 95 w 112"/>
                <a:gd name="T1" fmla="*/ 66 h 75"/>
                <a:gd name="T2" fmla="*/ 25 w 112"/>
                <a:gd name="T3" fmla="*/ 74 h 75"/>
                <a:gd name="T4" fmla="*/ 5 w 112"/>
                <a:gd name="T5" fmla="*/ 58 h 75"/>
                <a:gd name="T6" fmla="*/ 2 w 112"/>
                <a:gd name="T7" fmla="*/ 29 h 75"/>
                <a:gd name="T8" fmla="*/ 17 w 112"/>
                <a:gd name="T9" fmla="*/ 9 h 75"/>
                <a:gd name="T10" fmla="*/ 88 w 112"/>
                <a:gd name="T11" fmla="*/ 1 h 75"/>
                <a:gd name="T12" fmla="*/ 108 w 112"/>
                <a:gd name="T13" fmla="*/ 17 h 75"/>
                <a:gd name="T14" fmla="*/ 111 w 112"/>
                <a:gd name="T15" fmla="*/ 46 h 75"/>
                <a:gd name="T16" fmla="*/ 95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5" y="66"/>
                  </a:moveTo>
                  <a:cubicBezTo>
                    <a:pt x="25" y="74"/>
                    <a:pt x="25" y="74"/>
                    <a:pt x="25" y="74"/>
                  </a:cubicBezTo>
                  <a:cubicBezTo>
                    <a:pt x="15" y="75"/>
                    <a:pt x="6" y="68"/>
                    <a:pt x="5" y="58"/>
                  </a:cubicBezTo>
                  <a:cubicBezTo>
                    <a:pt x="2" y="29"/>
                    <a:pt x="2" y="29"/>
                    <a:pt x="2" y="29"/>
                  </a:cubicBezTo>
                  <a:cubicBezTo>
                    <a:pt x="0" y="19"/>
                    <a:pt x="7" y="10"/>
                    <a:pt x="17" y="9"/>
                  </a:cubicBezTo>
                  <a:cubicBezTo>
                    <a:pt x="88" y="1"/>
                    <a:pt x="88" y="1"/>
                    <a:pt x="88" y="1"/>
                  </a:cubicBezTo>
                  <a:cubicBezTo>
                    <a:pt x="98" y="0"/>
                    <a:pt x="107" y="7"/>
                    <a:pt x="108" y="17"/>
                  </a:cubicBezTo>
                  <a:cubicBezTo>
                    <a:pt x="111" y="46"/>
                    <a:pt x="111" y="46"/>
                    <a:pt x="111" y="46"/>
                  </a:cubicBezTo>
                  <a:cubicBezTo>
                    <a:pt x="112" y="56"/>
                    <a:pt x="105" y="65"/>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39" name="Freeform 17">
              <a:extLst>
                <a:ext uri="{FF2B5EF4-FFF2-40B4-BE49-F238E27FC236}">
                  <a16:creationId xmlns:a16="http://schemas.microsoft.com/office/drawing/2014/main" id="{FC6B66F9-870B-4EF0-9E56-4EA64F481A5C}"/>
                </a:ext>
              </a:extLst>
            </p:cNvPr>
            <p:cNvSpPr>
              <a:spLocks/>
            </p:cNvSpPr>
            <p:nvPr/>
          </p:nvSpPr>
          <p:spPr bwMode="auto">
            <a:xfrm>
              <a:off x="4923631" y="3024981"/>
              <a:ext cx="196850" cy="133350"/>
            </a:xfrm>
            <a:custGeom>
              <a:avLst/>
              <a:gdLst>
                <a:gd name="T0" fmla="*/ 95 w 112"/>
                <a:gd name="T1" fmla="*/ 66 h 75"/>
                <a:gd name="T2" fmla="*/ 24 w 112"/>
                <a:gd name="T3" fmla="*/ 74 h 75"/>
                <a:gd name="T4" fmla="*/ 4 w 112"/>
                <a:gd name="T5" fmla="*/ 58 h 75"/>
                <a:gd name="T6" fmla="*/ 1 w 112"/>
                <a:gd name="T7" fmla="*/ 29 h 75"/>
                <a:gd name="T8" fmla="*/ 16 w 112"/>
                <a:gd name="T9" fmla="*/ 9 h 75"/>
                <a:gd name="T10" fmla="*/ 87 w 112"/>
                <a:gd name="T11" fmla="*/ 1 h 75"/>
                <a:gd name="T12" fmla="*/ 107 w 112"/>
                <a:gd name="T13" fmla="*/ 16 h 75"/>
                <a:gd name="T14" fmla="*/ 110 w 112"/>
                <a:gd name="T15" fmla="*/ 46 h 75"/>
                <a:gd name="T16" fmla="*/ 95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5" y="66"/>
                  </a:moveTo>
                  <a:cubicBezTo>
                    <a:pt x="24" y="74"/>
                    <a:pt x="24" y="74"/>
                    <a:pt x="24" y="74"/>
                  </a:cubicBezTo>
                  <a:cubicBezTo>
                    <a:pt x="14" y="75"/>
                    <a:pt x="5" y="68"/>
                    <a:pt x="4" y="58"/>
                  </a:cubicBezTo>
                  <a:cubicBezTo>
                    <a:pt x="1" y="29"/>
                    <a:pt x="1" y="29"/>
                    <a:pt x="1" y="29"/>
                  </a:cubicBezTo>
                  <a:cubicBezTo>
                    <a:pt x="0" y="19"/>
                    <a:pt x="7" y="10"/>
                    <a:pt x="16" y="9"/>
                  </a:cubicBezTo>
                  <a:cubicBezTo>
                    <a:pt x="87" y="1"/>
                    <a:pt x="87" y="1"/>
                    <a:pt x="87" y="1"/>
                  </a:cubicBezTo>
                  <a:cubicBezTo>
                    <a:pt x="97" y="0"/>
                    <a:pt x="106" y="7"/>
                    <a:pt x="107" y="16"/>
                  </a:cubicBezTo>
                  <a:cubicBezTo>
                    <a:pt x="110" y="46"/>
                    <a:pt x="110" y="46"/>
                    <a:pt x="110" y="46"/>
                  </a:cubicBezTo>
                  <a:cubicBezTo>
                    <a:pt x="112" y="56"/>
                    <a:pt x="104" y="64"/>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40" name="Freeform 18">
              <a:extLst>
                <a:ext uri="{FF2B5EF4-FFF2-40B4-BE49-F238E27FC236}">
                  <a16:creationId xmlns:a16="http://schemas.microsoft.com/office/drawing/2014/main" id="{02D85F2C-3CB1-4795-990C-DD4BD3BBD223}"/>
                </a:ext>
              </a:extLst>
            </p:cNvPr>
            <p:cNvSpPr>
              <a:spLocks/>
            </p:cNvSpPr>
            <p:nvPr/>
          </p:nvSpPr>
          <p:spPr bwMode="auto">
            <a:xfrm>
              <a:off x="5176044" y="2996406"/>
              <a:ext cx="196850" cy="131763"/>
            </a:xfrm>
            <a:custGeom>
              <a:avLst/>
              <a:gdLst>
                <a:gd name="T0" fmla="*/ 95 w 112"/>
                <a:gd name="T1" fmla="*/ 66 h 75"/>
                <a:gd name="T2" fmla="*/ 24 w 112"/>
                <a:gd name="T3" fmla="*/ 74 h 75"/>
                <a:gd name="T4" fmla="*/ 4 w 112"/>
                <a:gd name="T5" fmla="*/ 59 h 75"/>
                <a:gd name="T6" fmla="*/ 1 w 112"/>
                <a:gd name="T7" fmla="*/ 29 h 75"/>
                <a:gd name="T8" fmla="*/ 17 w 112"/>
                <a:gd name="T9" fmla="*/ 10 h 75"/>
                <a:gd name="T10" fmla="*/ 88 w 112"/>
                <a:gd name="T11" fmla="*/ 1 h 75"/>
                <a:gd name="T12" fmla="*/ 107 w 112"/>
                <a:gd name="T13" fmla="*/ 17 h 75"/>
                <a:gd name="T14" fmla="*/ 111 w 112"/>
                <a:gd name="T15" fmla="*/ 47 h 75"/>
                <a:gd name="T16" fmla="*/ 95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5" y="66"/>
                  </a:moveTo>
                  <a:cubicBezTo>
                    <a:pt x="24" y="74"/>
                    <a:pt x="24" y="74"/>
                    <a:pt x="24" y="74"/>
                  </a:cubicBezTo>
                  <a:cubicBezTo>
                    <a:pt x="14" y="75"/>
                    <a:pt x="6" y="68"/>
                    <a:pt x="4" y="59"/>
                  </a:cubicBezTo>
                  <a:cubicBezTo>
                    <a:pt x="1" y="29"/>
                    <a:pt x="1" y="29"/>
                    <a:pt x="1" y="29"/>
                  </a:cubicBezTo>
                  <a:cubicBezTo>
                    <a:pt x="0" y="19"/>
                    <a:pt x="7" y="11"/>
                    <a:pt x="17" y="10"/>
                  </a:cubicBezTo>
                  <a:cubicBezTo>
                    <a:pt x="88" y="1"/>
                    <a:pt x="88" y="1"/>
                    <a:pt x="88" y="1"/>
                  </a:cubicBezTo>
                  <a:cubicBezTo>
                    <a:pt x="97" y="0"/>
                    <a:pt x="106" y="7"/>
                    <a:pt x="107" y="17"/>
                  </a:cubicBezTo>
                  <a:cubicBezTo>
                    <a:pt x="111" y="47"/>
                    <a:pt x="111" y="47"/>
                    <a:pt x="111" y="47"/>
                  </a:cubicBezTo>
                  <a:cubicBezTo>
                    <a:pt x="112" y="56"/>
                    <a:pt x="105" y="65"/>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41" name="Freeform 19">
              <a:extLst>
                <a:ext uri="{FF2B5EF4-FFF2-40B4-BE49-F238E27FC236}">
                  <a16:creationId xmlns:a16="http://schemas.microsoft.com/office/drawing/2014/main" id="{91487641-3D51-4C1B-B331-6C6FB4BCD232}"/>
                </a:ext>
              </a:extLst>
            </p:cNvPr>
            <p:cNvSpPr>
              <a:spLocks/>
            </p:cNvSpPr>
            <p:nvPr/>
          </p:nvSpPr>
          <p:spPr bwMode="auto">
            <a:xfrm>
              <a:off x="4691856" y="3242469"/>
              <a:ext cx="196850" cy="131763"/>
            </a:xfrm>
            <a:custGeom>
              <a:avLst/>
              <a:gdLst>
                <a:gd name="T0" fmla="*/ 95 w 111"/>
                <a:gd name="T1" fmla="*/ 66 h 75"/>
                <a:gd name="T2" fmla="*/ 24 w 111"/>
                <a:gd name="T3" fmla="*/ 74 h 75"/>
                <a:gd name="T4" fmla="*/ 4 w 111"/>
                <a:gd name="T5" fmla="*/ 59 h 75"/>
                <a:gd name="T6" fmla="*/ 1 w 111"/>
                <a:gd name="T7" fmla="*/ 29 h 75"/>
                <a:gd name="T8" fmla="*/ 16 w 111"/>
                <a:gd name="T9" fmla="*/ 10 h 75"/>
                <a:gd name="T10" fmla="*/ 87 w 111"/>
                <a:gd name="T11" fmla="*/ 2 h 75"/>
                <a:gd name="T12" fmla="*/ 107 w 111"/>
                <a:gd name="T13" fmla="*/ 17 h 75"/>
                <a:gd name="T14" fmla="*/ 110 w 111"/>
                <a:gd name="T15" fmla="*/ 47 h 75"/>
                <a:gd name="T16" fmla="*/ 95 w 111"/>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1" h="75">
                  <a:moveTo>
                    <a:pt x="95" y="66"/>
                  </a:moveTo>
                  <a:cubicBezTo>
                    <a:pt x="24" y="74"/>
                    <a:pt x="24" y="74"/>
                    <a:pt x="24" y="74"/>
                  </a:cubicBezTo>
                  <a:cubicBezTo>
                    <a:pt x="14" y="75"/>
                    <a:pt x="5" y="68"/>
                    <a:pt x="4" y="59"/>
                  </a:cubicBezTo>
                  <a:cubicBezTo>
                    <a:pt x="1" y="29"/>
                    <a:pt x="1" y="29"/>
                    <a:pt x="1" y="29"/>
                  </a:cubicBezTo>
                  <a:cubicBezTo>
                    <a:pt x="0" y="20"/>
                    <a:pt x="7" y="11"/>
                    <a:pt x="16" y="10"/>
                  </a:cubicBezTo>
                  <a:cubicBezTo>
                    <a:pt x="87" y="2"/>
                    <a:pt x="87" y="2"/>
                    <a:pt x="87" y="2"/>
                  </a:cubicBezTo>
                  <a:cubicBezTo>
                    <a:pt x="97" y="0"/>
                    <a:pt x="106" y="7"/>
                    <a:pt x="107" y="17"/>
                  </a:cubicBezTo>
                  <a:cubicBezTo>
                    <a:pt x="110" y="47"/>
                    <a:pt x="110" y="47"/>
                    <a:pt x="110" y="47"/>
                  </a:cubicBezTo>
                  <a:cubicBezTo>
                    <a:pt x="111" y="56"/>
                    <a:pt x="104" y="65"/>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42" name="Freeform 20">
              <a:extLst>
                <a:ext uri="{FF2B5EF4-FFF2-40B4-BE49-F238E27FC236}">
                  <a16:creationId xmlns:a16="http://schemas.microsoft.com/office/drawing/2014/main" id="{11DFDB89-C0EE-46BE-86B9-C7D1F6A9FBFD}"/>
                </a:ext>
              </a:extLst>
            </p:cNvPr>
            <p:cNvSpPr>
              <a:spLocks/>
            </p:cNvSpPr>
            <p:nvPr/>
          </p:nvSpPr>
          <p:spPr bwMode="auto">
            <a:xfrm>
              <a:off x="4944269" y="3213894"/>
              <a:ext cx="198438" cy="133350"/>
            </a:xfrm>
            <a:custGeom>
              <a:avLst/>
              <a:gdLst>
                <a:gd name="T0" fmla="*/ 95 w 112"/>
                <a:gd name="T1" fmla="*/ 66 h 75"/>
                <a:gd name="T2" fmla="*/ 24 w 112"/>
                <a:gd name="T3" fmla="*/ 74 h 75"/>
                <a:gd name="T4" fmla="*/ 4 w 112"/>
                <a:gd name="T5" fmla="*/ 58 h 75"/>
                <a:gd name="T6" fmla="*/ 1 w 112"/>
                <a:gd name="T7" fmla="*/ 29 h 75"/>
                <a:gd name="T8" fmla="*/ 17 w 112"/>
                <a:gd name="T9" fmla="*/ 9 h 75"/>
                <a:gd name="T10" fmla="*/ 88 w 112"/>
                <a:gd name="T11" fmla="*/ 1 h 75"/>
                <a:gd name="T12" fmla="*/ 107 w 112"/>
                <a:gd name="T13" fmla="*/ 17 h 75"/>
                <a:gd name="T14" fmla="*/ 111 w 112"/>
                <a:gd name="T15" fmla="*/ 46 h 75"/>
                <a:gd name="T16" fmla="*/ 95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5" y="66"/>
                  </a:moveTo>
                  <a:cubicBezTo>
                    <a:pt x="24" y="74"/>
                    <a:pt x="24" y="74"/>
                    <a:pt x="24" y="74"/>
                  </a:cubicBezTo>
                  <a:cubicBezTo>
                    <a:pt x="14" y="75"/>
                    <a:pt x="6" y="68"/>
                    <a:pt x="4" y="58"/>
                  </a:cubicBezTo>
                  <a:cubicBezTo>
                    <a:pt x="1" y="29"/>
                    <a:pt x="1" y="29"/>
                    <a:pt x="1" y="29"/>
                  </a:cubicBezTo>
                  <a:cubicBezTo>
                    <a:pt x="0" y="19"/>
                    <a:pt x="7" y="10"/>
                    <a:pt x="17" y="9"/>
                  </a:cubicBezTo>
                  <a:cubicBezTo>
                    <a:pt x="88" y="1"/>
                    <a:pt x="88" y="1"/>
                    <a:pt x="88" y="1"/>
                  </a:cubicBezTo>
                  <a:cubicBezTo>
                    <a:pt x="97" y="0"/>
                    <a:pt x="106" y="7"/>
                    <a:pt x="107" y="17"/>
                  </a:cubicBezTo>
                  <a:cubicBezTo>
                    <a:pt x="111" y="46"/>
                    <a:pt x="111" y="46"/>
                    <a:pt x="111" y="46"/>
                  </a:cubicBezTo>
                  <a:cubicBezTo>
                    <a:pt x="112" y="56"/>
                    <a:pt x="105" y="65"/>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43" name="Freeform 21">
              <a:extLst>
                <a:ext uri="{FF2B5EF4-FFF2-40B4-BE49-F238E27FC236}">
                  <a16:creationId xmlns:a16="http://schemas.microsoft.com/office/drawing/2014/main" id="{1CC49FE5-8864-40E1-9E8A-BFF4988BC072}"/>
                </a:ext>
              </a:extLst>
            </p:cNvPr>
            <p:cNvSpPr>
              <a:spLocks/>
            </p:cNvSpPr>
            <p:nvPr/>
          </p:nvSpPr>
          <p:spPr bwMode="auto">
            <a:xfrm>
              <a:off x="5196681" y="3186906"/>
              <a:ext cx="196850" cy="131763"/>
            </a:xfrm>
            <a:custGeom>
              <a:avLst/>
              <a:gdLst>
                <a:gd name="T0" fmla="*/ 95 w 112"/>
                <a:gd name="T1" fmla="*/ 66 h 75"/>
                <a:gd name="T2" fmla="*/ 24 w 112"/>
                <a:gd name="T3" fmla="*/ 74 h 75"/>
                <a:gd name="T4" fmla="*/ 5 w 112"/>
                <a:gd name="T5" fmla="*/ 58 h 75"/>
                <a:gd name="T6" fmla="*/ 1 w 112"/>
                <a:gd name="T7" fmla="*/ 29 h 75"/>
                <a:gd name="T8" fmla="*/ 17 w 112"/>
                <a:gd name="T9" fmla="*/ 9 h 75"/>
                <a:gd name="T10" fmla="*/ 88 w 112"/>
                <a:gd name="T11" fmla="*/ 1 h 75"/>
                <a:gd name="T12" fmla="*/ 108 w 112"/>
                <a:gd name="T13" fmla="*/ 16 h 75"/>
                <a:gd name="T14" fmla="*/ 111 w 112"/>
                <a:gd name="T15" fmla="*/ 46 h 75"/>
                <a:gd name="T16" fmla="*/ 95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5" y="66"/>
                  </a:moveTo>
                  <a:cubicBezTo>
                    <a:pt x="24" y="74"/>
                    <a:pt x="24" y="74"/>
                    <a:pt x="24" y="74"/>
                  </a:cubicBezTo>
                  <a:cubicBezTo>
                    <a:pt x="15" y="75"/>
                    <a:pt x="6" y="68"/>
                    <a:pt x="5" y="58"/>
                  </a:cubicBezTo>
                  <a:cubicBezTo>
                    <a:pt x="1" y="29"/>
                    <a:pt x="1" y="29"/>
                    <a:pt x="1" y="29"/>
                  </a:cubicBezTo>
                  <a:cubicBezTo>
                    <a:pt x="0" y="19"/>
                    <a:pt x="7" y="10"/>
                    <a:pt x="17" y="9"/>
                  </a:cubicBezTo>
                  <a:cubicBezTo>
                    <a:pt x="88" y="1"/>
                    <a:pt x="88" y="1"/>
                    <a:pt x="88" y="1"/>
                  </a:cubicBezTo>
                  <a:cubicBezTo>
                    <a:pt x="98" y="0"/>
                    <a:pt x="106" y="7"/>
                    <a:pt x="108" y="16"/>
                  </a:cubicBezTo>
                  <a:cubicBezTo>
                    <a:pt x="111" y="46"/>
                    <a:pt x="111" y="46"/>
                    <a:pt x="111" y="46"/>
                  </a:cubicBezTo>
                  <a:cubicBezTo>
                    <a:pt x="112" y="56"/>
                    <a:pt x="105" y="64"/>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44" name="Freeform 22">
              <a:extLst>
                <a:ext uri="{FF2B5EF4-FFF2-40B4-BE49-F238E27FC236}">
                  <a16:creationId xmlns:a16="http://schemas.microsoft.com/office/drawing/2014/main" id="{E7B68CD4-AFAC-4479-8A9E-EA6E26B660FA}"/>
                </a:ext>
              </a:extLst>
            </p:cNvPr>
            <p:cNvSpPr>
              <a:spLocks/>
            </p:cNvSpPr>
            <p:nvPr/>
          </p:nvSpPr>
          <p:spPr bwMode="auto">
            <a:xfrm>
              <a:off x="4714081" y="3432969"/>
              <a:ext cx="196850" cy="131763"/>
            </a:xfrm>
            <a:custGeom>
              <a:avLst/>
              <a:gdLst>
                <a:gd name="T0" fmla="*/ 95 w 112"/>
                <a:gd name="T1" fmla="*/ 66 h 75"/>
                <a:gd name="T2" fmla="*/ 24 w 112"/>
                <a:gd name="T3" fmla="*/ 74 h 75"/>
                <a:gd name="T4" fmla="*/ 4 w 112"/>
                <a:gd name="T5" fmla="*/ 58 h 75"/>
                <a:gd name="T6" fmla="*/ 1 w 112"/>
                <a:gd name="T7" fmla="*/ 29 h 75"/>
                <a:gd name="T8" fmla="*/ 17 w 112"/>
                <a:gd name="T9" fmla="*/ 9 h 75"/>
                <a:gd name="T10" fmla="*/ 88 w 112"/>
                <a:gd name="T11" fmla="*/ 1 h 75"/>
                <a:gd name="T12" fmla="*/ 107 w 112"/>
                <a:gd name="T13" fmla="*/ 17 h 75"/>
                <a:gd name="T14" fmla="*/ 111 w 112"/>
                <a:gd name="T15" fmla="*/ 46 h 75"/>
                <a:gd name="T16" fmla="*/ 95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5" y="66"/>
                  </a:moveTo>
                  <a:cubicBezTo>
                    <a:pt x="24" y="74"/>
                    <a:pt x="24" y="74"/>
                    <a:pt x="24" y="74"/>
                  </a:cubicBezTo>
                  <a:cubicBezTo>
                    <a:pt x="14" y="75"/>
                    <a:pt x="6" y="68"/>
                    <a:pt x="4" y="58"/>
                  </a:cubicBezTo>
                  <a:cubicBezTo>
                    <a:pt x="1" y="29"/>
                    <a:pt x="1" y="29"/>
                    <a:pt x="1" y="29"/>
                  </a:cubicBezTo>
                  <a:cubicBezTo>
                    <a:pt x="0" y="19"/>
                    <a:pt x="7" y="10"/>
                    <a:pt x="17" y="9"/>
                  </a:cubicBezTo>
                  <a:cubicBezTo>
                    <a:pt x="88" y="1"/>
                    <a:pt x="88" y="1"/>
                    <a:pt x="88" y="1"/>
                  </a:cubicBezTo>
                  <a:cubicBezTo>
                    <a:pt x="97" y="0"/>
                    <a:pt x="106" y="7"/>
                    <a:pt x="107" y="17"/>
                  </a:cubicBezTo>
                  <a:cubicBezTo>
                    <a:pt x="111" y="46"/>
                    <a:pt x="111" y="46"/>
                    <a:pt x="111" y="46"/>
                  </a:cubicBezTo>
                  <a:cubicBezTo>
                    <a:pt x="112" y="56"/>
                    <a:pt x="105" y="65"/>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45" name="Freeform 23">
              <a:extLst>
                <a:ext uri="{FF2B5EF4-FFF2-40B4-BE49-F238E27FC236}">
                  <a16:creationId xmlns:a16="http://schemas.microsoft.com/office/drawing/2014/main" id="{4B522A4F-34F8-4233-9239-0479B165DEB3}"/>
                </a:ext>
              </a:extLst>
            </p:cNvPr>
            <p:cNvSpPr>
              <a:spLocks/>
            </p:cNvSpPr>
            <p:nvPr/>
          </p:nvSpPr>
          <p:spPr bwMode="auto">
            <a:xfrm>
              <a:off x="4966494" y="3402806"/>
              <a:ext cx="196850" cy="131763"/>
            </a:xfrm>
            <a:custGeom>
              <a:avLst/>
              <a:gdLst>
                <a:gd name="T0" fmla="*/ 95 w 112"/>
                <a:gd name="T1" fmla="*/ 66 h 75"/>
                <a:gd name="T2" fmla="*/ 24 w 112"/>
                <a:gd name="T3" fmla="*/ 74 h 75"/>
                <a:gd name="T4" fmla="*/ 5 w 112"/>
                <a:gd name="T5" fmla="*/ 59 h 75"/>
                <a:gd name="T6" fmla="*/ 1 w 112"/>
                <a:gd name="T7" fmla="*/ 29 h 75"/>
                <a:gd name="T8" fmla="*/ 17 w 112"/>
                <a:gd name="T9" fmla="*/ 10 h 75"/>
                <a:gd name="T10" fmla="*/ 88 w 112"/>
                <a:gd name="T11" fmla="*/ 2 h 75"/>
                <a:gd name="T12" fmla="*/ 108 w 112"/>
                <a:gd name="T13" fmla="*/ 17 h 75"/>
                <a:gd name="T14" fmla="*/ 111 w 112"/>
                <a:gd name="T15" fmla="*/ 47 h 75"/>
                <a:gd name="T16" fmla="*/ 95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5" y="66"/>
                  </a:moveTo>
                  <a:cubicBezTo>
                    <a:pt x="24" y="74"/>
                    <a:pt x="24" y="74"/>
                    <a:pt x="24" y="74"/>
                  </a:cubicBezTo>
                  <a:cubicBezTo>
                    <a:pt x="15" y="75"/>
                    <a:pt x="6" y="68"/>
                    <a:pt x="5" y="59"/>
                  </a:cubicBezTo>
                  <a:cubicBezTo>
                    <a:pt x="1" y="29"/>
                    <a:pt x="1" y="29"/>
                    <a:pt x="1" y="29"/>
                  </a:cubicBezTo>
                  <a:cubicBezTo>
                    <a:pt x="0" y="20"/>
                    <a:pt x="7" y="11"/>
                    <a:pt x="17" y="10"/>
                  </a:cubicBezTo>
                  <a:cubicBezTo>
                    <a:pt x="88" y="2"/>
                    <a:pt x="88" y="2"/>
                    <a:pt x="88" y="2"/>
                  </a:cubicBezTo>
                  <a:cubicBezTo>
                    <a:pt x="98" y="0"/>
                    <a:pt x="106" y="7"/>
                    <a:pt x="108" y="17"/>
                  </a:cubicBezTo>
                  <a:cubicBezTo>
                    <a:pt x="111" y="47"/>
                    <a:pt x="111" y="47"/>
                    <a:pt x="111" y="47"/>
                  </a:cubicBezTo>
                  <a:cubicBezTo>
                    <a:pt x="112" y="56"/>
                    <a:pt x="105" y="65"/>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46" name="Freeform 24">
              <a:extLst>
                <a:ext uri="{FF2B5EF4-FFF2-40B4-BE49-F238E27FC236}">
                  <a16:creationId xmlns:a16="http://schemas.microsoft.com/office/drawing/2014/main" id="{ED862C7D-08D2-492D-B1F3-E4C7C11ED2DB}"/>
                </a:ext>
              </a:extLst>
            </p:cNvPr>
            <p:cNvSpPr>
              <a:spLocks/>
            </p:cNvSpPr>
            <p:nvPr/>
          </p:nvSpPr>
          <p:spPr bwMode="auto">
            <a:xfrm>
              <a:off x="5220494" y="3374231"/>
              <a:ext cx="195263" cy="133350"/>
            </a:xfrm>
            <a:custGeom>
              <a:avLst/>
              <a:gdLst>
                <a:gd name="T0" fmla="*/ 95 w 111"/>
                <a:gd name="T1" fmla="*/ 66 h 75"/>
                <a:gd name="T2" fmla="*/ 24 w 111"/>
                <a:gd name="T3" fmla="*/ 74 h 75"/>
                <a:gd name="T4" fmla="*/ 4 w 111"/>
                <a:gd name="T5" fmla="*/ 58 h 75"/>
                <a:gd name="T6" fmla="*/ 1 w 111"/>
                <a:gd name="T7" fmla="*/ 29 h 75"/>
                <a:gd name="T8" fmla="*/ 16 w 111"/>
                <a:gd name="T9" fmla="*/ 9 h 75"/>
                <a:gd name="T10" fmla="*/ 87 w 111"/>
                <a:gd name="T11" fmla="*/ 1 h 75"/>
                <a:gd name="T12" fmla="*/ 107 w 111"/>
                <a:gd name="T13" fmla="*/ 17 h 75"/>
                <a:gd name="T14" fmla="*/ 110 w 111"/>
                <a:gd name="T15" fmla="*/ 46 h 75"/>
                <a:gd name="T16" fmla="*/ 95 w 111"/>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1" h="75">
                  <a:moveTo>
                    <a:pt x="95" y="66"/>
                  </a:moveTo>
                  <a:cubicBezTo>
                    <a:pt x="24" y="74"/>
                    <a:pt x="24" y="74"/>
                    <a:pt x="24" y="74"/>
                  </a:cubicBezTo>
                  <a:cubicBezTo>
                    <a:pt x="14" y="75"/>
                    <a:pt x="5" y="68"/>
                    <a:pt x="4" y="58"/>
                  </a:cubicBezTo>
                  <a:cubicBezTo>
                    <a:pt x="1" y="29"/>
                    <a:pt x="1" y="29"/>
                    <a:pt x="1" y="29"/>
                  </a:cubicBezTo>
                  <a:cubicBezTo>
                    <a:pt x="0" y="19"/>
                    <a:pt x="7" y="10"/>
                    <a:pt x="16" y="9"/>
                  </a:cubicBezTo>
                  <a:cubicBezTo>
                    <a:pt x="87" y="1"/>
                    <a:pt x="87" y="1"/>
                    <a:pt x="87" y="1"/>
                  </a:cubicBezTo>
                  <a:cubicBezTo>
                    <a:pt x="97" y="0"/>
                    <a:pt x="106" y="7"/>
                    <a:pt x="107" y="17"/>
                  </a:cubicBezTo>
                  <a:cubicBezTo>
                    <a:pt x="110" y="46"/>
                    <a:pt x="110" y="46"/>
                    <a:pt x="110" y="46"/>
                  </a:cubicBezTo>
                  <a:cubicBezTo>
                    <a:pt x="111" y="56"/>
                    <a:pt x="104" y="65"/>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47" name="Freeform 25">
              <a:extLst>
                <a:ext uri="{FF2B5EF4-FFF2-40B4-BE49-F238E27FC236}">
                  <a16:creationId xmlns:a16="http://schemas.microsoft.com/office/drawing/2014/main" id="{55307F43-A12C-4428-AFA2-B5B77B77F107}"/>
                </a:ext>
              </a:extLst>
            </p:cNvPr>
            <p:cNvSpPr>
              <a:spLocks/>
            </p:cNvSpPr>
            <p:nvPr/>
          </p:nvSpPr>
          <p:spPr bwMode="auto">
            <a:xfrm>
              <a:off x="4734719" y="3621881"/>
              <a:ext cx="196850" cy="131763"/>
            </a:xfrm>
            <a:custGeom>
              <a:avLst/>
              <a:gdLst>
                <a:gd name="T0" fmla="*/ 95 w 112"/>
                <a:gd name="T1" fmla="*/ 66 h 75"/>
                <a:gd name="T2" fmla="*/ 24 w 112"/>
                <a:gd name="T3" fmla="*/ 74 h 75"/>
                <a:gd name="T4" fmla="*/ 5 w 112"/>
                <a:gd name="T5" fmla="*/ 58 h 75"/>
                <a:gd name="T6" fmla="*/ 1 w 112"/>
                <a:gd name="T7" fmla="*/ 29 h 75"/>
                <a:gd name="T8" fmla="*/ 17 w 112"/>
                <a:gd name="T9" fmla="*/ 9 h 75"/>
                <a:gd name="T10" fmla="*/ 88 w 112"/>
                <a:gd name="T11" fmla="*/ 1 h 75"/>
                <a:gd name="T12" fmla="*/ 108 w 112"/>
                <a:gd name="T13" fmla="*/ 17 h 75"/>
                <a:gd name="T14" fmla="*/ 111 w 112"/>
                <a:gd name="T15" fmla="*/ 46 h 75"/>
                <a:gd name="T16" fmla="*/ 95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5" y="66"/>
                  </a:moveTo>
                  <a:cubicBezTo>
                    <a:pt x="24" y="74"/>
                    <a:pt x="24" y="74"/>
                    <a:pt x="24" y="74"/>
                  </a:cubicBezTo>
                  <a:cubicBezTo>
                    <a:pt x="15" y="75"/>
                    <a:pt x="6" y="68"/>
                    <a:pt x="5" y="58"/>
                  </a:cubicBezTo>
                  <a:cubicBezTo>
                    <a:pt x="1" y="29"/>
                    <a:pt x="1" y="29"/>
                    <a:pt x="1" y="29"/>
                  </a:cubicBezTo>
                  <a:cubicBezTo>
                    <a:pt x="0" y="19"/>
                    <a:pt x="7" y="10"/>
                    <a:pt x="17" y="9"/>
                  </a:cubicBezTo>
                  <a:cubicBezTo>
                    <a:pt x="88" y="1"/>
                    <a:pt x="88" y="1"/>
                    <a:pt x="88" y="1"/>
                  </a:cubicBezTo>
                  <a:cubicBezTo>
                    <a:pt x="98" y="0"/>
                    <a:pt x="106" y="7"/>
                    <a:pt x="108" y="17"/>
                  </a:cubicBezTo>
                  <a:cubicBezTo>
                    <a:pt x="111" y="46"/>
                    <a:pt x="111" y="46"/>
                    <a:pt x="111" y="46"/>
                  </a:cubicBezTo>
                  <a:cubicBezTo>
                    <a:pt x="112" y="56"/>
                    <a:pt x="105" y="65"/>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48" name="Freeform 26">
              <a:extLst>
                <a:ext uri="{FF2B5EF4-FFF2-40B4-BE49-F238E27FC236}">
                  <a16:creationId xmlns:a16="http://schemas.microsoft.com/office/drawing/2014/main" id="{AC31A7FF-D4E9-4B66-B0A5-4482D3E29EA0}"/>
                </a:ext>
              </a:extLst>
            </p:cNvPr>
            <p:cNvSpPr>
              <a:spLocks/>
            </p:cNvSpPr>
            <p:nvPr/>
          </p:nvSpPr>
          <p:spPr bwMode="auto">
            <a:xfrm>
              <a:off x="4987131" y="3593306"/>
              <a:ext cx="196850" cy="131763"/>
            </a:xfrm>
            <a:custGeom>
              <a:avLst/>
              <a:gdLst>
                <a:gd name="T0" fmla="*/ 96 w 112"/>
                <a:gd name="T1" fmla="*/ 66 h 75"/>
                <a:gd name="T2" fmla="*/ 25 w 112"/>
                <a:gd name="T3" fmla="*/ 74 h 75"/>
                <a:gd name="T4" fmla="*/ 5 w 112"/>
                <a:gd name="T5" fmla="*/ 58 h 75"/>
                <a:gd name="T6" fmla="*/ 2 w 112"/>
                <a:gd name="T7" fmla="*/ 29 h 75"/>
                <a:gd name="T8" fmla="*/ 17 w 112"/>
                <a:gd name="T9" fmla="*/ 9 h 75"/>
                <a:gd name="T10" fmla="*/ 88 w 112"/>
                <a:gd name="T11" fmla="*/ 1 h 75"/>
                <a:gd name="T12" fmla="*/ 108 w 112"/>
                <a:gd name="T13" fmla="*/ 16 h 75"/>
                <a:gd name="T14" fmla="*/ 111 w 112"/>
                <a:gd name="T15" fmla="*/ 46 h 75"/>
                <a:gd name="T16" fmla="*/ 96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6" y="66"/>
                  </a:moveTo>
                  <a:cubicBezTo>
                    <a:pt x="25" y="74"/>
                    <a:pt x="25" y="74"/>
                    <a:pt x="25" y="74"/>
                  </a:cubicBezTo>
                  <a:cubicBezTo>
                    <a:pt x="15" y="75"/>
                    <a:pt x="6" y="68"/>
                    <a:pt x="5" y="58"/>
                  </a:cubicBezTo>
                  <a:cubicBezTo>
                    <a:pt x="2" y="29"/>
                    <a:pt x="2" y="29"/>
                    <a:pt x="2" y="29"/>
                  </a:cubicBezTo>
                  <a:cubicBezTo>
                    <a:pt x="0" y="19"/>
                    <a:pt x="7" y="10"/>
                    <a:pt x="17" y="9"/>
                  </a:cubicBezTo>
                  <a:cubicBezTo>
                    <a:pt x="88" y="1"/>
                    <a:pt x="88" y="1"/>
                    <a:pt x="88" y="1"/>
                  </a:cubicBezTo>
                  <a:cubicBezTo>
                    <a:pt x="98" y="0"/>
                    <a:pt x="107" y="7"/>
                    <a:pt x="108" y="16"/>
                  </a:cubicBezTo>
                  <a:cubicBezTo>
                    <a:pt x="111" y="46"/>
                    <a:pt x="111" y="46"/>
                    <a:pt x="111" y="46"/>
                  </a:cubicBezTo>
                  <a:cubicBezTo>
                    <a:pt x="112" y="56"/>
                    <a:pt x="105" y="64"/>
                    <a:pt x="96"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49" name="Freeform 27">
              <a:extLst>
                <a:ext uri="{FF2B5EF4-FFF2-40B4-BE49-F238E27FC236}">
                  <a16:creationId xmlns:a16="http://schemas.microsoft.com/office/drawing/2014/main" id="{47D7A0A4-25D0-4C24-BE0A-90C54A0E2C88}"/>
                </a:ext>
              </a:extLst>
            </p:cNvPr>
            <p:cNvSpPr>
              <a:spLocks/>
            </p:cNvSpPr>
            <p:nvPr/>
          </p:nvSpPr>
          <p:spPr bwMode="auto">
            <a:xfrm>
              <a:off x="5241131" y="3563144"/>
              <a:ext cx="196850" cy="133350"/>
            </a:xfrm>
            <a:custGeom>
              <a:avLst/>
              <a:gdLst>
                <a:gd name="T0" fmla="*/ 95 w 112"/>
                <a:gd name="T1" fmla="*/ 66 h 75"/>
                <a:gd name="T2" fmla="*/ 24 w 112"/>
                <a:gd name="T3" fmla="*/ 74 h 75"/>
                <a:gd name="T4" fmla="*/ 4 w 112"/>
                <a:gd name="T5" fmla="*/ 59 h 75"/>
                <a:gd name="T6" fmla="*/ 1 w 112"/>
                <a:gd name="T7" fmla="*/ 29 h 75"/>
                <a:gd name="T8" fmla="*/ 17 w 112"/>
                <a:gd name="T9" fmla="*/ 10 h 75"/>
                <a:gd name="T10" fmla="*/ 87 w 112"/>
                <a:gd name="T11" fmla="*/ 1 h 75"/>
                <a:gd name="T12" fmla="*/ 107 w 112"/>
                <a:gd name="T13" fmla="*/ 17 h 75"/>
                <a:gd name="T14" fmla="*/ 110 w 112"/>
                <a:gd name="T15" fmla="*/ 47 h 75"/>
                <a:gd name="T16" fmla="*/ 95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5" y="66"/>
                  </a:moveTo>
                  <a:cubicBezTo>
                    <a:pt x="24" y="74"/>
                    <a:pt x="24" y="74"/>
                    <a:pt x="24" y="74"/>
                  </a:cubicBezTo>
                  <a:cubicBezTo>
                    <a:pt x="14" y="75"/>
                    <a:pt x="5" y="68"/>
                    <a:pt x="4" y="59"/>
                  </a:cubicBezTo>
                  <a:cubicBezTo>
                    <a:pt x="1" y="29"/>
                    <a:pt x="1" y="29"/>
                    <a:pt x="1" y="29"/>
                  </a:cubicBezTo>
                  <a:cubicBezTo>
                    <a:pt x="0" y="20"/>
                    <a:pt x="7" y="11"/>
                    <a:pt x="17" y="10"/>
                  </a:cubicBezTo>
                  <a:cubicBezTo>
                    <a:pt x="87" y="1"/>
                    <a:pt x="87" y="1"/>
                    <a:pt x="87" y="1"/>
                  </a:cubicBezTo>
                  <a:cubicBezTo>
                    <a:pt x="97" y="0"/>
                    <a:pt x="106" y="7"/>
                    <a:pt x="107" y="17"/>
                  </a:cubicBezTo>
                  <a:cubicBezTo>
                    <a:pt x="110" y="47"/>
                    <a:pt x="110" y="47"/>
                    <a:pt x="110" y="47"/>
                  </a:cubicBezTo>
                  <a:cubicBezTo>
                    <a:pt x="112" y="56"/>
                    <a:pt x="105" y="65"/>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50" name="Freeform 28">
              <a:extLst>
                <a:ext uri="{FF2B5EF4-FFF2-40B4-BE49-F238E27FC236}">
                  <a16:creationId xmlns:a16="http://schemas.microsoft.com/office/drawing/2014/main" id="{2B7B555B-AF6C-4643-86CD-5C85C8C903AA}"/>
                </a:ext>
              </a:extLst>
            </p:cNvPr>
            <p:cNvSpPr>
              <a:spLocks/>
            </p:cNvSpPr>
            <p:nvPr/>
          </p:nvSpPr>
          <p:spPr bwMode="auto">
            <a:xfrm>
              <a:off x="5865019" y="3144044"/>
              <a:ext cx="652463" cy="684213"/>
            </a:xfrm>
            <a:custGeom>
              <a:avLst/>
              <a:gdLst>
                <a:gd name="T0" fmla="*/ 363 w 370"/>
                <a:gd name="T1" fmla="*/ 265 h 388"/>
                <a:gd name="T2" fmla="*/ 355 w 370"/>
                <a:gd name="T3" fmla="*/ 256 h 388"/>
                <a:gd name="T4" fmla="*/ 355 w 370"/>
                <a:gd name="T5" fmla="*/ 256 h 388"/>
                <a:gd name="T6" fmla="*/ 148 w 370"/>
                <a:gd name="T7" fmla="*/ 21 h 388"/>
                <a:gd name="T8" fmla="*/ 137 w 370"/>
                <a:gd name="T9" fmla="*/ 9 h 388"/>
                <a:gd name="T10" fmla="*/ 110 w 370"/>
                <a:gd name="T11" fmla="*/ 7 h 388"/>
                <a:gd name="T12" fmla="*/ 12 w 370"/>
                <a:gd name="T13" fmla="*/ 93 h 388"/>
                <a:gd name="T14" fmla="*/ 12 w 370"/>
                <a:gd name="T15" fmla="*/ 93 h 388"/>
                <a:gd name="T16" fmla="*/ 10 w 370"/>
                <a:gd name="T17" fmla="*/ 95 h 388"/>
                <a:gd name="T18" fmla="*/ 8 w 370"/>
                <a:gd name="T19" fmla="*/ 125 h 388"/>
                <a:gd name="T20" fmla="*/ 18 w 370"/>
                <a:gd name="T21" fmla="*/ 136 h 388"/>
                <a:gd name="T22" fmla="*/ 18 w 370"/>
                <a:gd name="T23" fmla="*/ 136 h 388"/>
                <a:gd name="T24" fmla="*/ 224 w 370"/>
                <a:gd name="T25" fmla="*/ 371 h 388"/>
                <a:gd name="T26" fmla="*/ 224 w 370"/>
                <a:gd name="T27" fmla="*/ 371 h 388"/>
                <a:gd name="T28" fmla="*/ 231 w 370"/>
                <a:gd name="T29" fmla="*/ 379 h 388"/>
                <a:gd name="T30" fmla="*/ 261 w 370"/>
                <a:gd name="T31" fmla="*/ 380 h 388"/>
                <a:gd name="T32" fmla="*/ 263 w 370"/>
                <a:gd name="T33" fmla="*/ 379 h 388"/>
                <a:gd name="T34" fmla="*/ 263 w 370"/>
                <a:gd name="T35" fmla="*/ 379 h 388"/>
                <a:gd name="T36" fmla="*/ 361 w 370"/>
                <a:gd name="T37" fmla="*/ 292 h 388"/>
                <a:gd name="T38" fmla="*/ 363 w 370"/>
                <a:gd name="T39" fmla="*/ 265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70" h="388">
                  <a:moveTo>
                    <a:pt x="363" y="265"/>
                  </a:moveTo>
                  <a:cubicBezTo>
                    <a:pt x="355" y="256"/>
                    <a:pt x="355" y="256"/>
                    <a:pt x="355" y="256"/>
                  </a:cubicBezTo>
                  <a:cubicBezTo>
                    <a:pt x="355" y="256"/>
                    <a:pt x="355" y="256"/>
                    <a:pt x="355" y="256"/>
                  </a:cubicBezTo>
                  <a:cubicBezTo>
                    <a:pt x="148" y="21"/>
                    <a:pt x="148" y="21"/>
                    <a:pt x="148" y="21"/>
                  </a:cubicBezTo>
                  <a:cubicBezTo>
                    <a:pt x="137" y="9"/>
                    <a:pt x="137" y="9"/>
                    <a:pt x="137" y="9"/>
                  </a:cubicBezTo>
                  <a:cubicBezTo>
                    <a:pt x="130" y="1"/>
                    <a:pt x="118" y="0"/>
                    <a:pt x="110" y="7"/>
                  </a:cubicBezTo>
                  <a:cubicBezTo>
                    <a:pt x="12" y="93"/>
                    <a:pt x="12" y="93"/>
                    <a:pt x="12" y="93"/>
                  </a:cubicBezTo>
                  <a:cubicBezTo>
                    <a:pt x="12" y="93"/>
                    <a:pt x="12" y="93"/>
                    <a:pt x="12" y="93"/>
                  </a:cubicBezTo>
                  <a:cubicBezTo>
                    <a:pt x="10" y="95"/>
                    <a:pt x="10" y="95"/>
                    <a:pt x="10" y="95"/>
                  </a:cubicBezTo>
                  <a:cubicBezTo>
                    <a:pt x="1" y="103"/>
                    <a:pt x="0" y="116"/>
                    <a:pt x="8" y="125"/>
                  </a:cubicBezTo>
                  <a:cubicBezTo>
                    <a:pt x="18" y="136"/>
                    <a:pt x="18" y="136"/>
                    <a:pt x="18" y="136"/>
                  </a:cubicBezTo>
                  <a:cubicBezTo>
                    <a:pt x="18" y="136"/>
                    <a:pt x="18" y="136"/>
                    <a:pt x="18" y="136"/>
                  </a:cubicBezTo>
                  <a:cubicBezTo>
                    <a:pt x="224" y="371"/>
                    <a:pt x="224" y="371"/>
                    <a:pt x="224" y="371"/>
                  </a:cubicBezTo>
                  <a:cubicBezTo>
                    <a:pt x="224" y="371"/>
                    <a:pt x="224" y="371"/>
                    <a:pt x="224" y="371"/>
                  </a:cubicBezTo>
                  <a:cubicBezTo>
                    <a:pt x="231" y="379"/>
                    <a:pt x="231" y="379"/>
                    <a:pt x="231" y="379"/>
                  </a:cubicBezTo>
                  <a:cubicBezTo>
                    <a:pt x="239" y="387"/>
                    <a:pt x="252" y="388"/>
                    <a:pt x="261" y="380"/>
                  </a:cubicBezTo>
                  <a:cubicBezTo>
                    <a:pt x="263" y="379"/>
                    <a:pt x="263" y="379"/>
                    <a:pt x="263" y="379"/>
                  </a:cubicBezTo>
                  <a:cubicBezTo>
                    <a:pt x="263" y="379"/>
                    <a:pt x="263" y="379"/>
                    <a:pt x="263" y="379"/>
                  </a:cubicBezTo>
                  <a:cubicBezTo>
                    <a:pt x="361" y="292"/>
                    <a:pt x="361" y="292"/>
                    <a:pt x="361" y="292"/>
                  </a:cubicBezTo>
                  <a:cubicBezTo>
                    <a:pt x="369" y="285"/>
                    <a:pt x="370" y="273"/>
                    <a:pt x="363" y="265"/>
                  </a:cubicBezTo>
                  <a:close/>
                </a:path>
              </a:pathLst>
            </a:custGeom>
            <a:solidFill>
              <a:srgbClr val="424242">
                <a:alpha val="20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51" name="Freeform 29">
              <a:extLst>
                <a:ext uri="{FF2B5EF4-FFF2-40B4-BE49-F238E27FC236}">
                  <a16:creationId xmlns:a16="http://schemas.microsoft.com/office/drawing/2014/main" id="{B7E2F6E1-FD53-415D-A818-54C56265C04A}"/>
                </a:ext>
              </a:extLst>
            </p:cNvPr>
            <p:cNvSpPr>
              <a:spLocks/>
            </p:cNvSpPr>
            <p:nvPr/>
          </p:nvSpPr>
          <p:spPr bwMode="auto">
            <a:xfrm>
              <a:off x="5879306" y="3101181"/>
              <a:ext cx="650875" cy="684213"/>
            </a:xfrm>
            <a:custGeom>
              <a:avLst/>
              <a:gdLst>
                <a:gd name="T0" fmla="*/ 360 w 369"/>
                <a:gd name="T1" fmla="*/ 293 h 388"/>
                <a:gd name="T2" fmla="*/ 261 w 369"/>
                <a:gd name="T3" fmla="*/ 380 h 388"/>
                <a:gd name="T4" fmla="*/ 231 w 369"/>
                <a:gd name="T5" fmla="*/ 379 h 388"/>
                <a:gd name="T6" fmla="*/ 8 w 369"/>
                <a:gd name="T7" fmla="*/ 125 h 388"/>
                <a:gd name="T8" fmla="*/ 10 w 369"/>
                <a:gd name="T9" fmla="*/ 95 h 388"/>
                <a:gd name="T10" fmla="*/ 109 w 369"/>
                <a:gd name="T11" fmla="*/ 8 h 388"/>
                <a:gd name="T12" fmla="*/ 138 w 369"/>
                <a:gd name="T13" fmla="*/ 10 h 388"/>
                <a:gd name="T14" fmla="*/ 361 w 369"/>
                <a:gd name="T15" fmla="*/ 264 h 388"/>
                <a:gd name="T16" fmla="*/ 360 w 369"/>
                <a:gd name="T17" fmla="*/ 293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9" h="388">
                  <a:moveTo>
                    <a:pt x="360" y="293"/>
                  </a:moveTo>
                  <a:cubicBezTo>
                    <a:pt x="261" y="380"/>
                    <a:pt x="261" y="380"/>
                    <a:pt x="261" y="380"/>
                  </a:cubicBezTo>
                  <a:cubicBezTo>
                    <a:pt x="252" y="388"/>
                    <a:pt x="239" y="387"/>
                    <a:pt x="231" y="379"/>
                  </a:cubicBezTo>
                  <a:cubicBezTo>
                    <a:pt x="8" y="125"/>
                    <a:pt x="8" y="125"/>
                    <a:pt x="8" y="125"/>
                  </a:cubicBezTo>
                  <a:cubicBezTo>
                    <a:pt x="0" y="116"/>
                    <a:pt x="1" y="103"/>
                    <a:pt x="10" y="95"/>
                  </a:cubicBezTo>
                  <a:cubicBezTo>
                    <a:pt x="109" y="8"/>
                    <a:pt x="109" y="8"/>
                    <a:pt x="109" y="8"/>
                  </a:cubicBezTo>
                  <a:cubicBezTo>
                    <a:pt x="117" y="0"/>
                    <a:pt x="131" y="1"/>
                    <a:pt x="138" y="10"/>
                  </a:cubicBezTo>
                  <a:cubicBezTo>
                    <a:pt x="361" y="264"/>
                    <a:pt x="361" y="264"/>
                    <a:pt x="361" y="264"/>
                  </a:cubicBezTo>
                  <a:cubicBezTo>
                    <a:pt x="369" y="272"/>
                    <a:pt x="368" y="286"/>
                    <a:pt x="360" y="293"/>
                  </a:cubicBezTo>
                  <a:close/>
                </a:path>
              </a:pathLst>
            </a:custGeom>
            <a:solidFill>
              <a:srgbClr val="376790"/>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52" name="Freeform 30">
              <a:extLst>
                <a:ext uri="{FF2B5EF4-FFF2-40B4-BE49-F238E27FC236}">
                  <a16:creationId xmlns:a16="http://schemas.microsoft.com/office/drawing/2014/main" id="{5D71CB71-3825-497F-AB26-8782BED9031A}"/>
                </a:ext>
              </a:extLst>
            </p:cNvPr>
            <p:cNvSpPr>
              <a:spLocks/>
            </p:cNvSpPr>
            <p:nvPr/>
          </p:nvSpPr>
          <p:spPr bwMode="auto">
            <a:xfrm>
              <a:off x="5911056" y="3139281"/>
              <a:ext cx="593725" cy="615950"/>
            </a:xfrm>
            <a:custGeom>
              <a:avLst/>
              <a:gdLst>
                <a:gd name="T0" fmla="*/ 374 w 374"/>
                <a:gd name="T1" fmla="*/ 261 h 388"/>
                <a:gd name="T2" fmla="*/ 229 w 374"/>
                <a:gd name="T3" fmla="*/ 388 h 388"/>
                <a:gd name="T4" fmla="*/ 0 w 374"/>
                <a:gd name="T5" fmla="*/ 127 h 388"/>
                <a:gd name="T6" fmla="*/ 144 w 374"/>
                <a:gd name="T7" fmla="*/ 0 h 388"/>
                <a:gd name="T8" fmla="*/ 374 w 374"/>
                <a:gd name="T9" fmla="*/ 261 h 388"/>
              </a:gdLst>
              <a:ahLst/>
              <a:cxnLst>
                <a:cxn ang="0">
                  <a:pos x="T0" y="T1"/>
                </a:cxn>
                <a:cxn ang="0">
                  <a:pos x="T2" y="T3"/>
                </a:cxn>
                <a:cxn ang="0">
                  <a:pos x="T4" y="T5"/>
                </a:cxn>
                <a:cxn ang="0">
                  <a:pos x="T6" y="T7"/>
                </a:cxn>
                <a:cxn ang="0">
                  <a:pos x="T8" y="T9"/>
                </a:cxn>
              </a:cxnLst>
              <a:rect l="0" t="0" r="r" b="b"/>
              <a:pathLst>
                <a:path w="374" h="388">
                  <a:moveTo>
                    <a:pt x="374" y="261"/>
                  </a:moveTo>
                  <a:lnTo>
                    <a:pt x="229" y="388"/>
                  </a:lnTo>
                  <a:lnTo>
                    <a:pt x="0" y="127"/>
                  </a:lnTo>
                  <a:lnTo>
                    <a:pt x="144" y="0"/>
                  </a:lnTo>
                  <a:lnTo>
                    <a:pt x="374" y="261"/>
                  </a:lnTo>
                  <a:close/>
                </a:path>
              </a:pathLst>
            </a:custGeom>
            <a:solidFill>
              <a:srgbClr val="353B61"/>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53" name="Freeform 31">
              <a:extLst>
                <a:ext uri="{FF2B5EF4-FFF2-40B4-BE49-F238E27FC236}">
                  <a16:creationId xmlns:a16="http://schemas.microsoft.com/office/drawing/2014/main" id="{FEEB0F9D-EA0F-480D-98F8-522C59F9F8C1}"/>
                </a:ext>
              </a:extLst>
            </p:cNvPr>
            <p:cNvSpPr>
              <a:spLocks/>
            </p:cNvSpPr>
            <p:nvPr/>
          </p:nvSpPr>
          <p:spPr bwMode="auto">
            <a:xfrm>
              <a:off x="5911056" y="3139281"/>
              <a:ext cx="495300" cy="504825"/>
            </a:xfrm>
            <a:custGeom>
              <a:avLst/>
              <a:gdLst>
                <a:gd name="T0" fmla="*/ 312 w 312"/>
                <a:gd name="T1" fmla="*/ 191 h 318"/>
                <a:gd name="T2" fmla="*/ 168 w 312"/>
                <a:gd name="T3" fmla="*/ 318 h 318"/>
                <a:gd name="T4" fmla="*/ 0 w 312"/>
                <a:gd name="T5" fmla="*/ 127 h 318"/>
                <a:gd name="T6" fmla="*/ 144 w 312"/>
                <a:gd name="T7" fmla="*/ 0 h 318"/>
                <a:gd name="T8" fmla="*/ 312 w 312"/>
                <a:gd name="T9" fmla="*/ 191 h 318"/>
              </a:gdLst>
              <a:ahLst/>
              <a:cxnLst>
                <a:cxn ang="0">
                  <a:pos x="T0" y="T1"/>
                </a:cxn>
                <a:cxn ang="0">
                  <a:pos x="T2" y="T3"/>
                </a:cxn>
                <a:cxn ang="0">
                  <a:pos x="T4" y="T5"/>
                </a:cxn>
                <a:cxn ang="0">
                  <a:pos x="T6" y="T7"/>
                </a:cxn>
                <a:cxn ang="0">
                  <a:pos x="T8" y="T9"/>
                </a:cxn>
              </a:cxnLst>
              <a:rect l="0" t="0" r="r" b="b"/>
              <a:pathLst>
                <a:path w="312" h="318">
                  <a:moveTo>
                    <a:pt x="312" y="191"/>
                  </a:moveTo>
                  <a:lnTo>
                    <a:pt x="168" y="318"/>
                  </a:lnTo>
                  <a:lnTo>
                    <a:pt x="0" y="127"/>
                  </a:lnTo>
                  <a:lnTo>
                    <a:pt x="144" y="0"/>
                  </a:lnTo>
                  <a:lnTo>
                    <a:pt x="312" y="191"/>
                  </a:lnTo>
                  <a:close/>
                </a:path>
              </a:pathLst>
            </a:custGeom>
            <a:solidFill>
              <a:srgbClr val="92406C"/>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54" name="Freeform 32">
              <a:extLst>
                <a:ext uri="{FF2B5EF4-FFF2-40B4-BE49-F238E27FC236}">
                  <a16:creationId xmlns:a16="http://schemas.microsoft.com/office/drawing/2014/main" id="{6EB897AF-0BCA-4DAF-934D-44A4930A79A8}"/>
                </a:ext>
              </a:extLst>
            </p:cNvPr>
            <p:cNvSpPr>
              <a:spLocks/>
            </p:cNvSpPr>
            <p:nvPr/>
          </p:nvSpPr>
          <p:spPr bwMode="auto">
            <a:xfrm>
              <a:off x="5899944" y="3101181"/>
              <a:ext cx="631825" cy="668338"/>
            </a:xfrm>
            <a:custGeom>
              <a:avLst/>
              <a:gdLst>
                <a:gd name="T0" fmla="*/ 349 w 358"/>
                <a:gd name="T1" fmla="*/ 292 h 379"/>
                <a:gd name="T2" fmla="*/ 251 w 358"/>
                <a:gd name="T3" fmla="*/ 379 h 379"/>
                <a:gd name="T4" fmla="*/ 0 w 358"/>
                <a:gd name="T5" fmla="*/ 93 h 379"/>
                <a:gd name="T6" fmla="*/ 98 w 358"/>
                <a:gd name="T7" fmla="*/ 7 h 379"/>
                <a:gd name="T8" fmla="*/ 125 w 358"/>
                <a:gd name="T9" fmla="*/ 9 h 379"/>
                <a:gd name="T10" fmla="*/ 351 w 358"/>
                <a:gd name="T11" fmla="*/ 265 h 379"/>
                <a:gd name="T12" fmla="*/ 349 w 358"/>
                <a:gd name="T13" fmla="*/ 292 h 379"/>
              </a:gdLst>
              <a:ahLst/>
              <a:cxnLst>
                <a:cxn ang="0">
                  <a:pos x="T0" y="T1"/>
                </a:cxn>
                <a:cxn ang="0">
                  <a:pos x="T2" y="T3"/>
                </a:cxn>
                <a:cxn ang="0">
                  <a:pos x="T4" y="T5"/>
                </a:cxn>
                <a:cxn ang="0">
                  <a:pos x="T6" y="T7"/>
                </a:cxn>
                <a:cxn ang="0">
                  <a:pos x="T8" y="T9"/>
                </a:cxn>
                <a:cxn ang="0">
                  <a:pos x="T10" y="T11"/>
                </a:cxn>
                <a:cxn ang="0">
                  <a:pos x="T12" y="T13"/>
                </a:cxn>
              </a:cxnLst>
              <a:rect l="0" t="0" r="r" b="b"/>
              <a:pathLst>
                <a:path w="358" h="379">
                  <a:moveTo>
                    <a:pt x="349" y="292"/>
                  </a:moveTo>
                  <a:cubicBezTo>
                    <a:pt x="251" y="379"/>
                    <a:pt x="251" y="379"/>
                    <a:pt x="251" y="379"/>
                  </a:cubicBezTo>
                  <a:cubicBezTo>
                    <a:pt x="0" y="93"/>
                    <a:pt x="0" y="93"/>
                    <a:pt x="0" y="93"/>
                  </a:cubicBezTo>
                  <a:cubicBezTo>
                    <a:pt x="98" y="7"/>
                    <a:pt x="98" y="7"/>
                    <a:pt x="98" y="7"/>
                  </a:cubicBezTo>
                  <a:cubicBezTo>
                    <a:pt x="106" y="0"/>
                    <a:pt x="118" y="1"/>
                    <a:pt x="125" y="9"/>
                  </a:cubicBezTo>
                  <a:cubicBezTo>
                    <a:pt x="351" y="265"/>
                    <a:pt x="351" y="265"/>
                    <a:pt x="351" y="265"/>
                  </a:cubicBezTo>
                  <a:cubicBezTo>
                    <a:pt x="358" y="273"/>
                    <a:pt x="357" y="285"/>
                    <a:pt x="349" y="292"/>
                  </a:cubicBezTo>
                  <a:close/>
                </a:path>
              </a:pathLst>
            </a:custGeom>
            <a:noFill/>
            <a:ln w="6350" cap="flat">
              <a:solidFill>
                <a:srgbClr val="1E1D1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155" name="Freeform 33">
              <a:extLst>
                <a:ext uri="{FF2B5EF4-FFF2-40B4-BE49-F238E27FC236}">
                  <a16:creationId xmlns:a16="http://schemas.microsoft.com/office/drawing/2014/main" id="{D38452C9-FB85-4882-A589-FBFE5F5CF974}"/>
                </a:ext>
              </a:extLst>
            </p:cNvPr>
            <p:cNvSpPr>
              <a:spLocks/>
            </p:cNvSpPr>
            <p:nvPr/>
          </p:nvSpPr>
          <p:spPr bwMode="auto">
            <a:xfrm>
              <a:off x="5899944" y="3101181"/>
              <a:ext cx="239713" cy="212725"/>
            </a:xfrm>
            <a:custGeom>
              <a:avLst/>
              <a:gdLst>
                <a:gd name="T0" fmla="*/ 136 w 136"/>
                <a:gd name="T1" fmla="*/ 21 h 120"/>
                <a:gd name="T2" fmla="*/ 24 w 136"/>
                <a:gd name="T3" fmla="*/ 120 h 120"/>
                <a:gd name="T4" fmla="*/ 0 w 136"/>
                <a:gd name="T5" fmla="*/ 93 h 120"/>
                <a:gd name="T6" fmla="*/ 98 w 136"/>
                <a:gd name="T7" fmla="*/ 7 h 120"/>
                <a:gd name="T8" fmla="*/ 125 w 136"/>
                <a:gd name="T9" fmla="*/ 9 h 120"/>
                <a:gd name="T10" fmla="*/ 136 w 136"/>
                <a:gd name="T11" fmla="*/ 21 h 120"/>
              </a:gdLst>
              <a:ahLst/>
              <a:cxnLst>
                <a:cxn ang="0">
                  <a:pos x="T0" y="T1"/>
                </a:cxn>
                <a:cxn ang="0">
                  <a:pos x="T2" y="T3"/>
                </a:cxn>
                <a:cxn ang="0">
                  <a:pos x="T4" y="T5"/>
                </a:cxn>
                <a:cxn ang="0">
                  <a:pos x="T6" y="T7"/>
                </a:cxn>
                <a:cxn ang="0">
                  <a:pos x="T8" y="T9"/>
                </a:cxn>
                <a:cxn ang="0">
                  <a:pos x="T10" y="T11"/>
                </a:cxn>
              </a:cxnLst>
              <a:rect l="0" t="0" r="r" b="b"/>
              <a:pathLst>
                <a:path w="136" h="120">
                  <a:moveTo>
                    <a:pt x="136" y="21"/>
                  </a:moveTo>
                  <a:cubicBezTo>
                    <a:pt x="24" y="120"/>
                    <a:pt x="24" y="120"/>
                    <a:pt x="24" y="120"/>
                  </a:cubicBezTo>
                  <a:cubicBezTo>
                    <a:pt x="0" y="93"/>
                    <a:pt x="0" y="93"/>
                    <a:pt x="0" y="93"/>
                  </a:cubicBezTo>
                  <a:cubicBezTo>
                    <a:pt x="98" y="7"/>
                    <a:pt x="98" y="7"/>
                    <a:pt x="98" y="7"/>
                  </a:cubicBezTo>
                  <a:cubicBezTo>
                    <a:pt x="106" y="0"/>
                    <a:pt x="118" y="1"/>
                    <a:pt x="125" y="9"/>
                  </a:cubicBezTo>
                  <a:lnTo>
                    <a:pt x="136" y="21"/>
                  </a:lnTo>
                  <a:close/>
                </a:path>
              </a:pathLst>
            </a:custGeom>
            <a:solidFill>
              <a:srgbClr val="D0598C"/>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56" name="Freeform 34">
              <a:extLst>
                <a:ext uri="{FF2B5EF4-FFF2-40B4-BE49-F238E27FC236}">
                  <a16:creationId xmlns:a16="http://schemas.microsoft.com/office/drawing/2014/main" id="{FCB983BE-46AB-4479-90B0-F7BC8E249815}"/>
                </a:ext>
              </a:extLst>
            </p:cNvPr>
            <p:cNvSpPr>
              <a:spLocks/>
            </p:cNvSpPr>
            <p:nvPr/>
          </p:nvSpPr>
          <p:spPr bwMode="auto">
            <a:xfrm>
              <a:off x="5942806" y="3139281"/>
              <a:ext cx="463550" cy="477838"/>
            </a:xfrm>
            <a:custGeom>
              <a:avLst/>
              <a:gdLst>
                <a:gd name="T0" fmla="*/ 124 w 292"/>
                <a:gd name="T1" fmla="*/ 0 h 301"/>
                <a:gd name="T2" fmla="*/ 0 w 292"/>
                <a:gd name="T3" fmla="*/ 110 h 301"/>
                <a:gd name="T4" fmla="*/ 168 w 292"/>
                <a:gd name="T5" fmla="*/ 301 h 301"/>
                <a:gd name="T6" fmla="*/ 292 w 292"/>
                <a:gd name="T7" fmla="*/ 191 h 301"/>
                <a:gd name="T8" fmla="*/ 124 w 292"/>
                <a:gd name="T9" fmla="*/ 0 h 301"/>
              </a:gdLst>
              <a:ahLst/>
              <a:cxnLst>
                <a:cxn ang="0">
                  <a:pos x="T0" y="T1"/>
                </a:cxn>
                <a:cxn ang="0">
                  <a:pos x="T2" y="T3"/>
                </a:cxn>
                <a:cxn ang="0">
                  <a:pos x="T4" y="T5"/>
                </a:cxn>
                <a:cxn ang="0">
                  <a:pos x="T6" y="T7"/>
                </a:cxn>
                <a:cxn ang="0">
                  <a:pos x="T8" y="T9"/>
                </a:cxn>
              </a:cxnLst>
              <a:rect l="0" t="0" r="r" b="b"/>
              <a:pathLst>
                <a:path w="292" h="301">
                  <a:moveTo>
                    <a:pt x="124" y="0"/>
                  </a:moveTo>
                  <a:lnTo>
                    <a:pt x="0" y="110"/>
                  </a:lnTo>
                  <a:lnTo>
                    <a:pt x="168" y="301"/>
                  </a:lnTo>
                  <a:lnTo>
                    <a:pt x="292" y="191"/>
                  </a:lnTo>
                  <a:lnTo>
                    <a:pt x="124" y="0"/>
                  </a:lnTo>
                  <a:close/>
                </a:path>
              </a:pathLst>
            </a:custGeom>
            <a:solidFill>
              <a:srgbClr val="D86D91"/>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57" name="Freeform 35">
              <a:extLst>
                <a:ext uri="{FF2B5EF4-FFF2-40B4-BE49-F238E27FC236}">
                  <a16:creationId xmlns:a16="http://schemas.microsoft.com/office/drawing/2014/main" id="{A0175249-EE24-469E-87DC-8FC803FDAA25}"/>
                </a:ext>
              </a:extLst>
            </p:cNvPr>
            <p:cNvSpPr>
              <a:spLocks/>
            </p:cNvSpPr>
            <p:nvPr/>
          </p:nvSpPr>
          <p:spPr bwMode="auto">
            <a:xfrm>
              <a:off x="6209506" y="3442494"/>
              <a:ext cx="295275" cy="285750"/>
            </a:xfrm>
            <a:custGeom>
              <a:avLst/>
              <a:gdLst>
                <a:gd name="T0" fmla="*/ 186 w 186"/>
                <a:gd name="T1" fmla="*/ 70 h 180"/>
                <a:gd name="T2" fmla="*/ 61 w 186"/>
                <a:gd name="T3" fmla="*/ 180 h 180"/>
                <a:gd name="T4" fmla="*/ 0 w 186"/>
                <a:gd name="T5" fmla="*/ 110 h 180"/>
                <a:gd name="T6" fmla="*/ 124 w 186"/>
                <a:gd name="T7" fmla="*/ 0 h 180"/>
                <a:gd name="T8" fmla="*/ 186 w 186"/>
                <a:gd name="T9" fmla="*/ 70 h 180"/>
              </a:gdLst>
              <a:ahLst/>
              <a:cxnLst>
                <a:cxn ang="0">
                  <a:pos x="T0" y="T1"/>
                </a:cxn>
                <a:cxn ang="0">
                  <a:pos x="T2" y="T3"/>
                </a:cxn>
                <a:cxn ang="0">
                  <a:pos x="T4" y="T5"/>
                </a:cxn>
                <a:cxn ang="0">
                  <a:pos x="T6" y="T7"/>
                </a:cxn>
                <a:cxn ang="0">
                  <a:pos x="T8" y="T9"/>
                </a:cxn>
              </a:cxnLst>
              <a:rect l="0" t="0" r="r" b="b"/>
              <a:pathLst>
                <a:path w="186" h="180">
                  <a:moveTo>
                    <a:pt x="186" y="70"/>
                  </a:moveTo>
                  <a:lnTo>
                    <a:pt x="61" y="180"/>
                  </a:lnTo>
                  <a:lnTo>
                    <a:pt x="0" y="110"/>
                  </a:lnTo>
                  <a:lnTo>
                    <a:pt x="124" y="0"/>
                  </a:lnTo>
                  <a:lnTo>
                    <a:pt x="186" y="70"/>
                  </a:lnTo>
                  <a:close/>
                </a:path>
              </a:pathLst>
            </a:custGeom>
            <a:solidFill>
              <a:srgbClr val="437BBF"/>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58" name="Freeform 36">
              <a:extLst>
                <a:ext uri="{FF2B5EF4-FFF2-40B4-BE49-F238E27FC236}">
                  <a16:creationId xmlns:a16="http://schemas.microsoft.com/office/drawing/2014/main" id="{25155317-2FBB-41EE-BC02-7650BB8A9D1D}"/>
                </a:ext>
              </a:extLst>
            </p:cNvPr>
            <p:cNvSpPr>
              <a:spLocks noEditPoints="1"/>
            </p:cNvSpPr>
            <p:nvPr/>
          </p:nvSpPr>
          <p:spPr bwMode="auto">
            <a:xfrm>
              <a:off x="4239419" y="4534694"/>
              <a:ext cx="3562350" cy="585788"/>
            </a:xfrm>
            <a:custGeom>
              <a:avLst/>
              <a:gdLst>
                <a:gd name="T0" fmla="*/ 1970 w 2020"/>
                <a:gd name="T1" fmla="*/ 0 h 332"/>
                <a:gd name="T2" fmla="*/ 0 w 2020"/>
                <a:gd name="T3" fmla="*/ 0 h 332"/>
                <a:gd name="T4" fmla="*/ 0 w 2020"/>
                <a:gd name="T5" fmla="*/ 332 h 332"/>
                <a:gd name="T6" fmla="*/ 1970 w 2020"/>
                <a:gd name="T7" fmla="*/ 332 h 332"/>
                <a:gd name="T8" fmla="*/ 2020 w 2020"/>
                <a:gd name="T9" fmla="*/ 166 h 332"/>
                <a:gd name="T10" fmla="*/ 1970 w 2020"/>
                <a:gd name="T11" fmla="*/ 0 h 332"/>
                <a:gd name="T12" fmla="*/ 1879 w 2020"/>
                <a:gd name="T13" fmla="*/ 226 h 332"/>
                <a:gd name="T14" fmla="*/ 1819 w 2020"/>
                <a:gd name="T15" fmla="*/ 166 h 332"/>
                <a:gd name="T16" fmla="*/ 1879 w 2020"/>
                <a:gd name="T17" fmla="*/ 106 h 332"/>
                <a:gd name="T18" fmla="*/ 1939 w 2020"/>
                <a:gd name="T19" fmla="*/ 166 h 332"/>
                <a:gd name="T20" fmla="*/ 1879 w 2020"/>
                <a:gd name="T21" fmla="*/ 226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20" h="332">
                  <a:moveTo>
                    <a:pt x="1970" y="0"/>
                  </a:moveTo>
                  <a:cubicBezTo>
                    <a:pt x="0" y="0"/>
                    <a:pt x="0" y="0"/>
                    <a:pt x="0" y="0"/>
                  </a:cubicBezTo>
                  <a:cubicBezTo>
                    <a:pt x="0" y="332"/>
                    <a:pt x="0" y="332"/>
                    <a:pt x="0" y="332"/>
                  </a:cubicBezTo>
                  <a:cubicBezTo>
                    <a:pt x="1970" y="332"/>
                    <a:pt x="1970" y="332"/>
                    <a:pt x="1970" y="332"/>
                  </a:cubicBezTo>
                  <a:cubicBezTo>
                    <a:pt x="1997" y="332"/>
                    <a:pt x="2020" y="258"/>
                    <a:pt x="2020" y="166"/>
                  </a:cubicBezTo>
                  <a:cubicBezTo>
                    <a:pt x="2020" y="75"/>
                    <a:pt x="1997" y="0"/>
                    <a:pt x="1970" y="0"/>
                  </a:cubicBezTo>
                  <a:close/>
                  <a:moveTo>
                    <a:pt x="1879" y="226"/>
                  </a:moveTo>
                  <a:cubicBezTo>
                    <a:pt x="1846" y="226"/>
                    <a:pt x="1819" y="199"/>
                    <a:pt x="1819" y="166"/>
                  </a:cubicBezTo>
                  <a:cubicBezTo>
                    <a:pt x="1819" y="133"/>
                    <a:pt x="1846" y="106"/>
                    <a:pt x="1879" y="106"/>
                  </a:cubicBezTo>
                  <a:cubicBezTo>
                    <a:pt x="1912" y="106"/>
                    <a:pt x="1939" y="133"/>
                    <a:pt x="1939" y="166"/>
                  </a:cubicBezTo>
                  <a:cubicBezTo>
                    <a:pt x="1939" y="199"/>
                    <a:pt x="1912" y="226"/>
                    <a:pt x="1879" y="226"/>
                  </a:cubicBezTo>
                  <a:close/>
                </a:path>
              </a:pathLst>
            </a:custGeom>
            <a:solidFill>
              <a:srgbClr val="424242">
                <a:alpha val="20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59" name="Freeform 37">
              <a:extLst>
                <a:ext uri="{FF2B5EF4-FFF2-40B4-BE49-F238E27FC236}">
                  <a16:creationId xmlns:a16="http://schemas.microsoft.com/office/drawing/2014/main" id="{E465FC26-18BE-432B-A8A6-157C76D4C7D7}"/>
                </a:ext>
              </a:extLst>
            </p:cNvPr>
            <p:cNvSpPr>
              <a:spLocks noEditPoints="1"/>
            </p:cNvSpPr>
            <p:nvPr/>
          </p:nvSpPr>
          <p:spPr bwMode="auto">
            <a:xfrm>
              <a:off x="4274344" y="4479131"/>
              <a:ext cx="3562350" cy="585788"/>
            </a:xfrm>
            <a:custGeom>
              <a:avLst/>
              <a:gdLst>
                <a:gd name="T0" fmla="*/ 1970 w 2020"/>
                <a:gd name="T1" fmla="*/ 0 h 332"/>
                <a:gd name="T2" fmla="*/ 0 w 2020"/>
                <a:gd name="T3" fmla="*/ 0 h 332"/>
                <a:gd name="T4" fmla="*/ 0 w 2020"/>
                <a:gd name="T5" fmla="*/ 332 h 332"/>
                <a:gd name="T6" fmla="*/ 1970 w 2020"/>
                <a:gd name="T7" fmla="*/ 332 h 332"/>
                <a:gd name="T8" fmla="*/ 2020 w 2020"/>
                <a:gd name="T9" fmla="*/ 166 h 332"/>
                <a:gd name="T10" fmla="*/ 1970 w 2020"/>
                <a:gd name="T11" fmla="*/ 0 h 332"/>
                <a:gd name="T12" fmla="*/ 1879 w 2020"/>
                <a:gd name="T13" fmla="*/ 226 h 332"/>
                <a:gd name="T14" fmla="*/ 1819 w 2020"/>
                <a:gd name="T15" fmla="*/ 166 h 332"/>
                <a:gd name="T16" fmla="*/ 1879 w 2020"/>
                <a:gd name="T17" fmla="*/ 106 h 332"/>
                <a:gd name="T18" fmla="*/ 1939 w 2020"/>
                <a:gd name="T19" fmla="*/ 166 h 332"/>
                <a:gd name="T20" fmla="*/ 1879 w 2020"/>
                <a:gd name="T21" fmla="*/ 226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20" h="332">
                  <a:moveTo>
                    <a:pt x="1970" y="0"/>
                  </a:moveTo>
                  <a:cubicBezTo>
                    <a:pt x="0" y="0"/>
                    <a:pt x="0" y="0"/>
                    <a:pt x="0" y="0"/>
                  </a:cubicBezTo>
                  <a:cubicBezTo>
                    <a:pt x="0" y="332"/>
                    <a:pt x="0" y="332"/>
                    <a:pt x="0" y="332"/>
                  </a:cubicBezTo>
                  <a:cubicBezTo>
                    <a:pt x="1970" y="332"/>
                    <a:pt x="1970" y="332"/>
                    <a:pt x="1970" y="332"/>
                  </a:cubicBezTo>
                  <a:cubicBezTo>
                    <a:pt x="1997" y="332"/>
                    <a:pt x="2020" y="258"/>
                    <a:pt x="2020" y="166"/>
                  </a:cubicBezTo>
                  <a:cubicBezTo>
                    <a:pt x="2020" y="75"/>
                    <a:pt x="1997" y="0"/>
                    <a:pt x="1970" y="0"/>
                  </a:cubicBezTo>
                  <a:close/>
                  <a:moveTo>
                    <a:pt x="1879" y="226"/>
                  </a:moveTo>
                  <a:cubicBezTo>
                    <a:pt x="1846" y="226"/>
                    <a:pt x="1819" y="199"/>
                    <a:pt x="1819" y="166"/>
                  </a:cubicBezTo>
                  <a:cubicBezTo>
                    <a:pt x="1819" y="133"/>
                    <a:pt x="1846" y="106"/>
                    <a:pt x="1879" y="106"/>
                  </a:cubicBezTo>
                  <a:cubicBezTo>
                    <a:pt x="1912" y="106"/>
                    <a:pt x="1939" y="133"/>
                    <a:pt x="1939" y="166"/>
                  </a:cubicBezTo>
                  <a:cubicBezTo>
                    <a:pt x="1939" y="199"/>
                    <a:pt x="1912" y="226"/>
                    <a:pt x="1879" y="226"/>
                  </a:cubicBezTo>
                  <a:close/>
                </a:path>
              </a:pathLst>
            </a:custGeom>
            <a:solidFill>
              <a:srgbClr val="00B3E7"/>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60" name="Freeform 38">
              <a:extLst>
                <a:ext uri="{FF2B5EF4-FFF2-40B4-BE49-F238E27FC236}">
                  <a16:creationId xmlns:a16="http://schemas.microsoft.com/office/drawing/2014/main" id="{BA7E7289-13AB-456D-924C-0FFDC23C701D}"/>
                </a:ext>
              </a:extLst>
            </p:cNvPr>
            <p:cNvSpPr>
              <a:spLocks/>
            </p:cNvSpPr>
            <p:nvPr/>
          </p:nvSpPr>
          <p:spPr bwMode="auto">
            <a:xfrm>
              <a:off x="4274344" y="4771231"/>
              <a:ext cx="3562350" cy="293688"/>
            </a:xfrm>
            <a:custGeom>
              <a:avLst/>
              <a:gdLst>
                <a:gd name="T0" fmla="*/ 1939 w 2020"/>
                <a:gd name="T1" fmla="*/ 0 h 166"/>
                <a:gd name="T2" fmla="*/ 1879 w 2020"/>
                <a:gd name="T3" fmla="*/ 60 h 166"/>
                <a:gd name="T4" fmla="*/ 1819 w 2020"/>
                <a:gd name="T5" fmla="*/ 0 h 166"/>
                <a:gd name="T6" fmla="*/ 0 w 2020"/>
                <a:gd name="T7" fmla="*/ 0 h 166"/>
                <a:gd name="T8" fmla="*/ 0 w 2020"/>
                <a:gd name="T9" fmla="*/ 166 h 166"/>
                <a:gd name="T10" fmla="*/ 1970 w 2020"/>
                <a:gd name="T11" fmla="*/ 166 h 166"/>
                <a:gd name="T12" fmla="*/ 2020 w 2020"/>
                <a:gd name="T13" fmla="*/ 0 h 166"/>
                <a:gd name="T14" fmla="*/ 1939 w 2020"/>
                <a:gd name="T15" fmla="*/ 0 h 1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20" h="166">
                  <a:moveTo>
                    <a:pt x="1939" y="0"/>
                  </a:moveTo>
                  <a:cubicBezTo>
                    <a:pt x="1939" y="33"/>
                    <a:pt x="1912" y="60"/>
                    <a:pt x="1879" y="60"/>
                  </a:cubicBezTo>
                  <a:cubicBezTo>
                    <a:pt x="1846" y="60"/>
                    <a:pt x="1819" y="33"/>
                    <a:pt x="1819" y="0"/>
                  </a:cubicBezTo>
                  <a:cubicBezTo>
                    <a:pt x="0" y="0"/>
                    <a:pt x="0" y="0"/>
                    <a:pt x="0" y="0"/>
                  </a:cubicBezTo>
                  <a:cubicBezTo>
                    <a:pt x="0" y="166"/>
                    <a:pt x="0" y="166"/>
                    <a:pt x="0" y="166"/>
                  </a:cubicBezTo>
                  <a:cubicBezTo>
                    <a:pt x="1970" y="166"/>
                    <a:pt x="1970" y="166"/>
                    <a:pt x="1970" y="166"/>
                  </a:cubicBezTo>
                  <a:cubicBezTo>
                    <a:pt x="1997" y="166"/>
                    <a:pt x="2020" y="92"/>
                    <a:pt x="2020" y="0"/>
                  </a:cubicBezTo>
                  <a:lnTo>
                    <a:pt x="1939" y="0"/>
                  </a:lnTo>
                  <a:close/>
                </a:path>
              </a:pathLst>
            </a:custGeom>
            <a:solidFill>
              <a:srgbClr val="316296"/>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61" name="Freeform 39">
              <a:extLst>
                <a:ext uri="{FF2B5EF4-FFF2-40B4-BE49-F238E27FC236}">
                  <a16:creationId xmlns:a16="http://schemas.microsoft.com/office/drawing/2014/main" id="{B868C8DB-8C92-4431-9063-13AB3EABB8C7}"/>
                </a:ext>
              </a:extLst>
            </p:cNvPr>
            <p:cNvSpPr>
              <a:spLocks/>
            </p:cNvSpPr>
            <p:nvPr/>
          </p:nvSpPr>
          <p:spPr bwMode="auto">
            <a:xfrm>
              <a:off x="4506119" y="4152106"/>
              <a:ext cx="1322388" cy="1589088"/>
            </a:xfrm>
            <a:custGeom>
              <a:avLst/>
              <a:gdLst>
                <a:gd name="T0" fmla="*/ 141 w 750"/>
                <a:gd name="T1" fmla="*/ 87 h 901"/>
                <a:gd name="T2" fmla="*/ 35 w 750"/>
                <a:gd name="T3" fmla="*/ 20 h 901"/>
                <a:gd name="T4" fmla="*/ 35 w 750"/>
                <a:gd name="T5" fmla="*/ 20 h 901"/>
                <a:gd name="T6" fmla="*/ 6 w 750"/>
                <a:gd name="T7" fmla="*/ 1 h 901"/>
                <a:gd name="T8" fmla="*/ 2 w 750"/>
                <a:gd name="T9" fmla="*/ 5 h 901"/>
                <a:gd name="T10" fmla="*/ 62 w 750"/>
                <a:gd name="T11" fmla="*/ 151 h 901"/>
                <a:gd name="T12" fmla="*/ 671 w 750"/>
                <a:gd name="T13" fmla="*/ 901 h 901"/>
                <a:gd name="T14" fmla="*/ 750 w 750"/>
                <a:gd name="T15" fmla="*/ 837 h 901"/>
                <a:gd name="T16" fmla="*/ 141 w 750"/>
                <a:gd name="T17" fmla="*/ 87 h 9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0" h="901">
                  <a:moveTo>
                    <a:pt x="141" y="87"/>
                  </a:moveTo>
                  <a:cubicBezTo>
                    <a:pt x="35" y="20"/>
                    <a:pt x="35" y="20"/>
                    <a:pt x="35" y="20"/>
                  </a:cubicBezTo>
                  <a:cubicBezTo>
                    <a:pt x="35" y="20"/>
                    <a:pt x="35" y="20"/>
                    <a:pt x="35" y="20"/>
                  </a:cubicBezTo>
                  <a:cubicBezTo>
                    <a:pt x="6" y="1"/>
                    <a:pt x="6" y="1"/>
                    <a:pt x="6" y="1"/>
                  </a:cubicBezTo>
                  <a:cubicBezTo>
                    <a:pt x="4" y="0"/>
                    <a:pt x="0" y="2"/>
                    <a:pt x="2" y="5"/>
                  </a:cubicBezTo>
                  <a:cubicBezTo>
                    <a:pt x="62" y="151"/>
                    <a:pt x="62" y="151"/>
                    <a:pt x="62" y="151"/>
                  </a:cubicBezTo>
                  <a:cubicBezTo>
                    <a:pt x="671" y="901"/>
                    <a:pt x="671" y="901"/>
                    <a:pt x="671" y="901"/>
                  </a:cubicBezTo>
                  <a:cubicBezTo>
                    <a:pt x="750" y="837"/>
                    <a:pt x="750" y="837"/>
                    <a:pt x="750" y="837"/>
                  </a:cubicBezTo>
                  <a:lnTo>
                    <a:pt x="141" y="87"/>
                  </a:lnTo>
                  <a:close/>
                </a:path>
              </a:pathLst>
            </a:custGeom>
            <a:solidFill>
              <a:srgbClr val="424242">
                <a:alpha val="20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62" name="Freeform 40">
              <a:extLst>
                <a:ext uri="{FF2B5EF4-FFF2-40B4-BE49-F238E27FC236}">
                  <a16:creationId xmlns:a16="http://schemas.microsoft.com/office/drawing/2014/main" id="{E645C0B1-F81B-4E8A-85E2-98265F8B724A}"/>
                </a:ext>
              </a:extLst>
            </p:cNvPr>
            <p:cNvSpPr>
              <a:spLocks/>
            </p:cNvSpPr>
            <p:nvPr/>
          </p:nvSpPr>
          <p:spPr bwMode="auto">
            <a:xfrm>
              <a:off x="4615656" y="4256881"/>
              <a:ext cx="1212850" cy="1435100"/>
            </a:xfrm>
            <a:custGeom>
              <a:avLst/>
              <a:gdLst>
                <a:gd name="T0" fmla="*/ 764 w 764"/>
                <a:gd name="T1" fmla="*/ 833 h 904"/>
                <a:gd name="T2" fmla="*/ 676 w 764"/>
                <a:gd name="T3" fmla="*/ 904 h 904"/>
                <a:gd name="T4" fmla="*/ 0 w 764"/>
                <a:gd name="T5" fmla="*/ 71 h 904"/>
                <a:gd name="T6" fmla="*/ 87 w 764"/>
                <a:gd name="T7" fmla="*/ 0 h 904"/>
                <a:gd name="T8" fmla="*/ 764 w 764"/>
                <a:gd name="T9" fmla="*/ 833 h 904"/>
              </a:gdLst>
              <a:ahLst/>
              <a:cxnLst>
                <a:cxn ang="0">
                  <a:pos x="T0" y="T1"/>
                </a:cxn>
                <a:cxn ang="0">
                  <a:pos x="T2" y="T3"/>
                </a:cxn>
                <a:cxn ang="0">
                  <a:pos x="T4" y="T5"/>
                </a:cxn>
                <a:cxn ang="0">
                  <a:pos x="T6" y="T7"/>
                </a:cxn>
                <a:cxn ang="0">
                  <a:pos x="T8" y="T9"/>
                </a:cxn>
              </a:cxnLst>
              <a:rect l="0" t="0" r="r" b="b"/>
              <a:pathLst>
                <a:path w="764" h="904">
                  <a:moveTo>
                    <a:pt x="764" y="833"/>
                  </a:moveTo>
                  <a:lnTo>
                    <a:pt x="676" y="904"/>
                  </a:lnTo>
                  <a:lnTo>
                    <a:pt x="0" y="71"/>
                  </a:lnTo>
                  <a:lnTo>
                    <a:pt x="87" y="0"/>
                  </a:lnTo>
                  <a:lnTo>
                    <a:pt x="764" y="833"/>
                  </a:lnTo>
                  <a:close/>
                </a:path>
              </a:pathLst>
            </a:custGeom>
            <a:solidFill>
              <a:srgbClr val="3D5D91"/>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63" name="Freeform 41">
              <a:extLst>
                <a:ext uri="{FF2B5EF4-FFF2-40B4-BE49-F238E27FC236}">
                  <a16:creationId xmlns:a16="http://schemas.microsoft.com/office/drawing/2014/main" id="{5AF757D5-CBDB-4F6E-B920-990A6E27C70E}"/>
                </a:ext>
              </a:extLst>
            </p:cNvPr>
            <p:cNvSpPr>
              <a:spLocks/>
            </p:cNvSpPr>
            <p:nvPr/>
          </p:nvSpPr>
          <p:spPr bwMode="auto">
            <a:xfrm>
              <a:off x="4656931" y="4291806"/>
              <a:ext cx="1127125" cy="1365250"/>
            </a:xfrm>
            <a:custGeom>
              <a:avLst/>
              <a:gdLst>
                <a:gd name="T0" fmla="*/ 710 w 710"/>
                <a:gd name="T1" fmla="*/ 833 h 860"/>
                <a:gd name="T2" fmla="*/ 677 w 710"/>
                <a:gd name="T3" fmla="*/ 860 h 860"/>
                <a:gd name="T4" fmla="*/ 0 w 710"/>
                <a:gd name="T5" fmla="*/ 27 h 860"/>
                <a:gd name="T6" fmla="*/ 34 w 710"/>
                <a:gd name="T7" fmla="*/ 0 h 860"/>
                <a:gd name="T8" fmla="*/ 710 w 710"/>
                <a:gd name="T9" fmla="*/ 833 h 860"/>
              </a:gdLst>
              <a:ahLst/>
              <a:cxnLst>
                <a:cxn ang="0">
                  <a:pos x="T0" y="T1"/>
                </a:cxn>
                <a:cxn ang="0">
                  <a:pos x="T2" y="T3"/>
                </a:cxn>
                <a:cxn ang="0">
                  <a:pos x="T4" y="T5"/>
                </a:cxn>
                <a:cxn ang="0">
                  <a:pos x="T6" y="T7"/>
                </a:cxn>
                <a:cxn ang="0">
                  <a:pos x="T8" y="T9"/>
                </a:cxn>
              </a:cxnLst>
              <a:rect l="0" t="0" r="r" b="b"/>
              <a:pathLst>
                <a:path w="710" h="860">
                  <a:moveTo>
                    <a:pt x="710" y="833"/>
                  </a:moveTo>
                  <a:lnTo>
                    <a:pt x="677" y="860"/>
                  </a:lnTo>
                  <a:lnTo>
                    <a:pt x="0" y="27"/>
                  </a:lnTo>
                  <a:lnTo>
                    <a:pt x="34" y="0"/>
                  </a:lnTo>
                  <a:lnTo>
                    <a:pt x="710" y="833"/>
                  </a:lnTo>
                  <a:close/>
                </a:path>
              </a:pathLst>
            </a:custGeom>
            <a:solidFill>
              <a:srgbClr val="00B3E7"/>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64" name="Freeform 42">
              <a:extLst>
                <a:ext uri="{FF2B5EF4-FFF2-40B4-BE49-F238E27FC236}">
                  <a16:creationId xmlns:a16="http://schemas.microsoft.com/office/drawing/2014/main" id="{14A9096D-4798-43B3-B1AF-F92DEFA757B8}"/>
                </a:ext>
              </a:extLst>
            </p:cNvPr>
            <p:cNvSpPr>
              <a:spLocks/>
            </p:cNvSpPr>
            <p:nvPr/>
          </p:nvSpPr>
          <p:spPr bwMode="auto">
            <a:xfrm>
              <a:off x="4506119" y="4102894"/>
              <a:ext cx="247650" cy="266700"/>
            </a:xfrm>
            <a:custGeom>
              <a:avLst/>
              <a:gdLst>
                <a:gd name="T0" fmla="*/ 2 w 141"/>
                <a:gd name="T1" fmla="*/ 5 h 151"/>
                <a:gd name="T2" fmla="*/ 62 w 141"/>
                <a:gd name="T3" fmla="*/ 151 h 151"/>
                <a:gd name="T4" fmla="*/ 141 w 141"/>
                <a:gd name="T5" fmla="*/ 87 h 151"/>
                <a:gd name="T6" fmla="*/ 6 w 141"/>
                <a:gd name="T7" fmla="*/ 1 h 151"/>
                <a:gd name="T8" fmla="*/ 2 w 141"/>
                <a:gd name="T9" fmla="*/ 5 h 151"/>
              </a:gdLst>
              <a:ahLst/>
              <a:cxnLst>
                <a:cxn ang="0">
                  <a:pos x="T0" y="T1"/>
                </a:cxn>
                <a:cxn ang="0">
                  <a:pos x="T2" y="T3"/>
                </a:cxn>
                <a:cxn ang="0">
                  <a:pos x="T4" y="T5"/>
                </a:cxn>
                <a:cxn ang="0">
                  <a:pos x="T6" y="T7"/>
                </a:cxn>
                <a:cxn ang="0">
                  <a:pos x="T8" y="T9"/>
                </a:cxn>
              </a:cxnLst>
              <a:rect l="0" t="0" r="r" b="b"/>
              <a:pathLst>
                <a:path w="141" h="151">
                  <a:moveTo>
                    <a:pt x="2" y="5"/>
                  </a:moveTo>
                  <a:cubicBezTo>
                    <a:pt x="62" y="151"/>
                    <a:pt x="62" y="151"/>
                    <a:pt x="62" y="151"/>
                  </a:cubicBezTo>
                  <a:cubicBezTo>
                    <a:pt x="141" y="87"/>
                    <a:pt x="141" y="87"/>
                    <a:pt x="141" y="87"/>
                  </a:cubicBezTo>
                  <a:cubicBezTo>
                    <a:pt x="6" y="1"/>
                    <a:pt x="6" y="1"/>
                    <a:pt x="6" y="1"/>
                  </a:cubicBezTo>
                  <a:cubicBezTo>
                    <a:pt x="4" y="0"/>
                    <a:pt x="0" y="2"/>
                    <a:pt x="2" y="5"/>
                  </a:cubicBezTo>
                  <a:close/>
                </a:path>
              </a:pathLst>
            </a:custGeom>
            <a:solidFill>
              <a:srgbClr val="D37187"/>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65" name="Freeform 43">
              <a:extLst>
                <a:ext uri="{FF2B5EF4-FFF2-40B4-BE49-F238E27FC236}">
                  <a16:creationId xmlns:a16="http://schemas.microsoft.com/office/drawing/2014/main" id="{4C4FB20B-DDE7-4E75-9E9B-A548D91B8C43}"/>
                </a:ext>
              </a:extLst>
            </p:cNvPr>
            <p:cNvSpPr>
              <a:spLocks/>
            </p:cNvSpPr>
            <p:nvPr/>
          </p:nvSpPr>
          <p:spPr bwMode="auto">
            <a:xfrm>
              <a:off x="4506119" y="4102894"/>
              <a:ext cx="61913" cy="66675"/>
            </a:xfrm>
            <a:custGeom>
              <a:avLst/>
              <a:gdLst>
                <a:gd name="T0" fmla="*/ 35 w 35"/>
                <a:gd name="T1" fmla="*/ 20 h 38"/>
                <a:gd name="T2" fmla="*/ 6 w 35"/>
                <a:gd name="T3" fmla="*/ 1 h 38"/>
                <a:gd name="T4" fmla="*/ 2 w 35"/>
                <a:gd name="T5" fmla="*/ 5 h 38"/>
                <a:gd name="T6" fmla="*/ 15 w 35"/>
                <a:gd name="T7" fmla="*/ 38 h 38"/>
                <a:gd name="T8" fmla="*/ 35 w 35"/>
                <a:gd name="T9" fmla="*/ 20 h 38"/>
              </a:gdLst>
              <a:ahLst/>
              <a:cxnLst>
                <a:cxn ang="0">
                  <a:pos x="T0" y="T1"/>
                </a:cxn>
                <a:cxn ang="0">
                  <a:pos x="T2" y="T3"/>
                </a:cxn>
                <a:cxn ang="0">
                  <a:pos x="T4" y="T5"/>
                </a:cxn>
                <a:cxn ang="0">
                  <a:pos x="T6" y="T7"/>
                </a:cxn>
                <a:cxn ang="0">
                  <a:pos x="T8" y="T9"/>
                </a:cxn>
              </a:cxnLst>
              <a:rect l="0" t="0" r="r" b="b"/>
              <a:pathLst>
                <a:path w="35" h="38">
                  <a:moveTo>
                    <a:pt x="35" y="20"/>
                  </a:moveTo>
                  <a:cubicBezTo>
                    <a:pt x="6" y="1"/>
                    <a:pt x="6" y="1"/>
                    <a:pt x="6" y="1"/>
                  </a:cubicBezTo>
                  <a:cubicBezTo>
                    <a:pt x="4" y="0"/>
                    <a:pt x="0" y="2"/>
                    <a:pt x="2" y="5"/>
                  </a:cubicBezTo>
                  <a:cubicBezTo>
                    <a:pt x="15" y="38"/>
                    <a:pt x="15" y="38"/>
                    <a:pt x="15" y="38"/>
                  </a:cubicBezTo>
                  <a:lnTo>
                    <a:pt x="35" y="20"/>
                  </a:lnTo>
                  <a:close/>
                </a:path>
              </a:pathLst>
            </a:custGeom>
            <a:solidFill>
              <a:srgbClr val="3D5D91"/>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66" name="Freeform 44">
              <a:extLst>
                <a:ext uri="{FF2B5EF4-FFF2-40B4-BE49-F238E27FC236}">
                  <a16:creationId xmlns:a16="http://schemas.microsoft.com/office/drawing/2014/main" id="{A9C444C7-6D1B-47C7-A781-EDAC61DD9836}"/>
                </a:ext>
              </a:extLst>
            </p:cNvPr>
            <p:cNvSpPr>
              <a:spLocks/>
            </p:cNvSpPr>
            <p:nvPr/>
          </p:nvSpPr>
          <p:spPr bwMode="auto">
            <a:xfrm>
              <a:off x="6315869" y="3950494"/>
              <a:ext cx="604838" cy="1592263"/>
            </a:xfrm>
            <a:custGeom>
              <a:avLst/>
              <a:gdLst>
                <a:gd name="T0" fmla="*/ 285 w 343"/>
                <a:gd name="T1" fmla="*/ 14 h 903"/>
                <a:gd name="T2" fmla="*/ 252 w 343"/>
                <a:gd name="T3" fmla="*/ 129 h 903"/>
                <a:gd name="T4" fmla="*/ 292 w 343"/>
                <a:gd name="T5" fmla="*/ 141 h 903"/>
                <a:gd name="T6" fmla="*/ 330 w 343"/>
                <a:gd name="T7" fmla="*/ 221 h 903"/>
                <a:gd name="T8" fmla="*/ 75 w 343"/>
                <a:gd name="T9" fmla="*/ 865 h 903"/>
                <a:gd name="T10" fmla="*/ 16 w 343"/>
                <a:gd name="T11" fmla="*/ 900 h 903"/>
                <a:gd name="T12" fmla="*/ 0 w 343"/>
                <a:gd name="T13" fmla="*/ 898 h 903"/>
                <a:gd name="T14" fmla="*/ 224 w 343"/>
                <a:gd name="T15" fmla="*/ 0 h 903"/>
                <a:gd name="T16" fmla="*/ 285 w 343"/>
                <a:gd name="T17" fmla="*/ 14 h 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3" h="903">
                  <a:moveTo>
                    <a:pt x="285" y="14"/>
                  </a:moveTo>
                  <a:cubicBezTo>
                    <a:pt x="252" y="129"/>
                    <a:pt x="252" y="129"/>
                    <a:pt x="252" y="129"/>
                  </a:cubicBezTo>
                  <a:cubicBezTo>
                    <a:pt x="292" y="141"/>
                    <a:pt x="292" y="141"/>
                    <a:pt x="292" y="141"/>
                  </a:cubicBezTo>
                  <a:cubicBezTo>
                    <a:pt x="326" y="152"/>
                    <a:pt x="343" y="188"/>
                    <a:pt x="330" y="221"/>
                  </a:cubicBezTo>
                  <a:cubicBezTo>
                    <a:pt x="75" y="865"/>
                    <a:pt x="75" y="865"/>
                    <a:pt x="75" y="865"/>
                  </a:cubicBezTo>
                  <a:cubicBezTo>
                    <a:pt x="65" y="889"/>
                    <a:pt x="41" y="903"/>
                    <a:pt x="16" y="900"/>
                  </a:cubicBezTo>
                  <a:cubicBezTo>
                    <a:pt x="0" y="898"/>
                    <a:pt x="0" y="898"/>
                    <a:pt x="0" y="898"/>
                  </a:cubicBezTo>
                  <a:cubicBezTo>
                    <a:pt x="224" y="0"/>
                    <a:pt x="224" y="0"/>
                    <a:pt x="224" y="0"/>
                  </a:cubicBezTo>
                  <a:lnTo>
                    <a:pt x="285" y="14"/>
                  </a:lnTo>
                  <a:close/>
                </a:path>
              </a:pathLst>
            </a:custGeom>
            <a:solidFill>
              <a:srgbClr val="424242">
                <a:alpha val="20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67" name="Freeform 45">
              <a:extLst>
                <a:ext uri="{FF2B5EF4-FFF2-40B4-BE49-F238E27FC236}">
                  <a16:creationId xmlns:a16="http://schemas.microsoft.com/office/drawing/2014/main" id="{06F436F2-8642-44F3-BAC5-592561B00DBD}"/>
                </a:ext>
              </a:extLst>
            </p:cNvPr>
            <p:cNvSpPr>
              <a:spLocks noEditPoints="1"/>
            </p:cNvSpPr>
            <p:nvPr/>
          </p:nvSpPr>
          <p:spPr bwMode="auto">
            <a:xfrm>
              <a:off x="6611144" y="3237706"/>
              <a:ext cx="538163" cy="747713"/>
            </a:xfrm>
            <a:custGeom>
              <a:avLst/>
              <a:gdLst>
                <a:gd name="T0" fmla="*/ 305 w 305"/>
                <a:gd name="T1" fmla="*/ 153 h 424"/>
                <a:gd name="T2" fmla="*/ 152 w 305"/>
                <a:gd name="T3" fmla="*/ 0 h 424"/>
                <a:gd name="T4" fmla="*/ 0 w 305"/>
                <a:gd name="T5" fmla="*/ 153 h 424"/>
                <a:gd name="T6" fmla="*/ 74 w 305"/>
                <a:gd name="T7" fmla="*/ 284 h 424"/>
                <a:gd name="T8" fmla="*/ 50 w 305"/>
                <a:gd name="T9" fmla="*/ 395 h 424"/>
                <a:gd name="T10" fmla="*/ 50 w 305"/>
                <a:gd name="T11" fmla="*/ 395 h 424"/>
                <a:gd name="T12" fmla="*/ 50 w 305"/>
                <a:gd name="T13" fmla="*/ 395 h 424"/>
                <a:gd name="T14" fmla="*/ 88 w 305"/>
                <a:gd name="T15" fmla="*/ 419 h 424"/>
                <a:gd name="T16" fmla="*/ 132 w 305"/>
                <a:gd name="T17" fmla="*/ 413 h 424"/>
                <a:gd name="T18" fmla="*/ 132 w 305"/>
                <a:gd name="T19" fmla="*/ 413 h 424"/>
                <a:gd name="T20" fmla="*/ 132 w 305"/>
                <a:gd name="T21" fmla="*/ 413 h 424"/>
                <a:gd name="T22" fmla="*/ 156 w 305"/>
                <a:gd name="T23" fmla="*/ 305 h 424"/>
                <a:gd name="T24" fmla="*/ 305 w 305"/>
                <a:gd name="T25" fmla="*/ 153 h 424"/>
                <a:gd name="T26" fmla="*/ 152 w 305"/>
                <a:gd name="T27" fmla="*/ 229 h 424"/>
                <a:gd name="T28" fmla="*/ 76 w 305"/>
                <a:gd name="T29" fmla="*/ 153 h 424"/>
                <a:gd name="T30" fmla="*/ 152 w 305"/>
                <a:gd name="T31" fmla="*/ 77 h 424"/>
                <a:gd name="T32" fmla="*/ 228 w 305"/>
                <a:gd name="T33" fmla="*/ 153 h 424"/>
                <a:gd name="T34" fmla="*/ 152 w 305"/>
                <a:gd name="T35" fmla="*/ 229 h 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5" h="424">
                  <a:moveTo>
                    <a:pt x="305" y="153"/>
                  </a:moveTo>
                  <a:cubicBezTo>
                    <a:pt x="305" y="68"/>
                    <a:pt x="237" y="0"/>
                    <a:pt x="152" y="0"/>
                  </a:cubicBezTo>
                  <a:cubicBezTo>
                    <a:pt x="68" y="0"/>
                    <a:pt x="0" y="68"/>
                    <a:pt x="0" y="153"/>
                  </a:cubicBezTo>
                  <a:cubicBezTo>
                    <a:pt x="0" y="208"/>
                    <a:pt x="30" y="257"/>
                    <a:pt x="74" y="284"/>
                  </a:cubicBezTo>
                  <a:cubicBezTo>
                    <a:pt x="50" y="395"/>
                    <a:pt x="50" y="395"/>
                    <a:pt x="50" y="395"/>
                  </a:cubicBezTo>
                  <a:cubicBezTo>
                    <a:pt x="50" y="395"/>
                    <a:pt x="50" y="395"/>
                    <a:pt x="50" y="395"/>
                  </a:cubicBezTo>
                  <a:cubicBezTo>
                    <a:pt x="50" y="395"/>
                    <a:pt x="50" y="395"/>
                    <a:pt x="50" y="395"/>
                  </a:cubicBezTo>
                  <a:cubicBezTo>
                    <a:pt x="48" y="403"/>
                    <a:pt x="65" y="414"/>
                    <a:pt x="88" y="419"/>
                  </a:cubicBezTo>
                  <a:cubicBezTo>
                    <a:pt x="111" y="424"/>
                    <a:pt x="131" y="421"/>
                    <a:pt x="132" y="413"/>
                  </a:cubicBezTo>
                  <a:cubicBezTo>
                    <a:pt x="132" y="413"/>
                    <a:pt x="132" y="413"/>
                    <a:pt x="132" y="413"/>
                  </a:cubicBezTo>
                  <a:cubicBezTo>
                    <a:pt x="132" y="413"/>
                    <a:pt x="132" y="413"/>
                    <a:pt x="132" y="413"/>
                  </a:cubicBezTo>
                  <a:cubicBezTo>
                    <a:pt x="156" y="305"/>
                    <a:pt x="156" y="305"/>
                    <a:pt x="156" y="305"/>
                  </a:cubicBezTo>
                  <a:cubicBezTo>
                    <a:pt x="239" y="303"/>
                    <a:pt x="305" y="235"/>
                    <a:pt x="305" y="153"/>
                  </a:cubicBezTo>
                  <a:close/>
                  <a:moveTo>
                    <a:pt x="152" y="229"/>
                  </a:moveTo>
                  <a:cubicBezTo>
                    <a:pt x="110" y="229"/>
                    <a:pt x="76" y="195"/>
                    <a:pt x="76" y="153"/>
                  </a:cubicBezTo>
                  <a:cubicBezTo>
                    <a:pt x="76" y="111"/>
                    <a:pt x="110" y="77"/>
                    <a:pt x="152" y="77"/>
                  </a:cubicBezTo>
                  <a:cubicBezTo>
                    <a:pt x="194" y="77"/>
                    <a:pt x="228" y="111"/>
                    <a:pt x="228" y="153"/>
                  </a:cubicBezTo>
                  <a:cubicBezTo>
                    <a:pt x="228" y="195"/>
                    <a:pt x="194" y="229"/>
                    <a:pt x="152" y="229"/>
                  </a:cubicBezTo>
                  <a:close/>
                </a:path>
              </a:pathLst>
            </a:custGeom>
            <a:solidFill>
              <a:srgbClr val="424242">
                <a:alpha val="20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68" name="Freeform 46">
              <a:extLst>
                <a:ext uri="{FF2B5EF4-FFF2-40B4-BE49-F238E27FC236}">
                  <a16:creationId xmlns:a16="http://schemas.microsoft.com/office/drawing/2014/main" id="{7DB2F2FE-56F6-4713-8705-CDD85199EB72}"/>
                </a:ext>
              </a:extLst>
            </p:cNvPr>
            <p:cNvSpPr>
              <a:spLocks/>
            </p:cNvSpPr>
            <p:nvPr/>
          </p:nvSpPr>
          <p:spPr bwMode="auto">
            <a:xfrm>
              <a:off x="5634831" y="4144169"/>
              <a:ext cx="1497013" cy="842963"/>
            </a:xfrm>
            <a:custGeom>
              <a:avLst/>
              <a:gdLst>
                <a:gd name="T0" fmla="*/ 823 w 849"/>
                <a:gd name="T1" fmla="*/ 22 h 478"/>
                <a:gd name="T2" fmla="*/ 717 w 849"/>
                <a:gd name="T3" fmla="*/ 77 h 478"/>
                <a:gd name="T4" fmla="*/ 697 w 849"/>
                <a:gd name="T5" fmla="*/ 40 h 478"/>
                <a:gd name="T6" fmla="*/ 611 w 849"/>
                <a:gd name="T7" fmla="*/ 19 h 478"/>
                <a:gd name="T8" fmla="*/ 31 w 849"/>
                <a:gd name="T9" fmla="*/ 398 h 478"/>
                <a:gd name="T10" fmla="*/ 9 w 849"/>
                <a:gd name="T11" fmla="*/ 463 h 478"/>
                <a:gd name="T12" fmla="*/ 14 w 849"/>
                <a:gd name="T13" fmla="*/ 478 h 478"/>
                <a:gd name="T14" fmla="*/ 849 w 849"/>
                <a:gd name="T15" fmla="*/ 79 h 478"/>
                <a:gd name="T16" fmla="*/ 823 w 849"/>
                <a:gd name="T17" fmla="*/ 22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9" h="478">
                  <a:moveTo>
                    <a:pt x="823" y="22"/>
                  </a:moveTo>
                  <a:cubicBezTo>
                    <a:pt x="717" y="77"/>
                    <a:pt x="717" y="77"/>
                    <a:pt x="717" y="77"/>
                  </a:cubicBezTo>
                  <a:cubicBezTo>
                    <a:pt x="697" y="40"/>
                    <a:pt x="697" y="40"/>
                    <a:pt x="697" y="40"/>
                  </a:cubicBezTo>
                  <a:cubicBezTo>
                    <a:pt x="680" y="10"/>
                    <a:pt x="641" y="0"/>
                    <a:pt x="611" y="19"/>
                  </a:cubicBezTo>
                  <a:cubicBezTo>
                    <a:pt x="31" y="398"/>
                    <a:pt x="31" y="398"/>
                    <a:pt x="31" y="398"/>
                  </a:cubicBezTo>
                  <a:cubicBezTo>
                    <a:pt x="10" y="412"/>
                    <a:pt x="0" y="438"/>
                    <a:pt x="9" y="463"/>
                  </a:cubicBezTo>
                  <a:cubicBezTo>
                    <a:pt x="14" y="478"/>
                    <a:pt x="14" y="478"/>
                    <a:pt x="14" y="478"/>
                  </a:cubicBezTo>
                  <a:cubicBezTo>
                    <a:pt x="849" y="79"/>
                    <a:pt x="849" y="79"/>
                    <a:pt x="849" y="79"/>
                  </a:cubicBezTo>
                  <a:lnTo>
                    <a:pt x="823" y="22"/>
                  </a:lnTo>
                  <a:close/>
                </a:path>
              </a:pathLst>
            </a:custGeom>
            <a:solidFill>
              <a:srgbClr val="4242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69" name="Oval 47">
              <a:extLst>
                <a:ext uri="{FF2B5EF4-FFF2-40B4-BE49-F238E27FC236}">
                  <a16:creationId xmlns:a16="http://schemas.microsoft.com/office/drawing/2014/main" id="{19718902-5D53-4FF1-B8E8-04EAB413AEE3}"/>
                </a:ext>
              </a:extLst>
            </p:cNvPr>
            <p:cNvSpPr>
              <a:spLocks noChangeArrowheads="1"/>
            </p:cNvSpPr>
            <p:nvPr/>
          </p:nvSpPr>
          <p:spPr bwMode="auto">
            <a:xfrm>
              <a:off x="6711156" y="4255294"/>
              <a:ext cx="119063" cy="119063"/>
            </a:xfrm>
            <a:prstGeom prst="ellipse">
              <a:avLst/>
            </a:prstGeom>
            <a:solidFill>
              <a:srgbClr val="4242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70" name="Freeform 48">
              <a:extLst>
                <a:ext uri="{FF2B5EF4-FFF2-40B4-BE49-F238E27FC236}">
                  <a16:creationId xmlns:a16="http://schemas.microsoft.com/office/drawing/2014/main" id="{D60DE2E3-411C-4FB0-A100-3CDF0CC1B7AC}"/>
                </a:ext>
              </a:extLst>
            </p:cNvPr>
            <p:cNvSpPr>
              <a:spLocks noEditPoints="1"/>
            </p:cNvSpPr>
            <p:nvPr/>
          </p:nvSpPr>
          <p:spPr bwMode="auto">
            <a:xfrm>
              <a:off x="7079456" y="3734594"/>
              <a:ext cx="762000" cy="603250"/>
            </a:xfrm>
            <a:custGeom>
              <a:avLst/>
              <a:gdLst>
                <a:gd name="T0" fmla="*/ 356 w 432"/>
                <a:gd name="T1" fmla="*/ 291 h 342"/>
                <a:gd name="T2" fmla="*/ 380 w 432"/>
                <a:gd name="T3" fmla="*/ 76 h 342"/>
                <a:gd name="T4" fmla="*/ 166 w 432"/>
                <a:gd name="T5" fmla="*/ 52 h 342"/>
                <a:gd name="T6" fmla="*/ 110 w 432"/>
                <a:gd name="T7" fmla="*/ 192 h 342"/>
                <a:gd name="T8" fmla="*/ 8 w 432"/>
                <a:gd name="T9" fmla="*/ 241 h 342"/>
                <a:gd name="T10" fmla="*/ 8 w 432"/>
                <a:gd name="T11" fmla="*/ 241 h 342"/>
                <a:gd name="T12" fmla="*/ 7 w 432"/>
                <a:gd name="T13" fmla="*/ 242 h 342"/>
                <a:gd name="T14" fmla="*/ 12 w 432"/>
                <a:gd name="T15" fmla="*/ 286 h 342"/>
                <a:gd name="T16" fmla="*/ 44 w 432"/>
                <a:gd name="T17" fmla="*/ 318 h 342"/>
                <a:gd name="T18" fmla="*/ 45 w 432"/>
                <a:gd name="T19" fmla="*/ 317 h 342"/>
                <a:gd name="T20" fmla="*/ 45 w 432"/>
                <a:gd name="T21" fmla="*/ 317 h 342"/>
                <a:gd name="T22" fmla="*/ 144 w 432"/>
                <a:gd name="T23" fmla="*/ 269 h 342"/>
                <a:gd name="T24" fmla="*/ 356 w 432"/>
                <a:gd name="T25" fmla="*/ 291 h 342"/>
                <a:gd name="T26" fmla="*/ 201 w 432"/>
                <a:gd name="T27" fmla="*/ 219 h 342"/>
                <a:gd name="T28" fmla="*/ 213 w 432"/>
                <a:gd name="T29" fmla="*/ 112 h 342"/>
                <a:gd name="T30" fmla="*/ 320 w 432"/>
                <a:gd name="T31" fmla="*/ 124 h 342"/>
                <a:gd name="T32" fmla="*/ 308 w 432"/>
                <a:gd name="T33" fmla="*/ 231 h 342"/>
                <a:gd name="T34" fmla="*/ 201 w 432"/>
                <a:gd name="T35" fmla="*/ 21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32" h="342">
                  <a:moveTo>
                    <a:pt x="356" y="291"/>
                  </a:moveTo>
                  <a:cubicBezTo>
                    <a:pt x="421" y="238"/>
                    <a:pt x="432" y="142"/>
                    <a:pt x="380" y="76"/>
                  </a:cubicBezTo>
                  <a:cubicBezTo>
                    <a:pt x="328" y="11"/>
                    <a:pt x="232" y="0"/>
                    <a:pt x="166" y="52"/>
                  </a:cubicBezTo>
                  <a:cubicBezTo>
                    <a:pt x="122" y="87"/>
                    <a:pt x="103" y="140"/>
                    <a:pt x="110" y="192"/>
                  </a:cubicBezTo>
                  <a:cubicBezTo>
                    <a:pt x="8" y="241"/>
                    <a:pt x="8" y="241"/>
                    <a:pt x="8" y="241"/>
                  </a:cubicBezTo>
                  <a:cubicBezTo>
                    <a:pt x="8" y="241"/>
                    <a:pt x="8" y="241"/>
                    <a:pt x="8" y="241"/>
                  </a:cubicBezTo>
                  <a:cubicBezTo>
                    <a:pt x="8" y="242"/>
                    <a:pt x="7" y="242"/>
                    <a:pt x="7" y="242"/>
                  </a:cubicBezTo>
                  <a:cubicBezTo>
                    <a:pt x="0" y="245"/>
                    <a:pt x="2" y="265"/>
                    <a:pt x="12" y="286"/>
                  </a:cubicBezTo>
                  <a:cubicBezTo>
                    <a:pt x="22" y="307"/>
                    <a:pt x="37" y="321"/>
                    <a:pt x="44" y="318"/>
                  </a:cubicBezTo>
                  <a:cubicBezTo>
                    <a:pt x="45" y="318"/>
                    <a:pt x="45" y="317"/>
                    <a:pt x="45" y="317"/>
                  </a:cubicBezTo>
                  <a:cubicBezTo>
                    <a:pt x="45" y="317"/>
                    <a:pt x="45" y="317"/>
                    <a:pt x="45" y="317"/>
                  </a:cubicBezTo>
                  <a:cubicBezTo>
                    <a:pt x="144" y="269"/>
                    <a:pt x="144" y="269"/>
                    <a:pt x="144" y="269"/>
                  </a:cubicBezTo>
                  <a:cubicBezTo>
                    <a:pt x="197" y="332"/>
                    <a:pt x="291" y="342"/>
                    <a:pt x="356" y="291"/>
                  </a:cubicBezTo>
                  <a:close/>
                  <a:moveTo>
                    <a:pt x="201" y="219"/>
                  </a:moveTo>
                  <a:cubicBezTo>
                    <a:pt x="175" y="186"/>
                    <a:pt x="181" y="138"/>
                    <a:pt x="213" y="112"/>
                  </a:cubicBezTo>
                  <a:cubicBezTo>
                    <a:pt x="246" y="86"/>
                    <a:pt x="294" y="91"/>
                    <a:pt x="320" y="124"/>
                  </a:cubicBezTo>
                  <a:cubicBezTo>
                    <a:pt x="346" y="157"/>
                    <a:pt x="341" y="205"/>
                    <a:pt x="308" y="231"/>
                  </a:cubicBezTo>
                  <a:cubicBezTo>
                    <a:pt x="275" y="257"/>
                    <a:pt x="227" y="251"/>
                    <a:pt x="201" y="219"/>
                  </a:cubicBezTo>
                  <a:close/>
                </a:path>
              </a:pathLst>
            </a:custGeom>
            <a:solidFill>
              <a:srgbClr val="424242">
                <a:alpha val="20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71" name="Freeform 49">
              <a:extLst>
                <a:ext uri="{FF2B5EF4-FFF2-40B4-BE49-F238E27FC236}">
                  <a16:creationId xmlns:a16="http://schemas.microsoft.com/office/drawing/2014/main" id="{A3A42B01-FA46-404F-98CA-8194965B0D31}"/>
                </a:ext>
              </a:extLst>
            </p:cNvPr>
            <p:cNvSpPr>
              <a:spLocks/>
            </p:cNvSpPr>
            <p:nvPr/>
          </p:nvSpPr>
          <p:spPr bwMode="auto">
            <a:xfrm>
              <a:off x="6352381" y="3913981"/>
              <a:ext cx="604838" cy="1592263"/>
            </a:xfrm>
            <a:custGeom>
              <a:avLst/>
              <a:gdLst>
                <a:gd name="T0" fmla="*/ 285 w 343"/>
                <a:gd name="T1" fmla="*/ 14 h 903"/>
                <a:gd name="T2" fmla="*/ 252 w 343"/>
                <a:gd name="T3" fmla="*/ 129 h 903"/>
                <a:gd name="T4" fmla="*/ 292 w 343"/>
                <a:gd name="T5" fmla="*/ 141 h 903"/>
                <a:gd name="T6" fmla="*/ 330 w 343"/>
                <a:gd name="T7" fmla="*/ 221 h 903"/>
                <a:gd name="T8" fmla="*/ 75 w 343"/>
                <a:gd name="T9" fmla="*/ 865 h 903"/>
                <a:gd name="T10" fmla="*/ 16 w 343"/>
                <a:gd name="T11" fmla="*/ 900 h 903"/>
                <a:gd name="T12" fmla="*/ 0 w 343"/>
                <a:gd name="T13" fmla="*/ 898 h 903"/>
                <a:gd name="T14" fmla="*/ 224 w 343"/>
                <a:gd name="T15" fmla="*/ 0 h 903"/>
                <a:gd name="T16" fmla="*/ 285 w 343"/>
                <a:gd name="T17" fmla="*/ 14 h 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3" h="903">
                  <a:moveTo>
                    <a:pt x="285" y="14"/>
                  </a:moveTo>
                  <a:cubicBezTo>
                    <a:pt x="252" y="129"/>
                    <a:pt x="252" y="129"/>
                    <a:pt x="252" y="129"/>
                  </a:cubicBezTo>
                  <a:cubicBezTo>
                    <a:pt x="292" y="141"/>
                    <a:pt x="292" y="141"/>
                    <a:pt x="292" y="141"/>
                  </a:cubicBezTo>
                  <a:cubicBezTo>
                    <a:pt x="326" y="152"/>
                    <a:pt x="343" y="188"/>
                    <a:pt x="330" y="221"/>
                  </a:cubicBezTo>
                  <a:cubicBezTo>
                    <a:pt x="75" y="865"/>
                    <a:pt x="75" y="865"/>
                    <a:pt x="75" y="865"/>
                  </a:cubicBezTo>
                  <a:cubicBezTo>
                    <a:pt x="65" y="889"/>
                    <a:pt x="41" y="903"/>
                    <a:pt x="16" y="900"/>
                  </a:cubicBezTo>
                  <a:cubicBezTo>
                    <a:pt x="0" y="898"/>
                    <a:pt x="0" y="898"/>
                    <a:pt x="0" y="898"/>
                  </a:cubicBezTo>
                  <a:cubicBezTo>
                    <a:pt x="224" y="0"/>
                    <a:pt x="224" y="0"/>
                    <a:pt x="224" y="0"/>
                  </a:cubicBezTo>
                  <a:lnTo>
                    <a:pt x="285" y="14"/>
                  </a:lnTo>
                  <a:close/>
                </a:path>
              </a:pathLst>
            </a:custGeom>
            <a:solidFill>
              <a:srgbClr val="ACA5A5"/>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72" name="Freeform 50">
              <a:extLst>
                <a:ext uri="{FF2B5EF4-FFF2-40B4-BE49-F238E27FC236}">
                  <a16:creationId xmlns:a16="http://schemas.microsoft.com/office/drawing/2014/main" id="{0BF1A98E-1AC7-48CD-9C66-2E3393D49E30}"/>
                </a:ext>
              </a:extLst>
            </p:cNvPr>
            <p:cNvSpPr>
              <a:spLocks noEditPoints="1"/>
            </p:cNvSpPr>
            <p:nvPr/>
          </p:nvSpPr>
          <p:spPr bwMode="auto">
            <a:xfrm>
              <a:off x="6646069" y="3202781"/>
              <a:ext cx="538163" cy="747713"/>
            </a:xfrm>
            <a:custGeom>
              <a:avLst/>
              <a:gdLst>
                <a:gd name="T0" fmla="*/ 305 w 305"/>
                <a:gd name="T1" fmla="*/ 153 h 424"/>
                <a:gd name="T2" fmla="*/ 152 w 305"/>
                <a:gd name="T3" fmla="*/ 0 h 424"/>
                <a:gd name="T4" fmla="*/ 0 w 305"/>
                <a:gd name="T5" fmla="*/ 153 h 424"/>
                <a:gd name="T6" fmla="*/ 74 w 305"/>
                <a:gd name="T7" fmla="*/ 284 h 424"/>
                <a:gd name="T8" fmla="*/ 50 w 305"/>
                <a:gd name="T9" fmla="*/ 395 h 424"/>
                <a:gd name="T10" fmla="*/ 50 w 305"/>
                <a:gd name="T11" fmla="*/ 395 h 424"/>
                <a:gd name="T12" fmla="*/ 50 w 305"/>
                <a:gd name="T13" fmla="*/ 395 h 424"/>
                <a:gd name="T14" fmla="*/ 88 w 305"/>
                <a:gd name="T15" fmla="*/ 419 h 424"/>
                <a:gd name="T16" fmla="*/ 132 w 305"/>
                <a:gd name="T17" fmla="*/ 413 h 424"/>
                <a:gd name="T18" fmla="*/ 132 w 305"/>
                <a:gd name="T19" fmla="*/ 413 h 424"/>
                <a:gd name="T20" fmla="*/ 132 w 305"/>
                <a:gd name="T21" fmla="*/ 413 h 424"/>
                <a:gd name="T22" fmla="*/ 156 w 305"/>
                <a:gd name="T23" fmla="*/ 305 h 424"/>
                <a:gd name="T24" fmla="*/ 305 w 305"/>
                <a:gd name="T25" fmla="*/ 153 h 424"/>
                <a:gd name="T26" fmla="*/ 152 w 305"/>
                <a:gd name="T27" fmla="*/ 229 h 424"/>
                <a:gd name="T28" fmla="*/ 76 w 305"/>
                <a:gd name="T29" fmla="*/ 153 h 424"/>
                <a:gd name="T30" fmla="*/ 152 w 305"/>
                <a:gd name="T31" fmla="*/ 77 h 424"/>
                <a:gd name="T32" fmla="*/ 228 w 305"/>
                <a:gd name="T33" fmla="*/ 153 h 424"/>
                <a:gd name="T34" fmla="*/ 152 w 305"/>
                <a:gd name="T35" fmla="*/ 229 h 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5" h="424">
                  <a:moveTo>
                    <a:pt x="305" y="153"/>
                  </a:moveTo>
                  <a:cubicBezTo>
                    <a:pt x="305" y="68"/>
                    <a:pt x="237" y="0"/>
                    <a:pt x="152" y="0"/>
                  </a:cubicBezTo>
                  <a:cubicBezTo>
                    <a:pt x="68" y="0"/>
                    <a:pt x="0" y="68"/>
                    <a:pt x="0" y="153"/>
                  </a:cubicBezTo>
                  <a:cubicBezTo>
                    <a:pt x="0" y="208"/>
                    <a:pt x="30" y="257"/>
                    <a:pt x="74" y="284"/>
                  </a:cubicBezTo>
                  <a:cubicBezTo>
                    <a:pt x="50" y="395"/>
                    <a:pt x="50" y="395"/>
                    <a:pt x="50" y="395"/>
                  </a:cubicBezTo>
                  <a:cubicBezTo>
                    <a:pt x="50" y="395"/>
                    <a:pt x="50" y="395"/>
                    <a:pt x="50" y="395"/>
                  </a:cubicBezTo>
                  <a:cubicBezTo>
                    <a:pt x="50" y="395"/>
                    <a:pt x="50" y="395"/>
                    <a:pt x="50" y="395"/>
                  </a:cubicBezTo>
                  <a:cubicBezTo>
                    <a:pt x="48" y="403"/>
                    <a:pt x="65" y="414"/>
                    <a:pt x="88" y="419"/>
                  </a:cubicBezTo>
                  <a:cubicBezTo>
                    <a:pt x="111" y="424"/>
                    <a:pt x="131" y="421"/>
                    <a:pt x="132" y="413"/>
                  </a:cubicBezTo>
                  <a:cubicBezTo>
                    <a:pt x="132" y="413"/>
                    <a:pt x="132" y="413"/>
                    <a:pt x="132" y="413"/>
                  </a:cubicBezTo>
                  <a:cubicBezTo>
                    <a:pt x="132" y="413"/>
                    <a:pt x="132" y="413"/>
                    <a:pt x="132" y="413"/>
                  </a:cubicBezTo>
                  <a:cubicBezTo>
                    <a:pt x="156" y="305"/>
                    <a:pt x="156" y="305"/>
                    <a:pt x="156" y="305"/>
                  </a:cubicBezTo>
                  <a:cubicBezTo>
                    <a:pt x="239" y="303"/>
                    <a:pt x="305" y="235"/>
                    <a:pt x="305" y="153"/>
                  </a:cubicBezTo>
                  <a:close/>
                  <a:moveTo>
                    <a:pt x="152" y="229"/>
                  </a:moveTo>
                  <a:cubicBezTo>
                    <a:pt x="110" y="229"/>
                    <a:pt x="76" y="195"/>
                    <a:pt x="76" y="153"/>
                  </a:cubicBezTo>
                  <a:cubicBezTo>
                    <a:pt x="76" y="111"/>
                    <a:pt x="110" y="77"/>
                    <a:pt x="152" y="77"/>
                  </a:cubicBezTo>
                  <a:cubicBezTo>
                    <a:pt x="194" y="77"/>
                    <a:pt x="228" y="111"/>
                    <a:pt x="228" y="153"/>
                  </a:cubicBezTo>
                  <a:cubicBezTo>
                    <a:pt x="228" y="195"/>
                    <a:pt x="194" y="229"/>
                    <a:pt x="152" y="229"/>
                  </a:cubicBezTo>
                  <a:close/>
                </a:path>
              </a:pathLst>
            </a:custGeom>
            <a:solidFill>
              <a:srgbClr val="194A76"/>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73" name="Freeform 51">
              <a:extLst>
                <a:ext uri="{FF2B5EF4-FFF2-40B4-BE49-F238E27FC236}">
                  <a16:creationId xmlns:a16="http://schemas.microsoft.com/office/drawing/2014/main" id="{B2B566EB-8C81-417D-8B61-B470A3B01C34}"/>
                </a:ext>
              </a:extLst>
            </p:cNvPr>
            <p:cNvSpPr>
              <a:spLocks/>
            </p:cNvSpPr>
            <p:nvPr/>
          </p:nvSpPr>
          <p:spPr bwMode="auto">
            <a:xfrm>
              <a:off x="5669756" y="4107656"/>
              <a:ext cx="1497013" cy="842963"/>
            </a:xfrm>
            <a:custGeom>
              <a:avLst/>
              <a:gdLst>
                <a:gd name="T0" fmla="*/ 823 w 849"/>
                <a:gd name="T1" fmla="*/ 22 h 478"/>
                <a:gd name="T2" fmla="*/ 717 w 849"/>
                <a:gd name="T3" fmla="*/ 77 h 478"/>
                <a:gd name="T4" fmla="*/ 697 w 849"/>
                <a:gd name="T5" fmla="*/ 40 h 478"/>
                <a:gd name="T6" fmla="*/ 611 w 849"/>
                <a:gd name="T7" fmla="*/ 19 h 478"/>
                <a:gd name="T8" fmla="*/ 31 w 849"/>
                <a:gd name="T9" fmla="*/ 398 h 478"/>
                <a:gd name="T10" fmla="*/ 9 w 849"/>
                <a:gd name="T11" fmla="*/ 463 h 478"/>
                <a:gd name="T12" fmla="*/ 14 w 849"/>
                <a:gd name="T13" fmla="*/ 478 h 478"/>
                <a:gd name="T14" fmla="*/ 849 w 849"/>
                <a:gd name="T15" fmla="*/ 79 h 478"/>
                <a:gd name="T16" fmla="*/ 823 w 849"/>
                <a:gd name="T17" fmla="*/ 22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9" h="478">
                  <a:moveTo>
                    <a:pt x="823" y="22"/>
                  </a:moveTo>
                  <a:cubicBezTo>
                    <a:pt x="717" y="77"/>
                    <a:pt x="717" y="77"/>
                    <a:pt x="717" y="77"/>
                  </a:cubicBezTo>
                  <a:cubicBezTo>
                    <a:pt x="697" y="40"/>
                    <a:pt x="697" y="40"/>
                    <a:pt x="697" y="40"/>
                  </a:cubicBezTo>
                  <a:cubicBezTo>
                    <a:pt x="680" y="10"/>
                    <a:pt x="641" y="0"/>
                    <a:pt x="611" y="19"/>
                  </a:cubicBezTo>
                  <a:cubicBezTo>
                    <a:pt x="31" y="398"/>
                    <a:pt x="31" y="398"/>
                    <a:pt x="31" y="398"/>
                  </a:cubicBezTo>
                  <a:cubicBezTo>
                    <a:pt x="10" y="412"/>
                    <a:pt x="0" y="438"/>
                    <a:pt x="9" y="463"/>
                  </a:cubicBezTo>
                  <a:cubicBezTo>
                    <a:pt x="14" y="478"/>
                    <a:pt x="14" y="478"/>
                    <a:pt x="14" y="478"/>
                  </a:cubicBezTo>
                  <a:cubicBezTo>
                    <a:pt x="849" y="79"/>
                    <a:pt x="849" y="79"/>
                    <a:pt x="849" y="79"/>
                  </a:cubicBezTo>
                  <a:lnTo>
                    <a:pt x="823" y="22"/>
                  </a:lnTo>
                  <a:close/>
                </a:path>
              </a:pathLst>
            </a:custGeom>
            <a:solidFill>
              <a:srgbClr val="DDD0D5"/>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74" name="Oval 52">
              <a:extLst>
                <a:ext uri="{FF2B5EF4-FFF2-40B4-BE49-F238E27FC236}">
                  <a16:creationId xmlns:a16="http://schemas.microsoft.com/office/drawing/2014/main" id="{CF8A5320-AFC6-4E3B-9A79-F71F5510B86E}"/>
                </a:ext>
              </a:extLst>
            </p:cNvPr>
            <p:cNvSpPr>
              <a:spLocks noChangeArrowheads="1"/>
            </p:cNvSpPr>
            <p:nvPr/>
          </p:nvSpPr>
          <p:spPr bwMode="auto">
            <a:xfrm>
              <a:off x="6746081" y="4218781"/>
              <a:ext cx="119063" cy="120650"/>
            </a:xfrm>
            <a:prstGeom prst="ellipse">
              <a:avLst/>
            </a:prstGeom>
            <a:solidFill>
              <a:srgbClr val="AC9FA9"/>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75" name="Freeform 53">
              <a:extLst>
                <a:ext uri="{FF2B5EF4-FFF2-40B4-BE49-F238E27FC236}">
                  <a16:creationId xmlns:a16="http://schemas.microsoft.com/office/drawing/2014/main" id="{B7FBDDF1-2BD7-4051-ACB3-742A38413A18}"/>
                </a:ext>
              </a:extLst>
            </p:cNvPr>
            <p:cNvSpPr>
              <a:spLocks noEditPoints="1"/>
            </p:cNvSpPr>
            <p:nvPr/>
          </p:nvSpPr>
          <p:spPr bwMode="auto">
            <a:xfrm>
              <a:off x="7115969" y="3699669"/>
              <a:ext cx="760413" cy="603250"/>
            </a:xfrm>
            <a:custGeom>
              <a:avLst/>
              <a:gdLst>
                <a:gd name="T0" fmla="*/ 356 w 432"/>
                <a:gd name="T1" fmla="*/ 291 h 342"/>
                <a:gd name="T2" fmla="*/ 380 w 432"/>
                <a:gd name="T3" fmla="*/ 76 h 342"/>
                <a:gd name="T4" fmla="*/ 166 w 432"/>
                <a:gd name="T5" fmla="*/ 52 h 342"/>
                <a:gd name="T6" fmla="*/ 110 w 432"/>
                <a:gd name="T7" fmla="*/ 192 h 342"/>
                <a:gd name="T8" fmla="*/ 8 w 432"/>
                <a:gd name="T9" fmla="*/ 241 h 342"/>
                <a:gd name="T10" fmla="*/ 8 w 432"/>
                <a:gd name="T11" fmla="*/ 241 h 342"/>
                <a:gd name="T12" fmla="*/ 7 w 432"/>
                <a:gd name="T13" fmla="*/ 242 h 342"/>
                <a:gd name="T14" fmla="*/ 12 w 432"/>
                <a:gd name="T15" fmla="*/ 286 h 342"/>
                <a:gd name="T16" fmla="*/ 44 w 432"/>
                <a:gd name="T17" fmla="*/ 318 h 342"/>
                <a:gd name="T18" fmla="*/ 45 w 432"/>
                <a:gd name="T19" fmla="*/ 317 h 342"/>
                <a:gd name="T20" fmla="*/ 45 w 432"/>
                <a:gd name="T21" fmla="*/ 317 h 342"/>
                <a:gd name="T22" fmla="*/ 144 w 432"/>
                <a:gd name="T23" fmla="*/ 269 h 342"/>
                <a:gd name="T24" fmla="*/ 356 w 432"/>
                <a:gd name="T25" fmla="*/ 291 h 342"/>
                <a:gd name="T26" fmla="*/ 201 w 432"/>
                <a:gd name="T27" fmla="*/ 219 h 342"/>
                <a:gd name="T28" fmla="*/ 213 w 432"/>
                <a:gd name="T29" fmla="*/ 112 h 342"/>
                <a:gd name="T30" fmla="*/ 320 w 432"/>
                <a:gd name="T31" fmla="*/ 124 h 342"/>
                <a:gd name="T32" fmla="*/ 308 w 432"/>
                <a:gd name="T33" fmla="*/ 231 h 342"/>
                <a:gd name="T34" fmla="*/ 201 w 432"/>
                <a:gd name="T35" fmla="*/ 21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32" h="342">
                  <a:moveTo>
                    <a:pt x="356" y="291"/>
                  </a:moveTo>
                  <a:cubicBezTo>
                    <a:pt x="421" y="238"/>
                    <a:pt x="432" y="142"/>
                    <a:pt x="380" y="76"/>
                  </a:cubicBezTo>
                  <a:cubicBezTo>
                    <a:pt x="328" y="11"/>
                    <a:pt x="232" y="0"/>
                    <a:pt x="166" y="52"/>
                  </a:cubicBezTo>
                  <a:cubicBezTo>
                    <a:pt x="122" y="87"/>
                    <a:pt x="103" y="140"/>
                    <a:pt x="110" y="192"/>
                  </a:cubicBezTo>
                  <a:cubicBezTo>
                    <a:pt x="8" y="241"/>
                    <a:pt x="8" y="241"/>
                    <a:pt x="8" y="241"/>
                  </a:cubicBezTo>
                  <a:cubicBezTo>
                    <a:pt x="8" y="241"/>
                    <a:pt x="8" y="241"/>
                    <a:pt x="8" y="241"/>
                  </a:cubicBezTo>
                  <a:cubicBezTo>
                    <a:pt x="8" y="242"/>
                    <a:pt x="7" y="242"/>
                    <a:pt x="7" y="242"/>
                  </a:cubicBezTo>
                  <a:cubicBezTo>
                    <a:pt x="0" y="245"/>
                    <a:pt x="2" y="265"/>
                    <a:pt x="12" y="286"/>
                  </a:cubicBezTo>
                  <a:cubicBezTo>
                    <a:pt x="22" y="307"/>
                    <a:pt x="37" y="321"/>
                    <a:pt x="44" y="318"/>
                  </a:cubicBezTo>
                  <a:cubicBezTo>
                    <a:pt x="45" y="318"/>
                    <a:pt x="45" y="317"/>
                    <a:pt x="45" y="317"/>
                  </a:cubicBezTo>
                  <a:cubicBezTo>
                    <a:pt x="45" y="317"/>
                    <a:pt x="45" y="317"/>
                    <a:pt x="45" y="317"/>
                  </a:cubicBezTo>
                  <a:cubicBezTo>
                    <a:pt x="144" y="269"/>
                    <a:pt x="144" y="269"/>
                    <a:pt x="144" y="269"/>
                  </a:cubicBezTo>
                  <a:cubicBezTo>
                    <a:pt x="197" y="332"/>
                    <a:pt x="291" y="342"/>
                    <a:pt x="356" y="291"/>
                  </a:cubicBezTo>
                  <a:close/>
                  <a:moveTo>
                    <a:pt x="201" y="219"/>
                  </a:moveTo>
                  <a:cubicBezTo>
                    <a:pt x="175" y="186"/>
                    <a:pt x="181" y="138"/>
                    <a:pt x="213" y="112"/>
                  </a:cubicBezTo>
                  <a:cubicBezTo>
                    <a:pt x="246" y="86"/>
                    <a:pt x="294" y="91"/>
                    <a:pt x="320" y="124"/>
                  </a:cubicBezTo>
                  <a:cubicBezTo>
                    <a:pt x="346" y="157"/>
                    <a:pt x="341" y="205"/>
                    <a:pt x="308" y="231"/>
                  </a:cubicBezTo>
                  <a:cubicBezTo>
                    <a:pt x="275" y="257"/>
                    <a:pt x="227" y="251"/>
                    <a:pt x="201" y="219"/>
                  </a:cubicBezTo>
                  <a:close/>
                </a:path>
              </a:pathLst>
            </a:custGeom>
            <a:solidFill>
              <a:srgbClr val="3461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grpSp>
      <p:sp>
        <p:nvSpPr>
          <p:cNvPr id="382" name="文本框 381">
            <a:extLst>
              <a:ext uri="{FF2B5EF4-FFF2-40B4-BE49-F238E27FC236}">
                <a16:creationId xmlns:a16="http://schemas.microsoft.com/office/drawing/2014/main" id="{5F46F1A5-2011-4555-987E-7A967FEEBC65}"/>
              </a:ext>
            </a:extLst>
          </p:cNvPr>
          <p:cNvSpPr txBox="1"/>
          <p:nvPr/>
        </p:nvSpPr>
        <p:spPr>
          <a:xfrm>
            <a:off x="560065" y="3812333"/>
            <a:ext cx="7588572" cy="923330"/>
          </a:xfrm>
          <a:prstGeom prst="rect">
            <a:avLst/>
          </a:prstGeom>
          <a:noFill/>
        </p:spPr>
        <p:txBody>
          <a:bodyPr wrap="square" rtlCol="0">
            <a:spAutoFit/>
          </a:bodyPr>
          <a:lstStyle/>
          <a:p>
            <a:pPr algn="l"/>
            <a:r>
              <a:rPr lang="en-US" altLang="zh-CN" b="0" i="0" dirty="0">
                <a:solidFill>
                  <a:srgbClr val="0D0016"/>
                </a:solidFill>
                <a:effectLst/>
                <a:latin typeface="PingFang SC"/>
              </a:rPr>
              <a:t>2</a:t>
            </a:r>
            <a:r>
              <a:rPr lang="zh-CN" altLang="en-US" b="0" i="0" dirty="0">
                <a:solidFill>
                  <a:srgbClr val="0D0016"/>
                </a:solidFill>
                <a:effectLst/>
                <a:latin typeface="PingFang SC"/>
              </a:rPr>
              <a:t>、实现（</a:t>
            </a:r>
            <a:r>
              <a:rPr lang="en-US" altLang="zh-CN" b="0" i="0" dirty="0">
                <a:solidFill>
                  <a:srgbClr val="0D0016"/>
                </a:solidFill>
                <a:effectLst/>
                <a:latin typeface="PingFang SC"/>
              </a:rPr>
              <a:t>Realization</a:t>
            </a:r>
            <a:r>
              <a:rPr lang="zh-CN" altLang="en-US" b="0" i="0" dirty="0">
                <a:solidFill>
                  <a:srgbClr val="0D0016"/>
                </a:solidFill>
                <a:effectLst/>
                <a:latin typeface="PingFang SC"/>
              </a:rPr>
              <a:t>）</a:t>
            </a:r>
            <a:endParaRPr lang="zh-CN" altLang="en-US" b="1" i="0" dirty="0">
              <a:solidFill>
                <a:srgbClr val="4F4F4F"/>
              </a:solidFill>
              <a:effectLst/>
              <a:latin typeface="PingFang SC"/>
            </a:endParaRPr>
          </a:p>
          <a:p>
            <a:pPr marL="0" algn="l"/>
            <a:r>
              <a:rPr lang="zh-CN" altLang="en-US" b="0" i="0" dirty="0">
                <a:solidFill>
                  <a:srgbClr val="4D4D4D"/>
                </a:solidFill>
                <a:effectLst/>
                <a:latin typeface="-apple-system"/>
              </a:rPr>
              <a:t>        </a:t>
            </a:r>
            <a:r>
              <a:rPr lang="zh-CN" altLang="en-US" b="0" i="0" dirty="0">
                <a:solidFill>
                  <a:srgbClr val="0D0016"/>
                </a:solidFill>
                <a:effectLst/>
                <a:latin typeface="-apple-system"/>
              </a:rPr>
              <a:t>实现是接口和类的关系，是指类实现了接口中定义的接口，</a:t>
            </a:r>
            <a:endParaRPr lang="en-US" altLang="zh-CN" dirty="0">
              <a:solidFill>
                <a:srgbClr val="0D0016"/>
              </a:solidFill>
              <a:latin typeface="-apple-system"/>
            </a:endParaRPr>
          </a:p>
          <a:p>
            <a:pPr marL="0" algn="l"/>
            <a:r>
              <a:rPr lang="en-US" altLang="zh-CN" b="0" i="0" dirty="0">
                <a:solidFill>
                  <a:srgbClr val="0D0016"/>
                </a:solidFill>
                <a:effectLst/>
                <a:latin typeface="-apple-system"/>
              </a:rPr>
              <a:t>        UML</a:t>
            </a:r>
            <a:r>
              <a:rPr lang="zh-CN" altLang="en-US" b="0" i="0" dirty="0">
                <a:solidFill>
                  <a:srgbClr val="0D0016"/>
                </a:solidFill>
                <a:effectLst/>
                <a:latin typeface="-apple-system"/>
              </a:rPr>
              <a:t>中用带</a:t>
            </a:r>
            <a:r>
              <a:rPr lang="zh-CN" altLang="en-US" b="1" i="0" dirty="0">
                <a:solidFill>
                  <a:srgbClr val="FE2C24"/>
                </a:solidFill>
                <a:effectLst/>
                <a:latin typeface="-apple-system"/>
              </a:rPr>
              <a:t>空心三角箭头的虚线</a:t>
            </a:r>
            <a:r>
              <a:rPr lang="en-US" altLang="zh-CN" b="0" i="0" dirty="0">
                <a:solidFill>
                  <a:srgbClr val="0D0016"/>
                </a:solidFill>
                <a:effectLst/>
                <a:latin typeface="-apple-system"/>
              </a:rPr>
              <a:t>【</a:t>
            </a:r>
            <a:r>
              <a:rPr lang="zh-CN" altLang="en-US" b="0" i="0" dirty="0">
                <a:solidFill>
                  <a:srgbClr val="0D0016"/>
                </a:solidFill>
                <a:effectLst/>
                <a:latin typeface="-apple-system"/>
              </a:rPr>
              <a:t>箭头指向</a:t>
            </a:r>
            <a:r>
              <a:rPr lang="en-US" altLang="zh-CN" b="0" i="0" dirty="0">
                <a:solidFill>
                  <a:srgbClr val="0D0016"/>
                </a:solidFill>
                <a:effectLst/>
                <a:latin typeface="-apple-system"/>
              </a:rPr>
              <a:t>】</a:t>
            </a:r>
            <a:r>
              <a:rPr lang="zh-CN" altLang="en-US" b="0" i="0" dirty="0">
                <a:solidFill>
                  <a:srgbClr val="0D0016"/>
                </a:solidFill>
                <a:effectLst/>
                <a:latin typeface="-apple-system"/>
              </a:rPr>
              <a:t>：箭头指向接口类</a:t>
            </a:r>
            <a:endParaRPr lang="zh-CN" altLang="en-US" b="0" i="0" dirty="0">
              <a:solidFill>
                <a:srgbClr val="4D4D4D"/>
              </a:solidFill>
              <a:effectLst/>
              <a:latin typeface="-apple-system"/>
            </a:endParaRPr>
          </a:p>
        </p:txBody>
      </p:sp>
      <p:pic>
        <p:nvPicPr>
          <p:cNvPr id="10248" name="Picture 8">
            <a:extLst>
              <a:ext uri="{FF2B5EF4-FFF2-40B4-BE49-F238E27FC236}">
                <a16:creationId xmlns:a16="http://schemas.microsoft.com/office/drawing/2014/main" id="{ACC9E349-E85E-4E18-813F-C4E34ACDD8F6}"/>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390676" y="3607029"/>
            <a:ext cx="3588846" cy="1836235"/>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2534205330"/>
      </p:ext>
    </p:extLst>
  </p:cSld>
  <p:clrMapOvr>
    <a:masterClrMapping/>
  </p:clrMapOvr>
  <mc:AlternateContent xmlns:mc="http://schemas.openxmlformats.org/markup-compatibility/2006">
    <mc:Choice xmlns:p14="http://schemas.microsoft.com/office/powerpoint/2010/main" Requires="p14">
      <p:transition spd="slow" p14:dur="1250">
        <p:blinds dir="vert"/>
      </p:transition>
    </mc:Choice>
    <mc:Fallback>
      <p:transition spd="slow">
        <p:blinds dir="vert"/>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268" name="Picture 4">
            <a:extLst>
              <a:ext uri="{FF2B5EF4-FFF2-40B4-BE49-F238E27FC236}">
                <a16:creationId xmlns:a16="http://schemas.microsoft.com/office/drawing/2014/main" id="{4C952EED-7215-4DEB-B7D9-291AB21FB50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967331" y="3375277"/>
            <a:ext cx="4224669" cy="1399394"/>
          </a:xfrm>
          <a:prstGeom prst="rect">
            <a:avLst/>
          </a:prstGeom>
          <a:noFill/>
          <a:extLst>
            <a:ext uri="{909E8E84-426E-40DD-AFC4-6F175D3DCCD1}">
              <a14:hiddenFill xmlns:a14="http://schemas.microsoft.com/office/drawing/2010/main">
                <a:solidFill>
                  <a:srgbClr val="FFFFFF"/>
                </a:solidFill>
              </a14:hiddenFill>
            </a:ext>
          </a:extLst>
        </p:spPr>
      </p:pic>
      <p:pic>
        <p:nvPicPr>
          <p:cNvPr id="11272" name="Picture 8">
            <a:extLst>
              <a:ext uri="{FF2B5EF4-FFF2-40B4-BE49-F238E27FC236}">
                <a16:creationId xmlns:a16="http://schemas.microsoft.com/office/drawing/2014/main" id="{34FE3A10-E849-48D6-8902-959A3F2A3A7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258496" y="4680260"/>
            <a:ext cx="3854936" cy="985838"/>
          </a:xfrm>
          <a:prstGeom prst="rect">
            <a:avLst/>
          </a:prstGeom>
          <a:noFill/>
          <a:extLst>
            <a:ext uri="{909E8E84-426E-40DD-AFC4-6F175D3DCCD1}">
              <a14:hiddenFill xmlns:a14="http://schemas.microsoft.com/office/drawing/2010/main">
                <a:solidFill>
                  <a:srgbClr val="FFFFFF"/>
                </a:solidFill>
              </a14:hiddenFill>
            </a:ext>
          </a:extLst>
        </p:spPr>
      </p:pic>
      <p:pic>
        <p:nvPicPr>
          <p:cNvPr id="11266" name="Picture 2">
            <a:extLst>
              <a:ext uri="{FF2B5EF4-FFF2-40B4-BE49-F238E27FC236}">
                <a16:creationId xmlns:a16="http://schemas.microsoft.com/office/drawing/2014/main" id="{9F27FDBF-FBBB-4D0E-8313-9240D5CAC99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646618" y="1856578"/>
            <a:ext cx="4247300" cy="1621583"/>
          </a:xfrm>
          <a:prstGeom prst="rect">
            <a:avLst/>
          </a:prstGeom>
          <a:noFill/>
          <a:extLst>
            <a:ext uri="{909E8E84-426E-40DD-AFC4-6F175D3DCCD1}">
              <a14:hiddenFill xmlns:a14="http://schemas.microsoft.com/office/drawing/2010/main">
                <a:solidFill>
                  <a:srgbClr val="FFFFFF"/>
                </a:solidFill>
              </a14:hiddenFill>
            </a:ext>
          </a:extLst>
        </p:spPr>
      </p:pic>
      <p:sp>
        <p:nvSpPr>
          <p:cNvPr id="4" name="灯片编号占位符 3">
            <a:extLst>
              <a:ext uri="{FF2B5EF4-FFF2-40B4-BE49-F238E27FC236}">
                <a16:creationId xmlns:a16="http://schemas.microsoft.com/office/drawing/2014/main" id="{2A5C0DA9-421E-435E-A37F-75EEA4A204CB}"/>
              </a:ext>
            </a:extLst>
          </p:cNvPr>
          <p:cNvSpPr>
            <a:spLocks noGrp="1"/>
          </p:cNvSpPr>
          <p:nvPr>
            <p:ph type="sldNum" sz="quarter" idx="12"/>
          </p:nvPr>
        </p:nvSpPr>
        <p:spPr/>
        <p:txBody>
          <a:bodyPr/>
          <a:lstStyle/>
          <a:p>
            <a:fld id="{5DD3DB80-B894-403A-B48E-6FDC1A72010E}" type="slidenum">
              <a:rPr lang="zh-CN" altLang="en-US" smtClean="0"/>
              <a:pPr/>
              <a:t>13</a:t>
            </a:fld>
            <a:endParaRPr lang="zh-CN" altLang="en-US"/>
          </a:p>
        </p:txBody>
      </p:sp>
      <p:sp>
        <p:nvSpPr>
          <p:cNvPr id="5" name="标题 1">
            <a:extLst>
              <a:ext uri="{FF2B5EF4-FFF2-40B4-BE49-F238E27FC236}">
                <a16:creationId xmlns:a16="http://schemas.microsoft.com/office/drawing/2014/main" id="{A66C21BB-C083-4C2F-A2AE-920B8A20D84E}"/>
              </a:ext>
            </a:extLst>
          </p:cNvPr>
          <p:cNvSpPr>
            <a:spLocks noGrp="1"/>
          </p:cNvSpPr>
          <p:nvPr>
            <p:ph type="title"/>
          </p:nvPr>
        </p:nvSpPr>
        <p:spPr>
          <a:xfrm>
            <a:off x="669924" y="1"/>
            <a:ext cx="10850563" cy="1028699"/>
          </a:xfrm>
        </p:spPr>
        <p:txBody>
          <a:bodyPr/>
          <a:lstStyle/>
          <a:p>
            <a:r>
              <a:rPr lang="en-US" altLang="zh-CN" dirty="0"/>
              <a:t>UML</a:t>
            </a:r>
            <a:r>
              <a:rPr lang="zh-CN" altLang="en-US" dirty="0"/>
              <a:t>类图中的关系及解释</a:t>
            </a:r>
          </a:p>
        </p:txBody>
      </p:sp>
      <p:sp>
        <p:nvSpPr>
          <p:cNvPr id="6" name="文本框 5">
            <a:extLst>
              <a:ext uri="{FF2B5EF4-FFF2-40B4-BE49-F238E27FC236}">
                <a16:creationId xmlns:a16="http://schemas.microsoft.com/office/drawing/2014/main" id="{AD4EF72B-B237-4531-96CB-FAD2B6E29EE8}"/>
              </a:ext>
            </a:extLst>
          </p:cNvPr>
          <p:cNvSpPr txBox="1"/>
          <p:nvPr/>
        </p:nvSpPr>
        <p:spPr>
          <a:xfrm>
            <a:off x="669924" y="1397675"/>
            <a:ext cx="7588572" cy="2308324"/>
          </a:xfrm>
          <a:prstGeom prst="rect">
            <a:avLst/>
          </a:prstGeom>
          <a:noFill/>
        </p:spPr>
        <p:txBody>
          <a:bodyPr wrap="square" rtlCol="0">
            <a:spAutoFit/>
          </a:bodyPr>
          <a:lstStyle/>
          <a:p>
            <a:pPr algn="l"/>
            <a:r>
              <a:rPr lang="en-US" altLang="zh-CN" b="0" i="0" dirty="0">
                <a:solidFill>
                  <a:srgbClr val="0D0016"/>
                </a:solidFill>
                <a:effectLst/>
                <a:latin typeface="PingFang SC"/>
              </a:rPr>
              <a:t>3</a:t>
            </a:r>
            <a:r>
              <a:rPr lang="zh-CN" altLang="en-US" b="0" i="0" dirty="0">
                <a:solidFill>
                  <a:srgbClr val="0D0016"/>
                </a:solidFill>
                <a:effectLst/>
                <a:latin typeface="PingFang SC"/>
              </a:rPr>
              <a:t>、关联（</a:t>
            </a:r>
            <a:r>
              <a:rPr lang="en-US" altLang="zh-CN" b="0" i="0" dirty="0">
                <a:solidFill>
                  <a:srgbClr val="0D0016"/>
                </a:solidFill>
                <a:effectLst/>
                <a:latin typeface="PingFang SC"/>
              </a:rPr>
              <a:t>Association)</a:t>
            </a:r>
          </a:p>
          <a:p>
            <a:pPr algn="l"/>
            <a:r>
              <a:rPr lang="en-US" altLang="zh-CN" b="0" i="0" dirty="0">
                <a:solidFill>
                  <a:srgbClr val="0D0016"/>
                </a:solidFill>
                <a:effectLst/>
                <a:latin typeface="PingFang SC"/>
              </a:rPr>
              <a:t>        </a:t>
            </a:r>
            <a:r>
              <a:rPr lang="zh-CN" altLang="en-US" b="0" i="0" dirty="0">
                <a:solidFill>
                  <a:srgbClr val="0D0016"/>
                </a:solidFill>
                <a:effectLst/>
                <a:latin typeface="PingFang SC"/>
              </a:rPr>
              <a:t>在建模过程中必然存在类之间的联系，使类可以感知其他类的行为和属性，关联分为</a:t>
            </a:r>
            <a:r>
              <a:rPr lang="zh-CN" altLang="en-US" b="0" i="0" dirty="0">
                <a:solidFill>
                  <a:srgbClr val="FF0000"/>
                </a:solidFill>
                <a:effectLst/>
                <a:latin typeface="PingFang SC"/>
              </a:rPr>
              <a:t>双向</a:t>
            </a:r>
            <a:r>
              <a:rPr lang="zh-CN" altLang="en-US" b="0" i="0" dirty="0">
                <a:solidFill>
                  <a:srgbClr val="0D0016"/>
                </a:solidFill>
                <a:effectLst/>
                <a:latin typeface="PingFang SC"/>
              </a:rPr>
              <a:t>和</a:t>
            </a:r>
            <a:r>
              <a:rPr lang="zh-CN" altLang="en-US" b="0" i="0" dirty="0">
                <a:solidFill>
                  <a:srgbClr val="FF0000"/>
                </a:solidFill>
                <a:effectLst/>
                <a:latin typeface="PingFang SC"/>
              </a:rPr>
              <a:t>单向关联</a:t>
            </a:r>
            <a:r>
              <a:rPr lang="en-US" altLang="zh-CN" b="0" i="0" dirty="0">
                <a:solidFill>
                  <a:srgbClr val="0D0016"/>
                </a:solidFill>
                <a:effectLst/>
                <a:latin typeface="PingFang SC"/>
              </a:rPr>
              <a:t>.</a:t>
            </a:r>
          </a:p>
          <a:p>
            <a:pPr algn="l"/>
            <a:endParaRPr lang="en-US" altLang="zh-CN" b="1" i="0" dirty="0">
              <a:solidFill>
                <a:srgbClr val="0D0016"/>
              </a:solidFill>
              <a:effectLst/>
              <a:latin typeface="PingFang SC"/>
            </a:endParaRPr>
          </a:p>
          <a:p>
            <a:pPr algn="l"/>
            <a:r>
              <a:rPr lang="zh-CN" altLang="en-US" b="1" i="0" dirty="0">
                <a:solidFill>
                  <a:srgbClr val="0D0016"/>
                </a:solidFill>
                <a:effectLst/>
                <a:latin typeface="PingFang SC"/>
              </a:rPr>
              <a:t>单向关联</a:t>
            </a:r>
            <a:r>
              <a:rPr lang="en-US" altLang="zh-CN" b="0" i="0" dirty="0">
                <a:solidFill>
                  <a:srgbClr val="0D0016"/>
                </a:solidFill>
                <a:effectLst/>
                <a:latin typeface="PingFang SC"/>
              </a:rPr>
              <a:t>-</a:t>
            </a:r>
            <a:r>
              <a:rPr lang="zh-CN" altLang="en-US" b="0" i="0" dirty="0">
                <a:solidFill>
                  <a:srgbClr val="0D0016"/>
                </a:solidFill>
                <a:effectLst/>
                <a:latin typeface="PingFang SC"/>
              </a:rPr>
              <a:t>对于一个单向关联来说也是两个类是相关的，但是只有一个类知道这种联系的存在</a:t>
            </a:r>
            <a:endParaRPr lang="en-US" altLang="zh-CN" b="0" i="0" dirty="0">
              <a:solidFill>
                <a:srgbClr val="0D0016"/>
              </a:solidFill>
              <a:effectLst/>
              <a:latin typeface="PingFang SC"/>
            </a:endParaRPr>
          </a:p>
          <a:p>
            <a:pPr algn="l"/>
            <a:endParaRPr lang="en-US" altLang="zh-CN" b="1" i="0" dirty="0">
              <a:solidFill>
                <a:srgbClr val="0D0016"/>
              </a:solidFill>
              <a:effectLst/>
              <a:latin typeface="-apple-system"/>
            </a:endParaRPr>
          </a:p>
          <a:p>
            <a:pPr algn="l"/>
            <a:r>
              <a:rPr lang="zh-CN" altLang="en-US" b="1" i="0" dirty="0">
                <a:solidFill>
                  <a:srgbClr val="0D0016"/>
                </a:solidFill>
                <a:effectLst/>
                <a:latin typeface="-apple-system"/>
              </a:rPr>
              <a:t>双向关联</a:t>
            </a:r>
            <a:r>
              <a:rPr lang="en-US" altLang="zh-CN" b="1" i="0" dirty="0">
                <a:solidFill>
                  <a:srgbClr val="0D0016"/>
                </a:solidFill>
                <a:effectLst/>
                <a:latin typeface="-apple-system"/>
              </a:rPr>
              <a:t>-</a:t>
            </a:r>
            <a:r>
              <a:rPr lang="zh-CN" altLang="en-US" b="0" i="0" dirty="0">
                <a:solidFill>
                  <a:srgbClr val="0D0016"/>
                </a:solidFill>
                <a:effectLst/>
                <a:latin typeface="-apple-system"/>
              </a:rPr>
              <a:t>对于双向关联来说被关联的两个类可以感知对方的存在</a:t>
            </a:r>
            <a:endParaRPr lang="zh-CN" altLang="en-US" b="0" i="0" dirty="0">
              <a:solidFill>
                <a:srgbClr val="4D4D4D"/>
              </a:solidFill>
              <a:effectLst/>
              <a:latin typeface="-apple-system"/>
            </a:endParaRPr>
          </a:p>
        </p:txBody>
      </p:sp>
      <p:grpSp>
        <p:nvGrpSpPr>
          <p:cNvPr id="126" name="组合 125">
            <a:extLst>
              <a:ext uri="{FF2B5EF4-FFF2-40B4-BE49-F238E27FC236}">
                <a16:creationId xmlns:a16="http://schemas.microsoft.com/office/drawing/2014/main" id="{1DC0C2F1-9738-41E7-81F6-362198F3177B}"/>
              </a:ext>
            </a:extLst>
          </p:cNvPr>
          <p:cNvGrpSpPr/>
          <p:nvPr/>
        </p:nvGrpSpPr>
        <p:grpSpPr>
          <a:xfrm>
            <a:off x="10440193" y="68734"/>
            <a:ext cx="1080294" cy="1067017"/>
            <a:chOff x="4239419" y="1802606"/>
            <a:chExt cx="3713163" cy="3938588"/>
          </a:xfrm>
        </p:grpSpPr>
        <p:sp>
          <p:nvSpPr>
            <p:cNvPr id="127" name="Freeform 5">
              <a:extLst>
                <a:ext uri="{FF2B5EF4-FFF2-40B4-BE49-F238E27FC236}">
                  <a16:creationId xmlns:a16="http://schemas.microsoft.com/office/drawing/2014/main" id="{EFC19AB8-DD1E-4452-82DE-EF85C5345860}"/>
                </a:ext>
              </a:extLst>
            </p:cNvPr>
            <p:cNvSpPr>
              <a:spLocks/>
            </p:cNvSpPr>
            <p:nvPr/>
          </p:nvSpPr>
          <p:spPr bwMode="auto">
            <a:xfrm>
              <a:off x="4888706" y="1837531"/>
              <a:ext cx="3008313" cy="3455988"/>
            </a:xfrm>
            <a:custGeom>
              <a:avLst/>
              <a:gdLst>
                <a:gd name="T0" fmla="*/ 1061 w 1706"/>
                <a:gd name="T1" fmla="*/ 1952 h 1960"/>
                <a:gd name="T2" fmla="*/ 32 w 1706"/>
                <a:gd name="T3" fmla="*/ 1539 h 1960"/>
                <a:gd name="T4" fmla="*/ 9 w 1706"/>
                <a:gd name="T5" fmla="*/ 1485 h 1960"/>
                <a:gd name="T6" fmla="*/ 592 w 1706"/>
                <a:gd name="T7" fmla="*/ 32 h 1960"/>
                <a:gd name="T8" fmla="*/ 646 w 1706"/>
                <a:gd name="T9" fmla="*/ 9 h 1960"/>
                <a:gd name="T10" fmla="*/ 1674 w 1706"/>
                <a:gd name="T11" fmla="*/ 421 h 1960"/>
                <a:gd name="T12" fmla="*/ 1698 w 1706"/>
                <a:gd name="T13" fmla="*/ 475 h 1960"/>
                <a:gd name="T14" fmla="*/ 1115 w 1706"/>
                <a:gd name="T15" fmla="*/ 1929 h 1960"/>
                <a:gd name="T16" fmla="*/ 1061 w 1706"/>
                <a:gd name="T17" fmla="*/ 1952 h 19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06" h="1960">
                  <a:moveTo>
                    <a:pt x="1061" y="1952"/>
                  </a:moveTo>
                  <a:cubicBezTo>
                    <a:pt x="32" y="1539"/>
                    <a:pt x="32" y="1539"/>
                    <a:pt x="32" y="1539"/>
                  </a:cubicBezTo>
                  <a:cubicBezTo>
                    <a:pt x="11" y="1531"/>
                    <a:pt x="0" y="1507"/>
                    <a:pt x="9" y="1485"/>
                  </a:cubicBezTo>
                  <a:cubicBezTo>
                    <a:pt x="592" y="32"/>
                    <a:pt x="592" y="32"/>
                    <a:pt x="592" y="32"/>
                  </a:cubicBezTo>
                  <a:cubicBezTo>
                    <a:pt x="601" y="11"/>
                    <a:pt x="625" y="0"/>
                    <a:pt x="646" y="9"/>
                  </a:cubicBezTo>
                  <a:cubicBezTo>
                    <a:pt x="1674" y="421"/>
                    <a:pt x="1674" y="421"/>
                    <a:pt x="1674" y="421"/>
                  </a:cubicBezTo>
                  <a:cubicBezTo>
                    <a:pt x="1696" y="430"/>
                    <a:pt x="1706" y="454"/>
                    <a:pt x="1698" y="475"/>
                  </a:cubicBezTo>
                  <a:cubicBezTo>
                    <a:pt x="1115" y="1929"/>
                    <a:pt x="1115" y="1929"/>
                    <a:pt x="1115" y="1929"/>
                  </a:cubicBezTo>
                  <a:cubicBezTo>
                    <a:pt x="1106" y="1950"/>
                    <a:pt x="1082" y="1960"/>
                    <a:pt x="1061" y="1952"/>
                  </a:cubicBezTo>
                  <a:close/>
                </a:path>
              </a:pathLst>
            </a:custGeom>
            <a:solidFill>
              <a:srgbClr val="424242">
                <a:alpha val="20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8" name="Freeform 6">
              <a:extLst>
                <a:ext uri="{FF2B5EF4-FFF2-40B4-BE49-F238E27FC236}">
                  <a16:creationId xmlns:a16="http://schemas.microsoft.com/office/drawing/2014/main" id="{DC027539-F95C-4F53-80F9-00814C589D1A}"/>
                </a:ext>
              </a:extLst>
            </p:cNvPr>
            <p:cNvSpPr>
              <a:spLocks/>
            </p:cNvSpPr>
            <p:nvPr/>
          </p:nvSpPr>
          <p:spPr bwMode="auto">
            <a:xfrm>
              <a:off x="4944269" y="1802606"/>
              <a:ext cx="3008313" cy="3455988"/>
            </a:xfrm>
            <a:custGeom>
              <a:avLst/>
              <a:gdLst>
                <a:gd name="T0" fmla="*/ 1061 w 1706"/>
                <a:gd name="T1" fmla="*/ 1952 h 1960"/>
                <a:gd name="T2" fmla="*/ 32 w 1706"/>
                <a:gd name="T3" fmla="*/ 1539 h 1960"/>
                <a:gd name="T4" fmla="*/ 9 w 1706"/>
                <a:gd name="T5" fmla="*/ 1485 h 1960"/>
                <a:gd name="T6" fmla="*/ 592 w 1706"/>
                <a:gd name="T7" fmla="*/ 32 h 1960"/>
                <a:gd name="T8" fmla="*/ 646 w 1706"/>
                <a:gd name="T9" fmla="*/ 9 h 1960"/>
                <a:gd name="T10" fmla="*/ 1674 w 1706"/>
                <a:gd name="T11" fmla="*/ 421 h 1960"/>
                <a:gd name="T12" fmla="*/ 1698 w 1706"/>
                <a:gd name="T13" fmla="*/ 475 h 1960"/>
                <a:gd name="T14" fmla="*/ 1115 w 1706"/>
                <a:gd name="T15" fmla="*/ 1929 h 1960"/>
                <a:gd name="T16" fmla="*/ 1061 w 1706"/>
                <a:gd name="T17" fmla="*/ 1952 h 19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06" h="1960">
                  <a:moveTo>
                    <a:pt x="1061" y="1952"/>
                  </a:moveTo>
                  <a:cubicBezTo>
                    <a:pt x="32" y="1539"/>
                    <a:pt x="32" y="1539"/>
                    <a:pt x="32" y="1539"/>
                  </a:cubicBezTo>
                  <a:cubicBezTo>
                    <a:pt x="11" y="1531"/>
                    <a:pt x="0" y="1507"/>
                    <a:pt x="9" y="1485"/>
                  </a:cubicBezTo>
                  <a:cubicBezTo>
                    <a:pt x="592" y="32"/>
                    <a:pt x="592" y="32"/>
                    <a:pt x="592" y="32"/>
                  </a:cubicBezTo>
                  <a:cubicBezTo>
                    <a:pt x="601" y="11"/>
                    <a:pt x="625" y="0"/>
                    <a:pt x="646" y="9"/>
                  </a:cubicBezTo>
                  <a:cubicBezTo>
                    <a:pt x="1674" y="421"/>
                    <a:pt x="1674" y="421"/>
                    <a:pt x="1674" y="421"/>
                  </a:cubicBezTo>
                  <a:cubicBezTo>
                    <a:pt x="1696" y="430"/>
                    <a:pt x="1706" y="454"/>
                    <a:pt x="1698" y="475"/>
                  </a:cubicBezTo>
                  <a:cubicBezTo>
                    <a:pt x="1115" y="1929"/>
                    <a:pt x="1115" y="1929"/>
                    <a:pt x="1115" y="1929"/>
                  </a:cubicBezTo>
                  <a:cubicBezTo>
                    <a:pt x="1106" y="1950"/>
                    <a:pt x="1082" y="1960"/>
                    <a:pt x="1061" y="1952"/>
                  </a:cubicBezTo>
                  <a:close/>
                </a:path>
              </a:pathLst>
            </a:custGeom>
            <a:solidFill>
              <a:srgbClr val="E4E4E4"/>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29" name="Freeform 7">
              <a:extLst>
                <a:ext uri="{FF2B5EF4-FFF2-40B4-BE49-F238E27FC236}">
                  <a16:creationId xmlns:a16="http://schemas.microsoft.com/office/drawing/2014/main" id="{86C72124-010E-4EAB-AF5E-A53C0D0B786F}"/>
                </a:ext>
              </a:extLst>
            </p:cNvPr>
            <p:cNvSpPr>
              <a:spLocks/>
            </p:cNvSpPr>
            <p:nvPr/>
          </p:nvSpPr>
          <p:spPr bwMode="auto">
            <a:xfrm>
              <a:off x="4944269" y="1802606"/>
              <a:ext cx="1427163" cy="2827338"/>
            </a:xfrm>
            <a:custGeom>
              <a:avLst/>
              <a:gdLst>
                <a:gd name="T0" fmla="*/ 194 w 809"/>
                <a:gd name="T1" fmla="*/ 1604 h 1604"/>
                <a:gd name="T2" fmla="*/ 32 w 809"/>
                <a:gd name="T3" fmla="*/ 1539 h 1604"/>
                <a:gd name="T4" fmla="*/ 9 w 809"/>
                <a:gd name="T5" fmla="*/ 1486 h 1604"/>
                <a:gd name="T6" fmla="*/ 592 w 809"/>
                <a:gd name="T7" fmla="*/ 32 h 1604"/>
                <a:gd name="T8" fmla="*/ 646 w 809"/>
                <a:gd name="T9" fmla="*/ 9 h 1604"/>
                <a:gd name="T10" fmla="*/ 809 w 809"/>
                <a:gd name="T11" fmla="*/ 74 h 1604"/>
                <a:gd name="T12" fmla="*/ 195 w 809"/>
                <a:gd name="T13" fmla="*/ 1604 h 1604"/>
                <a:gd name="T14" fmla="*/ 194 w 809"/>
                <a:gd name="T15" fmla="*/ 1604 h 16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9" h="1604">
                  <a:moveTo>
                    <a:pt x="194" y="1604"/>
                  </a:moveTo>
                  <a:cubicBezTo>
                    <a:pt x="32" y="1539"/>
                    <a:pt x="32" y="1539"/>
                    <a:pt x="32" y="1539"/>
                  </a:cubicBezTo>
                  <a:cubicBezTo>
                    <a:pt x="11" y="1531"/>
                    <a:pt x="0" y="1507"/>
                    <a:pt x="9" y="1486"/>
                  </a:cubicBezTo>
                  <a:cubicBezTo>
                    <a:pt x="592" y="32"/>
                    <a:pt x="592" y="32"/>
                    <a:pt x="592" y="32"/>
                  </a:cubicBezTo>
                  <a:cubicBezTo>
                    <a:pt x="601" y="10"/>
                    <a:pt x="625" y="0"/>
                    <a:pt x="646" y="9"/>
                  </a:cubicBezTo>
                  <a:cubicBezTo>
                    <a:pt x="809" y="74"/>
                    <a:pt x="809" y="74"/>
                    <a:pt x="809" y="74"/>
                  </a:cubicBezTo>
                  <a:cubicBezTo>
                    <a:pt x="195" y="1604"/>
                    <a:pt x="195" y="1604"/>
                    <a:pt x="195" y="1604"/>
                  </a:cubicBezTo>
                  <a:cubicBezTo>
                    <a:pt x="195" y="1604"/>
                    <a:pt x="194" y="1604"/>
                    <a:pt x="194" y="1604"/>
                  </a:cubicBezTo>
                  <a:close/>
                </a:path>
              </a:pathLst>
            </a:custGeom>
            <a:solidFill>
              <a:srgbClr val="C1C0BF"/>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30" name="Freeform 8">
              <a:extLst>
                <a:ext uri="{FF2B5EF4-FFF2-40B4-BE49-F238E27FC236}">
                  <a16:creationId xmlns:a16="http://schemas.microsoft.com/office/drawing/2014/main" id="{8571DE63-0356-4765-A3E4-5C55AF1CDE96}"/>
                </a:ext>
              </a:extLst>
            </p:cNvPr>
            <p:cNvSpPr>
              <a:spLocks/>
            </p:cNvSpPr>
            <p:nvPr/>
          </p:nvSpPr>
          <p:spPr bwMode="auto">
            <a:xfrm>
              <a:off x="4291806" y="1967706"/>
              <a:ext cx="1431925" cy="2081213"/>
            </a:xfrm>
            <a:custGeom>
              <a:avLst/>
              <a:gdLst>
                <a:gd name="T0" fmla="*/ 775 w 812"/>
                <a:gd name="T1" fmla="*/ 1108 h 1180"/>
                <a:gd name="T2" fmla="*/ 163 w 812"/>
                <a:gd name="T3" fmla="*/ 1178 h 1180"/>
                <a:gd name="T4" fmla="*/ 120 w 812"/>
                <a:gd name="T5" fmla="*/ 1144 h 1180"/>
                <a:gd name="T6" fmla="*/ 2 w 812"/>
                <a:gd name="T7" fmla="*/ 115 h 1180"/>
                <a:gd name="T8" fmla="*/ 36 w 812"/>
                <a:gd name="T9" fmla="*/ 72 h 1180"/>
                <a:gd name="T10" fmla="*/ 649 w 812"/>
                <a:gd name="T11" fmla="*/ 2 h 1180"/>
                <a:gd name="T12" fmla="*/ 692 w 812"/>
                <a:gd name="T13" fmla="*/ 36 h 1180"/>
                <a:gd name="T14" fmla="*/ 809 w 812"/>
                <a:gd name="T15" fmla="*/ 1065 h 1180"/>
                <a:gd name="T16" fmla="*/ 775 w 812"/>
                <a:gd name="T17" fmla="*/ 1108 h 1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2" h="1180">
                  <a:moveTo>
                    <a:pt x="775" y="1108"/>
                  </a:moveTo>
                  <a:cubicBezTo>
                    <a:pt x="163" y="1178"/>
                    <a:pt x="163" y="1178"/>
                    <a:pt x="163" y="1178"/>
                  </a:cubicBezTo>
                  <a:cubicBezTo>
                    <a:pt x="141" y="1180"/>
                    <a:pt x="122" y="1165"/>
                    <a:pt x="120" y="1144"/>
                  </a:cubicBezTo>
                  <a:cubicBezTo>
                    <a:pt x="2" y="115"/>
                    <a:pt x="2" y="115"/>
                    <a:pt x="2" y="115"/>
                  </a:cubicBezTo>
                  <a:cubicBezTo>
                    <a:pt x="0" y="94"/>
                    <a:pt x="15" y="75"/>
                    <a:pt x="36" y="72"/>
                  </a:cubicBezTo>
                  <a:cubicBezTo>
                    <a:pt x="649" y="2"/>
                    <a:pt x="649" y="2"/>
                    <a:pt x="649" y="2"/>
                  </a:cubicBezTo>
                  <a:cubicBezTo>
                    <a:pt x="670" y="0"/>
                    <a:pt x="689" y="15"/>
                    <a:pt x="692" y="36"/>
                  </a:cubicBezTo>
                  <a:cubicBezTo>
                    <a:pt x="809" y="1065"/>
                    <a:pt x="809" y="1065"/>
                    <a:pt x="809" y="1065"/>
                  </a:cubicBezTo>
                  <a:cubicBezTo>
                    <a:pt x="812" y="1086"/>
                    <a:pt x="796" y="1105"/>
                    <a:pt x="775" y="1108"/>
                  </a:cubicBezTo>
                  <a:close/>
                </a:path>
              </a:pathLst>
            </a:custGeom>
            <a:solidFill>
              <a:srgbClr val="424242">
                <a:alpha val="20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31" name="Freeform 9">
              <a:extLst>
                <a:ext uri="{FF2B5EF4-FFF2-40B4-BE49-F238E27FC236}">
                  <a16:creationId xmlns:a16="http://schemas.microsoft.com/office/drawing/2014/main" id="{875D7BCF-A630-497B-8704-AEA1F08B7D18}"/>
                </a:ext>
              </a:extLst>
            </p:cNvPr>
            <p:cNvSpPr>
              <a:spLocks/>
            </p:cNvSpPr>
            <p:nvPr/>
          </p:nvSpPr>
          <p:spPr bwMode="auto">
            <a:xfrm>
              <a:off x="4334669" y="1918494"/>
              <a:ext cx="1431925" cy="2081213"/>
            </a:xfrm>
            <a:custGeom>
              <a:avLst/>
              <a:gdLst>
                <a:gd name="T0" fmla="*/ 775 w 812"/>
                <a:gd name="T1" fmla="*/ 1108 h 1180"/>
                <a:gd name="T2" fmla="*/ 163 w 812"/>
                <a:gd name="T3" fmla="*/ 1178 h 1180"/>
                <a:gd name="T4" fmla="*/ 120 w 812"/>
                <a:gd name="T5" fmla="*/ 1144 h 1180"/>
                <a:gd name="T6" fmla="*/ 2 w 812"/>
                <a:gd name="T7" fmla="*/ 115 h 1180"/>
                <a:gd name="T8" fmla="*/ 36 w 812"/>
                <a:gd name="T9" fmla="*/ 72 h 1180"/>
                <a:gd name="T10" fmla="*/ 649 w 812"/>
                <a:gd name="T11" fmla="*/ 2 h 1180"/>
                <a:gd name="T12" fmla="*/ 692 w 812"/>
                <a:gd name="T13" fmla="*/ 36 h 1180"/>
                <a:gd name="T14" fmla="*/ 809 w 812"/>
                <a:gd name="T15" fmla="*/ 1065 h 1180"/>
                <a:gd name="T16" fmla="*/ 775 w 812"/>
                <a:gd name="T17" fmla="*/ 1108 h 1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2" h="1180">
                  <a:moveTo>
                    <a:pt x="775" y="1108"/>
                  </a:moveTo>
                  <a:cubicBezTo>
                    <a:pt x="163" y="1178"/>
                    <a:pt x="163" y="1178"/>
                    <a:pt x="163" y="1178"/>
                  </a:cubicBezTo>
                  <a:cubicBezTo>
                    <a:pt x="141" y="1180"/>
                    <a:pt x="122" y="1165"/>
                    <a:pt x="120" y="1144"/>
                  </a:cubicBezTo>
                  <a:cubicBezTo>
                    <a:pt x="2" y="115"/>
                    <a:pt x="2" y="115"/>
                    <a:pt x="2" y="115"/>
                  </a:cubicBezTo>
                  <a:cubicBezTo>
                    <a:pt x="0" y="94"/>
                    <a:pt x="15" y="75"/>
                    <a:pt x="36" y="72"/>
                  </a:cubicBezTo>
                  <a:cubicBezTo>
                    <a:pt x="649" y="2"/>
                    <a:pt x="649" y="2"/>
                    <a:pt x="649" y="2"/>
                  </a:cubicBezTo>
                  <a:cubicBezTo>
                    <a:pt x="670" y="0"/>
                    <a:pt x="689" y="15"/>
                    <a:pt x="692" y="36"/>
                  </a:cubicBezTo>
                  <a:cubicBezTo>
                    <a:pt x="809" y="1065"/>
                    <a:pt x="809" y="1065"/>
                    <a:pt x="809" y="1065"/>
                  </a:cubicBezTo>
                  <a:cubicBezTo>
                    <a:pt x="812" y="1086"/>
                    <a:pt x="796" y="1105"/>
                    <a:pt x="775" y="1108"/>
                  </a:cubicBezTo>
                  <a:close/>
                </a:path>
              </a:pathLst>
            </a:custGeom>
            <a:solidFill>
              <a:srgbClr val="1B4771"/>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32" name="Freeform 10">
              <a:extLst>
                <a:ext uri="{FF2B5EF4-FFF2-40B4-BE49-F238E27FC236}">
                  <a16:creationId xmlns:a16="http://schemas.microsoft.com/office/drawing/2014/main" id="{BAA0F5BB-A4A7-4D56-83DE-AC83AF98351B}"/>
                </a:ext>
              </a:extLst>
            </p:cNvPr>
            <p:cNvSpPr>
              <a:spLocks/>
            </p:cNvSpPr>
            <p:nvPr/>
          </p:nvSpPr>
          <p:spPr bwMode="auto">
            <a:xfrm>
              <a:off x="4415631" y="1918494"/>
              <a:ext cx="1350963" cy="2071688"/>
            </a:xfrm>
            <a:custGeom>
              <a:avLst/>
              <a:gdLst>
                <a:gd name="T0" fmla="*/ 730 w 766"/>
                <a:gd name="T1" fmla="*/ 1108 h 1175"/>
                <a:gd name="T2" fmla="*/ 162 w 766"/>
                <a:gd name="T3" fmla="*/ 1173 h 1175"/>
                <a:gd name="T4" fmla="*/ 120 w 766"/>
                <a:gd name="T5" fmla="*/ 1140 h 1175"/>
                <a:gd name="T6" fmla="*/ 2 w 766"/>
                <a:gd name="T7" fmla="*/ 109 h 1175"/>
                <a:gd name="T8" fmla="*/ 35 w 766"/>
                <a:gd name="T9" fmla="*/ 67 h 1175"/>
                <a:gd name="T10" fmla="*/ 604 w 766"/>
                <a:gd name="T11" fmla="*/ 2 h 1175"/>
                <a:gd name="T12" fmla="*/ 646 w 766"/>
                <a:gd name="T13" fmla="*/ 35 h 1175"/>
                <a:gd name="T14" fmla="*/ 763 w 766"/>
                <a:gd name="T15" fmla="*/ 1066 h 1175"/>
                <a:gd name="T16" fmla="*/ 730 w 766"/>
                <a:gd name="T17" fmla="*/ 1108 h 1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6" h="1175">
                  <a:moveTo>
                    <a:pt x="730" y="1108"/>
                  </a:moveTo>
                  <a:cubicBezTo>
                    <a:pt x="162" y="1173"/>
                    <a:pt x="162" y="1173"/>
                    <a:pt x="162" y="1173"/>
                  </a:cubicBezTo>
                  <a:cubicBezTo>
                    <a:pt x="141" y="1175"/>
                    <a:pt x="122" y="1160"/>
                    <a:pt x="120" y="1140"/>
                  </a:cubicBezTo>
                  <a:cubicBezTo>
                    <a:pt x="2" y="109"/>
                    <a:pt x="2" y="109"/>
                    <a:pt x="2" y="109"/>
                  </a:cubicBezTo>
                  <a:cubicBezTo>
                    <a:pt x="0" y="88"/>
                    <a:pt x="15" y="69"/>
                    <a:pt x="35" y="67"/>
                  </a:cubicBezTo>
                  <a:cubicBezTo>
                    <a:pt x="604" y="2"/>
                    <a:pt x="604" y="2"/>
                    <a:pt x="604" y="2"/>
                  </a:cubicBezTo>
                  <a:cubicBezTo>
                    <a:pt x="625" y="0"/>
                    <a:pt x="643" y="14"/>
                    <a:pt x="646" y="35"/>
                  </a:cubicBezTo>
                  <a:cubicBezTo>
                    <a:pt x="763" y="1066"/>
                    <a:pt x="763" y="1066"/>
                    <a:pt x="763" y="1066"/>
                  </a:cubicBezTo>
                  <a:cubicBezTo>
                    <a:pt x="766" y="1087"/>
                    <a:pt x="751" y="1105"/>
                    <a:pt x="730" y="1108"/>
                  </a:cubicBezTo>
                  <a:close/>
                </a:path>
              </a:pathLst>
            </a:custGeom>
            <a:solidFill>
              <a:srgbClr val="417DBB"/>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33" name="Freeform 11">
              <a:extLst>
                <a:ext uri="{FF2B5EF4-FFF2-40B4-BE49-F238E27FC236}">
                  <a16:creationId xmlns:a16="http://schemas.microsoft.com/office/drawing/2014/main" id="{F97D3F5B-4953-4582-B499-512E9B8B9C1D}"/>
                </a:ext>
              </a:extLst>
            </p:cNvPr>
            <p:cNvSpPr>
              <a:spLocks/>
            </p:cNvSpPr>
            <p:nvPr/>
          </p:nvSpPr>
          <p:spPr bwMode="auto">
            <a:xfrm>
              <a:off x="4415631" y="1918494"/>
              <a:ext cx="1209675" cy="819150"/>
            </a:xfrm>
            <a:custGeom>
              <a:avLst/>
              <a:gdLst>
                <a:gd name="T0" fmla="*/ 686 w 686"/>
                <a:gd name="T1" fmla="*/ 391 h 465"/>
                <a:gd name="T2" fmla="*/ 646 w 686"/>
                <a:gd name="T3" fmla="*/ 35 h 465"/>
                <a:gd name="T4" fmla="*/ 604 w 686"/>
                <a:gd name="T5" fmla="*/ 2 h 465"/>
                <a:gd name="T6" fmla="*/ 35 w 686"/>
                <a:gd name="T7" fmla="*/ 67 h 465"/>
                <a:gd name="T8" fmla="*/ 2 w 686"/>
                <a:gd name="T9" fmla="*/ 109 h 465"/>
                <a:gd name="T10" fmla="*/ 43 w 686"/>
                <a:gd name="T11" fmla="*/ 465 h 465"/>
                <a:gd name="T12" fmla="*/ 686 w 686"/>
                <a:gd name="T13" fmla="*/ 391 h 465"/>
              </a:gdLst>
              <a:ahLst/>
              <a:cxnLst>
                <a:cxn ang="0">
                  <a:pos x="T0" y="T1"/>
                </a:cxn>
                <a:cxn ang="0">
                  <a:pos x="T2" y="T3"/>
                </a:cxn>
                <a:cxn ang="0">
                  <a:pos x="T4" y="T5"/>
                </a:cxn>
                <a:cxn ang="0">
                  <a:pos x="T6" y="T7"/>
                </a:cxn>
                <a:cxn ang="0">
                  <a:pos x="T8" y="T9"/>
                </a:cxn>
                <a:cxn ang="0">
                  <a:pos x="T10" y="T11"/>
                </a:cxn>
                <a:cxn ang="0">
                  <a:pos x="T12" y="T13"/>
                </a:cxn>
              </a:cxnLst>
              <a:rect l="0" t="0" r="r" b="b"/>
              <a:pathLst>
                <a:path w="686" h="465">
                  <a:moveTo>
                    <a:pt x="686" y="391"/>
                  </a:moveTo>
                  <a:cubicBezTo>
                    <a:pt x="646" y="35"/>
                    <a:pt x="646" y="35"/>
                    <a:pt x="646" y="35"/>
                  </a:cubicBezTo>
                  <a:cubicBezTo>
                    <a:pt x="643" y="14"/>
                    <a:pt x="625" y="0"/>
                    <a:pt x="604" y="2"/>
                  </a:cubicBezTo>
                  <a:cubicBezTo>
                    <a:pt x="35" y="67"/>
                    <a:pt x="35" y="67"/>
                    <a:pt x="35" y="67"/>
                  </a:cubicBezTo>
                  <a:cubicBezTo>
                    <a:pt x="15" y="69"/>
                    <a:pt x="0" y="88"/>
                    <a:pt x="2" y="109"/>
                  </a:cubicBezTo>
                  <a:cubicBezTo>
                    <a:pt x="43" y="465"/>
                    <a:pt x="43" y="465"/>
                    <a:pt x="43" y="465"/>
                  </a:cubicBezTo>
                  <a:lnTo>
                    <a:pt x="686" y="391"/>
                  </a:lnTo>
                  <a:close/>
                </a:path>
              </a:pathLst>
            </a:custGeom>
            <a:solidFill>
              <a:srgbClr val="336290"/>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34" name="Freeform 12">
              <a:extLst>
                <a:ext uri="{FF2B5EF4-FFF2-40B4-BE49-F238E27FC236}">
                  <a16:creationId xmlns:a16="http://schemas.microsoft.com/office/drawing/2014/main" id="{636A327B-0A95-4CEB-A5AC-3AE3BBD3EF25}"/>
                </a:ext>
              </a:extLst>
            </p:cNvPr>
            <p:cNvSpPr>
              <a:spLocks/>
            </p:cNvSpPr>
            <p:nvPr/>
          </p:nvSpPr>
          <p:spPr bwMode="auto">
            <a:xfrm>
              <a:off x="4542631" y="2067719"/>
              <a:ext cx="957263" cy="555625"/>
            </a:xfrm>
            <a:custGeom>
              <a:avLst/>
              <a:gdLst>
                <a:gd name="T0" fmla="*/ 527 w 543"/>
                <a:gd name="T1" fmla="*/ 259 h 315"/>
                <a:gd name="T2" fmla="*/ 46 w 543"/>
                <a:gd name="T3" fmla="*/ 314 h 315"/>
                <a:gd name="T4" fmla="*/ 27 w 543"/>
                <a:gd name="T5" fmla="*/ 299 h 315"/>
                <a:gd name="T6" fmla="*/ 1 w 543"/>
                <a:gd name="T7" fmla="*/ 75 h 315"/>
                <a:gd name="T8" fmla="*/ 16 w 543"/>
                <a:gd name="T9" fmla="*/ 56 h 315"/>
                <a:gd name="T10" fmla="*/ 498 w 543"/>
                <a:gd name="T11" fmla="*/ 1 h 315"/>
                <a:gd name="T12" fmla="*/ 516 w 543"/>
                <a:gd name="T13" fmla="*/ 16 h 315"/>
                <a:gd name="T14" fmla="*/ 542 w 543"/>
                <a:gd name="T15" fmla="*/ 241 h 315"/>
                <a:gd name="T16" fmla="*/ 527 w 543"/>
                <a:gd name="T17" fmla="*/ 259 h 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3" h="315">
                  <a:moveTo>
                    <a:pt x="527" y="259"/>
                  </a:moveTo>
                  <a:cubicBezTo>
                    <a:pt x="46" y="314"/>
                    <a:pt x="46" y="314"/>
                    <a:pt x="46" y="314"/>
                  </a:cubicBezTo>
                  <a:cubicBezTo>
                    <a:pt x="36" y="315"/>
                    <a:pt x="28" y="309"/>
                    <a:pt x="27" y="299"/>
                  </a:cubicBezTo>
                  <a:cubicBezTo>
                    <a:pt x="1" y="75"/>
                    <a:pt x="1" y="75"/>
                    <a:pt x="1" y="75"/>
                  </a:cubicBezTo>
                  <a:cubicBezTo>
                    <a:pt x="0" y="66"/>
                    <a:pt x="7" y="57"/>
                    <a:pt x="16" y="56"/>
                  </a:cubicBezTo>
                  <a:cubicBezTo>
                    <a:pt x="498" y="1"/>
                    <a:pt x="498" y="1"/>
                    <a:pt x="498" y="1"/>
                  </a:cubicBezTo>
                  <a:cubicBezTo>
                    <a:pt x="507" y="0"/>
                    <a:pt x="515" y="7"/>
                    <a:pt x="516" y="16"/>
                  </a:cubicBezTo>
                  <a:cubicBezTo>
                    <a:pt x="542" y="241"/>
                    <a:pt x="542" y="241"/>
                    <a:pt x="542" y="241"/>
                  </a:cubicBezTo>
                  <a:cubicBezTo>
                    <a:pt x="543" y="250"/>
                    <a:pt x="536" y="258"/>
                    <a:pt x="527" y="259"/>
                  </a:cubicBezTo>
                  <a:close/>
                </a:path>
              </a:pathLst>
            </a:custGeom>
            <a:solidFill>
              <a:srgbClr val="01B1E9"/>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35" name="Freeform 13">
              <a:extLst>
                <a:ext uri="{FF2B5EF4-FFF2-40B4-BE49-F238E27FC236}">
                  <a16:creationId xmlns:a16="http://schemas.microsoft.com/office/drawing/2014/main" id="{A2CD11F0-9BEA-409C-B692-31B8F733EE84}"/>
                </a:ext>
              </a:extLst>
            </p:cNvPr>
            <p:cNvSpPr>
              <a:spLocks/>
            </p:cNvSpPr>
            <p:nvPr/>
          </p:nvSpPr>
          <p:spPr bwMode="auto">
            <a:xfrm>
              <a:off x="5409406" y="2971006"/>
              <a:ext cx="217488" cy="320675"/>
            </a:xfrm>
            <a:custGeom>
              <a:avLst/>
              <a:gdLst>
                <a:gd name="T0" fmla="*/ 95 w 123"/>
                <a:gd name="T1" fmla="*/ 174 h 182"/>
                <a:gd name="T2" fmla="*/ 47 w 123"/>
                <a:gd name="T3" fmla="*/ 180 h 182"/>
                <a:gd name="T4" fmla="*/ 15 w 123"/>
                <a:gd name="T5" fmla="*/ 154 h 182"/>
                <a:gd name="T6" fmla="*/ 2 w 123"/>
                <a:gd name="T7" fmla="*/ 40 h 182"/>
                <a:gd name="T8" fmla="*/ 28 w 123"/>
                <a:gd name="T9" fmla="*/ 7 h 182"/>
                <a:gd name="T10" fmla="*/ 75 w 123"/>
                <a:gd name="T11" fmla="*/ 2 h 182"/>
                <a:gd name="T12" fmla="*/ 108 w 123"/>
                <a:gd name="T13" fmla="*/ 28 h 182"/>
                <a:gd name="T14" fmla="*/ 121 w 123"/>
                <a:gd name="T15" fmla="*/ 142 h 182"/>
                <a:gd name="T16" fmla="*/ 95 w 123"/>
                <a:gd name="T17" fmla="*/ 174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182">
                  <a:moveTo>
                    <a:pt x="95" y="174"/>
                  </a:moveTo>
                  <a:cubicBezTo>
                    <a:pt x="47" y="180"/>
                    <a:pt x="47" y="180"/>
                    <a:pt x="47" y="180"/>
                  </a:cubicBezTo>
                  <a:cubicBezTo>
                    <a:pt x="31" y="182"/>
                    <a:pt x="16" y="170"/>
                    <a:pt x="15" y="154"/>
                  </a:cubicBezTo>
                  <a:cubicBezTo>
                    <a:pt x="2" y="40"/>
                    <a:pt x="2" y="40"/>
                    <a:pt x="2" y="40"/>
                  </a:cubicBezTo>
                  <a:cubicBezTo>
                    <a:pt x="0" y="24"/>
                    <a:pt x="11" y="9"/>
                    <a:pt x="28" y="7"/>
                  </a:cubicBezTo>
                  <a:cubicBezTo>
                    <a:pt x="75" y="2"/>
                    <a:pt x="75" y="2"/>
                    <a:pt x="75" y="2"/>
                  </a:cubicBezTo>
                  <a:cubicBezTo>
                    <a:pt x="91" y="0"/>
                    <a:pt x="106" y="11"/>
                    <a:pt x="108" y="28"/>
                  </a:cubicBezTo>
                  <a:cubicBezTo>
                    <a:pt x="121" y="142"/>
                    <a:pt x="121" y="142"/>
                    <a:pt x="121" y="142"/>
                  </a:cubicBezTo>
                  <a:cubicBezTo>
                    <a:pt x="123" y="158"/>
                    <a:pt x="111" y="172"/>
                    <a:pt x="95" y="174"/>
                  </a:cubicBezTo>
                  <a:close/>
                </a:path>
              </a:pathLst>
            </a:custGeom>
            <a:solidFill>
              <a:srgbClr val="06AEED"/>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36" name="Freeform 14">
              <a:extLst>
                <a:ext uri="{FF2B5EF4-FFF2-40B4-BE49-F238E27FC236}">
                  <a16:creationId xmlns:a16="http://schemas.microsoft.com/office/drawing/2014/main" id="{C8B0A36D-71F5-4D3A-97E1-765AE8611816}"/>
                </a:ext>
              </a:extLst>
            </p:cNvPr>
            <p:cNvSpPr>
              <a:spLocks/>
            </p:cNvSpPr>
            <p:nvPr/>
          </p:nvSpPr>
          <p:spPr bwMode="auto">
            <a:xfrm>
              <a:off x="5447506" y="3309144"/>
              <a:ext cx="200025" cy="168275"/>
            </a:xfrm>
            <a:custGeom>
              <a:avLst/>
              <a:gdLst>
                <a:gd name="T0" fmla="*/ 85 w 114"/>
                <a:gd name="T1" fmla="*/ 1 h 95"/>
                <a:gd name="T2" fmla="*/ 20 w 114"/>
                <a:gd name="T3" fmla="*/ 8 h 95"/>
                <a:gd name="T4" fmla="*/ 2 w 114"/>
                <a:gd name="T5" fmla="*/ 31 h 95"/>
                <a:gd name="T6" fmla="*/ 7 w 114"/>
                <a:gd name="T7" fmla="*/ 75 h 95"/>
                <a:gd name="T8" fmla="*/ 30 w 114"/>
                <a:gd name="T9" fmla="*/ 93 h 95"/>
                <a:gd name="T10" fmla="*/ 94 w 114"/>
                <a:gd name="T11" fmla="*/ 86 h 95"/>
                <a:gd name="T12" fmla="*/ 113 w 114"/>
                <a:gd name="T13" fmla="*/ 63 h 95"/>
                <a:gd name="T14" fmla="*/ 108 w 114"/>
                <a:gd name="T15" fmla="*/ 19 h 95"/>
                <a:gd name="T16" fmla="*/ 85 w 114"/>
                <a:gd name="T17" fmla="*/ 1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4" h="95">
                  <a:moveTo>
                    <a:pt x="85" y="1"/>
                  </a:moveTo>
                  <a:cubicBezTo>
                    <a:pt x="20" y="8"/>
                    <a:pt x="20" y="8"/>
                    <a:pt x="20" y="8"/>
                  </a:cubicBezTo>
                  <a:cubicBezTo>
                    <a:pt x="8" y="10"/>
                    <a:pt x="0" y="20"/>
                    <a:pt x="2" y="31"/>
                  </a:cubicBezTo>
                  <a:cubicBezTo>
                    <a:pt x="7" y="75"/>
                    <a:pt x="7" y="75"/>
                    <a:pt x="7" y="75"/>
                  </a:cubicBezTo>
                  <a:cubicBezTo>
                    <a:pt x="8" y="86"/>
                    <a:pt x="18" y="95"/>
                    <a:pt x="30" y="93"/>
                  </a:cubicBezTo>
                  <a:cubicBezTo>
                    <a:pt x="94" y="86"/>
                    <a:pt x="94" y="86"/>
                    <a:pt x="94" y="86"/>
                  </a:cubicBezTo>
                  <a:cubicBezTo>
                    <a:pt x="106" y="85"/>
                    <a:pt x="114" y="74"/>
                    <a:pt x="113" y="63"/>
                  </a:cubicBezTo>
                  <a:cubicBezTo>
                    <a:pt x="108" y="19"/>
                    <a:pt x="108" y="19"/>
                    <a:pt x="108" y="19"/>
                  </a:cubicBezTo>
                  <a:cubicBezTo>
                    <a:pt x="106" y="8"/>
                    <a:pt x="96" y="0"/>
                    <a:pt x="85" y="1"/>
                  </a:cubicBezTo>
                  <a:close/>
                </a:path>
              </a:pathLst>
            </a:custGeom>
            <a:solidFill>
              <a:srgbClr val="06AEED"/>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37" name="Freeform 15">
              <a:extLst>
                <a:ext uri="{FF2B5EF4-FFF2-40B4-BE49-F238E27FC236}">
                  <a16:creationId xmlns:a16="http://schemas.microsoft.com/office/drawing/2014/main" id="{1AAF0803-2FD3-400E-AC3E-C021C37D151B}"/>
                </a:ext>
              </a:extLst>
            </p:cNvPr>
            <p:cNvSpPr>
              <a:spLocks/>
            </p:cNvSpPr>
            <p:nvPr/>
          </p:nvSpPr>
          <p:spPr bwMode="auto">
            <a:xfrm>
              <a:off x="5469731" y="3505994"/>
              <a:ext cx="201613" cy="166688"/>
            </a:xfrm>
            <a:custGeom>
              <a:avLst/>
              <a:gdLst>
                <a:gd name="T0" fmla="*/ 84 w 114"/>
                <a:gd name="T1" fmla="*/ 1 h 95"/>
                <a:gd name="T2" fmla="*/ 20 w 114"/>
                <a:gd name="T3" fmla="*/ 8 h 95"/>
                <a:gd name="T4" fmla="*/ 1 w 114"/>
                <a:gd name="T5" fmla="*/ 31 h 95"/>
                <a:gd name="T6" fmla="*/ 6 w 114"/>
                <a:gd name="T7" fmla="*/ 75 h 95"/>
                <a:gd name="T8" fmla="*/ 29 w 114"/>
                <a:gd name="T9" fmla="*/ 93 h 95"/>
                <a:gd name="T10" fmla="*/ 94 w 114"/>
                <a:gd name="T11" fmla="*/ 86 h 95"/>
                <a:gd name="T12" fmla="*/ 112 w 114"/>
                <a:gd name="T13" fmla="*/ 63 h 95"/>
                <a:gd name="T14" fmla="*/ 107 w 114"/>
                <a:gd name="T15" fmla="*/ 19 h 95"/>
                <a:gd name="T16" fmla="*/ 84 w 114"/>
                <a:gd name="T17" fmla="*/ 1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4" h="95">
                  <a:moveTo>
                    <a:pt x="84" y="1"/>
                  </a:moveTo>
                  <a:cubicBezTo>
                    <a:pt x="20" y="8"/>
                    <a:pt x="20" y="8"/>
                    <a:pt x="20" y="8"/>
                  </a:cubicBezTo>
                  <a:cubicBezTo>
                    <a:pt x="8" y="10"/>
                    <a:pt x="0" y="20"/>
                    <a:pt x="1" y="31"/>
                  </a:cubicBezTo>
                  <a:cubicBezTo>
                    <a:pt x="6" y="75"/>
                    <a:pt x="6" y="75"/>
                    <a:pt x="6" y="75"/>
                  </a:cubicBezTo>
                  <a:cubicBezTo>
                    <a:pt x="8" y="86"/>
                    <a:pt x="18" y="95"/>
                    <a:pt x="29" y="93"/>
                  </a:cubicBezTo>
                  <a:cubicBezTo>
                    <a:pt x="94" y="86"/>
                    <a:pt x="94" y="86"/>
                    <a:pt x="94" y="86"/>
                  </a:cubicBezTo>
                  <a:cubicBezTo>
                    <a:pt x="106" y="85"/>
                    <a:pt x="114" y="74"/>
                    <a:pt x="112" y="63"/>
                  </a:cubicBezTo>
                  <a:cubicBezTo>
                    <a:pt x="107" y="19"/>
                    <a:pt x="107" y="19"/>
                    <a:pt x="107" y="19"/>
                  </a:cubicBezTo>
                  <a:cubicBezTo>
                    <a:pt x="106" y="8"/>
                    <a:pt x="96" y="0"/>
                    <a:pt x="84" y="1"/>
                  </a:cubicBezTo>
                  <a:close/>
                </a:path>
              </a:pathLst>
            </a:custGeom>
            <a:solidFill>
              <a:srgbClr val="06AEED"/>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38" name="Freeform 16">
              <a:extLst>
                <a:ext uri="{FF2B5EF4-FFF2-40B4-BE49-F238E27FC236}">
                  <a16:creationId xmlns:a16="http://schemas.microsoft.com/office/drawing/2014/main" id="{35961C2F-4A42-40C0-BB13-4FC120B9EC86}"/>
                </a:ext>
              </a:extLst>
            </p:cNvPr>
            <p:cNvSpPr>
              <a:spLocks/>
            </p:cNvSpPr>
            <p:nvPr/>
          </p:nvSpPr>
          <p:spPr bwMode="auto">
            <a:xfrm>
              <a:off x="4669631" y="3053556"/>
              <a:ext cx="196850" cy="133350"/>
            </a:xfrm>
            <a:custGeom>
              <a:avLst/>
              <a:gdLst>
                <a:gd name="T0" fmla="*/ 95 w 112"/>
                <a:gd name="T1" fmla="*/ 66 h 75"/>
                <a:gd name="T2" fmla="*/ 25 w 112"/>
                <a:gd name="T3" fmla="*/ 74 h 75"/>
                <a:gd name="T4" fmla="*/ 5 w 112"/>
                <a:gd name="T5" fmla="*/ 58 h 75"/>
                <a:gd name="T6" fmla="*/ 2 w 112"/>
                <a:gd name="T7" fmla="*/ 29 h 75"/>
                <a:gd name="T8" fmla="*/ 17 w 112"/>
                <a:gd name="T9" fmla="*/ 9 h 75"/>
                <a:gd name="T10" fmla="*/ 88 w 112"/>
                <a:gd name="T11" fmla="*/ 1 h 75"/>
                <a:gd name="T12" fmla="*/ 108 w 112"/>
                <a:gd name="T13" fmla="*/ 17 h 75"/>
                <a:gd name="T14" fmla="*/ 111 w 112"/>
                <a:gd name="T15" fmla="*/ 46 h 75"/>
                <a:gd name="T16" fmla="*/ 95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5" y="66"/>
                  </a:moveTo>
                  <a:cubicBezTo>
                    <a:pt x="25" y="74"/>
                    <a:pt x="25" y="74"/>
                    <a:pt x="25" y="74"/>
                  </a:cubicBezTo>
                  <a:cubicBezTo>
                    <a:pt x="15" y="75"/>
                    <a:pt x="6" y="68"/>
                    <a:pt x="5" y="58"/>
                  </a:cubicBezTo>
                  <a:cubicBezTo>
                    <a:pt x="2" y="29"/>
                    <a:pt x="2" y="29"/>
                    <a:pt x="2" y="29"/>
                  </a:cubicBezTo>
                  <a:cubicBezTo>
                    <a:pt x="0" y="19"/>
                    <a:pt x="7" y="10"/>
                    <a:pt x="17" y="9"/>
                  </a:cubicBezTo>
                  <a:cubicBezTo>
                    <a:pt x="88" y="1"/>
                    <a:pt x="88" y="1"/>
                    <a:pt x="88" y="1"/>
                  </a:cubicBezTo>
                  <a:cubicBezTo>
                    <a:pt x="98" y="0"/>
                    <a:pt x="107" y="7"/>
                    <a:pt x="108" y="17"/>
                  </a:cubicBezTo>
                  <a:cubicBezTo>
                    <a:pt x="111" y="46"/>
                    <a:pt x="111" y="46"/>
                    <a:pt x="111" y="46"/>
                  </a:cubicBezTo>
                  <a:cubicBezTo>
                    <a:pt x="112" y="56"/>
                    <a:pt x="105" y="65"/>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39" name="Freeform 17">
              <a:extLst>
                <a:ext uri="{FF2B5EF4-FFF2-40B4-BE49-F238E27FC236}">
                  <a16:creationId xmlns:a16="http://schemas.microsoft.com/office/drawing/2014/main" id="{FC6B66F9-870B-4EF0-9E56-4EA64F481A5C}"/>
                </a:ext>
              </a:extLst>
            </p:cNvPr>
            <p:cNvSpPr>
              <a:spLocks/>
            </p:cNvSpPr>
            <p:nvPr/>
          </p:nvSpPr>
          <p:spPr bwMode="auto">
            <a:xfrm>
              <a:off x="4923631" y="3024981"/>
              <a:ext cx="196850" cy="133350"/>
            </a:xfrm>
            <a:custGeom>
              <a:avLst/>
              <a:gdLst>
                <a:gd name="T0" fmla="*/ 95 w 112"/>
                <a:gd name="T1" fmla="*/ 66 h 75"/>
                <a:gd name="T2" fmla="*/ 24 w 112"/>
                <a:gd name="T3" fmla="*/ 74 h 75"/>
                <a:gd name="T4" fmla="*/ 4 w 112"/>
                <a:gd name="T5" fmla="*/ 58 h 75"/>
                <a:gd name="T6" fmla="*/ 1 w 112"/>
                <a:gd name="T7" fmla="*/ 29 h 75"/>
                <a:gd name="T8" fmla="*/ 16 w 112"/>
                <a:gd name="T9" fmla="*/ 9 h 75"/>
                <a:gd name="T10" fmla="*/ 87 w 112"/>
                <a:gd name="T11" fmla="*/ 1 h 75"/>
                <a:gd name="T12" fmla="*/ 107 w 112"/>
                <a:gd name="T13" fmla="*/ 16 h 75"/>
                <a:gd name="T14" fmla="*/ 110 w 112"/>
                <a:gd name="T15" fmla="*/ 46 h 75"/>
                <a:gd name="T16" fmla="*/ 95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5" y="66"/>
                  </a:moveTo>
                  <a:cubicBezTo>
                    <a:pt x="24" y="74"/>
                    <a:pt x="24" y="74"/>
                    <a:pt x="24" y="74"/>
                  </a:cubicBezTo>
                  <a:cubicBezTo>
                    <a:pt x="14" y="75"/>
                    <a:pt x="5" y="68"/>
                    <a:pt x="4" y="58"/>
                  </a:cubicBezTo>
                  <a:cubicBezTo>
                    <a:pt x="1" y="29"/>
                    <a:pt x="1" y="29"/>
                    <a:pt x="1" y="29"/>
                  </a:cubicBezTo>
                  <a:cubicBezTo>
                    <a:pt x="0" y="19"/>
                    <a:pt x="7" y="10"/>
                    <a:pt x="16" y="9"/>
                  </a:cubicBezTo>
                  <a:cubicBezTo>
                    <a:pt x="87" y="1"/>
                    <a:pt x="87" y="1"/>
                    <a:pt x="87" y="1"/>
                  </a:cubicBezTo>
                  <a:cubicBezTo>
                    <a:pt x="97" y="0"/>
                    <a:pt x="106" y="7"/>
                    <a:pt x="107" y="16"/>
                  </a:cubicBezTo>
                  <a:cubicBezTo>
                    <a:pt x="110" y="46"/>
                    <a:pt x="110" y="46"/>
                    <a:pt x="110" y="46"/>
                  </a:cubicBezTo>
                  <a:cubicBezTo>
                    <a:pt x="112" y="56"/>
                    <a:pt x="104" y="64"/>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40" name="Freeform 18">
              <a:extLst>
                <a:ext uri="{FF2B5EF4-FFF2-40B4-BE49-F238E27FC236}">
                  <a16:creationId xmlns:a16="http://schemas.microsoft.com/office/drawing/2014/main" id="{02D85F2C-3CB1-4795-990C-DD4BD3BBD223}"/>
                </a:ext>
              </a:extLst>
            </p:cNvPr>
            <p:cNvSpPr>
              <a:spLocks/>
            </p:cNvSpPr>
            <p:nvPr/>
          </p:nvSpPr>
          <p:spPr bwMode="auto">
            <a:xfrm>
              <a:off x="5176044" y="2996406"/>
              <a:ext cx="196850" cy="131763"/>
            </a:xfrm>
            <a:custGeom>
              <a:avLst/>
              <a:gdLst>
                <a:gd name="T0" fmla="*/ 95 w 112"/>
                <a:gd name="T1" fmla="*/ 66 h 75"/>
                <a:gd name="T2" fmla="*/ 24 w 112"/>
                <a:gd name="T3" fmla="*/ 74 h 75"/>
                <a:gd name="T4" fmla="*/ 4 w 112"/>
                <a:gd name="T5" fmla="*/ 59 h 75"/>
                <a:gd name="T6" fmla="*/ 1 w 112"/>
                <a:gd name="T7" fmla="*/ 29 h 75"/>
                <a:gd name="T8" fmla="*/ 17 w 112"/>
                <a:gd name="T9" fmla="*/ 10 h 75"/>
                <a:gd name="T10" fmla="*/ 88 w 112"/>
                <a:gd name="T11" fmla="*/ 1 h 75"/>
                <a:gd name="T12" fmla="*/ 107 w 112"/>
                <a:gd name="T13" fmla="*/ 17 h 75"/>
                <a:gd name="T14" fmla="*/ 111 w 112"/>
                <a:gd name="T15" fmla="*/ 47 h 75"/>
                <a:gd name="T16" fmla="*/ 95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5" y="66"/>
                  </a:moveTo>
                  <a:cubicBezTo>
                    <a:pt x="24" y="74"/>
                    <a:pt x="24" y="74"/>
                    <a:pt x="24" y="74"/>
                  </a:cubicBezTo>
                  <a:cubicBezTo>
                    <a:pt x="14" y="75"/>
                    <a:pt x="6" y="68"/>
                    <a:pt x="4" y="59"/>
                  </a:cubicBezTo>
                  <a:cubicBezTo>
                    <a:pt x="1" y="29"/>
                    <a:pt x="1" y="29"/>
                    <a:pt x="1" y="29"/>
                  </a:cubicBezTo>
                  <a:cubicBezTo>
                    <a:pt x="0" y="19"/>
                    <a:pt x="7" y="11"/>
                    <a:pt x="17" y="10"/>
                  </a:cubicBezTo>
                  <a:cubicBezTo>
                    <a:pt x="88" y="1"/>
                    <a:pt x="88" y="1"/>
                    <a:pt x="88" y="1"/>
                  </a:cubicBezTo>
                  <a:cubicBezTo>
                    <a:pt x="97" y="0"/>
                    <a:pt x="106" y="7"/>
                    <a:pt x="107" y="17"/>
                  </a:cubicBezTo>
                  <a:cubicBezTo>
                    <a:pt x="111" y="47"/>
                    <a:pt x="111" y="47"/>
                    <a:pt x="111" y="47"/>
                  </a:cubicBezTo>
                  <a:cubicBezTo>
                    <a:pt x="112" y="56"/>
                    <a:pt x="105" y="65"/>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41" name="Freeform 19">
              <a:extLst>
                <a:ext uri="{FF2B5EF4-FFF2-40B4-BE49-F238E27FC236}">
                  <a16:creationId xmlns:a16="http://schemas.microsoft.com/office/drawing/2014/main" id="{91487641-3D51-4C1B-B331-6C6FB4BCD232}"/>
                </a:ext>
              </a:extLst>
            </p:cNvPr>
            <p:cNvSpPr>
              <a:spLocks/>
            </p:cNvSpPr>
            <p:nvPr/>
          </p:nvSpPr>
          <p:spPr bwMode="auto">
            <a:xfrm>
              <a:off x="4691856" y="3242469"/>
              <a:ext cx="196850" cy="131763"/>
            </a:xfrm>
            <a:custGeom>
              <a:avLst/>
              <a:gdLst>
                <a:gd name="T0" fmla="*/ 95 w 111"/>
                <a:gd name="T1" fmla="*/ 66 h 75"/>
                <a:gd name="T2" fmla="*/ 24 w 111"/>
                <a:gd name="T3" fmla="*/ 74 h 75"/>
                <a:gd name="T4" fmla="*/ 4 w 111"/>
                <a:gd name="T5" fmla="*/ 59 h 75"/>
                <a:gd name="T6" fmla="*/ 1 w 111"/>
                <a:gd name="T7" fmla="*/ 29 h 75"/>
                <a:gd name="T8" fmla="*/ 16 w 111"/>
                <a:gd name="T9" fmla="*/ 10 h 75"/>
                <a:gd name="T10" fmla="*/ 87 w 111"/>
                <a:gd name="T11" fmla="*/ 2 h 75"/>
                <a:gd name="T12" fmla="*/ 107 w 111"/>
                <a:gd name="T13" fmla="*/ 17 h 75"/>
                <a:gd name="T14" fmla="*/ 110 w 111"/>
                <a:gd name="T15" fmla="*/ 47 h 75"/>
                <a:gd name="T16" fmla="*/ 95 w 111"/>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1" h="75">
                  <a:moveTo>
                    <a:pt x="95" y="66"/>
                  </a:moveTo>
                  <a:cubicBezTo>
                    <a:pt x="24" y="74"/>
                    <a:pt x="24" y="74"/>
                    <a:pt x="24" y="74"/>
                  </a:cubicBezTo>
                  <a:cubicBezTo>
                    <a:pt x="14" y="75"/>
                    <a:pt x="5" y="68"/>
                    <a:pt x="4" y="59"/>
                  </a:cubicBezTo>
                  <a:cubicBezTo>
                    <a:pt x="1" y="29"/>
                    <a:pt x="1" y="29"/>
                    <a:pt x="1" y="29"/>
                  </a:cubicBezTo>
                  <a:cubicBezTo>
                    <a:pt x="0" y="20"/>
                    <a:pt x="7" y="11"/>
                    <a:pt x="16" y="10"/>
                  </a:cubicBezTo>
                  <a:cubicBezTo>
                    <a:pt x="87" y="2"/>
                    <a:pt x="87" y="2"/>
                    <a:pt x="87" y="2"/>
                  </a:cubicBezTo>
                  <a:cubicBezTo>
                    <a:pt x="97" y="0"/>
                    <a:pt x="106" y="7"/>
                    <a:pt x="107" y="17"/>
                  </a:cubicBezTo>
                  <a:cubicBezTo>
                    <a:pt x="110" y="47"/>
                    <a:pt x="110" y="47"/>
                    <a:pt x="110" y="47"/>
                  </a:cubicBezTo>
                  <a:cubicBezTo>
                    <a:pt x="111" y="56"/>
                    <a:pt x="104" y="65"/>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42" name="Freeform 20">
              <a:extLst>
                <a:ext uri="{FF2B5EF4-FFF2-40B4-BE49-F238E27FC236}">
                  <a16:creationId xmlns:a16="http://schemas.microsoft.com/office/drawing/2014/main" id="{11DFDB89-C0EE-46BE-86B9-C7D1F6A9FBFD}"/>
                </a:ext>
              </a:extLst>
            </p:cNvPr>
            <p:cNvSpPr>
              <a:spLocks/>
            </p:cNvSpPr>
            <p:nvPr/>
          </p:nvSpPr>
          <p:spPr bwMode="auto">
            <a:xfrm>
              <a:off x="4944269" y="3213894"/>
              <a:ext cx="198438" cy="133350"/>
            </a:xfrm>
            <a:custGeom>
              <a:avLst/>
              <a:gdLst>
                <a:gd name="T0" fmla="*/ 95 w 112"/>
                <a:gd name="T1" fmla="*/ 66 h 75"/>
                <a:gd name="T2" fmla="*/ 24 w 112"/>
                <a:gd name="T3" fmla="*/ 74 h 75"/>
                <a:gd name="T4" fmla="*/ 4 w 112"/>
                <a:gd name="T5" fmla="*/ 58 h 75"/>
                <a:gd name="T6" fmla="*/ 1 w 112"/>
                <a:gd name="T7" fmla="*/ 29 h 75"/>
                <a:gd name="T8" fmla="*/ 17 w 112"/>
                <a:gd name="T9" fmla="*/ 9 h 75"/>
                <a:gd name="T10" fmla="*/ 88 w 112"/>
                <a:gd name="T11" fmla="*/ 1 h 75"/>
                <a:gd name="T12" fmla="*/ 107 w 112"/>
                <a:gd name="T13" fmla="*/ 17 h 75"/>
                <a:gd name="T14" fmla="*/ 111 w 112"/>
                <a:gd name="T15" fmla="*/ 46 h 75"/>
                <a:gd name="T16" fmla="*/ 95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5" y="66"/>
                  </a:moveTo>
                  <a:cubicBezTo>
                    <a:pt x="24" y="74"/>
                    <a:pt x="24" y="74"/>
                    <a:pt x="24" y="74"/>
                  </a:cubicBezTo>
                  <a:cubicBezTo>
                    <a:pt x="14" y="75"/>
                    <a:pt x="6" y="68"/>
                    <a:pt x="4" y="58"/>
                  </a:cubicBezTo>
                  <a:cubicBezTo>
                    <a:pt x="1" y="29"/>
                    <a:pt x="1" y="29"/>
                    <a:pt x="1" y="29"/>
                  </a:cubicBezTo>
                  <a:cubicBezTo>
                    <a:pt x="0" y="19"/>
                    <a:pt x="7" y="10"/>
                    <a:pt x="17" y="9"/>
                  </a:cubicBezTo>
                  <a:cubicBezTo>
                    <a:pt x="88" y="1"/>
                    <a:pt x="88" y="1"/>
                    <a:pt x="88" y="1"/>
                  </a:cubicBezTo>
                  <a:cubicBezTo>
                    <a:pt x="97" y="0"/>
                    <a:pt x="106" y="7"/>
                    <a:pt x="107" y="17"/>
                  </a:cubicBezTo>
                  <a:cubicBezTo>
                    <a:pt x="111" y="46"/>
                    <a:pt x="111" y="46"/>
                    <a:pt x="111" y="46"/>
                  </a:cubicBezTo>
                  <a:cubicBezTo>
                    <a:pt x="112" y="56"/>
                    <a:pt x="105" y="65"/>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43" name="Freeform 21">
              <a:extLst>
                <a:ext uri="{FF2B5EF4-FFF2-40B4-BE49-F238E27FC236}">
                  <a16:creationId xmlns:a16="http://schemas.microsoft.com/office/drawing/2014/main" id="{1CC49FE5-8864-40E1-9E8A-BFF4988BC072}"/>
                </a:ext>
              </a:extLst>
            </p:cNvPr>
            <p:cNvSpPr>
              <a:spLocks/>
            </p:cNvSpPr>
            <p:nvPr/>
          </p:nvSpPr>
          <p:spPr bwMode="auto">
            <a:xfrm>
              <a:off x="5196681" y="3186906"/>
              <a:ext cx="196850" cy="131763"/>
            </a:xfrm>
            <a:custGeom>
              <a:avLst/>
              <a:gdLst>
                <a:gd name="T0" fmla="*/ 95 w 112"/>
                <a:gd name="T1" fmla="*/ 66 h 75"/>
                <a:gd name="T2" fmla="*/ 24 w 112"/>
                <a:gd name="T3" fmla="*/ 74 h 75"/>
                <a:gd name="T4" fmla="*/ 5 w 112"/>
                <a:gd name="T5" fmla="*/ 58 h 75"/>
                <a:gd name="T6" fmla="*/ 1 w 112"/>
                <a:gd name="T7" fmla="*/ 29 h 75"/>
                <a:gd name="T8" fmla="*/ 17 w 112"/>
                <a:gd name="T9" fmla="*/ 9 h 75"/>
                <a:gd name="T10" fmla="*/ 88 w 112"/>
                <a:gd name="T11" fmla="*/ 1 h 75"/>
                <a:gd name="T12" fmla="*/ 108 w 112"/>
                <a:gd name="T13" fmla="*/ 16 h 75"/>
                <a:gd name="T14" fmla="*/ 111 w 112"/>
                <a:gd name="T15" fmla="*/ 46 h 75"/>
                <a:gd name="T16" fmla="*/ 95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5" y="66"/>
                  </a:moveTo>
                  <a:cubicBezTo>
                    <a:pt x="24" y="74"/>
                    <a:pt x="24" y="74"/>
                    <a:pt x="24" y="74"/>
                  </a:cubicBezTo>
                  <a:cubicBezTo>
                    <a:pt x="15" y="75"/>
                    <a:pt x="6" y="68"/>
                    <a:pt x="5" y="58"/>
                  </a:cubicBezTo>
                  <a:cubicBezTo>
                    <a:pt x="1" y="29"/>
                    <a:pt x="1" y="29"/>
                    <a:pt x="1" y="29"/>
                  </a:cubicBezTo>
                  <a:cubicBezTo>
                    <a:pt x="0" y="19"/>
                    <a:pt x="7" y="10"/>
                    <a:pt x="17" y="9"/>
                  </a:cubicBezTo>
                  <a:cubicBezTo>
                    <a:pt x="88" y="1"/>
                    <a:pt x="88" y="1"/>
                    <a:pt x="88" y="1"/>
                  </a:cubicBezTo>
                  <a:cubicBezTo>
                    <a:pt x="98" y="0"/>
                    <a:pt x="106" y="7"/>
                    <a:pt x="108" y="16"/>
                  </a:cubicBezTo>
                  <a:cubicBezTo>
                    <a:pt x="111" y="46"/>
                    <a:pt x="111" y="46"/>
                    <a:pt x="111" y="46"/>
                  </a:cubicBezTo>
                  <a:cubicBezTo>
                    <a:pt x="112" y="56"/>
                    <a:pt x="105" y="64"/>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44" name="Freeform 22">
              <a:extLst>
                <a:ext uri="{FF2B5EF4-FFF2-40B4-BE49-F238E27FC236}">
                  <a16:creationId xmlns:a16="http://schemas.microsoft.com/office/drawing/2014/main" id="{E7B68CD4-AFAC-4479-8A9E-EA6E26B660FA}"/>
                </a:ext>
              </a:extLst>
            </p:cNvPr>
            <p:cNvSpPr>
              <a:spLocks/>
            </p:cNvSpPr>
            <p:nvPr/>
          </p:nvSpPr>
          <p:spPr bwMode="auto">
            <a:xfrm>
              <a:off x="4714081" y="3432969"/>
              <a:ext cx="196850" cy="131763"/>
            </a:xfrm>
            <a:custGeom>
              <a:avLst/>
              <a:gdLst>
                <a:gd name="T0" fmla="*/ 95 w 112"/>
                <a:gd name="T1" fmla="*/ 66 h 75"/>
                <a:gd name="T2" fmla="*/ 24 w 112"/>
                <a:gd name="T3" fmla="*/ 74 h 75"/>
                <a:gd name="T4" fmla="*/ 4 w 112"/>
                <a:gd name="T5" fmla="*/ 58 h 75"/>
                <a:gd name="T6" fmla="*/ 1 w 112"/>
                <a:gd name="T7" fmla="*/ 29 h 75"/>
                <a:gd name="T8" fmla="*/ 17 w 112"/>
                <a:gd name="T9" fmla="*/ 9 h 75"/>
                <a:gd name="T10" fmla="*/ 88 w 112"/>
                <a:gd name="T11" fmla="*/ 1 h 75"/>
                <a:gd name="T12" fmla="*/ 107 w 112"/>
                <a:gd name="T13" fmla="*/ 17 h 75"/>
                <a:gd name="T14" fmla="*/ 111 w 112"/>
                <a:gd name="T15" fmla="*/ 46 h 75"/>
                <a:gd name="T16" fmla="*/ 95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5" y="66"/>
                  </a:moveTo>
                  <a:cubicBezTo>
                    <a:pt x="24" y="74"/>
                    <a:pt x="24" y="74"/>
                    <a:pt x="24" y="74"/>
                  </a:cubicBezTo>
                  <a:cubicBezTo>
                    <a:pt x="14" y="75"/>
                    <a:pt x="6" y="68"/>
                    <a:pt x="4" y="58"/>
                  </a:cubicBezTo>
                  <a:cubicBezTo>
                    <a:pt x="1" y="29"/>
                    <a:pt x="1" y="29"/>
                    <a:pt x="1" y="29"/>
                  </a:cubicBezTo>
                  <a:cubicBezTo>
                    <a:pt x="0" y="19"/>
                    <a:pt x="7" y="10"/>
                    <a:pt x="17" y="9"/>
                  </a:cubicBezTo>
                  <a:cubicBezTo>
                    <a:pt x="88" y="1"/>
                    <a:pt x="88" y="1"/>
                    <a:pt x="88" y="1"/>
                  </a:cubicBezTo>
                  <a:cubicBezTo>
                    <a:pt x="97" y="0"/>
                    <a:pt x="106" y="7"/>
                    <a:pt x="107" y="17"/>
                  </a:cubicBezTo>
                  <a:cubicBezTo>
                    <a:pt x="111" y="46"/>
                    <a:pt x="111" y="46"/>
                    <a:pt x="111" y="46"/>
                  </a:cubicBezTo>
                  <a:cubicBezTo>
                    <a:pt x="112" y="56"/>
                    <a:pt x="105" y="65"/>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45" name="Freeform 23">
              <a:extLst>
                <a:ext uri="{FF2B5EF4-FFF2-40B4-BE49-F238E27FC236}">
                  <a16:creationId xmlns:a16="http://schemas.microsoft.com/office/drawing/2014/main" id="{4B522A4F-34F8-4233-9239-0479B165DEB3}"/>
                </a:ext>
              </a:extLst>
            </p:cNvPr>
            <p:cNvSpPr>
              <a:spLocks/>
            </p:cNvSpPr>
            <p:nvPr/>
          </p:nvSpPr>
          <p:spPr bwMode="auto">
            <a:xfrm>
              <a:off x="4966494" y="3402806"/>
              <a:ext cx="196850" cy="131763"/>
            </a:xfrm>
            <a:custGeom>
              <a:avLst/>
              <a:gdLst>
                <a:gd name="T0" fmla="*/ 95 w 112"/>
                <a:gd name="T1" fmla="*/ 66 h 75"/>
                <a:gd name="T2" fmla="*/ 24 w 112"/>
                <a:gd name="T3" fmla="*/ 74 h 75"/>
                <a:gd name="T4" fmla="*/ 5 w 112"/>
                <a:gd name="T5" fmla="*/ 59 h 75"/>
                <a:gd name="T6" fmla="*/ 1 w 112"/>
                <a:gd name="T7" fmla="*/ 29 h 75"/>
                <a:gd name="T8" fmla="*/ 17 w 112"/>
                <a:gd name="T9" fmla="*/ 10 h 75"/>
                <a:gd name="T10" fmla="*/ 88 w 112"/>
                <a:gd name="T11" fmla="*/ 2 h 75"/>
                <a:gd name="T12" fmla="*/ 108 w 112"/>
                <a:gd name="T13" fmla="*/ 17 h 75"/>
                <a:gd name="T14" fmla="*/ 111 w 112"/>
                <a:gd name="T15" fmla="*/ 47 h 75"/>
                <a:gd name="T16" fmla="*/ 95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5" y="66"/>
                  </a:moveTo>
                  <a:cubicBezTo>
                    <a:pt x="24" y="74"/>
                    <a:pt x="24" y="74"/>
                    <a:pt x="24" y="74"/>
                  </a:cubicBezTo>
                  <a:cubicBezTo>
                    <a:pt x="15" y="75"/>
                    <a:pt x="6" y="68"/>
                    <a:pt x="5" y="59"/>
                  </a:cubicBezTo>
                  <a:cubicBezTo>
                    <a:pt x="1" y="29"/>
                    <a:pt x="1" y="29"/>
                    <a:pt x="1" y="29"/>
                  </a:cubicBezTo>
                  <a:cubicBezTo>
                    <a:pt x="0" y="20"/>
                    <a:pt x="7" y="11"/>
                    <a:pt x="17" y="10"/>
                  </a:cubicBezTo>
                  <a:cubicBezTo>
                    <a:pt x="88" y="2"/>
                    <a:pt x="88" y="2"/>
                    <a:pt x="88" y="2"/>
                  </a:cubicBezTo>
                  <a:cubicBezTo>
                    <a:pt x="98" y="0"/>
                    <a:pt x="106" y="7"/>
                    <a:pt x="108" y="17"/>
                  </a:cubicBezTo>
                  <a:cubicBezTo>
                    <a:pt x="111" y="47"/>
                    <a:pt x="111" y="47"/>
                    <a:pt x="111" y="47"/>
                  </a:cubicBezTo>
                  <a:cubicBezTo>
                    <a:pt x="112" y="56"/>
                    <a:pt x="105" y="65"/>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46" name="Freeform 24">
              <a:extLst>
                <a:ext uri="{FF2B5EF4-FFF2-40B4-BE49-F238E27FC236}">
                  <a16:creationId xmlns:a16="http://schemas.microsoft.com/office/drawing/2014/main" id="{ED862C7D-08D2-492D-B1F3-E4C7C11ED2DB}"/>
                </a:ext>
              </a:extLst>
            </p:cNvPr>
            <p:cNvSpPr>
              <a:spLocks/>
            </p:cNvSpPr>
            <p:nvPr/>
          </p:nvSpPr>
          <p:spPr bwMode="auto">
            <a:xfrm>
              <a:off x="5220494" y="3374231"/>
              <a:ext cx="195263" cy="133350"/>
            </a:xfrm>
            <a:custGeom>
              <a:avLst/>
              <a:gdLst>
                <a:gd name="T0" fmla="*/ 95 w 111"/>
                <a:gd name="T1" fmla="*/ 66 h 75"/>
                <a:gd name="T2" fmla="*/ 24 w 111"/>
                <a:gd name="T3" fmla="*/ 74 h 75"/>
                <a:gd name="T4" fmla="*/ 4 w 111"/>
                <a:gd name="T5" fmla="*/ 58 h 75"/>
                <a:gd name="T6" fmla="*/ 1 w 111"/>
                <a:gd name="T7" fmla="*/ 29 h 75"/>
                <a:gd name="T8" fmla="*/ 16 w 111"/>
                <a:gd name="T9" fmla="*/ 9 h 75"/>
                <a:gd name="T10" fmla="*/ 87 w 111"/>
                <a:gd name="T11" fmla="*/ 1 h 75"/>
                <a:gd name="T12" fmla="*/ 107 w 111"/>
                <a:gd name="T13" fmla="*/ 17 h 75"/>
                <a:gd name="T14" fmla="*/ 110 w 111"/>
                <a:gd name="T15" fmla="*/ 46 h 75"/>
                <a:gd name="T16" fmla="*/ 95 w 111"/>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1" h="75">
                  <a:moveTo>
                    <a:pt x="95" y="66"/>
                  </a:moveTo>
                  <a:cubicBezTo>
                    <a:pt x="24" y="74"/>
                    <a:pt x="24" y="74"/>
                    <a:pt x="24" y="74"/>
                  </a:cubicBezTo>
                  <a:cubicBezTo>
                    <a:pt x="14" y="75"/>
                    <a:pt x="5" y="68"/>
                    <a:pt x="4" y="58"/>
                  </a:cubicBezTo>
                  <a:cubicBezTo>
                    <a:pt x="1" y="29"/>
                    <a:pt x="1" y="29"/>
                    <a:pt x="1" y="29"/>
                  </a:cubicBezTo>
                  <a:cubicBezTo>
                    <a:pt x="0" y="19"/>
                    <a:pt x="7" y="10"/>
                    <a:pt x="16" y="9"/>
                  </a:cubicBezTo>
                  <a:cubicBezTo>
                    <a:pt x="87" y="1"/>
                    <a:pt x="87" y="1"/>
                    <a:pt x="87" y="1"/>
                  </a:cubicBezTo>
                  <a:cubicBezTo>
                    <a:pt x="97" y="0"/>
                    <a:pt x="106" y="7"/>
                    <a:pt x="107" y="17"/>
                  </a:cubicBezTo>
                  <a:cubicBezTo>
                    <a:pt x="110" y="46"/>
                    <a:pt x="110" y="46"/>
                    <a:pt x="110" y="46"/>
                  </a:cubicBezTo>
                  <a:cubicBezTo>
                    <a:pt x="111" y="56"/>
                    <a:pt x="104" y="65"/>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47" name="Freeform 25">
              <a:extLst>
                <a:ext uri="{FF2B5EF4-FFF2-40B4-BE49-F238E27FC236}">
                  <a16:creationId xmlns:a16="http://schemas.microsoft.com/office/drawing/2014/main" id="{55307F43-A12C-4428-AFA2-B5B77B77F107}"/>
                </a:ext>
              </a:extLst>
            </p:cNvPr>
            <p:cNvSpPr>
              <a:spLocks/>
            </p:cNvSpPr>
            <p:nvPr/>
          </p:nvSpPr>
          <p:spPr bwMode="auto">
            <a:xfrm>
              <a:off x="4734719" y="3621881"/>
              <a:ext cx="196850" cy="131763"/>
            </a:xfrm>
            <a:custGeom>
              <a:avLst/>
              <a:gdLst>
                <a:gd name="T0" fmla="*/ 95 w 112"/>
                <a:gd name="T1" fmla="*/ 66 h 75"/>
                <a:gd name="T2" fmla="*/ 24 w 112"/>
                <a:gd name="T3" fmla="*/ 74 h 75"/>
                <a:gd name="T4" fmla="*/ 5 w 112"/>
                <a:gd name="T5" fmla="*/ 58 h 75"/>
                <a:gd name="T6" fmla="*/ 1 w 112"/>
                <a:gd name="T7" fmla="*/ 29 h 75"/>
                <a:gd name="T8" fmla="*/ 17 w 112"/>
                <a:gd name="T9" fmla="*/ 9 h 75"/>
                <a:gd name="T10" fmla="*/ 88 w 112"/>
                <a:gd name="T11" fmla="*/ 1 h 75"/>
                <a:gd name="T12" fmla="*/ 108 w 112"/>
                <a:gd name="T13" fmla="*/ 17 h 75"/>
                <a:gd name="T14" fmla="*/ 111 w 112"/>
                <a:gd name="T15" fmla="*/ 46 h 75"/>
                <a:gd name="T16" fmla="*/ 95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5" y="66"/>
                  </a:moveTo>
                  <a:cubicBezTo>
                    <a:pt x="24" y="74"/>
                    <a:pt x="24" y="74"/>
                    <a:pt x="24" y="74"/>
                  </a:cubicBezTo>
                  <a:cubicBezTo>
                    <a:pt x="15" y="75"/>
                    <a:pt x="6" y="68"/>
                    <a:pt x="5" y="58"/>
                  </a:cubicBezTo>
                  <a:cubicBezTo>
                    <a:pt x="1" y="29"/>
                    <a:pt x="1" y="29"/>
                    <a:pt x="1" y="29"/>
                  </a:cubicBezTo>
                  <a:cubicBezTo>
                    <a:pt x="0" y="19"/>
                    <a:pt x="7" y="10"/>
                    <a:pt x="17" y="9"/>
                  </a:cubicBezTo>
                  <a:cubicBezTo>
                    <a:pt x="88" y="1"/>
                    <a:pt x="88" y="1"/>
                    <a:pt x="88" y="1"/>
                  </a:cubicBezTo>
                  <a:cubicBezTo>
                    <a:pt x="98" y="0"/>
                    <a:pt x="106" y="7"/>
                    <a:pt x="108" y="17"/>
                  </a:cubicBezTo>
                  <a:cubicBezTo>
                    <a:pt x="111" y="46"/>
                    <a:pt x="111" y="46"/>
                    <a:pt x="111" y="46"/>
                  </a:cubicBezTo>
                  <a:cubicBezTo>
                    <a:pt x="112" y="56"/>
                    <a:pt x="105" y="65"/>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48" name="Freeform 26">
              <a:extLst>
                <a:ext uri="{FF2B5EF4-FFF2-40B4-BE49-F238E27FC236}">
                  <a16:creationId xmlns:a16="http://schemas.microsoft.com/office/drawing/2014/main" id="{AC31A7FF-D4E9-4B66-B0A5-4482D3E29EA0}"/>
                </a:ext>
              </a:extLst>
            </p:cNvPr>
            <p:cNvSpPr>
              <a:spLocks/>
            </p:cNvSpPr>
            <p:nvPr/>
          </p:nvSpPr>
          <p:spPr bwMode="auto">
            <a:xfrm>
              <a:off x="4987131" y="3593306"/>
              <a:ext cx="196850" cy="131763"/>
            </a:xfrm>
            <a:custGeom>
              <a:avLst/>
              <a:gdLst>
                <a:gd name="T0" fmla="*/ 96 w 112"/>
                <a:gd name="T1" fmla="*/ 66 h 75"/>
                <a:gd name="T2" fmla="*/ 25 w 112"/>
                <a:gd name="T3" fmla="*/ 74 h 75"/>
                <a:gd name="T4" fmla="*/ 5 w 112"/>
                <a:gd name="T5" fmla="*/ 58 h 75"/>
                <a:gd name="T6" fmla="*/ 2 w 112"/>
                <a:gd name="T7" fmla="*/ 29 h 75"/>
                <a:gd name="T8" fmla="*/ 17 w 112"/>
                <a:gd name="T9" fmla="*/ 9 h 75"/>
                <a:gd name="T10" fmla="*/ 88 w 112"/>
                <a:gd name="T11" fmla="*/ 1 h 75"/>
                <a:gd name="T12" fmla="*/ 108 w 112"/>
                <a:gd name="T13" fmla="*/ 16 h 75"/>
                <a:gd name="T14" fmla="*/ 111 w 112"/>
                <a:gd name="T15" fmla="*/ 46 h 75"/>
                <a:gd name="T16" fmla="*/ 96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6" y="66"/>
                  </a:moveTo>
                  <a:cubicBezTo>
                    <a:pt x="25" y="74"/>
                    <a:pt x="25" y="74"/>
                    <a:pt x="25" y="74"/>
                  </a:cubicBezTo>
                  <a:cubicBezTo>
                    <a:pt x="15" y="75"/>
                    <a:pt x="6" y="68"/>
                    <a:pt x="5" y="58"/>
                  </a:cubicBezTo>
                  <a:cubicBezTo>
                    <a:pt x="2" y="29"/>
                    <a:pt x="2" y="29"/>
                    <a:pt x="2" y="29"/>
                  </a:cubicBezTo>
                  <a:cubicBezTo>
                    <a:pt x="0" y="19"/>
                    <a:pt x="7" y="10"/>
                    <a:pt x="17" y="9"/>
                  </a:cubicBezTo>
                  <a:cubicBezTo>
                    <a:pt x="88" y="1"/>
                    <a:pt x="88" y="1"/>
                    <a:pt x="88" y="1"/>
                  </a:cubicBezTo>
                  <a:cubicBezTo>
                    <a:pt x="98" y="0"/>
                    <a:pt x="107" y="7"/>
                    <a:pt x="108" y="16"/>
                  </a:cubicBezTo>
                  <a:cubicBezTo>
                    <a:pt x="111" y="46"/>
                    <a:pt x="111" y="46"/>
                    <a:pt x="111" y="46"/>
                  </a:cubicBezTo>
                  <a:cubicBezTo>
                    <a:pt x="112" y="56"/>
                    <a:pt x="105" y="64"/>
                    <a:pt x="96"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49" name="Freeform 27">
              <a:extLst>
                <a:ext uri="{FF2B5EF4-FFF2-40B4-BE49-F238E27FC236}">
                  <a16:creationId xmlns:a16="http://schemas.microsoft.com/office/drawing/2014/main" id="{47D7A0A4-25D0-4C24-BE0A-90C54A0E2C88}"/>
                </a:ext>
              </a:extLst>
            </p:cNvPr>
            <p:cNvSpPr>
              <a:spLocks/>
            </p:cNvSpPr>
            <p:nvPr/>
          </p:nvSpPr>
          <p:spPr bwMode="auto">
            <a:xfrm>
              <a:off x="5241131" y="3563144"/>
              <a:ext cx="196850" cy="133350"/>
            </a:xfrm>
            <a:custGeom>
              <a:avLst/>
              <a:gdLst>
                <a:gd name="T0" fmla="*/ 95 w 112"/>
                <a:gd name="T1" fmla="*/ 66 h 75"/>
                <a:gd name="T2" fmla="*/ 24 w 112"/>
                <a:gd name="T3" fmla="*/ 74 h 75"/>
                <a:gd name="T4" fmla="*/ 4 w 112"/>
                <a:gd name="T5" fmla="*/ 59 h 75"/>
                <a:gd name="T6" fmla="*/ 1 w 112"/>
                <a:gd name="T7" fmla="*/ 29 h 75"/>
                <a:gd name="T8" fmla="*/ 17 w 112"/>
                <a:gd name="T9" fmla="*/ 10 h 75"/>
                <a:gd name="T10" fmla="*/ 87 w 112"/>
                <a:gd name="T11" fmla="*/ 1 h 75"/>
                <a:gd name="T12" fmla="*/ 107 w 112"/>
                <a:gd name="T13" fmla="*/ 17 h 75"/>
                <a:gd name="T14" fmla="*/ 110 w 112"/>
                <a:gd name="T15" fmla="*/ 47 h 75"/>
                <a:gd name="T16" fmla="*/ 95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5" y="66"/>
                  </a:moveTo>
                  <a:cubicBezTo>
                    <a:pt x="24" y="74"/>
                    <a:pt x="24" y="74"/>
                    <a:pt x="24" y="74"/>
                  </a:cubicBezTo>
                  <a:cubicBezTo>
                    <a:pt x="14" y="75"/>
                    <a:pt x="5" y="68"/>
                    <a:pt x="4" y="59"/>
                  </a:cubicBezTo>
                  <a:cubicBezTo>
                    <a:pt x="1" y="29"/>
                    <a:pt x="1" y="29"/>
                    <a:pt x="1" y="29"/>
                  </a:cubicBezTo>
                  <a:cubicBezTo>
                    <a:pt x="0" y="20"/>
                    <a:pt x="7" y="11"/>
                    <a:pt x="17" y="10"/>
                  </a:cubicBezTo>
                  <a:cubicBezTo>
                    <a:pt x="87" y="1"/>
                    <a:pt x="87" y="1"/>
                    <a:pt x="87" y="1"/>
                  </a:cubicBezTo>
                  <a:cubicBezTo>
                    <a:pt x="97" y="0"/>
                    <a:pt x="106" y="7"/>
                    <a:pt x="107" y="17"/>
                  </a:cubicBezTo>
                  <a:cubicBezTo>
                    <a:pt x="110" y="47"/>
                    <a:pt x="110" y="47"/>
                    <a:pt x="110" y="47"/>
                  </a:cubicBezTo>
                  <a:cubicBezTo>
                    <a:pt x="112" y="56"/>
                    <a:pt x="105" y="65"/>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50" name="Freeform 28">
              <a:extLst>
                <a:ext uri="{FF2B5EF4-FFF2-40B4-BE49-F238E27FC236}">
                  <a16:creationId xmlns:a16="http://schemas.microsoft.com/office/drawing/2014/main" id="{2B7B555B-AF6C-4643-86CD-5C85C8C903AA}"/>
                </a:ext>
              </a:extLst>
            </p:cNvPr>
            <p:cNvSpPr>
              <a:spLocks/>
            </p:cNvSpPr>
            <p:nvPr/>
          </p:nvSpPr>
          <p:spPr bwMode="auto">
            <a:xfrm>
              <a:off x="5865019" y="3144044"/>
              <a:ext cx="652463" cy="684213"/>
            </a:xfrm>
            <a:custGeom>
              <a:avLst/>
              <a:gdLst>
                <a:gd name="T0" fmla="*/ 363 w 370"/>
                <a:gd name="T1" fmla="*/ 265 h 388"/>
                <a:gd name="T2" fmla="*/ 355 w 370"/>
                <a:gd name="T3" fmla="*/ 256 h 388"/>
                <a:gd name="T4" fmla="*/ 355 w 370"/>
                <a:gd name="T5" fmla="*/ 256 h 388"/>
                <a:gd name="T6" fmla="*/ 148 w 370"/>
                <a:gd name="T7" fmla="*/ 21 h 388"/>
                <a:gd name="T8" fmla="*/ 137 w 370"/>
                <a:gd name="T9" fmla="*/ 9 h 388"/>
                <a:gd name="T10" fmla="*/ 110 w 370"/>
                <a:gd name="T11" fmla="*/ 7 h 388"/>
                <a:gd name="T12" fmla="*/ 12 w 370"/>
                <a:gd name="T13" fmla="*/ 93 h 388"/>
                <a:gd name="T14" fmla="*/ 12 w 370"/>
                <a:gd name="T15" fmla="*/ 93 h 388"/>
                <a:gd name="T16" fmla="*/ 10 w 370"/>
                <a:gd name="T17" fmla="*/ 95 h 388"/>
                <a:gd name="T18" fmla="*/ 8 w 370"/>
                <a:gd name="T19" fmla="*/ 125 h 388"/>
                <a:gd name="T20" fmla="*/ 18 w 370"/>
                <a:gd name="T21" fmla="*/ 136 h 388"/>
                <a:gd name="T22" fmla="*/ 18 w 370"/>
                <a:gd name="T23" fmla="*/ 136 h 388"/>
                <a:gd name="T24" fmla="*/ 224 w 370"/>
                <a:gd name="T25" fmla="*/ 371 h 388"/>
                <a:gd name="T26" fmla="*/ 224 w 370"/>
                <a:gd name="T27" fmla="*/ 371 h 388"/>
                <a:gd name="T28" fmla="*/ 231 w 370"/>
                <a:gd name="T29" fmla="*/ 379 h 388"/>
                <a:gd name="T30" fmla="*/ 261 w 370"/>
                <a:gd name="T31" fmla="*/ 380 h 388"/>
                <a:gd name="T32" fmla="*/ 263 w 370"/>
                <a:gd name="T33" fmla="*/ 379 h 388"/>
                <a:gd name="T34" fmla="*/ 263 w 370"/>
                <a:gd name="T35" fmla="*/ 379 h 388"/>
                <a:gd name="T36" fmla="*/ 361 w 370"/>
                <a:gd name="T37" fmla="*/ 292 h 388"/>
                <a:gd name="T38" fmla="*/ 363 w 370"/>
                <a:gd name="T39" fmla="*/ 265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70" h="388">
                  <a:moveTo>
                    <a:pt x="363" y="265"/>
                  </a:moveTo>
                  <a:cubicBezTo>
                    <a:pt x="355" y="256"/>
                    <a:pt x="355" y="256"/>
                    <a:pt x="355" y="256"/>
                  </a:cubicBezTo>
                  <a:cubicBezTo>
                    <a:pt x="355" y="256"/>
                    <a:pt x="355" y="256"/>
                    <a:pt x="355" y="256"/>
                  </a:cubicBezTo>
                  <a:cubicBezTo>
                    <a:pt x="148" y="21"/>
                    <a:pt x="148" y="21"/>
                    <a:pt x="148" y="21"/>
                  </a:cubicBezTo>
                  <a:cubicBezTo>
                    <a:pt x="137" y="9"/>
                    <a:pt x="137" y="9"/>
                    <a:pt x="137" y="9"/>
                  </a:cubicBezTo>
                  <a:cubicBezTo>
                    <a:pt x="130" y="1"/>
                    <a:pt x="118" y="0"/>
                    <a:pt x="110" y="7"/>
                  </a:cubicBezTo>
                  <a:cubicBezTo>
                    <a:pt x="12" y="93"/>
                    <a:pt x="12" y="93"/>
                    <a:pt x="12" y="93"/>
                  </a:cubicBezTo>
                  <a:cubicBezTo>
                    <a:pt x="12" y="93"/>
                    <a:pt x="12" y="93"/>
                    <a:pt x="12" y="93"/>
                  </a:cubicBezTo>
                  <a:cubicBezTo>
                    <a:pt x="10" y="95"/>
                    <a:pt x="10" y="95"/>
                    <a:pt x="10" y="95"/>
                  </a:cubicBezTo>
                  <a:cubicBezTo>
                    <a:pt x="1" y="103"/>
                    <a:pt x="0" y="116"/>
                    <a:pt x="8" y="125"/>
                  </a:cubicBezTo>
                  <a:cubicBezTo>
                    <a:pt x="18" y="136"/>
                    <a:pt x="18" y="136"/>
                    <a:pt x="18" y="136"/>
                  </a:cubicBezTo>
                  <a:cubicBezTo>
                    <a:pt x="18" y="136"/>
                    <a:pt x="18" y="136"/>
                    <a:pt x="18" y="136"/>
                  </a:cubicBezTo>
                  <a:cubicBezTo>
                    <a:pt x="224" y="371"/>
                    <a:pt x="224" y="371"/>
                    <a:pt x="224" y="371"/>
                  </a:cubicBezTo>
                  <a:cubicBezTo>
                    <a:pt x="224" y="371"/>
                    <a:pt x="224" y="371"/>
                    <a:pt x="224" y="371"/>
                  </a:cubicBezTo>
                  <a:cubicBezTo>
                    <a:pt x="231" y="379"/>
                    <a:pt x="231" y="379"/>
                    <a:pt x="231" y="379"/>
                  </a:cubicBezTo>
                  <a:cubicBezTo>
                    <a:pt x="239" y="387"/>
                    <a:pt x="252" y="388"/>
                    <a:pt x="261" y="380"/>
                  </a:cubicBezTo>
                  <a:cubicBezTo>
                    <a:pt x="263" y="379"/>
                    <a:pt x="263" y="379"/>
                    <a:pt x="263" y="379"/>
                  </a:cubicBezTo>
                  <a:cubicBezTo>
                    <a:pt x="263" y="379"/>
                    <a:pt x="263" y="379"/>
                    <a:pt x="263" y="379"/>
                  </a:cubicBezTo>
                  <a:cubicBezTo>
                    <a:pt x="361" y="292"/>
                    <a:pt x="361" y="292"/>
                    <a:pt x="361" y="292"/>
                  </a:cubicBezTo>
                  <a:cubicBezTo>
                    <a:pt x="369" y="285"/>
                    <a:pt x="370" y="273"/>
                    <a:pt x="363" y="265"/>
                  </a:cubicBezTo>
                  <a:close/>
                </a:path>
              </a:pathLst>
            </a:custGeom>
            <a:solidFill>
              <a:srgbClr val="424242">
                <a:alpha val="20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51" name="Freeform 29">
              <a:extLst>
                <a:ext uri="{FF2B5EF4-FFF2-40B4-BE49-F238E27FC236}">
                  <a16:creationId xmlns:a16="http://schemas.microsoft.com/office/drawing/2014/main" id="{B7E2F6E1-FD53-415D-A818-54C56265C04A}"/>
                </a:ext>
              </a:extLst>
            </p:cNvPr>
            <p:cNvSpPr>
              <a:spLocks/>
            </p:cNvSpPr>
            <p:nvPr/>
          </p:nvSpPr>
          <p:spPr bwMode="auto">
            <a:xfrm>
              <a:off x="5879306" y="3101181"/>
              <a:ext cx="650875" cy="684213"/>
            </a:xfrm>
            <a:custGeom>
              <a:avLst/>
              <a:gdLst>
                <a:gd name="T0" fmla="*/ 360 w 369"/>
                <a:gd name="T1" fmla="*/ 293 h 388"/>
                <a:gd name="T2" fmla="*/ 261 w 369"/>
                <a:gd name="T3" fmla="*/ 380 h 388"/>
                <a:gd name="T4" fmla="*/ 231 w 369"/>
                <a:gd name="T5" fmla="*/ 379 h 388"/>
                <a:gd name="T6" fmla="*/ 8 w 369"/>
                <a:gd name="T7" fmla="*/ 125 h 388"/>
                <a:gd name="T8" fmla="*/ 10 w 369"/>
                <a:gd name="T9" fmla="*/ 95 h 388"/>
                <a:gd name="T10" fmla="*/ 109 w 369"/>
                <a:gd name="T11" fmla="*/ 8 h 388"/>
                <a:gd name="T12" fmla="*/ 138 w 369"/>
                <a:gd name="T13" fmla="*/ 10 h 388"/>
                <a:gd name="T14" fmla="*/ 361 w 369"/>
                <a:gd name="T15" fmla="*/ 264 h 388"/>
                <a:gd name="T16" fmla="*/ 360 w 369"/>
                <a:gd name="T17" fmla="*/ 293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9" h="388">
                  <a:moveTo>
                    <a:pt x="360" y="293"/>
                  </a:moveTo>
                  <a:cubicBezTo>
                    <a:pt x="261" y="380"/>
                    <a:pt x="261" y="380"/>
                    <a:pt x="261" y="380"/>
                  </a:cubicBezTo>
                  <a:cubicBezTo>
                    <a:pt x="252" y="388"/>
                    <a:pt x="239" y="387"/>
                    <a:pt x="231" y="379"/>
                  </a:cubicBezTo>
                  <a:cubicBezTo>
                    <a:pt x="8" y="125"/>
                    <a:pt x="8" y="125"/>
                    <a:pt x="8" y="125"/>
                  </a:cubicBezTo>
                  <a:cubicBezTo>
                    <a:pt x="0" y="116"/>
                    <a:pt x="1" y="103"/>
                    <a:pt x="10" y="95"/>
                  </a:cubicBezTo>
                  <a:cubicBezTo>
                    <a:pt x="109" y="8"/>
                    <a:pt x="109" y="8"/>
                    <a:pt x="109" y="8"/>
                  </a:cubicBezTo>
                  <a:cubicBezTo>
                    <a:pt x="117" y="0"/>
                    <a:pt x="131" y="1"/>
                    <a:pt x="138" y="10"/>
                  </a:cubicBezTo>
                  <a:cubicBezTo>
                    <a:pt x="361" y="264"/>
                    <a:pt x="361" y="264"/>
                    <a:pt x="361" y="264"/>
                  </a:cubicBezTo>
                  <a:cubicBezTo>
                    <a:pt x="369" y="272"/>
                    <a:pt x="368" y="286"/>
                    <a:pt x="360" y="293"/>
                  </a:cubicBezTo>
                  <a:close/>
                </a:path>
              </a:pathLst>
            </a:custGeom>
            <a:solidFill>
              <a:srgbClr val="376790"/>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52" name="Freeform 30">
              <a:extLst>
                <a:ext uri="{FF2B5EF4-FFF2-40B4-BE49-F238E27FC236}">
                  <a16:creationId xmlns:a16="http://schemas.microsoft.com/office/drawing/2014/main" id="{5D71CB71-3825-497F-AB26-8782BED9031A}"/>
                </a:ext>
              </a:extLst>
            </p:cNvPr>
            <p:cNvSpPr>
              <a:spLocks/>
            </p:cNvSpPr>
            <p:nvPr/>
          </p:nvSpPr>
          <p:spPr bwMode="auto">
            <a:xfrm>
              <a:off x="5911056" y="3139281"/>
              <a:ext cx="593725" cy="615950"/>
            </a:xfrm>
            <a:custGeom>
              <a:avLst/>
              <a:gdLst>
                <a:gd name="T0" fmla="*/ 374 w 374"/>
                <a:gd name="T1" fmla="*/ 261 h 388"/>
                <a:gd name="T2" fmla="*/ 229 w 374"/>
                <a:gd name="T3" fmla="*/ 388 h 388"/>
                <a:gd name="T4" fmla="*/ 0 w 374"/>
                <a:gd name="T5" fmla="*/ 127 h 388"/>
                <a:gd name="T6" fmla="*/ 144 w 374"/>
                <a:gd name="T7" fmla="*/ 0 h 388"/>
                <a:gd name="T8" fmla="*/ 374 w 374"/>
                <a:gd name="T9" fmla="*/ 261 h 388"/>
              </a:gdLst>
              <a:ahLst/>
              <a:cxnLst>
                <a:cxn ang="0">
                  <a:pos x="T0" y="T1"/>
                </a:cxn>
                <a:cxn ang="0">
                  <a:pos x="T2" y="T3"/>
                </a:cxn>
                <a:cxn ang="0">
                  <a:pos x="T4" y="T5"/>
                </a:cxn>
                <a:cxn ang="0">
                  <a:pos x="T6" y="T7"/>
                </a:cxn>
                <a:cxn ang="0">
                  <a:pos x="T8" y="T9"/>
                </a:cxn>
              </a:cxnLst>
              <a:rect l="0" t="0" r="r" b="b"/>
              <a:pathLst>
                <a:path w="374" h="388">
                  <a:moveTo>
                    <a:pt x="374" y="261"/>
                  </a:moveTo>
                  <a:lnTo>
                    <a:pt x="229" y="388"/>
                  </a:lnTo>
                  <a:lnTo>
                    <a:pt x="0" y="127"/>
                  </a:lnTo>
                  <a:lnTo>
                    <a:pt x="144" y="0"/>
                  </a:lnTo>
                  <a:lnTo>
                    <a:pt x="374" y="261"/>
                  </a:lnTo>
                  <a:close/>
                </a:path>
              </a:pathLst>
            </a:custGeom>
            <a:solidFill>
              <a:srgbClr val="353B61"/>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53" name="Freeform 31">
              <a:extLst>
                <a:ext uri="{FF2B5EF4-FFF2-40B4-BE49-F238E27FC236}">
                  <a16:creationId xmlns:a16="http://schemas.microsoft.com/office/drawing/2014/main" id="{FEEB0F9D-EA0F-480D-98F8-522C59F9F8C1}"/>
                </a:ext>
              </a:extLst>
            </p:cNvPr>
            <p:cNvSpPr>
              <a:spLocks/>
            </p:cNvSpPr>
            <p:nvPr/>
          </p:nvSpPr>
          <p:spPr bwMode="auto">
            <a:xfrm>
              <a:off x="5911056" y="3139281"/>
              <a:ext cx="495300" cy="504825"/>
            </a:xfrm>
            <a:custGeom>
              <a:avLst/>
              <a:gdLst>
                <a:gd name="T0" fmla="*/ 312 w 312"/>
                <a:gd name="T1" fmla="*/ 191 h 318"/>
                <a:gd name="T2" fmla="*/ 168 w 312"/>
                <a:gd name="T3" fmla="*/ 318 h 318"/>
                <a:gd name="T4" fmla="*/ 0 w 312"/>
                <a:gd name="T5" fmla="*/ 127 h 318"/>
                <a:gd name="T6" fmla="*/ 144 w 312"/>
                <a:gd name="T7" fmla="*/ 0 h 318"/>
                <a:gd name="T8" fmla="*/ 312 w 312"/>
                <a:gd name="T9" fmla="*/ 191 h 318"/>
              </a:gdLst>
              <a:ahLst/>
              <a:cxnLst>
                <a:cxn ang="0">
                  <a:pos x="T0" y="T1"/>
                </a:cxn>
                <a:cxn ang="0">
                  <a:pos x="T2" y="T3"/>
                </a:cxn>
                <a:cxn ang="0">
                  <a:pos x="T4" y="T5"/>
                </a:cxn>
                <a:cxn ang="0">
                  <a:pos x="T6" y="T7"/>
                </a:cxn>
                <a:cxn ang="0">
                  <a:pos x="T8" y="T9"/>
                </a:cxn>
              </a:cxnLst>
              <a:rect l="0" t="0" r="r" b="b"/>
              <a:pathLst>
                <a:path w="312" h="318">
                  <a:moveTo>
                    <a:pt x="312" y="191"/>
                  </a:moveTo>
                  <a:lnTo>
                    <a:pt x="168" y="318"/>
                  </a:lnTo>
                  <a:lnTo>
                    <a:pt x="0" y="127"/>
                  </a:lnTo>
                  <a:lnTo>
                    <a:pt x="144" y="0"/>
                  </a:lnTo>
                  <a:lnTo>
                    <a:pt x="312" y="191"/>
                  </a:lnTo>
                  <a:close/>
                </a:path>
              </a:pathLst>
            </a:custGeom>
            <a:solidFill>
              <a:srgbClr val="92406C"/>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54" name="Freeform 32">
              <a:extLst>
                <a:ext uri="{FF2B5EF4-FFF2-40B4-BE49-F238E27FC236}">
                  <a16:creationId xmlns:a16="http://schemas.microsoft.com/office/drawing/2014/main" id="{6EB897AF-0BCA-4DAF-934D-44A4930A79A8}"/>
                </a:ext>
              </a:extLst>
            </p:cNvPr>
            <p:cNvSpPr>
              <a:spLocks/>
            </p:cNvSpPr>
            <p:nvPr/>
          </p:nvSpPr>
          <p:spPr bwMode="auto">
            <a:xfrm>
              <a:off x="5899944" y="3101181"/>
              <a:ext cx="631825" cy="668338"/>
            </a:xfrm>
            <a:custGeom>
              <a:avLst/>
              <a:gdLst>
                <a:gd name="T0" fmla="*/ 349 w 358"/>
                <a:gd name="T1" fmla="*/ 292 h 379"/>
                <a:gd name="T2" fmla="*/ 251 w 358"/>
                <a:gd name="T3" fmla="*/ 379 h 379"/>
                <a:gd name="T4" fmla="*/ 0 w 358"/>
                <a:gd name="T5" fmla="*/ 93 h 379"/>
                <a:gd name="T6" fmla="*/ 98 w 358"/>
                <a:gd name="T7" fmla="*/ 7 h 379"/>
                <a:gd name="T8" fmla="*/ 125 w 358"/>
                <a:gd name="T9" fmla="*/ 9 h 379"/>
                <a:gd name="T10" fmla="*/ 351 w 358"/>
                <a:gd name="T11" fmla="*/ 265 h 379"/>
                <a:gd name="T12" fmla="*/ 349 w 358"/>
                <a:gd name="T13" fmla="*/ 292 h 379"/>
              </a:gdLst>
              <a:ahLst/>
              <a:cxnLst>
                <a:cxn ang="0">
                  <a:pos x="T0" y="T1"/>
                </a:cxn>
                <a:cxn ang="0">
                  <a:pos x="T2" y="T3"/>
                </a:cxn>
                <a:cxn ang="0">
                  <a:pos x="T4" y="T5"/>
                </a:cxn>
                <a:cxn ang="0">
                  <a:pos x="T6" y="T7"/>
                </a:cxn>
                <a:cxn ang="0">
                  <a:pos x="T8" y="T9"/>
                </a:cxn>
                <a:cxn ang="0">
                  <a:pos x="T10" y="T11"/>
                </a:cxn>
                <a:cxn ang="0">
                  <a:pos x="T12" y="T13"/>
                </a:cxn>
              </a:cxnLst>
              <a:rect l="0" t="0" r="r" b="b"/>
              <a:pathLst>
                <a:path w="358" h="379">
                  <a:moveTo>
                    <a:pt x="349" y="292"/>
                  </a:moveTo>
                  <a:cubicBezTo>
                    <a:pt x="251" y="379"/>
                    <a:pt x="251" y="379"/>
                    <a:pt x="251" y="379"/>
                  </a:cubicBezTo>
                  <a:cubicBezTo>
                    <a:pt x="0" y="93"/>
                    <a:pt x="0" y="93"/>
                    <a:pt x="0" y="93"/>
                  </a:cubicBezTo>
                  <a:cubicBezTo>
                    <a:pt x="98" y="7"/>
                    <a:pt x="98" y="7"/>
                    <a:pt x="98" y="7"/>
                  </a:cubicBezTo>
                  <a:cubicBezTo>
                    <a:pt x="106" y="0"/>
                    <a:pt x="118" y="1"/>
                    <a:pt x="125" y="9"/>
                  </a:cubicBezTo>
                  <a:cubicBezTo>
                    <a:pt x="351" y="265"/>
                    <a:pt x="351" y="265"/>
                    <a:pt x="351" y="265"/>
                  </a:cubicBezTo>
                  <a:cubicBezTo>
                    <a:pt x="358" y="273"/>
                    <a:pt x="357" y="285"/>
                    <a:pt x="349" y="292"/>
                  </a:cubicBezTo>
                  <a:close/>
                </a:path>
              </a:pathLst>
            </a:custGeom>
            <a:noFill/>
            <a:ln w="6350" cap="flat">
              <a:solidFill>
                <a:srgbClr val="1E1D1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155" name="Freeform 33">
              <a:extLst>
                <a:ext uri="{FF2B5EF4-FFF2-40B4-BE49-F238E27FC236}">
                  <a16:creationId xmlns:a16="http://schemas.microsoft.com/office/drawing/2014/main" id="{D38452C9-FB85-4882-A589-FBFE5F5CF974}"/>
                </a:ext>
              </a:extLst>
            </p:cNvPr>
            <p:cNvSpPr>
              <a:spLocks/>
            </p:cNvSpPr>
            <p:nvPr/>
          </p:nvSpPr>
          <p:spPr bwMode="auto">
            <a:xfrm>
              <a:off x="5899944" y="3101181"/>
              <a:ext cx="239713" cy="212725"/>
            </a:xfrm>
            <a:custGeom>
              <a:avLst/>
              <a:gdLst>
                <a:gd name="T0" fmla="*/ 136 w 136"/>
                <a:gd name="T1" fmla="*/ 21 h 120"/>
                <a:gd name="T2" fmla="*/ 24 w 136"/>
                <a:gd name="T3" fmla="*/ 120 h 120"/>
                <a:gd name="T4" fmla="*/ 0 w 136"/>
                <a:gd name="T5" fmla="*/ 93 h 120"/>
                <a:gd name="T6" fmla="*/ 98 w 136"/>
                <a:gd name="T7" fmla="*/ 7 h 120"/>
                <a:gd name="T8" fmla="*/ 125 w 136"/>
                <a:gd name="T9" fmla="*/ 9 h 120"/>
                <a:gd name="T10" fmla="*/ 136 w 136"/>
                <a:gd name="T11" fmla="*/ 21 h 120"/>
              </a:gdLst>
              <a:ahLst/>
              <a:cxnLst>
                <a:cxn ang="0">
                  <a:pos x="T0" y="T1"/>
                </a:cxn>
                <a:cxn ang="0">
                  <a:pos x="T2" y="T3"/>
                </a:cxn>
                <a:cxn ang="0">
                  <a:pos x="T4" y="T5"/>
                </a:cxn>
                <a:cxn ang="0">
                  <a:pos x="T6" y="T7"/>
                </a:cxn>
                <a:cxn ang="0">
                  <a:pos x="T8" y="T9"/>
                </a:cxn>
                <a:cxn ang="0">
                  <a:pos x="T10" y="T11"/>
                </a:cxn>
              </a:cxnLst>
              <a:rect l="0" t="0" r="r" b="b"/>
              <a:pathLst>
                <a:path w="136" h="120">
                  <a:moveTo>
                    <a:pt x="136" y="21"/>
                  </a:moveTo>
                  <a:cubicBezTo>
                    <a:pt x="24" y="120"/>
                    <a:pt x="24" y="120"/>
                    <a:pt x="24" y="120"/>
                  </a:cubicBezTo>
                  <a:cubicBezTo>
                    <a:pt x="0" y="93"/>
                    <a:pt x="0" y="93"/>
                    <a:pt x="0" y="93"/>
                  </a:cubicBezTo>
                  <a:cubicBezTo>
                    <a:pt x="98" y="7"/>
                    <a:pt x="98" y="7"/>
                    <a:pt x="98" y="7"/>
                  </a:cubicBezTo>
                  <a:cubicBezTo>
                    <a:pt x="106" y="0"/>
                    <a:pt x="118" y="1"/>
                    <a:pt x="125" y="9"/>
                  </a:cubicBezTo>
                  <a:lnTo>
                    <a:pt x="136" y="21"/>
                  </a:lnTo>
                  <a:close/>
                </a:path>
              </a:pathLst>
            </a:custGeom>
            <a:solidFill>
              <a:srgbClr val="D0598C"/>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56" name="Freeform 34">
              <a:extLst>
                <a:ext uri="{FF2B5EF4-FFF2-40B4-BE49-F238E27FC236}">
                  <a16:creationId xmlns:a16="http://schemas.microsoft.com/office/drawing/2014/main" id="{FCB983BE-46AB-4479-90B0-F7BC8E249815}"/>
                </a:ext>
              </a:extLst>
            </p:cNvPr>
            <p:cNvSpPr>
              <a:spLocks/>
            </p:cNvSpPr>
            <p:nvPr/>
          </p:nvSpPr>
          <p:spPr bwMode="auto">
            <a:xfrm>
              <a:off x="5942806" y="3139281"/>
              <a:ext cx="463550" cy="477838"/>
            </a:xfrm>
            <a:custGeom>
              <a:avLst/>
              <a:gdLst>
                <a:gd name="T0" fmla="*/ 124 w 292"/>
                <a:gd name="T1" fmla="*/ 0 h 301"/>
                <a:gd name="T2" fmla="*/ 0 w 292"/>
                <a:gd name="T3" fmla="*/ 110 h 301"/>
                <a:gd name="T4" fmla="*/ 168 w 292"/>
                <a:gd name="T5" fmla="*/ 301 h 301"/>
                <a:gd name="T6" fmla="*/ 292 w 292"/>
                <a:gd name="T7" fmla="*/ 191 h 301"/>
                <a:gd name="T8" fmla="*/ 124 w 292"/>
                <a:gd name="T9" fmla="*/ 0 h 301"/>
              </a:gdLst>
              <a:ahLst/>
              <a:cxnLst>
                <a:cxn ang="0">
                  <a:pos x="T0" y="T1"/>
                </a:cxn>
                <a:cxn ang="0">
                  <a:pos x="T2" y="T3"/>
                </a:cxn>
                <a:cxn ang="0">
                  <a:pos x="T4" y="T5"/>
                </a:cxn>
                <a:cxn ang="0">
                  <a:pos x="T6" y="T7"/>
                </a:cxn>
                <a:cxn ang="0">
                  <a:pos x="T8" y="T9"/>
                </a:cxn>
              </a:cxnLst>
              <a:rect l="0" t="0" r="r" b="b"/>
              <a:pathLst>
                <a:path w="292" h="301">
                  <a:moveTo>
                    <a:pt x="124" y="0"/>
                  </a:moveTo>
                  <a:lnTo>
                    <a:pt x="0" y="110"/>
                  </a:lnTo>
                  <a:lnTo>
                    <a:pt x="168" y="301"/>
                  </a:lnTo>
                  <a:lnTo>
                    <a:pt x="292" y="191"/>
                  </a:lnTo>
                  <a:lnTo>
                    <a:pt x="124" y="0"/>
                  </a:lnTo>
                  <a:close/>
                </a:path>
              </a:pathLst>
            </a:custGeom>
            <a:solidFill>
              <a:srgbClr val="D86D91"/>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57" name="Freeform 35">
              <a:extLst>
                <a:ext uri="{FF2B5EF4-FFF2-40B4-BE49-F238E27FC236}">
                  <a16:creationId xmlns:a16="http://schemas.microsoft.com/office/drawing/2014/main" id="{A0175249-EE24-469E-87DC-8FC803FDAA25}"/>
                </a:ext>
              </a:extLst>
            </p:cNvPr>
            <p:cNvSpPr>
              <a:spLocks/>
            </p:cNvSpPr>
            <p:nvPr/>
          </p:nvSpPr>
          <p:spPr bwMode="auto">
            <a:xfrm>
              <a:off x="6209506" y="3442494"/>
              <a:ext cx="295275" cy="285750"/>
            </a:xfrm>
            <a:custGeom>
              <a:avLst/>
              <a:gdLst>
                <a:gd name="T0" fmla="*/ 186 w 186"/>
                <a:gd name="T1" fmla="*/ 70 h 180"/>
                <a:gd name="T2" fmla="*/ 61 w 186"/>
                <a:gd name="T3" fmla="*/ 180 h 180"/>
                <a:gd name="T4" fmla="*/ 0 w 186"/>
                <a:gd name="T5" fmla="*/ 110 h 180"/>
                <a:gd name="T6" fmla="*/ 124 w 186"/>
                <a:gd name="T7" fmla="*/ 0 h 180"/>
                <a:gd name="T8" fmla="*/ 186 w 186"/>
                <a:gd name="T9" fmla="*/ 70 h 180"/>
              </a:gdLst>
              <a:ahLst/>
              <a:cxnLst>
                <a:cxn ang="0">
                  <a:pos x="T0" y="T1"/>
                </a:cxn>
                <a:cxn ang="0">
                  <a:pos x="T2" y="T3"/>
                </a:cxn>
                <a:cxn ang="0">
                  <a:pos x="T4" y="T5"/>
                </a:cxn>
                <a:cxn ang="0">
                  <a:pos x="T6" y="T7"/>
                </a:cxn>
                <a:cxn ang="0">
                  <a:pos x="T8" y="T9"/>
                </a:cxn>
              </a:cxnLst>
              <a:rect l="0" t="0" r="r" b="b"/>
              <a:pathLst>
                <a:path w="186" h="180">
                  <a:moveTo>
                    <a:pt x="186" y="70"/>
                  </a:moveTo>
                  <a:lnTo>
                    <a:pt x="61" y="180"/>
                  </a:lnTo>
                  <a:lnTo>
                    <a:pt x="0" y="110"/>
                  </a:lnTo>
                  <a:lnTo>
                    <a:pt x="124" y="0"/>
                  </a:lnTo>
                  <a:lnTo>
                    <a:pt x="186" y="70"/>
                  </a:lnTo>
                  <a:close/>
                </a:path>
              </a:pathLst>
            </a:custGeom>
            <a:solidFill>
              <a:srgbClr val="437BBF"/>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58" name="Freeform 36">
              <a:extLst>
                <a:ext uri="{FF2B5EF4-FFF2-40B4-BE49-F238E27FC236}">
                  <a16:creationId xmlns:a16="http://schemas.microsoft.com/office/drawing/2014/main" id="{25155317-2FBB-41EE-BC02-7650BB8A9D1D}"/>
                </a:ext>
              </a:extLst>
            </p:cNvPr>
            <p:cNvSpPr>
              <a:spLocks noEditPoints="1"/>
            </p:cNvSpPr>
            <p:nvPr/>
          </p:nvSpPr>
          <p:spPr bwMode="auto">
            <a:xfrm>
              <a:off x="4239419" y="4534694"/>
              <a:ext cx="3562350" cy="585788"/>
            </a:xfrm>
            <a:custGeom>
              <a:avLst/>
              <a:gdLst>
                <a:gd name="T0" fmla="*/ 1970 w 2020"/>
                <a:gd name="T1" fmla="*/ 0 h 332"/>
                <a:gd name="T2" fmla="*/ 0 w 2020"/>
                <a:gd name="T3" fmla="*/ 0 h 332"/>
                <a:gd name="T4" fmla="*/ 0 w 2020"/>
                <a:gd name="T5" fmla="*/ 332 h 332"/>
                <a:gd name="T6" fmla="*/ 1970 w 2020"/>
                <a:gd name="T7" fmla="*/ 332 h 332"/>
                <a:gd name="T8" fmla="*/ 2020 w 2020"/>
                <a:gd name="T9" fmla="*/ 166 h 332"/>
                <a:gd name="T10" fmla="*/ 1970 w 2020"/>
                <a:gd name="T11" fmla="*/ 0 h 332"/>
                <a:gd name="T12" fmla="*/ 1879 w 2020"/>
                <a:gd name="T13" fmla="*/ 226 h 332"/>
                <a:gd name="T14" fmla="*/ 1819 w 2020"/>
                <a:gd name="T15" fmla="*/ 166 h 332"/>
                <a:gd name="T16" fmla="*/ 1879 w 2020"/>
                <a:gd name="T17" fmla="*/ 106 h 332"/>
                <a:gd name="T18" fmla="*/ 1939 w 2020"/>
                <a:gd name="T19" fmla="*/ 166 h 332"/>
                <a:gd name="T20" fmla="*/ 1879 w 2020"/>
                <a:gd name="T21" fmla="*/ 226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20" h="332">
                  <a:moveTo>
                    <a:pt x="1970" y="0"/>
                  </a:moveTo>
                  <a:cubicBezTo>
                    <a:pt x="0" y="0"/>
                    <a:pt x="0" y="0"/>
                    <a:pt x="0" y="0"/>
                  </a:cubicBezTo>
                  <a:cubicBezTo>
                    <a:pt x="0" y="332"/>
                    <a:pt x="0" y="332"/>
                    <a:pt x="0" y="332"/>
                  </a:cubicBezTo>
                  <a:cubicBezTo>
                    <a:pt x="1970" y="332"/>
                    <a:pt x="1970" y="332"/>
                    <a:pt x="1970" y="332"/>
                  </a:cubicBezTo>
                  <a:cubicBezTo>
                    <a:pt x="1997" y="332"/>
                    <a:pt x="2020" y="258"/>
                    <a:pt x="2020" y="166"/>
                  </a:cubicBezTo>
                  <a:cubicBezTo>
                    <a:pt x="2020" y="75"/>
                    <a:pt x="1997" y="0"/>
                    <a:pt x="1970" y="0"/>
                  </a:cubicBezTo>
                  <a:close/>
                  <a:moveTo>
                    <a:pt x="1879" y="226"/>
                  </a:moveTo>
                  <a:cubicBezTo>
                    <a:pt x="1846" y="226"/>
                    <a:pt x="1819" y="199"/>
                    <a:pt x="1819" y="166"/>
                  </a:cubicBezTo>
                  <a:cubicBezTo>
                    <a:pt x="1819" y="133"/>
                    <a:pt x="1846" y="106"/>
                    <a:pt x="1879" y="106"/>
                  </a:cubicBezTo>
                  <a:cubicBezTo>
                    <a:pt x="1912" y="106"/>
                    <a:pt x="1939" y="133"/>
                    <a:pt x="1939" y="166"/>
                  </a:cubicBezTo>
                  <a:cubicBezTo>
                    <a:pt x="1939" y="199"/>
                    <a:pt x="1912" y="226"/>
                    <a:pt x="1879" y="226"/>
                  </a:cubicBezTo>
                  <a:close/>
                </a:path>
              </a:pathLst>
            </a:custGeom>
            <a:solidFill>
              <a:srgbClr val="424242">
                <a:alpha val="20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59" name="Freeform 37">
              <a:extLst>
                <a:ext uri="{FF2B5EF4-FFF2-40B4-BE49-F238E27FC236}">
                  <a16:creationId xmlns:a16="http://schemas.microsoft.com/office/drawing/2014/main" id="{E465FC26-18BE-432B-A8A6-157C76D4C7D7}"/>
                </a:ext>
              </a:extLst>
            </p:cNvPr>
            <p:cNvSpPr>
              <a:spLocks noEditPoints="1"/>
            </p:cNvSpPr>
            <p:nvPr/>
          </p:nvSpPr>
          <p:spPr bwMode="auto">
            <a:xfrm>
              <a:off x="4274344" y="4479131"/>
              <a:ext cx="3562350" cy="585788"/>
            </a:xfrm>
            <a:custGeom>
              <a:avLst/>
              <a:gdLst>
                <a:gd name="T0" fmla="*/ 1970 w 2020"/>
                <a:gd name="T1" fmla="*/ 0 h 332"/>
                <a:gd name="T2" fmla="*/ 0 w 2020"/>
                <a:gd name="T3" fmla="*/ 0 h 332"/>
                <a:gd name="T4" fmla="*/ 0 w 2020"/>
                <a:gd name="T5" fmla="*/ 332 h 332"/>
                <a:gd name="T6" fmla="*/ 1970 w 2020"/>
                <a:gd name="T7" fmla="*/ 332 h 332"/>
                <a:gd name="T8" fmla="*/ 2020 w 2020"/>
                <a:gd name="T9" fmla="*/ 166 h 332"/>
                <a:gd name="T10" fmla="*/ 1970 w 2020"/>
                <a:gd name="T11" fmla="*/ 0 h 332"/>
                <a:gd name="T12" fmla="*/ 1879 w 2020"/>
                <a:gd name="T13" fmla="*/ 226 h 332"/>
                <a:gd name="T14" fmla="*/ 1819 w 2020"/>
                <a:gd name="T15" fmla="*/ 166 h 332"/>
                <a:gd name="T16" fmla="*/ 1879 w 2020"/>
                <a:gd name="T17" fmla="*/ 106 h 332"/>
                <a:gd name="T18" fmla="*/ 1939 w 2020"/>
                <a:gd name="T19" fmla="*/ 166 h 332"/>
                <a:gd name="T20" fmla="*/ 1879 w 2020"/>
                <a:gd name="T21" fmla="*/ 226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20" h="332">
                  <a:moveTo>
                    <a:pt x="1970" y="0"/>
                  </a:moveTo>
                  <a:cubicBezTo>
                    <a:pt x="0" y="0"/>
                    <a:pt x="0" y="0"/>
                    <a:pt x="0" y="0"/>
                  </a:cubicBezTo>
                  <a:cubicBezTo>
                    <a:pt x="0" y="332"/>
                    <a:pt x="0" y="332"/>
                    <a:pt x="0" y="332"/>
                  </a:cubicBezTo>
                  <a:cubicBezTo>
                    <a:pt x="1970" y="332"/>
                    <a:pt x="1970" y="332"/>
                    <a:pt x="1970" y="332"/>
                  </a:cubicBezTo>
                  <a:cubicBezTo>
                    <a:pt x="1997" y="332"/>
                    <a:pt x="2020" y="258"/>
                    <a:pt x="2020" y="166"/>
                  </a:cubicBezTo>
                  <a:cubicBezTo>
                    <a:pt x="2020" y="75"/>
                    <a:pt x="1997" y="0"/>
                    <a:pt x="1970" y="0"/>
                  </a:cubicBezTo>
                  <a:close/>
                  <a:moveTo>
                    <a:pt x="1879" y="226"/>
                  </a:moveTo>
                  <a:cubicBezTo>
                    <a:pt x="1846" y="226"/>
                    <a:pt x="1819" y="199"/>
                    <a:pt x="1819" y="166"/>
                  </a:cubicBezTo>
                  <a:cubicBezTo>
                    <a:pt x="1819" y="133"/>
                    <a:pt x="1846" y="106"/>
                    <a:pt x="1879" y="106"/>
                  </a:cubicBezTo>
                  <a:cubicBezTo>
                    <a:pt x="1912" y="106"/>
                    <a:pt x="1939" y="133"/>
                    <a:pt x="1939" y="166"/>
                  </a:cubicBezTo>
                  <a:cubicBezTo>
                    <a:pt x="1939" y="199"/>
                    <a:pt x="1912" y="226"/>
                    <a:pt x="1879" y="226"/>
                  </a:cubicBezTo>
                  <a:close/>
                </a:path>
              </a:pathLst>
            </a:custGeom>
            <a:solidFill>
              <a:srgbClr val="00B3E7"/>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60" name="Freeform 38">
              <a:extLst>
                <a:ext uri="{FF2B5EF4-FFF2-40B4-BE49-F238E27FC236}">
                  <a16:creationId xmlns:a16="http://schemas.microsoft.com/office/drawing/2014/main" id="{BA7E7289-13AB-456D-924C-0FFDC23C701D}"/>
                </a:ext>
              </a:extLst>
            </p:cNvPr>
            <p:cNvSpPr>
              <a:spLocks/>
            </p:cNvSpPr>
            <p:nvPr/>
          </p:nvSpPr>
          <p:spPr bwMode="auto">
            <a:xfrm>
              <a:off x="4274344" y="4771231"/>
              <a:ext cx="3562350" cy="293688"/>
            </a:xfrm>
            <a:custGeom>
              <a:avLst/>
              <a:gdLst>
                <a:gd name="T0" fmla="*/ 1939 w 2020"/>
                <a:gd name="T1" fmla="*/ 0 h 166"/>
                <a:gd name="T2" fmla="*/ 1879 w 2020"/>
                <a:gd name="T3" fmla="*/ 60 h 166"/>
                <a:gd name="T4" fmla="*/ 1819 w 2020"/>
                <a:gd name="T5" fmla="*/ 0 h 166"/>
                <a:gd name="T6" fmla="*/ 0 w 2020"/>
                <a:gd name="T7" fmla="*/ 0 h 166"/>
                <a:gd name="T8" fmla="*/ 0 w 2020"/>
                <a:gd name="T9" fmla="*/ 166 h 166"/>
                <a:gd name="T10" fmla="*/ 1970 w 2020"/>
                <a:gd name="T11" fmla="*/ 166 h 166"/>
                <a:gd name="T12" fmla="*/ 2020 w 2020"/>
                <a:gd name="T13" fmla="*/ 0 h 166"/>
                <a:gd name="T14" fmla="*/ 1939 w 2020"/>
                <a:gd name="T15" fmla="*/ 0 h 1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20" h="166">
                  <a:moveTo>
                    <a:pt x="1939" y="0"/>
                  </a:moveTo>
                  <a:cubicBezTo>
                    <a:pt x="1939" y="33"/>
                    <a:pt x="1912" y="60"/>
                    <a:pt x="1879" y="60"/>
                  </a:cubicBezTo>
                  <a:cubicBezTo>
                    <a:pt x="1846" y="60"/>
                    <a:pt x="1819" y="33"/>
                    <a:pt x="1819" y="0"/>
                  </a:cubicBezTo>
                  <a:cubicBezTo>
                    <a:pt x="0" y="0"/>
                    <a:pt x="0" y="0"/>
                    <a:pt x="0" y="0"/>
                  </a:cubicBezTo>
                  <a:cubicBezTo>
                    <a:pt x="0" y="166"/>
                    <a:pt x="0" y="166"/>
                    <a:pt x="0" y="166"/>
                  </a:cubicBezTo>
                  <a:cubicBezTo>
                    <a:pt x="1970" y="166"/>
                    <a:pt x="1970" y="166"/>
                    <a:pt x="1970" y="166"/>
                  </a:cubicBezTo>
                  <a:cubicBezTo>
                    <a:pt x="1997" y="166"/>
                    <a:pt x="2020" y="92"/>
                    <a:pt x="2020" y="0"/>
                  </a:cubicBezTo>
                  <a:lnTo>
                    <a:pt x="1939" y="0"/>
                  </a:lnTo>
                  <a:close/>
                </a:path>
              </a:pathLst>
            </a:custGeom>
            <a:solidFill>
              <a:srgbClr val="316296"/>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61" name="Freeform 39">
              <a:extLst>
                <a:ext uri="{FF2B5EF4-FFF2-40B4-BE49-F238E27FC236}">
                  <a16:creationId xmlns:a16="http://schemas.microsoft.com/office/drawing/2014/main" id="{B868C8DB-8C92-4431-9063-13AB3EABB8C7}"/>
                </a:ext>
              </a:extLst>
            </p:cNvPr>
            <p:cNvSpPr>
              <a:spLocks/>
            </p:cNvSpPr>
            <p:nvPr/>
          </p:nvSpPr>
          <p:spPr bwMode="auto">
            <a:xfrm>
              <a:off x="4506119" y="4152106"/>
              <a:ext cx="1322388" cy="1589088"/>
            </a:xfrm>
            <a:custGeom>
              <a:avLst/>
              <a:gdLst>
                <a:gd name="T0" fmla="*/ 141 w 750"/>
                <a:gd name="T1" fmla="*/ 87 h 901"/>
                <a:gd name="T2" fmla="*/ 35 w 750"/>
                <a:gd name="T3" fmla="*/ 20 h 901"/>
                <a:gd name="T4" fmla="*/ 35 w 750"/>
                <a:gd name="T5" fmla="*/ 20 h 901"/>
                <a:gd name="T6" fmla="*/ 6 w 750"/>
                <a:gd name="T7" fmla="*/ 1 h 901"/>
                <a:gd name="T8" fmla="*/ 2 w 750"/>
                <a:gd name="T9" fmla="*/ 5 h 901"/>
                <a:gd name="T10" fmla="*/ 62 w 750"/>
                <a:gd name="T11" fmla="*/ 151 h 901"/>
                <a:gd name="T12" fmla="*/ 671 w 750"/>
                <a:gd name="T13" fmla="*/ 901 h 901"/>
                <a:gd name="T14" fmla="*/ 750 w 750"/>
                <a:gd name="T15" fmla="*/ 837 h 901"/>
                <a:gd name="T16" fmla="*/ 141 w 750"/>
                <a:gd name="T17" fmla="*/ 87 h 9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0" h="901">
                  <a:moveTo>
                    <a:pt x="141" y="87"/>
                  </a:moveTo>
                  <a:cubicBezTo>
                    <a:pt x="35" y="20"/>
                    <a:pt x="35" y="20"/>
                    <a:pt x="35" y="20"/>
                  </a:cubicBezTo>
                  <a:cubicBezTo>
                    <a:pt x="35" y="20"/>
                    <a:pt x="35" y="20"/>
                    <a:pt x="35" y="20"/>
                  </a:cubicBezTo>
                  <a:cubicBezTo>
                    <a:pt x="6" y="1"/>
                    <a:pt x="6" y="1"/>
                    <a:pt x="6" y="1"/>
                  </a:cubicBezTo>
                  <a:cubicBezTo>
                    <a:pt x="4" y="0"/>
                    <a:pt x="0" y="2"/>
                    <a:pt x="2" y="5"/>
                  </a:cubicBezTo>
                  <a:cubicBezTo>
                    <a:pt x="62" y="151"/>
                    <a:pt x="62" y="151"/>
                    <a:pt x="62" y="151"/>
                  </a:cubicBezTo>
                  <a:cubicBezTo>
                    <a:pt x="671" y="901"/>
                    <a:pt x="671" y="901"/>
                    <a:pt x="671" y="901"/>
                  </a:cubicBezTo>
                  <a:cubicBezTo>
                    <a:pt x="750" y="837"/>
                    <a:pt x="750" y="837"/>
                    <a:pt x="750" y="837"/>
                  </a:cubicBezTo>
                  <a:lnTo>
                    <a:pt x="141" y="87"/>
                  </a:lnTo>
                  <a:close/>
                </a:path>
              </a:pathLst>
            </a:custGeom>
            <a:solidFill>
              <a:srgbClr val="424242">
                <a:alpha val="20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62" name="Freeform 40">
              <a:extLst>
                <a:ext uri="{FF2B5EF4-FFF2-40B4-BE49-F238E27FC236}">
                  <a16:creationId xmlns:a16="http://schemas.microsoft.com/office/drawing/2014/main" id="{E645C0B1-F81B-4E8A-85E2-98265F8B724A}"/>
                </a:ext>
              </a:extLst>
            </p:cNvPr>
            <p:cNvSpPr>
              <a:spLocks/>
            </p:cNvSpPr>
            <p:nvPr/>
          </p:nvSpPr>
          <p:spPr bwMode="auto">
            <a:xfrm>
              <a:off x="4615656" y="4256881"/>
              <a:ext cx="1212850" cy="1435100"/>
            </a:xfrm>
            <a:custGeom>
              <a:avLst/>
              <a:gdLst>
                <a:gd name="T0" fmla="*/ 764 w 764"/>
                <a:gd name="T1" fmla="*/ 833 h 904"/>
                <a:gd name="T2" fmla="*/ 676 w 764"/>
                <a:gd name="T3" fmla="*/ 904 h 904"/>
                <a:gd name="T4" fmla="*/ 0 w 764"/>
                <a:gd name="T5" fmla="*/ 71 h 904"/>
                <a:gd name="T6" fmla="*/ 87 w 764"/>
                <a:gd name="T7" fmla="*/ 0 h 904"/>
                <a:gd name="T8" fmla="*/ 764 w 764"/>
                <a:gd name="T9" fmla="*/ 833 h 904"/>
              </a:gdLst>
              <a:ahLst/>
              <a:cxnLst>
                <a:cxn ang="0">
                  <a:pos x="T0" y="T1"/>
                </a:cxn>
                <a:cxn ang="0">
                  <a:pos x="T2" y="T3"/>
                </a:cxn>
                <a:cxn ang="0">
                  <a:pos x="T4" y="T5"/>
                </a:cxn>
                <a:cxn ang="0">
                  <a:pos x="T6" y="T7"/>
                </a:cxn>
                <a:cxn ang="0">
                  <a:pos x="T8" y="T9"/>
                </a:cxn>
              </a:cxnLst>
              <a:rect l="0" t="0" r="r" b="b"/>
              <a:pathLst>
                <a:path w="764" h="904">
                  <a:moveTo>
                    <a:pt x="764" y="833"/>
                  </a:moveTo>
                  <a:lnTo>
                    <a:pt x="676" y="904"/>
                  </a:lnTo>
                  <a:lnTo>
                    <a:pt x="0" y="71"/>
                  </a:lnTo>
                  <a:lnTo>
                    <a:pt x="87" y="0"/>
                  </a:lnTo>
                  <a:lnTo>
                    <a:pt x="764" y="833"/>
                  </a:lnTo>
                  <a:close/>
                </a:path>
              </a:pathLst>
            </a:custGeom>
            <a:solidFill>
              <a:srgbClr val="3D5D91"/>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63" name="Freeform 41">
              <a:extLst>
                <a:ext uri="{FF2B5EF4-FFF2-40B4-BE49-F238E27FC236}">
                  <a16:creationId xmlns:a16="http://schemas.microsoft.com/office/drawing/2014/main" id="{5AF757D5-CBDB-4F6E-B920-990A6E27C70E}"/>
                </a:ext>
              </a:extLst>
            </p:cNvPr>
            <p:cNvSpPr>
              <a:spLocks/>
            </p:cNvSpPr>
            <p:nvPr/>
          </p:nvSpPr>
          <p:spPr bwMode="auto">
            <a:xfrm>
              <a:off x="4656931" y="4291806"/>
              <a:ext cx="1127125" cy="1365250"/>
            </a:xfrm>
            <a:custGeom>
              <a:avLst/>
              <a:gdLst>
                <a:gd name="T0" fmla="*/ 710 w 710"/>
                <a:gd name="T1" fmla="*/ 833 h 860"/>
                <a:gd name="T2" fmla="*/ 677 w 710"/>
                <a:gd name="T3" fmla="*/ 860 h 860"/>
                <a:gd name="T4" fmla="*/ 0 w 710"/>
                <a:gd name="T5" fmla="*/ 27 h 860"/>
                <a:gd name="T6" fmla="*/ 34 w 710"/>
                <a:gd name="T7" fmla="*/ 0 h 860"/>
                <a:gd name="T8" fmla="*/ 710 w 710"/>
                <a:gd name="T9" fmla="*/ 833 h 860"/>
              </a:gdLst>
              <a:ahLst/>
              <a:cxnLst>
                <a:cxn ang="0">
                  <a:pos x="T0" y="T1"/>
                </a:cxn>
                <a:cxn ang="0">
                  <a:pos x="T2" y="T3"/>
                </a:cxn>
                <a:cxn ang="0">
                  <a:pos x="T4" y="T5"/>
                </a:cxn>
                <a:cxn ang="0">
                  <a:pos x="T6" y="T7"/>
                </a:cxn>
                <a:cxn ang="0">
                  <a:pos x="T8" y="T9"/>
                </a:cxn>
              </a:cxnLst>
              <a:rect l="0" t="0" r="r" b="b"/>
              <a:pathLst>
                <a:path w="710" h="860">
                  <a:moveTo>
                    <a:pt x="710" y="833"/>
                  </a:moveTo>
                  <a:lnTo>
                    <a:pt x="677" y="860"/>
                  </a:lnTo>
                  <a:lnTo>
                    <a:pt x="0" y="27"/>
                  </a:lnTo>
                  <a:lnTo>
                    <a:pt x="34" y="0"/>
                  </a:lnTo>
                  <a:lnTo>
                    <a:pt x="710" y="833"/>
                  </a:lnTo>
                  <a:close/>
                </a:path>
              </a:pathLst>
            </a:custGeom>
            <a:solidFill>
              <a:srgbClr val="00B3E7"/>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64" name="Freeform 42">
              <a:extLst>
                <a:ext uri="{FF2B5EF4-FFF2-40B4-BE49-F238E27FC236}">
                  <a16:creationId xmlns:a16="http://schemas.microsoft.com/office/drawing/2014/main" id="{14A9096D-4798-43B3-B1AF-F92DEFA757B8}"/>
                </a:ext>
              </a:extLst>
            </p:cNvPr>
            <p:cNvSpPr>
              <a:spLocks/>
            </p:cNvSpPr>
            <p:nvPr/>
          </p:nvSpPr>
          <p:spPr bwMode="auto">
            <a:xfrm>
              <a:off x="4506119" y="4102894"/>
              <a:ext cx="247650" cy="266700"/>
            </a:xfrm>
            <a:custGeom>
              <a:avLst/>
              <a:gdLst>
                <a:gd name="T0" fmla="*/ 2 w 141"/>
                <a:gd name="T1" fmla="*/ 5 h 151"/>
                <a:gd name="T2" fmla="*/ 62 w 141"/>
                <a:gd name="T3" fmla="*/ 151 h 151"/>
                <a:gd name="T4" fmla="*/ 141 w 141"/>
                <a:gd name="T5" fmla="*/ 87 h 151"/>
                <a:gd name="T6" fmla="*/ 6 w 141"/>
                <a:gd name="T7" fmla="*/ 1 h 151"/>
                <a:gd name="T8" fmla="*/ 2 w 141"/>
                <a:gd name="T9" fmla="*/ 5 h 151"/>
              </a:gdLst>
              <a:ahLst/>
              <a:cxnLst>
                <a:cxn ang="0">
                  <a:pos x="T0" y="T1"/>
                </a:cxn>
                <a:cxn ang="0">
                  <a:pos x="T2" y="T3"/>
                </a:cxn>
                <a:cxn ang="0">
                  <a:pos x="T4" y="T5"/>
                </a:cxn>
                <a:cxn ang="0">
                  <a:pos x="T6" y="T7"/>
                </a:cxn>
                <a:cxn ang="0">
                  <a:pos x="T8" y="T9"/>
                </a:cxn>
              </a:cxnLst>
              <a:rect l="0" t="0" r="r" b="b"/>
              <a:pathLst>
                <a:path w="141" h="151">
                  <a:moveTo>
                    <a:pt x="2" y="5"/>
                  </a:moveTo>
                  <a:cubicBezTo>
                    <a:pt x="62" y="151"/>
                    <a:pt x="62" y="151"/>
                    <a:pt x="62" y="151"/>
                  </a:cubicBezTo>
                  <a:cubicBezTo>
                    <a:pt x="141" y="87"/>
                    <a:pt x="141" y="87"/>
                    <a:pt x="141" y="87"/>
                  </a:cubicBezTo>
                  <a:cubicBezTo>
                    <a:pt x="6" y="1"/>
                    <a:pt x="6" y="1"/>
                    <a:pt x="6" y="1"/>
                  </a:cubicBezTo>
                  <a:cubicBezTo>
                    <a:pt x="4" y="0"/>
                    <a:pt x="0" y="2"/>
                    <a:pt x="2" y="5"/>
                  </a:cubicBezTo>
                  <a:close/>
                </a:path>
              </a:pathLst>
            </a:custGeom>
            <a:solidFill>
              <a:srgbClr val="D37187"/>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65" name="Freeform 43">
              <a:extLst>
                <a:ext uri="{FF2B5EF4-FFF2-40B4-BE49-F238E27FC236}">
                  <a16:creationId xmlns:a16="http://schemas.microsoft.com/office/drawing/2014/main" id="{4C4FB20B-DDE7-4E75-9E9B-A548D91B8C43}"/>
                </a:ext>
              </a:extLst>
            </p:cNvPr>
            <p:cNvSpPr>
              <a:spLocks/>
            </p:cNvSpPr>
            <p:nvPr/>
          </p:nvSpPr>
          <p:spPr bwMode="auto">
            <a:xfrm>
              <a:off x="4506119" y="4102894"/>
              <a:ext cx="61913" cy="66675"/>
            </a:xfrm>
            <a:custGeom>
              <a:avLst/>
              <a:gdLst>
                <a:gd name="T0" fmla="*/ 35 w 35"/>
                <a:gd name="T1" fmla="*/ 20 h 38"/>
                <a:gd name="T2" fmla="*/ 6 w 35"/>
                <a:gd name="T3" fmla="*/ 1 h 38"/>
                <a:gd name="T4" fmla="*/ 2 w 35"/>
                <a:gd name="T5" fmla="*/ 5 h 38"/>
                <a:gd name="T6" fmla="*/ 15 w 35"/>
                <a:gd name="T7" fmla="*/ 38 h 38"/>
                <a:gd name="T8" fmla="*/ 35 w 35"/>
                <a:gd name="T9" fmla="*/ 20 h 38"/>
              </a:gdLst>
              <a:ahLst/>
              <a:cxnLst>
                <a:cxn ang="0">
                  <a:pos x="T0" y="T1"/>
                </a:cxn>
                <a:cxn ang="0">
                  <a:pos x="T2" y="T3"/>
                </a:cxn>
                <a:cxn ang="0">
                  <a:pos x="T4" y="T5"/>
                </a:cxn>
                <a:cxn ang="0">
                  <a:pos x="T6" y="T7"/>
                </a:cxn>
                <a:cxn ang="0">
                  <a:pos x="T8" y="T9"/>
                </a:cxn>
              </a:cxnLst>
              <a:rect l="0" t="0" r="r" b="b"/>
              <a:pathLst>
                <a:path w="35" h="38">
                  <a:moveTo>
                    <a:pt x="35" y="20"/>
                  </a:moveTo>
                  <a:cubicBezTo>
                    <a:pt x="6" y="1"/>
                    <a:pt x="6" y="1"/>
                    <a:pt x="6" y="1"/>
                  </a:cubicBezTo>
                  <a:cubicBezTo>
                    <a:pt x="4" y="0"/>
                    <a:pt x="0" y="2"/>
                    <a:pt x="2" y="5"/>
                  </a:cubicBezTo>
                  <a:cubicBezTo>
                    <a:pt x="15" y="38"/>
                    <a:pt x="15" y="38"/>
                    <a:pt x="15" y="38"/>
                  </a:cubicBezTo>
                  <a:lnTo>
                    <a:pt x="35" y="20"/>
                  </a:lnTo>
                  <a:close/>
                </a:path>
              </a:pathLst>
            </a:custGeom>
            <a:solidFill>
              <a:srgbClr val="3D5D91"/>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66" name="Freeform 44">
              <a:extLst>
                <a:ext uri="{FF2B5EF4-FFF2-40B4-BE49-F238E27FC236}">
                  <a16:creationId xmlns:a16="http://schemas.microsoft.com/office/drawing/2014/main" id="{A9C444C7-6D1B-47C7-A781-EDAC61DD9836}"/>
                </a:ext>
              </a:extLst>
            </p:cNvPr>
            <p:cNvSpPr>
              <a:spLocks/>
            </p:cNvSpPr>
            <p:nvPr/>
          </p:nvSpPr>
          <p:spPr bwMode="auto">
            <a:xfrm>
              <a:off x="6315869" y="3950494"/>
              <a:ext cx="604838" cy="1592263"/>
            </a:xfrm>
            <a:custGeom>
              <a:avLst/>
              <a:gdLst>
                <a:gd name="T0" fmla="*/ 285 w 343"/>
                <a:gd name="T1" fmla="*/ 14 h 903"/>
                <a:gd name="T2" fmla="*/ 252 w 343"/>
                <a:gd name="T3" fmla="*/ 129 h 903"/>
                <a:gd name="T4" fmla="*/ 292 w 343"/>
                <a:gd name="T5" fmla="*/ 141 h 903"/>
                <a:gd name="T6" fmla="*/ 330 w 343"/>
                <a:gd name="T7" fmla="*/ 221 h 903"/>
                <a:gd name="T8" fmla="*/ 75 w 343"/>
                <a:gd name="T9" fmla="*/ 865 h 903"/>
                <a:gd name="T10" fmla="*/ 16 w 343"/>
                <a:gd name="T11" fmla="*/ 900 h 903"/>
                <a:gd name="T12" fmla="*/ 0 w 343"/>
                <a:gd name="T13" fmla="*/ 898 h 903"/>
                <a:gd name="T14" fmla="*/ 224 w 343"/>
                <a:gd name="T15" fmla="*/ 0 h 903"/>
                <a:gd name="T16" fmla="*/ 285 w 343"/>
                <a:gd name="T17" fmla="*/ 14 h 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3" h="903">
                  <a:moveTo>
                    <a:pt x="285" y="14"/>
                  </a:moveTo>
                  <a:cubicBezTo>
                    <a:pt x="252" y="129"/>
                    <a:pt x="252" y="129"/>
                    <a:pt x="252" y="129"/>
                  </a:cubicBezTo>
                  <a:cubicBezTo>
                    <a:pt x="292" y="141"/>
                    <a:pt x="292" y="141"/>
                    <a:pt x="292" y="141"/>
                  </a:cubicBezTo>
                  <a:cubicBezTo>
                    <a:pt x="326" y="152"/>
                    <a:pt x="343" y="188"/>
                    <a:pt x="330" y="221"/>
                  </a:cubicBezTo>
                  <a:cubicBezTo>
                    <a:pt x="75" y="865"/>
                    <a:pt x="75" y="865"/>
                    <a:pt x="75" y="865"/>
                  </a:cubicBezTo>
                  <a:cubicBezTo>
                    <a:pt x="65" y="889"/>
                    <a:pt x="41" y="903"/>
                    <a:pt x="16" y="900"/>
                  </a:cubicBezTo>
                  <a:cubicBezTo>
                    <a:pt x="0" y="898"/>
                    <a:pt x="0" y="898"/>
                    <a:pt x="0" y="898"/>
                  </a:cubicBezTo>
                  <a:cubicBezTo>
                    <a:pt x="224" y="0"/>
                    <a:pt x="224" y="0"/>
                    <a:pt x="224" y="0"/>
                  </a:cubicBezTo>
                  <a:lnTo>
                    <a:pt x="285" y="14"/>
                  </a:lnTo>
                  <a:close/>
                </a:path>
              </a:pathLst>
            </a:custGeom>
            <a:solidFill>
              <a:srgbClr val="424242">
                <a:alpha val="20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67" name="Freeform 45">
              <a:extLst>
                <a:ext uri="{FF2B5EF4-FFF2-40B4-BE49-F238E27FC236}">
                  <a16:creationId xmlns:a16="http://schemas.microsoft.com/office/drawing/2014/main" id="{06F436F2-8642-44F3-BAC5-592561B00DBD}"/>
                </a:ext>
              </a:extLst>
            </p:cNvPr>
            <p:cNvSpPr>
              <a:spLocks noEditPoints="1"/>
            </p:cNvSpPr>
            <p:nvPr/>
          </p:nvSpPr>
          <p:spPr bwMode="auto">
            <a:xfrm>
              <a:off x="6611144" y="3237706"/>
              <a:ext cx="538163" cy="747713"/>
            </a:xfrm>
            <a:custGeom>
              <a:avLst/>
              <a:gdLst>
                <a:gd name="T0" fmla="*/ 305 w 305"/>
                <a:gd name="T1" fmla="*/ 153 h 424"/>
                <a:gd name="T2" fmla="*/ 152 w 305"/>
                <a:gd name="T3" fmla="*/ 0 h 424"/>
                <a:gd name="T4" fmla="*/ 0 w 305"/>
                <a:gd name="T5" fmla="*/ 153 h 424"/>
                <a:gd name="T6" fmla="*/ 74 w 305"/>
                <a:gd name="T7" fmla="*/ 284 h 424"/>
                <a:gd name="T8" fmla="*/ 50 w 305"/>
                <a:gd name="T9" fmla="*/ 395 h 424"/>
                <a:gd name="T10" fmla="*/ 50 w 305"/>
                <a:gd name="T11" fmla="*/ 395 h 424"/>
                <a:gd name="T12" fmla="*/ 50 w 305"/>
                <a:gd name="T13" fmla="*/ 395 h 424"/>
                <a:gd name="T14" fmla="*/ 88 w 305"/>
                <a:gd name="T15" fmla="*/ 419 h 424"/>
                <a:gd name="T16" fmla="*/ 132 w 305"/>
                <a:gd name="T17" fmla="*/ 413 h 424"/>
                <a:gd name="T18" fmla="*/ 132 w 305"/>
                <a:gd name="T19" fmla="*/ 413 h 424"/>
                <a:gd name="T20" fmla="*/ 132 w 305"/>
                <a:gd name="T21" fmla="*/ 413 h 424"/>
                <a:gd name="T22" fmla="*/ 156 w 305"/>
                <a:gd name="T23" fmla="*/ 305 h 424"/>
                <a:gd name="T24" fmla="*/ 305 w 305"/>
                <a:gd name="T25" fmla="*/ 153 h 424"/>
                <a:gd name="T26" fmla="*/ 152 w 305"/>
                <a:gd name="T27" fmla="*/ 229 h 424"/>
                <a:gd name="T28" fmla="*/ 76 w 305"/>
                <a:gd name="T29" fmla="*/ 153 h 424"/>
                <a:gd name="T30" fmla="*/ 152 w 305"/>
                <a:gd name="T31" fmla="*/ 77 h 424"/>
                <a:gd name="T32" fmla="*/ 228 w 305"/>
                <a:gd name="T33" fmla="*/ 153 h 424"/>
                <a:gd name="T34" fmla="*/ 152 w 305"/>
                <a:gd name="T35" fmla="*/ 229 h 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5" h="424">
                  <a:moveTo>
                    <a:pt x="305" y="153"/>
                  </a:moveTo>
                  <a:cubicBezTo>
                    <a:pt x="305" y="68"/>
                    <a:pt x="237" y="0"/>
                    <a:pt x="152" y="0"/>
                  </a:cubicBezTo>
                  <a:cubicBezTo>
                    <a:pt x="68" y="0"/>
                    <a:pt x="0" y="68"/>
                    <a:pt x="0" y="153"/>
                  </a:cubicBezTo>
                  <a:cubicBezTo>
                    <a:pt x="0" y="208"/>
                    <a:pt x="30" y="257"/>
                    <a:pt x="74" y="284"/>
                  </a:cubicBezTo>
                  <a:cubicBezTo>
                    <a:pt x="50" y="395"/>
                    <a:pt x="50" y="395"/>
                    <a:pt x="50" y="395"/>
                  </a:cubicBezTo>
                  <a:cubicBezTo>
                    <a:pt x="50" y="395"/>
                    <a:pt x="50" y="395"/>
                    <a:pt x="50" y="395"/>
                  </a:cubicBezTo>
                  <a:cubicBezTo>
                    <a:pt x="50" y="395"/>
                    <a:pt x="50" y="395"/>
                    <a:pt x="50" y="395"/>
                  </a:cubicBezTo>
                  <a:cubicBezTo>
                    <a:pt x="48" y="403"/>
                    <a:pt x="65" y="414"/>
                    <a:pt x="88" y="419"/>
                  </a:cubicBezTo>
                  <a:cubicBezTo>
                    <a:pt x="111" y="424"/>
                    <a:pt x="131" y="421"/>
                    <a:pt x="132" y="413"/>
                  </a:cubicBezTo>
                  <a:cubicBezTo>
                    <a:pt x="132" y="413"/>
                    <a:pt x="132" y="413"/>
                    <a:pt x="132" y="413"/>
                  </a:cubicBezTo>
                  <a:cubicBezTo>
                    <a:pt x="132" y="413"/>
                    <a:pt x="132" y="413"/>
                    <a:pt x="132" y="413"/>
                  </a:cubicBezTo>
                  <a:cubicBezTo>
                    <a:pt x="156" y="305"/>
                    <a:pt x="156" y="305"/>
                    <a:pt x="156" y="305"/>
                  </a:cubicBezTo>
                  <a:cubicBezTo>
                    <a:pt x="239" y="303"/>
                    <a:pt x="305" y="235"/>
                    <a:pt x="305" y="153"/>
                  </a:cubicBezTo>
                  <a:close/>
                  <a:moveTo>
                    <a:pt x="152" y="229"/>
                  </a:moveTo>
                  <a:cubicBezTo>
                    <a:pt x="110" y="229"/>
                    <a:pt x="76" y="195"/>
                    <a:pt x="76" y="153"/>
                  </a:cubicBezTo>
                  <a:cubicBezTo>
                    <a:pt x="76" y="111"/>
                    <a:pt x="110" y="77"/>
                    <a:pt x="152" y="77"/>
                  </a:cubicBezTo>
                  <a:cubicBezTo>
                    <a:pt x="194" y="77"/>
                    <a:pt x="228" y="111"/>
                    <a:pt x="228" y="153"/>
                  </a:cubicBezTo>
                  <a:cubicBezTo>
                    <a:pt x="228" y="195"/>
                    <a:pt x="194" y="229"/>
                    <a:pt x="152" y="229"/>
                  </a:cubicBezTo>
                  <a:close/>
                </a:path>
              </a:pathLst>
            </a:custGeom>
            <a:solidFill>
              <a:srgbClr val="424242">
                <a:alpha val="20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68" name="Freeform 46">
              <a:extLst>
                <a:ext uri="{FF2B5EF4-FFF2-40B4-BE49-F238E27FC236}">
                  <a16:creationId xmlns:a16="http://schemas.microsoft.com/office/drawing/2014/main" id="{7DB2F2FE-56F6-4713-8705-CDD85199EB72}"/>
                </a:ext>
              </a:extLst>
            </p:cNvPr>
            <p:cNvSpPr>
              <a:spLocks/>
            </p:cNvSpPr>
            <p:nvPr/>
          </p:nvSpPr>
          <p:spPr bwMode="auto">
            <a:xfrm>
              <a:off x="5634831" y="4144169"/>
              <a:ext cx="1497013" cy="842963"/>
            </a:xfrm>
            <a:custGeom>
              <a:avLst/>
              <a:gdLst>
                <a:gd name="T0" fmla="*/ 823 w 849"/>
                <a:gd name="T1" fmla="*/ 22 h 478"/>
                <a:gd name="T2" fmla="*/ 717 w 849"/>
                <a:gd name="T3" fmla="*/ 77 h 478"/>
                <a:gd name="T4" fmla="*/ 697 w 849"/>
                <a:gd name="T5" fmla="*/ 40 h 478"/>
                <a:gd name="T6" fmla="*/ 611 w 849"/>
                <a:gd name="T7" fmla="*/ 19 h 478"/>
                <a:gd name="T8" fmla="*/ 31 w 849"/>
                <a:gd name="T9" fmla="*/ 398 h 478"/>
                <a:gd name="T10" fmla="*/ 9 w 849"/>
                <a:gd name="T11" fmla="*/ 463 h 478"/>
                <a:gd name="T12" fmla="*/ 14 w 849"/>
                <a:gd name="T13" fmla="*/ 478 h 478"/>
                <a:gd name="T14" fmla="*/ 849 w 849"/>
                <a:gd name="T15" fmla="*/ 79 h 478"/>
                <a:gd name="T16" fmla="*/ 823 w 849"/>
                <a:gd name="T17" fmla="*/ 22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9" h="478">
                  <a:moveTo>
                    <a:pt x="823" y="22"/>
                  </a:moveTo>
                  <a:cubicBezTo>
                    <a:pt x="717" y="77"/>
                    <a:pt x="717" y="77"/>
                    <a:pt x="717" y="77"/>
                  </a:cubicBezTo>
                  <a:cubicBezTo>
                    <a:pt x="697" y="40"/>
                    <a:pt x="697" y="40"/>
                    <a:pt x="697" y="40"/>
                  </a:cubicBezTo>
                  <a:cubicBezTo>
                    <a:pt x="680" y="10"/>
                    <a:pt x="641" y="0"/>
                    <a:pt x="611" y="19"/>
                  </a:cubicBezTo>
                  <a:cubicBezTo>
                    <a:pt x="31" y="398"/>
                    <a:pt x="31" y="398"/>
                    <a:pt x="31" y="398"/>
                  </a:cubicBezTo>
                  <a:cubicBezTo>
                    <a:pt x="10" y="412"/>
                    <a:pt x="0" y="438"/>
                    <a:pt x="9" y="463"/>
                  </a:cubicBezTo>
                  <a:cubicBezTo>
                    <a:pt x="14" y="478"/>
                    <a:pt x="14" y="478"/>
                    <a:pt x="14" y="478"/>
                  </a:cubicBezTo>
                  <a:cubicBezTo>
                    <a:pt x="849" y="79"/>
                    <a:pt x="849" y="79"/>
                    <a:pt x="849" y="79"/>
                  </a:cubicBezTo>
                  <a:lnTo>
                    <a:pt x="823" y="22"/>
                  </a:lnTo>
                  <a:close/>
                </a:path>
              </a:pathLst>
            </a:custGeom>
            <a:solidFill>
              <a:srgbClr val="4242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69" name="Oval 47">
              <a:extLst>
                <a:ext uri="{FF2B5EF4-FFF2-40B4-BE49-F238E27FC236}">
                  <a16:creationId xmlns:a16="http://schemas.microsoft.com/office/drawing/2014/main" id="{19718902-5D53-4FF1-B8E8-04EAB413AEE3}"/>
                </a:ext>
              </a:extLst>
            </p:cNvPr>
            <p:cNvSpPr>
              <a:spLocks noChangeArrowheads="1"/>
            </p:cNvSpPr>
            <p:nvPr/>
          </p:nvSpPr>
          <p:spPr bwMode="auto">
            <a:xfrm>
              <a:off x="6711156" y="4255294"/>
              <a:ext cx="119063" cy="119063"/>
            </a:xfrm>
            <a:prstGeom prst="ellipse">
              <a:avLst/>
            </a:prstGeom>
            <a:solidFill>
              <a:srgbClr val="4242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70" name="Freeform 48">
              <a:extLst>
                <a:ext uri="{FF2B5EF4-FFF2-40B4-BE49-F238E27FC236}">
                  <a16:creationId xmlns:a16="http://schemas.microsoft.com/office/drawing/2014/main" id="{D60DE2E3-411C-4FB0-A100-3CDF0CC1B7AC}"/>
                </a:ext>
              </a:extLst>
            </p:cNvPr>
            <p:cNvSpPr>
              <a:spLocks noEditPoints="1"/>
            </p:cNvSpPr>
            <p:nvPr/>
          </p:nvSpPr>
          <p:spPr bwMode="auto">
            <a:xfrm>
              <a:off x="7079456" y="3734594"/>
              <a:ext cx="762000" cy="603250"/>
            </a:xfrm>
            <a:custGeom>
              <a:avLst/>
              <a:gdLst>
                <a:gd name="T0" fmla="*/ 356 w 432"/>
                <a:gd name="T1" fmla="*/ 291 h 342"/>
                <a:gd name="T2" fmla="*/ 380 w 432"/>
                <a:gd name="T3" fmla="*/ 76 h 342"/>
                <a:gd name="T4" fmla="*/ 166 w 432"/>
                <a:gd name="T5" fmla="*/ 52 h 342"/>
                <a:gd name="T6" fmla="*/ 110 w 432"/>
                <a:gd name="T7" fmla="*/ 192 h 342"/>
                <a:gd name="T8" fmla="*/ 8 w 432"/>
                <a:gd name="T9" fmla="*/ 241 h 342"/>
                <a:gd name="T10" fmla="*/ 8 w 432"/>
                <a:gd name="T11" fmla="*/ 241 h 342"/>
                <a:gd name="T12" fmla="*/ 7 w 432"/>
                <a:gd name="T13" fmla="*/ 242 h 342"/>
                <a:gd name="T14" fmla="*/ 12 w 432"/>
                <a:gd name="T15" fmla="*/ 286 h 342"/>
                <a:gd name="T16" fmla="*/ 44 w 432"/>
                <a:gd name="T17" fmla="*/ 318 h 342"/>
                <a:gd name="T18" fmla="*/ 45 w 432"/>
                <a:gd name="T19" fmla="*/ 317 h 342"/>
                <a:gd name="T20" fmla="*/ 45 w 432"/>
                <a:gd name="T21" fmla="*/ 317 h 342"/>
                <a:gd name="T22" fmla="*/ 144 w 432"/>
                <a:gd name="T23" fmla="*/ 269 h 342"/>
                <a:gd name="T24" fmla="*/ 356 w 432"/>
                <a:gd name="T25" fmla="*/ 291 h 342"/>
                <a:gd name="T26" fmla="*/ 201 w 432"/>
                <a:gd name="T27" fmla="*/ 219 h 342"/>
                <a:gd name="T28" fmla="*/ 213 w 432"/>
                <a:gd name="T29" fmla="*/ 112 h 342"/>
                <a:gd name="T30" fmla="*/ 320 w 432"/>
                <a:gd name="T31" fmla="*/ 124 h 342"/>
                <a:gd name="T32" fmla="*/ 308 w 432"/>
                <a:gd name="T33" fmla="*/ 231 h 342"/>
                <a:gd name="T34" fmla="*/ 201 w 432"/>
                <a:gd name="T35" fmla="*/ 21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32" h="342">
                  <a:moveTo>
                    <a:pt x="356" y="291"/>
                  </a:moveTo>
                  <a:cubicBezTo>
                    <a:pt x="421" y="238"/>
                    <a:pt x="432" y="142"/>
                    <a:pt x="380" y="76"/>
                  </a:cubicBezTo>
                  <a:cubicBezTo>
                    <a:pt x="328" y="11"/>
                    <a:pt x="232" y="0"/>
                    <a:pt x="166" y="52"/>
                  </a:cubicBezTo>
                  <a:cubicBezTo>
                    <a:pt x="122" y="87"/>
                    <a:pt x="103" y="140"/>
                    <a:pt x="110" y="192"/>
                  </a:cubicBezTo>
                  <a:cubicBezTo>
                    <a:pt x="8" y="241"/>
                    <a:pt x="8" y="241"/>
                    <a:pt x="8" y="241"/>
                  </a:cubicBezTo>
                  <a:cubicBezTo>
                    <a:pt x="8" y="241"/>
                    <a:pt x="8" y="241"/>
                    <a:pt x="8" y="241"/>
                  </a:cubicBezTo>
                  <a:cubicBezTo>
                    <a:pt x="8" y="242"/>
                    <a:pt x="7" y="242"/>
                    <a:pt x="7" y="242"/>
                  </a:cubicBezTo>
                  <a:cubicBezTo>
                    <a:pt x="0" y="245"/>
                    <a:pt x="2" y="265"/>
                    <a:pt x="12" y="286"/>
                  </a:cubicBezTo>
                  <a:cubicBezTo>
                    <a:pt x="22" y="307"/>
                    <a:pt x="37" y="321"/>
                    <a:pt x="44" y="318"/>
                  </a:cubicBezTo>
                  <a:cubicBezTo>
                    <a:pt x="45" y="318"/>
                    <a:pt x="45" y="317"/>
                    <a:pt x="45" y="317"/>
                  </a:cubicBezTo>
                  <a:cubicBezTo>
                    <a:pt x="45" y="317"/>
                    <a:pt x="45" y="317"/>
                    <a:pt x="45" y="317"/>
                  </a:cubicBezTo>
                  <a:cubicBezTo>
                    <a:pt x="144" y="269"/>
                    <a:pt x="144" y="269"/>
                    <a:pt x="144" y="269"/>
                  </a:cubicBezTo>
                  <a:cubicBezTo>
                    <a:pt x="197" y="332"/>
                    <a:pt x="291" y="342"/>
                    <a:pt x="356" y="291"/>
                  </a:cubicBezTo>
                  <a:close/>
                  <a:moveTo>
                    <a:pt x="201" y="219"/>
                  </a:moveTo>
                  <a:cubicBezTo>
                    <a:pt x="175" y="186"/>
                    <a:pt x="181" y="138"/>
                    <a:pt x="213" y="112"/>
                  </a:cubicBezTo>
                  <a:cubicBezTo>
                    <a:pt x="246" y="86"/>
                    <a:pt x="294" y="91"/>
                    <a:pt x="320" y="124"/>
                  </a:cubicBezTo>
                  <a:cubicBezTo>
                    <a:pt x="346" y="157"/>
                    <a:pt x="341" y="205"/>
                    <a:pt x="308" y="231"/>
                  </a:cubicBezTo>
                  <a:cubicBezTo>
                    <a:pt x="275" y="257"/>
                    <a:pt x="227" y="251"/>
                    <a:pt x="201" y="219"/>
                  </a:cubicBezTo>
                  <a:close/>
                </a:path>
              </a:pathLst>
            </a:custGeom>
            <a:solidFill>
              <a:srgbClr val="424242">
                <a:alpha val="20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71" name="Freeform 49">
              <a:extLst>
                <a:ext uri="{FF2B5EF4-FFF2-40B4-BE49-F238E27FC236}">
                  <a16:creationId xmlns:a16="http://schemas.microsoft.com/office/drawing/2014/main" id="{A3A42B01-FA46-404F-98CA-8194965B0D31}"/>
                </a:ext>
              </a:extLst>
            </p:cNvPr>
            <p:cNvSpPr>
              <a:spLocks/>
            </p:cNvSpPr>
            <p:nvPr/>
          </p:nvSpPr>
          <p:spPr bwMode="auto">
            <a:xfrm>
              <a:off x="6352381" y="3913981"/>
              <a:ext cx="604838" cy="1592263"/>
            </a:xfrm>
            <a:custGeom>
              <a:avLst/>
              <a:gdLst>
                <a:gd name="T0" fmla="*/ 285 w 343"/>
                <a:gd name="T1" fmla="*/ 14 h 903"/>
                <a:gd name="T2" fmla="*/ 252 w 343"/>
                <a:gd name="T3" fmla="*/ 129 h 903"/>
                <a:gd name="T4" fmla="*/ 292 w 343"/>
                <a:gd name="T5" fmla="*/ 141 h 903"/>
                <a:gd name="T6" fmla="*/ 330 w 343"/>
                <a:gd name="T7" fmla="*/ 221 h 903"/>
                <a:gd name="T8" fmla="*/ 75 w 343"/>
                <a:gd name="T9" fmla="*/ 865 h 903"/>
                <a:gd name="T10" fmla="*/ 16 w 343"/>
                <a:gd name="T11" fmla="*/ 900 h 903"/>
                <a:gd name="T12" fmla="*/ 0 w 343"/>
                <a:gd name="T13" fmla="*/ 898 h 903"/>
                <a:gd name="T14" fmla="*/ 224 w 343"/>
                <a:gd name="T15" fmla="*/ 0 h 903"/>
                <a:gd name="T16" fmla="*/ 285 w 343"/>
                <a:gd name="T17" fmla="*/ 14 h 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3" h="903">
                  <a:moveTo>
                    <a:pt x="285" y="14"/>
                  </a:moveTo>
                  <a:cubicBezTo>
                    <a:pt x="252" y="129"/>
                    <a:pt x="252" y="129"/>
                    <a:pt x="252" y="129"/>
                  </a:cubicBezTo>
                  <a:cubicBezTo>
                    <a:pt x="292" y="141"/>
                    <a:pt x="292" y="141"/>
                    <a:pt x="292" y="141"/>
                  </a:cubicBezTo>
                  <a:cubicBezTo>
                    <a:pt x="326" y="152"/>
                    <a:pt x="343" y="188"/>
                    <a:pt x="330" y="221"/>
                  </a:cubicBezTo>
                  <a:cubicBezTo>
                    <a:pt x="75" y="865"/>
                    <a:pt x="75" y="865"/>
                    <a:pt x="75" y="865"/>
                  </a:cubicBezTo>
                  <a:cubicBezTo>
                    <a:pt x="65" y="889"/>
                    <a:pt x="41" y="903"/>
                    <a:pt x="16" y="900"/>
                  </a:cubicBezTo>
                  <a:cubicBezTo>
                    <a:pt x="0" y="898"/>
                    <a:pt x="0" y="898"/>
                    <a:pt x="0" y="898"/>
                  </a:cubicBezTo>
                  <a:cubicBezTo>
                    <a:pt x="224" y="0"/>
                    <a:pt x="224" y="0"/>
                    <a:pt x="224" y="0"/>
                  </a:cubicBezTo>
                  <a:lnTo>
                    <a:pt x="285" y="14"/>
                  </a:lnTo>
                  <a:close/>
                </a:path>
              </a:pathLst>
            </a:custGeom>
            <a:solidFill>
              <a:srgbClr val="ACA5A5"/>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72" name="Freeform 50">
              <a:extLst>
                <a:ext uri="{FF2B5EF4-FFF2-40B4-BE49-F238E27FC236}">
                  <a16:creationId xmlns:a16="http://schemas.microsoft.com/office/drawing/2014/main" id="{0BF1A98E-1AC7-48CD-9C66-2E3393D49E30}"/>
                </a:ext>
              </a:extLst>
            </p:cNvPr>
            <p:cNvSpPr>
              <a:spLocks noEditPoints="1"/>
            </p:cNvSpPr>
            <p:nvPr/>
          </p:nvSpPr>
          <p:spPr bwMode="auto">
            <a:xfrm>
              <a:off x="6646069" y="3202781"/>
              <a:ext cx="538163" cy="747713"/>
            </a:xfrm>
            <a:custGeom>
              <a:avLst/>
              <a:gdLst>
                <a:gd name="T0" fmla="*/ 305 w 305"/>
                <a:gd name="T1" fmla="*/ 153 h 424"/>
                <a:gd name="T2" fmla="*/ 152 w 305"/>
                <a:gd name="T3" fmla="*/ 0 h 424"/>
                <a:gd name="T4" fmla="*/ 0 w 305"/>
                <a:gd name="T5" fmla="*/ 153 h 424"/>
                <a:gd name="T6" fmla="*/ 74 w 305"/>
                <a:gd name="T7" fmla="*/ 284 h 424"/>
                <a:gd name="T8" fmla="*/ 50 w 305"/>
                <a:gd name="T9" fmla="*/ 395 h 424"/>
                <a:gd name="T10" fmla="*/ 50 w 305"/>
                <a:gd name="T11" fmla="*/ 395 h 424"/>
                <a:gd name="T12" fmla="*/ 50 w 305"/>
                <a:gd name="T13" fmla="*/ 395 h 424"/>
                <a:gd name="T14" fmla="*/ 88 w 305"/>
                <a:gd name="T15" fmla="*/ 419 h 424"/>
                <a:gd name="T16" fmla="*/ 132 w 305"/>
                <a:gd name="T17" fmla="*/ 413 h 424"/>
                <a:gd name="T18" fmla="*/ 132 w 305"/>
                <a:gd name="T19" fmla="*/ 413 h 424"/>
                <a:gd name="T20" fmla="*/ 132 w 305"/>
                <a:gd name="T21" fmla="*/ 413 h 424"/>
                <a:gd name="T22" fmla="*/ 156 w 305"/>
                <a:gd name="T23" fmla="*/ 305 h 424"/>
                <a:gd name="T24" fmla="*/ 305 w 305"/>
                <a:gd name="T25" fmla="*/ 153 h 424"/>
                <a:gd name="T26" fmla="*/ 152 w 305"/>
                <a:gd name="T27" fmla="*/ 229 h 424"/>
                <a:gd name="T28" fmla="*/ 76 w 305"/>
                <a:gd name="T29" fmla="*/ 153 h 424"/>
                <a:gd name="T30" fmla="*/ 152 w 305"/>
                <a:gd name="T31" fmla="*/ 77 h 424"/>
                <a:gd name="T32" fmla="*/ 228 w 305"/>
                <a:gd name="T33" fmla="*/ 153 h 424"/>
                <a:gd name="T34" fmla="*/ 152 w 305"/>
                <a:gd name="T35" fmla="*/ 229 h 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5" h="424">
                  <a:moveTo>
                    <a:pt x="305" y="153"/>
                  </a:moveTo>
                  <a:cubicBezTo>
                    <a:pt x="305" y="68"/>
                    <a:pt x="237" y="0"/>
                    <a:pt x="152" y="0"/>
                  </a:cubicBezTo>
                  <a:cubicBezTo>
                    <a:pt x="68" y="0"/>
                    <a:pt x="0" y="68"/>
                    <a:pt x="0" y="153"/>
                  </a:cubicBezTo>
                  <a:cubicBezTo>
                    <a:pt x="0" y="208"/>
                    <a:pt x="30" y="257"/>
                    <a:pt x="74" y="284"/>
                  </a:cubicBezTo>
                  <a:cubicBezTo>
                    <a:pt x="50" y="395"/>
                    <a:pt x="50" y="395"/>
                    <a:pt x="50" y="395"/>
                  </a:cubicBezTo>
                  <a:cubicBezTo>
                    <a:pt x="50" y="395"/>
                    <a:pt x="50" y="395"/>
                    <a:pt x="50" y="395"/>
                  </a:cubicBezTo>
                  <a:cubicBezTo>
                    <a:pt x="50" y="395"/>
                    <a:pt x="50" y="395"/>
                    <a:pt x="50" y="395"/>
                  </a:cubicBezTo>
                  <a:cubicBezTo>
                    <a:pt x="48" y="403"/>
                    <a:pt x="65" y="414"/>
                    <a:pt x="88" y="419"/>
                  </a:cubicBezTo>
                  <a:cubicBezTo>
                    <a:pt x="111" y="424"/>
                    <a:pt x="131" y="421"/>
                    <a:pt x="132" y="413"/>
                  </a:cubicBezTo>
                  <a:cubicBezTo>
                    <a:pt x="132" y="413"/>
                    <a:pt x="132" y="413"/>
                    <a:pt x="132" y="413"/>
                  </a:cubicBezTo>
                  <a:cubicBezTo>
                    <a:pt x="132" y="413"/>
                    <a:pt x="132" y="413"/>
                    <a:pt x="132" y="413"/>
                  </a:cubicBezTo>
                  <a:cubicBezTo>
                    <a:pt x="156" y="305"/>
                    <a:pt x="156" y="305"/>
                    <a:pt x="156" y="305"/>
                  </a:cubicBezTo>
                  <a:cubicBezTo>
                    <a:pt x="239" y="303"/>
                    <a:pt x="305" y="235"/>
                    <a:pt x="305" y="153"/>
                  </a:cubicBezTo>
                  <a:close/>
                  <a:moveTo>
                    <a:pt x="152" y="229"/>
                  </a:moveTo>
                  <a:cubicBezTo>
                    <a:pt x="110" y="229"/>
                    <a:pt x="76" y="195"/>
                    <a:pt x="76" y="153"/>
                  </a:cubicBezTo>
                  <a:cubicBezTo>
                    <a:pt x="76" y="111"/>
                    <a:pt x="110" y="77"/>
                    <a:pt x="152" y="77"/>
                  </a:cubicBezTo>
                  <a:cubicBezTo>
                    <a:pt x="194" y="77"/>
                    <a:pt x="228" y="111"/>
                    <a:pt x="228" y="153"/>
                  </a:cubicBezTo>
                  <a:cubicBezTo>
                    <a:pt x="228" y="195"/>
                    <a:pt x="194" y="229"/>
                    <a:pt x="152" y="229"/>
                  </a:cubicBezTo>
                  <a:close/>
                </a:path>
              </a:pathLst>
            </a:custGeom>
            <a:solidFill>
              <a:srgbClr val="194A76"/>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73" name="Freeform 51">
              <a:extLst>
                <a:ext uri="{FF2B5EF4-FFF2-40B4-BE49-F238E27FC236}">
                  <a16:creationId xmlns:a16="http://schemas.microsoft.com/office/drawing/2014/main" id="{B2B566EB-8C81-417D-8B61-B470A3B01C34}"/>
                </a:ext>
              </a:extLst>
            </p:cNvPr>
            <p:cNvSpPr>
              <a:spLocks/>
            </p:cNvSpPr>
            <p:nvPr/>
          </p:nvSpPr>
          <p:spPr bwMode="auto">
            <a:xfrm>
              <a:off x="5669756" y="4107656"/>
              <a:ext cx="1497013" cy="842963"/>
            </a:xfrm>
            <a:custGeom>
              <a:avLst/>
              <a:gdLst>
                <a:gd name="T0" fmla="*/ 823 w 849"/>
                <a:gd name="T1" fmla="*/ 22 h 478"/>
                <a:gd name="T2" fmla="*/ 717 w 849"/>
                <a:gd name="T3" fmla="*/ 77 h 478"/>
                <a:gd name="T4" fmla="*/ 697 w 849"/>
                <a:gd name="T5" fmla="*/ 40 h 478"/>
                <a:gd name="T6" fmla="*/ 611 w 849"/>
                <a:gd name="T7" fmla="*/ 19 h 478"/>
                <a:gd name="T8" fmla="*/ 31 w 849"/>
                <a:gd name="T9" fmla="*/ 398 h 478"/>
                <a:gd name="T10" fmla="*/ 9 w 849"/>
                <a:gd name="T11" fmla="*/ 463 h 478"/>
                <a:gd name="T12" fmla="*/ 14 w 849"/>
                <a:gd name="T13" fmla="*/ 478 h 478"/>
                <a:gd name="T14" fmla="*/ 849 w 849"/>
                <a:gd name="T15" fmla="*/ 79 h 478"/>
                <a:gd name="T16" fmla="*/ 823 w 849"/>
                <a:gd name="T17" fmla="*/ 22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9" h="478">
                  <a:moveTo>
                    <a:pt x="823" y="22"/>
                  </a:moveTo>
                  <a:cubicBezTo>
                    <a:pt x="717" y="77"/>
                    <a:pt x="717" y="77"/>
                    <a:pt x="717" y="77"/>
                  </a:cubicBezTo>
                  <a:cubicBezTo>
                    <a:pt x="697" y="40"/>
                    <a:pt x="697" y="40"/>
                    <a:pt x="697" y="40"/>
                  </a:cubicBezTo>
                  <a:cubicBezTo>
                    <a:pt x="680" y="10"/>
                    <a:pt x="641" y="0"/>
                    <a:pt x="611" y="19"/>
                  </a:cubicBezTo>
                  <a:cubicBezTo>
                    <a:pt x="31" y="398"/>
                    <a:pt x="31" y="398"/>
                    <a:pt x="31" y="398"/>
                  </a:cubicBezTo>
                  <a:cubicBezTo>
                    <a:pt x="10" y="412"/>
                    <a:pt x="0" y="438"/>
                    <a:pt x="9" y="463"/>
                  </a:cubicBezTo>
                  <a:cubicBezTo>
                    <a:pt x="14" y="478"/>
                    <a:pt x="14" y="478"/>
                    <a:pt x="14" y="478"/>
                  </a:cubicBezTo>
                  <a:cubicBezTo>
                    <a:pt x="849" y="79"/>
                    <a:pt x="849" y="79"/>
                    <a:pt x="849" y="79"/>
                  </a:cubicBezTo>
                  <a:lnTo>
                    <a:pt x="823" y="22"/>
                  </a:lnTo>
                  <a:close/>
                </a:path>
              </a:pathLst>
            </a:custGeom>
            <a:solidFill>
              <a:srgbClr val="DDD0D5"/>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74" name="Oval 52">
              <a:extLst>
                <a:ext uri="{FF2B5EF4-FFF2-40B4-BE49-F238E27FC236}">
                  <a16:creationId xmlns:a16="http://schemas.microsoft.com/office/drawing/2014/main" id="{CF8A5320-AFC6-4E3B-9A79-F71F5510B86E}"/>
                </a:ext>
              </a:extLst>
            </p:cNvPr>
            <p:cNvSpPr>
              <a:spLocks noChangeArrowheads="1"/>
            </p:cNvSpPr>
            <p:nvPr/>
          </p:nvSpPr>
          <p:spPr bwMode="auto">
            <a:xfrm>
              <a:off x="6746081" y="4218781"/>
              <a:ext cx="119063" cy="120650"/>
            </a:xfrm>
            <a:prstGeom prst="ellipse">
              <a:avLst/>
            </a:prstGeom>
            <a:solidFill>
              <a:srgbClr val="AC9FA9"/>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75" name="Freeform 53">
              <a:extLst>
                <a:ext uri="{FF2B5EF4-FFF2-40B4-BE49-F238E27FC236}">
                  <a16:creationId xmlns:a16="http://schemas.microsoft.com/office/drawing/2014/main" id="{B7FBDDF1-2BD7-4051-ACB3-742A38413A18}"/>
                </a:ext>
              </a:extLst>
            </p:cNvPr>
            <p:cNvSpPr>
              <a:spLocks noEditPoints="1"/>
            </p:cNvSpPr>
            <p:nvPr/>
          </p:nvSpPr>
          <p:spPr bwMode="auto">
            <a:xfrm>
              <a:off x="7115969" y="3699669"/>
              <a:ext cx="760413" cy="603250"/>
            </a:xfrm>
            <a:custGeom>
              <a:avLst/>
              <a:gdLst>
                <a:gd name="T0" fmla="*/ 356 w 432"/>
                <a:gd name="T1" fmla="*/ 291 h 342"/>
                <a:gd name="T2" fmla="*/ 380 w 432"/>
                <a:gd name="T3" fmla="*/ 76 h 342"/>
                <a:gd name="T4" fmla="*/ 166 w 432"/>
                <a:gd name="T5" fmla="*/ 52 h 342"/>
                <a:gd name="T6" fmla="*/ 110 w 432"/>
                <a:gd name="T7" fmla="*/ 192 h 342"/>
                <a:gd name="T8" fmla="*/ 8 w 432"/>
                <a:gd name="T9" fmla="*/ 241 h 342"/>
                <a:gd name="T10" fmla="*/ 8 w 432"/>
                <a:gd name="T11" fmla="*/ 241 h 342"/>
                <a:gd name="T12" fmla="*/ 7 w 432"/>
                <a:gd name="T13" fmla="*/ 242 h 342"/>
                <a:gd name="T14" fmla="*/ 12 w 432"/>
                <a:gd name="T15" fmla="*/ 286 h 342"/>
                <a:gd name="T16" fmla="*/ 44 w 432"/>
                <a:gd name="T17" fmla="*/ 318 h 342"/>
                <a:gd name="T18" fmla="*/ 45 w 432"/>
                <a:gd name="T19" fmla="*/ 317 h 342"/>
                <a:gd name="T20" fmla="*/ 45 w 432"/>
                <a:gd name="T21" fmla="*/ 317 h 342"/>
                <a:gd name="T22" fmla="*/ 144 w 432"/>
                <a:gd name="T23" fmla="*/ 269 h 342"/>
                <a:gd name="T24" fmla="*/ 356 w 432"/>
                <a:gd name="T25" fmla="*/ 291 h 342"/>
                <a:gd name="T26" fmla="*/ 201 w 432"/>
                <a:gd name="T27" fmla="*/ 219 h 342"/>
                <a:gd name="T28" fmla="*/ 213 w 432"/>
                <a:gd name="T29" fmla="*/ 112 h 342"/>
                <a:gd name="T30" fmla="*/ 320 w 432"/>
                <a:gd name="T31" fmla="*/ 124 h 342"/>
                <a:gd name="T32" fmla="*/ 308 w 432"/>
                <a:gd name="T33" fmla="*/ 231 h 342"/>
                <a:gd name="T34" fmla="*/ 201 w 432"/>
                <a:gd name="T35" fmla="*/ 21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32" h="342">
                  <a:moveTo>
                    <a:pt x="356" y="291"/>
                  </a:moveTo>
                  <a:cubicBezTo>
                    <a:pt x="421" y="238"/>
                    <a:pt x="432" y="142"/>
                    <a:pt x="380" y="76"/>
                  </a:cubicBezTo>
                  <a:cubicBezTo>
                    <a:pt x="328" y="11"/>
                    <a:pt x="232" y="0"/>
                    <a:pt x="166" y="52"/>
                  </a:cubicBezTo>
                  <a:cubicBezTo>
                    <a:pt x="122" y="87"/>
                    <a:pt x="103" y="140"/>
                    <a:pt x="110" y="192"/>
                  </a:cubicBezTo>
                  <a:cubicBezTo>
                    <a:pt x="8" y="241"/>
                    <a:pt x="8" y="241"/>
                    <a:pt x="8" y="241"/>
                  </a:cubicBezTo>
                  <a:cubicBezTo>
                    <a:pt x="8" y="241"/>
                    <a:pt x="8" y="241"/>
                    <a:pt x="8" y="241"/>
                  </a:cubicBezTo>
                  <a:cubicBezTo>
                    <a:pt x="8" y="242"/>
                    <a:pt x="7" y="242"/>
                    <a:pt x="7" y="242"/>
                  </a:cubicBezTo>
                  <a:cubicBezTo>
                    <a:pt x="0" y="245"/>
                    <a:pt x="2" y="265"/>
                    <a:pt x="12" y="286"/>
                  </a:cubicBezTo>
                  <a:cubicBezTo>
                    <a:pt x="22" y="307"/>
                    <a:pt x="37" y="321"/>
                    <a:pt x="44" y="318"/>
                  </a:cubicBezTo>
                  <a:cubicBezTo>
                    <a:pt x="45" y="318"/>
                    <a:pt x="45" y="317"/>
                    <a:pt x="45" y="317"/>
                  </a:cubicBezTo>
                  <a:cubicBezTo>
                    <a:pt x="45" y="317"/>
                    <a:pt x="45" y="317"/>
                    <a:pt x="45" y="317"/>
                  </a:cubicBezTo>
                  <a:cubicBezTo>
                    <a:pt x="144" y="269"/>
                    <a:pt x="144" y="269"/>
                    <a:pt x="144" y="269"/>
                  </a:cubicBezTo>
                  <a:cubicBezTo>
                    <a:pt x="197" y="332"/>
                    <a:pt x="291" y="342"/>
                    <a:pt x="356" y="291"/>
                  </a:cubicBezTo>
                  <a:close/>
                  <a:moveTo>
                    <a:pt x="201" y="219"/>
                  </a:moveTo>
                  <a:cubicBezTo>
                    <a:pt x="175" y="186"/>
                    <a:pt x="181" y="138"/>
                    <a:pt x="213" y="112"/>
                  </a:cubicBezTo>
                  <a:cubicBezTo>
                    <a:pt x="246" y="86"/>
                    <a:pt x="294" y="91"/>
                    <a:pt x="320" y="124"/>
                  </a:cubicBezTo>
                  <a:cubicBezTo>
                    <a:pt x="346" y="157"/>
                    <a:pt x="341" y="205"/>
                    <a:pt x="308" y="231"/>
                  </a:cubicBezTo>
                  <a:cubicBezTo>
                    <a:pt x="275" y="257"/>
                    <a:pt x="227" y="251"/>
                    <a:pt x="201" y="219"/>
                  </a:cubicBezTo>
                  <a:close/>
                </a:path>
              </a:pathLst>
            </a:custGeom>
            <a:solidFill>
              <a:srgbClr val="3461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grpSp>
      <p:sp>
        <p:nvSpPr>
          <p:cNvPr id="61" name="文本框 60">
            <a:extLst>
              <a:ext uri="{FF2B5EF4-FFF2-40B4-BE49-F238E27FC236}">
                <a16:creationId xmlns:a16="http://schemas.microsoft.com/office/drawing/2014/main" id="{438E2859-DF9F-4A8F-893A-1CF56CC47736}"/>
              </a:ext>
            </a:extLst>
          </p:cNvPr>
          <p:cNvSpPr txBox="1"/>
          <p:nvPr/>
        </p:nvSpPr>
        <p:spPr>
          <a:xfrm>
            <a:off x="669924" y="4181393"/>
            <a:ext cx="7588572" cy="1200329"/>
          </a:xfrm>
          <a:prstGeom prst="rect">
            <a:avLst/>
          </a:prstGeom>
          <a:noFill/>
        </p:spPr>
        <p:txBody>
          <a:bodyPr wrap="square" rtlCol="0">
            <a:spAutoFit/>
          </a:bodyPr>
          <a:lstStyle/>
          <a:p>
            <a:pPr algn="l"/>
            <a:r>
              <a:rPr lang="en-US" altLang="zh-CN" b="0" i="0" dirty="0">
                <a:solidFill>
                  <a:srgbClr val="0D0016"/>
                </a:solidFill>
                <a:effectLst/>
                <a:latin typeface="PingFang SC"/>
              </a:rPr>
              <a:t>4</a:t>
            </a:r>
            <a:r>
              <a:rPr lang="zh-CN" altLang="en-US" b="0" i="0" dirty="0">
                <a:solidFill>
                  <a:srgbClr val="0D0016"/>
                </a:solidFill>
                <a:effectLst/>
                <a:latin typeface="PingFang SC"/>
              </a:rPr>
              <a:t>、聚合（</a:t>
            </a:r>
            <a:r>
              <a:rPr lang="en-US" altLang="zh-CN" b="0" i="0" dirty="0">
                <a:solidFill>
                  <a:srgbClr val="0D0016"/>
                </a:solidFill>
                <a:effectLst/>
                <a:latin typeface="PingFang SC"/>
              </a:rPr>
              <a:t>Aggregation</a:t>
            </a:r>
            <a:r>
              <a:rPr lang="zh-CN" altLang="en-US" b="0" i="0" dirty="0">
                <a:solidFill>
                  <a:srgbClr val="0D0016"/>
                </a:solidFill>
                <a:effectLst/>
                <a:latin typeface="PingFang SC"/>
              </a:rPr>
              <a:t>）</a:t>
            </a:r>
            <a:endParaRPr lang="zh-CN" altLang="en-US" b="1" i="0" dirty="0">
              <a:solidFill>
                <a:srgbClr val="4F4F4F"/>
              </a:solidFill>
              <a:effectLst/>
              <a:latin typeface="PingFang SC"/>
            </a:endParaRPr>
          </a:p>
          <a:p>
            <a:pPr marL="0" algn="l"/>
            <a:r>
              <a:rPr lang="zh-CN" altLang="en-US" b="0" i="0" dirty="0">
                <a:solidFill>
                  <a:srgbClr val="0D0016"/>
                </a:solidFill>
                <a:effectLst/>
                <a:latin typeface="-apple-system"/>
              </a:rPr>
              <a:t>        聚合是关联关系的一种，聚合主要描述整体与部分直接的关系。需求陈述中常使用“包含”、“组成”、“分为</a:t>
            </a:r>
            <a:r>
              <a:rPr lang="en-US" altLang="zh-CN" b="0" i="0" dirty="0">
                <a:solidFill>
                  <a:srgbClr val="0D0016"/>
                </a:solidFill>
                <a:effectLst/>
                <a:latin typeface="-apple-system"/>
              </a:rPr>
              <a:t>…</a:t>
            </a:r>
            <a:r>
              <a:rPr lang="zh-CN" altLang="en-US" b="0" i="0" dirty="0">
                <a:solidFill>
                  <a:srgbClr val="0D0016"/>
                </a:solidFill>
                <a:effectLst/>
                <a:latin typeface="-apple-system"/>
              </a:rPr>
              <a:t>部分”等字句。除了基本（一般）聚集之外，还有共享聚集和组合聚集。</a:t>
            </a:r>
            <a:endParaRPr lang="zh-CN" altLang="en-US" b="0" i="0" dirty="0">
              <a:solidFill>
                <a:srgbClr val="4D4D4D"/>
              </a:solidFill>
              <a:effectLst/>
              <a:latin typeface="-apple-system"/>
            </a:endParaRPr>
          </a:p>
        </p:txBody>
      </p:sp>
    </p:spTree>
    <p:custDataLst>
      <p:tags r:id="rId1"/>
    </p:custDataLst>
    <p:extLst>
      <p:ext uri="{BB962C8B-B14F-4D97-AF65-F5344CB8AC3E}">
        <p14:creationId xmlns:p14="http://schemas.microsoft.com/office/powerpoint/2010/main" val="2301470408"/>
      </p:ext>
    </p:extLst>
  </p:cSld>
  <p:clrMapOvr>
    <a:masterClrMapping/>
  </p:clrMapOvr>
  <mc:AlternateContent xmlns:mc="http://schemas.openxmlformats.org/markup-compatibility/2006">
    <mc:Choice xmlns:p14="http://schemas.microsoft.com/office/powerpoint/2010/main" Requires="p14">
      <p:transition spd="slow" p14:dur="1250">
        <p:blinds dir="vert"/>
      </p:transition>
    </mc:Choice>
    <mc:Fallback>
      <p:transition spd="slow">
        <p:blinds dir="vert"/>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292" name="Picture 4">
            <a:extLst>
              <a:ext uri="{FF2B5EF4-FFF2-40B4-BE49-F238E27FC236}">
                <a16:creationId xmlns:a16="http://schemas.microsoft.com/office/drawing/2014/main" id="{58CFA1D2-2B5D-4FAE-BEC9-E788D91CC81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935394" y="4336465"/>
            <a:ext cx="4260298" cy="1449773"/>
          </a:xfrm>
          <a:prstGeom prst="rect">
            <a:avLst/>
          </a:prstGeom>
          <a:noFill/>
          <a:extLst>
            <a:ext uri="{909E8E84-426E-40DD-AFC4-6F175D3DCCD1}">
              <a14:hiddenFill xmlns:a14="http://schemas.microsoft.com/office/drawing/2010/main">
                <a:solidFill>
                  <a:srgbClr val="FFFFFF"/>
                </a:solidFill>
              </a14:hiddenFill>
            </a:ext>
          </a:extLst>
        </p:spPr>
      </p:pic>
      <p:pic>
        <p:nvPicPr>
          <p:cNvPr id="12290" name="Picture 2">
            <a:extLst>
              <a:ext uri="{FF2B5EF4-FFF2-40B4-BE49-F238E27FC236}">
                <a16:creationId xmlns:a16="http://schemas.microsoft.com/office/drawing/2014/main" id="{093ADD94-3D20-43E6-903F-3F91AB79E52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814239" y="1417306"/>
            <a:ext cx="4191000" cy="1263245"/>
          </a:xfrm>
          <a:prstGeom prst="rect">
            <a:avLst/>
          </a:prstGeom>
          <a:noFill/>
          <a:extLst>
            <a:ext uri="{909E8E84-426E-40DD-AFC4-6F175D3DCCD1}">
              <a14:hiddenFill xmlns:a14="http://schemas.microsoft.com/office/drawing/2010/main">
                <a:solidFill>
                  <a:srgbClr val="FFFFFF"/>
                </a:solidFill>
              </a14:hiddenFill>
            </a:ext>
          </a:extLst>
        </p:spPr>
      </p:pic>
      <p:sp>
        <p:nvSpPr>
          <p:cNvPr id="4" name="灯片编号占位符 3">
            <a:extLst>
              <a:ext uri="{FF2B5EF4-FFF2-40B4-BE49-F238E27FC236}">
                <a16:creationId xmlns:a16="http://schemas.microsoft.com/office/drawing/2014/main" id="{2A5C0DA9-421E-435E-A37F-75EEA4A204CB}"/>
              </a:ext>
            </a:extLst>
          </p:cNvPr>
          <p:cNvSpPr>
            <a:spLocks noGrp="1"/>
          </p:cNvSpPr>
          <p:nvPr>
            <p:ph type="sldNum" sz="quarter" idx="12"/>
          </p:nvPr>
        </p:nvSpPr>
        <p:spPr/>
        <p:txBody>
          <a:bodyPr/>
          <a:lstStyle/>
          <a:p>
            <a:fld id="{5DD3DB80-B894-403A-B48E-6FDC1A72010E}" type="slidenum">
              <a:rPr lang="zh-CN" altLang="en-US" smtClean="0"/>
              <a:pPr/>
              <a:t>14</a:t>
            </a:fld>
            <a:endParaRPr lang="zh-CN" altLang="en-US"/>
          </a:p>
        </p:txBody>
      </p:sp>
      <p:sp>
        <p:nvSpPr>
          <p:cNvPr id="5" name="标题 1">
            <a:extLst>
              <a:ext uri="{FF2B5EF4-FFF2-40B4-BE49-F238E27FC236}">
                <a16:creationId xmlns:a16="http://schemas.microsoft.com/office/drawing/2014/main" id="{A66C21BB-C083-4C2F-A2AE-920B8A20D84E}"/>
              </a:ext>
            </a:extLst>
          </p:cNvPr>
          <p:cNvSpPr>
            <a:spLocks noGrp="1"/>
          </p:cNvSpPr>
          <p:nvPr>
            <p:ph type="title"/>
          </p:nvPr>
        </p:nvSpPr>
        <p:spPr>
          <a:xfrm>
            <a:off x="669924" y="1"/>
            <a:ext cx="10850563" cy="1028699"/>
          </a:xfrm>
        </p:spPr>
        <p:txBody>
          <a:bodyPr/>
          <a:lstStyle/>
          <a:p>
            <a:r>
              <a:rPr lang="en-US" altLang="zh-CN" dirty="0"/>
              <a:t>UML</a:t>
            </a:r>
            <a:r>
              <a:rPr lang="zh-CN" altLang="en-US" dirty="0"/>
              <a:t>类图中的关系及解释</a:t>
            </a:r>
          </a:p>
        </p:txBody>
      </p:sp>
      <p:sp>
        <p:nvSpPr>
          <p:cNvPr id="6" name="文本框 5">
            <a:extLst>
              <a:ext uri="{FF2B5EF4-FFF2-40B4-BE49-F238E27FC236}">
                <a16:creationId xmlns:a16="http://schemas.microsoft.com/office/drawing/2014/main" id="{AD4EF72B-B237-4531-96CB-FAD2B6E29EE8}"/>
              </a:ext>
            </a:extLst>
          </p:cNvPr>
          <p:cNvSpPr txBox="1"/>
          <p:nvPr/>
        </p:nvSpPr>
        <p:spPr>
          <a:xfrm>
            <a:off x="669924" y="1397675"/>
            <a:ext cx="7588572" cy="1200329"/>
          </a:xfrm>
          <a:prstGeom prst="rect">
            <a:avLst/>
          </a:prstGeom>
          <a:noFill/>
        </p:spPr>
        <p:txBody>
          <a:bodyPr wrap="square" rtlCol="0">
            <a:spAutoFit/>
          </a:bodyPr>
          <a:lstStyle/>
          <a:p>
            <a:pPr algn="l"/>
            <a:r>
              <a:rPr lang="en-US" altLang="zh-CN" b="0" i="0" dirty="0">
                <a:solidFill>
                  <a:srgbClr val="0D0016"/>
                </a:solidFill>
                <a:effectLst/>
                <a:latin typeface="PingFang SC"/>
              </a:rPr>
              <a:t>5</a:t>
            </a:r>
            <a:r>
              <a:rPr lang="zh-CN" altLang="en-US" b="0" i="0" dirty="0">
                <a:solidFill>
                  <a:srgbClr val="0D0016"/>
                </a:solidFill>
                <a:effectLst/>
                <a:latin typeface="PingFang SC"/>
              </a:rPr>
              <a:t>、组合（</a:t>
            </a:r>
            <a:r>
              <a:rPr lang="en-US" altLang="zh-CN" b="0" i="0" dirty="0">
                <a:solidFill>
                  <a:srgbClr val="0D0016"/>
                </a:solidFill>
                <a:effectLst/>
                <a:latin typeface="PingFang SC"/>
              </a:rPr>
              <a:t>Composition)</a:t>
            </a:r>
            <a:endParaRPr lang="zh-CN" altLang="en-US" b="1" i="0" dirty="0">
              <a:solidFill>
                <a:srgbClr val="4F4F4F"/>
              </a:solidFill>
              <a:effectLst/>
              <a:latin typeface="PingFang SC"/>
            </a:endParaRPr>
          </a:p>
          <a:p>
            <a:pPr algn="l"/>
            <a:r>
              <a:rPr lang="zh-CN" altLang="en-US" b="0" i="0" dirty="0">
                <a:solidFill>
                  <a:srgbClr val="0D0016"/>
                </a:solidFill>
                <a:effectLst/>
                <a:latin typeface="-apple-system"/>
              </a:rPr>
              <a:t>        组合聚合是聚合的一种特殊情况，成员对象与整体对象之间具有同生共死的关系，</a:t>
            </a:r>
            <a:r>
              <a:rPr lang="en-US" altLang="zh-CN" b="0" i="0" dirty="0">
                <a:solidFill>
                  <a:srgbClr val="0D0016"/>
                </a:solidFill>
                <a:effectLst/>
                <a:latin typeface="-apple-system"/>
              </a:rPr>
              <a:t>UML</a:t>
            </a:r>
            <a:r>
              <a:rPr lang="zh-CN" altLang="en-US" b="0" i="0" dirty="0">
                <a:solidFill>
                  <a:srgbClr val="0D0016"/>
                </a:solidFill>
                <a:effectLst/>
                <a:latin typeface="-apple-system"/>
              </a:rPr>
              <a:t>中使用一条从整体类到部分类的实线，并在整体类的关联末端画一个</a:t>
            </a:r>
            <a:r>
              <a:rPr lang="zh-CN" altLang="en-US" b="1" i="0" dirty="0">
                <a:solidFill>
                  <a:srgbClr val="FE2C24"/>
                </a:solidFill>
                <a:effectLst/>
                <a:latin typeface="-apple-system"/>
              </a:rPr>
              <a:t>实心棱形</a:t>
            </a:r>
            <a:r>
              <a:rPr lang="zh-CN" altLang="en-US" b="0" i="0" dirty="0">
                <a:solidFill>
                  <a:srgbClr val="0D0016"/>
                </a:solidFill>
                <a:effectLst/>
                <a:latin typeface="-apple-system"/>
              </a:rPr>
              <a:t>标识 </a:t>
            </a:r>
            <a:endParaRPr lang="zh-CN" altLang="en-US" b="0" i="0" dirty="0">
              <a:solidFill>
                <a:srgbClr val="4D4D4D"/>
              </a:solidFill>
              <a:effectLst/>
              <a:latin typeface="-apple-system"/>
            </a:endParaRPr>
          </a:p>
        </p:txBody>
      </p:sp>
      <p:grpSp>
        <p:nvGrpSpPr>
          <p:cNvPr id="126" name="组合 125">
            <a:extLst>
              <a:ext uri="{FF2B5EF4-FFF2-40B4-BE49-F238E27FC236}">
                <a16:creationId xmlns:a16="http://schemas.microsoft.com/office/drawing/2014/main" id="{1DC0C2F1-9738-41E7-81F6-362198F3177B}"/>
              </a:ext>
            </a:extLst>
          </p:cNvPr>
          <p:cNvGrpSpPr/>
          <p:nvPr/>
        </p:nvGrpSpPr>
        <p:grpSpPr>
          <a:xfrm>
            <a:off x="10440193" y="68734"/>
            <a:ext cx="1080294" cy="1067017"/>
            <a:chOff x="4239419" y="1802606"/>
            <a:chExt cx="3713163" cy="3938588"/>
          </a:xfrm>
        </p:grpSpPr>
        <p:sp>
          <p:nvSpPr>
            <p:cNvPr id="127" name="Freeform 5">
              <a:extLst>
                <a:ext uri="{FF2B5EF4-FFF2-40B4-BE49-F238E27FC236}">
                  <a16:creationId xmlns:a16="http://schemas.microsoft.com/office/drawing/2014/main" id="{EFC19AB8-DD1E-4452-82DE-EF85C5345860}"/>
                </a:ext>
              </a:extLst>
            </p:cNvPr>
            <p:cNvSpPr>
              <a:spLocks/>
            </p:cNvSpPr>
            <p:nvPr/>
          </p:nvSpPr>
          <p:spPr bwMode="auto">
            <a:xfrm>
              <a:off x="4888706" y="1837531"/>
              <a:ext cx="3008313" cy="3455988"/>
            </a:xfrm>
            <a:custGeom>
              <a:avLst/>
              <a:gdLst>
                <a:gd name="T0" fmla="*/ 1061 w 1706"/>
                <a:gd name="T1" fmla="*/ 1952 h 1960"/>
                <a:gd name="T2" fmla="*/ 32 w 1706"/>
                <a:gd name="T3" fmla="*/ 1539 h 1960"/>
                <a:gd name="T4" fmla="*/ 9 w 1706"/>
                <a:gd name="T5" fmla="*/ 1485 h 1960"/>
                <a:gd name="T6" fmla="*/ 592 w 1706"/>
                <a:gd name="T7" fmla="*/ 32 h 1960"/>
                <a:gd name="T8" fmla="*/ 646 w 1706"/>
                <a:gd name="T9" fmla="*/ 9 h 1960"/>
                <a:gd name="T10" fmla="*/ 1674 w 1706"/>
                <a:gd name="T11" fmla="*/ 421 h 1960"/>
                <a:gd name="T12" fmla="*/ 1698 w 1706"/>
                <a:gd name="T13" fmla="*/ 475 h 1960"/>
                <a:gd name="T14" fmla="*/ 1115 w 1706"/>
                <a:gd name="T15" fmla="*/ 1929 h 1960"/>
                <a:gd name="T16" fmla="*/ 1061 w 1706"/>
                <a:gd name="T17" fmla="*/ 1952 h 19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06" h="1960">
                  <a:moveTo>
                    <a:pt x="1061" y="1952"/>
                  </a:moveTo>
                  <a:cubicBezTo>
                    <a:pt x="32" y="1539"/>
                    <a:pt x="32" y="1539"/>
                    <a:pt x="32" y="1539"/>
                  </a:cubicBezTo>
                  <a:cubicBezTo>
                    <a:pt x="11" y="1531"/>
                    <a:pt x="0" y="1507"/>
                    <a:pt x="9" y="1485"/>
                  </a:cubicBezTo>
                  <a:cubicBezTo>
                    <a:pt x="592" y="32"/>
                    <a:pt x="592" y="32"/>
                    <a:pt x="592" y="32"/>
                  </a:cubicBezTo>
                  <a:cubicBezTo>
                    <a:pt x="601" y="11"/>
                    <a:pt x="625" y="0"/>
                    <a:pt x="646" y="9"/>
                  </a:cubicBezTo>
                  <a:cubicBezTo>
                    <a:pt x="1674" y="421"/>
                    <a:pt x="1674" y="421"/>
                    <a:pt x="1674" y="421"/>
                  </a:cubicBezTo>
                  <a:cubicBezTo>
                    <a:pt x="1696" y="430"/>
                    <a:pt x="1706" y="454"/>
                    <a:pt x="1698" y="475"/>
                  </a:cubicBezTo>
                  <a:cubicBezTo>
                    <a:pt x="1115" y="1929"/>
                    <a:pt x="1115" y="1929"/>
                    <a:pt x="1115" y="1929"/>
                  </a:cubicBezTo>
                  <a:cubicBezTo>
                    <a:pt x="1106" y="1950"/>
                    <a:pt x="1082" y="1960"/>
                    <a:pt x="1061" y="1952"/>
                  </a:cubicBezTo>
                  <a:close/>
                </a:path>
              </a:pathLst>
            </a:custGeom>
            <a:solidFill>
              <a:srgbClr val="424242">
                <a:alpha val="20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8" name="Freeform 6">
              <a:extLst>
                <a:ext uri="{FF2B5EF4-FFF2-40B4-BE49-F238E27FC236}">
                  <a16:creationId xmlns:a16="http://schemas.microsoft.com/office/drawing/2014/main" id="{DC027539-F95C-4F53-80F9-00814C589D1A}"/>
                </a:ext>
              </a:extLst>
            </p:cNvPr>
            <p:cNvSpPr>
              <a:spLocks/>
            </p:cNvSpPr>
            <p:nvPr/>
          </p:nvSpPr>
          <p:spPr bwMode="auto">
            <a:xfrm>
              <a:off x="4944269" y="1802606"/>
              <a:ext cx="3008313" cy="3455988"/>
            </a:xfrm>
            <a:custGeom>
              <a:avLst/>
              <a:gdLst>
                <a:gd name="T0" fmla="*/ 1061 w 1706"/>
                <a:gd name="T1" fmla="*/ 1952 h 1960"/>
                <a:gd name="T2" fmla="*/ 32 w 1706"/>
                <a:gd name="T3" fmla="*/ 1539 h 1960"/>
                <a:gd name="T4" fmla="*/ 9 w 1706"/>
                <a:gd name="T5" fmla="*/ 1485 h 1960"/>
                <a:gd name="T6" fmla="*/ 592 w 1706"/>
                <a:gd name="T7" fmla="*/ 32 h 1960"/>
                <a:gd name="T8" fmla="*/ 646 w 1706"/>
                <a:gd name="T9" fmla="*/ 9 h 1960"/>
                <a:gd name="T10" fmla="*/ 1674 w 1706"/>
                <a:gd name="T11" fmla="*/ 421 h 1960"/>
                <a:gd name="T12" fmla="*/ 1698 w 1706"/>
                <a:gd name="T13" fmla="*/ 475 h 1960"/>
                <a:gd name="T14" fmla="*/ 1115 w 1706"/>
                <a:gd name="T15" fmla="*/ 1929 h 1960"/>
                <a:gd name="T16" fmla="*/ 1061 w 1706"/>
                <a:gd name="T17" fmla="*/ 1952 h 19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06" h="1960">
                  <a:moveTo>
                    <a:pt x="1061" y="1952"/>
                  </a:moveTo>
                  <a:cubicBezTo>
                    <a:pt x="32" y="1539"/>
                    <a:pt x="32" y="1539"/>
                    <a:pt x="32" y="1539"/>
                  </a:cubicBezTo>
                  <a:cubicBezTo>
                    <a:pt x="11" y="1531"/>
                    <a:pt x="0" y="1507"/>
                    <a:pt x="9" y="1485"/>
                  </a:cubicBezTo>
                  <a:cubicBezTo>
                    <a:pt x="592" y="32"/>
                    <a:pt x="592" y="32"/>
                    <a:pt x="592" y="32"/>
                  </a:cubicBezTo>
                  <a:cubicBezTo>
                    <a:pt x="601" y="11"/>
                    <a:pt x="625" y="0"/>
                    <a:pt x="646" y="9"/>
                  </a:cubicBezTo>
                  <a:cubicBezTo>
                    <a:pt x="1674" y="421"/>
                    <a:pt x="1674" y="421"/>
                    <a:pt x="1674" y="421"/>
                  </a:cubicBezTo>
                  <a:cubicBezTo>
                    <a:pt x="1696" y="430"/>
                    <a:pt x="1706" y="454"/>
                    <a:pt x="1698" y="475"/>
                  </a:cubicBezTo>
                  <a:cubicBezTo>
                    <a:pt x="1115" y="1929"/>
                    <a:pt x="1115" y="1929"/>
                    <a:pt x="1115" y="1929"/>
                  </a:cubicBezTo>
                  <a:cubicBezTo>
                    <a:pt x="1106" y="1950"/>
                    <a:pt x="1082" y="1960"/>
                    <a:pt x="1061" y="1952"/>
                  </a:cubicBezTo>
                  <a:close/>
                </a:path>
              </a:pathLst>
            </a:custGeom>
            <a:solidFill>
              <a:srgbClr val="E4E4E4"/>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29" name="Freeform 7">
              <a:extLst>
                <a:ext uri="{FF2B5EF4-FFF2-40B4-BE49-F238E27FC236}">
                  <a16:creationId xmlns:a16="http://schemas.microsoft.com/office/drawing/2014/main" id="{86C72124-010E-4EAB-AF5E-A53C0D0B786F}"/>
                </a:ext>
              </a:extLst>
            </p:cNvPr>
            <p:cNvSpPr>
              <a:spLocks/>
            </p:cNvSpPr>
            <p:nvPr/>
          </p:nvSpPr>
          <p:spPr bwMode="auto">
            <a:xfrm>
              <a:off x="4944269" y="1802606"/>
              <a:ext cx="1427163" cy="2827338"/>
            </a:xfrm>
            <a:custGeom>
              <a:avLst/>
              <a:gdLst>
                <a:gd name="T0" fmla="*/ 194 w 809"/>
                <a:gd name="T1" fmla="*/ 1604 h 1604"/>
                <a:gd name="T2" fmla="*/ 32 w 809"/>
                <a:gd name="T3" fmla="*/ 1539 h 1604"/>
                <a:gd name="T4" fmla="*/ 9 w 809"/>
                <a:gd name="T5" fmla="*/ 1486 h 1604"/>
                <a:gd name="T6" fmla="*/ 592 w 809"/>
                <a:gd name="T7" fmla="*/ 32 h 1604"/>
                <a:gd name="T8" fmla="*/ 646 w 809"/>
                <a:gd name="T9" fmla="*/ 9 h 1604"/>
                <a:gd name="T10" fmla="*/ 809 w 809"/>
                <a:gd name="T11" fmla="*/ 74 h 1604"/>
                <a:gd name="T12" fmla="*/ 195 w 809"/>
                <a:gd name="T13" fmla="*/ 1604 h 1604"/>
                <a:gd name="T14" fmla="*/ 194 w 809"/>
                <a:gd name="T15" fmla="*/ 1604 h 16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9" h="1604">
                  <a:moveTo>
                    <a:pt x="194" y="1604"/>
                  </a:moveTo>
                  <a:cubicBezTo>
                    <a:pt x="32" y="1539"/>
                    <a:pt x="32" y="1539"/>
                    <a:pt x="32" y="1539"/>
                  </a:cubicBezTo>
                  <a:cubicBezTo>
                    <a:pt x="11" y="1531"/>
                    <a:pt x="0" y="1507"/>
                    <a:pt x="9" y="1486"/>
                  </a:cubicBezTo>
                  <a:cubicBezTo>
                    <a:pt x="592" y="32"/>
                    <a:pt x="592" y="32"/>
                    <a:pt x="592" y="32"/>
                  </a:cubicBezTo>
                  <a:cubicBezTo>
                    <a:pt x="601" y="10"/>
                    <a:pt x="625" y="0"/>
                    <a:pt x="646" y="9"/>
                  </a:cubicBezTo>
                  <a:cubicBezTo>
                    <a:pt x="809" y="74"/>
                    <a:pt x="809" y="74"/>
                    <a:pt x="809" y="74"/>
                  </a:cubicBezTo>
                  <a:cubicBezTo>
                    <a:pt x="195" y="1604"/>
                    <a:pt x="195" y="1604"/>
                    <a:pt x="195" y="1604"/>
                  </a:cubicBezTo>
                  <a:cubicBezTo>
                    <a:pt x="195" y="1604"/>
                    <a:pt x="194" y="1604"/>
                    <a:pt x="194" y="1604"/>
                  </a:cubicBezTo>
                  <a:close/>
                </a:path>
              </a:pathLst>
            </a:custGeom>
            <a:solidFill>
              <a:srgbClr val="C1C0BF"/>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30" name="Freeform 8">
              <a:extLst>
                <a:ext uri="{FF2B5EF4-FFF2-40B4-BE49-F238E27FC236}">
                  <a16:creationId xmlns:a16="http://schemas.microsoft.com/office/drawing/2014/main" id="{8571DE63-0356-4765-A3E4-5C55AF1CDE96}"/>
                </a:ext>
              </a:extLst>
            </p:cNvPr>
            <p:cNvSpPr>
              <a:spLocks/>
            </p:cNvSpPr>
            <p:nvPr/>
          </p:nvSpPr>
          <p:spPr bwMode="auto">
            <a:xfrm>
              <a:off x="4291806" y="1967706"/>
              <a:ext cx="1431925" cy="2081213"/>
            </a:xfrm>
            <a:custGeom>
              <a:avLst/>
              <a:gdLst>
                <a:gd name="T0" fmla="*/ 775 w 812"/>
                <a:gd name="T1" fmla="*/ 1108 h 1180"/>
                <a:gd name="T2" fmla="*/ 163 w 812"/>
                <a:gd name="T3" fmla="*/ 1178 h 1180"/>
                <a:gd name="T4" fmla="*/ 120 w 812"/>
                <a:gd name="T5" fmla="*/ 1144 h 1180"/>
                <a:gd name="T6" fmla="*/ 2 w 812"/>
                <a:gd name="T7" fmla="*/ 115 h 1180"/>
                <a:gd name="T8" fmla="*/ 36 w 812"/>
                <a:gd name="T9" fmla="*/ 72 h 1180"/>
                <a:gd name="T10" fmla="*/ 649 w 812"/>
                <a:gd name="T11" fmla="*/ 2 h 1180"/>
                <a:gd name="T12" fmla="*/ 692 w 812"/>
                <a:gd name="T13" fmla="*/ 36 h 1180"/>
                <a:gd name="T14" fmla="*/ 809 w 812"/>
                <a:gd name="T15" fmla="*/ 1065 h 1180"/>
                <a:gd name="T16" fmla="*/ 775 w 812"/>
                <a:gd name="T17" fmla="*/ 1108 h 1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2" h="1180">
                  <a:moveTo>
                    <a:pt x="775" y="1108"/>
                  </a:moveTo>
                  <a:cubicBezTo>
                    <a:pt x="163" y="1178"/>
                    <a:pt x="163" y="1178"/>
                    <a:pt x="163" y="1178"/>
                  </a:cubicBezTo>
                  <a:cubicBezTo>
                    <a:pt x="141" y="1180"/>
                    <a:pt x="122" y="1165"/>
                    <a:pt x="120" y="1144"/>
                  </a:cubicBezTo>
                  <a:cubicBezTo>
                    <a:pt x="2" y="115"/>
                    <a:pt x="2" y="115"/>
                    <a:pt x="2" y="115"/>
                  </a:cubicBezTo>
                  <a:cubicBezTo>
                    <a:pt x="0" y="94"/>
                    <a:pt x="15" y="75"/>
                    <a:pt x="36" y="72"/>
                  </a:cubicBezTo>
                  <a:cubicBezTo>
                    <a:pt x="649" y="2"/>
                    <a:pt x="649" y="2"/>
                    <a:pt x="649" y="2"/>
                  </a:cubicBezTo>
                  <a:cubicBezTo>
                    <a:pt x="670" y="0"/>
                    <a:pt x="689" y="15"/>
                    <a:pt x="692" y="36"/>
                  </a:cubicBezTo>
                  <a:cubicBezTo>
                    <a:pt x="809" y="1065"/>
                    <a:pt x="809" y="1065"/>
                    <a:pt x="809" y="1065"/>
                  </a:cubicBezTo>
                  <a:cubicBezTo>
                    <a:pt x="812" y="1086"/>
                    <a:pt x="796" y="1105"/>
                    <a:pt x="775" y="1108"/>
                  </a:cubicBezTo>
                  <a:close/>
                </a:path>
              </a:pathLst>
            </a:custGeom>
            <a:solidFill>
              <a:srgbClr val="424242">
                <a:alpha val="20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31" name="Freeform 9">
              <a:extLst>
                <a:ext uri="{FF2B5EF4-FFF2-40B4-BE49-F238E27FC236}">
                  <a16:creationId xmlns:a16="http://schemas.microsoft.com/office/drawing/2014/main" id="{875D7BCF-A630-497B-8704-AEA1F08B7D18}"/>
                </a:ext>
              </a:extLst>
            </p:cNvPr>
            <p:cNvSpPr>
              <a:spLocks/>
            </p:cNvSpPr>
            <p:nvPr/>
          </p:nvSpPr>
          <p:spPr bwMode="auto">
            <a:xfrm>
              <a:off x="4334669" y="1918494"/>
              <a:ext cx="1431925" cy="2081213"/>
            </a:xfrm>
            <a:custGeom>
              <a:avLst/>
              <a:gdLst>
                <a:gd name="T0" fmla="*/ 775 w 812"/>
                <a:gd name="T1" fmla="*/ 1108 h 1180"/>
                <a:gd name="T2" fmla="*/ 163 w 812"/>
                <a:gd name="T3" fmla="*/ 1178 h 1180"/>
                <a:gd name="T4" fmla="*/ 120 w 812"/>
                <a:gd name="T5" fmla="*/ 1144 h 1180"/>
                <a:gd name="T6" fmla="*/ 2 w 812"/>
                <a:gd name="T7" fmla="*/ 115 h 1180"/>
                <a:gd name="T8" fmla="*/ 36 w 812"/>
                <a:gd name="T9" fmla="*/ 72 h 1180"/>
                <a:gd name="T10" fmla="*/ 649 w 812"/>
                <a:gd name="T11" fmla="*/ 2 h 1180"/>
                <a:gd name="T12" fmla="*/ 692 w 812"/>
                <a:gd name="T13" fmla="*/ 36 h 1180"/>
                <a:gd name="T14" fmla="*/ 809 w 812"/>
                <a:gd name="T15" fmla="*/ 1065 h 1180"/>
                <a:gd name="T16" fmla="*/ 775 w 812"/>
                <a:gd name="T17" fmla="*/ 1108 h 1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2" h="1180">
                  <a:moveTo>
                    <a:pt x="775" y="1108"/>
                  </a:moveTo>
                  <a:cubicBezTo>
                    <a:pt x="163" y="1178"/>
                    <a:pt x="163" y="1178"/>
                    <a:pt x="163" y="1178"/>
                  </a:cubicBezTo>
                  <a:cubicBezTo>
                    <a:pt x="141" y="1180"/>
                    <a:pt x="122" y="1165"/>
                    <a:pt x="120" y="1144"/>
                  </a:cubicBezTo>
                  <a:cubicBezTo>
                    <a:pt x="2" y="115"/>
                    <a:pt x="2" y="115"/>
                    <a:pt x="2" y="115"/>
                  </a:cubicBezTo>
                  <a:cubicBezTo>
                    <a:pt x="0" y="94"/>
                    <a:pt x="15" y="75"/>
                    <a:pt x="36" y="72"/>
                  </a:cubicBezTo>
                  <a:cubicBezTo>
                    <a:pt x="649" y="2"/>
                    <a:pt x="649" y="2"/>
                    <a:pt x="649" y="2"/>
                  </a:cubicBezTo>
                  <a:cubicBezTo>
                    <a:pt x="670" y="0"/>
                    <a:pt x="689" y="15"/>
                    <a:pt x="692" y="36"/>
                  </a:cubicBezTo>
                  <a:cubicBezTo>
                    <a:pt x="809" y="1065"/>
                    <a:pt x="809" y="1065"/>
                    <a:pt x="809" y="1065"/>
                  </a:cubicBezTo>
                  <a:cubicBezTo>
                    <a:pt x="812" y="1086"/>
                    <a:pt x="796" y="1105"/>
                    <a:pt x="775" y="1108"/>
                  </a:cubicBezTo>
                  <a:close/>
                </a:path>
              </a:pathLst>
            </a:custGeom>
            <a:solidFill>
              <a:srgbClr val="1B4771"/>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32" name="Freeform 10">
              <a:extLst>
                <a:ext uri="{FF2B5EF4-FFF2-40B4-BE49-F238E27FC236}">
                  <a16:creationId xmlns:a16="http://schemas.microsoft.com/office/drawing/2014/main" id="{BAA0F5BB-A4A7-4D56-83DE-AC83AF98351B}"/>
                </a:ext>
              </a:extLst>
            </p:cNvPr>
            <p:cNvSpPr>
              <a:spLocks/>
            </p:cNvSpPr>
            <p:nvPr/>
          </p:nvSpPr>
          <p:spPr bwMode="auto">
            <a:xfrm>
              <a:off x="4415631" y="1918494"/>
              <a:ext cx="1350963" cy="2071688"/>
            </a:xfrm>
            <a:custGeom>
              <a:avLst/>
              <a:gdLst>
                <a:gd name="T0" fmla="*/ 730 w 766"/>
                <a:gd name="T1" fmla="*/ 1108 h 1175"/>
                <a:gd name="T2" fmla="*/ 162 w 766"/>
                <a:gd name="T3" fmla="*/ 1173 h 1175"/>
                <a:gd name="T4" fmla="*/ 120 w 766"/>
                <a:gd name="T5" fmla="*/ 1140 h 1175"/>
                <a:gd name="T6" fmla="*/ 2 w 766"/>
                <a:gd name="T7" fmla="*/ 109 h 1175"/>
                <a:gd name="T8" fmla="*/ 35 w 766"/>
                <a:gd name="T9" fmla="*/ 67 h 1175"/>
                <a:gd name="T10" fmla="*/ 604 w 766"/>
                <a:gd name="T11" fmla="*/ 2 h 1175"/>
                <a:gd name="T12" fmla="*/ 646 w 766"/>
                <a:gd name="T13" fmla="*/ 35 h 1175"/>
                <a:gd name="T14" fmla="*/ 763 w 766"/>
                <a:gd name="T15" fmla="*/ 1066 h 1175"/>
                <a:gd name="T16" fmla="*/ 730 w 766"/>
                <a:gd name="T17" fmla="*/ 1108 h 1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6" h="1175">
                  <a:moveTo>
                    <a:pt x="730" y="1108"/>
                  </a:moveTo>
                  <a:cubicBezTo>
                    <a:pt x="162" y="1173"/>
                    <a:pt x="162" y="1173"/>
                    <a:pt x="162" y="1173"/>
                  </a:cubicBezTo>
                  <a:cubicBezTo>
                    <a:pt x="141" y="1175"/>
                    <a:pt x="122" y="1160"/>
                    <a:pt x="120" y="1140"/>
                  </a:cubicBezTo>
                  <a:cubicBezTo>
                    <a:pt x="2" y="109"/>
                    <a:pt x="2" y="109"/>
                    <a:pt x="2" y="109"/>
                  </a:cubicBezTo>
                  <a:cubicBezTo>
                    <a:pt x="0" y="88"/>
                    <a:pt x="15" y="69"/>
                    <a:pt x="35" y="67"/>
                  </a:cubicBezTo>
                  <a:cubicBezTo>
                    <a:pt x="604" y="2"/>
                    <a:pt x="604" y="2"/>
                    <a:pt x="604" y="2"/>
                  </a:cubicBezTo>
                  <a:cubicBezTo>
                    <a:pt x="625" y="0"/>
                    <a:pt x="643" y="14"/>
                    <a:pt x="646" y="35"/>
                  </a:cubicBezTo>
                  <a:cubicBezTo>
                    <a:pt x="763" y="1066"/>
                    <a:pt x="763" y="1066"/>
                    <a:pt x="763" y="1066"/>
                  </a:cubicBezTo>
                  <a:cubicBezTo>
                    <a:pt x="766" y="1087"/>
                    <a:pt x="751" y="1105"/>
                    <a:pt x="730" y="1108"/>
                  </a:cubicBezTo>
                  <a:close/>
                </a:path>
              </a:pathLst>
            </a:custGeom>
            <a:solidFill>
              <a:srgbClr val="417DBB"/>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33" name="Freeform 11">
              <a:extLst>
                <a:ext uri="{FF2B5EF4-FFF2-40B4-BE49-F238E27FC236}">
                  <a16:creationId xmlns:a16="http://schemas.microsoft.com/office/drawing/2014/main" id="{F97D3F5B-4953-4582-B499-512E9B8B9C1D}"/>
                </a:ext>
              </a:extLst>
            </p:cNvPr>
            <p:cNvSpPr>
              <a:spLocks/>
            </p:cNvSpPr>
            <p:nvPr/>
          </p:nvSpPr>
          <p:spPr bwMode="auto">
            <a:xfrm>
              <a:off x="4415631" y="1918494"/>
              <a:ext cx="1209675" cy="819150"/>
            </a:xfrm>
            <a:custGeom>
              <a:avLst/>
              <a:gdLst>
                <a:gd name="T0" fmla="*/ 686 w 686"/>
                <a:gd name="T1" fmla="*/ 391 h 465"/>
                <a:gd name="T2" fmla="*/ 646 w 686"/>
                <a:gd name="T3" fmla="*/ 35 h 465"/>
                <a:gd name="T4" fmla="*/ 604 w 686"/>
                <a:gd name="T5" fmla="*/ 2 h 465"/>
                <a:gd name="T6" fmla="*/ 35 w 686"/>
                <a:gd name="T7" fmla="*/ 67 h 465"/>
                <a:gd name="T8" fmla="*/ 2 w 686"/>
                <a:gd name="T9" fmla="*/ 109 h 465"/>
                <a:gd name="T10" fmla="*/ 43 w 686"/>
                <a:gd name="T11" fmla="*/ 465 h 465"/>
                <a:gd name="T12" fmla="*/ 686 w 686"/>
                <a:gd name="T13" fmla="*/ 391 h 465"/>
              </a:gdLst>
              <a:ahLst/>
              <a:cxnLst>
                <a:cxn ang="0">
                  <a:pos x="T0" y="T1"/>
                </a:cxn>
                <a:cxn ang="0">
                  <a:pos x="T2" y="T3"/>
                </a:cxn>
                <a:cxn ang="0">
                  <a:pos x="T4" y="T5"/>
                </a:cxn>
                <a:cxn ang="0">
                  <a:pos x="T6" y="T7"/>
                </a:cxn>
                <a:cxn ang="0">
                  <a:pos x="T8" y="T9"/>
                </a:cxn>
                <a:cxn ang="0">
                  <a:pos x="T10" y="T11"/>
                </a:cxn>
                <a:cxn ang="0">
                  <a:pos x="T12" y="T13"/>
                </a:cxn>
              </a:cxnLst>
              <a:rect l="0" t="0" r="r" b="b"/>
              <a:pathLst>
                <a:path w="686" h="465">
                  <a:moveTo>
                    <a:pt x="686" y="391"/>
                  </a:moveTo>
                  <a:cubicBezTo>
                    <a:pt x="646" y="35"/>
                    <a:pt x="646" y="35"/>
                    <a:pt x="646" y="35"/>
                  </a:cubicBezTo>
                  <a:cubicBezTo>
                    <a:pt x="643" y="14"/>
                    <a:pt x="625" y="0"/>
                    <a:pt x="604" y="2"/>
                  </a:cubicBezTo>
                  <a:cubicBezTo>
                    <a:pt x="35" y="67"/>
                    <a:pt x="35" y="67"/>
                    <a:pt x="35" y="67"/>
                  </a:cubicBezTo>
                  <a:cubicBezTo>
                    <a:pt x="15" y="69"/>
                    <a:pt x="0" y="88"/>
                    <a:pt x="2" y="109"/>
                  </a:cubicBezTo>
                  <a:cubicBezTo>
                    <a:pt x="43" y="465"/>
                    <a:pt x="43" y="465"/>
                    <a:pt x="43" y="465"/>
                  </a:cubicBezTo>
                  <a:lnTo>
                    <a:pt x="686" y="391"/>
                  </a:lnTo>
                  <a:close/>
                </a:path>
              </a:pathLst>
            </a:custGeom>
            <a:solidFill>
              <a:srgbClr val="336290"/>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34" name="Freeform 12">
              <a:extLst>
                <a:ext uri="{FF2B5EF4-FFF2-40B4-BE49-F238E27FC236}">
                  <a16:creationId xmlns:a16="http://schemas.microsoft.com/office/drawing/2014/main" id="{636A327B-0A95-4CEB-A5AC-3AE3BBD3EF25}"/>
                </a:ext>
              </a:extLst>
            </p:cNvPr>
            <p:cNvSpPr>
              <a:spLocks/>
            </p:cNvSpPr>
            <p:nvPr/>
          </p:nvSpPr>
          <p:spPr bwMode="auto">
            <a:xfrm>
              <a:off x="4542631" y="2067719"/>
              <a:ext cx="957263" cy="555625"/>
            </a:xfrm>
            <a:custGeom>
              <a:avLst/>
              <a:gdLst>
                <a:gd name="T0" fmla="*/ 527 w 543"/>
                <a:gd name="T1" fmla="*/ 259 h 315"/>
                <a:gd name="T2" fmla="*/ 46 w 543"/>
                <a:gd name="T3" fmla="*/ 314 h 315"/>
                <a:gd name="T4" fmla="*/ 27 w 543"/>
                <a:gd name="T5" fmla="*/ 299 h 315"/>
                <a:gd name="T6" fmla="*/ 1 w 543"/>
                <a:gd name="T7" fmla="*/ 75 h 315"/>
                <a:gd name="T8" fmla="*/ 16 w 543"/>
                <a:gd name="T9" fmla="*/ 56 h 315"/>
                <a:gd name="T10" fmla="*/ 498 w 543"/>
                <a:gd name="T11" fmla="*/ 1 h 315"/>
                <a:gd name="T12" fmla="*/ 516 w 543"/>
                <a:gd name="T13" fmla="*/ 16 h 315"/>
                <a:gd name="T14" fmla="*/ 542 w 543"/>
                <a:gd name="T15" fmla="*/ 241 h 315"/>
                <a:gd name="T16" fmla="*/ 527 w 543"/>
                <a:gd name="T17" fmla="*/ 259 h 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3" h="315">
                  <a:moveTo>
                    <a:pt x="527" y="259"/>
                  </a:moveTo>
                  <a:cubicBezTo>
                    <a:pt x="46" y="314"/>
                    <a:pt x="46" y="314"/>
                    <a:pt x="46" y="314"/>
                  </a:cubicBezTo>
                  <a:cubicBezTo>
                    <a:pt x="36" y="315"/>
                    <a:pt x="28" y="309"/>
                    <a:pt x="27" y="299"/>
                  </a:cubicBezTo>
                  <a:cubicBezTo>
                    <a:pt x="1" y="75"/>
                    <a:pt x="1" y="75"/>
                    <a:pt x="1" y="75"/>
                  </a:cubicBezTo>
                  <a:cubicBezTo>
                    <a:pt x="0" y="66"/>
                    <a:pt x="7" y="57"/>
                    <a:pt x="16" y="56"/>
                  </a:cubicBezTo>
                  <a:cubicBezTo>
                    <a:pt x="498" y="1"/>
                    <a:pt x="498" y="1"/>
                    <a:pt x="498" y="1"/>
                  </a:cubicBezTo>
                  <a:cubicBezTo>
                    <a:pt x="507" y="0"/>
                    <a:pt x="515" y="7"/>
                    <a:pt x="516" y="16"/>
                  </a:cubicBezTo>
                  <a:cubicBezTo>
                    <a:pt x="542" y="241"/>
                    <a:pt x="542" y="241"/>
                    <a:pt x="542" y="241"/>
                  </a:cubicBezTo>
                  <a:cubicBezTo>
                    <a:pt x="543" y="250"/>
                    <a:pt x="536" y="258"/>
                    <a:pt x="527" y="259"/>
                  </a:cubicBezTo>
                  <a:close/>
                </a:path>
              </a:pathLst>
            </a:custGeom>
            <a:solidFill>
              <a:srgbClr val="01B1E9"/>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35" name="Freeform 13">
              <a:extLst>
                <a:ext uri="{FF2B5EF4-FFF2-40B4-BE49-F238E27FC236}">
                  <a16:creationId xmlns:a16="http://schemas.microsoft.com/office/drawing/2014/main" id="{A2CD11F0-9BEA-409C-B692-31B8F733EE84}"/>
                </a:ext>
              </a:extLst>
            </p:cNvPr>
            <p:cNvSpPr>
              <a:spLocks/>
            </p:cNvSpPr>
            <p:nvPr/>
          </p:nvSpPr>
          <p:spPr bwMode="auto">
            <a:xfrm>
              <a:off x="5409406" y="2971006"/>
              <a:ext cx="217488" cy="320675"/>
            </a:xfrm>
            <a:custGeom>
              <a:avLst/>
              <a:gdLst>
                <a:gd name="T0" fmla="*/ 95 w 123"/>
                <a:gd name="T1" fmla="*/ 174 h 182"/>
                <a:gd name="T2" fmla="*/ 47 w 123"/>
                <a:gd name="T3" fmla="*/ 180 h 182"/>
                <a:gd name="T4" fmla="*/ 15 w 123"/>
                <a:gd name="T5" fmla="*/ 154 h 182"/>
                <a:gd name="T6" fmla="*/ 2 w 123"/>
                <a:gd name="T7" fmla="*/ 40 h 182"/>
                <a:gd name="T8" fmla="*/ 28 w 123"/>
                <a:gd name="T9" fmla="*/ 7 h 182"/>
                <a:gd name="T10" fmla="*/ 75 w 123"/>
                <a:gd name="T11" fmla="*/ 2 h 182"/>
                <a:gd name="T12" fmla="*/ 108 w 123"/>
                <a:gd name="T13" fmla="*/ 28 h 182"/>
                <a:gd name="T14" fmla="*/ 121 w 123"/>
                <a:gd name="T15" fmla="*/ 142 h 182"/>
                <a:gd name="T16" fmla="*/ 95 w 123"/>
                <a:gd name="T17" fmla="*/ 174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182">
                  <a:moveTo>
                    <a:pt x="95" y="174"/>
                  </a:moveTo>
                  <a:cubicBezTo>
                    <a:pt x="47" y="180"/>
                    <a:pt x="47" y="180"/>
                    <a:pt x="47" y="180"/>
                  </a:cubicBezTo>
                  <a:cubicBezTo>
                    <a:pt x="31" y="182"/>
                    <a:pt x="16" y="170"/>
                    <a:pt x="15" y="154"/>
                  </a:cubicBezTo>
                  <a:cubicBezTo>
                    <a:pt x="2" y="40"/>
                    <a:pt x="2" y="40"/>
                    <a:pt x="2" y="40"/>
                  </a:cubicBezTo>
                  <a:cubicBezTo>
                    <a:pt x="0" y="24"/>
                    <a:pt x="11" y="9"/>
                    <a:pt x="28" y="7"/>
                  </a:cubicBezTo>
                  <a:cubicBezTo>
                    <a:pt x="75" y="2"/>
                    <a:pt x="75" y="2"/>
                    <a:pt x="75" y="2"/>
                  </a:cubicBezTo>
                  <a:cubicBezTo>
                    <a:pt x="91" y="0"/>
                    <a:pt x="106" y="11"/>
                    <a:pt x="108" y="28"/>
                  </a:cubicBezTo>
                  <a:cubicBezTo>
                    <a:pt x="121" y="142"/>
                    <a:pt x="121" y="142"/>
                    <a:pt x="121" y="142"/>
                  </a:cubicBezTo>
                  <a:cubicBezTo>
                    <a:pt x="123" y="158"/>
                    <a:pt x="111" y="172"/>
                    <a:pt x="95" y="174"/>
                  </a:cubicBezTo>
                  <a:close/>
                </a:path>
              </a:pathLst>
            </a:custGeom>
            <a:solidFill>
              <a:srgbClr val="06AEED"/>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36" name="Freeform 14">
              <a:extLst>
                <a:ext uri="{FF2B5EF4-FFF2-40B4-BE49-F238E27FC236}">
                  <a16:creationId xmlns:a16="http://schemas.microsoft.com/office/drawing/2014/main" id="{C8B0A36D-71F5-4D3A-97E1-765AE8611816}"/>
                </a:ext>
              </a:extLst>
            </p:cNvPr>
            <p:cNvSpPr>
              <a:spLocks/>
            </p:cNvSpPr>
            <p:nvPr/>
          </p:nvSpPr>
          <p:spPr bwMode="auto">
            <a:xfrm>
              <a:off x="5447506" y="3309144"/>
              <a:ext cx="200025" cy="168275"/>
            </a:xfrm>
            <a:custGeom>
              <a:avLst/>
              <a:gdLst>
                <a:gd name="T0" fmla="*/ 85 w 114"/>
                <a:gd name="T1" fmla="*/ 1 h 95"/>
                <a:gd name="T2" fmla="*/ 20 w 114"/>
                <a:gd name="T3" fmla="*/ 8 h 95"/>
                <a:gd name="T4" fmla="*/ 2 w 114"/>
                <a:gd name="T5" fmla="*/ 31 h 95"/>
                <a:gd name="T6" fmla="*/ 7 w 114"/>
                <a:gd name="T7" fmla="*/ 75 h 95"/>
                <a:gd name="T8" fmla="*/ 30 w 114"/>
                <a:gd name="T9" fmla="*/ 93 h 95"/>
                <a:gd name="T10" fmla="*/ 94 w 114"/>
                <a:gd name="T11" fmla="*/ 86 h 95"/>
                <a:gd name="T12" fmla="*/ 113 w 114"/>
                <a:gd name="T13" fmla="*/ 63 h 95"/>
                <a:gd name="T14" fmla="*/ 108 w 114"/>
                <a:gd name="T15" fmla="*/ 19 h 95"/>
                <a:gd name="T16" fmla="*/ 85 w 114"/>
                <a:gd name="T17" fmla="*/ 1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4" h="95">
                  <a:moveTo>
                    <a:pt x="85" y="1"/>
                  </a:moveTo>
                  <a:cubicBezTo>
                    <a:pt x="20" y="8"/>
                    <a:pt x="20" y="8"/>
                    <a:pt x="20" y="8"/>
                  </a:cubicBezTo>
                  <a:cubicBezTo>
                    <a:pt x="8" y="10"/>
                    <a:pt x="0" y="20"/>
                    <a:pt x="2" y="31"/>
                  </a:cubicBezTo>
                  <a:cubicBezTo>
                    <a:pt x="7" y="75"/>
                    <a:pt x="7" y="75"/>
                    <a:pt x="7" y="75"/>
                  </a:cubicBezTo>
                  <a:cubicBezTo>
                    <a:pt x="8" y="86"/>
                    <a:pt x="18" y="95"/>
                    <a:pt x="30" y="93"/>
                  </a:cubicBezTo>
                  <a:cubicBezTo>
                    <a:pt x="94" y="86"/>
                    <a:pt x="94" y="86"/>
                    <a:pt x="94" y="86"/>
                  </a:cubicBezTo>
                  <a:cubicBezTo>
                    <a:pt x="106" y="85"/>
                    <a:pt x="114" y="74"/>
                    <a:pt x="113" y="63"/>
                  </a:cubicBezTo>
                  <a:cubicBezTo>
                    <a:pt x="108" y="19"/>
                    <a:pt x="108" y="19"/>
                    <a:pt x="108" y="19"/>
                  </a:cubicBezTo>
                  <a:cubicBezTo>
                    <a:pt x="106" y="8"/>
                    <a:pt x="96" y="0"/>
                    <a:pt x="85" y="1"/>
                  </a:cubicBezTo>
                  <a:close/>
                </a:path>
              </a:pathLst>
            </a:custGeom>
            <a:solidFill>
              <a:srgbClr val="06AEED"/>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37" name="Freeform 15">
              <a:extLst>
                <a:ext uri="{FF2B5EF4-FFF2-40B4-BE49-F238E27FC236}">
                  <a16:creationId xmlns:a16="http://schemas.microsoft.com/office/drawing/2014/main" id="{1AAF0803-2FD3-400E-AC3E-C021C37D151B}"/>
                </a:ext>
              </a:extLst>
            </p:cNvPr>
            <p:cNvSpPr>
              <a:spLocks/>
            </p:cNvSpPr>
            <p:nvPr/>
          </p:nvSpPr>
          <p:spPr bwMode="auto">
            <a:xfrm>
              <a:off x="5469731" y="3505994"/>
              <a:ext cx="201613" cy="166688"/>
            </a:xfrm>
            <a:custGeom>
              <a:avLst/>
              <a:gdLst>
                <a:gd name="T0" fmla="*/ 84 w 114"/>
                <a:gd name="T1" fmla="*/ 1 h 95"/>
                <a:gd name="T2" fmla="*/ 20 w 114"/>
                <a:gd name="T3" fmla="*/ 8 h 95"/>
                <a:gd name="T4" fmla="*/ 1 w 114"/>
                <a:gd name="T5" fmla="*/ 31 h 95"/>
                <a:gd name="T6" fmla="*/ 6 w 114"/>
                <a:gd name="T7" fmla="*/ 75 h 95"/>
                <a:gd name="T8" fmla="*/ 29 w 114"/>
                <a:gd name="T9" fmla="*/ 93 h 95"/>
                <a:gd name="T10" fmla="*/ 94 w 114"/>
                <a:gd name="T11" fmla="*/ 86 h 95"/>
                <a:gd name="T12" fmla="*/ 112 w 114"/>
                <a:gd name="T13" fmla="*/ 63 h 95"/>
                <a:gd name="T14" fmla="*/ 107 w 114"/>
                <a:gd name="T15" fmla="*/ 19 h 95"/>
                <a:gd name="T16" fmla="*/ 84 w 114"/>
                <a:gd name="T17" fmla="*/ 1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4" h="95">
                  <a:moveTo>
                    <a:pt x="84" y="1"/>
                  </a:moveTo>
                  <a:cubicBezTo>
                    <a:pt x="20" y="8"/>
                    <a:pt x="20" y="8"/>
                    <a:pt x="20" y="8"/>
                  </a:cubicBezTo>
                  <a:cubicBezTo>
                    <a:pt x="8" y="10"/>
                    <a:pt x="0" y="20"/>
                    <a:pt x="1" y="31"/>
                  </a:cubicBezTo>
                  <a:cubicBezTo>
                    <a:pt x="6" y="75"/>
                    <a:pt x="6" y="75"/>
                    <a:pt x="6" y="75"/>
                  </a:cubicBezTo>
                  <a:cubicBezTo>
                    <a:pt x="8" y="86"/>
                    <a:pt x="18" y="95"/>
                    <a:pt x="29" y="93"/>
                  </a:cubicBezTo>
                  <a:cubicBezTo>
                    <a:pt x="94" y="86"/>
                    <a:pt x="94" y="86"/>
                    <a:pt x="94" y="86"/>
                  </a:cubicBezTo>
                  <a:cubicBezTo>
                    <a:pt x="106" y="85"/>
                    <a:pt x="114" y="74"/>
                    <a:pt x="112" y="63"/>
                  </a:cubicBezTo>
                  <a:cubicBezTo>
                    <a:pt x="107" y="19"/>
                    <a:pt x="107" y="19"/>
                    <a:pt x="107" y="19"/>
                  </a:cubicBezTo>
                  <a:cubicBezTo>
                    <a:pt x="106" y="8"/>
                    <a:pt x="96" y="0"/>
                    <a:pt x="84" y="1"/>
                  </a:cubicBezTo>
                  <a:close/>
                </a:path>
              </a:pathLst>
            </a:custGeom>
            <a:solidFill>
              <a:srgbClr val="06AEED"/>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38" name="Freeform 16">
              <a:extLst>
                <a:ext uri="{FF2B5EF4-FFF2-40B4-BE49-F238E27FC236}">
                  <a16:creationId xmlns:a16="http://schemas.microsoft.com/office/drawing/2014/main" id="{35961C2F-4A42-40C0-BB13-4FC120B9EC86}"/>
                </a:ext>
              </a:extLst>
            </p:cNvPr>
            <p:cNvSpPr>
              <a:spLocks/>
            </p:cNvSpPr>
            <p:nvPr/>
          </p:nvSpPr>
          <p:spPr bwMode="auto">
            <a:xfrm>
              <a:off x="4669631" y="3053556"/>
              <a:ext cx="196850" cy="133350"/>
            </a:xfrm>
            <a:custGeom>
              <a:avLst/>
              <a:gdLst>
                <a:gd name="T0" fmla="*/ 95 w 112"/>
                <a:gd name="T1" fmla="*/ 66 h 75"/>
                <a:gd name="T2" fmla="*/ 25 w 112"/>
                <a:gd name="T3" fmla="*/ 74 h 75"/>
                <a:gd name="T4" fmla="*/ 5 w 112"/>
                <a:gd name="T5" fmla="*/ 58 h 75"/>
                <a:gd name="T6" fmla="*/ 2 w 112"/>
                <a:gd name="T7" fmla="*/ 29 h 75"/>
                <a:gd name="T8" fmla="*/ 17 w 112"/>
                <a:gd name="T9" fmla="*/ 9 h 75"/>
                <a:gd name="T10" fmla="*/ 88 w 112"/>
                <a:gd name="T11" fmla="*/ 1 h 75"/>
                <a:gd name="T12" fmla="*/ 108 w 112"/>
                <a:gd name="T13" fmla="*/ 17 h 75"/>
                <a:gd name="T14" fmla="*/ 111 w 112"/>
                <a:gd name="T15" fmla="*/ 46 h 75"/>
                <a:gd name="T16" fmla="*/ 95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5" y="66"/>
                  </a:moveTo>
                  <a:cubicBezTo>
                    <a:pt x="25" y="74"/>
                    <a:pt x="25" y="74"/>
                    <a:pt x="25" y="74"/>
                  </a:cubicBezTo>
                  <a:cubicBezTo>
                    <a:pt x="15" y="75"/>
                    <a:pt x="6" y="68"/>
                    <a:pt x="5" y="58"/>
                  </a:cubicBezTo>
                  <a:cubicBezTo>
                    <a:pt x="2" y="29"/>
                    <a:pt x="2" y="29"/>
                    <a:pt x="2" y="29"/>
                  </a:cubicBezTo>
                  <a:cubicBezTo>
                    <a:pt x="0" y="19"/>
                    <a:pt x="7" y="10"/>
                    <a:pt x="17" y="9"/>
                  </a:cubicBezTo>
                  <a:cubicBezTo>
                    <a:pt x="88" y="1"/>
                    <a:pt x="88" y="1"/>
                    <a:pt x="88" y="1"/>
                  </a:cubicBezTo>
                  <a:cubicBezTo>
                    <a:pt x="98" y="0"/>
                    <a:pt x="107" y="7"/>
                    <a:pt x="108" y="17"/>
                  </a:cubicBezTo>
                  <a:cubicBezTo>
                    <a:pt x="111" y="46"/>
                    <a:pt x="111" y="46"/>
                    <a:pt x="111" y="46"/>
                  </a:cubicBezTo>
                  <a:cubicBezTo>
                    <a:pt x="112" y="56"/>
                    <a:pt x="105" y="65"/>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39" name="Freeform 17">
              <a:extLst>
                <a:ext uri="{FF2B5EF4-FFF2-40B4-BE49-F238E27FC236}">
                  <a16:creationId xmlns:a16="http://schemas.microsoft.com/office/drawing/2014/main" id="{FC6B66F9-870B-4EF0-9E56-4EA64F481A5C}"/>
                </a:ext>
              </a:extLst>
            </p:cNvPr>
            <p:cNvSpPr>
              <a:spLocks/>
            </p:cNvSpPr>
            <p:nvPr/>
          </p:nvSpPr>
          <p:spPr bwMode="auto">
            <a:xfrm>
              <a:off x="4923631" y="3024981"/>
              <a:ext cx="196850" cy="133350"/>
            </a:xfrm>
            <a:custGeom>
              <a:avLst/>
              <a:gdLst>
                <a:gd name="T0" fmla="*/ 95 w 112"/>
                <a:gd name="T1" fmla="*/ 66 h 75"/>
                <a:gd name="T2" fmla="*/ 24 w 112"/>
                <a:gd name="T3" fmla="*/ 74 h 75"/>
                <a:gd name="T4" fmla="*/ 4 w 112"/>
                <a:gd name="T5" fmla="*/ 58 h 75"/>
                <a:gd name="T6" fmla="*/ 1 w 112"/>
                <a:gd name="T7" fmla="*/ 29 h 75"/>
                <a:gd name="T8" fmla="*/ 16 w 112"/>
                <a:gd name="T9" fmla="*/ 9 h 75"/>
                <a:gd name="T10" fmla="*/ 87 w 112"/>
                <a:gd name="T11" fmla="*/ 1 h 75"/>
                <a:gd name="T12" fmla="*/ 107 w 112"/>
                <a:gd name="T13" fmla="*/ 16 h 75"/>
                <a:gd name="T14" fmla="*/ 110 w 112"/>
                <a:gd name="T15" fmla="*/ 46 h 75"/>
                <a:gd name="T16" fmla="*/ 95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5" y="66"/>
                  </a:moveTo>
                  <a:cubicBezTo>
                    <a:pt x="24" y="74"/>
                    <a:pt x="24" y="74"/>
                    <a:pt x="24" y="74"/>
                  </a:cubicBezTo>
                  <a:cubicBezTo>
                    <a:pt x="14" y="75"/>
                    <a:pt x="5" y="68"/>
                    <a:pt x="4" y="58"/>
                  </a:cubicBezTo>
                  <a:cubicBezTo>
                    <a:pt x="1" y="29"/>
                    <a:pt x="1" y="29"/>
                    <a:pt x="1" y="29"/>
                  </a:cubicBezTo>
                  <a:cubicBezTo>
                    <a:pt x="0" y="19"/>
                    <a:pt x="7" y="10"/>
                    <a:pt x="16" y="9"/>
                  </a:cubicBezTo>
                  <a:cubicBezTo>
                    <a:pt x="87" y="1"/>
                    <a:pt x="87" y="1"/>
                    <a:pt x="87" y="1"/>
                  </a:cubicBezTo>
                  <a:cubicBezTo>
                    <a:pt x="97" y="0"/>
                    <a:pt x="106" y="7"/>
                    <a:pt x="107" y="16"/>
                  </a:cubicBezTo>
                  <a:cubicBezTo>
                    <a:pt x="110" y="46"/>
                    <a:pt x="110" y="46"/>
                    <a:pt x="110" y="46"/>
                  </a:cubicBezTo>
                  <a:cubicBezTo>
                    <a:pt x="112" y="56"/>
                    <a:pt x="104" y="64"/>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40" name="Freeform 18">
              <a:extLst>
                <a:ext uri="{FF2B5EF4-FFF2-40B4-BE49-F238E27FC236}">
                  <a16:creationId xmlns:a16="http://schemas.microsoft.com/office/drawing/2014/main" id="{02D85F2C-3CB1-4795-990C-DD4BD3BBD223}"/>
                </a:ext>
              </a:extLst>
            </p:cNvPr>
            <p:cNvSpPr>
              <a:spLocks/>
            </p:cNvSpPr>
            <p:nvPr/>
          </p:nvSpPr>
          <p:spPr bwMode="auto">
            <a:xfrm>
              <a:off x="5176044" y="2996406"/>
              <a:ext cx="196850" cy="131763"/>
            </a:xfrm>
            <a:custGeom>
              <a:avLst/>
              <a:gdLst>
                <a:gd name="T0" fmla="*/ 95 w 112"/>
                <a:gd name="T1" fmla="*/ 66 h 75"/>
                <a:gd name="T2" fmla="*/ 24 w 112"/>
                <a:gd name="T3" fmla="*/ 74 h 75"/>
                <a:gd name="T4" fmla="*/ 4 w 112"/>
                <a:gd name="T5" fmla="*/ 59 h 75"/>
                <a:gd name="T6" fmla="*/ 1 w 112"/>
                <a:gd name="T7" fmla="*/ 29 h 75"/>
                <a:gd name="T8" fmla="*/ 17 w 112"/>
                <a:gd name="T9" fmla="*/ 10 h 75"/>
                <a:gd name="T10" fmla="*/ 88 w 112"/>
                <a:gd name="T11" fmla="*/ 1 h 75"/>
                <a:gd name="T12" fmla="*/ 107 w 112"/>
                <a:gd name="T13" fmla="*/ 17 h 75"/>
                <a:gd name="T14" fmla="*/ 111 w 112"/>
                <a:gd name="T15" fmla="*/ 47 h 75"/>
                <a:gd name="T16" fmla="*/ 95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5" y="66"/>
                  </a:moveTo>
                  <a:cubicBezTo>
                    <a:pt x="24" y="74"/>
                    <a:pt x="24" y="74"/>
                    <a:pt x="24" y="74"/>
                  </a:cubicBezTo>
                  <a:cubicBezTo>
                    <a:pt x="14" y="75"/>
                    <a:pt x="6" y="68"/>
                    <a:pt x="4" y="59"/>
                  </a:cubicBezTo>
                  <a:cubicBezTo>
                    <a:pt x="1" y="29"/>
                    <a:pt x="1" y="29"/>
                    <a:pt x="1" y="29"/>
                  </a:cubicBezTo>
                  <a:cubicBezTo>
                    <a:pt x="0" y="19"/>
                    <a:pt x="7" y="11"/>
                    <a:pt x="17" y="10"/>
                  </a:cubicBezTo>
                  <a:cubicBezTo>
                    <a:pt x="88" y="1"/>
                    <a:pt x="88" y="1"/>
                    <a:pt x="88" y="1"/>
                  </a:cubicBezTo>
                  <a:cubicBezTo>
                    <a:pt x="97" y="0"/>
                    <a:pt x="106" y="7"/>
                    <a:pt x="107" y="17"/>
                  </a:cubicBezTo>
                  <a:cubicBezTo>
                    <a:pt x="111" y="47"/>
                    <a:pt x="111" y="47"/>
                    <a:pt x="111" y="47"/>
                  </a:cubicBezTo>
                  <a:cubicBezTo>
                    <a:pt x="112" y="56"/>
                    <a:pt x="105" y="65"/>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41" name="Freeform 19">
              <a:extLst>
                <a:ext uri="{FF2B5EF4-FFF2-40B4-BE49-F238E27FC236}">
                  <a16:creationId xmlns:a16="http://schemas.microsoft.com/office/drawing/2014/main" id="{91487641-3D51-4C1B-B331-6C6FB4BCD232}"/>
                </a:ext>
              </a:extLst>
            </p:cNvPr>
            <p:cNvSpPr>
              <a:spLocks/>
            </p:cNvSpPr>
            <p:nvPr/>
          </p:nvSpPr>
          <p:spPr bwMode="auto">
            <a:xfrm>
              <a:off x="4691856" y="3242469"/>
              <a:ext cx="196850" cy="131763"/>
            </a:xfrm>
            <a:custGeom>
              <a:avLst/>
              <a:gdLst>
                <a:gd name="T0" fmla="*/ 95 w 111"/>
                <a:gd name="T1" fmla="*/ 66 h 75"/>
                <a:gd name="T2" fmla="*/ 24 w 111"/>
                <a:gd name="T3" fmla="*/ 74 h 75"/>
                <a:gd name="T4" fmla="*/ 4 w 111"/>
                <a:gd name="T5" fmla="*/ 59 h 75"/>
                <a:gd name="T6" fmla="*/ 1 w 111"/>
                <a:gd name="T7" fmla="*/ 29 h 75"/>
                <a:gd name="T8" fmla="*/ 16 w 111"/>
                <a:gd name="T9" fmla="*/ 10 h 75"/>
                <a:gd name="T10" fmla="*/ 87 w 111"/>
                <a:gd name="T11" fmla="*/ 2 h 75"/>
                <a:gd name="T12" fmla="*/ 107 w 111"/>
                <a:gd name="T13" fmla="*/ 17 h 75"/>
                <a:gd name="T14" fmla="*/ 110 w 111"/>
                <a:gd name="T15" fmla="*/ 47 h 75"/>
                <a:gd name="T16" fmla="*/ 95 w 111"/>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1" h="75">
                  <a:moveTo>
                    <a:pt x="95" y="66"/>
                  </a:moveTo>
                  <a:cubicBezTo>
                    <a:pt x="24" y="74"/>
                    <a:pt x="24" y="74"/>
                    <a:pt x="24" y="74"/>
                  </a:cubicBezTo>
                  <a:cubicBezTo>
                    <a:pt x="14" y="75"/>
                    <a:pt x="5" y="68"/>
                    <a:pt x="4" y="59"/>
                  </a:cubicBezTo>
                  <a:cubicBezTo>
                    <a:pt x="1" y="29"/>
                    <a:pt x="1" y="29"/>
                    <a:pt x="1" y="29"/>
                  </a:cubicBezTo>
                  <a:cubicBezTo>
                    <a:pt x="0" y="20"/>
                    <a:pt x="7" y="11"/>
                    <a:pt x="16" y="10"/>
                  </a:cubicBezTo>
                  <a:cubicBezTo>
                    <a:pt x="87" y="2"/>
                    <a:pt x="87" y="2"/>
                    <a:pt x="87" y="2"/>
                  </a:cubicBezTo>
                  <a:cubicBezTo>
                    <a:pt x="97" y="0"/>
                    <a:pt x="106" y="7"/>
                    <a:pt x="107" y="17"/>
                  </a:cubicBezTo>
                  <a:cubicBezTo>
                    <a:pt x="110" y="47"/>
                    <a:pt x="110" y="47"/>
                    <a:pt x="110" y="47"/>
                  </a:cubicBezTo>
                  <a:cubicBezTo>
                    <a:pt x="111" y="56"/>
                    <a:pt x="104" y="65"/>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42" name="Freeform 20">
              <a:extLst>
                <a:ext uri="{FF2B5EF4-FFF2-40B4-BE49-F238E27FC236}">
                  <a16:creationId xmlns:a16="http://schemas.microsoft.com/office/drawing/2014/main" id="{11DFDB89-C0EE-46BE-86B9-C7D1F6A9FBFD}"/>
                </a:ext>
              </a:extLst>
            </p:cNvPr>
            <p:cNvSpPr>
              <a:spLocks/>
            </p:cNvSpPr>
            <p:nvPr/>
          </p:nvSpPr>
          <p:spPr bwMode="auto">
            <a:xfrm>
              <a:off x="4944269" y="3213894"/>
              <a:ext cx="198438" cy="133350"/>
            </a:xfrm>
            <a:custGeom>
              <a:avLst/>
              <a:gdLst>
                <a:gd name="T0" fmla="*/ 95 w 112"/>
                <a:gd name="T1" fmla="*/ 66 h 75"/>
                <a:gd name="T2" fmla="*/ 24 w 112"/>
                <a:gd name="T3" fmla="*/ 74 h 75"/>
                <a:gd name="T4" fmla="*/ 4 w 112"/>
                <a:gd name="T5" fmla="*/ 58 h 75"/>
                <a:gd name="T6" fmla="*/ 1 w 112"/>
                <a:gd name="T7" fmla="*/ 29 h 75"/>
                <a:gd name="T8" fmla="*/ 17 w 112"/>
                <a:gd name="T9" fmla="*/ 9 h 75"/>
                <a:gd name="T10" fmla="*/ 88 w 112"/>
                <a:gd name="T11" fmla="*/ 1 h 75"/>
                <a:gd name="T12" fmla="*/ 107 w 112"/>
                <a:gd name="T13" fmla="*/ 17 h 75"/>
                <a:gd name="T14" fmla="*/ 111 w 112"/>
                <a:gd name="T15" fmla="*/ 46 h 75"/>
                <a:gd name="T16" fmla="*/ 95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5" y="66"/>
                  </a:moveTo>
                  <a:cubicBezTo>
                    <a:pt x="24" y="74"/>
                    <a:pt x="24" y="74"/>
                    <a:pt x="24" y="74"/>
                  </a:cubicBezTo>
                  <a:cubicBezTo>
                    <a:pt x="14" y="75"/>
                    <a:pt x="6" y="68"/>
                    <a:pt x="4" y="58"/>
                  </a:cubicBezTo>
                  <a:cubicBezTo>
                    <a:pt x="1" y="29"/>
                    <a:pt x="1" y="29"/>
                    <a:pt x="1" y="29"/>
                  </a:cubicBezTo>
                  <a:cubicBezTo>
                    <a:pt x="0" y="19"/>
                    <a:pt x="7" y="10"/>
                    <a:pt x="17" y="9"/>
                  </a:cubicBezTo>
                  <a:cubicBezTo>
                    <a:pt x="88" y="1"/>
                    <a:pt x="88" y="1"/>
                    <a:pt x="88" y="1"/>
                  </a:cubicBezTo>
                  <a:cubicBezTo>
                    <a:pt x="97" y="0"/>
                    <a:pt x="106" y="7"/>
                    <a:pt x="107" y="17"/>
                  </a:cubicBezTo>
                  <a:cubicBezTo>
                    <a:pt x="111" y="46"/>
                    <a:pt x="111" y="46"/>
                    <a:pt x="111" y="46"/>
                  </a:cubicBezTo>
                  <a:cubicBezTo>
                    <a:pt x="112" y="56"/>
                    <a:pt x="105" y="65"/>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43" name="Freeform 21">
              <a:extLst>
                <a:ext uri="{FF2B5EF4-FFF2-40B4-BE49-F238E27FC236}">
                  <a16:creationId xmlns:a16="http://schemas.microsoft.com/office/drawing/2014/main" id="{1CC49FE5-8864-40E1-9E8A-BFF4988BC072}"/>
                </a:ext>
              </a:extLst>
            </p:cNvPr>
            <p:cNvSpPr>
              <a:spLocks/>
            </p:cNvSpPr>
            <p:nvPr/>
          </p:nvSpPr>
          <p:spPr bwMode="auto">
            <a:xfrm>
              <a:off x="5196681" y="3186906"/>
              <a:ext cx="196850" cy="131763"/>
            </a:xfrm>
            <a:custGeom>
              <a:avLst/>
              <a:gdLst>
                <a:gd name="T0" fmla="*/ 95 w 112"/>
                <a:gd name="T1" fmla="*/ 66 h 75"/>
                <a:gd name="T2" fmla="*/ 24 w 112"/>
                <a:gd name="T3" fmla="*/ 74 h 75"/>
                <a:gd name="T4" fmla="*/ 5 w 112"/>
                <a:gd name="T5" fmla="*/ 58 h 75"/>
                <a:gd name="T6" fmla="*/ 1 w 112"/>
                <a:gd name="T7" fmla="*/ 29 h 75"/>
                <a:gd name="T8" fmla="*/ 17 w 112"/>
                <a:gd name="T9" fmla="*/ 9 h 75"/>
                <a:gd name="T10" fmla="*/ 88 w 112"/>
                <a:gd name="T11" fmla="*/ 1 h 75"/>
                <a:gd name="T12" fmla="*/ 108 w 112"/>
                <a:gd name="T13" fmla="*/ 16 h 75"/>
                <a:gd name="T14" fmla="*/ 111 w 112"/>
                <a:gd name="T15" fmla="*/ 46 h 75"/>
                <a:gd name="T16" fmla="*/ 95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5" y="66"/>
                  </a:moveTo>
                  <a:cubicBezTo>
                    <a:pt x="24" y="74"/>
                    <a:pt x="24" y="74"/>
                    <a:pt x="24" y="74"/>
                  </a:cubicBezTo>
                  <a:cubicBezTo>
                    <a:pt x="15" y="75"/>
                    <a:pt x="6" y="68"/>
                    <a:pt x="5" y="58"/>
                  </a:cubicBezTo>
                  <a:cubicBezTo>
                    <a:pt x="1" y="29"/>
                    <a:pt x="1" y="29"/>
                    <a:pt x="1" y="29"/>
                  </a:cubicBezTo>
                  <a:cubicBezTo>
                    <a:pt x="0" y="19"/>
                    <a:pt x="7" y="10"/>
                    <a:pt x="17" y="9"/>
                  </a:cubicBezTo>
                  <a:cubicBezTo>
                    <a:pt x="88" y="1"/>
                    <a:pt x="88" y="1"/>
                    <a:pt x="88" y="1"/>
                  </a:cubicBezTo>
                  <a:cubicBezTo>
                    <a:pt x="98" y="0"/>
                    <a:pt x="106" y="7"/>
                    <a:pt x="108" y="16"/>
                  </a:cubicBezTo>
                  <a:cubicBezTo>
                    <a:pt x="111" y="46"/>
                    <a:pt x="111" y="46"/>
                    <a:pt x="111" y="46"/>
                  </a:cubicBezTo>
                  <a:cubicBezTo>
                    <a:pt x="112" y="56"/>
                    <a:pt x="105" y="64"/>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44" name="Freeform 22">
              <a:extLst>
                <a:ext uri="{FF2B5EF4-FFF2-40B4-BE49-F238E27FC236}">
                  <a16:creationId xmlns:a16="http://schemas.microsoft.com/office/drawing/2014/main" id="{E7B68CD4-AFAC-4479-8A9E-EA6E26B660FA}"/>
                </a:ext>
              </a:extLst>
            </p:cNvPr>
            <p:cNvSpPr>
              <a:spLocks/>
            </p:cNvSpPr>
            <p:nvPr/>
          </p:nvSpPr>
          <p:spPr bwMode="auto">
            <a:xfrm>
              <a:off x="4714081" y="3432969"/>
              <a:ext cx="196850" cy="131763"/>
            </a:xfrm>
            <a:custGeom>
              <a:avLst/>
              <a:gdLst>
                <a:gd name="T0" fmla="*/ 95 w 112"/>
                <a:gd name="T1" fmla="*/ 66 h 75"/>
                <a:gd name="T2" fmla="*/ 24 w 112"/>
                <a:gd name="T3" fmla="*/ 74 h 75"/>
                <a:gd name="T4" fmla="*/ 4 w 112"/>
                <a:gd name="T5" fmla="*/ 58 h 75"/>
                <a:gd name="T6" fmla="*/ 1 w 112"/>
                <a:gd name="T7" fmla="*/ 29 h 75"/>
                <a:gd name="T8" fmla="*/ 17 w 112"/>
                <a:gd name="T9" fmla="*/ 9 h 75"/>
                <a:gd name="T10" fmla="*/ 88 w 112"/>
                <a:gd name="T11" fmla="*/ 1 h 75"/>
                <a:gd name="T12" fmla="*/ 107 w 112"/>
                <a:gd name="T13" fmla="*/ 17 h 75"/>
                <a:gd name="T14" fmla="*/ 111 w 112"/>
                <a:gd name="T15" fmla="*/ 46 h 75"/>
                <a:gd name="T16" fmla="*/ 95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5" y="66"/>
                  </a:moveTo>
                  <a:cubicBezTo>
                    <a:pt x="24" y="74"/>
                    <a:pt x="24" y="74"/>
                    <a:pt x="24" y="74"/>
                  </a:cubicBezTo>
                  <a:cubicBezTo>
                    <a:pt x="14" y="75"/>
                    <a:pt x="6" y="68"/>
                    <a:pt x="4" y="58"/>
                  </a:cubicBezTo>
                  <a:cubicBezTo>
                    <a:pt x="1" y="29"/>
                    <a:pt x="1" y="29"/>
                    <a:pt x="1" y="29"/>
                  </a:cubicBezTo>
                  <a:cubicBezTo>
                    <a:pt x="0" y="19"/>
                    <a:pt x="7" y="10"/>
                    <a:pt x="17" y="9"/>
                  </a:cubicBezTo>
                  <a:cubicBezTo>
                    <a:pt x="88" y="1"/>
                    <a:pt x="88" y="1"/>
                    <a:pt x="88" y="1"/>
                  </a:cubicBezTo>
                  <a:cubicBezTo>
                    <a:pt x="97" y="0"/>
                    <a:pt x="106" y="7"/>
                    <a:pt x="107" y="17"/>
                  </a:cubicBezTo>
                  <a:cubicBezTo>
                    <a:pt x="111" y="46"/>
                    <a:pt x="111" y="46"/>
                    <a:pt x="111" y="46"/>
                  </a:cubicBezTo>
                  <a:cubicBezTo>
                    <a:pt x="112" y="56"/>
                    <a:pt x="105" y="65"/>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45" name="Freeform 23">
              <a:extLst>
                <a:ext uri="{FF2B5EF4-FFF2-40B4-BE49-F238E27FC236}">
                  <a16:creationId xmlns:a16="http://schemas.microsoft.com/office/drawing/2014/main" id="{4B522A4F-34F8-4233-9239-0479B165DEB3}"/>
                </a:ext>
              </a:extLst>
            </p:cNvPr>
            <p:cNvSpPr>
              <a:spLocks/>
            </p:cNvSpPr>
            <p:nvPr/>
          </p:nvSpPr>
          <p:spPr bwMode="auto">
            <a:xfrm>
              <a:off x="4966494" y="3402806"/>
              <a:ext cx="196850" cy="131763"/>
            </a:xfrm>
            <a:custGeom>
              <a:avLst/>
              <a:gdLst>
                <a:gd name="T0" fmla="*/ 95 w 112"/>
                <a:gd name="T1" fmla="*/ 66 h 75"/>
                <a:gd name="T2" fmla="*/ 24 w 112"/>
                <a:gd name="T3" fmla="*/ 74 h 75"/>
                <a:gd name="T4" fmla="*/ 5 w 112"/>
                <a:gd name="T5" fmla="*/ 59 h 75"/>
                <a:gd name="T6" fmla="*/ 1 w 112"/>
                <a:gd name="T7" fmla="*/ 29 h 75"/>
                <a:gd name="T8" fmla="*/ 17 w 112"/>
                <a:gd name="T9" fmla="*/ 10 h 75"/>
                <a:gd name="T10" fmla="*/ 88 w 112"/>
                <a:gd name="T11" fmla="*/ 2 h 75"/>
                <a:gd name="T12" fmla="*/ 108 w 112"/>
                <a:gd name="T13" fmla="*/ 17 h 75"/>
                <a:gd name="T14" fmla="*/ 111 w 112"/>
                <a:gd name="T15" fmla="*/ 47 h 75"/>
                <a:gd name="T16" fmla="*/ 95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5" y="66"/>
                  </a:moveTo>
                  <a:cubicBezTo>
                    <a:pt x="24" y="74"/>
                    <a:pt x="24" y="74"/>
                    <a:pt x="24" y="74"/>
                  </a:cubicBezTo>
                  <a:cubicBezTo>
                    <a:pt x="15" y="75"/>
                    <a:pt x="6" y="68"/>
                    <a:pt x="5" y="59"/>
                  </a:cubicBezTo>
                  <a:cubicBezTo>
                    <a:pt x="1" y="29"/>
                    <a:pt x="1" y="29"/>
                    <a:pt x="1" y="29"/>
                  </a:cubicBezTo>
                  <a:cubicBezTo>
                    <a:pt x="0" y="20"/>
                    <a:pt x="7" y="11"/>
                    <a:pt x="17" y="10"/>
                  </a:cubicBezTo>
                  <a:cubicBezTo>
                    <a:pt x="88" y="2"/>
                    <a:pt x="88" y="2"/>
                    <a:pt x="88" y="2"/>
                  </a:cubicBezTo>
                  <a:cubicBezTo>
                    <a:pt x="98" y="0"/>
                    <a:pt x="106" y="7"/>
                    <a:pt x="108" y="17"/>
                  </a:cubicBezTo>
                  <a:cubicBezTo>
                    <a:pt x="111" y="47"/>
                    <a:pt x="111" y="47"/>
                    <a:pt x="111" y="47"/>
                  </a:cubicBezTo>
                  <a:cubicBezTo>
                    <a:pt x="112" y="56"/>
                    <a:pt x="105" y="65"/>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46" name="Freeform 24">
              <a:extLst>
                <a:ext uri="{FF2B5EF4-FFF2-40B4-BE49-F238E27FC236}">
                  <a16:creationId xmlns:a16="http://schemas.microsoft.com/office/drawing/2014/main" id="{ED862C7D-08D2-492D-B1F3-E4C7C11ED2DB}"/>
                </a:ext>
              </a:extLst>
            </p:cNvPr>
            <p:cNvSpPr>
              <a:spLocks/>
            </p:cNvSpPr>
            <p:nvPr/>
          </p:nvSpPr>
          <p:spPr bwMode="auto">
            <a:xfrm>
              <a:off x="5220494" y="3374231"/>
              <a:ext cx="195263" cy="133350"/>
            </a:xfrm>
            <a:custGeom>
              <a:avLst/>
              <a:gdLst>
                <a:gd name="T0" fmla="*/ 95 w 111"/>
                <a:gd name="T1" fmla="*/ 66 h 75"/>
                <a:gd name="T2" fmla="*/ 24 w 111"/>
                <a:gd name="T3" fmla="*/ 74 h 75"/>
                <a:gd name="T4" fmla="*/ 4 w 111"/>
                <a:gd name="T5" fmla="*/ 58 h 75"/>
                <a:gd name="T6" fmla="*/ 1 w 111"/>
                <a:gd name="T7" fmla="*/ 29 h 75"/>
                <a:gd name="T8" fmla="*/ 16 w 111"/>
                <a:gd name="T9" fmla="*/ 9 h 75"/>
                <a:gd name="T10" fmla="*/ 87 w 111"/>
                <a:gd name="T11" fmla="*/ 1 h 75"/>
                <a:gd name="T12" fmla="*/ 107 w 111"/>
                <a:gd name="T13" fmla="*/ 17 h 75"/>
                <a:gd name="T14" fmla="*/ 110 w 111"/>
                <a:gd name="T15" fmla="*/ 46 h 75"/>
                <a:gd name="T16" fmla="*/ 95 w 111"/>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1" h="75">
                  <a:moveTo>
                    <a:pt x="95" y="66"/>
                  </a:moveTo>
                  <a:cubicBezTo>
                    <a:pt x="24" y="74"/>
                    <a:pt x="24" y="74"/>
                    <a:pt x="24" y="74"/>
                  </a:cubicBezTo>
                  <a:cubicBezTo>
                    <a:pt x="14" y="75"/>
                    <a:pt x="5" y="68"/>
                    <a:pt x="4" y="58"/>
                  </a:cubicBezTo>
                  <a:cubicBezTo>
                    <a:pt x="1" y="29"/>
                    <a:pt x="1" y="29"/>
                    <a:pt x="1" y="29"/>
                  </a:cubicBezTo>
                  <a:cubicBezTo>
                    <a:pt x="0" y="19"/>
                    <a:pt x="7" y="10"/>
                    <a:pt x="16" y="9"/>
                  </a:cubicBezTo>
                  <a:cubicBezTo>
                    <a:pt x="87" y="1"/>
                    <a:pt x="87" y="1"/>
                    <a:pt x="87" y="1"/>
                  </a:cubicBezTo>
                  <a:cubicBezTo>
                    <a:pt x="97" y="0"/>
                    <a:pt x="106" y="7"/>
                    <a:pt x="107" y="17"/>
                  </a:cubicBezTo>
                  <a:cubicBezTo>
                    <a:pt x="110" y="46"/>
                    <a:pt x="110" y="46"/>
                    <a:pt x="110" y="46"/>
                  </a:cubicBezTo>
                  <a:cubicBezTo>
                    <a:pt x="111" y="56"/>
                    <a:pt x="104" y="65"/>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47" name="Freeform 25">
              <a:extLst>
                <a:ext uri="{FF2B5EF4-FFF2-40B4-BE49-F238E27FC236}">
                  <a16:creationId xmlns:a16="http://schemas.microsoft.com/office/drawing/2014/main" id="{55307F43-A12C-4428-AFA2-B5B77B77F107}"/>
                </a:ext>
              </a:extLst>
            </p:cNvPr>
            <p:cNvSpPr>
              <a:spLocks/>
            </p:cNvSpPr>
            <p:nvPr/>
          </p:nvSpPr>
          <p:spPr bwMode="auto">
            <a:xfrm>
              <a:off x="4734719" y="3621881"/>
              <a:ext cx="196850" cy="131763"/>
            </a:xfrm>
            <a:custGeom>
              <a:avLst/>
              <a:gdLst>
                <a:gd name="T0" fmla="*/ 95 w 112"/>
                <a:gd name="T1" fmla="*/ 66 h 75"/>
                <a:gd name="T2" fmla="*/ 24 w 112"/>
                <a:gd name="T3" fmla="*/ 74 h 75"/>
                <a:gd name="T4" fmla="*/ 5 w 112"/>
                <a:gd name="T5" fmla="*/ 58 h 75"/>
                <a:gd name="T6" fmla="*/ 1 w 112"/>
                <a:gd name="T7" fmla="*/ 29 h 75"/>
                <a:gd name="T8" fmla="*/ 17 w 112"/>
                <a:gd name="T9" fmla="*/ 9 h 75"/>
                <a:gd name="T10" fmla="*/ 88 w 112"/>
                <a:gd name="T11" fmla="*/ 1 h 75"/>
                <a:gd name="T12" fmla="*/ 108 w 112"/>
                <a:gd name="T13" fmla="*/ 17 h 75"/>
                <a:gd name="T14" fmla="*/ 111 w 112"/>
                <a:gd name="T15" fmla="*/ 46 h 75"/>
                <a:gd name="T16" fmla="*/ 95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5" y="66"/>
                  </a:moveTo>
                  <a:cubicBezTo>
                    <a:pt x="24" y="74"/>
                    <a:pt x="24" y="74"/>
                    <a:pt x="24" y="74"/>
                  </a:cubicBezTo>
                  <a:cubicBezTo>
                    <a:pt x="15" y="75"/>
                    <a:pt x="6" y="68"/>
                    <a:pt x="5" y="58"/>
                  </a:cubicBezTo>
                  <a:cubicBezTo>
                    <a:pt x="1" y="29"/>
                    <a:pt x="1" y="29"/>
                    <a:pt x="1" y="29"/>
                  </a:cubicBezTo>
                  <a:cubicBezTo>
                    <a:pt x="0" y="19"/>
                    <a:pt x="7" y="10"/>
                    <a:pt x="17" y="9"/>
                  </a:cubicBezTo>
                  <a:cubicBezTo>
                    <a:pt x="88" y="1"/>
                    <a:pt x="88" y="1"/>
                    <a:pt x="88" y="1"/>
                  </a:cubicBezTo>
                  <a:cubicBezTo>
                    <a:pt x="98" y="0"/>
                    <a:pt x="106" y="7"/>
                    <a:pt x="108" y="17"/>
                  </a:cubicBezTo>
                  <a:cubicBezTo>
                    <a:pt x="111" y="46"/>
                    <a:pt x="111" y="46"/>
                    <a:pt x="111" y="46"/>
                  </a:cubicBezTo>
                  <a:cubicBezTo>
                    <a:pt x="112" y="56"/>
                    <a:pt x="105" y="65"/>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48" name="Freeform 26">
              <a:extLst>
                <a:ext uri="{FF2B5EF4-FFF2-40B4-BE49-F238E27FC236}">
                  <a16:creationId xmlns:a16="http://schemas.microsoft.com/office/drawing/2014/main" id="{AC31A7FF-D4E9-4B66-B0A5-4482D3E29EA0}"/>
                </a:ext>
              </a:extLst>
            </p:cNvPr>
            <p:cNvSpPr>
              <a:spLocks/>
            </p:cNvSpPr>
            <p:nvPr/>
          </p:nvSpPr>
          <p:spPr bwMode="auto">
            <a:xfrm>
              <a:off x="4987131" y="3593306"/>
              <a:ext cx="196850" cy="131763"/>
            </a:xfrm>
            <a:custGeom>
              <a:avLst/>
              <a:gdLst>
                <a:gd name="T0" fmla="*/ 96 w 112"/>
                <a:gd name="T1" fmla="*/ 66 h 75"/>
                <a:gd name="T2" fmla="*/ 25 w 112"/>
                <a:gd name="T3" fmla="*/ 74 h 75"/>
                <a:gd name="T4" fmla="*/ 5 w 112"/>
                <a:gd name="T5" fmla="*/ 58 h 75"/>
                <a:gd name="T6" fmla="*/ 2 w 112"/>
                <a:gd name="T7" fmla="*/ 29 h 75"/>
                <a:gd name="T8" fmla="*/ 17 w 112"/>
                <a:gd name="T9" fmla="*/ 9 h 75"/>
                <a:gd name="T10" fmla="*/ 88 w 112"/>
                <a:gd name="T11" fmla="*/ 1 h 75"/>
                <a:gd name="T12" fmla="*/ 108 w 112"/>
                <a:gd name="T13" fmla="*/ 16 h 75"/>
                <a:gd name="T14" fmla="*/ 111 w 112"/>
                <a:gd name="T15" fmla="*/ 46 h 75"/>
                <a:gd name="T16" fmla="*/ 96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6" y="66"/>
                  </a:moveTo>
                  <a:cubicBezTo>
                    <a:pt x="25" y="74"/>
                    <a:pt x="25" y="74"/>
                    <a:pt x="25" y="74"/>
                  </a:cubicBezTo>
                  <a:cubicBezTo>
                    <a:pt x="15" y="75"/>
                    <a:pt x="6" y="68"/>
                    <a:pt x="5" y="58"/>
                  </a:cubicBezTo>
                  <a:cubicBezTo>
                    <a:pt x="2" y="29"/>
                    <a:pt x="2" y="29"/>
                    <a:pt x="2" y="29"/>
                  </a:cubicBezTo>
                  <a:cubicBezTo>
                    <a:pt x="0" y="19"/>
                    <a:pt x="7" y="10"/>
                    <a:pt x="17" y="9"/>
                  </a:cubicBezTo>
                  <a:cubicBezTo>
                    <a:pt x="88" y="1"/>
                    <a:pt x="88" y="1"/>
                    <a:pt x="88" y="1"/>
                  </a:cubicBezTo>
                  <a:cubicBezTo>
                    <a:pt x="98" y="0"/>
                    <a:pt x="107" y="7"/>
                    <a:pt x="108" y="16"/>
                  </a:cubicBezTo>
                  <a:cubicBezTo>
                    <a:pt x="111" y="46"/>
                    <a:pt x="111" y="46"/>
                    <a:pt x="111" y="46"/>
                  </a:cubicBezTo>
                  <a:cubicBezTo>
                    <a:pt x="112" y="56"/>
                    <a:pt x="105" y="64"/>
                    <a:pt x="96"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49" name="Freeform 27">
              <a:extLst>
                <a:ext uri="{FF2B5EF4-FFF2-40B4-BE49-F238E27FC236}">
                  <a16:creationId xmlns:a16="http://schemas.microsoft.com/office/drawing/2014/main" id="{47D7A0A4-25D0-4C24-BE0A-90C54A0E2C88}"/>
                </a:ext>
              </a:extLst>
            </p:cNvPr>
            <p:cNvSpPr>
              <a:spLocks/>
            </p:cNvSpPr>
            <p:nvPr/>
          </p:nvSpPr>
          <p:spPr bwMode="auto">
            <a:xfrm>
              <a:off x="5241131" y="3563144"/>
              <a:ext cx="196850" cy="133350"/>
            </a:xfrm>
            <a:custGeom>
              <a:avLst/>
              <a:gdLst>
                <a:gd name="T0" fmla="*/ 95 w 112"/>
                <a:gd name="T1" fmla="*/ 66 h 75"/>
                <a:gd name="T2" fmla="*/ 24 w 112"/>
                <a:gd name="T3" fmla="*/ 74 h 75"/>
                <a:gd name="T4" fmla="*/ 4 w 112"/>
                <a:gd name="T5" fmla="*/ 59 h 75"/>
                <a:gd name="T6" fmla="*/ 1 w 112"/>
                <a:gd name="T7" fmla="*/ 29 h 75"/>
                <a:gd name="T8" fmla="*/ 17 w 112"/>
                <a:gd name="T9" fmla="*/ 10 h 75"/>
                <a:gd name="T10" fmla="*/ 87 w 112"/>
                <a:gd name="T11" fmla="*/ 1 h 75"/>
                <a:gd name="T12" fmla="*/ 107 w 112"/>
                <a:gd name="T13" fmla="*/ 17 h 75"/>
                <a:gd name="T14" fmla="*/ 110 w 112"/>
                <a:gd name="T15" fmla="*/ 47 h 75"/>
                <a:gd name="T16" fmla="*/ 95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5" y="66"/>
                  </a:moveTo>
                  <a:cubicBezTo>
                    <a:pt x="24" y="74"/>
                    <a:pt x="24" y="74"/>
                    <a:pt x="24" y="74"/>
                  </a:cubicBezTo>
                  <a:cubicBezTo>
                    <a:pt x="14" y="75"/>
                    <a:pt x="5" y="68"/>
                    <a:pt x="4" y="59"/>
                  </a:cubicBezTo>
                  <a:cubicBezTo>
                    <a:pt x="1" y="29"/>
                    <a:pt x="1" y="29"/>
                    <a:pt x="1" y="29"/>
                  </a:cubicBezTo>
                  <a:cubicBezTo>
                    <a:pt x="0" y="20"/>
                    <a:pt x="7" y="11"/>
                    <a:pt x="17" y="10"/>
                  </a:cubicBezTo>
                  <a:cubicBezTo>
                    <a:pt x="87" y="1"/>
                    <a:pt x="87" y="1"/>
                    <a:pt x="87" y="1"/>
                  </a:cubicBezTo>
                  <a:cubicBezTo>
                    <a:pt x="97" y="0"/>
                    <a:pt x="106" y="7"/>
                    <a:pt x="107" y="17"/>
                  </a:cubicBezTo>
                  <a:cubicBezTo>
                    <a:pt x="110" y="47"/>
                    <a:pt x="110" y="47"/>
                    <a:pt x="110" y="47"/>
                  </a:cubicBezTo>
                  <a:cubicBezTo>
                    <a:pt x="112" y="56"/>
                    <a:pt x="105" y="65"/>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50" name="Freeform 28">
              <a:extLst>
                <a:ext uri="{FF2B5EF4-FFF2-40B4-BE49-F238E27FC236}">
                  <a16:creationId xmlns:a16="http://schemas.microsoft.com/office/drawing/2014/main" id="{2B7B555B-AF6C-4643-86CD-5C85C8C903AA}"/>
                </a:ext>
              </a:extLst>
            </p:cNvPr>
            <p:cNvSpPr>
              <a:spLocks/>
            </p:cNvSpPr>
            <p:nvPr/>
          </p:nvSpPr>
          <p:spPr bwMode="auto">
            <a:xfrm>
              <a:off x="5865019" y="3144044"/>
              <a:ext cx="652463" cy="684213"/>
            </a:xfrm>
            <a:custGeom>
              <a:avLst/>
              <a:gdLst>
                <a:gd name="T0" fmla="*/ 363 w 370"/>
                <a:gd name="T1" fmla="*/ 265 h 388"/>
                <a:gd name="T2" fmla="*/ 355 w 370"/>
                <a:gd name="T3" fmla="*/ 256 h 388"/>
                <a:gd name="T4" fmla="*/ 355 w 370"/>
                <a:gd name="T5" fmla="*/ 256 h 388"/>
                <a:gd name="T6" fmla="*/ 148 w 370"/>
                <a:gd name="T7" fmla="*/ 21 h 388"/>
                <a:gd name="T8" fmla="*/ 137 w 370"/>
                <a:gd name="T9" fmla="*/ 9 h 388"/>
                <a:gd name="T10" fmla="*/ 110 w 370"/>
                <a:gd name="T11" fmla="*/ 7 h 388"/>
                <a:gd name="T12" fmla="*/ 12 w 370"/>
                <a:gd name="T13" fmla="*/ 93 h 388"/>
                <a:gd name="T14" fmla="*/ 12 w 370"/>
                <a:gd name="T15" fmla="*/ 93 h 388"/>
                <a:gd name="T16" fmla="*/ 10 w 370"/>
                <a:gd name="T17" fmla="*/ 95 h 388"/>
                <a:gd name="T18" fmla="*/ 8 w 370"/>
                <a:gd name="T19" fmla="*/ 125 h 388"/>
                <a:gd name="T20" fmla="*/ 18 w 370"/>
                <a:gd name="T21" fmla="*/ 136 h 388"/>
                <a:gd name="T22" fmla="*/ 18 w 370"/>
                <a:gd name="T23" fmla="*/ 136 h 388"/>
                <a:gd name="T24" fmla="*/ 224 w 370"/>
                <a:gd name="T25" fmla="*/ 371 h 388"/>
                <a:gd name="T26" fmla="*/ 224 w 370"/>
                <a:gd name="T27" fmla="*/ 371 h 388"/>
                <a:gd name="T28" fmla="*/ 231 w 370"/>
                <a:gd name="T29" fmla="*/ 379 h 388"/>
                <a:gd name="T30" fmla="*/ 261 w 370"/>
                <a:gd name="T31" fmla="*/ 380 h 388"/>
                <a:gd name="T32" fmla="*/ 263 w 370"/>
                <a:gd name="T33" fmla="*/ 379 h 388"/>
                <a:gd name="T34" fmla="*/ 263 w 370"/>
                <a:gd name="T35" fmla="*/ 379 h 388"/>
                <a:gd name="T36" fmla="*/ 361 w 370"/>
                <a:gd name="T37" fmla="*/ 292 h 388"/>
                <a:gd name="T38" fmla="*/ 363 w 370"/>
                <a:gd name="T39" fmla="*/ 265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70" h="388">
                  <a:moveTo>
                    <a:pt x="363" y="265"/>
                  </a:moveTo>
                  <a:cubicBezTo>
                    <a:pt x="355" y="256"/>
                    <a:pt x="355" y="256"/>
                    <a:pt x="355" y="256"/>
                  </a:cubicBezTo>
                  <a:cubicBezTo>
                    <a:pt x="355" y="256"/>
                    <a:pt x="355" y="256"/>
                    <a:pt x="355" y="256"/>
                  </a:cubicBezTo>
                  <a:cubicBezTo>
                    <a:pt x="148" y="21"/>
                    <a:pt x="148" y="21"/>
                    <a:pt x="148" y="21"/>
                  </a:cubicBezTo>
                  <a:cubicBezTo>
                    <a:pt x="137" y="9"/>
                    <a:pt x="137" y="9"/>
                    <a:pt x="137" y="9"/>
                  </a:cubicBezTo>
                  <a:cubicBezTo>
                    <a:pt x="130" y="1"/>
                    <a:pt x="118" y="0"/>
                    <a:pt x="110" y="7"/>
                  </a:cubicBezTo>
                  <a:cubicBezTo>
                    <a:pt x="12" y="93"/>
                    <a:pt x="12" y="93"/>
                    <a:pt x="12" y="93"/>
                  </a:cubicBezTo>
                  <a:cubicBezTo>
                    <a:pt x="12" y="93"/>
                    <a:pt x="12" y="93"/>
                    <a:pt x="12" y="93"/>
                  </a:cubicBezTo>
                  <a:cubicBezTo>
                    <a:pt x="10" y="95"/>
                    <a:pt x="10" y="95"/>
                    <a:pt x="10" y="95"/>
                  </a:cubicBezTo>
                  <a:cubicBezTo>
                    <a:pt x="1" y="103"/>
                    <a:pt x="0" y="116"/>
                    <a:pt x="8" y="125"/>
                  </a:cubicBezTo>
                  <a:cubicBezTo>
                    <a:pt x="18" y="136"/>
                    <a:pt x="18" y="136"/>
                    <a:pt x="18" y="136"/>
                  </a:cubicBezTo>
                  <a:cubicBezTo>
                    <a:pt x="18" y="136"/>
                    <a:pt x="18" y="136"/>
                    <a:pt x="18" y="136"/>
                  </a:cubicBezTo>
                  <a:cubicBezTo>
                    <a:pt x="224" y="371"/>
                    <a:pt x="224" y="371"/>
                    <a:pt x="224" y="371"/>
                  </a:cubicBezTo>
                  <a:cubicBezTo>
                    <a:pt x="224" y="371"/>
                    <a:pt x="224" y="371"/>
                    <a:pt x="224" y="371"/>
                  </a:cubicBezTo>
                  <a:cubicBezTo>
                    <a:pt x="231" y="379"/>
                    <a:pt x="231" y="379"/>
                    <a:pt x="231" y="379"/>
                  </a:cubicBezTo>
                  <a:cubicBezTo>
                    <a:pt x="239" y="387"/>
                    <a:pt x="252" y="388"/>
                    <a:pt x="261" y="380"/>
                  </a:cubicBezTo>
                  <a:cubicBezTo>
                    <a:pt x="263" y="379"/>
                    <a:pt x="263" y="379"/>
                    <a:pt x="263" y="379"/>
                  </a:cubicBezTo>
                  <a:cubicBezTo>
                    <a:pt x="263" y="379"/>
                    <a:pt x="263" y="379"/>
                    <a:pt x="263" y="379"/>
                  </a:cubicBezTo>
                  <a:cubicBezTo>
                    <a:pt x="361" y="292"/>
                    <a:pt x="361" y="292"/>
                    <a:pt x="361" y="292"/>
                  </a:cubicBezTo>
                  <a:cubicBezTo>
                    <a:pt x="369" y="285"/>
                    <a:pt x="370" y="273"/>
                    <a:pt x="363" y="265"/>
                  </a:cubicBezTo>
                  <a:close/>
                </a:path>
              </a:pathLst>
            </a:custGeom>
            <a:solidFill>
              <a:srgbClr val="424242">
                <a:alpha val="20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51" name="Freeform 29">
              <a:extLst>
                <a:ext uri="{FF2B5EF4-FFF2-40B4-BE49-F238E27FC236}">
                  <a16:creationId xmlns:a16="http://schemas.microsoft.com/office/drawing/2014/main" id="{B7E2F6E1-FD53-415D-A818-54C56265C04A}"/>
                </a:ext>
              </a:extLst>
            </p:cNvPr>
            <p:cNvSpPr>
              <a:spLocks/>
            </p:cNvSpPr>
            <p:nvPr/>
          </p:nvSpPr>
          <p:spPr bwMode="auto">
            <a:xfrm>
              <a:off x="5879306" y="3101181"/>
              <a:ext cx="650875" cy="684213"/>
            </a:xfrm>
            <a:custGeom>
              <a:avLst/>
              <a:gdLst>
                <a:gd name="T0" fmla="*/ 360 w 369"/>
                <a:gd name="T1" fmla="*/ 293 h 388"/>
                <a:gd name="T2" fmla="*/ 261 w 369"/>
                <a:gd name="T3" fmla="*/ 380 h 388"/>
                <a:gd name="T4" fmla="*/ 231 w 369"/>
                <a:gd name="T5" fmla="*/ 379 h 388"/>
                <a:gd name="T6" fmla="*/ 8 w 369"/>
                <a:gd name="T7" fmla="*/ 125 h 388"/>
                <a:gd name="T8" fmla="*/ 10 w 369"/>
                <a:gd name="T9" fmla="*/ 95 h 388"/>
                <a:gd name="T10" fmla="*/ 109 w 369"/>
                <a:gd name="T11" fmla="*/ 8 h 388"/>
                <a:gd name="T12" fmla="*/ 138 w 369"/>
                <a:gd name="T13" fmla="*/ 10 h 388"/>
                <a:gd name="T14" fmla="*/ 361 w 369"/>
                <a:gd name="T15" fmla="*/ 264 h 388"/>
                <a:gd name="T16" fmla="*/ 360 w 369"/>
                <a:gd name="T17" fmla="*/ 293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9" h="388">
                  <a:moveTo>
                    <a:pt x="360" y="293"/>
                  </a:moveTo>
                  <a:cubicBezTo>
                    <a:pt x="261" y="380"/>
                    <a:pt x="261" y="380"/>
                    <a:pt x="261" y="380"/>
                  </a:cubicBezTo>
                  <a:cubicBezTo>
                    <a:pt x="252" y="388"/>
                    <a:pt x="239" y="387"/>
                    <a:pt x="231" y="379"/>
                  </a:cubicBezTo>
                  <a:cubicBezTo>
                    <a:pt x="8" y="125"/>
                    <a:pt x="8" y="125"/>
                    <a:pt x="8" y="125"/>
                  </a:cubicBezTo>
                  <a:cubicBezTo>
                    <a:pt x="0" y="116"/>
                    <a:pt x="1" y="103"/>
                    <a:pt x="10" y="95"/>
                  </a:cubicBezTo>
                  <a:cubicBezTo>
                    <a:pt x="109" y="8"/>
                    <a:pt x="109" y="8"/>
                    <a:pt x="109" y="8"/>
                  </a:cubicBezTo>
                  <a:cubicBezTo>
                    <a:pt x="117" y="0"/>
                    <a:pt x="131" y="1"/>
                    <a:pt x="138" y="10"/>
                  </a:cubicBezTo>
                  <a:cubicBezTo>
                    <a:pt x="361" y="264"/>
                    <a:pt x="361" y="264"/>
                    <a:pt x="361" y="264"/>
                  </a:cubicBezTo>
                  <a:cubicBezTo>
                    <a:pt x="369" y="272"/>
                    <a:pt x="368" y="286"/>
                    <a:pt x="360" y="293"/>
                  </a:cubicBezTo>
                  <a:close/>
                </a:path>
              </a:pathLst>
            </a:custGeom>
            <a:solidFill>
              <a:srgbClr val="376790"/>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52" name="Freeform 30">
              <a:extLst>
                <a:ext uri="{FF2B5EF4-FFF2-40B4-BE49-F238E27FC236}">
                  <a16:creationId xmlns:a16="http://schemas.microsoft.com/office/drawing/2014/main" id="{5D71CB71-3825-497F-AB26-8782BED9031A}"/>
                </a:ext>
              </a:extLst>
            </p:cNvPr>
            <p:cNvSpPr>
              <a:spLocks/>
            </p:cNvSpPr>
            <p:nvPr/>
          </p:nvSpPr>
          <p:spPr bwMode="auto">
            <a:xfrm>
              <a:off x="5911056" y="3139281"/>
              <a:ext cx="593725" cy="615950"/>
            </a:xfrm>
            <a:custGeom>
              <a:avLst/>
              <a:gdLst>
                <a:gd name="T0" fmla="*/ 374 w 374"/>
                <a:gd name="T1" fmla="*/ 261 h 388"/>
                <a:gd name="T2" fmla="*/ 229 w 374"/>
                <a:gd name="T3" fmla="*/ 388 h 388"/>
                <a:gd name="T4" fmla="*/ 0 w 374"/>
                <a:gd name="T5" fmla="*/ 127 h 388"/>
                <a:gd name="T6" fmla="*/ 144 w 374"/>
                <a:gd name="T7" fmla="*/ 0 h 388"/>
                <a:gd name="T8" fmla="*/ 374 w 374"/>
                <a:gd name="T9" fmla="*/ 261 h 388"/>
              </a:gdLst>
              <a:ahLst/>
              <a:cxnLst>
                <a:cxn ang="0">
                  <a:pos x="T0" y="T1"/>
                </a:cxn>
                <a:cxn ang="0">
                  <a:pos x="T2" y="T3"/>
                </a:cxn>
                <a:cxn ang="0">
                  <a:pos x="T4" y="T5"/>
                </a:cxn>
                <a:cxn ang="0">
                  <a:pos x="T6" y="T7"/>
                </a:cxn>
                <a:cxn ang="0">
                  <a:pos x="T8" y="T9"/>
                </a:cxn>
              </a:cxnLst>
              <a:rect l="0" t="0" r="r" b="b"/>
              <a:pathLst>
                <a:path w="374" h="388">
                  <a:moveTo>
                    <a:pt x="374" y="261"/>
                  </a:moveTo>
                  <a:lnTo>
                    <a:pt x="229" y="388"/>
                  </a:lnTo>
                  <a:lnTo>
                    <a:pt x="0" y="127"/>
                  </a:lnTo>
                  <a:lnTo>
                    <a:pt x="144" y="0"/>
                  </a:lnTo>
                  <a:lnTo>
                    <a:pt x="374" y="261"/>
                  </a:lnTo>
                  <a:close/>
                </a:path>
              </a:pathLst>
            </a:custGeom>
            <a:solidFill>
              <a:srgbClr val="353B61"/>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53" name="Freeform 31">
              <a:extLst>
                <a:ext uri="{FF2B5EF4-FFF2-40B4-BE49-F238E27FC236}">
                  <a16:creationId xmlns:a16="http://schemas.microsoft.com/office/drawing/2014/main" id="{FEEB0F9D-EA0F-480D-98F8-522C59F9F8C1}"/>
                </a:ext>
              </a:extLst>
            </p:cNvPr>
            <p:cNvSpPr>
              <a:spLocks/>
            </p:cNvSpPr>
            <p:nvPr/>
          </p:nvSpPr>
          <p:spPr bwMode="auto">
            <a:xfrm>
              <a:off x="5911056" y="3139281"/>
              <a:ext cx="495300" cy="504825"/>
            </a:xfrm>
            <a:custGeom>
              <a:avLst/>
              <a:gdLst>
                <a:gd name="T0" fmla="*/ 312 w 312"/>
                <a:gd name="T1" fmla="*/ 191 h 318"/>
                <a:gd name="T2" fmla="*/ 168 w 312"/>
                <a:gd name="T3" fmla="*/ 318 h 318"/>
                <a:gd name="T4" fmla="*/ 0 w 312"/>
                <a:gd name="T5" fmla="*/ 127 h 318"/>
                <a:gd name="T6" fmla="*/ 144 w 312"/>
                <a:gd name="T7" fmla="*/ 0 h 318"/>
                <a:gd name="T8" fmla="*/ 312 w 312"/>
                <a:gd name="T9" fmla="*/ 191 h 318"/>
              </a:gdLst>
              <a:ahLst/>
              <a:cxnLst>
                <a:cxn ang="0">
                  <a:pos x="T0" y="T1"/>
                </a:cxn>
                <a:cxn ang="0">
                  <a:pos x="T2" y="T3"/>
                </a:cxn>
                <a:cxn ang="0">
                  <a:pos x="T4" y="T5"/>
                </a:cxn>
                <a:cxn ang="0">
                  <a:pos x="T6" y="T7"/>
                </a:cxn>
                <a:cxn ang="0">
                  <a:pos x="T8" y="T9"/>
                </a:cxn>
              </a:cxnLst>
              <a:rect l="0" t="0" r="r" b="b"/>
              <a:pathLst>
                <a:path w="312" h="318">
                  <a:moveTo>
                    <a:pt x="312" y="191"/>
                  </a:moveTo>
                  <a:lnTo>
                    <a:pt x="168" y="318"/>
                  </a:lnTo>
                  <a:lnTo>
                    <a:pt x="0" y="127"/>
                  </a:lnTo>
                  <a:lnTo>
                    <a:pt x="144" y="0"/>
                  </a:lnTo>
                  <a:lnTo>
                    <a:pt x="312" y="191"/>
                  </a:lnTo>
                  <a:close/>
                </a:path>
              </a:pathLst>
            </a:custGeom>
            <a:solidFill>
              <a:srgbClr val="92406C"/>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54" name="Freeform 32">
              <a:extLst>
                <a:ext uri="{FF2B5EF4-FFF2-40B4-BE49-F238E27FC236}">
                  <a16:creationId xmlns:a16="http://schemas.microsoft.com/office/drawing/2014/main" id="{6EB897AF-0BCA-4DAF-934D-44A4930A79A8}"/>
                </a:ext>
              </a:extLst>
            </p:cNvPr>
            <p:cNvSpPr>
              <a:spLocks/>
            </p:cNvSpPr>
            <p:nvPr/>
          </p:nvSpPr>
          <p:spPr bwMode="auto">
            <a:xfrm>
              <a:off x="5899944" y="3101181"/>
              <a:ext cx="631825" cy="668338"/>
            </a:xfrm>
            <a:custGeom>
              <a:avLst/>
              <a:gdLst>
                <a:gd name="T0" fmla="*/ 349 w 358"/>
                <a:gd name="T1" fmla="*/ 292 h 379"/>
                <a:gd name="T2" fmla="*/ 251 w 358"/>
                <a:gd name="T3" fmla="*/ 379 h 379"/>
                <a:gd name="T4" fmla="*/ 0 w 358"/>
                <a:gd name="T5" fmla="*/ 93 h 379"/>
                <a:gd name="T6" fmla="*/ 98 w 358"/>
                <a:gd name="T7" fmla="*/ 7 h 379"/>
                <a:gd name="T8" fmla="*/ 125 w 358"/>
                <a:gd name="T9" fmla="*/ 9 h 379"/>
                <a:gd name="T10" fmla="*/ 351 w 358"/>
                <a:gd name="T11" fmla="*/ 265 h 379"/>
                <a:gd name="T12" fmla="*/ 349 w 358"/>
                <a:gd name="T13" fmla="*/ 292 h 379"/>
              </a:gdLst>
              <a:ahLst/>
              <a:cxnLst>
                <a:cxn ang="0">
                  <a:pos x="T0" y="T1"/>
                </a:cxn>
                <a:cxn ang="0">
                  <a:pos x="T2" y="T3"/>
                </a:cxn>
                <a:cxn ang="0">
                  <a:pos x="T4" y="T5"/>
                </a:cxn>
                <a:cxn ang="0">
                  <a:pos x="T6" y="T7"/>
                </a:cxn>
                <a:cxn ang="0">
                  <a:pos x="T8" y="T9"/>
                </a:cxn>
                <a:cxn ang="0">
                  <a:pos x="T10" y="T11"/>
                </a:cxn>
                <a:cxn ang="0">
                  <a:pos x="T12" y="T13"/>
                </a:cxn>
              </a:cxnLst>
              <a:rect l="0" t="0" r="r" b="b"/>
              <a:pathLst>
                <a:path w="358" h="379">
                  <a:moveTo>
                    <a:pt x="349" y="292"/>
                  </a:moveTo>
                  <a:cubicBezTo>
                    <a:pt x="251" y="379"/>
                    <a:pt x="251" y="379"/>
                    <a:pt x="251" y="379"/>
                  </a:cubicBezTo>
                  <a:cubicBezTo>
                    <a:pt x="0" y="93"/>
                    <a:pt x="0" y="93"/>
                    <a:pt x="0" y="93"/>
                  </a:cubicBezTo>
                  <a:cubicBezTo>
                    <a:pt x="98" y="7"/>
                    <a:pt x="98" y="7"/>
                    <a:pt x="98" y="7"/>
                  </a:cubicBezTo>
                  <a:cubicBezTo>
                    <a:pt x="106" y="0"/>
                    <a:pt x="118" y="1"/>
                    <a:pt x="125" y="9"/>
                  </a:cubicBezTo>
                  <a:cubicBezTo>
                    <a:pt x="351" y="265"/>
                    <a:pt x="351" y="265"/>
                    <a:pt x="351" y="265"/>
                  </a:cubicBezTo>
                  <a:cubicBezTo>
                    <a:pt x="358" y="273"/>
                    <a:pt x="357" y="285"/>
                    <a:pt x="349" y="292"/>
                  </a:cubicBezTo>
                  <a:close/>
                </a:path>
              </a:pathLst>
            </a:custGeom>
            <a:noFill/>
            <a:ln w="6350" cap="flat">
              <a:solidFill>
                <a:srgbClr val="1E1D1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155" name="Freeform 33">
              <a:extLst>
                <a:ext uri="{FF2B5EF4-FFF2-40B4-BE49-F238E27FC236}">
                  <a16:creationId xmlns:a16="http://schemas.microsoft.com/office/drawing/2014/main" id="{D38452C9-FB85-4882-A589-FBFE5F5CF974}"/>
                </a:ext>
              </a:extLst>
            </p:cNvPr>
            <p:cNvSpPr>
              <a:spLocks/>
            </p:cNvSpPr>
            <p:nvPr/>
          </p:nvSpPr>
          <p:spPr bwMode="auto">
            <a:xfrm>
              <a:off x="5899944" y="3101181"/>
              <a:ext cx="239713" cy="212725"/>
            </a:xfrm>
            <a:custGeom>
              <a:avLst/>
              <a:gdLst>
                <a:gd name="T0" fmla="*/ 136 w 136"/>
                <a:gd name="T1" fmla="*/ 21 h 120"/>
                <a:gd name="T2" fmla="*/ 24 w 136"/>
                <a:gd name="T3" fmla="*/ 120 h 120"/>
                <a:gd name="T4" fmla="*/ 0 w 136"/>
                <a:gd name="T5" fmla="*/ 93 h 120"/>
                <a:gd name="T6" fmla="*/ 98 w 136"/>
                <a:gd name="T7" fmla="*/ 7 h 120"/>
                <a:gd name="T8" fmla="*/ 125 w 136"/>
                <a:gd name="T9" fmla="*/ 9 h 120"/>
                <a:gd name="T10" fmla="*/ 136 w 136"/>
                <a:gd name="T11" fmla="*/ 21 h 120"/>
              </a:gdLst>
              <a:ahLst/>
              <a:cxnLst>
                <a:cxn ang="0">
                  <a:pos x="T0" y="T1"/>
                </a:cxn>
                <a:cxn ang="0">
                  <a:pos x="T2" y="T3"/>
                </a:cxn>
                <a:cxn ang="0">
                  <a:pos x="T4" y="T5"/>
                </a:cxn>
                <a:cxn ang="0">
                  <a:pos x="T6" y="T7"/>
                </a:cxn>
                <a:cxn ang="0">
                  <a:pos x="T8" y="T9"/>
                </a:cxn>
                <a:cxn ang="0">
                  <a:pos x="T10" y="T11"/>
                </a:cxn>
              </a:cxnLst>
              <a:rect l="0" t="0" r="r" b="b"/>
              <a:pathLst>
                <a:path w="136" h="120">
                  <a:moveTo>
                    <a:pt x="136" y="21"/>
                  </a:moveTo>
                  <a:cubicBezTo>
                    <a:pt x="24" y="120"/>
                    <a:pt x="24" y="120"/>
                    <a:pt x="24" y="120"/>
                  </a:cubicBezTo>
                  <a:cubicBezTo>
                    <a:pt x="0" y="93"/>
                    <a:pt x="0" y="93"/>
                    <a:pt x="0" y="93"/>
                  </a:cubicBezTo>
                  <a:cubicBezTo>
                    <a:pt x="98" y="7"/>
                    <a:pt x="98" y="7"/>
                    <a:pt x="98" y="7"/>
                  </a:cubicBezTo>
                  <a:cubicBezTo>
                    <a:pt x="106" y="0"/>
                    <a:pt x="118" y="1"/>
                    <a:pt x="125" y="9"/>
                  </a:cubicBezTo>
                  <a:lnTo>
                    <a:pt x="136" y="21"/>
                  </a:lnTo>
                  <a:close/>
                </a:path>
              </a:pathLst>
            </a:custGeom>
            <a:solidFill>
              <a:srgbClr val="D0598C"/>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56" name="Freeform 34">
              <a:extLst>
                <a:ext uri="{FF2B5EF4-FFF2-40B4-BE49-F238E27FC236}">
                  <a16:creationId xmlns:a16="http://schemas.microsoft.com/office/drawing/2014/main" id="{FCB983BE-46AB-4479-90B0-F7BC8E249815}"/>
                </a:ext>
              </a:extLst>
            </p:cNvPr>
            <p:cNvSpPr>
              <a:spLocks/>
            </p:cNvSpPr>
            <p:nvPr/>
          </p:nvSpPr>
          <p:spPr bwMode="auto">
            <a:xfrm>
              <a:off x="5942806" y="3139281"/>
              <a:ext cx="463550" cy="477838"/>
            </a:xfrm>
            <a:custGeom>
              <a:avLst/>
              <a:gdLst>
                <a:gd name="T0" fmla="*/ 124 w 292"/>
                <a:gd name="T1" fmla="*/ 0 h 301"/>
                <a:gd name="T2" fmla="*/ 0 w 292"/>
                <a:gd name="T3" fmla="*/ 110 h 301"/>
                <a:gd name="T4" fmla="*/ 168 w 292"/>
                <a:gd name="T5" fmla="*/ 301 h 301"/>
                <a:gd name="T6" fmla="*/ 292 w 292"/>
                <a:gd name="T7" fmla="*/ 191 h 301"/>
                <a:gd name="T8" fmla="*/ 124 w 292"/>
                <a:gd name="T9" fmla="*/ 0 h 301"/>
              </a:gdLst>
              <a:ahLst/>
              <a:cxnLst>
                <a:cxn ang="0">
                  <a:pos x="T0" y="T1"/>
                </a:cxn>
                <a:cxn ang="0">
                  <a:pos x="T2" y="T3"/>
                </a:cxn>
                <a:cxn ang="0">
                  <a:pos x="T4" y="T5"/>
                </a:cxn>
                <a:cxn ang="0">
                  <a:pos x="T6" y="T7"/>
                </a:cxn>
                <a:cxn ang="0">
                  <a:pos x="T8" y="T9"/>
                </a:cxn>
              </a:cxnLst>
              <a:rect l="0" t="0" r="r" b="b"/>
              <a:pathLst>
                <a:path w="292" h="301">
                  <a:moveTo>
                    <a:pt x="124" y="0"/>
                  </a:moveTo>
                  <a:lnTo>
                    <a:pt x="0" y="110"/>
                  </a:lnTo>
                  <a:lnTo>
                    <a:pt x="168" y="301"/>
                  </a:lnTo>
                  <a:lnTo>
                    <a:pt x="292" y="191"/>
                  </a:lnTo>
                  <a:lnTo>
                    <a:pt x="124" y="0"/>
                  </a:lnTo>
                  <a:close/>
                </a:path>
              </a:pathLst>
            </a:custGeom>
            <a:solidFill>
              <a:srgbClr val="D86D91"/>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57" name="Freeform 35">
              <a:extLst>
                <a:ext uri="{FF2B5EF4-FFF2-40B4-BE49-F238E27FC236}">
                  <a16:creationId xmlns:a16="http://schemas.microsoft.com/office/drawing/2014/main" id="{A0175249-EE24-469E-87DC-8FC803FDAA25}"/>
                </a:ext>
              </a:extLst>
            </p:cNvPr>
            <p:cNvSpPr>
              <a:spLocks/>
            </p:cNvSpPr>
            <p:nvPr/>
          </p:nvSpPr>
          <p:spPr bwMode="auto">
            <a:xfrm>
              <a:off x="6209506" y="3442494"/>
              <a:ext cx="295275" cy="285750"/>
            </a:xfrm>
            <a:custGeom>
              <a:avLst/>
              <a:gdLst>
                <a:gd name="T0" fmla="*/ 186 w 186"/>
                <a:gd name="T1" fmla="*/ 70 h 180"/>
                <a:gd name="T2" fmla="*/ 61 w 186"/>
                <a:gd name="T3" fmla="*/ 180 h 180"/>
                <a:gd name="T4" fmla="*/ 0 w 186"/>
                <a:gd name="T5" fmla="*/ 110 h 180"/>
                <a:gd name="T6" fmla="*/ 124 w 186"/>
                <a:gd name="T7" fmla="*/ 0 h 180"/>
                <a:gd name="T8" fmla="*/ 186 w 186"/>
                <a:gd name="T9" fmla="*/ 70 h 180"/>
              </a:gdLst>
              <a:ahLst/>
              <a:cxnLst>
                <a:cxn ang="0">
                  <a:pos x="T0" y="T1"/>
                </a:cxn>
                <a:cxn ang="0">
                  <a:pos x="T2" y="T3"/>
                </a:cxn>
                <a:cxn ang="0">
                  <a:pos x="T4" y="T5"/>
                </a:cxn>
                <a:cxn ang="0">
                  <a:pos x="T6" y="T7"/>
                </a:cxn>
                <a:cxn ang="0">
                  <a:pos x="T8" y="T9"/>
                </a:cxn>
              </a:cxnLst>
              <a:rect l="0" t="0" r="r" b="b"/>
              <a:pathLst>
                <a:path w="186" h="180">
                  <a:moveTo>
                    <a:pt x="186" y="70"/>
                  </a:moveTo>
                  <a:lnTo>
                    <a:pt x="61" y="180"/>
                  </a:lnTo>
                  <a:lnTo>
                    <a:pt x="0" y="110"/>
                  </a:lnTo>
                  <a:lnTo>
                    <a:pt x="124" y="0"/>
                  </a:lnTo>
                  <a:lnTo>
                    <a:pt x="186" y="70"/>
                  </a:lnTo>
                  <a:close/>
                </a:path>
              </a:pathLst>
            </a:custGeom>
            <a:solidFill>
              <a:srgbClr val="437BBF"/>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58" name="Freeform 36">
              <a:extLst>
                <a:ext uri="{FF2B5EF4-FFF2-40B4-BE49-F238E27FC236}">
                  <a16:creationId xmlns:a16="http://schemas.microsoft.com/office/drawing/2014/main" id="{25155317-2FBB-41EE-BC02-7650BB8A9D1D}"/>
                </a:ext>
              </a:extLst>
            </p:cNvPr>
            <p:cNvSpPr>
              <a:spLocks noEditPoints="1"/>
            </p:cNvSpPr>
            <p:nvPr/>
          </p:nvSpPr>
          <p:spPr bwMode="auto">
            <a:xfrm>
              <a:off x="4239419" y="4534694"/>
              <a:ext cx="3562350" cy="585788"/>
            </a:xfrm>
            <a:custGeom>
              <a:avLst/>
              <a:gdLst>
                <a:gd name="T0" fmla="*/ 1970 w 2020"/>
                <a:gd name="T1" fmla="*/ 0 h 332"/>
                <a:gd name="T2" fmla="*/ 0 w 2020"/>
                <a:gd name="T3" fmla="*/ 0 h 332"/>
                <a:gd name="T4" fmla="*/ 0 w 2020"/>
                <a:gd name="T5" fmla="*/ 332 h 332"/>
                <a:gd name="T6" fmla="*/ 1970 w 2020"/>
                <a:gd name="T7" fmla="*/ 332 h 332"/>
                <a:gd name="T8" fmla="*/ 2020 w 2020"/>
                <a:gd name="T9" fmla="*/ 166 h 332"/>
                <a:gd name="T10" fmla="*/ 1970 w 2020"/>
                <a:gd name="T11" fmla="*/ 0 h 332"/>
                <a:gd name="T12" fmla="*/ 1879 w 2020"/>
                <a:gd name="T13" fmla="*/ 226 h 332"/>
                <a:gd name="T14" fmla="*/ 1819 w 2020"/>
                <a:gd name="T15" fmla="*/ 166 h 332"/>
                <a:gd name="T16" fmla="*/ 1879 w 2020"/>
                <a:gd name="T17" fmla="*/ 106 h 332"/>
                <a:gd name="T18" fmla="*/ 1939 w 2020"/>
                <a:gd name="T19" fmla="*/ 166 h 332"/>
                <a:gd name="T20" fmla="*/ 1879 w 2020"/>
                <a:gd name="T21" fmla="*/ 226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20" h="332">
                  <a:moveTo>
                    <a:pt x="1970" y="0"/>
                  </a:moveTo>
                  <a:cubicBezTo>
                    <a:pt x="0" y="0"/>
                    <a:pt x="0" y="0"/>
                    <a:pt x="0" y="0"/>
                  </a:cubicBezTo>
                  <a:cubicBezTo>
                    <a:pt x="0" y="332"/>
                    <a:pt x="0" y="332"/>
                    <a:pt x="0" y="332"/>
                  </a:cubicBezTo>
                  <a:cubicBezTo>
                    <a:pt x="1970" y="332"/>
                    <a:pt x="1970" y="332"/>
                    <a:pt x="1970" y="332"/>
                  </a:cubicBezTo>
                  <a:cubicBezTo>
                    <a:pt x="1997" y="332"/>
                    <a:pt x="2020" y="258"/>
                    <a:pt x="2020" y="166"/>
                  </a:cubicBezTo>
                  <a:cubicBezTo>
                    <a:pt x="2020" y="75"/>
                    <a:pt x="1997" y="0"/>
                    <a:pt x="1970" y="0"/>
                  </a:cubicBezTo>
                  <a:close/>
                  <a:moveTo>
                    <a:pt x="1879" y="226"/>
                  </a:moveTo>
                  <a:cubicBezTo>
                    <a:pt x="1846" y="226"/>
                    <a:pt x="1819" y="199"/>
                    <a:pt x="1819" y="166"/>
                  </a:cubicBezTo>
                  <a:cubicBezTo>
                    <a:pt x="1819" y="133"/>
                    <a:pt x="1846" y="106"/>
                    <a:pt x="1879" y="106"/>
                  </a:cubicBezTo>
                  <a:cubicBezTo>
                    <a:pt x="1912" y="106"/>
                    <a:pt x="1939" y="133"/>
                    <a:pt x="1939" y="166"/>
                  </a:cubicBezTo>
                  <a:cubicBezTo>
                    <a:pt x="1939" y="199"/>
                    <a:pt x="1912" y="226"/>
                    <a:pt x="1879" y="226"/>
                  </a:cubicBezTo>
                  <a:close/>
                </a:path>
              </a:pathLst>
            </a:custGeom>
            <a:solidFill>
              <a:srgbClr val="424242">
                <a:alpha val="20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59" name="Freeform 37">
              <a:extLst>
                <a:ext uri="{FF2B5EF4-FFF2-40B4-BE49-F238E27FC236}">
                  <a16:creationId xmlns:a16="http://schemas.microsoft.com/office/drawing/2014/main" id="{E465FC26-18BE-432B-A8A6-157C76D4C7D7}"/>
                </a:ext>
              </a:extLst>
            </p:cNvPr>
            <p:cNvSpPr>
              <a:spLocks noEditPoints="1"/>
            </p:cNvSpPr>
            <p:nvPr/>
          </p:nvSpPr>
          <p:spPr bwMode="auto">
            <a:xfrm>
              <a:off x="4274344" y="4479131"/>
              <a:ext cx="3562350" cy="585788"/>
            </a:xfrm>
            <a:custGeom>
              <a:avLst/>
              <a:gdLst>
                <a:gd name="T0" fmla="*/ 1970 w 2020"/>
                <a:gd name="T1" fmla="*/ 0 h 332"/>
                <a:gd name="T2" fmla="*/ 0 w 2020"/>
                <a:gd name="T3" fmla="*/ 0 h 332"/>
                <a:gd name="T4" fmla="*/ 0 w 2020"/>
                <a:gd name="T5" fmla="*/ 332 h 332"/>
                <a:gd name="T6" fmla="*/ 1970 w 2020"/>
                <a:gd name="T7" fmla="*/ 332 h 332"/>
                <a:gd name="T8" fmla="*/ 2020 w 2020"/>
                <a:gd name="T9" fmla="*/ 166 h 332"/>
                <a:gd name="T10" fmla="*/ 1970 w 2020"/>
                <a:gd name="T11" fmla="*/ 0 h 332"/>
                <a:gd name="T12" fmla="*/ 1879 w 2020"/>
                <a:gd name="T13" fmla="*/ 226 h 332"/>
                <a:gd name="T14" fmla="*/ 1819 w 2020"/>
                <a:gd name="T15" fmla="*/ 166 h 332"/>
                <a:gd name="T16" fmla="*/ 1879 w 2020"/>
                <a:gd name="T17" fmla="*/ 106 h 332"/>
                <a:gd name="T18" fmla="*/ 1939 w 2020"/>
                <a:gd name="T19" fmla="*/ 166 h 332"/>
                <a:gd name="T20" fmla="*/ 1879 w 2020"/>
                <a:gd name="T21" fmla="*/ 226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20" h="332">
                  <a:moveTo>
                    <a:pt x="1970" y="0"/>
                  </a:moveTo>
                  <a:cubicBezTo>
                    <a:pt x="0" y="0"/>
                    <a:pt x="0" y="0"/>
                    <a:pt x="0" y="0"/>
                  </a:cubicBezTo>
                  <a:cubicBezTo>
                    <a:pt x="0" y="332"/>
                    <a:pt x="0" y="332"/>
                    <a:pt x="0" y="332"/>
                  </a:cubicBezTo>
                  <a:cubicBezTo>
                    <a:pt x="1970" y="332"/>
                    <a:pt x="1970" y="332"/>
                    <a:pt x="1970" y="332"/>
                  </a:cubicBezTo>
                  <a:cubicBezTo>
                    <a:pt x="1997" y="332"/>
                    <a:pt x="2020" y="258"/>
                    <a:pt x="2020" y="166"/>
                  </a:cubicBezTo>
                  <a:cubicBezTo>
                    <a:pt x="2020" y="75"/>
                    <a:pt x="1997" y="0"/>
                    <a:pt x="1970" y="0"/>
                  </a:cubicBezTo>
                  <a:close/>
                  <a:moveTo>
                    <a:pt x="1879" y="226"/>
                  </a:moveTo>
                  <a:cubicBezTo>
                    <a:pt x="1846" y="226"/>
                    <a:pt x="1819" y="199"/>
                    <a:pt x="1819" y="166"/>
                  </a:cubicBezTo>
                  <a:cubicBezTo>
                    <a:pt x="1819" y="133"/>
                    <a:pt x="1846" y="106"/>
                    <a:pt x="1879" y="106"/>
                  </a:cubicBezTo>
                  <a:cubicBezTo>
                    <a:pt x="1912" y="106"/>
                    <a:pt x="1939" y="133"/>
                    <a:pt x="1939" y="166"/>
                  </a:cubicBezTo>
                  <a:cubicBezTo>
                    <a:pt x="1939" y="199"/>
                    <a:pt x="1912" y="226"/>
                    <a:pt x="1879" y="226"/>
                  </a:cubicBezTo>
                  <a:close/>
                </a:path>
              </a:pathLst>
            </a:custGeom>
            <a:solidFill>
              <a:srgbClr val="00B3E7"/>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60" name="Freeform 38">
              <a:extLst>
                <a:ext uri="{FF2B5EF4-FFF2-40B4-BE49-F238E27FC236}">
                  <a16:creationId xmlns:a16="http://schemas.microsoft.com/office/drawing/2014/main" id="{BA7E7289-13AB-456D-924C-0FFDC23C701D}"/>
                </a:ext>
              </a:extLst>
            </p:cNvPr>
            <p:cNvSpPr>
              <a:spLocks/>
            </p:cNvSpPr>
            <p:nvPr/>
          </p:nvSpPr>
          <p:spPr bwMode="auto">
            <a:xfrm>
              <a:off x="4274344" y="4771231"/>
              <a:ext cx="3562350" cy="293688"/>
            </a:xfrm>
            <a:custGeom>
              <a:avLst/>
              <a:gdLst>
                <a:gd name="T0" fmla="*/ 1939 w 2020"/>
                <a:gd name="T1" fmla="*/ 0 h 166"/>
                <a:gd name="T2" fmla="*/ 1879 w 2020"/>
                <a:gd name="T3" fmla="*/ 60 h 166"/>
                <a:gd name="T4" fmla="*/ 1819 w 2020"/>
                <a:gd name="T5" fmla="*/ 0 h 166"/>
                <a:gd name="T6" fmla="*/ 0 w 2020"/>
                <a:gd name="T7" fmla="*/ 0 h 166"/>
                <a:gd name="T8" fmla="*/ 0 w 2020"/>
                <a:gd name="T9" fmla="*/ 166 h 166"/>
                <a:gd name="T10" fmla="*/ 1970 w 2020"/>
                <a:gd name="T11" fmla="*/ 166 h 166"/>
                <a:gd name="T12" fmla="*/ 2020 w 2020"/>
                <a:gd name="T13" fmla="*/ 0 h 166"/>
                <a:gd name="T14" fmla="*/ 1939 w 2020"/>
                <a:gd name="T15" fmla="*/ 0 h 1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20" h="166">
                  <a:moveTo>
                    <a:pt x="1939" y="0"/>
                  </a:moveTo>
                  <a:cubicBezTo>
                    <a:pt x="1939" y="33"/>
                    <a:pt x="1912" y="60"/>
                    <a:pt x="1879" y="60"/>
                  </a:cubicBezTo>
                  <a:cubicBezTo>
                    <a:pt x="1846" y="60"/>
                    <a:pt x="1819" y="33"/>
                    <a:pt x="1819" y="0"/>
                  </a:cubicBezTo>
                  <a:cubicBezTo>
                    <a:pt x="0" y="0"/>
                    <a:pt x="0" y="0"/>
                    <a:pt x="0" y="0"/>
                  </a:cubicBezTo>
                  <a:cubicBezTo>
                    <a:pt x="0" y="166"/>
                    <a:pt x="0" y="166"/>
                    <a:pt x="0" y="166"/>
                  </a:cubicBezTo>
                  <a:cubicBezTo>
                    <a:pt x="1970" y="166"/>
                    <a:pt x="1970" y="166"/>
                    <a:pt x="1970" y="166"/>
                  </a:cubicBezTo>
                  <a:cubicBezTo>
                    <a:pt x="1997" y="166"/>
                    <a:pt x="2020" y="92"/>
                    <a:pt x="2020" y="0"/>
                  </a:cubicBezTo>
                  <a:lnTo>
                    <a:pt x="1939" y="0"/>
                  </a:lnTo>
                  <a:close/>
                </a:path>
              </a:pathLst>
            </a:custGeom>
            <a:solidFill>
              <a:srgbClr val="316296"/>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61" name="Freeform 39">
              <a:extLst>
                <a:ext uri="{FF2B5EF4-FFF2-40B4-BE49-F238E27FC236}">
                  <a16:creationId xmlns:a16="http://schemas.microsoft.com/office/drawing/2014/main" id="{B868C8DB-8C92-4431-9063-13AB3EABB8C7}"/>
                </a:ext>
              </a:extLst>
            </p:cNvPr>
            <p:cNvSpPr>
              <a:spLocks/>
            </p:cNvSpPr>
            <p:nvPr/>
          </p:nvSpPr>
          <p:spPr bwMode="auto">
            <a:xfrm>
              <a:off x="4506119" y="4152106"/>
              <a:ext cx="1322388" cy="1589088"/>
            </a:xfrm>
            <a:custGeom>
              <a:avLst/>
              <a:gdLst>
                <a:gd name="T0" fmla="*/ 141 w 750"/>
                <a:gd name="T1" fmla="*/ 87 h 901"/>
                <a:gd name="T2" fmla="*/ 35 w 750"/>
                <a:gd name="T3" fmla="*/ 20 h 901"/>
                <a:gd name="T4" fmla="*/ 35 w 750"/>
                <a:gd name="T5" fmla="*/ 20 h 901"/>
                <a:gd name="T6" fmla="*/ 6 w 750"/>
                <a:gd name="T7" fmla="*/ 1 h 901"/>
                <a:gd name="T8" fmla="*/ 2 w 750"/>
                <a:gd name="T9" fmla="*/ 5 h 901"/>
                <a:gd name="T10" fmla="*/ 62 w 750"/>
                <a:gd name="T11" fmla="*/ 151 h 901"/>
                <a:gd name="T12" fmla="*/ 671 w 750"/>
                <a:gd name="T13" fmla="*/ 901 h 901"/>
                <a:gd name="T14" fmla="*/ 750 w 750"/>
                <a:gd name="T15" fmla="*/ 837 h 901"/>
                <a:gd name="T16" fmla="*/ 141 w 750"/>
                <a:gd name="T17" fmla="*/ 87 h 9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0" h="901">
                  <a:moveTo>
                    <a:pt x="141" y="87"/>
                  </a:moveTo>
                  <a:cubicBezTo>
                    <a:pt x="35" y="20"/>
                    <a:pt x="35" y="20"/>
                    <a:pt x="35" y="20"/>
                  </a:cubicBezTo>
                  <a:cubicBezTo>
                    <a:pt x="35" y="20"/>
                    <a:pt x="35" y="20"/>
                    <a:pt x="35" y="20"/>
                  </a:cubicBezTo>
                  <a:cubicBezTo>
                    <a:pt x="6" y="1"/>
                    <a:pt x="6" y="1"/>
                    <a:pt x="6" y="1"/>
                  </a:cubicBezTo>
                  <a:cubicBezTo>
                    <a:pt x="4" y="0"/>
                    <a:pt x="0" y="2"/>
                    <a:pt x="2" y="5"/>
                  </a:cubicBezTo>
                  <a:cubicBezTo>
                    <a:pt x="62" y="151"/>
                    <a:pt x="62" y="151"/>
                    <a:pt x="62" y="151"/>
                  </a:cubicBezTo>
                  <a:cubicBezTo>
                    <a:pt x="671" y="901"/>
                    <a:pt x="671" y="901"/>
                    <a:pt x="671" y="901"/>
                  </a:cubicBezTo>
                  <a:cubicBezTo>
                    <a:pt x="750" y="837"/>
                    <a:pt x="750" y="837"/>
                    <a:pt x="750" y="837"/>
                  </a:cubicBezTo>
                  <a:lnTo>
                    <a:pt x="141" y="87"/>
                  </a:lnTo>
                  <a:close/>
                </a:path>
              </a:pathLst>
            </a:custGeom>
            <a:solidFill>
              <a:srgbClr val="424242">
                <a:alpha val="20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62" name="Freeform 40">
              <a:extLst>
                <a:ext uri="{FF2B5EF4-FFF2-40B4-BE49-F238E27FC236}">
                  <a16:creationId xmlns:a16="http://schemas.microsoft.com/office/drawing/2014/main" id="{E645C0B1-F81B-4E8A-85E2-98265F8B724A}"/>
                </a:ext>
              </a:extLst>
            </p:cNvPr>
            <p:cNvSpPr>
              <a:spLocks/>
            </p:cNvSpPr>
            <p:nvPr/>
          </p:nvSpPr>
          <p:spPr bwMode="auto">
            <a:xfrm>
              <a:off x="4615656" y="4256881"/>
              <a:ext cx="1212850" cy="1435100"/>
            </a:xfrm>
            <a:custGeom>
              <a:avLst/>
              <a:gdLst>
                <a:gd name="T0" fmla="*/ 764 w 764"/>
                <a:gd name="T1" fmla="*/ 833 h 904"/>
                <a:gd name="T2" fmla="*/ 676 w 764"/>
                <a:gd name="T3" fmla="*/ 904 h 904"/>
                <a:gd name="T4" fmla="*/ 0 w 764"/>
                <a:gd name="T5" fmla="*/ 71 h 904"/>
                <a:gd name="T6" fmla="*/ 87 w 764"/>
                <a:gd name="T7" fmla="*/ 0 h 904"/>
                <a:gd name="T8" fmla="*/ 764 w 764"/>
                <a:gd name="T9" fmla="*/ 833 h 904"/>
              </a:gdLst>
              <a:ahLst/>
              <a:cxnLst>
                <a:cxn ang="0">
                  <a:pos x="T0" y="T1"/>
                </a:cxn>
                <a:cxn ang="0">
                  <a:pos x="T2" y="T3"/>
                </a:cxn>
                <a:cxn ang="0">
                  <a:pos x="T4" y="T5"/>
                </a:cxn>
                <a:cxn ang="0">
                  <a:pos x="T6" y="T7"/>
                </a:cxn>
                <a:cxn ang="0">
                  <a:pos x="T8" y="T9"/>
                </a:cxn>
              </a:cxnLst>
              <a:rect l="0" t="0" r="r" b="b"/>
              <a:pathLst>
                <a:path w="764" h="904">
                  <a:moveTo>
                    <a:pt x="764" y="833"/>
                  </a:moveTo>
                  <a:lnTo>
                    <a:pt x="676" y="904"/>
                  </a:lnTo>
                  <a:lnTo>
                    <a:pt x="0" y="71"/>
                  </a:lnTo>
                  <a:lnTo>
                    <a:pt x="87" y="0"/>
                  </a:lnTo>
                  <a:lnTo>
                    <a:pt x="764" y="833"/>
                  </a:lnTo>
                  <a:close/>
                </a:path>
              </a:pathLst>
            </a:custGeom>
            <a:solidFill>
              <a:srgbClr val="3D5D91"/>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63" name="Freeform 41">
              <a:extLst>
                <a:ext uri="{FF2B5EF4-FFF2-40B4-BE49-F238E27FC236}">
                  <a16:creationId xmlns:a16="http://schemas.microsoft.com/office/drawing/2014/main" id="{5AF757D5-CBDB-4F6E-B920-990A6E27C70E}"/>
                </a:ext>
              </a:extLst>
            </p:cNvPr>
            <p:cNvSpPr>
              <a:spLocks/>
            </p:cNvSpPr>
            <p:nvPr/>
          </p:nvSpPr>
          <p:spPr bwMode="auto">
            <a:xfrm>
              <a:off x="4656931" y="4291806"/>
              <a:ext cx="1127125" cy="1365250"/>
            </a:xfrm>
            <a:custGeom>
              <a:avLst/>
              <a:gdLst>
                <a:gd name="T0" fmla="*/ 710 w 710"/>
                <a:gd name="T1" fmla="*/ 833 h 860"/>
                <a:gd name="T2" fmla="*/ 677 w 710"/>
                <a:gd name="T3" fmla="*/ 860 h 860"/>
                <a:gd name="T4" fmla="*/ 0 w 710"/>
                <a:gd name="T5" fmla="*/ 27 h 860"/>
                <a:gd name="T6" fmla="*/ 34 w 710"/>
                <a:gd name="T7" fmla="*/ 0 h 860"/>
                <a:gd name="T8" fmla="*/ 710 w 710"/>
                <a:gd name="T9" fmla="*/ 833 h 860"/>
              </a:gdLst>
              <a:ahLst/>
              <a:cxnLst>
                <a:cxn ang="0">
                  <a:pos x="T0" y="T1"/>
                </a:cxn>
                <a:cxn ang="0">
                  <a:pos x="T2" y="T3"/>
                </a:cxn>
                <a:cxn ang="0">
                  <a:pos x="T4" y="T5"/>
                </a:cxn>
                <a:cxn ang="0">
                  <a:pos x="T6" y="T7"/>
                </a:cxn>
                <a:cxn ang="0">
                  <a:pos x="T8" y="T9"/>
                </a:cxn>
              </a:cxnLst>
              <a:rect l="0" t="0" r="r" b="b"/>
              <a:pathLst>
                <a:path w="710" h="860">
                  <a:moveTo>
                    <a:pt x="710" y="833"/>
                  </a:moveTo>
                  <a:lnTo>
                    <a:pt x="677" y="860"/>
                  </a:lnTo>
                  <a:lnTo>
                    <a:pt x="0" y="27"/>
                  </a:lnTo>
                  <a:lnTo>
                    <a:pt x="34" y="0"/>
                  </a:lnTo>
                  <a:lnTo>
                    <a:pt x="710" y="833"/>
                  </a:lnTo>
                  <a:close/>
                </a:path>
              </a:pathLst>
            </a:custGeom>
            <a:solidFill>
              <a:srgbClr val="00B3E7"/>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64" name="Freeform 42">
              <a:extLst>
                <a:ext uri="{FF2B5EF4-FFF2-40B4-BE49-F238E27FC236}">
                  <a16:creationId xmlns:a16="http://schemas.microsoft.com/office/drawing/2014/main" id="{14A9096D-4798-43B3-B1AF-F92DEFA757B8}"/>
                </a:ext>
              </a:extLst>
            </p:cNvPr>
            <p:cNvSpPr>
              <a:spLocks/>
            </p:cNvSpPr>
            <p:nvPr/>
          </p:nvSpPr>
          <p:spPr bwMode="auto">
            <a:xfrm>
              <a:off x="4506119" y="4102894"/>
              <a:ext cx="247650" cy="266700"/>
            </a:xfrm>
            <a:custGeom>
              <a:avLst/>
              <a:gdLst>
                <a:gd name="T0" fmla="*/ 2 w 141"/>
                <a:gd name="T1" fmla="*/ 5 h 151"/>
                <a:gd name="T2" fmla="*/ 62 w 141"/>
                <a:gd name="T3" fmla="*/ 151 h 151"/>
                <a:gd name="T4" fmla="*/ 141 w 141"/>
                <a:gd name="T5" fmla="*/ 87 h 151"/>
                <a:gd name="T6" fmla="*/ 6 w 141"/>
                <a:gd name="T7" fmla="*/ 1 h 151"/>
                <a:gd name="T8" fmla="*/ 2 w 141"/>
                <a:gd name="T9" fmla="*/ 5 h 151"/>
              </a:gdLst>
              <a:ahLst/>
              <a:cxnLst>
                <a:cxn ang="0">
                  <a:pos x="T0" y="T1"/>
                </a:cxn>
                <a:cxn ang="0">
                  <a:pos x="T2" y="T3"/>
                </a:cxn>
                <a:cxn ang="0">
                  <a:pos x="T4" y="T5"/>
                </a:cxn>
                <a:cxn ang="0">
                  <a:pos x="T6" y="T7"/>
                </a:cxn>
                <a:cxn ang="0">
                  <a:pos x="T8" y="T9"/>
                </a:cxn>
              </a:cxnLst>
              <a:rect l="0" t="0" r="r" b="b"/>
              <a:pathLst>
                <a:path w="141" h="151">
                  <a:moveTo>
                    <a:pt x="2" y="5"/>
                  </a:moveTo>
                  <a:cubicBezTo>
                    <a:pt x="62" y="151"/>
                    <a:pt x="62" y="151"/>
                    <a:pt x="62" y="151"/>
                  </a:cubicBezTo>
                  <a:cubicBezTo>
                    <a:pt x="141" y="87"/>
                    <a:pt x="141" y="87"/>
                    <a:pt x="141" y="87"/>
                  </a:cubicBezTo>
                  <a:cubicBezTo>
                    <a:pt x="6" y="1"/>
                    <a:pt x="6" y="1"/>
                    <a:pt x="6" y="1"/>
                  </a:cubicBezTo>
                  <a:cubicBezTo>
                    <a:pt x="4" y="0"/>
                    <a:pt x="0" y="2"/>
                    <a:pt x="2" y="5"/>
                  </a:cubicBezTo>
                  <a:close/>
                </a:path>
              </a:pathLst>
            </a:custGeom>
            <a:solidFill>
              <a:srgbClr val="D37187"/>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65" name="Freeform 43">
              <a:extLst>
                <a:ext uri="{FF2B5EF4-FFF2-40B4-BE49-F238E27FC236}">
                  <a16:creationId xmlns:a16="http://schemas.microsoft.com/office/drawing/2014/main" id="{4C4FB20B-DDE7-4E75-9E9B-A548D91B8C43}"/>
                </a:ext>
              </a:extLst>
            </p:cNvPr>
            <p:cNvSpPr>
              <a:spLocks/>
            </p:cNvSpPr>
            <p:nvPr/>
          </p:nvSpPr>
          <p:spPr bwMode="auto">
            <a:xfrm>
              <a:off x="4506119" y="4102894"/>
              <a:ext cx="61913" cy="66675"/>
            </a:xfrm>
            <a:custGeom>
              <a:avLst/>
              <a:gdLst>
                <a:gd name="T0" fmla="*/ 35 w 35"/>
                <a:gd name="T1" fmla="*/ 20 h 38"/>
                <a:gd name="T2" fmla="*/ 6 w 35"/>
                <a:gd name="T3" fmla="*/ 1 h 38"/>
                <a:gd name="T4" fmla="*/ 2 w 35"/>
                <a:gd name="T5" fmla="*/ 5 h 38"/>
                <a:gd name="T6" fmla="*/ 15 w 35"/>
                <a:gd name="T7" fmla="*/ 38 h 38"/>
                <a:gd name="T8" fmla="*/ 35 w 35"/>
                <a:gd name="T9" fmla="*/ 20 h 38"/>
              </a:gdLst>
              <a:ahLst/>
              <a:cxnLst>
                <a:cxn ang="0">
                  <a:pos x="T0" y="T1"/>
                </a:cxn>
                <a:cxn ang="0">
                  <a:pos x="T2" y="T3"/>
                </a:cxn>
                <a:cxn ang="0">
                  <a:pos x="T4" y="T5"/>
                </a:cxn>
                <a:cxn ang="0">
                  <a:pos x="T6" y="T7"/>
                </a:cxn>
                <a:cxn ang="0">
                  <a:pos x="T8" y="T9"/>
                </a:cxn>
              </a:cxnLst>
              <a:rect l="0" t="0" r="r" b="b"/>
              <a:pathLst>
                <a:path w="35" h="38">
                  <a:moveTo>
                    <a:pt x="35" y="20"/>
                  </a:moveTo>
                  <a:cubicBezTo>
                    <a:pt x="6" y="1"/>
                    <a:pt x="6" y="1"/>
                    <a:pt x="6" y="1"/>
                  </a:cubicBezTo>
                  <a:cubicBezTo>
                    <a:pt x="4" y="0"/>
                    <a:pt x="0" y="2"/>
                    <a:pt x="2" y="5"/>
                  </a:cubicBezTo>
                  <a:cubicBezTo>
                    <a:pt x="15" y="38"/>
                    <a:pt x="15" y="38"/>
                    <a:pt x="15" y="38"/>
                  </a:cubicBezTo>
                  <a:lnTo>
                    <a:pt x="35" y="20"/>
                  </a:lnTo>
                  <a:close/>
                </a:path>
              </a:pathLst>
            </a:custGeom>
            <a:solidFill>
              <a:srgbClr val="3D5D91"/>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66" name="Freeform 44">
              <a:extLst>
                <a:ext uri="{FF2B5EF4-FFF2-40B4-BE49-F238E27FC236}">
                  <a16:creationId xmlns:a16="http://schemas.microsoft.com/office/drawing/2014/main" id="{A9C444C7-6D1B-47C7-A781-EDAC61DD9836}"/>
                </a:ext>
              </a:extLst>
            </p:cNvPr>
            <p:cNvSpPr>
              <a:spLocks/>
            </p:cNvSpPr>
            <p:nvPr/>
          </p:nvSpPr>
          <p:spPr bwMode="auto">
            <a:xfrm>
              <a:off x="6315869" y="3950494"/>
              <a:ext cx="604838" cy="1592263"/>
            </a:xfrm>
            <a:custGeom>
              <a:avLst/>
              <a:gdLst>
                <a:gd name="T0" fmla="*/ 285 w 343"/>
                <a:gd name="T1" fmla="*/ 14 h 903"/>
                <a:gd name="T2" fmla="*/ 252 w 343"/>
                <a:gd name="T3" fmla="*/ 129 h 903"/>
                <a:gd name="T4" fmla="*/ 292 w 343"/>
                <a:gd name="T5" fmla="*/ 141 h 903"/>
                <a:gd name="T6" fmla="*/ 330 w 343"/>
                <a:gd name="T7" fmla="*/ 221 h 903"/>
                <a:gd name="T8" fmla="*/ 75 w 343"/>
                <a:gd name="T9" fmla="*/ 865 h 903"/>
                <a:gd name="T10" fmla="*/ 16 w 343"/>
                <a:gd name="T11" fmla="*/ 900 h 903"/>
                <a:gd name="T12" fmla="*/ 0 w 343"/>
                <a:gd name="T13" fmla="*/ 898 h 903"/>
                <a:gd name="T14" fmla="*/ 224 w 343"/>
                <a:gd name="T15" fmla="*/ 0 h 903"/>
                <a:gd name="T16" fmla="*/ 285 w 343"/>
                <a:gd name="T17" fmla="*/ 14 h 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3" h="903">
                  <a:moveTo>
                    <a:pt x="285" y="14"/>
                  </a:moveTo>
                  <a:cubicBezTo>
                    <a:pt x="252" y="129"/>
                    <a:pt x="252" y="129"/>
                    <a:pt x="252" y="129"/>
                  </a:cubicBezTo>
                  <a:cubicBezTo>
                    <a:pt x="292" y="141"/>
                    <a:pt x="292" y="141"/>
                    <a:pt x="292" y="141"/>
                  </a:cubicBezTo>
                  <a:cubicBezTo>
                    <a:pt x="326" y="152"/>
                    <a:pt x="343" y="188"/>
                    <a:pt x="330" y="221"/>
                  </a:cubicBezTo>
                  <a:cubicBezTo>
                    <a:pt x="75" y="865"/>
                    <a:pt x="75" y="865"/>
                    <a:pt x="75" y="865"/>
                  </a:cubicBezTo>
                  <a:cubicBezTo>
                    <a:pt x="65" y="889"/>
                    <a:pt x="41" y="903"/>
                    <a:pt x="16" y="900"/>
                  </a:cubicBezTo>
                  <a:cubicBezTo>
                    <a:pt x="0" y="898"/>
                    <a:pt x="0" y="898"/>
                    <a:pt x="0" y="898"/>
                  </a:cubicBezTo>
                  <a:cubicBezTo>
                    <a:pt x="224" y="0"/>
                    <a:pt x="224" y="0"/>
                    <a:pt x="224" y="0"/>
                  </a:cubicBezTo>
                  <a:lnTo>
                    <a:pt x="285" y="14"/>
                  </a:lnTo>
                  <a:close/>
                </a:path>
              </a:pathLst>
            </a:custGeom>
            <a:solidFill>
              <a:srgbClr val="424242">
                <a:alpha val="20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67" name="Freeform 45">
              <a:extLst>
                <a:ext uri="{FF2B5EF4-FFF2-40B4-BE49-F238E27FC236}">
                  <a16:creationId xmlns:a16="http://schemas.microsoft.com/office/drawing/2014/main" id="{06F436F2-8642-44F3-BAC5-592561B00DBD}"/>
                </a:ext>
              </a:extLst>
            </p:cNvPr>
            <p:cNvSpPr>
              <a:spLocks noEditPoints="1"/>
            </p:cNvSpPr>
            <p:nvPr/>
          </p:nvSpPr>
          <p:spPr bwMode="auto">
            <a:xfrm>
              <a:off x="6611144" y="3237706"/>
              <a:ext cx="538163" cy="747713"/>
            </a:xfrm>
            <a:custGeom>
              <a:avLst/>
              <a:gdLst>
                <a:gd name="T0" fmla="*/ 305 w 305"/>
                <a:gd name="T1" fmla="*/ 153 h 424"/>
                <a:gd name="T2" fmla="*/ 152 w 305"/>
                <a:gd name="T3" fmla="*/ 0 h 424"/>
                <a:gd name="T4" fmla="*/ 0 w 305"/>
                <a:gd name="T5" fmla="*/ 153 h 424"/>
                <a:gd name="T6" fmla="*/ 74 w 305"/>
                <a:gd name="T7" fmla="*/ 284 h 424"/>
                <a:gd name="T8" fmla="*/ 50 w 305"/>
                <a:gd name="T9" fmla="*/ 395 h 424"/>
                <a:gd name="T10" fmla="*/ 50 w 305"/>
                <a:gd name="T11" fmla="*/ 395 h 424"/>
                <a:gd name="T12" fmla="*/ 50 w 305"/>
                <a:gd name="T13" fmla="*/ 395 h 424"/>
                <a:gd name="T14" fmla="*/ 88 w 305"/>
                <a:gd name="T15" fmla="*/ 419 h 424"/>
                <a:gd name="T16" fmla="*/ 132 w 305"/>
                <a:gd name="T17" fmla="*/ 413 h 424"/>
                <a:gd name="T18" fmla="*/ 132 w 305"/>
                <a:gd name="T19" fmla="*/ 413 h 424"/>
                <a:gd name="T20" fmla="*/ 132 w 305"/>
                <a:gd name="T21" fmla="*/ 413 h 424"/>
                <a:gd name="T22" fmla="*/ 156 w 305"/>
                <a:gd name="T23" fmla="*/ 305 h 424"/>
                <a:gd name="T24" fmla="*/ 305 w 305"/>
                <a:gd name="T25" fmla="*/ 153 h 424"/>
                <a:gd name="T26" fmla="*/ 152 w 305"/>
                <a:gd name="T27" fmla="*/ 229 h 424"/>
                <a:gd name="T28" fmla="*/ 76 w 305"/>
                <a:gd name="T29" fmla="*/ 153 h 424"/>
                <a:gd name="T30" fmla="*/ 152 w 305"/>
                <a:gd name="T31" fmla="*/ 77 h 424"/>
                <a:gd name="T32" fmla="*/ 228 w 305"/>
                <a:gd name="T33" fmla="*/ 153 h 424"/>
                <a:gd name="T34" fmla="*/ 152 w 305"/>
                <a:gd name="T35" fmla="*/ 229 h 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5" h="424">
                  <a:moveTo>
                    <a:pt x="305" y="153"/>
                  </a:moveTo>
                  <a:cubicBezTo>
                    <a:pt x="305" y="68"/>
                    <a:pt x="237" y="0"/>
                    <a:pt x="152" y="0"/>
                  </a:cubicBezTo>
                  <a:cubicBezTo>
                    <a:pt x="68" y="0"/>
                    <a:pt x="0" y="68"/>
                    <a:pt x="0" y="153"/>
                  </a:cubicBezTo>
                  <a:cubicBezTo>
                    <a:pt x="0" y="208"/>
                    <a:pt x="30" y="257"/>
                    <a:pt x="74" y="284"/>
                  </a:cubicBezTo>
                  <a:cubicBezTo>
                    <a:pt x="50" y="395"/>
                    <a:pt x="50" y="395"/>
                    <a:pt x="50" y="395"/>
                  </a:cubicBezTo>
                  <a:cubicBezTo>
                    <a:pt x="50" y="395"/>
                    <a:pt x="50" y="395"/>
                    <a:pt x="50" y="395"/>
                  </a:cubicBezTo>
                  <a:cubicBezTo>
                    <a:pt x="50" y="395"/>
                    <a:pt x="50" y="395"/>
                    <a:pt x="50" y="395"/>
                  </a:cubicBezTo>
                  <a:cubicBezTo>
                    <a:pt x="48" y="403"/>
                    <a:pt x="65" y="414"/>
                    <a:pt x="88" y="419"/>
                  </a:cubicBezTo>
                  <a:cubicBezTo>
                    <a:pt x="111" y="424"/>
                    <a:pt x="131" y="421"/>
                    <a:pt x="132" y="413"/>
                  </a:cubicBezTo>
                  <a:cubicBezTo>
                    <a:pt x="132" y="413"/>
                    <a:pt x="132" y="413"/>
                    <a:pt x="132" y="413"/>
                  </a:cubicBezTo>
                  <a:cubicBezTo>
                    <a:pt x="132" y="413"/>
                    <a:pt x="132" y="413"/>
                    <a:pt x="132" y="413"/>
                  </a:cubicBezTo>
                  <a:cubicBezTo>
                    <a:pt x="156" y="305"/>
                    <a:pt x="156" y="305"/>
                    <a:pt x="156" y="305"/>
                  </a:cubicBezTo>
                  <a:cubicBezTo>
                    <a:pt x="239" y="303"/>
                    <a:pt x="305" y="235"/>
                    <a:pt x="305" y="153"/>
                  </a:cubicBezTo>
                  <a:close/>
                  <a:moveTo>
                    <a:pt x="152" y="229"/>
                  </a:moveTo>
                  <a:cubicBezTo>
                    <a:pt x="110" y="229"/>
                    <a:pt x="76" y="195"/>
                    <a:pt x="76" y="153"/>
                  </a:cubicBezTo>
                  <a:cubicBezTo>
                    <a:pt x="76" y="111"/>
                    <a:pt x="110" y="77"/>
                    <a:pt x="152" y="77"/>
                  </a:cubicBezTo>
                  <a:cubicBezTo>
                    <a:pt x="194" y="77"/>
                    <a:pt x="228" y="111"/>
                    <a:pt x="228" y="153"/>
                  </a:cubicBezTo>
                  <a:cubicBezTo>
                    <a:pt x="228" y="195"/>
                    <a:pt x="194" y="229"/>
                    <a:pt x="152" y="229"/>
                  </a:cubicBezTo>
                  <a:close/>
                </a:path>
              </a:pathLst>
            </a:custGeom>
            <a:solidFill>
              <a:srgbClr val="424242">
                <a:alpha val="20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68" name="Freeform 46">
              <a:extLst>
                <a:ext uri="{FF2B5EF4-FFF2-40B4-BE49-F238E27FC236}">
                  <a16:creationId xmlns:a16="http://schemas.microsoft.com/office/drawing/2014/main" id="{7DB2F2FE-56F6-4713-8705-CDD85199EB72}"/>
                </a:ext>
              </a:extLst>
            </p:cNvPr>
            <p:cNvSpPr>
              <a:spLocks/>
            </p:cNvSpPr>
            <p:nvPr/>
          </p:nvSpPr>
          <p:spPr bwMode="auto">
            <a:xfrm>
              <a:off x="5634831" y="4144169"/>
              <a:ext cx="1497013" cy="842963"/>
            </a:xfrm>
            <a:custGeom>
              <a:avLst/>
              <a:gdLst>
                <a:gd name="T0" fmla="*/ 823 w 849"/>
                <a:gd name="T1" fmla="*/ 22 h 478"/>
                <a:gd name="T2" fmla="*/ 717 w 849"/>
                <a:gd name="T3" fmla="*/ 77 h 478"/>
                <a:gd name="T4" fmla="*/ 697 w 849"/>
                <a:gd name="T5" fmla="*/ 40 h 478"/>
                <a:gd name="T6" fmla="*/ 611 w 849"/>
                <a:gd name="T7" fmla="*/ 19 h 478"/>
                <a:gd name="T8" fmla="*/ 31 w 849"/>
                <a:gd name="T9" fmla="*/ 398 h 478"/>
                <a:gd name="T10" fmla="*/ 9 w 849"/>
                <a:gd name="T11" fmla="*/ 463 h 478"/>
                <a:gd name="T12" fmla="*/ 14 w 849"/>
                <a:gd name="T13" fmla="*/ 478 h 478"/>
                <a:gd name="T14" fmla="*/ 849 w 849"/>
                <a:gd name="T15" fmla="*/ 79 h 478"/>
                <a:gd name="T16" fmla="*/ 823 w 849"/>
                <a:gd name="T17" fmla="*/ 22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9" h="478">
                  <a:moveTo>
                    <a:pt x="823" y="22"/>
                  </a:moveTo>
                  <a:cubicBezTo>
                    <a:pt x="717" y="77"/>
                    <a:pt x="717" y="77"/>
                    <a:pt x="717" y="77"/>
                  </a:cubicBezTo>
                  <a:cubicBezTo>
                    <a:pt x="697" y="40"/>
                    <a:pt x="697" y="40"/>
                    <a:pt x="697" y="40"/>
                  </a:cubicBezTo>
                  <a:cubicBezTo>
                    <a:pt x="680" y="10"/>
                    <a:pt x="641" y="0"/>
                    <a:pt x="611" y="19"/>
                  </a:cubicBezTo>
                  <a:cubicBezTo>
                    <a:pt x="31" y="398"/>
                    <a:pt x="31" y="398"/>
                    <a:pt x="31" y="398"/>
                  </a:cubicBezTo>
                  <a:cubicBezTo>
                    <a:pt x="10" y="412"/>
                    <a:pt x="0" y="438"/>
                    <a:pt x="9" y="463"/>
                  </a:cubicBezTo>
                  <a:cubicBezTo>
                    <a:pt x="14" y="478"/>
                    <a:pt x="14" y="478"/>
                    <a:pt x="14" y="478"/>
                  </a:cubicBezTo>
                  <a:cubicBezTo>
                    <a:pt x="849" y="79"/>
                    <a:pt x="849" y="79"/>
                    <a:pt x="849" y="79"/>
                  </a:cubicBezTo>
                  <a:lnTo>
                    <a:pt x="823" y="22"/>
                  </a:lnTo>
                  <a:close/>
                </a:path>
              </a:pathLst>
            </a:custGeom>
            <a:solidFill>
              <a:srgbClr val="4242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69" name="Oval 47">
              <a:extLst>
                <a:ext uri="{FF2B5EF4-FFF2-40B4-BE49-F238E27FC236}">
                  <a16:creationId xmlns:a16="http://schemas.microsoft.com/office/drawing/2014/main" id="{19718902-5D53-4FF1-B8E8-04EAB413AEE3}"/>
                </a:ext>
              </a:extLst>
            </p:cNvPr>
            <p:cNvSpPr>
              <a:spLocks noChangeArrowheads="1"/>
            </p:cNvSpPr>
            <p:nvPr/>
          </p:nvSpPr>
          <p:spPr bwMode="auto">
            <a:xfrm>
              <a:off x="6711156" y="4255294"/>
              <a:ext cx="119063" cy="119063"/>
            </a:xfrm>
            <a:prstGeom prst="ellipse">
              <a:avLst/>
            </a:prstGeom>
            <a:solidFill>
              <a:srgbClr val="4242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70" name="Freeform 48">
              <a:extLst>
                <a:ext uri="{FF2B5EF4-FFF2-40B4-BE49-F238E27FC236}">
                  <a16:creationId xmlns:a16="http://schemas.microsoft.com/office/drawing/2014/main" id="{D60DE2E3-411C-4FB0-A100-3CDF0CC1B7AC}"/>
                </a:ext>
              </a:extLst>
            </p:cNvPr>
            <p:cNvSpPr>
              <a:spLocks noEditPoints="1"/>
            </p:cNvSpPr>
            <p:nvPr/>
          </p:nvSpPr>
          <p:spPr bwMode="auto">
            <a:xfrm>
              <a:off x="7079456" y="3734594"/>
              <a:ext cx="762000" cy="603250"/>
            </a:xfrm>
            <a:custGeom>
              <a:avLst/>
              <a:gdLst>
                <a:gd name="T0" fmla="*/ 356 w 432"/>
                <a:gd name="T1" fmla="*/ 291 h 342"/>
                <a:gd name="T2" fmla="*/ 380 w 432"/>
                <a:gd name="T3" fmla="*/ 76 h 342"/>
                <a:gd name="T4" fmla="*/ 166 w 432"/>
                <a:gd name="T5" fmla="*/ 52 h 342"/>
                <a:gd name="T6" fmla="*/ 110 w 432"/>
                <a:gd name="T7" fmla="*/ 192 h 342"/>
                <a:gd name="T8" fmla="*/ 8 w 432"/>
                <a:gd name="T9" fmla="*/ 241 h 342"/>
                <a:gd name="T10" fmla="*/ 8 w 432"/>
                <a:gd name="T11" fmla="*/ 241 h 342"/>
                <a:gd name="T12" fmla="*/ 7 w 432"/>
                <a:gd name="T13" fmla="*/ 242 h 342"/>
                <a:gd name="T14" fmla="*/ 12 w 432"/>
                <a:gd name="T15" fmla="*/ 286 h 342"/>
                <a:gd name="T16" fmla="*/ 44 w 432"/>
                <a:gd name="T17" fmla="*/ 318 h 342"/>
                <a:gd name="T18" fmla="*/ 45 w 432"/>
                <a:gd name="T19" fmla="*/ 317 h 342"/>
                <a:gd name="T20" fmla="*/ 45 w 432"/>
                <a:gd name="T21" fmla="*/ 317 h 342"/>
                <a:gd name="T22" fmla="*/ 144 w 432"/>
                <a:gd name="T23" fmla="*/ 269 h 342"/>
                <a:gd name="T24" fmla="*/ 356 w 432"/>
                <a:gd name="T25" fmla="*/ 291 h 342"/>
                <a:gd name="T26" fmla="*/ 201 w 432"/>
                <a:gd name="T27" fmla="*/ 219 h 342"/>
                <a:gd name="T28" fmla="*/ 213 w 432"/>
                <a:gd name="T29" fmla="*/ 112 h 342"/>
                <a:gd name="T30" fmla="*/ 320 w 432"/>
                <a:gd name="T31" fmla="*/ 124 h 342"/>
                <a:gd name="T32" fmla="*/ 308 w 432"/>
                <a:gd name="T33" fmla="*/ 231 h 342"/>
                <a:gd name="T34" fmla="*/ 201 w 432"/>
                <a:gd name="T35" fmla="*/ 21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32" h="342">
                  <a:moveTo>
                    <a:pt x="356" y="291"/>
                  </a:moveTo>
                  <a:cubicBezTo>
                    <a:pt x="421" y="238"/>
                    <a:pt x="432" y="142"/>
                    <a:pt x="380" y="76"/>
                  </a:cubicBezTo>
                  <a:cubicBezTo>
                    <a:pt x="328" y="11"/>
                    <a:pt x="232" y="0"/>
                    <a:pt x="166" y="52"/>
                  </a:cubicBezTo>
                  <a:cubicBezTo>
                    <a:pt x="122" y="87"/>
                    <a:pt x="103" y="140"/>
                    <a:pt x="110" y="192"/>
                  </a:cubicBezTo>
                  <a:cubicBezTo>
                    <a:pt x="8" y="241"/>
                    <a:pt x="8" y="241"/>
                    <a:pt x="8" y="241"/>
                  </a:cubicBezTo>
                  <a:cubicBezTo>
                    <a:pt x="8" y="241"/>
                    <a:pt x="8" y="241"/>
                    <a:pt x="8" y="241"/>
                  </a:cubicBezTo>
                  <a:cubicBezTo>
                    <a:pt x="8" y="242"/>
                    <a:pt x="7" y="242"/>
                    <a:pt x="7" y="242"/>
                  </a:cubicBezTo>
                  <a:cubicBezTo>
                    <a:pt x="0" y="245"/>
                    <a:pt x="2" y="265"/>
                    <a:pt x="12" y="286"/>
                  </a:cubicBezTo>
                  <a:cubicBezTo>
                    <a:pt x="22" y="307"/>
                    <a:pt x="37" y="321"/>
                    <a:pt x="44" y="318"/>
                  </a:cubicBezTo>
                  <a:cubicBezTo>
                    <a:pt x="45" y="318"/>
                    <a:pt x="45" y="317"/>
                    <a:pt x="45" y="317"/>
                  </a:cubicBezTo>
                  <a:cubicBezTo>
                    <a:pt x="45" y="317"/>
                    <a:pt x="45" y="317"/>
                    <a:pt x="45" y="317"/>
                  </a:cubicBezTo>
                  <a:cubicBezTo>
                    <a:pt x="144" y="269"/>
                    <a:pt x="144" y="269"/>
                    <a:pt x="144" y="269"/>
                  </a:cubicBezTo>
                  <a:cubicBezTo>
                    <a:pt x="197" y="332"/>
                    <a:pt x="291" y="342"/>
                    <a:pt x="356" y="291"/>
                  </a:cubicBezTo>
                  <a:close/>
                  <a:moveTo>
                    <a:pt x="201" y="219"/>
                  </a:moveTo>
                  <a:cubicBezTo>
                    <a:pt x="175" y="186"/>
                    <a:pt x="181" y="138"/>
                    <a:pt x="213" y="112"/>
                  </a:cubicBezTo>
                  <a:cubicBezTo>
                    <a:pt x="246" y="86"/>
                    <a:pt x="294" y="91"/>
                    <a:pt x="320" y="124"/>
                  </a:cubicBezTo>
                  <a:cubicBezTo>
                    <a:pt x="346" y="157"/>
                    <a:pt x="341" y="205"/>
                    <a:pt x="308" y="231"/>
                  </a:cubicBezTo>
                  <a:cubicBezTo>
                    <a:pt x="275" y="257"/>
                    <a:pt x="227" y="251"/>
                    <a:pt x="201" y="219"/>
                  </a:cubicBezTo>
                  <a:close/>
                </a:path>
              </a:pathLst>
            </a:custGeom>
            <a:solidFill>
              <a:srgbClr val="424242">
                <a:alpha val="20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71" name="Freeform 49">
              <a:extLst>
                <a:ext uri="{FF2B5EF4-FFF2-40B4-BE49-F238E27FC236}">
                  <a16:creationId xmlns:a16="http://schemas.microsoft.com/office/drawing/2014/main" id="{A3A42B01-FA46-404F-98CA-8194965B0D31}"/>
                </a:ext>
              </a:extLst>
            </p:cNvPr>
            <p:cNvSpPr>
              <a:spLocks/>
            </p:cNvSpPr>
            <p:nvPr/>
          </p:nvSpPr>
          <p:spPr bwMode="auto">
            <a:xfrm>
              <a:off x="6352381" y="3913981"/>
              <a:ext cx="604838" cy="1592263"/>
            </a:xfrm>
            <a:custGeom>
              <a:avLst/>
              <a:gdLst>
                <a:gd name="T0" fmla="*/ 285 w 343"/>
                <a:gd name="T1" fmla="*/ 14 h 903"/>
                <a:gd name="T2" fmla="*/ 252 w 343"/>
                <a:gd name="T3" fmla="*/ 129 h 903"/>
                <a:gd name="T4" fmla="*/ 292 w 343"/>
                <a:gd name="T5" fmla="*/ 141 h 903"/>
                <a:gd name="T6" fmla="*/ 330 w 343"/>
                <a:gd name="T7" fmla="*/ 221 h 903"/>
                <a:gd name="T8" fmla="*/ 75 w 343"/>
                <a:gd name="T9" fmla="*/ 865 h 903"/>
                <a:gd name="T10" fmla="*/ 16 w 343"/>
                <a:gd name="T11" fmla="*/ 900 h 903"/>
                <a:gd name="T12" fmla="*/ 0 w 343"/>
                <a:gd name="T13" fmla="*/ 898 h 903"/>
                <a:gd name="T14" fmla="*/ 224 w 343"/>
                <a:gd name="T15" fmla="*/ 0 h 903"/>
                <a:gd name="T16" fmla="*/ 285 w 343"/>
                <a:gd name="T17" fmla="*/ 14 h 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3" h="903">
                  <a:moveTo>
                    <a:pt x="285" y="14"/>
                  </a:moveTo>
                  <a:cubicBezTo>
                    <a:pt x="252" y="129"/>
                    <a:pt x="252" y="129"/>
                    <a:pt x="252" y="129"/>
                  </a:cubicBezTo>
                  <a:cubicBezTo>
                    <a:pt x="292" y="141"/>
                    <a:pt x="292" y="141"/>
                    <a:pt x="292" y="141"/>
                  </a:cubicBezTo>
                  <a:cubicBezTo>
                    <a:pt x="326" y="152"/>
                    <a:pt x="343" y="188"/>
                    <a:pt x="330" y="221"/>
                  </a:cubicBezTo>
                  <a:cubicBezTo>
                    <a:pt x="75" y="865"/>
                    <a:pt x="75" y="865"/>
                    <a:pt x="75" y="865"/>
                  </a:cubicBezTo>
                  <a:cubicBezTo>
                    <a:pt x="65" y="889"/>
                    <a:pt x="41" y="903"/>
                    <a:pt x="16" y="900"/>
                  </a:cubicBezTo>
                  <a:cubicBezTo>
                    <a:pt x="0" y="898"/>
                    <a:pt x="0" y="898"/>
                    <a:pt x="0" y="898"/>
                  </a:cubicBezTo>
                  <a:cubicBezTo>
                    <a:pt x="224" y="0"/>
                    <a:pt x="224" y="0"/>
                    <a:pt x="224" y="0"/>
                  </a:cubicBezTo>
                  <a:lnTo>
                    <a:pt x="285" y="14"/>
                  </a:lnTo>
                  <a:close/>
                </a:path>
              </a:pathLst>
            </a:custGeom>
            <a:solidFill>
              <a:srgbClr val="ACA5A5"/>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72" name="Freeform 50">
              <a:extLst>
                <a:ext uri="{FF2B5EF4-FFF2-40B4-BE49-F238E27FC236}">
                  <a16:creationId xmlns:a16="http://schemas.microsoft.com/office/drawing/2014/main" id="{0BF1A98E-1AC7-48CD-9C66-2E3393D49E30}"/>
                </a:ext>
              </a:extLst>
            </p:cNvPr>
            <p:cNvSpPr>
              <a:spLocks noEditPoints="1"/>
            </p:cNvSpPr>
            <p:nvPr/>
          </p:nvSpPr>
          <p:spPr bwMode="auto">
            <a:xfrm>
              <a:off x="6646069" y="3202781"/>
              <a:ext cx="538163" cy="747713"/>
            </a:xfrm>
            <a:custGeom>
              <a:avLst/>
              <a:gdLst>
                <a:gd name="T0" fmla="*/ 305 w 305"/>
                <a:gd name="T1" fmla="*/ 153 h 424"/>
                <a:gd name="T2" fmla="*/ 152 w 305"/>
                <a:gd name="T3" fmla="*/ 0 h 424"/>
                <a:gd name="T4" fmla="*/ 0 w 305"/>
                <a:gd name="T5" fmla="*/ 153 h 424"/>
                <a:gd name="T6" fmla="*/ 74 w 305"/>
                <a:gd name="T7" fmla="*/ 284 h 424"/>
                <a:gd name="T8" fmla="*/ 50 w 305"/>
                <a:gd name="T9" fmla="*/ 395 h 424"/>
                <a:gd name="T10" fmla="*/ 50 w 305"/>
                <a:gd name="T11" fmla="*/ 395 h 424"/>
                <a:gd name="T12" fmla="*/ 50 w 305"/>
                <a:gd name="T13" fmla="*/ 395 h 424"/>
                <a:gd name="T14" fmla="*/ 88 w 305"/>
                <a:gd name="T15" fmla="*/ 419 h 424"/>
                <a:gd name="T16" fmla="*/ 132 w 305"/>
                <a:gd name="T17" fmla="*/ 413 h 424"/>
                <a:gd name="T18" fmla="*/ 132 w 305"/>
                <a:gd name="T19" fmla="*/ 413 h 424"/>
                <a:gd name="T20" fmla="*/ 132 w 305"/>
                <a:gd name="T21" fmla="*/ 413 h 424"/>
                <a:gd name="T22" fmla="*/ 156 w 305"/>
                <a:gd name="T23" fmla="*/ 305 h 424"/>
                <a:gd name="T24" fmla="*/ 305 w 305"/>
                <a:gd name="T25" fmla="*/ 153 h 424"/>
                <a:gd name="T26" fmla="*/ 152 w 305"/>
                <a:gd name="T27" fmla="*/ 229 h 424"/>
                <a:gd name="T28" fmla="*/ 76 w 305"/>
                <a:gd name="T29" fmla="*/ 153 h 424"/>
                <a:gd name="T30" fmla="*/ 152 w 305"/>
                <a:gd name="T31" fmla="*/ 77 h 424"/>
                <a:gd name="T32" fmla="*/ 228 w 305"/>
                <a:gd name="T33" fmla="*/ 153 h 424"/>
                <a:gd name="T34" fmla="*/ 152 w 305"/>
                <a:gd name="T35" fmla="*/ 229 h 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5" h="424">
                  <a:moveTo>
                    <a:pt x="305" y="153"/>
                  </a:moveTo>
                  <a:cubicBezTo>
                    <a:pt x="305" y="68"/>
                    <a:pt x="237" y="0"/>
                    <a:pt x="152" y="0"/>
                  </a:cubicBezTo>
                  <a:cubicBezTo>
                    <a:pt x="68" y="0"/>
                    <a:pt x="0" y="68"/>
                    <a:pt x="0" y="153"/>
                  </a:cubicBezTo>
                  <a:cubicBezTo>
                    <a:pt x="0" y="208"/>
                    <a:pt x="30" y="257"/>
                    <a:pt x="74" y="284"/>
                  </a:cubicBezTo>
                  <a:cubicBezTo>
                    <a:pt x="50" y="395"/>
                    <a:pt x="50" y="395"/>
                    <a:pt x="50" y="395"/>
                  </a:cubicBezTo>
                  <a:cubicBezTo>
                    <a:pt x="50" y="395"/>
                    <a:pt x="50" y="395"/>
                    <a:pt x="50" y="395"/>
                  </a:cubicBezTo>
                  <a:cubicBezTo>
                    <a:pt x="50" y="395"/>
                    <a:pt x="50" y="395"/>
                    <a:pt x="50" y="395"/>
                  </a:cubicBezTo>
                  <a:cubicBezTo>
                    <a:pt x="48" y="403"/>
                    <a:pt x="65" y="414"/>
                    <a:pt x="88" y="419"/>
                  </a:cubicBezTo>
                  <a:cubicBezTo>
                    <a:pt x="111" y="424"/>
                    <a:pt x="131" y="421"/>
                    <a:pt x="132" y="413"/>
                  </a:cubicBezTo>
                  <a:cubicBezTo>
                    <a:pt x="132" y="413"/>
                    <a:pt x="132" y="413"/>
                    <a:pt x="132" y="413"/>
                  </a:cubicBezTo>
                  <a:cubicBezTo>
                    <a:pt x="132" y="413"/>
                    <a:pt x="132" y="413"/>
                    <a:pt x="132" y="413"/>
                  </a:cubicBezTo>
                  <a:cubicBezTo>
                    <a:pt x="156" y="305"/>
                    <a:pt x="156" y="305"/>
                    <a:pt x="156" y="305"/>
                  </a:cubicBezTo>
                  <a:cubicBezTo>
                    <a:pt x="239" y="303"/>
                    <a:pt x="305" y="235"/>
                    <a:pt x="305" y="153"/>
                  </a:cubicBezTo>
                  <a:close/>
                  <a:moveTo>
                    <a:pt x="152" y="229"/>
                  </a:moveTo>
                  <a:cubicBezTo>
                    <a:pt x="110" y="229"/>
                    <a:pt x="76" y="195"/>
                    <a:pt x="76" y="153"/>
                  </a:cubicBezTo>
                  <a:cubicBezTo>
                    <a:pt x="76" y="111"/>
                    <a:pt x="110" y="77"/>
                    <a:pt x="152" y="77"/>
                  </a:cubicBezTo>
                  <a:cubicBezTo>
                    <a:pt x="194" y="77"/>
                    <a:pt x="228" y="111"/>
                    <a:pt x="228" y="153"/>
                  </a:cubicBezTo>
                  <a:cubicBezTo>
                    <a:pt x="228" y="195"/>
                    <a:pt x="194" y="229"/>
                    <a:pt x="152" y="229"/>
                  </a:cubicBezTo>
                  <a:close/>
                </a:path>
              </a:pathLst>
            </a:custGeom>
            <a:solidFill>
              <a:srgbClr val="194A76"/>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73" name="Freeform 51">
              <a:extLst>
                <a:ext uri="{FF2B5EF4-FFF2-40B4-BE49-F238E27FC236}">
                  <a16:creationId xmlns:a16="http://schemas.microsoft.com/office/drawing/2014/main" id="{B2B566EB-8C81-417D-8B61-B470A3B01C34}"/>
                </a:ext>
              </a:extLst>
            </p:cNvPr>
            <p:cNvSpPr>
              <a:spLocks/>
            </p:cNvSpPr>
            <p:nvPr/>
          </p:nvSpPr>
          <p:spPr bwMode="auto">
            <a:xfrm>
              <a:off x="5669756" y="4107656"/>
              <a:ext cx="1497013" cy="842963"/>
            </a:xfrm>
            <a:custGeom>
              <a:avLst/>
              <a:gdLst>
                <a:gd name="T0" fmla="*/ 823 w 849"/>
                <a:gd name="T1" fmla="*/ 22 h 478"/>
                <a:gd name="T2" fmla="*/ 717 w 849"/>
                <a:gd name="T3" fmla="*/ 77 h 478"/>
                <a:gd name="T4" fmla="*/ 697 w 849"/>
                <a:gd name="T5" fmla="*/ 40 h 478"/>
                <a:gd name="T6" fmla="*/ 611 w 849"/>
                <a:gd name="T7" fmla="*/ 19 h 478"/>
                <a:gd name="T8" fmla="*/ 31 w 849"/>
                <a:gd name="T9" fmla="*/ 398 h 478"/>
                <a:gd name="T10" fmla="*/ 9 w 849"/>
                <a:gd name="T11" fmla="*/ 463 h 478"/>
                <a:gd name="T12" fmla="*/ 14 w 849"/>
                <a:gd name="T13" fmla="*/ 478 h 478"/>
                <a:gd name="T14" fmla="*/ 849 w 849"/>
                <a:gd name="T15" fmla="*/ 79 h 478"/>
                <a:gd name="T16" fmla="*/ 823 w 849"/>
                <a:gd name="T17" fmla="*/ 22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9" h="478">
                  <a:moveTo>
                    <a:pt x="823" y="22"/>
                  </a:moveTo>
                  <a:cubicBezTo>
                    <a:pt x="717" y="77"/>
                    <a:pt x="717" y="77"/>
                    <a:pt x="717" y="77"/>
                  </a:cubicBezTo>
                  <a:cubicBezTo>
                    <a:pt x="697" y="40"/>
                    <a:pt x="697" y="40"/>
                    <a:pt x="697" y="40"/>
                  </a:cubicBezTo>
                  <a:cubicBezTo>
                    <a:pt x="680" y="10"/>
                    <a:pt x="641" y="0"/>
                    <a:pt x="611" y="19"/>
                  </a:cubicBezTo>
                  <a:cubicBezTo>
                    <a:pt x="31" y="398"/>
                    <a:pt x="31" y="398"/>
                    <a:pt x="31" y="398"/>
                  </a:cubicBezTo>
                  <a:cubicBezTo>
                    <a:pt x="10" y="412"/>
                    <a:pt x="0" y="438"/>
                    <a:pt x="9" y="463"/>
                  </a:cubicBezTo>
                  <a:cubicBezTo>
                    <a:pt x="14" y="478"/>
                    <a:pt x="14" y="478"/>
                    <a:pt x="14" y="478"/>
                  </a:cubicBezTo>
                  <a:cubicBezTo>
                    <a:pt x="849" y="79"/>
                    <a:pt x="849" y="79"/>
                    <a:pt x="849" y="79"/>
                  </a:cubicBezTo>
                  <a:lnTo>
                    <a:pt x="823" y="22"/>
                  </a:lnTo>
                  <a:close/>
                </a:path>
              </a:pathLst>
            </a:custGeom>
            <a:solidFill>
              <a:srgbClr val="DDD0D5"/>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74" name="Oval 52">
              <a:extLst>
                <a:ext uri="{FF2B5EF4-FFF2-40B4-BE49-F238E27FC236}">
                  <a16:creationId xmlns:a16="http://schemas.microsoft.com/office/drawing/2014/main" id="{CF8A5320-AFC6-4E3B-9A79-F71F5510B86E}"/>
                </a:ext>
              </a:extLst>
            </p:cNvPr>
            <p:cNvSpPr>
              <a:spLocks noChangeArrowheads="1"/>
            </p:cNvSpPr>
            <p:nvPr/>
          </p:nvSpPr>
          <p:spPr bwMode="auto">
            <a:xfrm>
              <a:off x="6746081" y="4218781"/>
              <a:ext cx="119063" cy="120650"/>
            </a:xfrm>
            <a:prstGeom prst="ellipse">
              <a:avLst/>
            </a:prstGeom>
            <a:solidFill>
              <a:srgbClr val="AC9FA9"/>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75" name="Freeform 53">
              <a:extLst>
                <a:ext uri="{FF2B5EF4-FFF2-40B4-BE49-F238E27FC236}">
                  <a16:creationId xmlns:a16="http://schemas.microsoft.com/office/drawing/2014/main" id="{B7FBDDF1-2BD7-4051-ACB3-742A38413A18}"/>
                </a:ext>
              </a:extLst>
            </p:cNvPr>
            <p:cNvSpPr>
              <a:spLocks noEditPoints="1"/>
            </p:cNvSpPr>
            <p:nvPr/>
          </p:nvSpPr>
          <p:spPr bwMode="auto">
            <a:xfrm>
              <a:off x="7115969" y="3699669"/>
              <a:ext cx="760413" cy="603250"/>
            </a:xfrm>
            <a:custGeom>
              <a:avLst/>
              <a:gdLst>
                <a:gd name="T0" fmla="*/ 356 w 432"/>
                <a:gd name="T1" fmla="*/ 291 h 342"/>
                <a:gd name="T2" fmla="*/ 380 w 432"/>
                <a:gd name="T3" fmla="*/ 76 h 342"/>
                <a:gd name="T4" fmla="*/ 166 w 432"/>
                <a:gd name="T5" fmla="*/ 52 h 342"/>
                <a:gd name="T6" fmla="*/ 110 w 432"/>
                <a:gd name="T7" fmla="*/ 192 h 342"/>
                <a:gd name="T8" fmla="*/ 8 w 432"/>
                <a:gd name="T9" fmla="*/ 241 h 342"/>
                <a:gd name="T10" fmla="*/ 8 w 432"/>
                <a:gd name="T11" fmla="*/ 241 h 342"/>
                <a:gd name="T12" fmla="*/ 7 w 432"/>
                <a:gd name="T13" fmla="*/ 242 h 342"/>
                <a:gd name="T14" fmla="*/ 12 w 432"/>
                <a:gd name="T15" fmla="*/ 286 h 342"/>
                <a:gd name="T16" fmla="*/ 44 w 432"/>
                <a:gd name="T17" fmla="*/ 318 h 342"/>
                <a:gd name="T18" fmla="*/ 45 w 432"/>
                <a:gd name="T19" fmla="*/ 317 h 342"/>
                <a:gd name="T20" fmla="*/ 45 w 432"/>
                <a:gd name="T21" fmla="*/ 317 h 342"/>
                <a:gd name="T22" fmla="*/ 144 w 432"/>
                <a:gd name="T23" fmla="*/ 269 h 342"/>
                <a:gd name="T24" fmla="*/ 356 w 432"/>
                <a:gd name="T25" fmla="*/ 291 h 342"/>
                <a:gd name="T26" fmla="*/ 201 w 432"/>
                <a:gd name="T27" fmla="*/ 219 h 342"/>
                <a:gd name="T28" fmla="*/ 213 w 432"/>
                <a:gd name="T29" fmla="*/ 112 h 342"/>
                <a:gd name="T30" fmla="*/ 320 w 432"/>
                <a:gd name="T31" fmla="*/ 124 h 342"/>
                <a:gd name="T32" fmla="*/ 308 w 432"/>
                <a:gd name="T33" fmla="*/ 231 h 342"/>
                <a:gd name="T34" fmla="*/ 201 w 432"/>
                <a:gd name="T35" fmla="*/ 21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32" h="342">
                  <a:moveTo>
                    <a:pt x="356" y="291"/>
                  </a:moveTo>
                  <a:cubicBezTo>
                    <a:pt x="421" y="238"/>
                    <a:pt x="432" y="142"/>
                    <a:pt x="380" y="76"/>
                  </a:cubicBezTo>
                  <a:cubicBezTo>
                    <a:pt x="328" y="11"/>
                    <a:pt x="232" y="0"/>
                    <a:pt x="166" y="52"/>
                  </a:cubicBezTo>
                  <a:cubicBezTo>
                    <a:pt x="122" y="87"/>
                    <a:pt x="103" y="140"/>
                    <a:pt x="110" y="192"/>
                  </a:cubicBezTo>
                  <a:cubicBezTo>
                    <a:pt x="8" y="241"/>
                    <a:pt x="8" y="241"/>
                    <a:pt x="8" y="241"/>
                  </a:cubicBezTo>
                  <a:cubicBezTo>
                    <a:pt x="8" y="241"/>
                    <a:pt x="8" y="241"/>
                    <a:pt x="8" y="241"/>
                  </a:cubicBezTo>
                  <a:cubicBezTo>
                    <a:pt x="8" y="242"/>
                    <a:pt x="7" y="242"/>
                    <a:pt x="7" y="242"/>
                  </a:cubicBezTo>
                  <a:cubicBezTo>
                    <a:pt x="0" y="245"/>
                    <a:pt x="2" y="265"/>
                    <a:pt x="12" y="286"/>
                  </a:cubicBezTo>
                  <a:cubicBezTo>
                    <a:pt x="22" y="307"/>
                    <a:pt x="37" y="321"/>
                    <a:pt x="44" y="318"/>
                  </a:cubicBezTo>
                  <a:cubicBezTo>
                    <a:pt x="45" y="318"/>
                    <a:pt x="45" y="317"/>
                    <a:pt x="45" y="317"/>
                  </a:cubicBezTo>
                  <a:cubicBezTo>
                    <a:pt x="45" y="317"/>
                    <a:pt x="45" y="317"/>
                    <a:pt x="45" y="317"/>
                  </a:cubicBezTo>
                  <a:cubicBezTo>
                    <a:pt x="144" y="269"/>
                    <a:pt x="144" y="269"/>
                    <a:pt x="144" y="269"/>
                  </a:cubicBezTo>
                  <a:cubicBezTo>
                    <a:pt x="197" y="332"/>
                    <a:pt x="291" y="342"/>
                    <a:pt x="356" y="291"/>
                  </a:cubicBezTo>
                  <a:close/>
                  <a:moveTo>
                    <a:pt x="201" y="219"/>
                  </a:moveTo>
                  <a:cubicBezTo>
                    <a:pt x="175" y="186"/>
                    <a:pt x="181" y="138"/>
                    <a:pt x="213" y="112"/>
                  </a:cubicBezTo>
                  <a:cubicBezTo>
                    <a:pt x="246" y="86"/>
                    <a:pt x="294" y="91"/>
                    <a:pt x="320" y="124"/>
                  </a:cubicBezTo>
                  <a:cubicBezTo>
                    <a:pt x="346" y="157"/>
                    <a:pt x="341" y="205"/>
                    <a:pt x="308" y="231"/>
                  </a:cubicBezTo>
                  <a:cubicBezTo>
                    <a:pt x="275" y="257"/>
                    <a:pt x="227" y="251"/>
                    <a:pt x="201" y="219"/>
                  </a:cubicBezTo>
                  <a:close/>
                </a:path>
              </a:pathLst>
            </a:custGeom>
            <a:solidFill>
              <a:srgbClr val="3461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grpSp>
      <p:sp>
        <p:nvSpPr>
          <p:cNvPr id="61" name="文本框 60">
            <a:extLst>
              <a:ext uri="{FF2B5EF4-FFF2-40B4-BE49-F238E27FC236}">
                <a16:creationId xmlns:a16="http://schemas.microsoft.com/office/drawing/2014/main" id="{438E2859-DF9F-4A8F-893A-1CF56CC47736}"/>
              </a:ext>
            </a:extLst>
          </p:cNvPr>
          <p:cNvSpPr txBox="1"/>
          <p:nvPr/>
        </p:nvSpPr>
        <p:spPr>
          <a:xfrm>
            <a:off x="669924" y="4181393"/>
            <a:ext cx="7588572" cy="1200329"/>
          </a:xfrm>
          <a:prstGeom prst="rect">
            <a:avLst/>
          </a:prstGeom>
          <a:noFill/>
        </p:spPr>
        <p:txBody>
          <a:bodyPr wrap="square" rtlCol="0">
            <a:spAutoFit/>
          </a:bodyPr>
          <a:lstStyle/>
          <a:p>
            <a:pPr algn="l"/>
            <a:r>
              <a:rPr lang="zh-CN" altLang="en-US" b="0" i="0" dirty="0">
                <a:solidFill>
                  <a:srgbClr val="0D0016"/>
                </a:solidFill>
                <a:effectLst/>
                <a:latin typeface="PingFang SC"/>
              </a:rPr>
              <a:t> </a:t>
            </a:r>
            <a:r>
              <a:rPr lang="en-US" altLang="zh-CN" b="0" i="0" dirty="0">
                <a:solidFill>
                  <a:srgbClr val="0D0016"/>
                </a:solidFill>
                <a:effectLst/>
                <a:latin typeface="PingFang SC"/>
              </a:rPr>
              <a:t>6</a:t>
            </a:r>
            <a:r>
              <a:rPr lang="zh-CN" altLang="en-US" b="0" i="0" dirty="0">
                <a:solidFill>
                  <a:srgbClr val="0D0016"/>
                </a:solidFill>
                <a:effectLst/>
                <a:latin typeface="PingFang SC"/>
              </a:rPr>
              <a:t>、依赖（</a:t>
            </a:r>
            <a:r>
              <a:rPr lang="en-US" altLang="zh-CN" b="0" i="0" dirty="0">
                <a:solidFill>
                  <a:srgbClr val="0D0016"/>
                </a:solidFill>
                <a:effectLst/>
                <a:latin typeface="PingFang SC"/>
              </a:rPr>
              <a:t>Dependency)</a:t>
            </a:r>
            <a:endParaRPr lang="zh-CN" altLang="en-US" b="1" i="0" dirty="0">
              <a:solidFill>
                <a:srgbClr val="4F4F4F"/>
              </a:solidFill>
              <a:effectLst/>
              <a:latin typeface="PingFang SC"/>
            </a:endParaRPr>
          </a:p>
          <a:p>
            <a:pPr algn="l"/>
            <a:r>
              <a:rPr lang="zh-CN" altLang="en-US" b="0" i="0" dirty="0">
                <a:solidFill>
                  <a:srgbClr val="0D0016"/>
                </a:solidFill>
                <a:effectLst/>
                <a:latin typeface="-apple-system"/>
              </a:rPr>
              <a:t>        依赖即一个类的实现需要其他类的协助，通常代码表现为方法参数，局部变量，静态方法调用，</a:t>
            </a:r>
            <a:r>
              <a:rPr lang="en-US" altLang="zh-CN" b="0" i="0" dirty="0">
                <a:solidFill>
                  <a:srgbClr val="0D0016"/>
                </a:solidFill>
                <a:effectLst/>
                <a:latin typeface="-apple-system"/>
              </a:rPr>
              <a:t>util</a:t>
            </a:r>
            <a:r>
              <a:rPr lang="zh-CN" altLang="en-US" b="0" i="0" dirty="0">
                <a:solidFill>
                  <a:srgbClr val="0D0016"/>
                </a:solidFill>
                <a:effectLst/>
                <a:latin typeface="-apple-system"/>
              </a:rPr>
              <a:t>类调用，</a:t>
            </a:r>
            <a:r>
              <a:rPr lang="en-US" altLang="zh-CN" b="0" i="0" dirty="0" err="1">
                <a:solidFill>
                  <a:srgbClr val="FE2C24"/>
                </a:solidFill>
                <a:effectLst/>
                <a:latin typeface="-apple-system"/>
              </a:rPr>
              <a:t>uml</a:t>
            </a:r>
            <a:r>
              <a:rPr lang="zh-CN" altLang="en-US" b="0" i="0" dirty="0">
                <a:solidFill>
                  <a:srgbClr val="FE2C24"/>
                </a:solidFill>
                <a:effectLst/>
                <a:latin typeface="-apple-system"/>
              </a:rPr>
              <a:t>中使用一条箭头的虚线，从依赖方指向被依赖的类</a:t>
            </a:r>
            <a:endParaRPr lang="zh-CN" altLang="en-US" b="0" i="0" dirty="0">
              <a:solidFill>
                <a:srgbClr val="4D4D4D"/>
              </a:solidFill>
              <a:effectLst/>
              <a:latin typeface="-apple-system"/>
            </a:endParaRPr>
          </a:p>
        </p:txBody>
      </p:sp>
    </p:spTree>
    <p:custDataLst>
      <p:tags r:id="rId1"/>
    </p:custDataLst>
    <p:extLst>
      <p:ext uri="{BB962C8B-B14F-4D97-AF65-F5344CB8AC3E}">
        <p14:creationId xmlns:p14="http://schemas.microsoft.com/office/powerpoint/2010/main" val="3831898783"/>
      </p:ext>
    </p:extLst>
  </p:cSld>
  <p:clrMapOvr>
    <a:masterClrMapping/>
  </p:clrMapOvr>
  <mc:AlternateContent xmlns:mc="http://schemas.openxmlformats.org/markup-compatibility/2006">
    <mc:Choice xmlns:p14="http://schemas.microsoft.com/office/powerpoint/2010/main" Requires="p14">
      <p:transition spd="slow" p14:dur="1250">
        <p:blinds dir="vert"/>
      </p:transition>
    </mc:Choice>
    <mc:Fallback>
      <p:transition spd="slow">
        <p:blinds dir="vert"/>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a:xfrm>
            <a:off x="7803909" y="2171807"/>
            <a:ext cx="5002454" cy="895350"/>
          </a:xfrm>
        </p:spPr>
        <p:txBody>
          <a:bodyPr>
            <a:normAutofit/>
          </a:bodyPr>
          <a:lstStyle/>
          <a:p>
            <a:r>
              <a:rPr lang="zh-CN" altLang="en-US" sz="4400" dirty="0"/>
              <a:t>状态图</a:t>
            </a:r>
          </a:p>
        </p:txBody>
      </p:sp>
      <p:sp>
        <p:nvSpPr>
          <p:cNvPr id="6" name="文本占位符 5"/>
          <p:cNvSpPr>
            <a:spLocks noGrp="1"/>
          </p:cNvSpPr>
          <p:nvPr>
            <p:ph type="body" idx="1"/>
          </p:nvPr>
        </p:nvSpPr>
        <p:spPr/>
        <p:txBody>
          <a:bodyPr>
            <a:normAutofit/>
          </a:bodyPr>
          <a:lstStyle/>
          <a:p>
            <a:pPr lvl="0"/>
            <a:r>
              <a:rPr lang="zh-CN" altLang="en-US" sz="1400" dirty="0"/>
              <a:t>状态图是一种行为图。</a:t>
            </a:r>
            <a:endParaRPr lang="en-US" altLang="zh-CN" sz="1400" dirty="0"/>
          </a:p>
          <a:p>
            <a:pPr lvl="0"/>
            <a:r>
              <a:rPr lang="zh-CN" altLang="en-US" sz="1400" dirty="0"/>
              <a:t>描述一个特定对象的所有可能的状态以及引起状态转换的事件</a:t>
            </a:r>
          </a:p>
        </p:txBody>
      </p:sp>
      <p:sp>
        <p:nvSpPr>
          <p:cNvPr id="9" name="文本框 8">
            <a:extLst>
              <a:ext uri="{FF2B5EF4-FFF2-40B4-BE49-F238E27FC236}">
                <a16:creationId xmlns:a16="http://schemas.microsoft.com/office/drawing/2014/main" id="{04F69230-F3A6-4586-9371-A858F4763E9F}"/>
              </a:ext>
            </a:extLst>
          </p:cNvPr>
          <p:cNvSpPr txBox="1"/>
          <p:nvPr/>
        </p:nvSpPr>
        <p:spPr>
          <a:xfrm>
            <a:off x="6632714" y="2171808"/>
            <a:ext cx="1171195" cy="895349"/>
          </a:xfrm>
          <a:prstGeom prst="rect">
            <a:avLst/>
          </a:prstGeom>
          <a:noFill/>
          <a:ln w="117475">
            <a:noFill/>
          </a:ln>
        </p:spPr>
        <p:txBody>
          <a:bodyPr wrap="none" rtlCol="0">
            <a:prstTxWarp prst="textPlain">
              <a:avLst/>
            </a:prstTxWarp>
            <a:spAutoFit/>
          </a:bodyPr>
          <a:lstStyle/>
          <a:p>
            <a:r>
              <a:rPr lang="en-US" altLang="zh-CN" spc="100" dirty="0">
                <a:solidFill>
                  <a:schemeClr val="accent1"/>
                </a:solidFill>
                <a:latin typeface="Impact" panose="020B0806030902050204" pitchFamily="34" charset="0"/>
                <a:cs typeface="Arial" panose="020B0604020202020204" pitchFamily="34" charset="0"/>
              </a:rPr>
              <a:t>/1-3</a:t>
            </a:r>
            <a:endParaRPr lang="zh-CN" altLang="en-US" spc="100" dirty="0">
              <a:solidFill>
                <a:schemeClr val="accent1"/>
              </a:solidFill>
              <a:latin typeface="Impact" panose="020B0806030902050204" pitchFamily="34" charset="0"/>
              <a:cs typeface="Arial" panose="020B0604020202020204" pitchFamily="34" charset="0"/>
            </a:endParaRPr>
          </a:p>
        </p:txBody>
      </p:sp>
    </p:spTree>
    <p:custDataLst>
      <p:tags r:id="rId1"/>
    </p:custDataLst>
    <p:extLst>
      <p:ext uri="{BB962C8B-B14F-4D97-AF65-F5344CB8AC3E}">
        <p14:creationId xmlns:p14="http://schemas.microsoft.com/office/powerpoint/2010/main" val="1198992477"/>
      </p:ext>
    </p:extLst>
  </p:cSld>
  <p:clrMapOvr>
    <a:masterClrMapping/>
  </p:clrMapOvr>
  <p:transition spd="slow">
    <p:cover/>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3" name="组合 172">
            <a:extLst>
              <a:ext uri="{FF2B5EF4-FFF2-40B4-BE49-F238E27FC236}">
                <a16:creationId xmlns:a16="http://schemas.microsoft.com/office/drawing/2014/main" id="{E4DB5391-FFF0-4D47-81F7-D0B75889C60A}"/>
              </a:ext>
            </a:extLst>
          </p:cNvPr>
          <p:cNvGrpSpPr/>
          <p:nvPr/>
        </p:nvGrpSpPr>
        <p:grpSpPr>
          <a:xfrm>
            <a:off x="0" y="1384710"/>
            <a:ext cx="3699439" cy="4190397"/>
            <a:chOff x="3684587" y="1172369"/>
            <a:chExt cx="4822826" cy="4513262"/>
          </a:xfrm>
        </p:grpSpPr>
        <p:sp>
          <p:nvSpPr>
            <p:cNvPr id="174" name="Oval 5">
              <a:extLst>
                <a:ext uri="{FF2B5EF4-FFF2-40B4-BE49-F238E27FC236}">
                  <a16:creationId xmlns:a16="http://schemas.microsoft.com/office/drawing/2014/main" id="{6086FC1F-FB5D-42D3-B169-636339CCA38F}"/>
                </a:ext>
              </a:extLst>
            </p:cNvPr>
            <p:cNvSpPr>
              <a:spLocks noChangeArrowheads="1"/>
            </p:cNvSpPr>
            <p:nvPr/>
          </p:nvSpPr>
          <p:spPr bwMode="auto">
            <a:xfrm>
              <a:off x="3992563" y="1172369"/>
              <a:ext cx="4514850" cy="4513262"/>
            </a:xfrm>
            <a:prstGeom prst="ellipse">
              <a:avLst/>
            </a:prstGeom>
            <a:solidFill>
              <a:srgbClr val="CAD5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75" name="Freeform 6">
              <a:extLst>
                <a:ext uri="{FF2B5EF4-FFF2-40B4-BE49-F238E27FC236}">
                  <a16:creationId xmlns:a16="http://schemas.microsoft.com/office/drawing/2014/main" id="{C592C959-973E-4BF2-961B-E81530B22924}"/>
                </a:ext>
              </a:extLst>
            </p:cNvPr>
            <p:cNvSpPr>
              <a:spLocks noEditPoints="1"/>
            </p:cNvSpPr>
            <p:nvPr/>
          </p:nvSpPr>
          <p:spPr bwMode="auto">
            <a:xfrm>
              <a:off x="3763963" y="3217069"/>
              <a:ext cx="1068388" cy="1066800"/>
            </a:xfrm>
            <a:custGeom>
              <a:avLst/>
              <a:gdLst>
                <a:gd name="T0" fmla="*/ 252 w 252"/>
                <a:gd name="T1" fmla="*/ 147 h 252"/>
                <a:gd name="T2" fmla="*/ 252 w 252"/>
                <a:gd name="T3" fmla="*/ 105 h 252"/>
                <a:gd name="T4" fmla="*/ 213 w 252"/>
                <a:gd name="T5" fmla="*/ 105 h 252"/>
                <a:gd name="T6" fmla="*/ 202 w 252"/>
                <a:gd name="T7" fmla="*/ 79 h 252"/>
                <a:gd name="T8" fmla="*/ 230 w 252"/>
                <a:gd name="T9" fmla="*/ 51 h 252"/>
                <a:gd name="T10" fmla="*/ 201 w 252"/>
                <a:gd name="T11" fmla="*/ 22 h 252"/>
                <a:gd name="T12" fmla="*/ 173 w 252"/>
                <a:gd name="T13" fmla="*/ 49 h 252"/>
                <a:gd name="T14" fmla="*/ 147 w 252"/>
                <a:gd name="T15" fmla="*/ 39 h 252"/>
                <a:gd name="T16" fmla="*/ 147 w 252"/>
                <a:gd name="T17" fmla="*/ 0 h 252"/>
                <a:gd name="T18" fmla="*/ 105 w 252"/>
                <a:gd name="T19" fmla="*/ 0 h 252"/>
                <a:gd name="T20" fmla="*/ 105 w 252"/>
                <a:gd name="T21" fmla="*/ 39 h 252"/>
                <a:gd name="T22" fmla="*/ 79 w 252"/>
                <a:gd name="T23" fmla="*/ 49 h 252"/>
                <a:gd name="T24" fmla="*/ 52 w 252"/>
                <a:gd name="T25" fmla="*/ 22 h 252"/>
                <a:gd name="T26" fmla="*/ 22 w 252"/>
                <a:gd name="T27" fmla="*/ 51 h 252"/>
                <a:gd name="T28" fmla="*/ 50 w 252"/>
                <a:gd name="T29" fmla="*/ 79 h 252"/>
                <a:gd name="T30" fmla="*/ 39 w 252"/>
                <a:gd name="T31" fmla="*/ 105 h 252"/>
                <a:gd name="T32" fmla="*/ 0 w 252"/>
                <a:gd name="T33" fmla="*/ 105 h 252"/>
                <a:gd name="T34" fmla="*/ 0 w 252"/>
                <a:gd name="T35" fmla="*/ 147 h 252"/>
                <a:gd name="T36" fmla="*/ 39 w 252"/>
                <a:gd name="T37" fmla="*/ 147 h 252"/>
                <a:gd name="T38" fmla="*/ 50 w 252"/>
                <a:gd name="T39" fmla="*/ 172 h 252"/>
                <a:gd name="T40" fmla="*/ 22 w 252"/>
                <a:gd name="T41" fmla="*/ 200 h 252"/>
                <a:gd name="T42" fmla="*/ 52 w 252"/>
                <a:gd name="T43" fmla="*/ 230 h 252"/>
                <a:gd name="T44" fmla="*/ 79 w 252"/>
                <a:gd name="T45" fmla="*/ 202 h 252"/>
                <a:gd name="T46" fmla="*/ 105 w 252"/>
                <a:gd name="T47" fmla="*/ 213 h 252"/>
                <a:gd name="T48" fmla="*/ 105 w 252"/>
                <a:gd name="T49" fmla="*/ 252 h 252"/>
                <a:gd name="T50" fmla="*/ 147 w 252"/>
                <a:gd name="T51" fmla="*/ 252 h 252"/>
                <a:gd name="T52" fmla="*/ 147 w 252"/>
                <a:gd name="T53" fmla="*/ 213 h 252"/>
                <a:gd name="T54" fmla="*/ 173 w 252"/>
                <a:gd name="T55" fmla="*/ 202 h 252"/>
                <a:gd name="T56" fmla="*/ 201 w 252"/>
                <a:gd name="T57" fmla="*/ 230 h 252"/>
                <a:gd name="T58" fmla="*/ 230 w 252"/>
                <a:gd name="T59" fmla="*/ 200 h 252"/>
                <a:gd name="T60" fmla="*/ 202 w 252"/>
                <a:gd name="T61" fmla="*/ 172 h 252"/>
                <a:gd name="T62" fmla="*/ 213 w 252"/>
                <a:gd name="T63" fmla="*/ 147 h 252"/>
                <a:gd name="T64" fmla="*/ 252 w 252"/>
                <a:gd name="T65" fmla="*/ 147 h 252"/>
                <a:gd name="T66" fmla="*/ 126 w 252"/>
                <a:gd name="T67" fmla="*/ 178 h 252"/>
                <a:gd name="T68" fmla="*/ 126 w 252"/>
                <a:gd name="T69" fmla="*/ 73 h 252"/>
                <a:gd name="T70" fmla="*/ 126 w 252"/>
                <a:gd name="T71" fmla="*/ 178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52" h="252">
                  <a:moveTo>
                    <a:pt x="252" y="147"/>
                  </a:moveTo>
                  <a:cubicBezTo>
                    <a:pt x="252" y="105"/>
                    <a:pt x="252" y="105"/>
                    <a:pt x="252" y="105"/>
                  </a:cubicBezTo>
                  <a:cubicBezTo>
                    <a:pt x="213" y="105"/>
                    <a:pt x="213" y="105"/>
                    <a:pt x="213" y="105"/>
                  </a:cubicBezTo>
                  <a:cubicBezTo>
                    <a:pt x="211" y="96"/>
                    <a:pt x="207" y="87"/>
                    <a:pt x="202" y="79"/>
                  </a:cubicBezTo>
                  <a:cubicBezTo>
                    <a:pt x="230" y="51"/>
                    <a:pt x="230" y="51"/>
                    <a:pt x="230" y="51"/>
                  </a:cubicBezTo>
                  <a:cubicBezTo>
                    <a:pt x="201" y="22"/>
                    <a:pt x="201" y="22"/>
                    <a:pt x="201" y="22"/>
                  </a:cubicBezTo>
                  <a:cubicBezTo>
                    <a:pt x="173" y="49"/>
                    <a:pt x="173" y="49"/>
                    <a:pt x="173" y="49"/>
                  </a:cubicBezTo>
                  <a:cubicBezTo>
                    <a:pt x="165" y="45"/>
                    <a:pt x="156" y="41"/>
                    <a:pt x="147" y="39"/>
                  </a:cubicBezTo>
                  <a:cubicBezTo>
                    <a:pt x="147" y="0"/>
                    <a:pt x="147" y="0"/>
                    <a:pt x="147" y="0"/>
                  </a:cubicBezTo>
                  <a:cubicBezTo>
                    <a:pt x="105" y="0"/>
                    <a:pt x="105" y="0"/>
                    <a:pt x="105" y="0"/>
                  </a:cubicBezTo>
                  <a:cubicBezTo>
                    <a:pt x="105" y="39"/>
                    <a:pt x="105" y="39"/>
                    <a:pt x="105" y="39"/>
                  </a:cubicBezTo>
                  <a:cubicBezTo>
                    <a:pt x="96" y="41"/>
                    <a:pt x="87" y="45"/>
                    <a:pt x="79" y="49"/>
                  </a:cubicBezTo>
                  <a:cubicBezTo>
                    <a:pt x="52" y="22"/>
                    <a:pt x="52" y="22"/>
                    <a:pt x="52" y="22"/>
                  </a:cubicBezTo>
                  <a:cubicBezTo>
                    <a:pt x="22" y="51"/>
                    <a:pt x="22" y="51"/>
                    <a:pt x="22" y="51"/>
                  </a:cubicBezTo>
                  <a:cubicBezTo>
                    <a:pt x="50" y="79"/>
                    <a:pt x="50" y="79"/>
                    <a:pt x="50" y="79"/>
                  </a:cubicBezTo>
                  <a:cubicBezTo>
                    <a:pt x="45" y="87"/>
                    <a:pt x="41" y="96"/>
                    <a:pt x="39" y="105"/>
                  </a:cubicBezTo>
                  <a:cubicBezTo>
                    <a:pt x="0" y="105"/>
                    <a:pt x="0" y="105"/>
                    <a:pt x="0" y="105"/>
                  </a:cubicBezTo>
                  <a:cubicBezTo>
                    <a:pt x="0" y="147"/>
                    <a:pt x="0" y="147"/>
                    <a:pt x="0" y="147"/>
                  </a:cubicBezTo>
                  <a:cubicBezTo>
                    <a:pt x="39" y="147"/>
                    <a:pt x="39" y="147"/>
                    <a:pt x="39" y="147"/>
                  </a:cubicBezTo>
                  <a:cubicBezTo>
                    <a:pt x="41" y="156"/>
                    <a:pt x="45" y="165"/>
                    <a:pt x="50" y="172"/>
                  </a:cubicBezTo>
                  <a:cubicBezTo>
                    <a:pt x="22" y="200"/>
                    <a:pt x="22" y="200"/>
                    <a:pt x="22" y="200"/>
                  </a:cubicBezTo>
                  <a:cubicBezTo>
                    <a:pt x="52" y="230"/>
                    <a:pt x="52" y="230"/>
                    <a:pt x="52" y="230"/>
                  </a:cubicBezTo>
                  <a:cubicBezTo>
                    <a:pt x="79" y="202"/>
                    <a:pt x="79" y="202"/>
                    <a:pt x="79" y="202"/>
                  </a:cubicBezTo>
                  <a:cubicBezTo>
                    <a:pt x="87" y="207"/>
                    <a:pt x="96" y="210"/>
                    <a:pt x="105" y="213"/>
                  </a:cubicBezTo>
                  <a:cubicBezTo>
                    <a:pt x="105" y="252"/>
                    <a:pt x="105" y="252"/>
                    <a:pt x="105" y="252"/>
                  </a:cubicBezTo>
                  <a:cubicBezTo>
                    <a:pt x="147" y="252"/>
                    <a:pt x="147" y="252"/>
                    <a:pt x="147" y="252"/>
                  </a:cubicBezTo>
                  <a:cubicBezTo>
                    <a:pt x="147" y="213"/>
                    <a:pt x="147" y="213"/>
                    <a:pt x="147" y="213"/>
                  </a:cubicBezTo>
                  <a:cubicBezTo>
                    <a:pt x="156" y="210"/>
                    <a:pt x="165" y="207"/>
                    <a:pt x="173" y="202"/>
                  </a:cubicBezTo>
                  <a:cubicBezTo>
                    <a:pt x="201" y="230"/>
                    <a:pt x="201" y="230"/>
                    <a:pt x="201" y="230"/>
                  </a:cubicBezTo>
                  <a:cubicBezTo>
                    <a:pt x="230" y="200"/>
                    <a:pt x="230" y="200"/>
                    <a:pt x="230" y="200"/>
                  </a:cubicBezTo>
                  <a:cubicBezTo>
                    <a:pt x="202" y="172"/>
                    <a:pt x="202" y="172"/>
                    <a:pt x="202" y="172"/>
                  </a:cubicBezTo>
                  <a:cubicBezTo>
                    <a:pt x="207" y="165"/>
                    <a:pt x="211" y="156"/>
                    <a:pt x="213" y="147"/>
                  </a:cubicBezTo>
                  <a:lnTo>
                    <a:pt x="252" y="147"/>
                  </a:lnTo>
                  <a:close/>
                  <a:moveTo>
                    <a:pt x="126" y="178"/>
                  </a:moveTo>
                  <a:cubicBezTo>
                    <a:pt x="57" y="177"/>
                    <a:pt x="57" y="74"/>
                    <a:pt x="126" y="73"/>
                  </a:cubicBezTo>
                  <a:cubicBezTo>
                    <a:pt x="196" y="74"/>
                    <a:pt x="196" y="177"/>
                    <a:pt x="126" y="178"/>
                  </a:cubicBezTo>
                  <a:close/>
                </a:path>
              </a:pathLst>
            </a:custGeom>
            <a:solidFill>
              <a:srgbClr val="C2DD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76" name="Freeform 7">
              <a:extLst>
                <a:ext uri="{FF2B5EF4-FFF2-40B4-BE49-F238E27FC236}">
                  <a16:creationId xmlns:a16="http://schemas.microsoft.com/office/drawing/2014/main" id="{87BC1793-4096-45C3-A5ED-D43A33CBA4EC}"/>
                </a:ext>
              </a:extLst>
            </p:cNvPr>
            <p:cNvSpPr>
              <a:spLocks/>
            </p:cNvSpPr>
            <p:nvPr/>
          </p:nvSpPr>
          <p:spPr bwMode="auto">
            <a:xfrm>
              <a:off x="3857625" y="3348832"/>
              <a:ext cx="974725" cy="935037"/>
            </a:xfrm>
            <a:custGeom>
              <a:avLst/>
              <a:gdLst>
                <a:gd name="T0" fmla="*/ 230 w 230"/>
                <a:gd name="T1" fmla="*/ 116 h 221"/>
                <a:gd name="T2" fmla="*/ 230 w 230"/>
                <a:gd name="T3" fmla="*/ 74 h 221"/>
                <a:gd name="T4" fmla="*/ 191 w 230"/>
                <a:gd name="T5" fmla="*/ 74 h 221"/>
                <a:gd name="T6" fmla="*/ 180 w 230"/>
                <a:gd name="T7" fmla="*/ 48 h 221"/>
                <a:gd name="T8" fmla="*/ 208 w 230"/>
                <a:gd name="T9" fmla="*/ 20 h 221"/>
                <a:gd name="T10" fmla="*/ 187 w 230"/>
                <a:gd name="T11" fmla="*/ 0 h 221"/>
                <a:gd name="T12" fmla="*/ 148 w 230"/>
                <a:gd name="T13" fmla="*/ 65 h 221"/>
                <a:gd name="T14" fmla="*/ 59 w 230"/>
                <a:gd name="T15" fmla="*/ 121 h 221"/>
                <a:gd name="T16" fmla="*/ 25 w 230"/>
                <a:gd name="T17" fmla="*/ 136 h 221"/>
                <a:gd name="T18" fmla="*/ 28 w 230"/>
                <a:gd name="T19" fmla="*/ 141 h 221"/>
                <a:gd name="T20" fmla="*/ 0 w 230"/>
                <a:gd name="T21" fmla="*/ 169 h 221"/>
                <a:gd name="T22" fmla="*/ 30 w 230"/>
                <a:gd name="T23" fmla="*/ 199 h 221"/>
                <a:gd name="T24" fmla="*/ 57 w 230"/>
                <a:gd name="T25" fmla="*/ 171 h 221"/>
                <a:gd name="T26" fmla="*/ 83 w 230"/>
                <a:gd name="T27" fmla="*/ 182 h 221"/>
                <a:gd name="T28" fmla="*/ 83 w 230"/>
                <a:gd name="T29" fmla="*/ 221 h 221"/>
                <a:gd name="T30" fmla="*/ 125 w 230"/>
                <a:gd name="T31" fmla="*/ 221 h 221"/>
                <a:gd name="T32" fmla="*/ 125 w 230"/>
                <a:gd name="T33" fmla="*/ 182 h 221"/>
                <a:gd name="T34" fmla="*/ 151 w 230"/>
                <a:gd name="T35" fmla="*/ 171 h 221"/>
                <a:gd name="T36" fmla="*/ 179 w 230"/>
                <a:gd name="T37" fmla="*/ 199 h 221"/>
                <a:gd name="T38" fmla="*/ 208 w 230"/>
                <a:gd name="T39" fmla="*/ 169 h 221"/>
                <a:gd name="T40" fmla="*/ 180 w 230"/>
                <a:gd name="T41" fmla="*/ 141 h 221"/>
                <a:gd name="T42" fmla="*/ 191 w 230"/>
                <a:gd name="T43" fmla="*/ 116 h 221"/>
                <a:gd name="T44" fmla="*/ 230 w 230"/>
                <a:gd name="T45" fmla="*/ 116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0" h="221">
                  <a:moveTo>
                    <a:pt x="230" y="116"/>
                  </a:moveTo>
                  <a:cubicBezTo>
                    <a:pt x="230" y="74"/>
                    <a:pt x="230" y="74"/>
                    <a:pt x="230" y="74"/>
                  </a:cubicBezTo>
                  <a:cubicBezTo>
                    <a:pt x="191" y="74"/>
                    <a:pt x="191" y="74"/>
                    <a:pt x="191" y="74"/>
                  </a:cubicBezTo>
                  <a:cubicBezTo>
                    <a:pt x="189" y="65"/>
                    <a:pt x="185" y="56"/>
                    <a:pt x="180" y="48"/>
                  </a:cubicBezTo>
                  <a:cubicBezTo>
                    <a:pt x="208" y="20"/>
                    <a:pt x="208" y="20"/>
                    <a:pt x="208" y="20"/>
                  </a:cubicBezTo>
                  <a:cubicBezTo>
                    <a:pt x="187" y="0"/>
                    <a:pt x="187" y="0"/>
                    <a:pt x="187" y="0"/>
                  </a:cubicBezTo>
                  <a:cubicBezTo>
                    <a:pt x="178" y="24"/>
                    <a:pt x="166" y="47"/>
                    <a:pt x="148" y="65"/>
                  </a:cubicBezTo>
                  <a:cubicBezTo>
                    <a:pt x="186" y="126"/>
                    <a:pt x="96" y="182"/>
                    <a:pt x="59" y="121"/>
                  </a:cubicBezTo>
                  <a:cubicBezTo>
                    <a:pt x="47" y="127"/>
                    <a:pt x="36" y="132"/>
                    <a:pt x="25" y="136"/>
                  </a:cubicBezTo>
                  <a:cubicBezTo>
                    <a:pt x="26" y="138"/>
                    <a:pt x="27" y="140"/>
                    <a:pt x="28" y="141"/>
                  </a:cubicBezTo>
                  <a:cubicBezTo>
                    <a:pt x="0" y="169"/>
                    <a:pt x="0" y="169"/>
                    <a:pt x="0" y="169"/>
                  </a:cubicBezTo>
                  <a:cubicBezTo>
                    <a:pt x="30" y="199"/>
                    <a:pt x="30" y="199"/>
                    <a:pt x="30" y="199"/>
                  </a:cubicBezTo>
                  <a:cubicBezTo>
                    <a:pt x="57" y="171"/>
                    <a:pt x="57" y="171"/>
                    <a:pt x="57" y="171"/>
                  </a:cubicBezTo>
                  <a:cubicBezTo>
                    <a:pt x="65" y="176"/>
                    <a:pt x="74" y="179"/>
                    <a:pt x="83" y="182"/>
                  </a:cubicBezTo>
                  <a:cubicBezTo>
                    <a:pt x="83" y="221"/>
                    <a:pt x="83" y="221"/>
                    <a:pt x="83" y="221"/>
                  </a:cubicBezTo>
                  <a:cubicBezTo>
                    <a:pt x="125" y="221"/>
                    <a:pt x="125" y="221"/>
                    <a:pt x="125" y="221"/>
                  </a:cubicBezTo>
                  <a:cubicBezTo>
                    <a:pt x="125" y="182"/>
                    <a:pt x="125" y="182"/>
                    <a:pt x="125" y="182"/>
                  </a:cubicBezTo>
                  <a:cubicBezTo>
                    <a:pt x="134" y="179"/>
                    <a:pt x="143" y="176"/>
                    <a:pt x="151" y="171"/>
                  </a:cubicBezTo>
                  <a:cubicBezTo>
                    <a:pt x="179" y="199"/>
                    <a:pt x="179" y="199"/>
                    <a:pt x="179" y="199"/>
                  </a:cubicBezTo>
                  <a:cubicBezTo>
                    <a:pt x="208" y="169"/>
                    <a:pt x="208" y="169"/>
                    <a:pt x="208" y="169"/>
                  </a:cubicBezTo>
                  <a:cubicBezTo>
                    <a:pt x="180" y="141"/>
                    <a:pt x="180" y="141"/>
                    <a:pt x="180" y="141"/>
                  </a:cubicBezTo>
                  <a:cubicBezTo>
                    <a:pt x="185" y="134"/>
                    <a:pt x="189" y="125"/>
                    <a:pt x="191" y="116"/>
                  </a:cubicBezTo>
                  <a:lnTo>
                    <a:pt x="230" y="116"/>
                  </a:lnTo>
                  <a:close/>
                </a:path>
              </a:pathLst>
            </a:custGeom>
            <a:solidFill>
              <a:srgbClr val="62A9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77" name="Freeform 8">
              <a:extLst>
                <a:ext uri="{FF2B5EF4-FFF2-40B4-BE49-F238E27FC236}">
                  <a16:creationId xmlns:a16="http://schemas.microsoft.com/office/drawing/2014/main" id="{A958F164-1E3B-4FF6-AA63-3B44771911FC}"/>
                </a:ext>
              </a:extLst>
            </p:cNvPr>
            <p:cNvSpPr>
              <a:spLocks noEditPoints="1"/>
            </p:cNvSpPr>
            <p:nvPr/>
          </p:nvSpPr>
          <p:spPr bwMode="auto">
            <a:xfrm>
              <a:off x="3684587" y="3132932"/>
              <a:ext cx="1231900" cy="1231900"/>
            </a:xfrm>
            <a:custGeom>
              <a:avLst/>
              <a:gdLst>
                <a:gd name="T0" fmla="*/ 120 w 291"/>
                <a:gd name="T1" fmla="*/ 236 h 291"/>
                <a:gd name="T2" fmla="*/ 38 w 291"/>
                <a:gd name="T3" fmla="*/ 223 h 291"/>
                <a:gd name="T4" fmla="*/ 63 w 291"/>
                <a:gd name="T5" fmla="*/ 192 h 291"/>
                <a:gd name="T6" fmla="*/ 15 w 291"/>
                <a:gd name="T7" fmla="*/ 125 h 291"/>
                <a:gd name="T8" fmla="*/ 55 w 291"/>
                <a:gd name="T9" fmla="*/ 120 h 291"/>
                <a:gd name="T10" fmla="*/ 68 w 291"/>
                <a:gd name="T11" fmla="*/ 39 h 291"/>
                <a:gd name="T12" fmla="*/ 99 w 291"/>
                <a:gd name="T13" fmla="*/ 64 h 291"/>
                <a:gd name="T14" fmla="*/ 166 w 291"/>
                <a:gd name="T15" fmla="*/ 15 h 291"/>
                <a:gd name="T16" fmla="*/ 171 w 291"/>
                <a:gd name="T17" fmla="*/ 55 h 291"/>
                <a:gd name="T18" fmla="*/ 252 w 291"/>
                <a:gd name="T19" fmla="*/ 68 h 291"/>
                <a:gd name="T20" fmla="*/ 227 w 291"/>
                <a:gd name="T21" fmla="*/ 100 h 291"/>
                <a:gd name="T22" fmla="*/ 276 w 291"/>
                <a:gd name="T23" fmla="*/ 167 h 291"/>
                <a:gd name="T24" fmla="*/ 236 w 291"/>
                <a:gd name="T25" fmla="*/ 171 h 291"/>
                <a:gd name="T26" fmla="*/ 252 w 291"/>
                <a:gd name="T27" fmla="*/ 217 h 291"/>
                <a:gd name="T28" fmla="*/ 191 w 291"/>
                <a:gd name="T29" fmla="*/ 228 h 291"/>
                <a:gd name="T30" fmla="*/ 171 w 291"/>
                <a:gd name="T31" fmla="*/ 272 h 291"/>
                <a:gd name="T32" fmla="*/ 129 w 291"/>
                <a:gd name="T33" fmla="*/ 267 h 291"/>
                <a:gd name="T34" fmla="*/ 162 w 291"/>
                <a:gd name="T35" fmla="*/ 233 h 291"/>
                <a:gd name="T36" fmla="*/ 220 w 291"/>
                <a:gd name="T37" fmla="*/ 243 h 291"/>
                <a:gd name="T38" fmla="*/ 228 w 291"/>
                <a:gd name="T39" fmla="*/ 166 h 291"/>
                <a:gd name="T40" fmla="*/ 267 w 291"/>
                <a:gd name="T41" fmla="*/ 162 h 291"/>
                <a:gd name="T42" fmla="*/ 232 w 291"/>
                <a:gd name="T43" fmla="*/ 129 h 291"/>
                <a:gd name="T44" fmla="*/ 243 w 291"/>
                <a:gd name="T45" fmla="*/ 71 h 291"/>
                <a:gd name="T46" fmla="*/ 165 w 291"/>
                <a:gd name="T47" fmla="*/ 63 h 291"/>
                <a:gd name="T48" fmla="*/ 162 w 291"/>
                <a:gd name="T49" fmla="*/ 24 h 291"/>
                <a:gd name="T50" fmla="*/ 129 w 291"/>
                <a:gd name="T51" fmla="*/ 59 h 291"/>
                <a:gd name="T52" fmla="*/ 71 w 291"/>
                <a:gd name="T53" fmla="*/ 48 h 291"/>
                <a:gd name="T54" fmla="*/ 63 w 291"/>
                <a:gd name="T55" fmla="*/ 126 h 291"/>
                <a:gd name="T56" fmla="*/ 24 w 291"/>
                <a:gd name="T57" fmla="*/ 129 h 291"/>
                <a:gd name="T58" fmla="*/ 58 w 291"/>
                <a:gd name="T59" fmla="*/ 162 h 291"/>
                <a:gd name="T60" fmla="*/ 48 w 291"/>
                <a:gd name="T61" fmla="*/ 220 h 291"/>
                <a:gd name="T62" fmla="*/ 125 w 291"/>
                <a:gd name="T63" fmla="*/ 228 h 291"/>
                <a:gd name="T64" fmla="*/ 129 w 291"/>
                <a:gd name="T65" fmla="*/ 267 h 291"/>
                <a:gd name="T66" fmla="*/ 145 w 291"/>
                <a:gd name="T67" fmla="*/ 88 h 291"/>
                <a:gd name="T68" fmla="*/ 145 w 291"/>
                <a:gd name="T69" fmla="*/ 97 h 291"/>
                <a:gd name="T70" fmla="*/ 145 w 291"/>
                <a:gd name="T71" fmla="*/ 97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91" h="291">
                  <a:moveTo>
                    <a:pt x="166" y="276"/>
                  </a:moveTo>
                  <a:cubicBezTo>
                    <a:pt x="111" y="273"/>
                    <a:pt x="120" y="291"/>
                    <a:pt x="120" y="236"/>
                  </a:cubicBezTo>
                  <a:cubicBezTo>
                    <a:pt x="113" y="234"/>
                    <a:pt x="106" y="231"/>
                    <a:pt x="99" y="228"/>
                  </a:cubicBezTo>
                  <a:cubicBezTo>
                    <a:pt x="60" y="266"/>
                    <a:pt x="79" y="260"/>
                    <a:pt x="38" y="223"/>
                  </a:cubicBezTo>
                  <a:cubicBezTo>
                    <a:pt x="36" y="222"/>
                    <a:pt x="36" y="219"/>
                    <a:pt x="38" y="217"/>
                  </a:cubicBezTo>
                  <a:cubicBezTo>
                    <a:pt x="63" y="192"/>
                    <a:pt x="63" y="192"/>
                    <a:pt x="63" y="192"/>
                  </a:cubicBezTo>
                  <a:cubicBezTo>
                    <a:pt x="60" y="185"/>
                    <a:pt x="57" y="178"/>
                    <a:pt x="55" y="171"/>
                  </a:cubicBezTo>
                  <a:cubicBezTo>
                    <a:pt x="0" y="171"/>
                    <a:pt x="18" y="179"/>
                    <a:pt x="15" y="125"/>
                  </a:cubicBezTo>
                  <a:cubicBezTo>
                    <a:pt x="15" y="122"/>
                    <a:pt x="17" y="120"/>
                    <a:pt x="19" y="120"/>
                  </a:cubicBezTo>
                  <a:cubicBezTo>
                    <a:pt x="55" y="120"/>
                    <a:pt x="55" y="120"/>
                    <a:pt x="55" y="120"/>
                  </a:cubicBezTo>
                  <a:cubicBezTo>
                    <a:pt x="57" y="113"/>
                    <a:pt x="60" y="106"/>
                    <a:pt x="63" y="100"/>
                  </a:cubicBezTo>
                  <a:cubicBezTo>
                    <a:pt x="25" y="60"/>
                    <a:pt x="31" y="79"/>
                    <a:pt x="68" y="39"/>
                  </a:cubicBezTo>
                  <a:cubicBezTo>
                    <a:pt x="69" y="37"/>
                    <a:pt x="72" y="37"/>
                    <a:pt x="74" y="39"/>
                  </a:cubicBezTo>
                  <a:cubicBezTo>
                    <a:pt x="99" y="64"/>
                    <a:pt x="99" y="64"/>
                    <a:pt x="99" y="64"/>
                  </a:cubicBezTo>
                  <a:cubicBezTo>
                    <a:pt x="106" y="60"/>
                    <a:pt x="113" y="57"/>
                    <a:pt x="120" y="55"/>
                  </a:cubicBezTo>
                  <a:cubicBezTo>
                    <a:pt x="120" y="0"/>
                    <a:pt x="111" y="18"/>
                    <a:pt x="166" y="15"/>
                  </a:cubicBezTo>
                  <a:cubicBezTo>
                    <a:pt x="169" y="15"/>
                    <a:pt x="171" y="17"/>
                    <a:pt x="171" y="20"/>
                  </a:cubicBezTo>
                  <a:cubicBezTo>
                    <a:pt x="171" y="55"/>
                    <a:pt x="171" y="55"/>
                    <a:pt x="171" y="55"/>
                  </a:cubicBezTo>
                  <a:cubicBezTo>
                    <a:pt x="178" y="57"/>
                    <a:pt x="185" y="60"/>
                    <a:pt x="191" y="64"/>
                  </a:cubicBezTo>
                  <a:cubicBezTo>
                    <a:pt x="230" y="25"/>
                    <a:pt x="212" y="32"/>
                    <a:pt x="252" y="68"/>
                  </a:cubicBezTo>
                  <a:cubicBezTo>
                    <a:pt x="254" y="70"/>
                    <a:pt x="254" y="73"/>
                    <a:pt x="252" y="74"/>
                  </a:cubicBezTo>
                  <a:cubicBezTo>
                    <a:pt x="227" y="100"/>
                    <a:pt x="227" y="100"/>
                    <a:pt x="227" y="100"/>
                  </a:cubicBezTo>
                  <a:cubicBezTo>
                    <a:pt x="231" y="106"/>
                    <a:pt x="234" y="113"/>
                    <a:pt x="236" y="120"/>
                  </a:cubicBezTo>
                  <a:cubicBezTo>
                    <a:pt x="291" y="121"/>
                    <a:pt x="273" y="112"/>
                    <a:pt x="276" y="167"/>
                  </a:cubicBezTo>
                  <a:cubicBezTo>
                    <a:pt x="276" y="169"/>
                    <a:pt x="274" y="171"/>
                    <a:pt x="271" y="171"/>
                  </a:cubicBezTo>
                  <a:cubicBezTo>
                    <a:pt x="236" y="171"/>
                    <a:pt x="236" y="171"/>
                    <a:pt x="236" y="171"/>
                  </a:cubicBezTo>
                  <a:cubicBezTo>
                    <a:pt x="234" y="178"/>
                    <a:pt x="231" y="185"/>
                    <a:pt x="227" y="192"/>
                  </a:cubicBezTo>
                  <a:cubicBezTo>
                    <a:pt x="252" y="217"/>
                    <a:pt x="252" y="217"/>
                    <a:pt x="252" y="217"/>
                  </a:cubicBezTo>
                  <a:cubicBezTo>
                    <a:pt x="254" y="219"/>
                    <a:pt x="254" y="222"/>
                    <a:pt x="252" y="223"/>
                  </a:cubicBezTo>
                  <a:cubicBezTo>
                    <a:pt x="212" y="259"/>
                    <a:pt x="231" y="266"/>
                    <a:pt x="191" y="228"/>
                  </a:cubicBezTo>
                  <a:cubicBezTo>
                    <a:pt x="185" y="231"/>
                    <a:pt x="178" y="234"/>
                    <a:pt x="171" y="236"/>
                  </a:cubicBezTo>
                  <a:cubicBezTo>
                    <a:pt x="171" y="272"/>
                    <a:pt x="171" y="272"/>
                    <a:pt x="171" y="272"/>
                  </a:cubicBezTo>
                  <a:cubicBezTo>
                    <a:pt x="171" y="274"/>
                    <a:pt x="169" y="276"/>
                    <a:pt x="166" y="276"/>
                  </a:cubicBezTo>
                  <a:close/>
                  <a:moveTo>
                    <a:pt x="129" y="267"/>
                  </a:moveTo>
                  <a:cubicBezTo>
                    <a:pt x="162" y="267"/>
                    <a:pt x="162" y="267"/>
                    <a:pt x="162" y="267"/>
                  </a:cubicBezTo>
                  <a:cubicBezTo>
                    <a:pt x="162" y="233"/>
                    <a:pt x="162" y="233"/>
                    <a:pt x="162" y="233"/>
                  </a:cubicBezTo>
                  <a:cubicBezTo>
                    <a:pt x="162" y="231"/>
                    <a:pt x="163" y="229"/>
                    <a:pt x="165" y="228"/>
                  </a:cubicBezTo>
                  <a:cubicBezTo>
                    <a:pt x="206" y="216"/>
                    <a:pt x="181" y="208"/>
                    <a:pt x="220" y="243"/>
                  </a:cubicBezTo>
                  <a:cubicBezTo>
                    <a:pt x="243" y="220"/>
                    <a:pt x="243" y="220"/>
                    <a:pt x="243" y="220"/>
                  </a:cubicBezTo>
                  <a:cubicBezTo>
                    <a:pt x="207" y="182"/>
                    <a:pt x="216" y="207"/>
                    <a:pt x="228" y="166"/>
                  </a:cubicBezTo>
                  <a:cubicBezTo>
                    <a:pt x="228" y="164"/>
                    <a:pt x="230" y="162"/>
                    <a:pt x="232" y="162"/>
                  </a:cubicBezTo>
                  <a:cubicBezTo>
                    <a:pt x="267" y="162"/>
                    <a:pt x="267" y="162"/>
                    <a:pt x="267" y="162"/>
                  </a:cubicBezTo>
                  <a:cubicBezTo>
                    <a:pt x="267" y="129"/>
                    <a:pt x="267" y="129"/>
                    <a:pt x="267" y="129"/>
                  </a:cubicBezTo>
                  <a:cubicBezTo>
                    <a:pt x="232" y="129"/>
                    <a:pt x="232" y="129"/>
                    <a:pt x="232" y="129"/>
                  </a:cubicBezTo>
                  <a:cubicBezTo>
                    <a:pt x="230" y="129"/>
                    <a:pt x="228" y="128"/>
                    <a:pt x="228" y="126"/>
                  </a:cubicBezTo>
                  <a:cubicBezTo>
                    <a:pt x="216" y="85"/>
                    <a:pt x="207" y="110"/>
                    <a:pt x="243" y="71"/>
                  </a:cubicBezTo>
                  <a:cubicBezTo>
                    <a:pt x="220" y="48"/>
                    <a:pt x="220" y="48"/>
                    <a:pt x="220" y="48"/>
                  </a:cubicBezTo>
                  <a:cubicBezTo>
                    <a:pt x="181" y="84"/>
                    <a:pt x="206" y="75"/>
                    <a:pt x="165" y="63"/>
                  </a:cubicBezTo>
                  <a:cubicBezTo>
                    <a:pt x="163" y="63"/>
                    <a:pt x="162" y="61"/>
                    <a:pt x="162" y="59"/>
                  </a:cubicBezTo>
                  <a:cubicBezTo>
                    <a:pt x="162" y="24"/>
                    <a:pt x="162" y="24"/>
                    <a:pt x="162" y="24"/>
                  </a:cubicBezTo>
                  <a:cubicBezTo>
                    <a:pt x="129" y="24"/>
                    <a:pt x="129" y="24"/>
                    <a:pt x="129" y="24"/>
                  </a:cubicBezTo>
                  <a:cubicBezTo>
                    <a:pt x="129" y="59"/>
                    <a:pt x="129" y="59"/>
                    <a:pt x="129" y="59"/>
                  </a:cubicBezTo>
                  <a:cubicBezTo>
                    <a:pt x="129" y="61"/>
                    <a:pt x="127" y="63"/>
                    <a:pt x="125" y="63"/>
                  </a:cubicBezTo>
                  <a:cubicBezTo>
                    <a:pt x="84" y="75"/>
                    <a:pt x="109" y="84"/>
                    <a:pt x="71" y="48"/>
                  </a:cubicBezTo>
                  <a:cubicBezTo>
                    <a:pt x="48" y="71"/>
                    <a:pt x="48" y="71"/>
                    <a:pt x="48" y="71"/>
                  </a:cubicBezTo>
                  <a:cubicBezTo>
                    <a:pt x="83" y="110"/>
                    <a:pt x="75" y="85"/>
                    <a:pt x="63" y="126"/>
                  </a:cubicBezTo>
                  <a:cubicBezTo>
                    <a:pt x="62" y="128"/>
                    <a:pt x="60" y="129"/>
                    <a:pt x="58" y="129"/>
                  </a:cubicBezTo>
                  <a:cubicBezTo>
                    <a:pt x="24" y="129"/>
                    <a:pt x="24" y="129"/>
                    <a:pt x="24" y="129"/>
                  </a:cubicBezTo>
                  <a:cubicBezTo>
                    <a:pt x="24" y="162"/>
                    <a:pt x="24" y="162"/>
                    <a:pt x="24" y="162"/>
                  </a:cubicBezTo>
                  <a:cubicBezTo>
                    <a:pt x="58" y="162"/>
                    <a:pt x="58" y="162"/>
                    <a:pt x="58" y="162"/>
                  </a:cubicBezTo>
                  <a:cubicBezTo>
                    <a:pt x="60" y="162"/>
                    <a:pt x="62" y="164"/>
                    <a:pt x="63" y="166"/>
                  </a:cubicBezTo>
                  <a:cubicBezTo>
                    <a:pt x="75" y="207"/>
                    <a:pt x="83" y="182"/>
                    <a:pt x="48" y="220"/>
                  </a:cubicBezTo>
                  <a:cubicBezTo>
                    <a:pt x="71" y="243"/>
                    <a:pt x="71" y="243"/>
                    <a:pt x="71" y="243"/>
                  </a:cubicBezTo>
                  <a:cubicBezTo>
                    <a:pt x="109" y="208"/>
                    <a:pt x="84" y="216"/>
                    <a:pt x="125" y="228"/>
                  </a:cubicBezTo>
                  <a:cubicBezTo>
                    <a:pt x="127" y="229"/>
                    <a:pt x="129" y="231"/>
                    <a:pt x="129" y="233"/>
                  </a:cubicBezTo>
                  <a:lnTo>
                    <a:pt x="129" y="267"/>
                  </a:lnTo>
                  <a:close/>
                  <a:moveTo>
                    <a:pt x="145" y="203"/>
                  </a:moveTo>
                  <a:cubicBezTo>
                    <a:pt x="70" y="202"/>
                    <a:pt x="70" y="90"/>
                    <a:pt x="145" y="88"/>
                  </a:cubicBezTo>
                  <a:cubicBezTo>
                    <a:pt x="220" y="90"/>
                    <a:pt x="220" y="202"/>
                    <a:pt x="145" y="203"/>
                  </a:cubicBezTo>
                  <a:close/>
                  <a:moveTo>
                    <a:pt x="145" y="97"/>
                  </a:moveTo>
                  <a:cubicBezTo>
                    <a:pt x="82" y="99"/>
                    <a:pt x="82" y="193"/>
                    <a:pt x="145" y="194"/>
                  </a:cubicBezTo>
                  <a:cubicBezTo>
                    <a:pt x="209" y="193"/>
                    <a:pt x="209" y="98"/>
                    <a:pt x="145" y="97"/>
                  </a:cubicBezTo>
                  <a:close/>
                </a:path>
              </a:pathLst>
            </a:custGeom>
            <a:solidFill>
              <a:srgbClr val="0C11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78" name="Freeform 9">
              <a:extLst>
                <a:ext uri="{FF2B5EF4-FFF2-40B4-BE49-F238E27FC236}">
                  <a16:creationId xmlns:a16="http://schemas.microsoft.com/office/drawing/2014/main" id="{CFD07F8B-8C2D-4A3E-9E6A-164D6AAEF115}"/>
                </a:ext>
              </a:extLst>
            </p:cNvPr>
            <p:cNvSpPr>
              <a:spLocks noEditPoints="1"/>
            </p:cNvSpPr>
            <p:nvPr/>
          </p:nvSpPr>
          <p:spPr bwMode="auto">
            <a:xfrm>
              <a:off x="7250113" y="2518569"/>
              <a:ext cx="668338" cy="668337"/>
            </a:xfrm>
            <a:custGeom>
              <a:avLst/>
              <a:gdLst>
                <a:gd name="T0" fmla="*/ 158 w 158"/>
                <a:gd name="T1" fmla="*/ 92 h 158"/>
                <a:gd name="T2" fmla="*/ 158 w 158"/>
                <a:gd name="T3" fmla="*/ 66 h 158"/>
                <a:gd name="T4" fmla="*/ 133 w 158"/>
                <a:gd name="T5" fmla="*/ 66 h 158"/>
                <a:gd name="T6" fmla="*/ 127 w 158"/>
                <a:gd name="T7" fmla="*/ 50 h 158"/>
                <a:gd name="T8" fmla="*/ 144 w 158"/>
                <a:gd name="T9" fmla="*/ 33 h 158"/>
                <a:gd name="T10" fmla="*/ 125 w 158"/>
                <a:gd name="T11" fmla="*/ 14 h 158"/>
                <a:gd name="T12" fmla="*/ 108 w 158"/>
                <a:gd name="T13" fmla="*/ 31 h 158"/>
                <a:gd name="T14" fmla="*/ 92 w 158"/>
                <a:gd name="T15" fmla="*/ 25 h 158"/>
                <a:gd name="T16" fmla="*/ 92 w 158"/>
                <a:gd name="T17" fmla="*/ 0 h 158"/>
                <a:gd name="T18" fmla="*/ 66 w 158"/>
                <a:gd name="T19" fmla="*/ 0 h 158"/>
                <a:gd name="T20" fmla="*/ 66 w 158"/>
                <a:gd name="T21" fmla="*/ 25 h 158"/>
                <a:gd name="T22" fmla="*/ 49 w 158"/>
                <a:gd name="T23" fmla="*/ 31 h 158"/>
                <a:gd name="T24" fmla="*/ 32 w 158"/>
                <a:gd name="T25" fmla="*/ 14 h 158"/>
                <a:gd name="T26" fmla="*/ 13 w 158"/>
                <a:gd name="T27" fmla="*/ 33 h 158"/>
                <a:gd name="T28" fmla="*/ 31 w 158"/>
                <a:gd name="T29" fmla="*/ 50 h 158"/>
                <a:gd name="T30" fmla="*/ 24 w 158"/>
                <a:gd name="T31" fmla="*/ 66 h 158"/>
                <a:gd name="T32" fmla="*/ 0 w 158"/>
                <a:gd name="T33" fmla="*/ 66 h 158"/>
                <a:gd name="T34" fmla="*/ 0 w 158"/>
                <a:gd name="T35" fmla="*/ 92 h 158"/>
                <a:gd name="T36" fmla="*/ 24 w 158"/>
                <a:gd name="T37" fmla="*/ 92 h 158"/>
                <a:gd name="T38" fmla="*/ 31 w 158"/>
                <a:gd name="T39" fmla="*/ 109 h 158"/>
                <a:gd name="T40" fmla="*/ 13 w 158"/>
                <a:gd name="T41" fmla="*/ 126 h 158"/>
                <a:gd name="T42" fmla="*/ 32 w 158"/>
                <a:gd name="T43" fmla="*/ 145 h 158"/>
                <a:gd name="T44" fmla="*/ 49 w 158"/>
                <a:gd name="T45" fmla="*/ 127 h 158"/>
                <a:gd name="T46" fmla="*/ 66 w 158"/>
                <a:gd name="T47" fmla="*/ 134 h 158"/>
                <a:gd name="T48" fmla="*/ 66 w 158"/>
                <a:gd name="T49" fmla="*/ 158 h 158"/>
                <a:gd name="T50" fmla="*/ 92 w 158"/>
                <a:gd name="T51" fmla="*/ 158 h 158"/>
                <a:gd name="T52" fmla="*/ 92 w 158"/>
                <a:gd name="T53" fmla="*/ 134 h 158"/>
                <a:gd name="T54" fmla="*/ 108 w 158"/>
                <a:gd name="T55" fmla="*/ 127 h 158"/>
                <a:gd name="T56" fmla="*/ 125 w 158"/>
                <a:gd name="T57" fmla="*/ 145 h 158"/>
                <a:gd name="T58" fmla="*/ 144 w 158"/>
                <a:gd name="T59" fmla="*/ 126 h 158"/>
                <a:gd name="T60" fmla="*/ 127 w 158"/>
                <a:gd name="T61" fmla="*/ 109 h 158"/>
                <a:gd name="T62" fmla="*/ 133 w 158"/>
                <a:gd name="T63" fmla="*/ 92 h 158"/>
                <a:gd name="T64" fmla="*/ 158 w 158"/>
                <a:gd name="T65" fmla="*/ 92 h 158"/>
                <a:gd name="T66" fmla="*/ 79 w 158"/>
                <a:gd name="T67" fmla="*/ 112 h 158"/>
                <a:gd name="T68" fmla="*/ 79 w 158"/>
                <a:gd name="T69" fmla="*/ 46 h 158"/>
                <a:gd name="T70" fmla="*/ 79 w 158"/>
                <a:gd name="T71" fmla="*/ 112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58" h="158">
                  <a:moveTo>
                    <a:pt x="158" y="92"/>
                  </a:moveTo>
                  <a:cubicBezTo>
                    <a:pt x="158" y="66"/>
                    <a:pt x="158" y="66"/>
                    <a:pt x="158" y="66"/>
                  </a:cubicBezTo>
                  <a:cubicBezTo>
                    <a:pt x="133" y="66"/>
                    <a:pt x="133" y="66"/>
                    <a:pt x="133" y="66"/>
                  </a:cubicBezTo>
                  <a:cubicBezTo>
                    <a:pt x="132" y="60"/>
                    <a:pt x="130" y="55"/>
                    <a:pt x="127" y="50"/>
                  </a:cubicBezTo>
                  <a:cubicBezTo>
                    <a:pt x="144" y="33"/>
                    <a:pt x="144" y="33"/>
                    <a:pt x="144" y="33"/>
                  </a:cubicBezTo>
                  <a:cubicBezTo>
                    <a:pt x="125" y="14"/>
                    <a:pt x="125" y="14"/>
                    <a:pt x="125" y="14"/>
                  </a:cubicBezTo>
                  <a:cubicBezTo>
                    <a:pt x="108" y="31"/>
                    <a:pt x="108" y="31"/>
                    <a:pt x="108" y="31"/>
                  </a:cubicBezTo>
                  <a:cubicBezTo>
                    <a:pt x="103" y="28"/>
                    <a:pt x="98" y="26"/>
                    <a:pt x="92" y="25"/>
                  </a:cubicBezTo>
                  <a:cubicBezTo>
                    <a:pt x="92" y="0"/>
                    <a:pt x="92" y="0"/>
                    <a:pt x="92" y="0"/>
                  </a:cubicBezTo>
                  <a:cubicBezTo>
                    <a:pt x="66" y="0"/>
                    <a:pt x="66" y="0"/>
                    <a:pt x="66" y="0"/>
                  </a:cubicBezTo>
                  <a:cubicBezTo>
                    <a:pt x="66" y="25"/>
                    <a:pt x="66" y="25"/>
                    <a:pt x="66" y="25"/>
                  </a:cubicBezTo>
                  <a:cubicBezTo>
                    <a:pt x="60" y="26"/>
                    <a:pt x="54" y="28"/>
                    <a:pt x="49" y="31"/>
                  </a:cubicBezTo>
                  <a:cubicBezTo>
                    <a:pt x="32" y="14"/>
                    <a:pt x="32" y="14"/>
                    <a:pt x="32" y="14"/>
                  </a:cubicBezTo>
                  <a:cubicBezTo>
                    <a:pt x="13" y="33"/>
                    <a:pt x="13" y="33"/>
                    <a:pt x="13" y="33"/>
                  </a:cubicBezTo>
                  <a:cubicBezTo>
                    <a:pt x="31" y="50"/>
                    <a:pt x="31" y="50"/>
                    <a:pt x="31" y="50"/>
                  </a:cubicBezTo>
                  <a:cubicBezTo>
                    <a:pt x="28" y="55"/>
                    <a:pt x="26" y="60"/>
                    <a:pt x="24" y="66"/>
                  </a:cubicBezTo>
                  <a:cubicBezTo>
                    <a:pt x="0" y="66"/>
                    <a:pt x="0" y="66"/>
                    <a:pt x="0" y="66"/>
                  </a:cubicBezTo>
                  <a:cubicBezTo>
                    <a:pt x="0" y="92"/>
                    <a:pt x="0" y="92"/>
                    <a:pt x="0" y="92"/>
                  </a:cubicBezTo>
                  <a:cubicBezTo>
                    <a:pt x="24" y="92"/>
                    <a:pt x="24" y="92"/>
                    <a:pt x="24" y="92"/>
                  </a:cubicBezTo>
                  <a:cubicBezTo>
                    <a:pt x="26" y="98"/>
                    <a:pt x="28" y="104"/>
                    <a:pt x="31" y="109"/>
                  </a:cubicBezTo>
                  <a:cubicBezTo>
                    <a:pt x="13" y="126"/>
                    <a:pt x="13" y="126"/>
                    <a:pt x="13" y="126"/>
                  </a:cubicBezTo>
                  <a:cubicBezTo>
                    <a:pt x="32" y="145"/>
                    <a:pt x="32" y="145"/>
                    <a:pt x="32" y="145"/>
                  </a:cubicBezTo>
                  <a:cubicBezTo>
                    <a:pt x="49" y="127"/>
                    <a:pt x="49" y="127"/>
                    <a:pt x="49" y="127"/>
                  </a:cubicBezTo>
                  <a:cubicBezTo>
                    <a:pt x="54" y="130"/>
                    <a:pt x="60" y="133"/>
                    <a:pt x="66" y="134"/>
                  </a:cubicBezTo>
                  <a:cubicBezTo>
                    <a:pt x="66" y="158"/>
                    <a:pt x="66" y="158"/>
                    <a:pt x="66" y="158"/>
                  </a:cubicBezTo>
                  <a:cubicBezTo>
                    <a:pt x="92" y="158"/>
                    <a:pt x="92" y="158"/>
                    <a:pt x="92" y="158"/>
                  </a:cubicBezTo>
                  <a:cubicBezTo>
                    <a:pt x="92" y="134"/>
                    <a:pt x="92" y="134"/>
                    <a:pt x="92" y="134"/>
                  </a:cubicBezTo>
                  <a:cubicBezTo>
                    <a:pt x="98" y="133"/>
                    <a:pt x="103" y="130"/>
                    <a:pt x="108" y="127"/>
                  </a:cubicBezTo>
                  <a:cubicBezTo>
                    <a:pt x="125" y="145"/>
                    <a:pt x="125" y="145"/>
                    <a:pt x="125" y="145"/>
                  </a:cubicBezTo>
                  <a:cubicBezTo>
                    <a:pt x="144" y="126"/>
                    <a:pt x="144" y="126"/>
                    <a:pt x="144" y="126"/>
                  </a:cubicBezTo>
                  <a:cubicBezTo>
                    <a:pt x="127" y="109"/>
                    <a:pt x="127" y="109"/>
                    <a:pt x="127" y="109"/>
                  </a:cubicBezTo>
                  <a:cubicBezTo>
                    <a:pt x="130" y="104"/>
                    <a:pt x="132" y="98"/>
                    <a:pt x="133" y="92"/>
                  </a:cubicBezTo>
                  <a:lnTo>
                    <a:pt x="158" y="92"/>
                  </a:lnTo>
                  <a:close/>
                  <a:moveTo>
                    <a:pt x="79" y="112"/>
                  </a:moveTo>
                  <a:cubicBezTo>
                    <a:pt x="35" y="112"/>
                    <a:pt x="35" y="47"/>
                    <a:pt x="79" y="46"/>
                  </a:cubicBezTo>
                  <a:cubicBezTo>
                    <a:pt x="122" y="47"/>
                    <a:pt x="122" y="112"/>
                    <a:pt x="79" y="112"/>
                  </a:cubicBezTo>
                  <a:close/>
                </a:path>
              </a:pathLst>
            </a:custGeom>
            <a:solidFill>
              <a:srgbClr val="C2DD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79" name="Freeform 10">
              <a:extLst>
                <a:ext uri="{FF2B5EF4-FFF2-40B4-BE49-F238E27FC236}">
                  <a16:creationId xmlns:a16="http://schemas.microsoft.com/office/drawing/2014/main" id="{BBBD92EB-84D8-4ABA-AC9A-B7A7DAA1E869}"/>
                </a:ext>
              </a:extLst>
            </p:cNvPr>
            <p:cNvSpPr>
              <a:spLocks/>
            </p:cNvSpPr>
            <p:nvPr/>
          </p:nvSpPr>
          <p:spPr bwMode="auto">
            <a:xfrm>
              <a:off x="7304088" y="2602707"/>
              <a:ext cx="614363" cy="584200"/>
            </a:xfrm>
            <a:custGeom>
              <a:avLst/>
              <a:gdLst>
                <a:gd name="T0" fmla="*/ 145 w 145"/>
                <a:gd name="T1" fmla="*/ 72 h 138"/>
                <a:gd name="T2" fmla="*/ 145 w 145"/>
                <a:gd name="T3" fmla="*/ 46 h 138"/>
                <a:gd name="T4" fmla="*/ 120 w 145"/>
                <a:gd name="T5" fmla="*/ 46 h 138"/>
                <a:gd name="T6" fmla="*/ 114 w 145"/>
                <a:gd name="T7" fmla="*/ 30 h 138"/>
                <a:gd name="T8" fmla="*/ 131 w 145"/>
                <a:gd name="T9" fmla="*/ 13 h 138"/>
                <a:gd name="T10" fmla="*/ 118 w 145"/>
                <a:gd name="T11" fmla="*/ 0 h 138"/>
                <a:gd name="T12" fmla="*/ 93 w 145"/>
                <a:gd name="T13" fmla="*/ 41 h 138"/>
                <a:gd name="T14" fmla="*/ 37 w 145"/>
                <a:gd name="T15" fmla="*/ 76 h 138"/>
                <a:gd name="T16" fmla="*/ 16 w 145"/>
                <a:gd name="T17" fmla="*/ 85 h 138"/>
                <a:gd name="T18" fmla="*/ 18 w 145"/>
                <a:gd name="T19" fmla="*/ 89 h 138"/>
                <a:gd name="T20" fmla="*/ 0 w 145"/>
                <a:gd name="T21" fmla="*/ 106 h 138"/>
                <a:gd name="T22" fmla="*/ 19 w 145"/>
                <a:gd name="T23" fmla="*/ 125 h 138"/>
                <a:gd name="T24" fmla="*/ 36 w 145"/>
                <a:gd name="T25" fmla="*/ 107 h 138"/>
                <a:gd name="T26" fmla="*/ 53 w 145"/>
                <a:gd name="T27" fmla="*/ 114 h 138"/>
                <a:gd name="T28" fmla="*/ 53 w 145"/>
                <a:gd name="T29" fmla="*/ 138 h 138"/>
                <a:gd name="T30" fmla="*/ 79 w 145"/>
                <a:gd name="T31" fmla="*/ 138 h 138"/>
                <a:gd name="T32" fmla="*/ 79 w 145"/>
                <a:gd name="T33" fmla="*/ 114 h 138"/>
                <a:gd name="T34" fmla="*/ 95 w 145"/>
                <a:gd name="T35" fmla="*/ 107 h 138"/>
                <a:gd name="T36" fmla="*/ 112 w 145"/>
                <a:gd name="T37" fmla="*/ 125 h 138"/>
                <a:gd name="T38" fmla="*/ 131 w 145"/>
                <a:gd name="T39" fmla="*/ 106 h 138"/>
                <a:gd name="T40" fmla="*/ 114 w 145"/>
                <a:gd name="T41" fmla="*/ 89 h 138"/>
                <a:gd name="T42" fmla="*/ 120 w 145"/>
                <a:gd name="T43" fmla="*/ 72 h 138"/>
                <a:gd name="T44" fmla="*/ 145 w 145"/>
                <a:gd name="T45" fmla="*/ 72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5" h="138">
                  <a:moveTo>
                    <a:pt x="145" y="72"/>
                  </a:moveTo>
                  <a:cubicBezTo>
                    <a:pt x="145" y="46"/>
                    <a:pt x="145" y="46"/>
                    <a:pt x="145" y="46"/>
                  </a:cubicBezTo>
                  <a:cubicBezTo>
                    <a:pt x="120" y="46"/>
                    <a:pt x="120" y="46"/>
                    <a:pt x="120" y="46"/>
                  </a:cubicBezTo>
                  <a:cubicBezTo>
                    <a:pt x="119" y="40"/>
                    <a:pt x="117" y="35"/>
                    <a:pt x="114" y="30"/>
                  </a:cubicBezTo>
                  <a:cubicBezTo>
                    <a:pt x="131" y="13"/>
                    <a:pt x="131" y="13"/>
                    <a:pt x="131" y="13"/>
                  </a:cubicBezTo>
                  <a:cubicBezTo>
                    <a:pt x="118" y="0"/>
                    <a:pt x="118" y="0"/>
                    <a:pt x="118" y="0"/>
                  </a:cubicBezTo>
                  <a:cubicBezTo>
                    <a:pt x="112" y="15"/>
                    <a:pt x="104" y="29"/>
                    <a:pt x="93" y="41"/>
                  </a:cubicBezTo>
                  <a:cubicBezTo>
                    <a:pt x="117" y="79"/>
                    <a:pt x="60" y="114"/>
                    <a:pt x="37" y="76"/>
                  </a:cubicBezTo>
                  <a:cubicBezTo>
                    <a:pt x="30" y="79"/>
                    <a:pt x="23" y="82"/>
                    <a:pt x="16" y="85"/>
                  </a:cubicBezTo>
                  <a:cubicBezTo>
                    <a:pt x="17" y="86"/>
                    <a:pt x="17" y="88"/>
                    <a:pt x="18" y="89"/>
                  </a:cubicBezTo>
                  <a:cubicBezTo>
                    <a:pt x="0" y="106"/>
                    <a:pt x="0" y="106"/>
                    <a:pt x="0" y="106"/>
                  </a:cubicBezTo>
                  <a:cubicBezTo>
                    <a:pt x="19" y="125"/>
                    <a:pt x="19" y="125"/>
                    <a:pt x="19" y="125"/>
                  </a:cubicBezTo>
                  <a:cubicBezTo>
                    <a:pt x="36" y="107"/>
                    <a:pt x="36" y="107"/>
                    <a:pt x="36" y="107"/>
                  </a:cubicBezTo>
                  <a:cubicBezTo>
                    <a:pt x="41" y="110"/>
                    <a:pt x="47" y="113"/>
                    <a:pt x="53" y="114"/>
                  </a:cubicBezTo>
                  <a:cubicBezTo>
                    <a:pt x="53" y="138"/>
                    <a:pt x="53" y="138"/>
                    <a:pt x="53" y="138"/>
                  </a:cubicBezTo>
                  <a:cubicBezTo>
                    <a:pt x="79" y="138"/>
                    <a:pt x="79" y="138"/>
                    <a:pt x="79" y="138"/>
                  </a:cubicBezTo>
                  <a:cubicBezTo>
                    <a:pt x="79" y="114"/>
                    <a:pt x="79" y="114"/>
                    <a:pt x="79" y="114"/>
                  </a:cubicBezTo>
                  <a:cubicBezTo>
                    <a:pt x="85" y="113"/>
                    <a:pt x="90" y="110"/>
                    <a:pt x="95" y="107"/>
                  </a:cubicBezTo>
                  <a:cubicBezTo>
                    <a:pt x="112" y="125"/>
                    <a:pt x="112" y="125"/>
                    <a:pt x="112" y="125"/>
                  </a:cubicBezTo>
                  <a:cubicBezTo>
                    <a:pt x="131" y="106"/>
                    <a:pt x="131" y="106"/>
                    <a:pt x="131" y="106"/>
                  </a:cubicBezTo>
                  <a:cubicBezTo>
                    <a:pt x="114" y="89"/>
                    <a:pt x="114" y="89"/>
                    <a:pt x="114" y="89"/>
                  </a:cubicBezTo>
                  <a:cubicBezTo>
                    <a:pt x="117" y="84"/>
                    <a:pt x="119" y="78"/>
                    <a:pt x="120" y="72"/>
                  </a:cubicBezTo>
                  <a:lnTo>
                    <a:pt x="145" y="72"/>
                  </a:lnTo>
                  <a:close/>
                </a:path>
              </a:pathLst>
            </a:custGeom>
            <a:solidFill>
              <a:srgbClr val="62A9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80" name="Freeform 11">
              <a:extLst>
                <a:ext uri="{FF2B5EF4-FFF2-40B4-BE49-F238E27FC236}">
                  <a16:creationId xmlns:a16="http://schemas.microsoft.com/office/drawing/2014/main" id="{DF8593A6-CEF1-47F5-8043-A8C041A8AFD3}"/>
                </a:ext>
              </a:extLst>
            </p:cNvPr>
            <p:cNvSpPr>
              <a:spLocks noEditPoints="1"/>
            </p:cNvSpPr>
            <p:nvPr/>
          </p:nvSpPr>
          <p:spPr bwMode="auto">
            <a:xfrm>
              <a:off x="7194550" y="2467769"/>
              <a:ext cx="774700" cy="774700"/>
            </a:xfrm>
            <a:custGeom>
              <a:avLst/>
              <a:gdLst>
                <a:gd name="T0" fmla="*/ 76 w 183"/>
                <a:gd name="T1" fmla="*/ 148 h 183"/>
                <a:gd name="T2" fmla="*/ 24 w 183"/>
                <a:gd name="T3" fmla="*/ 140 h 183"/>
                <a:gd name="T4" fmla="*/ 40 w 183"/>
                <a:gd name="T5" fmla="*/ 120 h 183"/>
                <a:gd name="T6" fmla="*/ 10 w 183"/>
                <a:gd name="T7" fmla="*/ 78 h 183"/>
                <a:gd name="T8" fmla="*/ 35 w 183"/>
                <a:gd name="T9" fmla="*/ 75 h 183"/>
                <a:gd name="T10" fmla="*/ 43 w 183"/>
                <a:gd name="T11" fmla="*/ 24 h 183"/>
                <a:gd name="T12" fmla="*/ 63 w 183"/>
                <a:gd name="T13" fmla="*/ 40 h 183"/>
                <a:gd name="T14" fmla="*/ 105 w 183"/>
                <a:gd name="T15" fmla="*/ 9 h 183"/>
                <a:gd name="T16" fmla="*/ 108 w 183"/>
                <a:gd name="T17" fmla="*/ 35 h 183"/>
                <a:gd name="T18" fmla="*/ 159 w 183"/>
                <a:gd name="T19" fmla="*/ 43 h 183"/>
                <a:gd name="T20" fmla="*/ 143 w 183"/>
                <a:gd name="T21" fmla="*/ 62 h 183"/>
                <a:gd name="T22" fmla="*/ 174 w 183"/>
                <a:gd name="T23" fmla="*/ 104 h 183"/>
                <a:gd name="T24" fmla="*/ 148 w 183"/>
                <a:gd name="T25" fmla="*/ 107 h 183"/>
                <a:gd name="T26" fmla="*/ 159 w 183"/>
                <a:gd name="T27" fmla="*/ 136 h 183"/>
                <a:gd name="T28" fmla="*/ 121 w 183"/>
                <a:gd name="T29" fmla="*/ 143 h 183"/>
                <a:gd name="T30" fmla="*/ 108 w 183"/>
                <a:gd name="T31" fmla="*/ 170 h 183"/>
                <a:gd name="T32" fmla="*/ 81 w 183"/>
                <a:gd name="T33" fmla="*/ 168 h 183"/>
                <a:gd name="T34" fmla="*/ 102 w 183"/>
                <a:gd name="T35" fmla="*/ 146 h 183"/>
                <a:gd name="T36" fmla="*/ 138 w 183"/>
                <a:gd name="T37" fmla="*/ 153 h 183"/>
                <a:gd name="T38" fmla="*/ 144 w 183"/>
                <a:gd name="T39" fmla="*/ 104 h 183"/>
                <a:gd name="T40" fmla="*/ 168 w 183"/>
                <a:gd name="T41" fmla="*/ 102 h 183"/>
                <a:gd name="T42" fmla="*/ 146 w 183"/>
                <a:gd name="T43" fmla="*/ 81 h 183"/>
                <a:gd name="T44" fmla="*/ 153 w 183"/>
                <a:gd name="T45" fmla="*/ 45 h 183"/>
                <a:gd name="T46" fmla="*/ 104 w 183"/>
                <a:gd name="T47" fmla="*/ 40 h 183"/>
                <a:gd name="T48" fmla="*/ 102 w 183"/>
                <a:gd name="T49" fmla="*/ 15 h 183"/>
                <a:gd name="T50" fmla="*/ 81 w 183"/>
                <a:gd name="T51" fmla="*/ 37 h 183"/>
                <a:gd name="T52" fmla="*/ 45 w 183"/>
                <a:gd name="T53" fmla="*/ 30 h 183"/>
                <a:gd name="T54" fmla="*/ 40 w 183"/>
                <a:gd name="T55" fmla="*/ 79 h 183"/>
                <a:gd name="T56" fmla="*/ 15 w 183"/>
                <a:gd name="T57" fmla="*/ 81 h 183"/>
                <a:gd name="T58" fmla="*/ 37 w 183"/>
                <a:gd name="T59" fmla="*/ 102 h 183"/>
                <a:gd name="T60" fmla="*/ 30 w 183"/>
                <a:gd name="T61" fmla="*/ 138 h 183"/>
                <a:gd name="T62" fmla="*/ 79 w 183"/>
                <a:gd name="T63" fmla="*/ 143 h 183"/>
                <a:gd name="T64" fmla="*/ 81 w 183"/>
                <a:gd name="T65" fmla="*/ 168 h 183"/>
                <a:gd name="T66" fmla="*/ 92 w 183"/>
                <a:gd name="T67" fmla="*/ 55 h 183"/>
                <a:gd name="T68" fmla="*/ 92 w 183"/>
                <a:gd name="T69" fmla="*/ 61 h 183"/>
                <a:gd name="T70" fmla="*/ 92 w 183"/>
                <a:gd name="T71" fmla="*/ 61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83" h="183">
                  <a:moveTo>
                    <a:pt x="105" y="173"/>
                  </a:moveTo>
                  <a:cubicBezTo>
                    <a:pt x="71" y="171"/>
                    <a:pt x="76" y="183"/>
                    <a:pt x="76" y="148"/>
                  </a:cubicBezTo>
                  <a:cubicBezTo>
                    <a:pt x="71" y="147"/>
                    <a:pt x="67" y="145"/>
                    <a:pt x="63" y="143"/>
                  </a:cubicBezTo>
                  <a:cubicBezTo>
                    <a:pt x="38" y="167"/>
                    <a:pt x="50" y="163"/>
                    <a:pt x="24" y="140"/>
                  </a:cubicBezTo>
                  <a:cubicBezTo>
                    <a:pt x="23" y="139"/>
                    <a:pt x="23" y="137"/>
                    <a:pt x="24" y="136"/>
                  </a:cubicBezTo>
                  <a:cubicBezTo>
                    <a:pt x="40" y="120"/>
                    <a:pt x="40" y="120"/>
                    <a:pt x="40" y="120"/>
                  </a:cubicBezTo>
                  <a:cubicBezTo>
                    <a:pt x="38" y="116"/>
                    <a:pt x="36" y="112"/>
                    <a:pt x="35" y="107"/>
                  </a:cubicBezTo>
                  <a:cubicBezTo>
                    <a:pt x="0" y="107"/>
                    <a:pt x="12" y="113"/>
                    <a:pt x="10" y="78"/>
                  </a:cubicBezTo>
                  <a:cubicBezTo>
                    <a:pt x="10" y="77"/>
                    <a:pt x="11" y="75"/>
                    <a:pt x="13" y="75"/>
                  </a:cubicBezTo>
                  <a:cubicBezTo>
                    <a:pt x="35" y="75"/>
                    <a:pt x="35" y="75"/>
                    <a:pt x="35" y="75"/>
                  </a:cubicBezTo>
                  <a:cubicBezTo>
                    <a:pt x="36" y="71"/>
                    <a:pt x="38" y="67"/>
                    <a:pt x="40" y="62"/>
                  </a:cubicBezTo>
                  <a:cubicBezTo>
                    <a:pt x="16" y="38"/>
                    <a:pt x="20" y="50"/>
                    <a:pt x="43" y="24"/>
                  </a:cubicBezTo>
                  <a:cubicBezTo>
                    <a:pt x="44" y="23"/>
                    <a:pt x="46" y="23"/>
                    <a:pt x="47" y="24"/>
                  </a:cubicBezTo>
                  <a:cubicBezTo>
                    <a:pt x="63" y="40"/>
                    <a:pt x="63" y="40"/>
                    <a:pt x="63" y="40"/>
                  </a:cubicBezTo>
                  <a:cubicBezTo>
                    <a:pt x="67" y="38"/>
                    <a:pt x="71" y="36"/>
                    <a:pt x="76" y="35"/>
                  </a:cubicBezTo>
                  <a:cubicBezTo>
                    <a:pt x="76" y="0"/>
                    <a:pt x="71" y="11"/>
                    <a:pt x="105" y="9"/>
                  </a:cubicBezTo>
                  <a:cubicBezTo>
                    <a:pt x="106" y="9"/>
                    <a:pt x="108" y="11"/>
                    <a:pt x="108" y="12"/>
                  </a:cubicBezTo>
                  <a:cubicBezTo>
                    <a:pt x="108" y="35"/>
                    <a:pt x="108" y="35"/>
                    <a:pt x="108" y="35"/>
                  </a:cubicBezTo>
                  <a:cubicBezTo>
                    <a:pt x="112" y="36"/>
                    <a:pt x="116" y="38"/>
                    <a:pt x="121" y="40"/>
                  </a:cubicBezTo>
                  <a:cubicBezTo>
                    <a:pt x="145" y="16"/>
                    <a:pt x="133" y="20"/>
                    <a:pt x="159" y="43"/>
                  </a:cubicBezTo>
                  <a:cubicBezTo>
                    <a:pt x="160" y="44"/>
                    <a:pt x="160" y="46"/>
                    <a:pt x="159" y="47"/>
                  </a:cubicBezTo>
                  <a:cubicBezTo>
                    <a:pt x="143" y="62"/>
                    <a:pt x="143" y="62"/>
                    <a:pt x="143" y="62"/>
                  </a:cubicBezTo>
                  <a:cubicBezTo>
                    <a:pt x="145" y="67"/>
                    <a:pt x="147" y="71"/>
                    <a:pt x="148" y="75"/>
                  </a:cubicBezTo>
                  <a:cubicBezTo>
                    <a:pt x="183" y="76"/>
                    <a:pt x="172" y="70"/>
                    <a:pt x="174" y="104"/>
                  </a:cubicBezTo>
                  <a:cubicBezTo>
                    <a:pt x="174" y="106"/>
                    <a:pt x="172" y="107"/>
                    <a:pt x="171" y="107"/>
                  </a:cubicBezTo>
                  <a:cubicBezTo>
                    <a:pt x="148" y="107"/>
                    <a:pt x="148" y="107"/>
                    <a:pt x="148" y="107"/>
                  </a:cubicBezTo>
                  <a:cubicBezTo>
                    <a:pt x="147" y="112"/>
                    <a:pt x="145" y="116"/>
                    <a:pt x="143" y="120"/>
                  </a:cubicBezTo>
                  <a:cubicBezTo>
                    <a:pt x="159" y="136"/>
                    <a:pt x="159" y="136"/>
                    <a:pt x="159" y="136"/>
                  </a:cubicBezTo>
                  <a:cubicBezTo>
                    <a:pt x="160" y="137"/>
                    <a:pt x="160" y="139"/>
                    <a:pt x="159" y="140"/>
                  </a:cubicBezTo>
                  <a:cubicBezTo>
                    <a:pt x="134" y="163"/>
                    <a:pt x="145" y="167"/>
                    <a:pt x="121" y="143"/>
                  </a:cubicBezTo>
                  <a:cubicBezTo>
                    <a:pt x="116" y="145"/>
                    <a:pt x="112" y="147"/>
                    <a:pt x="108" y="148"/>
                  </a:cubicBezTo>
                  <a:cubicBezTo>
                    <a:pt x="108" y="170"/>
                    <a:pt x="108" y="170"/>
                    <a:pt x="108" y="170"/>
                  </a:cubicBezTo>
                  <a:cubicBezTo>
                    <a:pt x="108" y="172"/>
                    <a:pt x="106" y="173"/>
                    <a:pt x="105" y="173"/>
                  </a:cubicBezTo>
                  <a:close/>
                  <a:moveTo>
                    <a:pt x="81" y="168"/>
                  </a:moveTo>
                  <a:cubicBezTo>
                    <a:pt x="102" y="168"/>
                    <a:pt x="102" y="168"/>
                    <a:pt x="102" y="168"/>
                  </a:cubicBezTo>
                  <a:cubicBezTo>
                    <a:pt x="102" y="146"/>
                    <a:pt x="102" y="146"/>
                    <a:pt x="102" y="146"/>
                  </a:cubicBezTo>
                  <a:cubicBezTo>
                    <a:pt x="102" y="145"/>
                    <a:pt x="103" y="143"/>
                    <a:pt x="104" y="143"/>
                  </a:cubicBezTo>
                  <a:cubicBezTo>
                    <a:pt x="130" y="136"/>
                    <a:pt x="114" y="130"/>
                    <a:pt x="138" y="153"/>
                  </a:cubicBezTo>
                  <a:cubicBezTo>
                    <a:pt x="153" y="138"/>
                    <a:pt x="153" y="138"/>
                    <a:pt x="153" y="138"/>
                  </a:cubicBezTo>
                  <a:cubicBezTo>
                    <a:pt x="131" y="114"/>
                    <a:pt x="136" y="130"/>
                    <a:pt x="144" y="104"/>
                  </a:cubicBezTo>
                  <a:cubicBezTo>
                    <a:pt x="144" y="103"/>
                    <a:pt x="145" y="102"/>
                    <a:pt x="146" y="102"/>
                  </a:cubicBezTo>
                  <a:cubicBezTo>
                    <a:pt x="168" y="102"/>
                    <a:pt x="168" y="102"/>
                    <a:pt x="168" y="102"/>
                  </a:cubicBezTo>
                  <a:cubicBezTo>
                    <a:pt x="168" y="81"/>
                    <a:pt x="168" y="81"/>
                    <a:pt x="168" y="81"/>
                  </a:cubicBezTo>
                  <a:cubicBezTo>
                    <a:pt x="146" y="81"/>
                    <a:pt x="146" y="81"/>
                    <a:pt x="146" y="81"/>
                  </a:cubicBezTo>
                  <a:cubicBezTo>
                    <a:pt x="145" y="81"/>
                    <a:pt x="144" y="80"/>
                    <a:pt x="144" y="79"/>
                  </a:cubicBezTo>
                  <a:cubicBezTo>
                    <a:pt x="136" y="53"/>
                    <a:pt x="130" y="69"/>
                    <a:pt x="153" y="45"/>
                  </a:cubicBezTo>
                  <a:cubicBezTo>
                    <a:pt x="138" y="30"/>
                    <a:pt x="138" y="30"/>
                    <a:pt x="138" y="30"/>
                  </a:cubicBezTo>
                  <a:cubicBezTo>
                    <a:pt x="114" y="53"/>
                    <a:pt x="130" y="47"/>
                    <a:pt x="104" y="40"/>
                  </a:cubicBezTo>
                  <a:cubicBezTo>
                    <a:pt x="103" y="39"/>
                    <a:pt x="102" y="38"/>
                    <a:pt x="102" y="37"/>
                  </a:cubicBezTo>
                  <a:cubicBezTo>
                    <a:pt x="102" y="15"/>
                    <a:pt x="102" y="15"/>
                    <a:pt x="102" y="15"/>
                  </a:cubicBezTo>
                  <a:cubicBezTo>
                    <a:pt x="81" y="15"/>
                    <a:pt x="81" y="15"/>
                    <a:pt x="81" y="15"/>
                  </a:cubicBezTo>
                  <a:cubicBezTo>
                    <a:pt x="81" y="37"/>
                    <a:pt x="81" y="37"/>
                    <a:pt x="81" y="37"/>
                  </a:cubicBezTo>
                  <a:cubicBezTo>
                    <a:pt x="81" y="38"/>
                    <a:pt x="81" y="39"/>
                    <a:pt x="79" y="40"/>
                  </a:cubicBezTo>
                  <a:cubicBezTo>
                    <a:pt x="53" y="47"/>
                    <a:pt x="69" y="53"/>
                    <a:pt x="45" y="30"/>
                  </a:cubicBezTo>
                  <a:cubicBezTo>
                    <a:pt x="30" y="45"/>
                    <a:pt x="30" y="45"/>
                    <a:pt x="30" y="45"/>
                  </a:cubicBezTo>
                  <a:cubicBezTo>
                    <a:pt x="53" y="69"/>
                    <a:pt x="47" y="53"/>
                    <a:pt x="40" y="79"/>
                  </a:cubicBezTo>
                  <a:cubicBezTo>
                    <a:pt x="40" y="80"/>
                    <a:pt x="38" y="81"/>
                    <a:pt x="37" y="81"/>
                  </a:cubicBezTo>
                  <a:cubicBezTo>
                    <a:pt x="15" y="81"/>
                    <a:pt x="15" y="81"/>
                    <a:pt x="15" y="81"/>
                  </a:cubicBezTo>
                  <a:cubicBezTo>
                    <a:pt x="15" y="102"/>
                    <a:pt x="15" y="102"/>
                    <a:pt x="15" y="102"/>
                  </a:cubicBezTo>
                  <a:cubicBezTo>
                    <a:pt x="37" y="102"/>
                    <a:pt x="37" y="102"/>
                    <a:pt x="37" y="102"/>
                  </a:cubicBezTo>
                  <a:cubicBezTo>
                    <a:pt x="38" y="102"/>
                    <a:pt x="40" y="103"/>
                    <a:pt x="40" y="104"/>
                  </a:cubicBezTo>
                  <a:cubicBezTo>
                    <a:pt x="47" y="130"/>
                    <a:pt x="53" y="114"/>
                    <a:pt x="30" y="138"/>
                  </a:cubicBezTo>
                  <a:cubicBezTo>
                    <a:pt x="45" y="153"/>
                    <a:pt x="45" y="153"/>
                    <a:pt x="45" y="153"/>
                  </a:cubicBezTo>
                  <a:cubicBezTo>
                    <a:pt x="69" y="130"/>
                    <a:pt x="53" y="136"/>
                    <a:pt x="79" y="143"/>
                  </a:cubicBezTo>
                  <a:cubicBezTo>
                    <a:pt x="81" y="143"/>
                    <a:pt x="81" y="145"/>
                    <a:pt x="81" y="146"/>
                  </a:cubicBezTo>
                  <a:lnTo>
                    <a:pt x="81" y="168"/>
                  </a:lnTo>
                  <a:close/>
                  <a:moveTo>
                    <a:pt x="92" y="127"/>
                  </a:moveTo>
                  <a:cubicBezTo>
                    <a:pt x="44" y="126"/>
                    <a:pt x="44" y="56"/>
                    <a:pt x="92" y="55"/>
                  </a:cubicBezTo>
                  <a:cubicBezTo>
                    <a:pt x="139" y="56"/>
                    <a:pt x="139" y="126"/>
                    <a:pt x="92" y="127"/>
                  </a:cubicBezTo>
                  <a:close/>
                  <a:moveTo>
                    <a:pt x="92" y="61"/>
                  </a:moveTo>
                  <a:cubicBezTo>
                    <a:pt x="52" y="62"/>
                    <a:pt x="52" y="121"/>
                    <a:pt x="92" y="122"/>
                  </a:cubicBezTo>
                  <a:cubicBezTo>
                    <a:pt x="132" y="121"/>
                    <a:pt x="132" y="62"/>
                    <a:pt x="92" y="61"/>
                  </a:cubicBezTo>
                  <a:close/>
                </a:path>
              </a:pathLst>
            </a:custGeom>
            <a:solidFill>
              <a:srgbClr val="0C11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81" name="Freeform 12">
              <a:extLst>
                <a:ext uri="{FF2B5EF4-FFF2-40B4-BE49-F238E27FC236}">
                  <a16:creationId xmlns:a16="http://schemas.microsoft.com/office/drawing/2014/main" id="{005C9866-F33A-424D-A48D-45CFE49B839C}"/>
                </a:ext>
              </a:extLst>
            </p:cNvPr>
            <p:cNvSpPr>
              <a:spLocks noEditPoints="1"/>
            </p:cNvSpPr>
            <p:nvPr/>
          </p:nvSpPr>
          <p:spPr bwMode="auto">
            <a:xfrm>
              <a:off x="7673975" y="4677569"/>
              <a:ext cx="490538" cy="492125"/>
            </a:xfrm>
            <a:custGeom>
              <a:avLst/>
              <a:gdLst>
                <a:gd name="T0" fmla="*/ 116 w 116"/>
                <a:gd name="T1" fmla="*/ 68 h 116"/>
                <a:gd name="T2" fmla="*/ 116 w 116"/>
                <a:gd name="T3" fmla="*/ 49 h 116"/>
                <a:gd name="T4" fmla="*/ 98 w 116"/>
                <a:gd name="T5" fmla="*/ 49 h 116"/>
                <a:gd name="T6" fmla="*/ 94 w 116"/>
                <a:gd name="T7" fmla="*/ 37 h 116"/>
                <a:gd name="T8" fmla="*/ 106 w 116"/>
                <a:gd name="T9" fmla="*/ 24 h 116"/>
                <a:gd name="T10" fmla="*/ 93 w 116"/>
                <a:gd name="T11" fmla="*/ 10 h 116"/>
                <a:gd name="T12" fmla="*/ 80 w 116"/>
                <a:gd name="T13" fmla="*/ 23 h 116"/>
                <a:gd name="T14" fmla="*/ 68 w 116"/>
                <a:gd name="T15" fmla="*/ 18 h 116"/>
                <a:gd name="T16" fmla="*/ 68 w 116"/>
                <a:gd name="T17" fmla="*/ 0 h 116"/>
                <a:gd name="T18" fmla="*/ 49 w 116"/>
                <a:gd name="T19" fmla="*/ 0 h 116"/>
                <a:gd name="T20" fmla="*/ 49 w 116"/>
                <a:gd name="T21" fmla="*/ 18 h 116"/>
                <a:gd name="T22" fmla="*/ 37 w 116"/>
                <a:gd name="T23" fmla="*/ 23 h 116"/>
                <a:gd name="T24" fmla="*/ 24 w 116"/>
                <a:gd name="T25" fmla="*/ 10 h 116"/>
                <a:gd name="T26" fmla="*/ 11 w 116"/>
                <a:gd name="T27" fmla="*/ 24 h 116"/>
                <a:gd name="T28" fmla="*/ 23 w 116"/>
                <a:gd name="T29" fmla="*/ 37 h 116"/>
                <a:gd name="T30" fmla="*/ 18 w 116"/>
                <a:gd name="T31" fmla="*/ 49 h 116"/>
                <a:gd name="T32" fmla="*/ 0 w 116"/>
                <a:gd name="T33" fmla="*/ 49 h 116"/>
                <a:gd name="T34" fmla="*/ 0 w 116"/>
                <a:gd name="T35" fmla="*/ 68 h 116"/>
                <a:gd name="T36" fmla="*/ 18 w 116"/>
                <a:gd name="T37" fmla="*/ 68 h 116"/>
                <a:gd name="T38" fmla="*/ 23 w 116"/>
                <a:gd name="T39" fmla="*/ 80 h 116"/>
                <a:gd name="T40" fmla="*/ 11 w 116"/>
                <a:gd name="T41" fmla="*/ 92 h 116"/>
                <a:gd name="T42" fmla="*/ 24 w 116"/>
                <a:gd name="T43" fmla="*/ 106 h 116"/>
                <a:gd name="T44" fmla="*/ 37 w 116"/>
                <a:gd name="T45" fmla="*/ 93 h 116"/>
                <a:gd name="T46" fmla="*/ 49 w 116"/>
                <a:gd name="T47" fmla="*/ 98 h 116"/>
                <a:gd name="T48" fmla="*/ 49 w 116"/>
                <a:gd name="T49" fmla="*/ 116 h 116"/>
                <a:gd name="T50" fmla="*/ 68 w 116"/>
                <a:gd name="T51" fmla="*/ 116 h 116"/>
                <a:gd name="T52" fmla="*/ 68 w 116"/>
                <a:gd name="T53" fmla="*/ 98 h 116"/>
                <a:gd name="T54" fmla="*/ 80 w 116"/>
                <a:gd name="T55" fmla="*/ 93 h 116"/>
                <a:gd name="T56" fmla="*/ 93 w 116"/>
                <a:gd name="T57" fmla="*/ 106 h 116"/>
                <a:gd name="T58" fmla="*/ 106 w 116"/>
                <a:gd name="T59" fmla="*/ 92 h 116"/>
                <a:gd name="T60" fmla="*/ 94 w 116"/>
                <a:gd name="T61" fmla="*/ 80 h 116"/>
                <a:gd name="T62" fmla="*/ 98 w 116"/>
                <a:gd name="T63" fmla="*/ 68 h 116"/>
                <a:gd name="T64" fmla="*/ 116 w 116"/>
                <a:gd name="T65" fmla="*/ 68 h 116"/>
                <a:gd name="T66" fmla="*/ 58 w 116"/>
                <a:gd name="T67" fmla="*/ 83 h 116"/>
                <a:gd name="T68" fmla="*/ 58 w 116"/>
                <a:gd name="T69" fmla="*/ 34 h 116"/>
                <a:gd name="T70" fmla="*/ 58 w 116"/>
                <a:gd name="T71" fmla="*/ 83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16" h="116">
                  <a:moveTo>
                    <a:pt x="116" y="68"/>
                  </a:moveTo>
                  <a:cubicBezTo>
                    <a:pt x="116" y="49"/>
                    <a:pt x="116" y="49"/>
                    <a:pt x="116" y="49"/>
                  </a:cubicBezTo>
                  <a:cubicBezTo>
                    <a:pt x="98" y="49"/>
                    <a:pt x="98" y="49"/>
                    <a:pt x="98" y="49"/>
                  </a:cubicBezTo>
                  <a:cubicBezTo>
                    <a:pt x="97" y="44"/>
                    <a:pt x="96" y="40"/>
                    <a:pt x="94" y="37"/>
                  </a:cubicBezTo>
                  <a:cubicBezTo>
                    <a:pt x="106" y="24"/>
                    <a:pt x="106" y="24"/>
                    <a:pt x="106" y="24"/>
                  </a:cubicBezTo>
                  <a:cubicBezTo>
                    <a:pt x="93" y="10"/>
                    <a:pt x="93" y="10"/>
                    <a:pt x="93" y="10"/>
                  </a:cubicBezTo>
                  <a:cubicBezTo>
                    <a:pt x="80" y="23"/>
                    <a:pt x="80" y="23"/>
                    <a:pt x="80" y="23"/>
                  </a:cubicBezTo>
                  <a:cubicBezTo>
                    <a:pt x="76" y="21"/>
                    <a:pt x="72" y="19"/>
                    <a:pt x="68" y="18"/>
                  </a:cubicBezTo>
                  <a:cubicBezTo>
                    <a:pt x="68" y="0"/>
                    <a:pt x="68" y="0"/>
                    <a:pt x="68" y="0"/>
                  </a:cubicBezTo>
                  <a:cubicBezTo>
                    <a:pt x="49" y="0"/>
                    <a:pt x="49" y="0"/>
                    <a:pt x="49" y="0"/>
                  </a:cubicBezTo>
                  <a:cubicBezTo>
                    <a:pt x="49" y="18"/>
                    <a:pt x="49" y="18"/>
                    <a:pt x="49" y="18"/>
                  </a:cubicBezTo>
                  <a:cubicBezTo>
                    <a:pt x="45" y="19"/>
                    <a:pt x="41" y="21"/>
                    <a:pt x="37" y="23"/>
                  </a:cubicBezTo>
                  <a:cubicBezTo>
                    <a:pt x="24" y="10"/>
                    <a:pt x="24" y="10"/>
                    <a:pt x="24" y="10"/>
                  </a:cubicBezTo>
                  <a:cubicBezTo>
                    <a:pt x="11" y="24"/>
                    <a:pt x="11" y="24"/>
                    <a:pt x="11" y="24"/>
                  </a:cubicBezTo>
                  <a:cubicBezTo>
                    <a:pt x="23" y="37"/>
                    <a:pt x="23" y="37"/>
                    <a:pt x="23" y="37"/>
                  </a:cubicBezTo>
                  <a:cubicBezTo>
                    <a:pt x="21" y="40"/>
                    <a:pt x="19" y="44"/>
                    <a:pt x="18" y="49"/>
                  </a:cubicBezTo>
                  <a:cubicBezTo>
                    <a:pt x="0" y="49"/>
                    <a:pt x="0" y="49"/>
                    <a:pt x="0" y="49"/>
                  </a:cubicBezTo>
                  <a:cubicBezTo>
                    <a:pt x="0" y="68"/>
                    <a:pt x="0" y="68"/>
                    <a:pt x="0" y="68"/>
                  </a:cubicBezTo>
                  <a:cubicBezTo>
                    <a:pt x="18" y="68"/>
                    <a:pt x="18" y="68"/>
                    <a:pt x="18" y="68"/>
                  </a:cubicBezTo>
                  <a:cubicBezTo>
                    <a:pt x="19" y="72"/>
                    <a:pt x="21" y="76"/>
                    <a:pt x="23" y="80"/>
                  </a:cubicBezTo>
                  <a:cubicBezTo>
                    <a:pt x="11" y="92"/>
                    <a:pt x="11" y="92"/>
                    <a:pt x="11" y="92"/>
                  </a:cubicBezTo>
                  <a:cubicBezTo>
                    <a:pt x="24" y="106"/>
                    <a:pt x="24" y="106"/>
                    <a:pt x="24" y="106"/>
                  </a:cubicBezTo>
                  <a:cubicBezTo>
                    <a:pt x="37" y="93"/>
                    <a:pt x="37" y="93"/>
                    <a:pt x="37" y="93"/>
                  </a:cubicBezTo>
                  <a:cubicBezTo>
                    <a:pt x="41" y="96"/>
                    <a:pt x="45" y="97"/>
                    <a:pt x="49" y="98"/>
                  </a:cubicBezTo>
                  <a:cubicBezTo>
                    <a:pt x="49" y="116"/>
                    <a:pt x="49" y="116"/>
                    <a:pt x="49" y="116"/>
                  </a:cubicBezTo>
                  <a:cubicBezTo>
                    <a:pt x="68" y="116"/>
                    <a:pt x="68" y="116"/>
                    <a:pt x="68" y="116"/>
                  </a:cubicBezTo>
                  <a:cubicBezTo>
                    <a:pt x="68" y="98"/>
                    <a:pt x="68" y="98"/>
                    <a:pt x="68" y="98"/>
                  </a:cubicBezTo>
                  <a:cubicBezTo>
                    <a:pt x="72" y="97"/>
                    <a:pt x="76" y="96"/>
                    <a:pt x="80" y="93"/>
                  </a:cubicBezTo>
                  <a:cubicBezTo>
                    <a:pt x="93" y="106"/>
                    <a:pt x="93" y="106"/>
                    <a:pt x="93" y="106"/>
                  </a:cubicBezTo>
                  <a:cubicBezTo>
                    <a:pt x="106" y="92"/>
                    <a:pt x="106" y="92"/>
                    <a:pt x="106" y="92"/>
                  </a:cubicBezTo>
                  <a:cubicBezTo>
                    <a:pt x="94" y="80"/>
                    <a:pt x="94" y="80"/>
                    <a:pt x="94" y="80"/>
                  </a:cubicBezTo>
                  <a:cubicBezTo>
                    <a:pt x="96" y="76"/>
                    <a:pt x="97" y="72"/>
                    <a:pt x="98" y="68"/>
                  </a:cubicBezTo>
                  <a:lnTo>
                    <a:pt x="116" y="68"/>
                  </a:lnTo>
                  <a:close/>
                  <a:moveTo>
                    <a:pt x="58" y="83"/>
                  </a:moveTo>
                  <a:cubicBezTo>
                    <a:pt x="27" y="82"/>
                    <a:pt x="27" y="34"/>
                    <a:pt x="58" y="34"/>
                  </a:cubicBezTo>
                  <a:cubicBezTo>
                    <a:pt x="90" y="34"/>
                    <a:pt x="90" y="82"/>
                    <a:pt x="58" y="83"/>
                  </a:cubicBezTo>
                  <a:close/>
                </a:path>
              </a:pathLst>
            </a:custGeom>
            <a:solidFill>
              <a:srgbClr val="C2DD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82" name="Freeform 13">
              <a:extLst>
                <a:ext uri="{FF2B5EF4-FFF2-40B4-BE49-F238E27FC236}">
                  <a16:creationId xmlns:a16="http://schemas.microsoft.com/office/drawing/2014/main" id="{2B682EF5-0137-4E55-996C-DDEA0551B7DD}"/>
                </a:ext>
              </a:extLst>
            </p:cNvPr>
            <p:cNvSpPr>
              <a:spLocks/>
            </p:cNvSpPr>
            <p:nvPr/>
          </p:nvSpPr>
          <p:spPr bwMode="auto">
            <a:xfrm>
              <a:off x="7720013" y="4737894"/>
              <a:ext cx="444500" cy="431800"/>
            </a:xfrm>
            <a:custGeom>
              <a:avLst/>
              <a:gdLst>
                <a:gd name="T0" fmla="*/ 105 w 105"/>
                <a:gd name="T1" fmla="*/ 54 h 102"/>
                <a:gd name="T2" fmla="*/ 105 w 105"/>
                <a:gd name="T3" fmla="*/ 35 h 102"/>
                <a:gd name="T4" fmla="*/ 87 w 105"/>
                <a:gd name="T5" fmla="*/ 35 h 102"/>
                <a:gd name="T6" fmla="*/ 83 w 105"/>
                <a:gd name="T7" fmla="*/ 23 h 102"/>
                <a:gd name="T8" fmla="*/ 95 w 105"/>
                <a:gd name="T9" fmla="*/ 10 h 102"/>
                <a:gd name="T10" fmla="*/ 86 w 105"/>
                <a:gd name="T11" fmla="*/ 0 h 102"/>
                <a:gd name="T12" fmla="*/ 68 w 105"/>
                <a:gd name="T13" fmla="*/ 31 h 102"/>
                <a:gd name="T14" fmla="*/ 26 w 105"/>
                <a:gd name="T15" fmla="*/ 57 h 102"/>
                <a:gd name="T16" fmla="*/ 11 w 105"/>
                <a:gd name="T17" fmla="*/ 63 h 102"/>
                <a:gd name="T18" fmla="*/ 12 w 105"/>
                <a:gd name="T19" fmla="*/ 66 h 102"/>
                <a:gd name="T20" fmla="*/ 0 w 105"/>
                <a:gd name="T21" fmla="*/ 78 h 102"/>
                <a:gd name="T22" fmla="*/ 13 w 105"/>
                <a:gd name="T23" fmla="*/ 92 h 102"/>
                <a:gd name="T24" fmla="*/ 26 w 105"/>
                <a:gd name="T25" fmla="*/ 79 h 102"/>
                <a:gd name="T26" fmla="*/ 38 w 105"/>
                <a:gd name="T27" fmla="*/ 84 h 102"/>
                <a:gd name="T28" fmla="*/ 38 w 105"/>
                <a:gd name="T29" fmla="*/ 102 h 102"/>
                <a:gd name="T30" fmla="*/ 57 w 105"/>
                <a:gd name="T31" fmla="*/ 102 h 102"/>
                <a:gd name="T32" fmla="*/ 57 w 105"/>
                <a:gd name="T33" fmla="*/ 84 h 102"/>
                <a:gd name="T34" fmla="*/ 69 w 105"/>
                <a:gd name="T35" fmla="*/ 79 h 102"/>
                <a:gd name="T36" fmla="*/ 82 w 105"/>
                <a:gd name="T37" fmla="*/ 92 h 102"/>
                <a:gd name="T38" fmla="*/ 95 w 105"/>
                <a:gd name="T39" fmla="*/ 78 h 102"/>
                <a:gd name="T40" fmla="*/ 83 w 105"/>
                <a:gd name="T41" fmla="*/ 66 h 102"/>
                <a:gd name="T42" fmla="*/ 87 w 105"/>
                <a:gd name="T43" fmla="*/ 54 h 102"/>
                <a:gd name="T44" fmla="*/ 105 w 105"/>
                <a:gd name="T45" fmla="*/ 5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5" h="102">
                  <a:moveTo>
                    <a:pt x="105" y="54"/>
                  </a:moveTo>
                  <a:cubicBezTo>
                    <a:pt x="105" y="35"/>
                    <a:pt x="105" y="35"/>
                    <a:pt x="105" y="35"/>
                  </a:cubicBezTo>
                  <a:cubicBezTo>
                    <a:pt x="87" y="35"/>
                    <a:pt x="87" y="35"/>
                    <a:pt x="87" y="35"/>
                  </a:cubicBezTo>
                  <a:cubicBezTo>
                    <a:pt x="86" y="30"/>
                    <a:pt x="85" y="26"/>
                    <a:pt x="83" y="23"/>
                  </a:cubicBezTo>
                  <a:cubicBezTo>
                    <a:pt x="95" y="10"/>
                    <a:pt x="95" y="10"/>
                    <a:pt x="95" y="10"/>
                  </a:cubicBezTo>
                  <a:cubicBezTo>
                    <a:pt x="86" y="0"/>
                    <a:pt x="86" y="0"/>
                    <a:pt x="86" y="0"/>
                  </a:cubicBezTo>
                  <a:cubicBezTo>
                    <a:pt x="81" y="12"/>
                    <a:pt x="76" y="22"/>
                    <a:pt x="68" y="31"/>
                  </a:cubicBezTo>
                  <a:cubicBezTo>
                    <a:pt x="85" y="59"/>
                    <a:pt x="44" y="84"/>
                    <a:pt x="26" y="57"/>
                  </a:cubicBezTo>
                  <a:cubicBezTo>
                    <a:pt x="21" y="59"/>
                    <a:pt x="16" y="61"/>
                    <a:pt x="11" y="63"/>
                  </a:cubicBezTo>
                  <a:cubicBezTo>
                    <a:pt x="11" y="64"/>
                    <a:pt x="12" y="65"/>
                    <a:pt x="12" y="66"/>
                  </a:cubicBezTo>
                  <a:cubicBezTo>
                    <a:pt x="0" y="78"/>
                    <a:pt x="0" y="78"/>
                    <a:pt x="0" y="78"/>
                  </a:cubicBezTo>
                  <a:cubicBezTo>
                    <a:pt x="13" y="92"/>
                    <a:pt x="13" y="92"/>
                    <a:pt x="13" y="92"/>
                  </a:cubicBezTo>
                  <a:cubicBezTo>
                    <a:pt x="26" y="79"/>
                    <a:pt x="26" y="79"/>
                    <a:pt x="26" y="79"/>
                  </a:cubicBezTo>
                  <a:cubicBezTo>
                    <a:pt x="30" y="82"/>
                    <a:pt x="34" y="83"/>
                    <a:pt x="38" y="84"/>
                  </a:cubicBezTo>
                  <a:cubicBezTo>
                    <a:pt x="38" y="102"/>
                    <a:pt x="38" y="102"/>
                    <a:pt x="38" y="102"/>
                  </a:cubicBezTo>
                  <a:cubicBezTo>
                    <a:pt x="57" y="102"/>
                    <a:pt x="57" y="102"/>
                    <a:pt x="57" y="102"/>
                  </a:cubicBezTo>
                  <a:cubicBezTo>
                    <a:pt x="57" y="84"/>
                    <a:pt x="57" y="84"/>
                    <a:pt x="57" y="84"/>
                  </a:cubicBezTo>
                  <a:cubicBezTo>
                    <a:pt x="61" y="83"/>
                    <a:pt x="65" y="82"/>
                    <a:pt x="69" y="79"/>
                  </a:cubicBezTo>
                  <a:cubicBezTo>
                    <a:pt x="82" y="92"/>
                    <a:pt x="82" y="92"/>
                    <a:pt x="82" y="92"/>
                  </a:cubicBezTo>
                  <a:cubicBezTo>
                    <a:pt x="95" y="78"/>
                    <a:pt x="95" y="78"/>
                    <a:pt x="95" y="78"/>
                  </a:cubicBezTo>
                  <a:cubicBezTo>
                    <a:pt x="83" y="66"/>
                    <a:pt x="83" y="66"/>
                    <a:pt x="83" y="66"/>
                  </a:cubicBezTo>
                  <a:cubicBezTo>
                    <a:pt x="85" y="62"/>
                    <a:pt x="86" y="58"/>
                    <a:pt x="87" y="54"/>
                  </a:cubicBezTo>
                  <a:lnTo>
                    <a:pt x="105" y="54"/>
                  </a:lnTo>
                  <a:close/>
                </a:path>
              </a:pathLst>
            </a:custGeom>
            <a:solidFill>
              <a:srgbClr val="62A9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83" name="Freeform 14">
              <a:extLst>
                <a:ext uri="{FF2B5EF4-FFF2-40B4-BE49-F238E27FC236}">
                  <a16:creationId xmlns:a16="http://schemas.microsoft.com/office/drawing/2014/main" id="{7F1714B2-E302-4BFA-8EAA-16B488E358BD}"/>
                </a:ext>
              </a:extLst>
            </p:cNvPr>
            <p:cNvSpPr>
              <a:spLocks noEditPoints="1"/>
            </p:cNvSpPr>
            <p:nvPr/>
          </p:nvSpPr>
          <p:spPr bwMode="auto">
            <a:xfrm>
              <a:off x="7639050" y="4639469"/>
              <a:ext cx="563563" cy="568325"/>
            </a:xfrm>
            <a:custGeom>
              <a:avLst/>
              <a:gdLst>
                <a:gd name="T0" fmla="*/ 55 w 133"/>
                <a:gd name="T1" fmla="*/ 109 h 134"/>
                <a:gd name="T2" fmla="*/ 17 w 133"/>
                <a:gd name="T3" fmla="*/ 103 h 134"/>
                <a:gd name="T4" fmla="*/ 29 w 133"/>
                <a:gd name="T5" fmla="*/ 88 h 134"/>
                <a:gd name="T6" fmla="*/ 6 w 133"/>
                <a:gd name="T7" fmla="*/ 58 h 134"/>
                <a:gd name="T8" fmla="*/ 25 w 133"/>
                <a:gd name="T9" fmla="*/ 56 h 134"/>
                <a:gd name="T10" fmla="*/ 31 w 133"/>
                <a:gd name="T11" fmla="*/ 18 h 134"/>
                <a:gd name="T12" fmla="*/ 45 w 133"/>
                <a:gd name="T13" fmla="*/ 30 h 134"/>
                <a:gd name="T14" fmla="*/ 76 w 133"/>
                <a:gd name="T15" fmla="*/ 7 h 134"/>
                <a:gd name="T16" fmla="*/ 78 w 133"/>
                <a:gd name="T17" fmla="*/ 26 h 134"/>
                <a:gd name="T18" fmla="*/ 116 w 133"/>
                <a:gd name="T19" fmla="*/ 32 h 134"/>
                <a:gd name="T20" fmla="*/ 104 w 133"/>
                <a:gd name="T21" fmla="*/ 46 h 134"/>
                <a:gd name="T22" fmla="*/ 127 w 133"/>
                <a:gd name="T23" fmla="*/ 77 h 134"/>
                <a:gd name="T24" fmla="*/ 108 w 133"/>
                <a:gd name="T25" fmla="*/ 79 h 134"/>
                <a:gd name="T26" fmla="*/ 116 w 133"/>
                <a:gd name="T27" fmla="*/ 100 h 134"/>
                <a:gd name="T28" fmla="*/ 88 w 133"/>
                <a:gd name="T29" fmla="*/ 105 h 134"/>
                <a:gd name="T30" fmla="*/ 78 w 133"/>
                <a:gd name="T31" fmla="*/ 125 h 134"/>
                <a:gd name="T32" fmla="*/ 59 w 133"/>
                <a:gd name="T33" fmla="*/ 123 h 134"/>
                <a:gd name="T34" fmla="*/ 74 w 133"/>
                <a:gd name="T35" fmla="*/ 107 h 134"/>
                <a:gd name="T36" fmla="*/ 101 w 133"/>
                <a:gd name="T37" fmla="*/ 112 h 134"/>
                <a:gd name="T38" fmla="*/ 104 w 133"/>
                <a:gd name="T39" fmla="*/ 76 h 134"/>
                <a:gd name="T40" fmla="*/ 122 w 133"/>
                <a:gd name="T41" fmla="*/ 75 h 134"/>
                <a:gd name="T42" fmla="*/ 106 w 133"/>
                <a:gd name="T43" fmla="*/ 60 h 134"/>
                <a:gd name="T44" fmla="*/ 111 w 133"/>
                <a:gd name="T45" fmla="*/ 33 h 134"/>
                <a:gd name="T46" fmla="*/ 76 w 133"/>
                <a:gd name="T47" fmla="*/ 29 h 134"/>
                <a:gd name="T48" fmla="*/ 74 w 133"/>
                <a:gd name="T49" fmla="*/ 11 h 134"/>
                <a:gd name="T50" fmla="*/ 59 w 133"/>
                <a:gd name="T51" fmla="*/ 27 h 134"/>
                <a:gd name="T52" fmla="*/ 32 w 133"/>
                <a:gd name="T53" fmla="*/ 22 h 134"/>
                <a:gd name="T54" fmla="*/ 28 w 133"/>
                <a:gd name="T55" fmla="*/ 58 h 134"/>
                <a:gd name="T56" fmla="*/ 10 w 133"/>
                <a:gd name="T57" fmla="*/ 60 h 134"/>
                <a:gd name="T58" fmla="*/ 26 w 133"/>
                <a:gd name="T59" fmla="*/ 75 h 134"/>
                <a:gd name="T60" fmla="*/ 22 w 133"/>
                <a:gd name="T61" fmla="*/ 101 h 134"/>
                <a:gd name="T62" fmla="*/ 57 w 133"/>
                <a:gd name="T63" fmla="*/ 105 h 134"/>
                <a:gd name="T64" fmla="*/ 59 w 133"/>
                <a:gd name="T65" fmla="*/ 123 h 134"/>
                <a:gd name="T66" fmla="*/ 66 w 133"/>
                <a:gd name="T67" fmla="*/ 41 h 134"/>
                <a:gd name="T68" fmla="*/ 66 w 133"/>
                <a:gd name="T69" fmla="*/ 45 h 134"/>
                <a:gd name="T70" fmla="*/ 66 w 133"/>
                <a:gd name="T71" fmla="*/ 45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33" h="134">
                  <a:moveTo>
                    <a:pt x="76" y="127"/>
                  </a:moveTo>
                  <a:cubicBezTo>
                    <a:pt x="51" y="126"/>
                    <a:pt x="55" y="134"/>
                    <a:pt x="55" y="109"/>
                  </a:cubicBezTo>
                  <a:cubicBezTo>
                    <a:pt x="51" y="108"/>
                    <a:pt x="48" y="107"/>
                    <a:pt x="45" y="105"/>
                  </a:cubicBezTo>
                  <a:cubicBezTo>
                    <a:pt x="27" y="123"/>
                    <a:pt x="36" y="120"/>
                    <a:pt x="17" y="103"/>
                  </a:cubicBezTo>
                  <a:cubicBezTo>
                    <a:pt x="16" y="102"/>
                    <a:pt x="16" y="101"/>
                    <a:pt x="17" y="100"/>
                  </a:cubicBezTo>
                  <a:cubicBezTo>
                    <a:pt x="29" y="88"/>
                    <a:pt x="29" y="88"/>
                    <a:pt x="29" y="88"/>
                  </a:cubicBezTo>
                  <a:cubicBezTo>
                    <a:pt x="27" y="85"/>
                    <a:pt x="26" y="82"/>
                    <a:pt x="25" y="79"/>
                  </a:cubicBezTo>
                  <a:cubicBezTo>
                    <a:pt x="0" y="79"/>
                    <a:pt x="8" y="83"/>
                    <a:pt x="6" y="58"/>
                  </a:cubicBezTo>
                  <a:cubicBezTo>
                    <a:pt x="6" y="56"/>
                    <a:pt x="7" y="56"/>
                    <a:pt x="8" y="56"/>
                  </a:cubicBezTo>
                  <a:cubicBezTo>
                    <a:pt x="25" y="56"/>
                    <a:pt x="25" y="56"/>
                    <a:pt x="25" y="56"/>
                  </a:cubicBezTo>
                  <a:cubicBezTo>
                    <a:pt x="26" y="52"/>
                    <a:pt x="27" y="49"/>
                    <a:pt x="29" y="46"/>
                  </a:cubicBezTo>
                  <a:cubicBezTo>
                    <a:pt x="11" y="28"/>
                    <a:pt x="14" y="37"/>
                    <a:pt x="31" y="18"/>
                  </a:cubicBezTo>
                  <a:cubicBezTo>
                    <a:pt x="32" y="17"/>
                    <a:pt x="33" y="17"/>
                    <a:pt x="34" y="18"/>
                  </a:cubicBezTo>
                  <a:cubicBezTo>
                    <a:pt x="45" y="30"/>
                    <a:pt x="45" y="30"/>
                    <a:pt x="45" y="30"/>
                  </a:cubicBezTo>
                  <a:cubicBezTo>
                    <a:pt x="48" y="28"/>
                    <a:pt x="51" y="27"/>
                    <a:pt x="55" y="26"/>
                  </a:cubicBezTo>
                  <a:cubicBezTo>
                    <a:pt x="55" y="0"/>
                    <a:pt x="51" y="9"/>
                    <a:pt x="76" y="7"/>
                  </a:cubicBezTo>
                  <a:cubicBezTo>
                    <a:pt x="77" y="7"/>
                    <a:pt x="78" y="8"/>
                    <a:pt x="78" y="9"/>
                  </a:cubicBezTo>
                  <a:cubicBezTo>
                    <a:pt x="78" y="26"/>
                    <a:pt x="78" y="26"/>
                    <a:pt x="78" y="26"/>
                  </a:cubicBezTo>
                  <a:cubicBezTo>
                    <a:pt x="81" y="27"/>
                    <a:pt x="85" y="28"/>
                    <a:pt x="88" y="30"/>
                  </a:cubicBezTo>
                  <a:cubicBezTo>
                    <a:pt x="106" y="12"/>
                    <a:pt x="97" y="15"/>
                    <a:pt x="116" y="32"/>
                  </a:cubicBezTo>
                  <a:cubicBezTo>
                    <a:pt x="117" y="32"/>
                    <a:pt x="117" y="34"/>
                    <a:pt x="116" y="34"/>
                  </a:cubicBezTo>
                  <a:cubicBezTo>
                    <a:pt x="104" y="46"/>
                    <a:pt x="104" y="46"/>
                    <a:pt x="104" y="46"/>
                  </a:cubicBezTo>
                  <a:cubicBezTo>
                    <a:pt x="106" y="49"/>
                    <a:pt x="107" y="52"/>
                    <a:pt x="108" y="56"/>
                  </a:cubicBezTo>
                  <a:cubicBezTo>
                    <a:pt x="133" y="56"/>
                    <a:pt x="125" y="52"/>
                    <a:pt x="127" y="77"/>
                  </a:cubicBezTo>
                  <a:cubicBezTo>
                    <a:pt x="127" y="78"/>
                    <a:pt x="126" y="79"/>
                    <a:pt x="124" y="79"/>
                  </a:cubicBezTo>
                  <a:cubicBezTo>
                    <a:pt x="108" y="79"/>
                    <a:pt x="108" y="79"/>
                    <a:pt x="108" y="79"/>
                  </a:cubicBezTo>
                  <a:cubicBezTo>
                    <a:pt x="107" y="82"/>
                    <a:pt x="106" y="85"/>
                    <a:pt x="104" y="88"/>
                  </a:cubicBezTo>
                  <a:cubicBezTo>
                    <a:pt x="116" y="100"/>
                    <a:pt x="116" y="100"/>
                    <a:pt x="116" y="100"/>
                  </a:cubicBezTo>
                  <a:cubicBezTo>
                    <a:pt x="117" y="101"/>
                    <a:pt x="117" y="102"/>
                    <a:pt x="116" y="103"/>
                  </a:cubicBezTo>
                  <a:cubicBezTo>
                    <a:pt x="97" y="120"/>
                    <a:pt x="106" y="123"/>
                    <a:pt x="88" y="105"/>
                  </a:cubicBezTo>
                  <a:cubicBezTo>
                    <a:pt x="85" y="107"/>
                    <a:pt x="81" y="108"/>
                    <a:pt x="78" y="109"/>
                  </a:cubicBezTo>
                  <a:cubicBezTo>
                    <a:pt x="78" y="125"/>
                    <a:pt x="78" y="125"/>
                    <a:pt x="78" y="125"/>
                  </a:cubicBezTo>
                  <a:cubicBezTo>
                    <a:pt x="78" y="126"/>
                    <a:pt x="77" y="127"/>
                    <a:pt x="76" y="127"/>
                  </a:cubicBezTo>
                  <a:close/>
                  <a:moveTo>
                    <a:pt x="59" y="123"/>
                  </a:moveTo>
                  <a:cubicBezTo>
                    <a:pt x="74" y="123"/>
                    <a:pt x="74" y="123"/>
                    <a:pt x="74" y="123"/>
                  </a:cubicBezTo>
                  <a:cubicBezTo>
                    <a:pt x="74" y="107"/>
                    <a:pt x="74" y="107"/>
                    <a:pt x="74" y="107"/>
                  </a:cubicBezTo>
                  <a:cubicBezTo>
                    <a:pt x="74" y="106"/>
                    <a:pt x="75" y="105"/>
                    <a:pt x="76" y="105"/>
                  </a:cubicBezTo>
                  <a:cubicBezTo>
                    <a:pt x="95" y="100"/>
                    <a:pt x="83" y="96"/>
                    <a:pt x="101" y="112"/>
                  </a:cubicBezTo>
                  <a:cubicBezTo>
                    <a:pt x="111" y="101"/>
                    <a:pt x="111" y="101"/>
                    <a:pt x="111" y="101"/>
                  </a:cubicBezTo>
                  <a:cubicBezTo>
                    <a:pt x="95" y="84"/>
                    <a:pt x="99" y="95"/>
                    <a:pt x="104" y="76"/>
                  </a:cubicBezTo>
                  <a:cubicBezTo>
                    <a:pt x="105" y="75"/>
                    <a:pt x="106" y="75"/>
                    <a:pt x="106" y="75"/>
                  </a:cubicBezTo>
                  <a:cubicBezTo>
                    <a:pt x="122" y="75"/>
                    <a:pt x="122" y="75"/>
                    <a:pt x="122" y="75"/>
                  </a:cubicBezTo>
                  <a:cubicBezTo>
                    <a:pt x="122" y="60"/>
                    <a:pt x="122" y="60"/>
                    <a:pt x="122" y="60"/>
                  </a:cubicBezTo>
                  <a:cubicBezTo>
                    <a:pt x="106" y="60"/>
                    <a:pt x="106" y="60"/>
                    <a:pt x="106" y="60"/>
                  </a:cubicBezTo>
                  <a:cubicBezTo>
                    <a:pt x="106" y="60"/>
                    <a:pt x="105" y="59"/>
                    <a:pt x="104" y="58"/>
                  </a:cubicBezTo>
                  <a:cubicBezTo>
                    <a:pt x="99" y="39"/>
                    <a:pt x="95" y="51"/>
                    <a:pt x="111" y="33"/>
                  </a:cubicBezTo>
                  <a:cubicBezTo>
                    <a:pt x="101" y="22"/>
                    <a:pt x="101" y="22"/>
                    <a:pt x="101" y="22"/>
                  </a:cubicBezTo>
                  <a:cubicBezTo>
                    <a:pt x="83" y="39"/>
                    <a:pt x="95" y="35"/>
                    <a:pt x="76" y="29"/>
                  </a:cubicBezTo>
                  <a:cubicBezTo>
                    <a:pt x="75" y="29"/>
                    <a:pt x="74" y="28"/>
                    <a:pt x="74" y="27"/>
                  </a:cubicBezTo>
                  <a:cubicBezTo>
                    <a:pt x="74" y="11"/>
                    <a:pt x="74" y="11"/>
                    <a:pt x="74" y="11"/>
                  </a:cubicBezTo>
                  <a:cubicBezTo>
                    <a:pt x="59" y="11"/>
                    <a:pt x="59" y="11"/>
                    <a:pt x="59" y="11"/>
                  </a:cubicBezTo>
                  <a:cubicBezTo>
                    <a:pt x="59" y="27"/>
                    <a:pt x="59" y="27"/>
                    <a:pt x="59" y="27"/>
                  </a:cubicBezTo>
                  <a:cubicBezTo>
                    <a:pt x="59" y="28"/>
                    <a:pt x="58" y="29"/>
                    <a:pt x="57" y="29"/>
                  </a:cubicBezTo>
                  <a:cubicBezTo>
                    <a:pt x="38" y="35"/>
                    <a:pt x="50" y="39"/>
                    <a:pt x="32" y="22"/>
                  </a:cubicBezTo>
                  <a:cubicBezTo>
                    <a:pt x="22" y="33"/>
                    <a:pt x="22" y="33"/>
                    <a:pt x="22" y="33"/>
                  </a:cubicBezTo>
                  <a:cubicBezTo>
                    <a:pt x="38" y="51"/>
                    <a:pt x="34" y="39"/>
                    <a:pt x="28" y="58"/>
                  </a:cubicBezTo>
                  <a:cubicBezTo>
                    <a:pt x="28" y="59"/>
                    <a:pt x="27" y="60"/>
                    <a:pt x="26" y="60"/>
                  </a:cubicBezTo>
                  <a:cubicBezTo>
                    <a:pt x="10" y="60"/>
                    <a:pt x="10" y="60"/>
                    <a:pt x="10" y="60"/>
                  </a:cubicBezTo>
                  <a:cubicBezTo>
                    <a:pt x="10" y="75"/>
                    <a:pt x="10" y="75"/>
                    <a:pt x="10" y="75"/>
                  </a:cubicBezTo>
                  <a:cubicBezTo>
                    <a:pt x="26" y="75"/>
                    <a:pt x="26" y="75"/>
                    <a:pt x="26" y="75"/>
                  </a:cubicBezTo>
                  <a:cubicBezTo>
                    <a:pt x="27" y="75"/>
                    <a:pt x="28" y="75"/>
                    <a:pt x="28" y="76"/>
                  </a:cubicBezTo>
                  <a:cubicBezTo>
                    <a:pt x="34" y="95"/>
                    <a:pt x="38" y="84"/>
                    <a:pt x="22" y="101"/>
                  </a:cubicBezTo>
                  <a:cubicBezTo>
                    <a:pt x="32" y="112"/>
                    <a:pt x="32" y="112"/>
                    <a:pt x="32" y="112"/>
                  </a:cubicBezTo>
                  <a:cubicBezTo>
                    <a:pt x="50" y="96"/>
                    <a:pt x="38" y="100"/>
                    <a:pt x="57" y="105"/>
                  </a:cubicBezTo>
                  <a:cubicBezTo>
                    <a:pt x="58" y="105"/>
                    <a:pt x="59" y="106"/>
                    <a:pt x="59" y="107"/>
                  </a:cubicBezTo>
                  <a:lnTo>
                    <a:pt x="59" y="123"/>
                  </a:lnTo>
                  <a:close/>
                  <a:moveTo>
                    <a:pt x="66" y="94"/>
                  </a:moveTo>
                  <a:cubicBezTo>
                    <a:pt x="32" y="93"/>
                    <a:pt x="32" y="41"/>
                    <a:pt x="66" y="41"/>
                  </a:cubicBezTo>
                  <a:cubicBezTo>
                    <a:pt x="101" y="41"/>
                    <a:pt x="101" y="93"/>
                    <a:pt x="66" y="94"/>
                  </a:cubicBezTo>
                  <a:close/>
                  <a:moveTo>
                    <a:pt x="66" y="45"/>
                  </a:moveTo>
                  <a:cubicBezTo>
                    <a:pt x="37" y="46"/>
                    <a:pt x="37" y="89"/>
                    <a:pt x="66" y="89"/>
                  </a:cubicBezTo>
                  <a:cubicBezTo>
                    <a:pt x="96" y="89"/>
                    <a:pt x="96" y="46"/>
                    <a:pt x="66" y="45"/>
                  </a:cubicBezTo>
                  <a:close/>
                </a:path>
              </a:pathLst>
            </a:custGeom>
            <a:solidFill>
              <a:srgbClr val="0C11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84" name="Freeform 15">
              <a:extLst>
                <a:ext uri="{FF2B5EF4-FFF2-40B4-BE49-F238E27FC236}">
                  <a16:creationId xmlns:a16="http://schemas.microsoft.com/office/drawing/2014/main" id="{84C309DD-C164-48E5-9668-CACCBC9EED19}"/>
                </a:ext>
              </a:extLst>
            </p:cNvPr>
            <p:cNvSpPr>
              <a:spLocks/>
            </p:cNvSpPr>
            <p:nvPr/>
          </p:nvSpPr>
          <p:spPr bwMode="auto">
            <a:xfrm>
              <a:off x="5127625" y="1781969"/>
              <a:ext cx="2854325" cy="3298825"/>
            </a:xfrm>
            <a:custGeom>
              <a:avLst/>
              <a:gdLst>
                <a:gd name="T0" fmla="*/ 674 w 674"/>
                <a:gd name="T1" fmla="*/ 0 h 779"/>
                <a:gd name="T2" fmla="*/ 534 w 674"/>
                <a:gd name="T3" fmla="*/ 0 h 779"/>
                <a:gd name="T4" fmla="*/ 534 w 674"/>
                <a:gd name="T5" fmla="*/ 0 h 779"/>
                <a:gd name="T6" fmla="*/ 135 w 674"/>
                <a:gd name="T7" fmla="*/ 0 h 779"/>
                <a:gd name="T8" fmla="*/ 0 w 674"/>
                <a:gd name="T9" fmla="*/ 135 h 779"/>
                <a:gd name="T10" fmla="*/ 0 w 674"/>
                <a:gd name="T11" fmla="*/ 779 h 779"/>
                <a:gd name="T12" fmla="*/ 391 w 674"/>
                <a:gd name="T13" fmla="*/ 779 h 779"/>
                <a:gd name="T14" fmla="*/ 534 w 674"/>
                <a:gd name="T15" fmla="*/ 635 h 779"/>
                <a:gd name="T16" fmla="*/ 534 w 674"/>
                <a:gd name="T17" fmla="*/ 139 h 779"/>
                <a:gd name="T18" fmla="*/ 674 w 674"/>
                <a:gd name="T19" fmla="*/ 0 h 7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74" h="779">
                  <a:moveTo>
                    <a:pt x="674" y="0"/>
                  </a:moveTo>
                  <a:cubicBezTo>
                    <a:pt x="534" y="0"/>
                    <a:pt x="534" y="0"/>
                    <a:pt x="534" y="0"/>
                  </a:cubicBezTo>
                  <a:cubicBezTo>
                    <a:pt x="534" y="0"/>
                    <a:pt x="534" y="0"/>
                    <a:pt x="534" y="0"/>
                  </a:cubicBezTo>
                  <a:cubicBezTo>
                    <a:pt x="135" y="0"/>
                    <a:pt x="135" y="0"/>
                    <a:pt x="135" y="0"/>
                  </a:cubicBezTo>
                  <a:cubicBezTo>
                    <a:pt x="60" y="0"/>
                    <a:pt x="0" y="60"/>
                    <a:pt x="0" y="135"/>
                  </a:cubicBezTo>
                  <a:cubicBezTo>
                    <a:pt x="0" y="779"/>
                    <a:pt x="0" y="779"/>
                    <a:pt x="0" y="779"/>
                  </a:cubicBezTo>
                  <a:cubicBezTo>
                    <a:pt x="391" y="779"/>
                    <a:pt x="391" y="779"/>
                    <a:pt x="391" y="779"/>
                  </a:cubicBezTo>
                  <a:cubicBezTo>
                    <a:pt x="470" y="779"/>
                    <a:pt x="534" y="714"/>
                    <a:pt x="534" y="635"/>
                  </a:cubicBezTo>
                  <a:cubicBezTo>
                    <a:pt x="534" y="139"/>
                    <a:pt x="534" y="139"/>
                    <a:pt x="534" y="139"/>
                  </a:cubicBezTo>
                  <a:cubicBezTo>
                    <a:pt x="534" y="62"/>
                    <a:pt x="597" y="0"/>
                    <a:pt x="674" y="0"/>
                  </a:cubicBezTo>
                  <a:close/>
                </a:path>
              </a:pathLst>
            </a:custGeom>
            <a:solidFill>
              <a:srgbClr val="FFFFFF"/>
            </a:solidFill>
            <a:ln w="50800" cap="flat">
              <a:solidFill>
                <a:srgbClr val="0C1119"/>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85" name="Freeform 16">
              <a:extLst>
                <a:ext uri="{FF2B5EF4-FFF2-40B4-BE49-F238E27FC236}">
                  <a16:creationId xmlns:a16="http://schemas.microsoft.com/office/drawing/2014/main" id="{AA50B0CF-EF00-4DED-86BE-FA411D74D073}"/>
                </a:ext>
              </a:extLst>
            </p:cNvPr>
            <p:cNvSpPr>
              <a:spLocks/>
            </p:cNvSpPr>
            <p:nvPr/>
          </p:nvSpPr>
          <p:spPr bwMode="auto">
            <a:xfrm>
              <a:off x="4256088" y="4487069"/>
              <a:ext cx="2511425" cy="593725"/>
            </a:xfrm>
            <a:custGeom>
              <a:avLst/>
              <a:gdLst>
                <a:gd name="T0" fmla="*/ 473 w 593"/>
                <a:gd name="T1" fmla="*/ 0 h 140"/>
                <a:gd name="T2" fmla="*/ 473 w 593"/>
                <a:gd name="T3" fmla="*/ 0 h 140"/>
                <a:gd name="T4" fmla="*/ 0 w 593"/>
                <a:gd name="T5" fmla="*/ 0 h 140"/>
                <a:gd name="T6" fmla="*/ 0 w 593"/>
                <a:gd name="T7" fmla="*/ 0 h 140"/>
                <a:gd name="T8" fmla="*/ 140 w 593"/>
                <a:gd name="T9" fmla="*/ 140 h 140"/>
                <a:gd name="T10" fmla="*/ 593 w 593"/>
                <a:gd name="T11" fmla="*/ 140 h 140"/>
                <a:gd name="T12" fmla="*/ 593 w 593"/>
                <a:gd name="T13" fmla="*/ 138 h 140"/>
                <a:gd name="T14" fmla="*/ 473 w 593"/>
                <a:gd name="T15" fmla="*/ 0 h 1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93" h="140">
                  <a:moveTo>
                    <a:pt x="473" y="0"/>
                  </a:moveTo>
                  <a:cubicBezTo>
                    <a:pt x="473" y="0"/>
                    <a:pt x="473" y="0"/>
                    <a:pt x="473" y="0"/>
                  </a:cubicBezTo>
                  <a:cubicBezTo>
                    <a:pt x="0" y="0"/>
                    <a:pt x="0" y="0"/>
                    <a:pt x="0" y="0"/>
                  </a:cubicBezTo>
                  <a:cubicBezTo>
                    <a:pt x="0" y="0"/>
                    <a:pt x="0" y="0"/>
                    <a:pt x="0" y="0"/>
                  </a:cubicBezTo>
                  <a:cubicBezTo>
                    <a:pt x="0" y="77"/>
                    <a:pt x="63" y="140"/>
                    <a:pt x="140" y="140"/>
                  </a:cubicBezTo>
                  <a:cubicBezTo>
                    <a:pt x="593" y="140"/>
                    <a:pt x="593" y="140"/>
                    <a:pt x="593" y="140"/>
                  </a:cubicBezTo>
                  <a:cubicBezTo>
                    <a:pt x="593" y="138"/>
                    <a:pt x="593" y="138"/>
                    <a:pt x="593" y="138"/>
                  </a:cubicBezTo>
                  <a:cubicBezTo>
                    <a:pt x="525" y="129"/>
                    <a:pt x="473" y="70"/>
                    <a:pt x="473" y="0"/>
                  </a:cubicBezTo>
                  <a:close/>
                </a:path>
              </a:pathLst>
            </a:custGeom>
            <a:solidFill>
              <a:srgbClr val="EBF4FB"/>
            </a:solidFill>
            <a:ln w="50800" cap="flat">
              <a:solidFill>
                <a:srgbClr val="0C1119"/>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86" name="Freeform 17">
              <a:extLst>
                <a:ext uri="{FF2B5EF4-FFF2-40B4-BE49-F238E27FC236}">
                  <a16:creationId xmlns:a16="http://schemas.microsoft.com/office/drawing/2014/main" id="{A7856233-94C2-4D00-9968-37F569D334CF}"/>
                </a:ext>
              </a:extLst>
            </p:cNvPr>
            <p:cNvSpPr>
              <a:spLocks/>
            </p:cNvSpPr>
            <p:nvPr/>
          </p:nvSpPr>
          <p:spPr bwMode="auto">
            <a:xfrm>
              <a:off x="7389813" y="1781969"/>
              <a:ext cx="952500" cy="588962"/>
            </a:xfrm>
            <a:custGeom>
              <a:avLst/>
              <a:gdLst>
                <a:gd name="T0" fmla="*/ 144 w 225"/>
                <a:gd name="T1" fmla="*/ 0 h 139"/>
                <a:gd name="T2" fmla="*/ 140 w 225"/>
                <a:gd name="T3" fmla="*/ 0 h 139"/>
                <a:gd name="T4" fmla="*/ 0 w 225"/>
                <a:gd name="T5" fmla="*/ 139 h 139"/>
                <a:gd name="T6" fmla="*/ 0 w 225"/>
                <a:gd name="T7" fmla="*/ 139 h 139"/>
                <a:gd name="T8" fmla="*/ 192 w 225"/>
                <a:gd name="T9" fmla="*/ 139 h 139"/>
                <a:gd name="T10" fmla="*/ 144 w 225"/>
                <a:gd name="T11" fmla="*/ 0 h 139"/>
              </a:gdLst>
              <a:ahLst/>
              <a:cxnLst>
                <a:cxn ang="0">
                  <a:pos x="T0" y="T1"/>
                </a:cxn>
                <a:cxn ang="0">
                  <a:pos x="T2" y="T3"/>
                </a:cxn>
                <a:cxn ang="0">
                  <a:pos x="T4" y="T5"/>
                </a:cxn>
                <a:cxn ang="0">
                  <a:pos x="T6" y="T7"/>
                </a:cxn>
                <a:cxn ang="0">
                  <a:pos x="T8" y="T9"/>
                </a:cxn>
                <a:cxn ang="0">
                  <a:pos x="T10" y="T11"/>
                </a:cxn>
              </a:cxnLst>
              <a:rect l="0" t="0" r="r" b="b"/>
              <a:pathLst>
                <a:path w="225" h="139">
                  <a:moveTo>
                    <a:pt x="144" y="0"/>
                  </a:moveTo>
                  <a:cubicBezTo>
                    <a:pt x="140" y="0"/>
                    <a:pt x="140" y="0"/>
                    <a:pt x="140" y="0"/>
                  </a:cubicBezTo>
                  <a:cubicBezTo>
                    <a:pt x="62" y="0"/>
                    <a:pt x="0" y="62"/>
                    <a:pt x="0" y="139"/>
                  </a:cubicBezTo>
                  <a:cubicBezTo>
                    <a:pt x="0" y="139"/>
                    <a:pt x="0" y="139"/>
                    <a:pt x="0" y="139"/>
                  </a:cubicBezTo>
                  <a:cubicBezTo>
                    <a:pt x="192" y="139"/>
                    <a:pt x="192" y="139"/>
                    <a:pt x="192" y="139"/>
                  </a:cubicBezTo>
                  <a:cubicBezTo>
                    <a:pt x="225" y="12"/>
                    <a:pt x="161" y="1"/>
                    <a:pt x="144" y="0"/>
                  </a:cubicBezTo>
                  <a:close/>
                </a:path>
              </a:pathLst>
            </a:custGeom>
            <a:solidFill>
              <a:srgbClr val="EBF4FB"/>
            </a:solidFill>
            <a:ln w="50800" cap="flat">
              <a:solidFill>
                <a:srgbClr val="0C1119"/>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87" name="Freeform 18">
              <a:extLst>
                <a:ext uri="{FF2B5EF4-FFF2-40B4-BE49-F238E27FC236}">
                  <a16:creationId xmlns:a16="http://schemas.microsoft.com/office/drawing/2014/main" id="{E090F27B-F7A5-4E24-8848-2851A1AD291F}"/>
                </a:ext>
              </a:extLst>
            </p:cNvPr>
            <p:cNvSpPr>
              <a:spLocks/>
            </p:cNvSpPr>
            <p:nvPr/>
          </p:nvSpPr>
          <p:spPr bwMode="auto">
            <a:xfrm>
              <a:off x="4362450" y="4775994"/>
              <a:ext cx="2247900" cy="279400"/>
            </a:xfrm>
            <a:custGeom>
              <a:avLst/>
              <a:gdLst>
                <a:gd name="T0" fmla="*/ 117 w 531"/>
                <a:gd name="T1" fmla="*/ 66 h 66"/>
                <a:gd name="T2" fmla="*/ 531 w 531"/>
                <a:gd name="T3" fmla="*/ 66 h 66"/>
                <a:gd name="T4" fmla="*/ 531 w 531"/>
                <a:gd name="T5" fmla="*/ 64 h 66"/>
                <a:gd name="T6" fmla="*/ 485 w 531"/>
                <a:gd name="T7" fmla="*/ 36 h 66"/>
                <a:gd name="T8" fmla="*/ 128 w 531"/>
                <a:gd name="T9" fmla="*/ 35 h 66"/>
                <a:gd name="T10" fmla="*/ 0 w 531"/>
                <a:gd name="T11" fmla="*/ 0 h 66"/>
                <a:gd name="T12" fmla="*/ 117 w 531"/>
                <a:gd name="T13" fmla="*/ 66 h 66"/>
              </a:gdLst>
              <a:ahLst/>
              <a:cxnLst>
                <a:cxn ang="0">
                  <a:pos x="T0" y="T1"/>
                </a:cxn>
                <a:cxn ang="0">
                  <a:pos x="T2" y="T3"/>
                </a:cxn>
                <a:cxn ang="0">
                  <a:pos x="T4" y="T5"/>
                </a:cxn>
                <a:cxn ang="0">
                  <a:pos x="T6" y="T7"/>
                </a:cxn>
                <a:cxn ang="0">
                  <a:pos x="T8" y="T9"/>
                </a:cxn>
                <a:cxn ang="0">
                  <a:pos x="T10" y="T11"/>
                </a:cxn>
                <a:cxn ang="0">
                  <a:pos x="T12" y="T13"/>
                </a:cxn>
              </a:cxnLst>
              <a:rect l="0" t="0" r="r" b="b"/>
              <a:pathLst>
                <a:path w="531" h="66">
                  <a:moveTo>
                    <a:pt x="117" y="66"/>
                  </a:moveTo>
                  <a:cubicBezTo>
                    <a:pt x="531" y="66"/>
                    <a:pt x="531" y="66"/>
                    <a:pt x="531" y="66"/>
                  </a:cubicBezTo>
                  <a:cubicBezTo>
                    <a:pt x="531" y="64"/>
                    <a:pt x="531" y="64"/>
                    <a:pt x="531" y="64"/>
                  </a:cubicBezTo>
                  <a:cubicBezTo>
                    <a:pt x="511" y="60"/>
                    <a:pt x="504" y="51"/>
                    <a:pt x="485" y="36"/>
                  </a:cubicBezTo>
                  <a:cubicBezTo>
                    <a:pt x="384" y="38"/>
                    <a:pt x="198" y="39"/>
                    <a:pt x="128" y="35"/>
                  </a:cubicBezTo>
                  <a:cubicBezTo>
                    <a:pt x="70" y="32"/>
                    <a:pt x="26" y="14"/>
                    <a:pt x="0" y="0"/>
                  </a:cubicBezTo>
                  <a:cubicBezTo>
                    <a:pt x="23" y="39"/>
                    <a:pt x="67" y="66"/>
                    <a:pt x="117" y="66"/>
                  </a:cubicBezTo>
                  <a:close/>
                </a:path>
              </a:pathLst>
            </a:custGeom>
            <a:solidFill>
              <a:srgbClr val="C2DD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88" name="Freeform 19">
              <a:extLst>
                <a:ext uri="{FF2B5EF4-FFF2-40B4-BE49-F238E27FC236}">
                  <a16:creationId xmlns:a16="http://schemas.microsoft.com/office/drawing/2014/main" id="{26691CDA-A93D-4F89-AFEA-29D76D8B3C44}"/>
                </a:ext>
              </a:extLst>
            </p:cNvPr>
            <p:cNvSpPr>
              <a:spLocks/>
            </p:cNvSpPr>
            <p:nvPr/>
          </p:nvSpPr>
          <p:spPr bwMode="auto">
            <a:xfrm>
              <a:off x="7415213" y="1807369"/>
              <a:ext cx="706438" cy="538162"/>
            </a:xfrm>
            <a:custGeom>
              <a:avLst/>
              <a:gdLst>
                <a:gd name="T0" fmla="*/ 167 w 167"/>
                <a:gd name="T1" fmla="*/ 10 h 127"/>
                <a:gd name="T2" fmla="*/ 136 w 167"/>
                <a:gd name="T3" fmla="*/ 0 h 127"/>
                <a:gd name="T4" fmla="*/ 132 w 167"/>
                <a:gd name="T5" fmla="*/ 0 h 127"/>
                <a:gd name="T6" fmla="*/ 0 w 167"/>
                <a:gd name="T7" fmla="*/ 127 h 127"/>
                <a:gd name="T8" fmla="*/ 0 w 167"/>
                <a:gd name="T9" fmla="*/ 127 h 127"/>
                <a:gd name="T10" fmla="*/ 25 w 167"/>
                <a:gd name="T11" fmla="*/ 127 h 127"/>
                <a:gd name="T12" fmla="*/ 167 w 167"/>
                <a:gd name="T13" fmla="*/ 10 h 127"/>
              </a:gdLst>
              <a:ahLst/>
              <a:cxnLst>
                <a:cxn ang="0">
                  <a:pos x="T0" y="T1"/>
                </a:cxn>
                <a:cxn ang="0">
                  <a:pos x="T2" y="T3"/>
                </a:cxn>
                <a:cxn ang="0">
                  <a:pos x="T4" y="T5"/>
                </a:cxn>
                <a:cxn ang="0">
                  <a:pos x="T6" y="T7"/>
                </a:cxn>
                <a:cxn ang="0">
                  <a:pos x="T8" y="T9"/>
                </a:cxn>
                <a:cxn ang="0">
                  <a:pos x="T10" y="T11"/>
                </a:cxn>
                <a:cxn ang="0">
                  <a:pos x="T12" y="T13"/>
                </a:cxn>
              </a:cxnLst>
              <a:rect l="0" t="0" r="r" b="b"/>
              <a:pathLst>
                <a:path w="167" h="127">
                  <a:moveTo>
                    <a:pt x="167" y="10"/>
                  </a:moveTo>
                  <a:cubicBezTo>
                    <a:pt x="156" y="2"/>
                    <a:pt x="143" y="0"/>
                    <a:pt x="136" y="0"/>
                  </a:cubicBezTo>
                  <a:cubicBezTo>
                    <a:pt x="132" y="0"/>
                    <a:pt x="132" y="0"/>
                    <a:pt x="132" y="0"/>
                  </a:cubicBezTo>
                  <a:cubicBezTo>
                    <a:pt x="59" y="0"/>
                    <a:pt x="0" y="57"/>
                    <a:pt x="0" y="127"/>
                  </a:cubicBezTo>
                  <a:cubicBezTo>
                    <a:pt x="0" y="127"/>
                    <a:pt x="0" y="127"/>
                    <a:pt x="0" y="127"/>
                  </a:cubicBezTo>
                  <a:cubicBezTo>
                    <a:pt x="25" y="127"/>
                    <a:pt x="25" y="127"/>
                    <a:pt x="25" y="127"/>
                  </a:cubicBezTo>
                  <a:cubicBezTo>
                    <a:pt x="31" y="94"/>
                    <a:pt x="57" y="14"/>
                    <a:pt x="167" y="10"/>
                  </a:cubicBezTo>
                  <a:close/>
                </a:path>
              </a:pathLst>
            </a:custGeom>
            <a:solidFill>
              <a:srgbClr val="C2DD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89" name="Freeform 20">
              <a:extLst>
                <a:ext uri="{FF2B5EF4-FFF2-40B4-BE49-F238E27FC236}">
                  <a16:creationId xmlns:a16="http://schemas.microsoft.com/office/drawing/2014/main" id="{3B686050-104F-48E4-A2A3-4427DA06F8BB}"/>
                </a:ext>
              </a:extLst>
            </p:cNvPr>
            <p:cNvSpPr>
              <a:spLocks/>
            </p:cNvSpPr>
            <p:nvPr/>
          </p:nvSpPr>
          <p:spPr bwMode="auto">
            <a:xfrm>
              <a:off x="5683250" y="2569369"/>
              <a:ext cx="1049338" cy="1054100"/>
            </a:xfrm>
            <a:custGeom>
              <a:avLst/>
              <a:gdLst>
                <a:gd name="T0" fmla="*/ 124 w 248"/>
                <a:gd name="T1" fmla="*/ 125 h 249"/>
                <a:gd name="T2" fmla="*/ 137 w 248"/>
                <a:gd name="T3" fmla="*/ 1 h 249"/>
                <a:gd name="T4" fmla="*/ 124 w 248"/>
                <a:gd name="T5" fmla="*/ 0 h 249"/>
                <a:gd name="T6" fmla="*/ 0 w 248"/>
                <a:gd name="T7" fmla="*/ 125 h 249"/>
                <a:gd name="T8" fmla="*/ 124 w 248"/>
                <a:gd name="T9" fmla="*/ 249 h 249"/>
                <a:gd name="T10" fmla="*/ 248 w 248"/>
                <a:gd name="T11" fmla="*/ 125 h 249"/>
                <a:gd name="T12" fmla="*/ 218 w 248"/>
                <a:gd name="T13" fmla="*/ 43 h 249"/>
                <a:gd name="T14" fmla="*/ 124 w 248"/>
                <a:gd name="T15" fmla="*/ 125 h 24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8" h="249">
                  <a:moveTo>
                    <a:pt x="124" y="125"/>
                  </a:moveTo>
                  <a:cubicBezTo>
                    <a:pt x="137" y="1"/>
                    <a:pt x="137" y="1"/>
                    <a:pt x="137" y="1"/>
                  </a:cubicBezTo>
                  <a:cubicBezTo>
                    <a:pt x="133" y="1"/>
                    <a:pt x="129" y="0"/>
                    <a:pt x="124" y="0"/>
                  </a:cubicBezTo>
                  <a:cubicBezTo>
                    <a:pt x="55" y="0"/>
                    <a:pt x="0" y="56"/>
                    <a:pt x="0" y="125"/>
                  </a:cubicBezTo>
                  <a:cubicBezTo>
                    <a:pt x="0" y="193"/>
                    <a:pt x="55" y="249"/>
                    <a:pt x="124" y="249"/>
                  </a:cubicBezTo>
                  <a:cubicBezTo>
                    <a:pt x="193" y="249"/>
                    <a:pt x="248" y="193"/>
                    <a:pt x="248" y="125"/>
                  </a:cubicBezTo>
                  <a:cubicBezTo>
                    <a:pt x="248" y="93"/>
                    <a:pt x="237" y="65"/>
                    <a:pt x="218" y="43"/>
                  </a:cubicBezTo>
                  <a:lnTo>
                    <a:pt x="124" y="125"/>
                  </a:lnTo>
                  <a:close/>
                </a:path>
              </a:pathLst>
            </a:custGeom>
            <a:solidFill>
              <a:srgbClr val="E6605E"/>
            </a:solidFill>
            <a:ln w="34925" cap="flat">
              <a:solidFill>
                <a:srgbClr val="0C1119"/>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90" name="Freeform 21">
              <a:extLst>
                <a:ext uri="{FF2B5EF4-FFF2-40B4-BE49-F238E27FC236}">
                  <a16:creationId xmlns:a16="http://schemas.microsoft.com/office/drawing/2014/main" id="{19007EEF-282F-4514-AE5F-C4DE6293CB4D}"/>
                </a:ext>
              </a:extLst>
            </p:cNvPr>
            <p:cNvSpPr>
              <a:spLocks/>
            </p:cNvSpPr>
            <p:nvPr/>
          </p:nvSpPr>
          <p:spPr bwMode="auto">
            <a:xfrm>
              <a:off x="6323013" y="2307432"/>
              <a:ext cx="396875" cy="523875"/>
            </a:xfrm>
            <a:custGeom>
              <a:avLst/>
              <a:gdLst>
                <a:gd name="T0" fmla="*/ 0 w 94"/>
                <a:gd name="T1" fmla="*/ 124 h 124"/>
                <a:gd name="T2" fmla="*/ 94 w 94"/>
                <a:gd name="T3" fmla="*/ 43 h 124"/>
                <a:gd name="T4" fmla="*/ 13 w 94"/>
                <a:gd name="T5" fmla="*/ 0 h 124"/>
                <a:gd name="T6" fmla="*/ 0 w 94"/>
                <a:gd name="T7" fmla="*/ 124 h 124"/>
              </a:gdLst>
              <a:ahLst/>
              <a:cxnLst>
                <a:cxn ang="0">
                  <a:pos x="T0" y="T1"/>
                </a:cxn>
                <a:cxn ang="0">
                  <a:pos x="T2" y="T3"/>
                </a:cxn>
                <a:cxn ang="0">
                  <a:pos x="T4" y="T5"/>
                </a:cxn>
                <a:cxn ang="0">
                  <a:pos x="T6" y="T7"/>
                </a:cxn>
              </a:cxnLst>
              <a:rect l="0" t="0" r="r" b="b"/>
              <a:pathLst>
                <a:path w="94" h="124">
                  <a:moveTo>
                    <a:pt x="0" y="124"/>
                  </a:moveTo>
                  <a:cubicBezTo>
                    <a:pt x="94" y="43"/>
                    <a:pt x="94" y="43"/>
                    <a:pt x="94" y="43"/>
                  </a:cubicBezTo>
                  <a:cubicBezTo>
                    <a:pt x="74" y="19"/>
                    <a:pt x="46" y="4"/>
                    <a:pt x="13" y="0"/>
                  </a:cubicBezTo>
                  <a:lnTo>
                    <a:pt x="0" y="124"/>
                  </a:lnTo>
                  <a:close/>
                </a:path>
              </a:pathLst>
            </a:custGeom>
            <a:solidFill>
              <a:srgbClr val="62A9E2"/>
            </a:solidFill>
            <a:ln w="34925" cap="flat">
              <a:solidFill>
                <a:srgbClr val="0C1119"/>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91" name="Freeform 22">
              <a:extLst>
                <a:ext uri="{FF2B5EF4-FFF2-40B4-BE49-F238E27FC236}">
                  <a16:creationId xmlns:a16="http://schemas.microsoft.com/office/drawing/2014/main" id="{7A8A2275-88EC-4B9F-8AEB-9652A8EAAA4E}"/>
                </a:ext>
              </a:extLst>
            </p:cNvPr>
            <p:cNvSpPr>
              <a:spLocks/>
            </p:cNvSpPr>
            <p:nvPr/>
          </p:nvSpPr>
          <p:spPr bwMode="auto">
            <a:xfrm>
              <a:off x="5226050" y="2467769"/>
              <a:ext cx="422275" cy="287337"/>
            </a:xfrm>
            <a:custGeom>
              <a:avLst/>
              <a:gdLst>
                <a:gd name="T0" fmla="*/ 91 w 100"/>
                <a:gd name="T1" fmla="*/ 68 h 68"/>
                <a:gd name="T2" fmla="*/ 9 w 100"/>
                <a:gd name="T3" fmla="*/ 68 h 68"/>
                <a:gd name="T4" fmla="*/ 0 w 100"/>
                <a:gd name="T5" fmla="*/ 59 h 68"/>
                <a:gd name="T6" fmla="*/ 0 w 100"/>
                <a:gd name="T7" fmla="*/ 9 h 68"/>
                <a:gd name="T8" fmla="*/ 9 w 100"/>
                <a:gd name="T9" fmla="*/ 0 h 68"/>
                <a:gd name="T10" fmla="*/ 91 w 100"/>
                <a:gd name="T11" fmla="*/ 0 h 68"/>
                <a:gd name="T12" fmla="*/ 100 w 100"/>
                <a:gd name="T13" fmla="*/ 9 h 68"/>
                <a:gd name="T14" fmla="*/ 100 w 100"/>
                <a:gd name="T15" fmla="*/ 59 h 68"/>
                <a:gd name="T16" fmla="*/ 91 w 100"/>
                <a:gd name="T17" fmla="*/ 68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0" h="68">
                  <a:moveTo>
                    <a:pt x="91" y="68"/>
                  </a:moveTo>
                  <a:cubicBezTo>
                    <a:pt x="9" y="68"/>
                    <a:pt x="9" y="68"/>
                    <a:pt x="9" y="68"/>
                  </a:cubicBezTo>
                  <a:cubicBezTo>
                    <a:pt x="4" y="68"/>
                    <a:pt x="0" y="64"/>
                    <a:pt x="0" y="59"/>
                  </a:cubicBezTo>
                  <a:cubicBezTo>
                    <a:pt x="0" y="9"/>
                    <a:pt x="0" y="9"/>
                    <a:pt x="0" y="9"/>
                  </a:cubicBezTo>
                  <a:cubicBezTo>
                    <a:pt x="0" y="4"/>
                    <a:pt x="4" y="0"/>
                    <a:pt x="9" y="0"/>
                  </a:cubicBezTo>
                  <a:cubicBezTo>
                    <a:pt x="91" y="0"/>
                    <a:pt x="91" y="0"/>
                    <a:pt x="91" y="0"/>
                  </a:cubicBezTo>
                  <a:cubicBezTo>
                    <a:pt x="96" y="0"/>
                    <a:pt x="100" y="4"/>
                    <a:pt x="100" y="9"/>
                  </a:cubicBezTo>
                  <a:cubicBezTo>
                    <a:pt x="100" y="59"/>
                    <a:pt x="100" y="59"/>
                    <a:pt x="100" y="59"/>
                  </a:cubicBezTo>
                  <a:cubicBezTo>
                    <a:pt x="100" y="64"/>
                    <a:pt x="96" y="68"/>
                    <a:pt x="91" y="68"/>
                  </a:cubicBezTo>
                  <a:close/>
                </a:path>
              </a:pathLst>
            </a:custGeom>
            <a:solidFill>
              <a:srgbClr val="C2DDF4"/>
            </a:solidFill>
            <a:ln w="34925" cap="flat">
              <a:solidFill>
                <a:srgbClr val="0C1119"/>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92" name="Freeform 23">
              <a:extLst>
                <a:ext uri="{FF2B5EF4-FFF2-40B4-BE49-F238E27FC236}">
                  <a16:creationId xmlns:a16="http://schemas.microsoft.com/office/drawing/2014/main" id="{45732F12-8485-4E3F-9A13-7EBF9BD338CB}"/>
                </a:ext>
              </a:extLst>
            </p:cNvPr>
            <p:cNvSpPr>
              <a:spLocks/>
            </p:cNvSpPr>
            <p:nvPr/>
          </p:nvSpPr>
          <p:spPr bwMode="auto">
            <a:xfrm>
              <a:off x="5226050" y="3572669"/>
              <a:ext cx="422275" cy="288925"/>
            </a:xfrm>
            <a:custGeom>
              <a:avLst/>
              <a:gdLst>
                <a:gd name="T0" fmla="*/ 91 w 100"/>
                <a:gd name="T1" fmla="*/ 68 h 68"/>
                <a:gd name="T2" fmla="*/ 9 w 100"/>
                <a:gd name="T3" fmla="*/ 68 h 68"/>
                <a:gd name="T4" fmla="*/ 0 w 100"/>
                <a:gd name="T5" fmla="*/ 59 h 68"/>
                <a:gd name="T6" fmla="*/ 0 w 100"/>
                <a:gd name="T7" fmla="*/ 9 h 68"/>
                <a:gd name="T8" fmla="*/ 9 w 100"/>
                <a:gd name="T9" fmla="*/ 0 h 68"/>
                <a:gd name="T10" fmla="*/ 91 w 100"/>
                <a:gd name="T11" fmla="*/ 0 h 68"/>
                <a:gd name="T12" fmla="*/ 100 w 100"/>
                <a:gd name="T13" fmla="*/ 9 h 68"/>
                <a:gd name="T14" fmla="*/ 100 w 100"/>
                <a:gd name="T15" fmla="*/ 59 h 68"/>
                <a:gd name="T16" fmla="*/ 91 w 100"/>
                <a:gd name="T17" fmla="*/ 68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0" h="68">
                  <a:moveTo>
                    <a:pt x="91" y="68"/>
                  </a:moveTo>
                  <a:cubicBezTo>
                    <a:pt x="9" y="68"/>
                    <a:pt x="9" y="68"/>
                    <a:pt x="9" y="68"/>
                  </a:cubicBezTo>
                  <a:cubicBezTo>
                    <a:pt x="4" y="68"/>
                    <a:pt x="0" y="64"/>
                    <a:pt x="0" y="59"/>
                  </a:cubicBezTo>
                  <a:cubicBezTo>
                    <a:pt x="0" y="9"/>
                    <a:pt x="0" y="9"/>
                    <a:pt x="0" y="9"/>
                  </a:cubicBezTo>
                  <a:cubicBezTo>
                    <a:pt x="0" y="4"/>
                    <a:pt x="4" y="0"/>
                    <a:pt x="9" y="0"/>
                  </a:cubicBezTo>
                  <a:cubicBezTo>
                    <a:pt x="91" y="0"/>
                    <a:pt x="91" y="0"/>
                    <a:pt x="91" y="0"/>
                  </a:cubicBezTo>
                  <a:cubicBezTo>
                    <a:pt x="96" y="0"/>
                    <a:pt x="100" y="4"/>
                    <a:pt x="100" y="9"/>
                  </a:cubicBezTo>
                  <a:cubicBezTo>
                    <a:pt x="100" y="59"/>
                    <a:pt x="100" y="59"/>
                    <a:pt x="100" y="59"/>
                  </a:cubicBezTo>
                  <a:cubicBezTo>
                    <a:pt x="100" y="64"/>
                    <a:pt x="96" y="68"/>
                    <a:pt x="91" y="68"/>
                  </a:cubicBezTo>
                  <a:close/>
                </a:path>
              </a:pathLst>
            </a:custGeom>
            <a:solidFill>
              <a:srgbClr val="C2DDF4"/>
            </a:solidFill>
            <a:ln w="34925" cap="flat">
              <a:solidFill>
                <a:srgbClr val="0C1119"/>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93" name="Freeform 24">
              <a:extLst>
                <a:ext uri="{FF2B5EF4-FFF2-40B4-BE49-F238E27FC236}">
                  <a16:creationId xmlns:a16="http://schemas.microsoft.com/office/drawing/2014/main" id="{16CF9339-415B-46B3-AFFA-3802DEAD7370}"/>
                </a:ext>
              </a:extLst>
            </p:cNvPr>
            <p:cNvSpPr>
              <a:spLocks/>
            </p:cNvSpPr>
            <p:nvPr/>
          </p:nvSpPr>
          <p:spPr bwMode="auto">
            <a:xfrm>
              <a:off x="6869113" y="3285332"/>
              <a:ext cx="422275" cy="287337"/>
            </a:xfrm>
            <a:custGeom>
              <a:avLst/>
              <a:gdLst>
                <a:gd name="T0" fmla="*/ 91 w 100"/>
                <a:gd name="T1" fmla="*/ 68 h 68"/>
                <a:gd name="T2" fmla="*/ 9 w 100"/>
                <a:gd name="T3" fmla="*/ 68 h 68"/>
                <a:gd name="T4" fmla="*/ 0 w 100"/>
                <a:gd name="T5" fmla="*/ 59 h 68"/>
                <a:gd name="T6" fmla="*/ 0 w 100"/>
                <a:gd name="T7" fmla="*/ 9 h 68"/>
                <a:gd name="T8" fmla="*/ 9 w 100"/>
                <a:gd name="T9" fmla="*/ 0 h 68"/>
                <a:gd name="T10" fmla="*/ 91 w 100"/>
                <a:gd name="T11" fmla="*/ 0 h 68"/>
                <a:gd name="T12" fmla="*/ 100 w 100"/>
                <a:gd name="T13" fmla="*/ 9 h 68"/>
                <a:gd name="T14" fmla="*/ 100 w 100"/>
                <a:gd name="T15" fmla="*/ 59 h 68"/>
                <a:gd name="T16" fmla="*/ 91 w 100"/>
                <a:gd name="T17" fmla="*/ 68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0" h="68">
                  <a:moveTo>
                    <a:pt x="91" y="68"/>
                  </a:moveTo>
                  <a:cubicBezTo>
                    <a:pt x="9" y="68"/>
                    <a:pt x="9" y="68"/>
                    <a:pt x="9" y="68"/>
                  </a:cubicBezTo>
                  <a:cubicBezTo>
                    <a:pt x="4" y="68"/>
                    <a:pt x="0" y="64"/>
                    <a:pt x="0" y="59"/>
                  </a:cubicBezTo>
                  <a:cubicBezTo>
                    <a:pt x="0" y="9"/>
                    <a:pt x="0" y="9"/>
                    <a:pt x="0" y="9"/>
                  </a:cubicBezTo>
                  <a:cubicBezTo>
                    <a:pt x="0" y="4"/>
                    <a:pt x="4" y="0"/>
                    <a:pt x="9" y="0"/>
                  </a:cubicBezTo>
                  <a:cubicBezTo>
                    <a:pt x="91" y="0"/>
                    <a:pt x="91" y="0"/>
                    <a:pt x="91" y="0"/>
                  </a:cubicBezTo>
                  <a:cubicBezTo>
                    <a:pt x="96" y="0"/>
                    <a:pt x="100" y="4"/>
                    <a:pt x="100" y="9"/>
                  </a:cubicBezTo>
                  <a:cubicBezTo>
                    <a:pt x="100" y="59"/>
                    <a:pt x="100" y="59"/>
                    <a:pt x="100" y="59"/>
                  </a:cubicBezTo>
                  <a:cubicBezTo>
                    <a:pt x="100" y="64"/>
                    <a:pt x="96" y="68"/>
                    <a:pt x="91" y="68"/>
                  </a:cubicBezTo>
                  <a:close/>
                </a:path>
              </a:pathLst>
            </a:custGeom>
            <a:solidFill>
              <a:srgbClr val="C2DDF4"/>
            </a:solidFill>
            <a:ln w="34925" cap="flat">
              <a:solidFill>
                <a:srgbClr val="0C1119"/>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94" name="Freeform 25">
              <a:extLst>
                <a:ext uri="{FF2B5EF4-FFF2-40B4-BE49-F238E27FC236}">
                  <a16:creationId xmlns:a16="http://schemas.microsoft.com/office/drawing/2014/main" id="{E97BA36F-C0DB-44B1-90D9-2F9B5CD287C9}"/>
                </a:ext>
              </a:extLst>
            </p:cNvPr>
            <p:cNvSpPr>
              <a:spLocks/>
            </p:cNvSpPr>
            <p:nvPr/>
          </p:nvSpPr>
          <p:spPr bwMode="auto">
            <a:xfrm>
              <a:off x="6869113" y="2226469"/>
              <a:ext cx="422275" cy="292100"/>
            </a:xfrm>
            <a:custGeom>
              <a:avLst/>
              <a:gdLst>
                <a:gd name="T0" fmla="*/ 91 w 100"/>
                <a:gd name="T1" fmla="*/ 69 h 69"/>
                <a:gd name="T2" fmla="*/ 9 w 100"/>
                <a:gd name="T3" fmla="*/ 69 h 69"/>
                <a:gd name="T4" fmla="*/ 0 w 100"/>
                <a:gd name="T5" fmla="*/ 60 h 69"/>
                <a:gd name="T6" fmla="*/ 0 w 100"/>
                <a:gd name="T7" fmla="*/ 9 h 69"/>
                <a:gd name="T8" fmla="*/ 9 w 100"/>
                <a:gd name="T9" fmla="*/ 0 h 69"/>
                <a:gd name="T10" fmla="*/ 91 w 100"/>
                <a:gd name="T11" fmla="*/ 0 h 69"/>
                <a:gd name="T12" fmla="*/ 100 w 100"/>
                <a:gd name="T13" fmla="*/ 9 h 69"/>
                <a:gd name="T14" fmla="*/ 100 w 100"/>
                <a:gd name="T15" fmla="*/ 60 h 69"/>
                <a:gd name="T16" fmla="*/ 91 w 100"/>
                <a:gd name="T17" fmla="*/ 69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0" h="69">
                  <a:moveTo>
                    <a:pt x="91" y="69"/>
                  </a:moveTo>
                  <a:cubicBezTo>
                    <a:pt x="9" y="69"/>
                    <a:pt x="9" y="69"/>
                    <a:pt x="9" y="69"/>
                  </a:cubicBezTo>
                  <a:cubicBezTo>
                    <a:pt x="4" y="69"/>
                    <a:pt x="0" y="65"/>
                    <a:pt x="0" y="60"/>
                  </a:cubicBezTo>
                  <a:cubicBezTo>
                    <a:pt x="0" y="9"/>
                    <a:pt x="0" y="9"/>
                    <a:pt x="0" y="9"/>
                  </a:cubicBezTo>
                  <a:cubicBezTo>
                    <a:pt x="0" y="4"/>
                    <a:pt x="4" y="0"/>
                    <a:pt x="9" y="0"/>
                  </a:cubicBezTo>
                  <a:cubicBezTo>
                    <a:pt x="91" y="0"/>
                    <a:pt x="91" y="0"/>
                    <a:pt x="91" y="0"/>
                  </a:cubicBezTo>
                  <a:cubicBezTo>
                    <a:pt x="96" y="0"/>
                    <a:pt x="100" y="4"/>
                    <a:pt x="100" y="9"/>
                  </a:cubicBezTo>
                  <a:cubicBezTo>
                    <a:pt x="100" y="60"/>
                    <a:pt x="100" y="60"/>
                    <a:pt x="100" y="60"/>
                  </a:cubicBezTo>
                  <a:cubicBezTo>
                    <a:pt x="100" y="65"/>
                    <a:pt x="96" y="69"/>
                    <a:pt x="91" y="69"/>
                  </a:cubicBezTo>
                  <a:close/>
                </a:path>
              </a:pathLst>
            </a:custGeom>
            <a:solidFill>
              <a:srgbClr val="C2DDF4"/>
            </a:solidFill>
            <a:ln w="34925" cap="flat">
              <a:solidFill>
                <a:srgbClr val="0C1119"/>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95" name="Freeform 26">
              <a:extLst>
                <a:ext uri="{FF2B5EF4-FFF2-40B4-BE49-F238E27FC236}">
                  <a16:creationId xmlns:a16="http://schemas.microsoft.com/office/drawing/2014/main" id="{6B74ED1E-DB3E-406C-8F27-6795789E51DD}"/>
                </a:ext>
              </a:extLst>
            </p:cNvPr>
            <p:cNvSpPr>
              <a:spLocks/>
            </p:cNvSpPr>
            <p:nvPr/>
          </p:nvSpPr>
          <p:spPr bwMode="auto">
            <a:xfrm>
              <a:off x="5226050" y="4039394"/>
              <a:ext cx="2065338" cy="0"/>
            </a:xfrm>
            <a:custGeom>
              <a:avLst/>
              <a:gdLst>
                <a:gd name="T0" fmla="*/ 0 w 1301"/>
                <a:gd name="T1" fmla="*/ 1301 w 1301"/>
                <a:gd name="T2" fmla="*/ 0 w 1301"/>
              </a:gdLst>
              <a:ahLst/>
              <a:cxnLst>
                <a:cxn ang="0">
                  <a:pos x="T0" y="0"/>
                </a:cxn>
                <a:cxn ang="0">
                  <a:pos x="T1" y="0"/>
                </a:cxn>
                <a:cxn ang="0">
                  <a:pos x="T2" y="0"/>
                </a:cxn>
              </a:cxnLst>
              <a:rect l="0" t="0" r="r" b="b"/>
              <a:pathLst>
                <a:path w="1301">
                  <a:moveTo>
                    <a:pt x="0" y="0"/>
                  </a:moveTo>
                  <a:lnTo>
                    <a:pt x="1301" y="0"/>
                  </a:lnTo>
                  <a:lnTo>
                    <a:pt x="0" y="0"/>
                  </a:lnTo>
                  <a:close/>
                </a:path>
              </a:pathLst>
            </a:custGeom>
            <a:solidFill>
              <a:srgbClr val="C2DD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96" name="Line 27">
              <a:extLst>
                <a:ext uri="{FF2B5EF4-FFF2-40B4-BE49-F238E27FC236}">
                  <a16:creationId xmlns:a16="http://schemas.microsoft.com/office/drawing/2014/main" id="{87AD8663-4068-446E-999A-86E90EEF3E44}"/>
                </a:ext>
              </a:extLst>
            </p:cNvPr>
            <p:cNvSpPr>
              <a:spLocks noChangeShapeType="1"/>
            </p:cNvSpPr>
            <p:nvPr/>
          </p:nvSpPr>
          <p:spPr bwMode="auto">
            <a:xfrm>
              <a:off x="5226050" y="4039394"/>
              <a:ext cx="2065338" cy="0"/>
            </a:xfrm>
            <a:prstGeom prst="line">
              <a:avLst/>
            </a:prstGeom>
            <a:noFill/>
            <a:ln w="34925" cap="flat">
              <a:solidFill>
                <a:srgbClr val="0C111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197" name="Freeform 28">
              <a:extLst>
                <a:ext uri="{FF2B5EF4-FFF2-40B4-BE49-F238E27FC236}">
                  <a16:creationId xmlns:a16="http://schemas.microsoft.com/office/drawing/2014/main" id="{282CD4A0-4B72-497A-A137-CBE0EFE691F3}"/>
                </a:ext>
              </a:extLst>
            </p:cNvPr>
            <p:cNvSpPr>
              <a:spLocks/>
            </p:cNvSpPr>
            <p:nvPr/>
          </p:nvSpPr>
          <p:spPr bwMode="auto">
            <a:xfrm>
              <a:off x="5226050" y="4140994"/>
              <a:ext cx="1363663" cy="0"/>
            </a:xfrm>
            <a:custGeom>
              <a:avLst/>
              <a:gdLst>
                <a:gd name="T0" fmla="*/ 0 w 859"/>
                <a:gd name="T1" fmla="*/ 859 w 859"/>
                <a:gd name="T2" fmla="*/ 0 w 859"/>
              </a:gdLst>
              <a:ahLst/>
              <a:cxnLst>
                <a:cxn ang="0">
                  <a:pos x="T0" y="0"/>
                </a:cxn>
                <a:cxn ang="0">
                  <a:pos x="T1" y="0"/>
                </a:cxn>
                <a:cxn ang="0">
                  <a:pos x="T2" y="0"/>
                </a:cxn>
              </a:cxnLst>
              <a:rect l="0" t="0" r="r" b="b"/>
              <a:pathLst>
                <a:path w="859">
                  <a:moveTo>
                    <a:pt x="0" y="0"/>
                  </a:moveTo>
                  <a:lnTo>
                    <a:pt x="859" y="0"/>
                  </a:lnTo>
                  <a:lnTo>
                    <a:pt x="0" y="0"/>
                  </a:lnTo>
                  <a:close/>
                </a:path>
              </a:pathLst>
            </a:custGeom>
            <a:solidFill>
              <a:srgbClr val="C2DD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98" name="Line 29">
              <a:extLst>
                <a:ext uri="{FF2B5EF4-FFF2-40B4-BE49-F238E27FC236}">
                  <a16:creationId xmlns:a16="http://schemas.microsoft.com/office/drawing/2014/main" id="{593DA138-C32C-4128-9129-442A71416225}"/>
                </a:ext>
              </a:extLst>
            </p:cNvPr>
            <p:cNvSpPr>
              <a:spLocks noChangeShapeType="1"/>
            </p:cNvSpPr>
            <p:nvPr/>
          </p:nvSpPr>
          <p:spPr bwMode="auto">
            <a:xfrm>
              <a:off x="5226050" y="4140994"/>
              <a:ext cx="1363663" cy="0"/>
            </a:xfrm>
            <a:prstGeom prst="line">
              <a:avLst/>
            </a:prstGeom>
            <a:noFill/>
            <a:ln w="34925" cap="flat">
              <a:solidFill>
                <a:srgbClr val="0C111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199" name="Freeform 30">
              <a:extLst>
                <a:ext uri="{FF2B5EF4-FFF2-40B4-BE49-F238E27FC236}">
                  <a16:creationId xmlns:a16="http://schemas.microsoft.com/office/drawing/2014/main" id="{658D3C9D-99AF-47F7-852D-853B770CAC5D}"/>
                </a:ext>
              </a:extLst>
            </p:cNvPr>
            <p:cNvSpPr>
              <a:spLocks/>
            </p:cNvSpPr>
            <p:nvPr/>
          </p:nvSpPr>
          <p:spPr bwMode="auto">
            <a:xfrm>
              <a:off x="5226050" y="4245769"/>
              <a:ext cx="1693863" cy="0"/>
            </a:xfrm>
            <a:custGeom>
              <a:avLst/>
              <a:gdLst>
                <a:gd name="T0" fmla="*/ 0 w 1067"/>
                <a:gd name="T1" fmla="*/ 1067 w 1067"/>
                <a:gd name="T2" fmla="*/ 0 w 1067"/>
              </a:gdLst>
              <a:ahLst/>
              <a:cxnLst>
                <a:cxn ang="0">
                  <a:pos x="T0" y="0"/>
                </a:cxn>
                <a:cxn ang="0">
                  <a:pos x="T1" y="0"/>
                </a:cxn>
                <a:cxn ang="0">
                  <a:pos x="T2" y="0"/>
                </a:cxn>
              </a:cxnLst>
              <a:rect l="0" t="0" r="r" b="b"/>
              <a:pathLst>
                <a:path w="1067">
                  <a:moveTo>
                    <a:pt x="0" y="0"/>
                  </a:moveTo>
                  <a:lnTo>
                    <a:pt x="1067" y="0"/>
                  </a:lnTo>
                  <a:lnTo>
                    <a:pt x="0" y="0"/>
                  </a:lnTo>
                  <a:close/>
                </a:path>
              </a:pathLst>
            </a:custGeom>
            <a:solidFill>
              <a:srgbClr val="C2DD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00" name="Line 31">
              <a:extLst>
                <a:ext uri="{FF2B5EF4-FFF2-40B4-BE49-F238E27FC236}">
                  <a16:creationId xmlns:a16="http://schemas.microsoft.com/office/drawing/2014/main" id="{DC5089BF-617E-4C93-BD7C-5A607ED7C8A4}"/>
                </a:ext>
              </a:extLst>
            </p:cNvPr>
            <p:cNvSpPr>
              <a:spLocks noChangeShapeType="1"/>
            </p:cNvSpPr>
            <p:nvPr/>
          </p:nvSpPr>
          <p:spPr bwMode="auto">
            <a:xfrm>
              <a:off x="5226050" y="4245769"/>
              <a:ext cx="1693863" cy="0"/>
            </a:xfrm>
            <a:prstGeom prst="line">
              <a:avLst/>
            </a:prstGeom>
            <a:noFill/>
            <a:ln w="34925" cap="flat">
              <a:solidFill>
                <a:srgbClr val="0C111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201" name="Freeform 32">
              <a:extLst>
                <a:ext uri="{FF2B5EF4-FFF2-40B4-BE49-F238E27FC236}">
                  <a16:creationId xmlns:a16="http://schemas.microsoft.com/office/drawing/2014/main" id="{39B98B28-DAE6-4D2C-9BA5-774CC1D4B473}"/>
                </a:ext>
              </a:extLst>
            </p:cNvPr>
            <p:cNvSpPr>
              <a:spLocks/>
            </p:cNvSpPr>
            <p:nvPr/>
          </p:nvSpPr>
          <p:spPr bwMode="auto">
            <a:xfrm>
              <a:off x="5226050" y="4347369"/>
              <a:ext cx="1193800" cy="0"/>
            </a:xfrm>
            <a:custGeom>
              <a:avLst/>
              <a:gdLst>
                <a:gd name="T0" fmla="*/ 0 w 752"/>
                <a:gd name="T1" fmla="*/ 752 w 752"/>
                <a:gd name="T2" fmla="*/ 0 w 752"/>
              </a:gdLst>
              <a:ahLst/>
              <a:cxnLst>
                <a:cxn ang="0">
                  <a:pos x="T0" y="0"/>
                </a:cxn>
                <a:cxn ang="0">
                  <a:pos x="T1" y="0"/>
                </a:cxn>
                <a:cxn ang="0">
                  <a:pos x="T2" y="0"/>
                </a:cxn>
              </a:cxnLst>
              <a:rect l="0" t="0" r="r" b="b"/>
              <a:pathLst>
                <a:path w="752">
                  <a:moveTo>
                    <a:pt x="0" y="0"/>
                  </a:moveTo>
                  <a:lnTo>
                    <a:pt x="752" y="0"/>
                  </a:lnTo>
                  <a:lnTo>
                    <a:pt x="0" y="0"/>
                  </a:lnTo>
                  <a:close/>
                </a:path>
              </a:pathLst>
            </a:custGeom>
            <a:solidFill>
              <a:srgbClr val="C2DD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02" name="Line 33">
              <a:extLst>
                <a:ext uri="{FF2B5EF4-FFF2-40B4-BE49-F238E27FC236}">
                  <a16:creationId xmlns:a16="http://schemas.microsoft.com/office/drawing/2014/main" id="{92C6CEFB-4849-4DD7-A41B-06C159F3310D}"/>
                </a:ext>
              </a:extLst>
            </p:cNvPr>
            <p:cNvSpPr>
              <a:spLocks noChangeShapeType="1"/>
            </p:cNvSpPr>
            <p:nvPr/>
          </p:nvSpPr>
          <p:spPr bwMode="auto">
            <a:xfrm>
              <a:off x="5226050" y="4347369"/>
              <a:ext cx="1193800" cy="0"/>
            </a:xfrm>
            <a:prstGeom prst="line">
              <a:avLst/>
            </a:prstGeom>
            <a:noFill/>
            <a:ln w="34925" cap="flat">
              <a:solidFill>
                <a:srgbClr val="0C111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p>
          </p:txBody>
        </p:sp>
      </p:grpSp>
      <p:sp>
        <p:nvSpPr>
          <p:cNvPr id="2" name="标题 1">
            <a:extLst>
              <a:ext uri="{FF2B5EF4-FFF2-40B4-BE49-F238E27FC236}">
                <a16:creationId xmlns:a16="http://schemas.microsoft.com/office/drawing/2014/main" id="{C1E35B64-B1DB-4A7C-829A-4E4365E79871}"/>
              </a:ext>
            </a:extLst>
          </p:cNvPr>
          <p:cNvSpPr>
            <a:spLocks noGrp="1"/>
          </p:cNvSpPr>
          <p:nvPr>
            <p:ph type="title"/>
          </p:nvPr>
        </p:nvSpPr>
        <p:spPr/>
        <p:txBody>
          <a:bodyPr/>
          <a:lstStyle/>
          <a:p>
            <a:r>
              <a:rPr lang="en-US" altLang="zh-CN" dirty="0"/>
              <a:t>UML</a:t>
            </a:r>
            <a:r>
              <a:rPr lang="zh-CN" altLang="en-US" dirty="0"/>
              <a:t>状态图</a:t>
            </a:r>
          </a:p>
        </p:txBody>
      </p:sp>
      <p:sp>
        <p:nvSpPr>
          <p:cNvPr id="4" name="灯片编号占位符 3">
            <a:extLst>
              <a:ext uri="{FF2B5EF4-FFF2-40B4-BE49-F238E27FC236}">
                <a16:creationId xmlns:a16="http://schemas.microsoft.com/office/drawing/2014/main" id="{1CD73F73-DE87-4FAA-BC73-34B1717818DF}"/>
              </a:ext>
            </a:extLst>
          </p:cNvPr>
          <p:cNvSpPr>
            <a:spLocks noGrp="1"/>
          </p:cNvSpPr>
          <p:nvPr>
            <p:ph type="sldNum" sz="quarter" idx="12"/>
          </p:nvPr>
        </p:nvSpPr>
        <p:spPr/>
        <p:txBody>
          <a:bodyPr/>
          <a:lstStyle/>
          <a:p>
            <a:fld id="{5DD3DB80-B894-403A-B48E-6FDC1A72010E}" type="slidenum">
              <a:rPr lang="zh-CN" altLang="en-US" smtClean="0"/>
              <a:pPr/>
              <a:t>16</a:t>
            </a:fld>
            <a:endParaRPr lang="zh-CN" altLang="en-US"/>
          </a:p>
        </p:txBody>
      </p:sp>
      <p:grpSp>
        <p:nvGrpSpPr>
          <p:cNvPr id="5" name="183472"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a16="http://schemas.microsoft.com/office/drawing/2014/main" id="{A13558B8-9D1D-485F-A9B2-AEB572654507}"/>
              </a:ext>
            </a:extLst>
          </p:cNvPr>
          <p:cNvGrpSpPr>
            <a:grpSpLocks noChangeAspect="1"/>
          </p:cNvGrpSpPr>
          <p:nvPr/>
        </p:nvGrpSpPr>
        <p:grpSpPr>
          <a:xfrm>
            <a:off x="2121826" y="1282893"/>
            <a:ext cx="9398663" cy="3970310"/>
            <a:chOff x="2121826" y="1282893"/>
            <a:chExt cx="9398663" cy="3970310"/>
          </a:xfrm>
        </p:grpSpPr>
        <p:sp>
          <p:nvSpPr>
            <p:cNvPr id="27" name="iŝḻïḓé">
              <a:extLst>
                <a:ext uri="{FF2B5EF4-FFF2-40B4-BE49-F238E27FC236}">
                  <a16:creationId xmlns:a16="http://schemas.microsoft.com/office/drawing/2014/main" id="{CE0929BD-FC0F-42FA-A91F-FBDEEE1ED95C}"/>
                </a:ext>
              </a:extLst>
            </p:cNvPr>
            <p:cNvSpPr/>
            <p:nvPr/>
          </p:nvSpPr>
          <p:spPr bwMode="auto">
            <a:xfrm>
              <a:off x="2121826" y="4021271"/>
              <a:ext cx="973957" cy="907281"/>
            </a:xfrm>
            <a:custGeom>
              <a:avLst/>
              <a:gdLst/>
              <a:ahLst/>
              <a:cxnLst>
                <a:cxn ang="0">
                  <a:pos x="102" y="0"/>
                </a:cxn>
                <a:cxn ang="0">
                  <a:pos x="0" y="95"/>
                </a:cxn>
                <a:cxn ang="0">
                  <a:pos x="0" y="95"/>
                </a:cxn>
                <a:cxn ang="0">
                  <a:pos x="102" y="0"/>
                </a:cxn>
                <a:cxn ang="0">
                  <a:pos x="102" y="0"/>
                </a:cxn>
              </a:cxnLst>
              <a:rect l="0" t="0" r="r" b="b"/>
              <a:pathLst>
                <a:path w="102" h="95">
                  <a:moveTo>
                    <a:pt x="102" y="0"/>
                  </a:moveTo>
                  <a:cubicBezTo>
                    <a:pt x="90" y="49"/>
                    <a:pt x="50" y="87"/>
                    <a:pt x="0" y="95"/>
                  </a:cubicBezTo>
                  <a:cubicBezTo>
                    <a:pt x="0" y="95"/>
                    <a:pt x="0" y="95"/>
                    <a:pt x="0" y="95"/>
                  </a:cubicBezTo>
                  <a:cubicBezTo>
                    <a:pt x="50" y="87"/>
                    <a:pt x="90" y="49"/>
                    <a:pt x="102" y="0"/>
                  </a:cubicBezTo>
                  <a:cubicBezTo>
                    <a:pt x="102" y="0"/>
                    <a:pt x="102" y="0"/>
                    <a:pt x="102" y="0"/>
                  </a:cubicBezTo>
                </a:path>
              </a:pathLst>
            </a:custGeom>
            <a:solidFill>
              <a:srgbClr val="BB3A3A"/>
            </a:solidFill>
            <a:ln w="9525">
              <a:noFill/>
              <a:round/>
              <a:headEnd/>
              <a:tailEnd/>
            </a:ln>
          </p:spPr>
          <p:txBody>
            <a:bodyPr vert="horz" wrap="square" lIns="91440" tIns="45720" rIns="91440" bIns="45720" numCol="1" anchor="t" anchorCtr="0" compatLnSpc="1">
              <a:prstTxWarp prst="textNoShape">
                <a:avLst/>
              </a:prstTxWarp>
              <a:normAutofit/>
            </a:bodyPr>
            <a:lstStyle/>
            <a:p>
              <a:endParaRPr lang="zh-CN" altLang="en-US"/>
            </a:p>
          </p:txBody>
        </p:sp>
        <p:sp>
          <p:nvSpPr>
            <p:cNvPr id="7" name="ïṡḷiḓê">
              <a:extLst>
                <a:ext uri="{FF2B5EF4-FFF2-40B4-BE49-F238E27FC236}">
                  <a16:creationId xmlns:a16="http://schemas.microsoft.com/office/drawing/2014/main" id="{6982B370-286D-4E2A-861D-47EA735A5DD1}"/>
                </a:ext>
              </a:extLst>
            </p:cNvPr>
            <p:cNvSpPr txBox="1"/>
            <p:nvPr/>
          </p:nvSpPr>
          <p:spPr>
            <a:xfrm>
              <a:off x="3079054" y="1282893"/>
              <a:ext cx="8441434" cy="595087"/>
            </a:xfrm>
            <a:prstGeom prst="rect">
              <a:avLst/>
            </a:prstGeom>
            <a:noFill/>
            <a:ln>
              <a:noFill/>
            </a:ln>
          </p:spPr>
          <p:txBody>
            <a:bodyPr wrap="square" lIns="90000" tIns="46800" rIns="90000" bIns="46800" anchor="b" anchorCtr="0">
              <a:normAutofit/>
            </a:bodyPr>
            <a:lstStyle/>
            <a:p>
              <a:pPr algn="ctr">
                <a:buSzPct val="25000"/>
              </a:pPr>
              <a:r>
                <a:rPr lang="zh-CN" altLang="en-US" sz="2000" b="1" dirty="0"/>
                <a:t>状态图概要</a:t>
              </a:r>
              <a:endParaRPr lang="en-US" sz="2000" b="1" dirty="0"/>
            </a:p>
          </p:txBody>
        </p:sp>
        <p:sp>
          <p:nvSpPr>
            <p:cNvPr id="8" name="ïṣḷîḓe">
              <a:extLst>
                <a:ext uri="{FF2B5EF4-FFF2-40B4-BE49-F238E27FC236}">
                  <a16:creationId xmlns:a16="http://schemas.microsoft.com/office/drawing/2014/main" id="{650ED840-7AFA-4729-9CEC-9ACD8BF6E6D5}"/>
                </a:ext>
              </a:extLst>
            </p:cNvPr>
            <p:cNvSpPr txBox="1"/>
            <p:nvPr/>
          </p:nvSpPr>
          <p:spPr>
            <a:xfrm>
              <a:off x="3079053" y="1877980"/>
              <a:ext cx="8441436" cy="787280"/>
            </a:xfrm>
            <a:prstGeom prst="rect">
              <a:avLst/>
            </a:prstGeom>
            <a:noFill/>
            <a:ln>
              <a:noFill/>
            </a:ln>
          </p:spPr>
          <p:txBody>
            <a:bodyPr wrap="square" lIns="90000" tIns="46800" rIns="90000" bIns="46800" anchor="t" anchorCtr="0">
              <a:normAutofit/>
            </a:bodyPr>
            <a:lstStyle/>
            <a:p>
              <a:pPr algn="ctr">
                <a:lnSpc>
                  <a:spcPct val="150000"/>
                </a:lnSpc>
                <a:buSzPct val="25000"/>
              </a:pPr>
              <a:r>
                <a:rPr lang="zh-CN" altLang="en-US" sz="1200" b="0" i="0" dirty="0">
                  <a:solidFill>
                    <a:srgbClr val="0D0016"/>
                  </a:solidFill>
                  <a:effectLst/>
                  <a:latin typeface="-apple-system"/>
                </a:rPr>
                <a:t>描述一个特定对象的所有可能的状态以及引起状态转换的事件</a:t>
              </a:r>
              <a:endParaRPr lang="en-US" sz="1200" dirty="0"/>
            </a:p>
          </p:txBody>
        </p:sp>
        <p:cxnSp>
          <p:nvCxnSpPr>
            <p:cNvPr id="9" name="直接连接符 8">
              <a:extLst>
                <a:ext uri="{FF2B5EF4-FFF2-40B4-BE49-F238E27FC236}">
                  <a16:creationId xmlns:a16="http://schemas.microsoft.com/office/drawing/2014/main" id="{1BA83826-3D02-4BE2-AB9A-059CE9664B05}"/>
                </a:ext>
              </a:extLst>
            </p:cNvPr>
            <p:cNvCxnSpPr>
              <a:cxnSpLocks/>
            </p:cNvCxnSpPr>
            <p:nvPr/>
          </p:nvCxnSpPr>
          <p:spPr>
            <a:xfrm>
              <a:off x="2904477" y="2865984"/>
              <a:ext cx="861601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nvGrpSpPr>
            <p:cNvPr id="10" name="íšļiḍé">
              <a:extLst>
                <a:ext uri="{FF2B5EF4-FFF2-40B4-BE49-F238E27FC236}">
                  <a16:creationId xmlns:a16="http://schemas.microsoft.com/office/drawing/2014/main" id="{3445083A-93A8-4596-9554-D302B7E2ECE5}"/>
                </a:ext>
              </a:extLst>
            </p:cNvPr>
            <p:cNvGrpSpPr/>
            <p:nvPr/>
          </p:nvGrpSpPr>
          <p:grpSpPr>
            <a:xfrm>
              <a:off x="3525886" y="3600247"/>
              <a:ext cx="2328027" cy="1438103"/>
              <a:chOff x="4185162" y="3580166"/>
              <a:chExt cx="2328027" cy="1438103"/>
            </a:xfrm>
          </p:grpSpPr>
          <p:sp>
            <p:nvSpPr>
              <p:cNvPr id="21" name="íṧlîḍe">
                <a:extLst>
                  <a:ext uri="{FF2B5EF4-FFF2-40B4-BE49-F238E27FC236}">
                    <a16:creationId xmlns:a16="http://schemas.microsoft.com/office/drawing/2014/main" id="{D55337DE-D953-4540-AA5D-50A4333EB440}"/>
                  </a:ext>
                </a:extLst>
              </p:cNvPr>
              <p:cNvSpPr/>
              <p:nvPr/>
            </p:nvSpPr>
            <p:spPr bwMode="auto">
              <a:xfrm>
                <a:off x="4958704" y="3580166"/>
                <a:ext cx="708563" cy="538239"/>
              </a:xfrm>
              <a:custGeom>
                <a:avLst/>
                <a:gdLst>
                  <a:gd name="T0" fmla="*/ 2664 w 2711"/>
                  <a:gd name="T1" fmla="*/ 1581 h 2062"/>
                  <a:gd name="T2" fmla="*/ 909 w 2711"/>
                  <a:gd name="T3" fmla="*/ 1581 h 2062"/>
                  <a:gd name="T4" fmla="*/ 861 w 2711"/>
                  <a:gd name="T5" fmla="*/ 1534 h 2062"/>
                  <a:gd name="T6" fmla="*/ 861 w 2711"/>
                  <a:gd name="T7" fmla="*/ 434 h 2062"/>
                  <a:gd name="T8" fmla="*/ 909 w 2711"/>
                  <a:gd name="T9" fmla="*/ 386 h 2062"/>
                  <a:gd name="T10" fmla="*/ 2664 w 2711"/>
                  <a:gd name="T11" fmla="*/ 386 h 2062"/>
                  <a:gd name="T12" fmla="*/ 2711 w 2711"/>
                  <a:gd name="T13" fmla="*/ 434 h 2062"/>
                  <a:gd name="T14" fmla="*/ 2711 w 2711"/>
                  <a:gd name="T15" fmla="*/ 1534 h 2062"/>
                  <a:gd name="T16" fmla="*/ 2664 w 2711"/>
                  <a:gd name="T17" fmla="*/ 1581 h 2062"/>
                  <a:gd name="T18" fmla="*/ 2177 w 2711"/>
                  <a:gd name="T19" fmla="*/ 1928 h 2062"/>
                  <a:gd name="T20" fmla="*/ 2000 w 2711"/>
                  <a:gd name="T21" fmla="*/ 1928 h 2062"/>
                  <a:gd name="T22" fmla="*/ 2000 w 2711"/>
                  <a:gd name="T23" fmla="*/ 1715 h 2062"/>
                  <a:gd name="T24" fmla="*/ 1573 w 2711"/>
                  <a:gd name="T25" fmla="*/ 1715 h 2062"/>
                  <a:gd name="T26" fmla="*/ 1573 w 2711"/>
                  <a:gd name="T27" fmla="*/ 1928 h 2062"/>
                  <a:gd name="T28" fmla="*/ 1395 w 2711"/>
                  <a:gd name="T29" fmla="*/ 1928 h 2062"/>
                  <a:gd name="T30" fmla="*/ 1329 w 2711"/>
                  <a:gd name="T31" fmla="*/ 1995 h 2062"/>
                  <a:gd name="T32" fmla="*/ 1395 w 2711"/>
                  <a:gd name="T33" fmla="*/ 2062 h 2062"/>
                  <a:gd name="T34" fmla="*/ 1640 w 2711"/>
                  <a:gd name="T35" fmla="*/ 2062 h 2062"/>
                  <a:gd name="T36" fmla="*/ 1933 w 2711"/>
                  <a:gd name="T37" fmla="*/ 2062 h 2062"/>
                  <a:gd name="T38" fmla="*/ 2177 w 2711"/>
                  <a:gd name="T39" fmla="*/ 2062 h 2062"/>
                  <a:gd name="T40" fmla="*/ 2244 w 2711"/>
                  <a:gd name="T41" fmla="*/ 1995 h 2062"/>
                  <a:gd name="T42" fmla="*/ 2177 w 2711"/>
                  <a:gd name="T43" fmla="*/ 1928 h 2062"/>
                  <a:gd name="T44" fmla="*/ 1065 w 2711"/>
                  <a:gd name="T45" fmla="*/ 253 h 2062"/>
                  <a:gd name="T46" fmla="*/ 909 w 2711"/>
                  <a:gd name="T47" fmla="*/ 253 h 2062"/>
                  <a:gd name="T48" fmla="*/ 880 w 2711"/>
                  <a:gd name="T49" fmla="*/ 255 h 2062"/>
                  <a:gd name="T50" fmla="*/ 863 w 2711"/>
                  <a:gd name="T51" fmla="*/ 253 h 2062"/>
                  <a:gd name="T52" fmla="*/ 201 w 2711"/>
                  <a:gd name="T53" fmla="*/ 253 h 2062"/>
                  <a:gd name="T54" fmla="*/ 135 w 2711"/>
                  <a:gd name="T55" fmla="*/ 320 h 2062"/>
                  <a:gd name="T56" fmla="*/ 201 w 2711"/>
                  <a:gd name="T57" fmla="*/ 386 h 2062"/>
                  <a:gd name="T58" fmla="*/ 735 w 2711"/>
                  <a:gd name="T59" fmla="*/ 386 h 2062"/>
                  <a:gd name="T60" fmla="*/ 728 w 2711"/>
                  <a:gd name="T61" fmla="*/ 434 h 2062"/>
                  <a:gd name="T62" fmla="*/ 728 w 2711"/>
                  <a:gd name="T63" fmla="*/ 558 h 2062"/>
                  <a:gd name="T64" fmla="*/ 201 w 2711"/>
                  <a:gd name="T65" fmla="*/ 558 h 2062"/>
                  <a:gd name="T66" fmla="*/ 135 w 2711"/>
                  <a:gd name="T67" fmla="*/ 624 h 2062"/>
                  <a:gd name="T68" fmla="*/ 201 w 2711"/>
                  <a:gd name="T69" fmla="*/ 691 h 2062"/>
                  <a:gd name="T70" fmla="*/ 728 w 2711"/>
                  <a:gd name="T71" fmla="*/ 691 h 2062"/>
                  <a:gd name="T72" fmla="*/ 728 w 2711"/>
                  <a:gd name="T73" fmla="*/ 863 h 2062"/>
                  <a:gd name="T74" fmla="*/ 201 w 2711"/>
                  <a:gd name="T75" fmla="*/ 863 h 2062"/>
                  <a:gd name="T76" fmla="*/ 135 w 2711"/>
                  <a:gd name="T77" fmla="*/ 929 h 2062"/>
                  <a:gd name="T78" fmla="*/ 201 w 2711"/>
                  <a:gd name="T79" fmla="*/ 996 h 2062"/>
                  <a:gd name="T80" fmla="*/ 728 w 2711"/>
                  <a:gd name="T81" fmla="*/ 996 h 2062"/>
                  <a:gd name="T82" fmla="*/ 728 w 2711"/>
                  <a:gd name="T83" fmla="*/ 1534 h 2062"/>
                  <a:gd name="T84" fmla="*/ 909 w 2711"/>
                  <a:gd name="T85" fmla="*/ 1715 h 2062"/>
                  <a:gd name="T86" fmla="*/ 1065 w 2711"/>
                  <a:gd name="T87" fmla="*/ 1715 h 2062"/>
                  <a:gd name="T88" fmla="*/ 1065 w 2711"/>
                  <a:gd name="T89" fmla="*/ 1995 h 2062"/>
                  <a:gd name="T90" fmla="*/ 998 w 2711"/>
                  <a:gd name="T91" fmla="*/ 2062 h 2062"/>
                  <a:gd name="T92" fmla="*/ 67 w 2711"/>
                  <a:gd name="T93" fmla="*/ 2062 h 2062"/>
                  <a:gd name="T94" fmla="*/ 0 w 2711"/>
                  <a:gd name="T95" fmla="*/ 1995 h 2062"/>
                  <a:gd name="T96" fmla="*/ 0 w 2711"/>
                  <a:gd name="T97" fmla="*/ 66 h 2062"/>
                  <a:gd name="T98" fmla="*/ 67 w 2711"/>
                  <a:gd name="T99" fmla="*/ 0 h 2062"/>
                  <a:gd name="T100" fmla="*/ 998 w 2711"/>
                  <a:gd name="T101" fmla="*/ 0 h 2062"/>
                  <a:gd name="T102" fmla="*/ 1065 w 2711"/>
                  <a:gd name="T103" fmla="*/ 66 h 2062"/>
                  <a:gd name="T104" fmla="*/ 1065 w 2711"/>
                  <a:gd name="T105" fmla="*/ 253 h 2062"/>
                  <a:gd name="T106" fmla="*/ 430 w 2711"/>
                  <a:gd name="T107" fmla="*/ 1569 h 2062"/>
                  <a:gd name="T108" fmla="*/ 532 w 2711"/>
                  <a:gd name="T109" fmla="*/ 1672 h 2062"/>
                  <a:gd name="T110" fmla="*/ 635 w 2711"/>
                  <a:gd name="T111" fmla="*/ 1569 h 2062"/>
                  <a:gd name="T112" fmla="*/ 532 w 2711"/>
                  <a:gd name="T113" fmla="*/ 1466 h 2062"/>
                  <a:gd name="T114" fmla="*/ 430 w 2711"/>
                  <a:gd name="T115" fmla="*/ 1569 h 20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711" h="2062">
                    <a:moveTo>
                      <a:pt x="2664" y="1581"/>
                    </a:moveTo>
                    <a:lnTo>
                      <a:pt x="909" y="1581"/>
                    </a:lnTo>
                    <a:cubicBezTo>
                      <a:pt x="883" y="1581"/>
                      <a:pt x="861" y="1560"/>
                      <a:pt x="861" y="1534"/>
                    </a:cubicBezTo>
                    <a:lnTo>
                      <a:pt x="861" y="434"/>
                    </a:lnTo>
                    <a:cubicBezTo>
                      <a:pt x="861" y="407"/>
                      <a:pt x="883" y="386"/>
                      <a:pt x="909" y="386"/>
                    </a:cubicBezTo>
                    <a:lnTo>
                      <a:pt x="2664" y="386"/>
                    </a:lnTo>
                    <a:cubicBezTo>
                      <a:pt x="2690" y="386"/>
                      <a:pt x="2711" y="408"/>
                      <a:pt x="2711" y="434"/>
                    </a:cubicBezTo>
                    <a:lnTo>
                      <a:pt x="2711" y="1534"/>
                    </a:lnTo>
                    <a:cubicBezTo>
                      <a:pt x="2711" y="1560"/>
                      <a:pt x="2690" y="1581"/>
                      <a:pt x="2664" y="1581"/>
                    </a:cubicBezTo>
                    <a:close/>
                    <a:moveTo>
                      <a:pt x="2177" y="1928"/>
                    </a:moveTo>
                    <a:lnTo>
                      <a:pt x="2000" y="1928"/>
                    </a:lnTo>
                    <a:lnTo>
                      <a:pt x="2000" y="1715"/>
                    </a:lnTo>
                    <a:lnTo>
                      <a:pt x="1573" y="1715"/>
                    </a:lnTo>
                    <a:lnTo>
                      <a:pt x="1573" y="1928"/>
                    </a:lnTo>
                    <a:lnTo>
                      <a:pt x="1395" y="1928"/>
                    </a:lnTo>
                    <a:cubicBezTo>
                      <a:pt x="1358" y="1928"/>
                      <a:pt x="1329" y="1958"/>
                      <a:pt x="1329" y="1995"/>
                    </a:cubicBezTo>
                    <a:cubicBezTo>
                      <a:pt x="1329" y="2032"/>
                      <a:pt x="1358" y="2062"/>
                      <a:pt x="1395" y="2062"/>
                    </a:cubicBezTo>
                    <a:lnTo>
                      <a:pt x="1640" y="2062"/>
                    </a:lnTo>
                    <a:lnTo>
                      <a:pt x="1933" y="2062"/>
                    </a:lnTo>
                    <a:lnTo>
                      <a:pt x="2177" y="2062"/>
                    </a:lnTo>
                    <a:cubicBezTo>
                      <a:pt x="2214" y="2062"/>
                      <a:pt x="2244" y="2032"/>
                      <a:pt x="2244" y="1995"/>
                    </a:cubicBezTo>
                    <a:cubicBezTo>
                      <a:pt x="2244" y="1958"/>
                      <a:pt x="2214" y="1928"/>
                      <a:pt x="2177" y="1928"/>
                    </a:cubicBezTo>
                    <a:close/>
                    <a:moveTo>
                      <a:pt x="1065" y="253"/>
                    </a:moveTo>
                    <a:lnTo>
                      <a:pt x="909" y="253"/>
                    </a:lnTo>
                    <a:cubicBezTo>
                      <a:pt x="899" y="253"/>
                      <a:pt x="890" y="254"/>
                      <a:pt x="880" y="255"/>
                    </a:cubicBezTo>
                    <a:cubicBezTo>
                      <a:pt x="875" y="254"/>
                      <a:pt x="869" y="253"/>
                      <a:pt x="863" y="253"/>
                    </a:cubicBezTo>
                    <a:lnTo>
                      <a:pt x="201" y="253"/>
                    </a:lnTo>
                    <a:cubicBezTo>
                      <a:pt x="164" y="253"/>
                      <a:pt x="135" y="283"/>
                      <a:pt x="135" y="320"/>
                    </a:cubicBezTo>
                    <a:cubicBezTo>
                      <a:pt x="135" y="356"/>
                      <a:pt x="164" y="386"/>
                      <a:pt x="201" y="386"/>
                    </a:cubicBezTo>
                    <a:lnTo>
                      <a:pt x="735" y="386"/>
                    </a:lnTo>
                    <a:cubicBezTo>
                      <a:pt x="730" y="401"/>
                      <a:pt x="728" y="417"/>
                      <a:pt x="728" y="434"/>
                    </a:cubicBezTo>
                    <a:lnTo>
                      <a:pt x="728" y="558"/>
                    </a:lnTo>
                    <a:lnTo>
                      <a:pt x="201" y="558"/>
                    </a:lnTo>
                    <a:cubicBezTo>
                      <a:pt x="164" y="558"/>
                      <a:pt x="135" y="588"/>
                      <a:pt x="135" y="624"/>
                    </a:cubicBezTo>
                    <a:cubicBezTo>
                      <a:pt x="135" y="661"/>
                      <a:pt x="164" y="691"/>
                      <a:pt x="201" y="691"/>
                    </a:cubicBezTo>
                    <a:lnTo>
                      <a:pt x="728" y="691"/>
                    </a:lnTo>
                    <a:lnTo>
                      <a:pt x="728" y="863"/>
                    </a:lnTo>
                    <a:lnTo>
                      <a:pt x="201" y="863"/>
                    </a:lnTo>
                    <a:cubicBezTo>
                      <a:pt x="164" y="863"/>
                      <a:pt x="135" y="893"/>
                      <a:pt x="135" y="929"/>
                    </a:cubicBezTo>
                    <a:cubicBezTo>
                      <a:pt x="135" y="966"/>
                      <a:pt x="164" y="996"/>
                      <a:pt x="201" y="996"/>
                    </a:cubicBezTo>
                    <a:lnTo>
                      <a:pt x="728" y="996"/>
                    </a:lnTo>
                    <a:lnTo>
                      <a:pt x="728" y="1534"/>
                    </a:lnTo>
                    <a:cubicBezTo>
                      <a:pt x="728" y="1633"/>
                      <a:pt x="809" y="1715"/>
                      <a:pt x="909" y="1715"/>
                    </a:cubicBezTo>
                    <a:lnTo>
                      <a:pt x="1065" y="1715"/>
                    </a:lnTo>
                    <a:lnTo>
                      <a:pt x="1065" y="1995"/>
                    </a:lnTo>
                    <a:cubicBezTo>
                      <a:pt x="1065" y="2032"/>
                      <a:pt x="1035" y="2062"/>
                      <a:pt x="998" y="2062"/>
                    </a:cubicBezTo>
                    <a:lnTo>
                      <a:pt x="67" y="2062"/>
                    </a:lnTo>
                    <a:cubicBezTo>
                      <a:pt x="30" y="2062"/>
                      <a:pt x="0" y="2032"/>
                      <a:pt x="0" y="1995"/>
                    </a:cubicBezTo>
                    <a:lnTo>
                      <a:pt x="0" y="66"/>
                    </a:lnTo>
                    <a:cubicBezTo>
                      <a:pt x="0" y="29"/>
                      <a:pt x="30" y="0"/>
                      <a:pt x="67" y="0"/>
                    </a:cubicBezTo>
                    <a:lnTo>
                      <a:pt x="998" y="0"/>
                    </a:lnTo>
                    <a:cubicBezTo>
                      <a:pt x="1035" y="0"/>
                      <a:pt x="1065" y="29"/>
                      <a:pt x="1065" y="66"/>
                    </a:cubicBezTo>
                    <a:lnTo>
                      <a:pt x="1065" y="253"/>
                    </a:lnTo>
                    <a:close/>
                    <a:moveTo>
                      <a:pt x="430" y="1569"/>
                    </a:moveTo>
                    <a:cubicBezTo>
                      <a:pt x="430" y="1626"/>
                      <a:pt x="476" y="1672"/>
                      <a:pt x="532" y="1672"/>
                    </a:cubicBezTo>
                    <a:cubicBezTo>
                      <a:pt x="589" y="1672"/>
                      <a:pt x="635" y="1626"/>
                      <a:pt x="635" y="1569"/>
                    </a:cubicBezTo>
                    <a:cubicBezTo>
                      <a:pt x="635" y="1512"/>
                      <a:pt x="589" y="1466"/>
                      <a:pt x="532" y="1466"/>
                    </a:cubicBezTo>
                    <a:cubicBezTo>
                      <a:pt x="476" y="1466"/>
                      <a:pt x="430" y="1512"/>
                      <a:pt x="430" y="1569"/>
                    </a:cubicBezTo>
                    <a:close/>
                  </a:path>
                </a:pathLst>
              </a:custGeom>
              <a:solidFill>
                <a:schemeClr val="accent1">
                  <a:lumMod val="40000"/>
                  <a:lumOff val="60000"/>
                </a:schemeClr>
              </a:solidFill>
              <a:ln w="9525">
                <a:noFill/>
                <a:round/>
                <a:headEnd/>
                <a:tailEnd/>
              </a:ln>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endParaRPr dirty="0"/>
              </a:p>
            </p:txBody>
          </p:sp>
          <p:sp>
            <p:nvSpPr>
              <p:cNvPr id="22" name="îş1idé">
                <a:extLst>
                  <a:ext uri="{FF2B5EF4-FFF2-40B4-BE49-F238E27FC236}">
                    <a16:creationId xmlns:a16="http://schemas.microsoft.com/office/drawing/2014/main" id="{17DAC962-691D-4662-A12F-7048BE7D2084}"/>
                  </a:ext>
                </a:extLst>
              </p:cNvPr>
              <p:cNvSpPr txBox="1"/>
              <p:nvPr/>
            </p:nvSpPr>
            <p:spPr>
              <a:xfrm>
                <a:off x="4185162" y="4340175"/>
                <a:ext cx="2328027" cy="678094"/>
              </a:xfrm>
              <a:prstGeom prst="rect">
                <a:avLst/>
              </a:prstGeom>
            </p:spPr>
            <p:txBody>
              <a:bodyPr wrap="square" lIns="91440" tIns="45720" rIns="91440" bIns="45720" anchor="t" anchorCtr="0">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l">
                  <a:buFont typeface="Arial" panose="020B0604020202020204" pitchFamily="34" charset="0"/>
                  <a:buChar char="•"/>
                </a:pPr>
                <a:r>
                  <a:rPr lang="zh-CN" altLang="en-US" sz="1100" b="0" i="0" dirty="0">
                    <a:solidFill>
                      <a:srgbClr val="0D0016"/>
                    </a:solidFill>
                    <a:effectLst/>
                    <a:latin typeface="-apple-system"/>
                  </a:rPr>
                  <a:t>在面向对象的软件系统中，一个对象必然会经历一个从开始创建到最终消亡的完整过程，这个过程通常被称为对象的生命周期</a:t>
                </a:r>
                <a:endParaRPr lang="zh-CN" altLang="en-US" sz="1100" b="0" i="0" dirty="0">
                  <a:solidFill>
                    <a:srgbClr val="333333"/>
                  </a:solidFill>
                  <a:effectLst/>
                  <a:latin typeface="-apple-system"/>
                </a:endParaRPr>
              </a:p>
            </p:txBody>
          </p:sp>
        </p:grpSp>
        <p:sp>
          <p:nvSpPr>
            <p:cNvPr id="19" name="î$ḻîḋe">
              <a:extLst>
                <a:ext uri="{FF2B5EF4-FFF2-40B4-BE49-F238E27FC236}">
                  <a16:creationId xmlns:a16="http://schemas.microsoft.com/office/drawing/2014/main" id="{2FE4F874-C2AD-49C6-92CB-1DB1977DE9D6}"/>
                </a:ext>
              </a:extLst>
            </p:cNvPr>
            <p:cNvSpPr txBox="1"/>
            <p:nvPr/>
          </p:nvSpPr>
          <p:spPr>
            <a:xfrm>
              <a:off x="6313397" y="4341499"/>
              <a:ext cx="2328027" cy="678094"/>
            </a:xfrm>
            <a:prstGeom prst="rect">
              <a:avLst/>
            </a:prstGeom>
          </p:spPr>
          <p:txBody>
            <a:bodyPr wrap="square" lIns="91440" tIns="45720" rIns="91440" bIns="45720" anchor="t" anchorCtr="0">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lnSpc>
                  <a:spcPct val="120000"/>
                </a:lnSpc>
              </a:pPr>
              <a:r>
                <a:rPr lang="zh-CN" altLang="en-US" sz="1200" b="0" i="0" u="none" strike="noStrike" dirty="0">
                  <a:effectLst/>
                  <a:latin typeface="-apple-system"/>
                </a:rPr>
                <a:t>状态机</a:t>
              </a:r>
              <a:r>
                <a:rPr lang="zh-CN" altLang="en-US" sz="1200" b="0" i="0" dirty="0">
                  <a:effectLst/>
                  <a:latin typeface="-apple-system"/>
                </a:rPr>
                <a:t>就是用于说明对象在其生命周期中响应时间所经历的状态序列以及其对这些事件的响应。</a:t>
              </a:r>
              <a:endParaRPr lang="en-US" altLang="zh-CN" sz="1200" dirty="0">
                <a:latin typeface="+mn-ea"/>
              </a:endParaRPr>
            </a:p>
          </p:txBody>
        </p:sp>
        <p:grpSp>
          <p:nvGrpSpPr>
            <p:cNvPr id="12" name="iS1iḋè">
              <a:extLst>
                <a:ext uri="{FF2B5EF4-FFF2-40B4-BE49-F238E27FC236}">
                  <a16:creationId xmlns:a16="http://schemas.microsoft.com/office/drawing/2014/main" id="{787C7075-EE89-4657-BFD4-776087DE84C0}"/>
                </a:ext>
              </a:extLst>
            </p:cNvPr>
            <p:cNvGrpSpPr/>
            <p:nvPr/>
          </p:nvGrpSpPr>
          <p:grpSpPr>
            <a:xfrm>
              <a:off x="9183456" y="3563818"/>
              <a:ext cx="2328027" cy="1468625"/>
              <a:chOff x="4141555" y="3507306"/>
              <a:chExt cx="2328027" cy="1468625"/>
            </a:xfrm>
          </p:grpSpPr>
          <p:sp>
            <p:nvSpPr>
              <p:cNvPr id="15" name="ïŝľïḋê">
                <a:extLst>
                  <a:ext uri="{FF2B5EF4-FFF2-40B4-BE49-F238E27FC236}">
                    <a16:creationId xmlns:a16="http://schemas.microsoft.com/office/drawing/2014/main" id="{B3862B97-B0C0-4AC8-9161-A5879FD5FDC9}"/>
                  </a:ext>
                </a:extLst>
              </p:cNvPr>
              <p:cNvSpPr/>
              <p:nvPr/>
            </p:nvSpPr>
            <p:spPr bwMode="auto">
              <a:xfrm>
                <a:off x="4958704" y="3507306"/>
                <a:ext cx="708563" cy="683960"/>
              </a:xfrm>
              <a:custGeom>
                <a:avLst/>
                <a:gdLst>
                  <a:gd name="connsiteX0" fmla="*/ 147225 w 603618"/>
                  <a:gd name="connsiteY0" fmla="*/ 418175 h 582659"/>
                  <a:gd name="connsiteX1" fmla="*/ 129666 w 603618"/>
                  <a:gd name="connsiteY1" fmla="*/ 424618 h 582659"/>
                  <a:gd name="connsiteX2" fmla="*/ 159231 w 603618"/>
                  <a:gd name="connsiteY2" fmla="*/ 444246 h 582659"/>
                  <a:gd name="connsiteX3" fmla="*/ 147225 w 603618"/>
                  <a:gd name="connsiteY3" fmla="*/ 418175 h 582659"/>
                  <a:gd name="connsiteX4" fmla="*/ 235619 w 603618"/>
                  <a:gd name="connsiteY4" fmla="*/ 400345 h 582659"/>
                  <a:gd name="connsiteX5" fmla="*/ 196149 w 603618"/>
                  <a:gd name="connsiteY5" fmla="*/ 405440 h 582659"/>
                  <a:gd name="connsiteX6" fmla="*/ 235619 w 603618"/>
                  <a:gd name="connsiteY6" fmla="*/ 461476 h 582659"/>
                  <a:gd name="connsiteX7" fmla="*/ 453241 w 603618"/>
                  <a:gd name="connsiteY7" fmla="*/ 335186 h 582659"/>
                  <a:gd name="connsiteX8" fmla="*/ 453241 w 603618"/>
                  <a:gd name="connsiteY8" fmla="*/ 501720 h 582659"/>
                  <a:gd name="connsiteX9" fmla="*/ 410469 w 603618"/>
                  <a:gd name="connsiteY9" fmla="*/ 458889 h 582659"/>
                  <a:gd name="connsiteX10" fmla="*/ 379853 w 603618"/>
                  <a:gd name="connsiteY10" fmla="*/ 363192 h 582659"/>
                  <a:gd name="connsiteX11" fmla="*/ 453242 w 603618"/>
                  <a:gd name="connsiteY11" fmla="*/ 304902 h 582659"/>
                  <a:gd name="connsiteX12" fmla="*/ 444688 w 603618"/>
                  <a:gd name="connsiteY12" fmla="*/ 306400 h 582659"/>
                  <a:gd name="connsiteX13" fmla="*/ 364853 w 603618"/>
                  <a:gd name="connsiteY13" fmla="*/ 336813 h 582659"/>
                  <a:gd name="connsiteX14" fmla="*/ 349547 w 603618"/>
                  <a:gd name="connsiteY14" fmla="*/ 361682 h 582659"/>
                  <a:gd name="connsiteX15" fmla="*/ 453242 w 603618"/>
                  <a:gd name="connsiteY15" fmla="*/ 531722 h 582659"/>
                  <a:gd name="connsiteX16" fmla="*/ 556936 w 603618"/>
                  <a:gd name="connsiteY16" fmla="*/ 361682 h 582659"/>
                  <a:gd name="connsiteX17" fmla="*/ 541630 w 603618"/>
                  <a:gd name="connsiteY17" fmla="*/ 336813 h 582659"/>
                  <a:gd name="connsiteX18" fmla="*/ 461795 w 603618"/>
                  <a:gd name="connsiteY18" fmla="*/ 306400 h 582659"/>
                  <a:gd name="connsiteX19" fmla="*/ 453242 w 603618"/>
                  <a:gd name="connsiteY19" fmla="*/ 304902 h 582659"/>
                  <a:gd name="connsiteX20" fmla="*/ 170186 w 603618"/>
                  <a:gd name="connsiteY20" fmla="*/ 285126 h 582659"/>
                  <a:gd name="connsiteX21" fmla="*/ 180542 w 603618"/>
                  <a:gd name="connsiteY21" fmla="*/ 357794 h 582659"/>
                  <a:gd name="connsiteX22" fmla="*/ 235619 w 603618"/>
                  <a:gd name="connsiteY22" fmla="*/ 350452 h 582659"/>
                  <a:gd name="connsiteX23" fmla="*/ 235619 w 603618"/>
                  <a:gd name="connsiteY23" fmla="*/ 285126 h 582659"/>
                  <a:gd name="connsiteX24" fmla="*/ 51476 w 603618"/>
                  <a:gd name="connsiteY24" fmla="*/ 285126 h 582659"/>
                  <a:gd name="connsiteX25" fmla="*/ 92297 w 603618"/>
                  <a:gd name="connsiteY25" fmla="*/ 386261 h 582659"/>
                  <a:gd name="connsiteX26" fmla="*/ 132217 w 603618"/>
                  <a:gd name="connsiteY26" fmla="*/ 370679 h 582659"/>
                  <a:gd name="connsiteX27" fmla="*/ 120211 w 603618"/>
                  <a:gd name="connsiteY27" fmla="*/ 285126 h 582659"/>
                  <a:gd name="connsiteX28" fmla="*/ 453242 w 603618"/>
                  <a:gd name="connsiteY28" fmla="*/ 253965 h 582659"/>
                  <a:gd name="connsiteX29" fmla="*/ 465697 w 603618"/>
                  <a:gd name="connsiteY29" fmla="*/ 256362 h 582659"/>
                  <a:gd name="connsiteX30" fmla="*/ 581247 w 603618"/>
                  <a:gd name="connsiteY30" fmla="*/ 300407 h 582659"/>
                  <a:gd name="connsiteX31" fmla="*/ 603456 w 603618"/>
                  <a:gd name="connsiteY31" fmla="*/ 336363 h 582659"/>
                  <a:gd name="connsiteX32" fmla="*/ 453242 w 603618"/>
                  <a:gd name="connsiteY32" fmla="*/ 582659 h 582659"/>
                  <a:gd name="connsiteX33" fmla="*/ 303027 w 603618"/>
                  <a:gd name="connsiteY33" fmla="*/ 336363 h 582659"/>
                  <a:gd name="connsiteX34" fmla="*/ 325236 w 603618"/>
                  <a:gd name="connsiteY34" fmla="*/ 300407 h 582659"/>
                  <a:gd name="connsiteX35" fmla="*/ 440786 w 603618"/>
                  <a:gd name="connsiteY35" fmla="*/ 256362 h 582659"/>
                  <a:gd name="connsiteX36" fmla="*/ 453242 w 603618"/>
                  <a:gd name="connsiteY36" fmla="*/ 253965 h 582659"/>
                  <a:gd name="connsiteX37" fmla="*/ 338422 w 603618"/>
                  <a:gd name="connsiteY37" fmla="*/ 162865 h 582659"/>
                  <a:gd name="connsiteX38" fmla="*/ 285595 w 603618"/>
                  <a:gd name="connsiteY38" fmla="*/ 169607 h 582659"/>
                  <a:gd name="connsiteX39" fmla="*/ 285595 w 603618"/>
                  <a:gd name="connsiteY39" fmla="*/ 235083 h 582659"/>
                  <a:gd name="connsiteX40" fmla="*/ 348627 w 603618"/>
                  <a:gd name="connsiteY40" fmla="*/ 235083 h 582659"/>
                  <a:gd name="connsiteX41" fmla="*/ 338422 w 603618"/>
                  <a:gd name="connsiteY41" fmla="*/ 162865 h 582659"/>
                  <a:gd name="connsiteX42" fmla="*/ 180542 w 603618"/>
                  <a:gd name="connsiteY42" fmla="*/ 162415 h 582659"/>
                  <a:gd name="connsiteX43" fmla="*/ 170186 w 603618"/>
                  <a:gd name="connsiteY43" fmla="*/ 235083 h 582659"/>
                  <a:gd name="connsiteX44" fmla="*/ 235619 w 603618"/>
                  <a:gd name="connsiteY44" fmla="*/ 235083 h 582659"/>
                  <a:gd name="connsiteX45" fmla="*/ 235619 w 603618"/>
                  <a:gd name="connsiteY45" fmla="*/ 169607 h 582659"/>
                  <a:gd name="connsiteX46" fmla="*/ 180542 w 603618"/>
                  <a:gd name="connsiteY46" fmla="*/ 162415 h 582659"/>
                  <a:gd name="connsiteX47" fmla="*/ 92297 w 603618"/>
                  <a:gd name="connsiteY47" fmla="*/ 133948 h 582659"/>
                  <a:gd name="connsiteX48" fmla="*/ 51476 w 603618"/>
                  <a:gd name="connsiteY48" fmla="*/ 235083 h 582659"/>
                  <a:gd name="connsiteX49" fmla="*/ 120211 w 603618"/>
                  <a:gd name="connsiteY49" fmla="*/ 235083 h 582659"/>
                  <a:gd name="connsiteX50" fmla="*/ 132217 w 603618"/>
                  <a:gd name="connsiteY50" fmla="*/ 149530 h 582659"/>
                  <a:gd name="connsiteX51" fmla="*/ 92297 w 603618"/>
                  <a:gd name="connsiteY51" fmla="*/ 133948 h 582659"/>
                  <a:gd name="connsiteX52" fmla="*/ 159231 w 603618"/>
                  <a:gd name="connsiteY52" fmla="*/ 75814 h 582659"/>
                  <a:gd name="connsiteX53" fmla="*/ 129666 w 603618"/>
                  <a:gd name="connsiteY53" fmla="*/ 95591 h 582659"/>
                  <a:gd name="connsiteX54" fmla="*/ 147225 w 603618"/>
                  <a:gd name="connsiteY54" fmla="*/ 102034 h 582659"/>
                  <a:gd name="connsiteX55" fmla="*/ 159231 w 603618"/>
                  <a:gd name="connsiteY55" fmla="*/ 75814 h 582659"/>
                  <a:gd name="connsiteX56" fmla="*/ 358682 w 603618"/>
                  <a:gd name="connsiteY56" fmla="*/ 74165 h 582659"/>
                  <a:gd name="connsiteX57" fmla="*/ 371888 w 603618"/>
                  <a:gd name="connsiteY57" fmla="*/ 102783 h 582659"/>
                  <a:gd name="connsiteX58" fmla="*/ 391548 w 603618"/>
                  <a:gd name="connsiteY58" fmla="*/ 95591 h 582659"/>
                  <a:gd name="connsiteX59" fmla="*/ 358682 w 603618"/>
                  <a:gd name="connsiteY59" fmla="*/ 74165 h 582659"/>
                  <a:gd name="connsiteX60" fmla="*/ 285595 w 603618"/>
                  <a:gd name="connsiteY60" fmla="*/ 60381 h 582659"/>
                  <a:gd name="connsiteX61" fmla="*/ 285595 w 603618"/>
                  <a:gd name="connsiteY61" fmla="*/ 119864 h 582659"/>
                  <a:gd name="connsiteX62" fmla="*/ 322964 w 603618"/>
                  <a:gd name="connsiteY62" fmla="*/ 115219 h 582659"/>
                  <a:gd name="connsiteX63" fmla="*/ 285595 w 603618"/>
                  <a:gd name="connsiteY63" fmla="*/ 60381 h 582659"/>
                  <a:gd name="connsiteX64" fmla="*/ 235619 w 603618"/>
                  <a:gd name="connsiteY64" fmla="*/ 58583 h 582659"/>
                  <a:gd name="connsiteX65" fmla="*/ 196149 w 603618"/>
                  <a:gd name="connsiteY65" fmla="*/ 114769 h 582659"/>
                  <a:gd name="connsiteX66" fmla="*/ 235619 w 603618"/>
                  <a:gd name="connsiteY66" fmla="*/ 119864 h 582659"/>
                  <a:gd name="connsiteX67" fmla="*/ 259482 w 603618"/>
                  <a:gd name="connsiteY67" fmla="*/ 0 h 582659"/>
                  <a:gd name="connsiteX68" fmla="*/ 260532 w 603618"/>
                  <a:gd name="connsiteY68" fmla="*/ 0 h 582659"/>
                  <a:gd name="connsiteX69" fmla="*/ 520914 w 603618"/>
                  <a:gd name="connsiteY69" fmla="*/ 247369 h 582659"/>
                  <a:gd name="connsiteX70" fmla="*/ 475741 w 603618"/>
                  <a:gd name="connsiteY70" fmla="*/ 230138 h 582659"/>
                  <a:gd name="connsiteX71" fmla="*/ 468688 w 603618"/>
                  <a:gd name="connsiteY71" fmla="*/ 228041 h 582659"/>
                  <a:gd name="connsiteX72" fmla="*/ 428917 w 603618"/>
                  <a:gd name="connsiteY72" fmla="*/ 133948 h 582659"/>
                  <a:gd name="connsiteX73" fmla="*/ 386746 w 603618"/>
                  <a:gd name="connsiteY73" fmla="*/ 150279 h 582659"/>
                  <a:gd name="connsiteX74" fmla="*/ 398752 w 603618"/>
                  <a:gd name="connsiteY74" fmla="*/ 235083 h 582659"/>
                  <a:gd name="connsiteX75" fmla="*/ 417812 w 603618"/>
                  <a:gd name="connsiteY75" fmla="*/ 235083 h 582659"/>
                  <a:gd name="connsiteX76" fmla="*/ 315310 w 603618"/>
                  <a:gd name="connsiteY76" fmla="*/ 274188 h 582659"/>
                  <a:gd name="connsiteX77" fmla="*/ 297001 w 603618"/>
                  <a:gd name="connsiteY77" fmla="*/ 285126 h 582659"/>
                  <a:gd name="connsiteX78" fmla="*/ 285595 w 603618"/>
                  <a:gd name="connsiteY78" fmla="*/ 285126 h 582659"/>
                  <a:gd name="connsiteX79" fmla="*/ 285595 w 603618"/>
                  <a:gd name="connsiteY79" fmla="*/ 297861 h 582659"/>
                  <a:gd name="connsiteX80" fmla="*/ 275089 w 603618"/>
                  <a:gd name="connsiteY80" fmla="*/ 339065 h 582659"/>
                  <a:gd name="connsiteX81" fmla="*/ 285895 w 603618"/>
                  <a:gd name="connsiteY81" fmla="*/ 400345 h 582659"/>
                  <a:gd name="connsiteX82" fmla="*/ 285595 w 603618"/>
                  <a:gd name="connsiteY82" fmla="*/ 400345 h 582659"/>
                  <a:gd name="connsiteX83" fmla="*/ 285595 w 603618"/>
                  <a:gd name="connsiteY83" fmla="*/ 459828 h 582659"/>
                  <a:gd name="connsiteX84" fmla="*/ 299552 w 603618"/>
                  <a:gd name="connsiteY84" fmla="*/ 445594 h 582659"/>
                  <a:gd name="connsiteX85" fmla="*/ 328516 w 603618"/>
                  <a:gd name="connsiteY85" fmla="*/ 511219 h 582659"/>
                  <a:gd name="connsiteX86" fmla="*/ 259482 w 603618"/>
                  <a:gd name="connsiteY86" fmla="*/ 520209 h 582659"/>
                  <a:gd name="connsiteX87" fmla="*/ 0 w 603618"/>
                  <a:gd name="connsiteY87" fmla="*/ 260104 h 582659"/>
                  <a:gd name="connsiteX88" fmla="*/ 259482 w 603618"/>
                  <a:gd name="connsiteY88" fmla="*/ 0 h 582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603618" h="582659">
                    <a:moveTo>
                      <a:pt x="147225" y="418175"/>
                    </a:moveTo>
                    <a:cubicBezTo>
                      <a:pt x="141372" y="420123"/>
                      <a:pt x="135519" y="422221"/>
                      <a:pt x="129666" y="424618"/>
                    </a:cubicBezTo>
                    <a:cubicBezTo>
                      <a:pt x="138970" y="431959"/>
                      <a:pt x="148875" y="438552"/>
                      <a:pt x="159231" y="444246"/>
                    </a:cubicBezTo>
                    <a:cubicBezTo>
                      <a:pt x="155179" y="436604"/>
                      <a:pt x="151277" y="428364"/>
                      <a:pt x="147225" y="418175"/>
                    </a:cubicBezTo>
                    <a:close/>
                    <a:moveTo>
                      <a:pt x="235619" y="400345"/>
                    </a:moveTo>
                    <a:cubicBezTo>
                      <a:pt x="222413" y="401244"/>
                      <a:pt x="209206" y="402893"/>
                      <a:pt x="196149" y="405440"/>
                    </a:cubicBezTo>
                    <a:cubicBezTo>
                      <a:pt x="204704" y="425367"/>
                      <a:pt x="217910" y="448740"/>
                      <a:pt x="235619" y="461476"/>
                    </a:cubicBezTo>
                    <a:close/>
                    <a:moveTo>
                      <a:pt x="453241" y="335186"/>
                    </a:moveTo>
                    <a:lnTo>
                      <a:pt x="453241" y="501720"/>
                    </a:lnTo>
                    <a:cubicBezTo>
                      <a:pt x="444386" y="501720"/>
                      <a:pt x="427728" y="490488"/>
                      <a:pt x="410469" y="458889"/>
                    </a:cubicBezTo>
                    <a:cubicBezTo>
                      <a:pt x="395161" y="431033"/>
                      <a:pt x="383605" y="394791"/>
                      <a:pt x="379853" y="363192"/>
                    </a:cubicBezTo>
                    <a:close/>
                    <a:moveTo>
                      <a:pt x="453242" y="304902"/>
                    </a:moveTo>
                    <a:cubicBezTo>
                      <a:pt x="450390" y="304902"/>
                      <a:pt x="447389" y="305351"/>
                      <a:pt x="444688" y="306400"/>
                    </a:cubicBezTo>
                    <a:lnTo>
                      <a:pt x="364853" y="336813"/>
                    </a:lnTo>
                    <a:cubicBezTo>
                      <a:pt x="354799" y="340708"/>
                      <a:pt x="348496" y="350896"/>
                      <a:pt x="349547" y="361682"/>
                    </a:cubicBezTo>
                    <a:cubicBezTo>
                      <a:pt x="356450" y="432395"/>
                      <a:pt x="400119" y="531722"/>
                      <a:pt x="453242" y="531722"/>
                    </a:cubicBezTo>
                    <a:cubicBezTo>
                      <a:pt x="506364" y="531722"/>
                      <a:pt x="550033" y="432395"/>
                      <a:pt x="556936" y="361682"/>
                    </a:cubicBezTo>
                    <a:cubicBezTo>
                      <a:pt x="558137" y="350896"/>
                      <a:pt x="551834" y="340708"/>
                      <a:pt x="541630" y="336813"/>
                    </a:cubicBezTo>
                    <a:lnTo>
                      <a:pt x="461795" y="306400"/>
                    </a:lnTo>
                    <a:cubicBezTo>
                      <a:pt x="459094" y="305351"/>
                      <a:pt x="456093" y="304902"/>
                      <a:pt x="453242" y="304902"/>
                    </a:cubicBezTo>
                    <a:close/>
                    <a:moveTo>
                      <a:pt x="170186" y="285126"/>
                    </a:moveTo>
                    <a:cubicBezTo>
                      <a:pt x="171687" y="310597"/>
                      <a:pt x="175139" y="335169"/>
                      <a:pt x="180542" y="357794"/>
                    </a:cubicBezTo>
                    <a:cubicBezTo>
                      <a:pt x="198701" y="354048"/>
                      <a:pt x="217160" y="351651"/>
                      <a:pt x="235619" y="350452"/>
                    </a:cubicBezTo>
                    <a:lnTo>
                      <a:pt x="235619" y="285126"/>
                    </a:lnTo>
                    <a:close/>
                    <a:moveTo>
                      <a:pt x="51476" y="285126"/>
                    </a:moveTo>
                    <a:cubicBezTo>
                      <a:pt x="55978" y="322733"/>
                      <a:pt x="70536" y="357344"/>
                      <a:pt x="92297" y="386261"/>
                    </a:cubicBezTo>
                    <a:cubicBezTo>
                      <a:pt x="105353" y="380268"/>
                      <a:pt x="118560" y="375174"/>
                      <a:pt x="132217" y="370679"/>
                    </a:cubicBezTo>
                    <a:cubicBezTo>
                      <a:pt x="125764" y="343860"/>
                      <a:pt x="121562" y="314942"/>
                      <a:pt x="120211" y="285126"/>
                    </a:cubicBezTo>
                    <a:close/>
                    <a:moveTo>
                      <a:pt x="453242" y="253965"/>
                    </a:moveTo>
                    <a:cubicBezTo>
                      <a:pt x="457443" y="253965"/>
                      <a:pt x="461645" y="254714"/>
                      <a:pt x="465697" y="256362"/>
                    </a:cubicBezTo>
                    <a:lnTo>
                      <a:pt x="581247" y="300407"/>
                    </a:lnTo>
                    <a:cubicBezTo>
                      <a:pt x="595953" y="305951"/>
                      <a:pt x="604957" y="320782"/>
                      <a:pt x="603456" y="336363"/>
                    </a:cubicBezTo>
                    <a:cubicBezTo>
                      <a:pt x="593402" y="438687"/>
                      <a:pt x="530075" y="582659"/>
                      <a:pt x="453242" y="582659"/>
                    </a:cubicBezTo>
                    <a:cubicBezTo>
                      <a:pt x="376408" y="582659"/>
                      <a:pt x="313081" y="438687"/>
                      <a:pt x="303027" y="336363"/>
                    </a:cubicBezTo>
                    <a:cubicBezTo>
                      <a:pt x="301526" y="320782"/>
                      <a:pt x="310530" y="305951"/>
                      <a:pt x="325236" y="300407"/>
                    </a:cubicBezTo>
                    <a:lnTo>
                      <a:pt x="440786" y="256362"/>
                    </a:lnTo>
                    <a:cubicBezTo>
                      <a:pt x="444838" y="254714"/>
                      <a:pt x="449040" y="253965"/>
                      <a:pt x="453242" y="253965"/>
                    </a:cubicBezTo>
                    <a:close/>
                    <a:moveTo>
                      <a:pt x="338422" y="162865"/>
                    </a:moveTo>
                    <a:cubicBezTo>
                      <a:pt x="321013" y="166311"/>
                      <a:pt x="303304" y="168558"/>
                      <a:pt x="285595" y="169607"/>
                    </a:cubicBezTo>
                    <a:lnTo>
                      <a:pt x="285595" y="235083"/>
                    </a:lnTo>
                    <a:lnTo>
                      <a:pt x="348627" y="235083"/>
                    </a:lnTo>
                    <a:cubicBezTo>
                      <a:pt x="347276" y="209761"/>
                      <a:pt x="343824" y="185339"/>
                      <a:pt x="338422" y="162865"/>
                    </a:cubicBezTo>
                    <a:close/>
                    <a:moveTo>
                      <a:pt x="180542" y="162415"/>
                    </a:moveTo>
                    <a:cubicBezTo>
                      <a:pt x="175139" y="185040"/>
                      <a:pt x="171687" y="209612"/>
                      <a:pt x="170186" y="235083"/>
                    </a:cubicBezTo>
                    <a:lnTo>
                      <a:pt x="235619" y="235083"/>
                    </a:lnTo>
                    <a:lnTo>
                      <a:pt x="235619" y="169607"/>
                    </a:lnTo>
                    <a:cubicBezTo>
                      <a:pt x="217160" y="168558"/>
                      <a:pt x="198701" y="166161"/>
                      <a:pt x="180542" y="162415"/>
                    </a:cubicBezTo>
                    <a:close/>
                    <a:moveTo>
                      <a:pt x="92297" y="133948"/>
                    </a:moveTo>
                    <a:cubicBezTo>
                      <a:pt x="70536" y="162865"/>
                      <a:pt x="55978" y="197475"/>
                      <a:pt x="51476" y="235083"/>
                    </a:cubicBezTo>
                    <a:lnTo>
                      <a:pt x="120211" y="235083"/>
                    </a:lnTo>
                    <a:cubicBezTo>
                      <a:pt x="121562" y="205117"/>
                      <a:pt x="125764" y="176349"/>
                      <a:pt x="132217" y="149530"/>
                    </a:cubicBezTo>
                    <a:cubicBezTo>
                      <a:pt x="118560" y="145035"/>
                      <a:pt x="105353" y="139791"/>
                      <a:pt x="92297" y="133948"/>
                    </a:cubicBezTo>
                    <a:close/>
                    <a:moveTo>
                      <a:pt x="159231" y="75814"/>
                    </a:moveTo>
                    <a:cubicBezTo>
                      <a:pt x="148875" y="81657"/>
                      <a:pt x="138970" y="88249"/>
                      <a:pt x="129666" y="95591"/>
                    </a:cubicBezTo>
                    <a:cubicBezTo>
                      <a:pt x="135519" y="97839"/>
                      <a:pt x="141372" y="100086"/>
                      <a:pt x="147225" y="102034"/>
                    </a:cubicBezTo>
                    <a:cubicBezTo>
                      <a:pt x="151277" y="91845"/>
                      <a:pt x="155179" y="83605"/>
                      <a:pt x="159231" y="75814"/>
                    </a:cubicBezTo>
                    <a:close/>
                    <a:moveTo>
                      <a:pt x="358682" y="74165"/>
                    </a:moveTo>
                    <a:cubicBezTo>
                      <a:pt x="363184" y="82556"/>
                      <a:pt x="367386" y="91546"/>
                      <a:pt x="371888" y="102783"/>
                    </a:cubicBezTo>
                    <a:cubicBezTo>
                      <a:pt x="378492" y="100536"/>
                      <a:pt x="385095" y="98138"/>
                      <a:pt x="391548" y="95591"/>
                    </a:cubicBezTo>
                    <a:cubicBezTo>
                      <a:pt x="381343" y="87500"/>
                      <a:pt x="370238" y="80309"/>
                      <a:pt x="358682" y="74165"/>
                    </a:cubicBezTo>
                    <a:close/>
                    <a:moveTo>
                      <a:pt x="285595" y="60381"/>
                    </a:moveTo>
                    <a:lnTo>
                      <a:pt x="285595" y="119864"/>
                    </a:lnTo>
                    <a:cubicBezTo>
                      <a:pt x="298051" y="118965"/>
                      <a:pt x="310507" y="117466"/>
                      <a:pt x="322964" y="115219"/>
                    </a:cubicBezTo>
                    <a:cubicBezTo>
                      <a:pt x="314559" y="95741"/>
                      <a:pt x="302253" y="73566"/>
                      <a:pt x="285595" y="60381"/>
                    </a:cubicBezTo>
                    <a:close/>
                    <a:moveTo>
                      <a:pt x="235619" y="58583"/>
                    </a:moveTo>
                    <a:cubicBezTo>
                      <a:pt x="217910" y="71469"/>
                      <a:pt x="204704" y="94692"/>
                      <a:pt x="196149" y="114769"/>
                    </a:cubicBezTo>
                    <a:cubicBezTo>
                      <a:pt x="209206" y="117167"/>
                      <a:pt x="222413" y="118965"/>
                      <a:pt x="235619" y="119864"/>
                    </a:cubicBezTo>
                    <a:close/>
                    <a:moveTo>
                      <a:pt x="259482" y="0"/>
                    </a:moveTo>
                    <a:lnTo>
                      <a:pt x="260532" y="0"/>
                    </a:lnTo>
                    <a:cubicBezTo>
                      <a:pt x="399953" y="0"/>
                      <a:pt x="514161" y="109825"/>
                      <a:pt x="520914" y="247369"/>
                    </a:cubicBezTo>
                    <a:lnTo>
                      <a:pt x="475741" y="230138"/>
                    </a:lnTo>
                    <a:cubicBezTo>
                      <a:pt x="473340" y="229239"/>
                      <a:pt x="471089" y="228640"/>
                      <a:pt x="468688" y="228041"/>
                    </a:cubicBezTo>
                    <a:cubicBezTo>
                      <a:pt x="463285" y="193130"/>
                      <a:pt x="449328" y="160917"/>
                      <a:pt x="428917" y="133948"/>
                    </a:cubicBezTo>
                    <a:cubicBezTo>
                      <a:pt x="415260" y="140240"/>
                      <a:pt x="401153" y="145634"/>
                      <a:pt x="386746" y="150279"/>
                    </a:cubicBezTo>
                    <a:cubicBezTo>
                      <a:pt x="393199" y="176799"/>
                      <a:pt x="397251" y="205416"/>
                      <a:pt x="398752" y="235083"/>
                    </a:cubicBezTo>
                    <a:lnTo>
                      <a:pt x="417812" y="235083"/>
                    </a:lnTo>
                    <a:lnTo>
                      <a:pt x="315310" y="274188"/>
                    </a:lnTo>
                    <a:cubicBezTo>
                      <a:pt x="308556" y="276885"/>
                      <a:pt x="302403" y="280481"/>
                      <a:pt x="297001" y="285126"/>
                    </a:cubicBezTo>
                    <a:lnTo>
                      <a:pt x="285595" y="285126"/>
                    </a:lnTo>
                    <a:lnTo>
                      <a:pt x="285595" y="297861"/>
                    </a:lnTo>
                    <a:cubicBezTo>
                      <a:pt x="277641" y="309698"/>
                      <a:pt x="273589" y="324231"/>
                      <a:pt x="275089" y="339065"/>
                    </a:cubicBezTo>
                    <a:cubicBezTo>
                      <a:pt x="277040" y="358992"/>
                      <a:pt x="280792" y="379669"/>
                      <a:pt x="285895" y="400345"/>
                    </a:cubicBezTo>
                    <a:cubicBezTo>
                      <a:pt x="285745" y="400345"/>
                      <a:pt x="285745" y="400345"/>
                      <a:pt x="285595" y="400345"/>
                    </a:cubicBezTo>
                    <a:lnTo>
                      <a:pt x="285595" y="459828"/>
                    </a:lnTo>
                    <a:cubicBezTo>
                      <a:pt x="290397" y="456082"/>
                      <a:pt x="295050" y="451288"/>
                      <a:pt x="299552" y="445594"/>
                    </a:cubicBezTo>
                    <a:cubicBezTo>
                      <a:pt x="307656" y="468818"/>
                      <a:pt x="317411" y="491142"/>
                      <a:pt x="328516" y="511219"/>
                    </a:cubicBezTo>
                    <a:cubicBezTo>
                      <a:pt x="305405" y="517512"/>
                      <a:pt x="282893" y="520209"/>
                      <a:pt x="259482" y="520209"/>
                    </a:cubicBezTo>
                    <a:cubicBezTo>
                      <a:pt x="118260" y="520209"/>
                      <a:pt x="0" y="404541"/>
                      <a:pt x="0" y="260104"/>
                    </a:cubicBezTo>
                    <a:cubicBezTo>
                      <a:pt x="0" y="115519"/>
                      <a:pt x="118560" y="0"/>
                      <a:pt x="259482" y="0"/>
                    </a:cubicBezTo>
                    <a:close/>
                  </a:path>
                </a:pathLst>
              </a:custGeom>
              <a:solidFill>
                <a:schemeClr val="accent2">
                  <a:lumMod val="40000"/>
                  <a:lumOff val="60000"/>
                </a:schemeClr>
              </a:solidFill>
              <a:ln w="9525">
                <a:noFill/>
                <a:round/>
                <a:headEnd/>
                <a:tailEnd/>
              </a:ln>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endParaRPr/>
              </a:p>
            </p:txBody>
          </p:sp>
          <p:sp>
            <p:nvSpPr>
              <p:cNvPr id="16" name="îṧliḍê">
                <a:extLst>
                  <a:ext uri="{FF2B5EF4-FFF2-40B4-BE49-F238E27FC236}">
                    <a16:creationId xmlns:a16="http://schemas.microsoft.com/office/drawing/2014/main" id="{D93C77BC-9FBF-459D-A14D-B2EC75A48C2D}"/>
                  </a:ext>
                </a:extLst>
              </p:cNvPr>
              <p:cNvSpPr txBox="1"/>
              <p:nvPr/>
            </p:nvSpPr>
            <p:spPr>
              <a:xfrm>
                <a:off x="4141555" y="4297837"/>
                <a:ext cx="2328027" cy="678094"/>
              </a:xfrm>
              <a:prstGeom prst="rect">
                <a:avLst/>
              </a:prstGeom>
            </p:spPr>
            <p:txBody>
              <a:bodyPr wrap="square" lIns="91440" tIns="45720" rIns="91440" bIns="45720" anchor="t" anchorCtr="0">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lnSpc>
                    <a:spcPct val="120000"/>
                  </a:lnSpc>
                </a:pPr>
                <a:r>
                  <a:rPr lang="zh-CN" altLang="en-US" sz="1100" dirty="0">
                    <a:latin typeface="+mn-ea"/>
                  </a:rPr>
                  <a:t>状态机由状态、转移、事件、活动和动作五部分组成。</a:t>
                </a:r>
                <a:endParaRPr lang="en-US" altLang="zh-CN" sz="1100" dirty="0">
                  <a:latin typeface="+mn-ea"/>
                </a:endParaRPr>
              </a:p>
            </p:txBody>
          </p:sp>
        </p:grpSp>
        <p:cxnSp>
          <p:nvCxnSpPr>
            <p:cNvPr id="13" name="直接连接符 12">
              <a:extLst>
                <a:ext uri="{FF2B5EF4-FFF2-40B4-BE49-F238E27FC236}">
                  <a16:creationId xmlns:a16="http://schemas.microsoft.com/office/drawing/2014/main" id="{5BE3A93B-7E01-4C5F-B648-74BBB46100D1}"/>
                </a:ext>
              </a:extLst>
            </p:cNvPr>
            <p:cNvCxnSpPr/>
            <p:nvPr/>
          </p:nvCxnSpPr>
          <p:spPr>
            <a:xfrm>
              <a:off x="6032500" y="4336576"/>
              <a:ext cx="0" cy="916627"/>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4" name="直接连接符 13">
              <a:extLst>
                <a:ext uri="{FF2B5EF4-FFF2-40B4-BE49-F238E27FC236}">
                  <a16:creationId xmlns:a16="http://schemas.microsoft.com/office/drawing/2014/main" id="{EC0AB88D-6B23-4D72-8BC7-5975BE9833FE}"/>
                </a:ext>
              </a:extLst>
            </p:cNvPr>
            <p:cNvCxnSpPr/>
            <p:nvPr/>
          </p:nvCxnSpPr>
          <p:spPr>
            <a:xfrm>
              <a:off x="8928100" y="4336576"/>
              <a:ext cx="0" cy="916627"/>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62" name="e-book_21821">
            <a:extLst>
              <a:ext uri="{FF2B5EF4-FFF2-40B4-BE49-F238E27FC236}">
                <a16:creationId xmlns:a16="http://schemas.microsoft.com/office/drawing/2014/main" id="{EBB4F16B-6FE4-4B85-8056-B746F020F0E3}"/>
              </a:ext>
            </a:extLst>
          </p:cNvPr>
          <p:cNvSpPr/>
          <p:nvPr/>
        </p:nvSpPr>
        <p:spPr>
          <a:xfrm>
            <a:off x="7191575" y="3557973"/>
            <a:ext cx="609685" cy="521433"/>
          </a:xfrm>
          <a:custGeom>
            <a:avLst/>
            <a:gdLst>
              <a:gd name="T0" fmla="*/ 902 w 934"/>
              <a:gd name="T1" fmla="*/ 146 h 800"/>
              <a:gd name="T2" fmla="*/ 843 w 934"/>
              <a:gd name="T3" fmla="*/ 76 h 800"/>
              <a:gd name="T4" fmla="*/ 318 w 934"/>
              <a:gd name="T5" fmla="*/ 146 h 800"/>
              <a:gd name="T6" fmla="*/ 193 w 934"/>
              <a:gd name="T7" fmla="*/ 0 h 800"/>
              <a:gd name="T8" fmla="*/ 32 w 934"/>
              <a:gd name="T9" fmla="*/ 146 h 800"/>
              <a:gd name="T10" fmla="*/ 0 w 934"/>
              <a:gd name="T11" fmla="*/ 202 h 800"/>
              <a:gd name="T12" fmla="*/ 934 w 934"/>
              <a:gd name="T13" fmla="*/ 800 h 800"/>
              <a:gd name="T14" fmla="*/ 902 w 934"/>
              <a:gd name="T15" fmla="*/ 202 h 800"/>
              <a:gd name="T16" fmla="*/ 63 w 934"/>
              <a:gd name="T17" fmla="*/ 177 h 800"/>
              <a:gd name="T18" fmla="*/ 193 w 934"/>
              <a:gd name="T19" fmla="*/ 202 h 800"/>
              <a:gd name="T20" fmla="*/ 90 w 934"/>
              <a:gd name="T21" fmla="*/ 440 h 800"/>
              <a:gd name="T22" fmla="*/ 421 w 934"/>
              <a:gd name="T23" fmla="*/ 440 h 800"/>
              <a:gd name="T24" fmla="*/ 318 w 934"/>
              <a:gd name="T25" fmla="*/ 202 h 800"/>
              <a:gd name="T26" fmla="*/ 452 w 934"/>
              <a:gd name="T27" fmla="*/ 177 h 800"/>
              <a:gd name="T28" fmla="*/ 452 w 934"/>
              <a:gd name="T29" fmla="*/ 746 h 800"/>
              <a:gd name="T30" fmla="*/ 63 w 934"/>
              <a:gd name="T31" fmla="*/ 202 h 800"/>
              <a:gd name="T32" fmla="*/ 812 w 934"/>
              <a:gd name="T33" fmla="*/ 114 h 800"/>
              <a:gd name="T34" fmla="*/ 812 w 934"/>
              <a:gd name="T35" fmla="*/ 162 h 800"/>
              <a:gd name="T36" fmla="*/ 812 w 934"/>
              <a:gd name="T37" fmla="*/ 202 h 800"/>
              <a:gd name="T38" fmla="*/ 483 w 934"/>
              <a:gd name="T39" fmla="*/ 743 h 800"/>
              <a:gd name="T40" fmla="*/ 483 w 934"/>
              <a:gd name="T41" fmla="*/ 177 h 800"/>
              <a:gd name="T42" fmla="*/ 553 w 934"/>
              <a:gd name="T43" fmla="*/ 162 h 800"/>
              <a:gd name="T44" fmla="*/ 871 w 934"/>
              <a:gd name="T45" fmla="*/ 202 h 800"/>
              <a:gd name="T46" fmla="*/ 636 w 934"/>
              <a:gd name="T47" fmla="*/ 746 h 800"/>
              <a:gd name="T48" fmla="*/ 843 w 934"/>
              <a:gd name="T49" fmla="*/ 202 h 800"/>
              <a:gd name="T50" fmla="*/ 871 w 934"/>
              <a:gd name="T51" fmla="*/ 177 h 800"/>
              <a:gd name="T52" fmla="*/ 527 w 934"/>
              <a:gd name="T53" fmla="*/ 602 h 800"/>
              <a:gd name="T54" fmla="*/ 766 w 934"/>
              <a:gd name="T55" fmla="*/ 505 h 800"/>
              <a:gd name="T56" fmla="*/ 527 w 934"/>
              <a:gd name="T57" fmla="*/ 602 h 800"/>
              <a:gd name="T58" fmla="*/ 516 w 934"/>
              <a:gd name="T59" fmla="*/ 656 h 800"/>
              <a:gd name="T60" fmla="*/ 771 w 934"/>
              <a:gd name="T61" fmla="*/ 619 h 800"/>
              <a:gd name="T62" fmla="*/ 531 w 934"/>
              <a:gd name="T63" fmla="*/ 282 h 800"/>
              <a:gd name="T64" fmla="*/ 701 w 934"/>
              <a:gd name="T65" fmla="*/ 202 h 800"/>
              <a:gd name="T66" fmla="*/ 767 w 934"/>
              <a:gd name="T67" fmla="*/ 202 h 800"/>
              <a:gd name="T68" fmla="*/ 531 w 934"/>
              <a:gd name="T69" fmla="*/ 282 h 800"/>
              <a:gd name="T70" fmla="*/ 522 w 934"/>
              <a:gd name="T71" fmla="*/ 331 h 800"/>
              <a:gd name="T72" fmla="*/ 771 w 934"/>
              <a:gd name="T73" fmla="*/ 294 h 800"/>
              <a:gd name="T74" fmla="*/ 530 w 934"/>
              <a:gd name="T75" fmla="*/ 441 h 800"/>
              <a:gd name="T76" fmla="*/ 763 w 934"/>
              <a:gd name="T77" fmla="*/ 344 h 800"/>
              <a:gd name="T78" fmla="*/ 530 w 934"/>
              <a:gd name="T79" fmla="*/ 441 h 800"/>
              <a:gd name="T80" fmla="*/ 522 w 934"/>
              <a:gd name="T81" fmla="*/ 490 h 800"/>
              <a:gd name="T82" fmla="*/ 771 w 934"/>
              <a:gd name="T83" fmla="*/ 453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934" h="800">
                <a:moveTo>
                  <a:pt x="902" y="202"/>
                </a:moveTo>
                <a:lnTo>
                  <a:pt x="902" y="146"/>
                </a:lnTo>
                <a:lnTo>
                  <a:pt x="843" y="146"/>
                </a:lnTo>
                <a:lnTo>
                  <a:pt x="843" y="76"/>
                </a:lnTo>
                <a:lnTo>
                  <a:pt x="466" y="146"/>
                </a:lnTo>
                <a:lnTo>
                  <a:pt x="318" y="146"/>
                </a:lnTo>
                <a:lnTo>
                  <a:pt x="318" y="0"/>
                </a:lnTo>
                <a:lnTo>
                  <a:pt x="193" y="0"/>
                </a:lnTo>
                <a:lnTo>
                  <a:pt x="193" y="146"/>
                </a:lnTo>
                <a:lnTo>
                  <a:pt x="32" y="146"/>
                </a:lnTo>
                <a:lnTo>
                  <a:pt x="32" y="202"/>
                </a:lnTo>
                <a:lnTo>
                  <a:pt x="0" y="202"/>
                </a:lnTo>
                <a:lnTo>
                  <a:pt x="0" y="800"/>
                </a:lnTo>
                <a:lnTo>
                  <a:pt x="934" y="800"/>
                </a:lnTo>
                <a:lnTo>
                  <a:pt x="934" y="202"/>
                </a:lnTo>
                <a:lnTo>
                  <a:pt x="902" y="202"/>
                </a:lnTo>
                <a:close/>
                <a:moveTo>
                  <a:pt x="63" y="202"/>
                </a:moveTo>
                <a:lnTo>
                  <a:pt x="63" y="177"/>
                </a:lnTo>
                <a:lnTo>
                  <a:pt x="193" y="177"/>
                </a:lnTo>
                <a:lnTo>
                  <a:pt x="193" y="202"/>
                </a:lnTo>
                <a:lnTo>
                  <a:pt x="193" y="440"/>
                </a:lnTo>
                <a:lnTo>
                  <a:pt x="90" y="440"/>
                </a:lnTo>
                <a:lnTo>
                  <a:pt x="255" y="605"/>
                </a:lnTo>
                <a:lnTo>
                  <a:pt x="421" y="440"/>
                </a:lnTo>
                <a:lnTo>
                  <a:pt x="318" y="440"/>
                </a:lnTo>
                <a:lnTo>
                  <a:pt x="318" y="202"/>
                </a:lnTo>
                <a:lnTo>
                  <a:pt x="318" y="177"/>
                </a:lnTo>
                <a:lnTo>
                  <a:pt x="452" y="177"/>
                </a:lnTo>
                <a:lnTo>
                  <a:pt x="452" y="202"/>
                </a:lnTo>
                <a:lnTo>
                  <a:pt x="452" y="746"/>
                </a:lnTo>
                <a:lnTo>
                  <a:pt x="63" y="746"/>
                </a:lnTo>
                <a:lnTo>
                  <a:pt x="63" y="202"/>
                </a:lnTo>
                <a:close/>
                <a:moveTo>
                  <a:pt x="636" y="146"/>
                </a:moveTo>
                <a:lnTo>
                  <a:pt x="812" y="114"/>
                </a:lnTo>
                <a:lnTo>
                  <a:pt x="812" y="146"/>
                </a:lnTo>
                <a:lnTo>
                  <a:pt x="812" y="162"/>
                </a:lnTo>
                <a:lnTo>
                  <a:pt x="812" y="177"/>
                </a:lnTo>
                <a:lnTo>
                  <a:pt x="812" y="202"/>
                </a:lnTo>
                <a:lnTo>
                  <a:pt x="812" y="681"/>
                </a:lnTo>
                <a:lnTo>
                  <a:pt x="483" y="743"/>
                </a:lnTo>
                <a:lnTo>
                  <a:pt x="483" y="202"/>
                </a:lnTo>
                <a:lnTo>
                  <a:pt x="483" y="177"/>
                </a:lnTo>
                <a:lnTo>
                  <a:pt x="483" y="175"/>
                </a:lnTo>
                <a:lnTo>
                  <a:pt x="553" y="162"/>
                </a:lnTo>
                <a:lnTo>
                  <a:pt x="636" y="146"/>
                </a:lnTo>
                <a:close/>
                <a:moveTo>
                  <a:pt x="871" y="202"/>
                </a:moveTo>
                <a:lnTo>
                  <a:pt x="871" y="746"/>
                </a:lnTo>
                <a:lnTo>
                  <a:pt x="636" y="746"/>
                </a:lnTo>
                <a:lnTo>
                  <a:pt x="843" y="707"/>
                </a:lnTo>
                <a:lnTo>
                  <a:pt x="843" y="202"/>
                </a:lnTo>
                <a:lnTo>
                  <a:pt x="843" y="177"/>
                </a:lnTo>
                <a:lnTo>
                  <a:pt x="871" y="177"/>
                </a:lnTo>
                <a:lnTo>
                  <a:pt x="871" y="202"/>
                </a:lnTo>
                <a:close/>
                <a:moveTo>
                  <a:pt x="527" y="602"/>
                </a:moveTo>
                <a:lnTo>
                  <a:pt x="519" y="572"/>
                </a:lnTo>
                <a:lnTo>
                  <a:pt x="766" y="505"/>
                </a:lnTo>
                <a:lnTo>
                  <a:pt x="774" y="535"/>
                </a:lnTo>
                <a:lnTo>
                  <a:pt x="527" y="602"/>
                </a:lnTo>
                <a:close/>
                <a:moveTo>
                  <a:pt x="525" y="686"/>
                </a:moveTo>
                <a:lnTo>
                  <a:pt x="516" y="656"/>
                </a:lnTo>
                <a:lnTo>
                  <a:pt x="763" y="589"/>
                </a:lnTo>
                <a:lnTo>
                  <a:pt x="771" y="619"/>
                </a:lnTo>
                <a:lnTo>
                  <a:pt x="525" y="686"/>
                </a:lnTo>
                <a:close/>
                <a:moveTo>
                  <a:pt x="531" y="282"/>
                </a:moveTo>
                <a:lnTo>
                  <a:pt x="522" y="252"/>
                </a:lnTo>
                <a:lnTo>
                  <a:pt x="701" y="202"/>
                </a:lnTo>
                <a:lnTo>
                  <a:pt x="763" y="185"/>
                </a:lnTo>
                <a:lnTo>
                  <a:pt x="767" y="202"/>
                </a:lnTo>
                <a:lnTo>
                  <a:pt x="771" y="215"/>
                </a:lnTo>
                <a:lnTo>
                  <a:pt x="531" y="282"/>
                </a:lnTo>
                <a:close/>
                <a:moveTo>
                  <a:pt x="531" y="361"/>
                </a:moveTo>
                <a:lnTo>
                  <a:pt x="522" y="331"/>
                </a:lnTo>
                <a:lnTo>
                  <a:pt x="763" y="264"/>
                </a:lnTo>
                <a:lnTo>
                  <a:pt x="771" y="294"/>
                </a:lnTo>
                <a:lnTo>
                  <a:pt x="531" y="361"/>
                </a:lnTo>
                <a:close/>
                <a:moveTo>
                  <a:pt x="530" y="441"/>
                </a:moveTo>
                <a:lnTo>
                  <a:pt x="522" y="411"/>
                </a:lnTo>
                <a:lnTo>
                  <a:pt x="763" y="344"/>
                </a:lnTo>
                <a:lnTo>
                  <a:pt x="771" y="374"/>
                </a:lnTo>
                <a:lnTo>
                  <a:pt x="530" y="441"/>
                </a:lnTo>
                <a:close/>
                <a:moveTo>
                  <a:pt x="530" y="520"/>
                </a:moveTo>
                <a:lnTo>
                  <a:pt x="522" y="490"/>
                </a:lnTo>
                <a:lnTo>
                  <a:pt x="763" y="423"/>
                </a:lnTo>
                <a:lnTo>
                  <a:pt x="771" y="453"/>
                </a:lnTo>
                <a:lnTo>
                  <a:pt x="530" y="52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03" name="组合 202">
            <a:extLst>
              <a:ext uri="{FF2B5EF4-FFF2-40B4-BE49-F238E27FC236}">
                <a16:creationId xmlns:a16="http://schemas.microsoft.com/office/drawing/2014/main" id="{FEE73E4F-5EF4-463F-A3F0-8A72651EA86D}"/>
              </a:ext>
            </a:extLst>
          </p:cNvPr>
          <p:cNvGrpSpPr/>
          <p:nvPr/>
        </p:nvGrpSpPr>
        <p:grpSpPr>
          <a:xfrm>
            <a:off x="10440550" y="62096"/>
            <a:ext cx="1079580" cy="966604"/>
            <a:chOff x="3697288" y="1028701"/>
            <a:chExt cx="4797425" cy="4800600"/>
          </a:xfrm>
        </p:grpSpPr>
        <p:sp>
          <p:nvSpPr>
            <p:cNvPr id="204" name="Oval 47">
              <a:extLst>
                <a:ext uri="{FF2B5EF4-FFF2-40B4-BE49-F238E27FC236}">
                  <a16:creationId xmlns:a16="http://schemas.microsoft.com/office/drawing/2014/main" id="{3222BCBB-E345-4F45-8F89-8C09643FED73}"/>
                </a:ext>
              </a:extLst>
            </p:cNvPr>
            <p:cNvSpPr>
              <a:spLocks noChangeArrowheads="1"/>
            </p:cNvSpPr>
            <p:nvPr/>
          </p:nvSpPr>
          <p:spPr bwMode="auto">
            <a:xfrm>
              <a:off x="3697288" y="1028701"/>
              <a:ext cx="4797425" cy="4800600"/>
            </a:xfrm>
            <a:prstGeom prst="ellipse">
              <a:avLst/>
            </a:prstGeom>
            <a:solidFill>
              <a:srgbClr val="CAD5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05" name="Freeform 48">
              <a:extLst>
                <a:ext uri="{FF2B5EF4-FFF2-40B4-BE49-F238E27FC236}">
                  <a16:creationId xmlns:a16="http://schemas.microsoft.com/office/drawing/2014/main" id="{C4982B60-89C8-43ED-9688-EC0D47F991CD}"/>
                </a:ext>
              </a:extLst>
            </p:cNvPr>
            <p:cNvSpPr>
              <a:spLocks/>
            </p:cNvSpPr>
            <p:nvPr/>
          </p:nvSpPr>
          <p:spPr bwMode="auto">
            <a:xfrm>
              <a:off x="4268788" y="4491038"/>
              <a:ext cx="3784600" cy="415925"/>
            </a:xfrm>
            <a:custGeom>
              <a:avLst/>
              <a:gdLst>
                <a:gd name="T0" fmla="*/ 777 w 840"/>
                <a:gd name="T1" fmla="*/ 92 h 92"/>
                <a:gd name="T2" fmla="*/ 62 w 840"/>
                <a:gd name="T3" fmla="*/ 92 h 92"/>
                <a:gd name="T4" fmla="*/ 3 w 840"/>
                <a:gd name="T5" fmla="*/ 0 h 92"/>
                <a:gd name="T6" fmla="*/ 836 w 840"/>
                <a:gd name="T7" fmla="*/ 0 h 92"/>
                <a:gd name="T8" fmla="*/ 777 w 840"/>
                <a:gd name="T9" fmla="*/ 92 h 92"/>
              </a:gdLst>
              <a:ahLst/>
              <a:cxnLst>
                <a:cxn ang="0">
                  <a:pos x="T0" y="T1"/>
                </a:cxn>
                <a:cxn ang="0">
                  <a:pos x="T2" y="T3"/>
                </a:cxn>
                <a:cxn ang="0">
                  <a:pos x="T4" y="T5"/>
                </a:cxn>
                <a:cxn ang="0">
                  <a:pos x="T6" y="T7"/>
                </a:cxn>
                <a:cxn ang="0">
                  <a:pos x="T8" y="T9"/>
                </a:cxn>
              </a:cxnLst>
              <a:rect l="0" t="0" r="r" b="b"/>
              <a:pathLst>
                <a:path w="840" h="92">
                  <a:moveTo>
                    <a:pt x="777" y="92"/>
                  </a:moveTo>
                  <a:cubicBezTo>
                    <a:pt x="62" y="92"/>
                    <a:pt x="62" y="92"/>
                    <a:pt x="62" y="92"/>
                  </a:cubicBezTo>
                  <a:cubicBezTo>
                    <a:pt x="9" y="90"/>
                    <a:pt x="0" y="45"/>
                    <a:pt x="3" y="0"/>
                  </a:cubicBezTo>
                  <a:cubicBezTo>
                    <a:pt x="836" y="0"/>
                    <a:pt x="836" y="0"/>
                    <a:pt x="836" y="0"/>
                  </a:cubicBezTo>
                  <a:cubicBezTo>
                    <a:pt x="840" y="45"/>
                    <a:pt x="830" y="90"/>
                    <a:pt x="777" y="92"/>
                  </a:cubicBezTo>
                  <a:close/>
                </a:path>
              </a:pathLst>
            </a:custGeom>
            <a:solidFill>
              <a:srgbClr val="F2F5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06" name="Freeform 49">
              <a:extLst>
                <a:ext uri="{FF2B5EF4-FFF2-40B4-BE49-F238E27FC236}">
                  <a16:creationId xmlns:a16="http://schemas.microsoft.com/office/drawing/2014/main" id="{4591847E-1A3D-4366-AFD9-6A628BDCB02E}"/>
                </a:ext>
              </a:extLst>
            </p:cNvPr>
            <p:cNvSpPr>
              <a:spLocks/>
            </p:cNvSpPr>
            <p:nvPr/>
          </p:nvSpPr>
          <p:spPr bwMode="auto">
            <a:xfrm>
              <a:off x="4265613" y="4522788"/>
              <a:ext cx="3792538" cy="384175"/>
            </a:xfrm>
            <a:custGeom>
              <a:avLst/>
              <a:gdLst>
                <a:gd name="T0" fmla="*/ 778 w 842"/>
                <a:gd name="T1" fmla="*/ 59 h 85"/>
                <a:gd name="T2" fmla="*/ 63 w 842"/>
                <a:gd name="T3" fmla="*/ 59 h 85"/>
                <a:gd name="T4" fmla="*/ 4 w 842"/>
                <a:gd name="T5" fmla="*/ 0 h 85"/>
                <a:gd name="T6" fmla="*/ 63 w 842"/>
                <a:gd name="T7" fmla="*/ 85 h 85"/>
                <a:gd name="T8" fmla="*/ 778 w 842"/>
                <a:gd name="T9" fmla="*/ 85 h 85"/>
                <a:gd name="T10" fmla="*/ 837 w 842"/>
                <a:gd name="T11" fmla="*/ 0 h 85"/>
                <a:gd name="T12" fmla="*/ 778 w 842"/>
                <a:gd name="T13" fmla="*/ 59 h 85"/>
              </a:gdLst>
              <a:ahLst/>
              <a:cxnLst>
                <a:cxn ang="0">
                  <a:pos x="T0" y="T1"/>
                </a:cxn>
                <a:cxn ang="0">
                  <a:pos x="T2" y="T3"/>
                </a:cxn>
                <a:cxn ang="0">
                  <a:pos x="T4" y="T5"/>
                </a:cxn>
                <a:cxn ang="0">
                  <a:pos x="T6" y="T7"/>
                </a:cxn>
                <a:cxn ang="0">
                  <a:pos x="T8" y="T9"/>
                </a:cxn>
                <a:cxn ang="0">
                  <a:pos x="T10" y="T11"/>
                </a:cxn>
                <a:cxn ang="0">
                  <a:pos x="T12" y="T13"/>
                </a:cxn>
              </a:cxnLst>
              <a:rect l="0" t="0" r="r" b="b"/>
              <a:pathLst>
                <a:path w="842" h="85">
                  <a:moveTo>
                    <a:pt x="778" y="59"/>
                  </a:moveTo>
                  <a:cubicBezTo>
                    <a:pt x="63" y="59"/>
                    <a:pt x="63" y="59"/>
                    <a:pt x="63" y="59"/>
                  </a:cubicBezTo>
                  <a:cubicBezTo>
                    <a:pt x="31" y="59"/>
                    <a:pt x="4" y="32"/>
                    <a:pt x="4" y="0"/>
                  </a:cubicBezTo>
                  <a:cubicBezTo>
                    <a:pt x="0" y="42"/>
                    <a:pt x="15" y="84"/>
                    <a:pt x="63" y="85"/>
                  </a:cubicBezTo>
                  <a:cubicBezTo>
                    <a:pt x="63" y="85"/>
                    <a:pt x="778" y="85"/>
                    <a:pt x="778" y="85"/>
                  </a:cubicBezTo>
                  <a:cubicBezTo>
                    <a:pt x="827" y="83"/>
                    <a:pt x="842" y="42"/>
                    <a:pt x="837" y="0"/>
                  </a:cubicBezTo>
                  <a:cubicBezTo>
                    <a:pt x="837" y="32"/>
                    <a:pt x="811" y="59"/>
                    <a:pt x="778" y="59"/>
                  </a:cubicBezTo>
                  <a:close/>
                </a:path>
              </a:pathLst>
            </a:custGeom>
            <a:solidFill>
              <a:srgbClr val="A8BCD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07" name="Freeform 50">
              <a:extLst>
                <a:ext uri="{FF2B5EF4-FFF2-40B4-BE49-F238E27FC236}">
                  <a16:creationId xmlns:a16="http://schemas.microsoft.com/office/drawing/2014/main" id="{A5343A14-A96C-4335-9602-5ECBF7BB8932}"/>
                </a:ext>
              </a:extLst>
            </p:cNvPr>
            <p:cNvSpPr>
              <a:spLocks noEditPoints="1"/>
            </p:cNvSpPr>
            <p:nvPr/>
          </p:nvSpPr>
          <p:spPr bwMode="auto">
            <a:xfrm>
              <a:off x="4265613" y="4464051"/>
              <a:ext cx="3810000" cy="460375"/>
            </a:xfrm>
            <a:custGeom>
              <a:avLst/>
              <a:gdLst>
                <a:gd name="T0" fmla="*/ 778 w 846"/>
                <a:gd name="T1" fmla="*/ 102 h 102"/>
                <a:gd name="T2" fmla="*/ 63 w 846"/>
                <a:gd name="T3" fmla="*/ 102 h 102"/>
                <a:gd name="T4" fmla="*/ 0 w 846"/>
                <a:gd name="T5" fmla="*/ 39 h 102"/>
                <a:gd name="T6" fmla="*/ 0 w 846"/>
                <a:gd name="T7" fmla="*/ 6 h 102"/>
                <a:gd name="T8" fmla="*/ 10 w 846"/>
                <a:gd name="T9" fmla="*/ 0 h 102"/>
                <a:gd name="T10" fmla="*/ 837 w 846"/>
                <a:gd name="T11" fmla="*/ 2 h 102"/>
                <a:gd name="T12" fmla="*/ 842 w 846"/>
                <a:gd name="T13" fmla="*/ 6 h 102"/>
                <a:gd name="T14" fmla="*/ 778 w 846"/>
                <a:gd name="T15" fmla="*/ 102 h 102"/>
                <a:gd name="T16" fmla="*/ 9 w 846"/>
                <a:gd name="T17" fmla="*/ 11 h 102"/>
                <a:gd name="T18" fmla="*/ 63 w 846"/>
                <a:gd name="T19" fmla="*/ 93 h 102"/>
                <a:gd name="T20" fmla="*/ 778 w 846"/>
                <a:gd name="T21" fmla="*/ 93 h 102"/>
                <a:gd name="T22" fmla="*/ 833 w 846"/>
                <a:gd name="T23" fmla="*/ 11 h 102"/>
                <a:gd name="T24" fmla="*/ 9 w 846"/>
                <a:gd name="T25" fmla="*/ 11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6" h="102">
                  <a:moveTo>
                    <a:pt x="778" y="102"/>
                  </a:moveTo>
                  <a:cubicBezTo>
                    <a:pt x="63" y="102"/>
                    <a:pt x="63" y="102"/>
                    <a:pt x="63" y="102"/>
                  </a:cubicBezTo>
                  <a:cubicBezTo>
                    <a:pt x="28" y="102"/>
                    <a:pt x="0" y="74"/>
                    <a:pt x="0" y="39"/>
                  </a:cubicBezTo>
                  <a:cubicBezTo>
                    <a:pt x="0" y="6"/>
                    <a:pt x="0" y="6"/>
                    <a:pt x="0" y="6"/>
                  </a:cubicBezTo>
                  <a:cubicBezTo>
                    <a:pt x="0" y="3"/>
                    <a:pt x="1" y="0"/>
                    <a:pt x="10" y="0"/>
                  </a:cubicBezTo>
                  <a:cubicBezTo>
                    <a:pt x="118" y="1"/>
                    <a:pt x="833" y="6"/>
                    <a:pt x="837" y="2"/>
                  </a:cubicBezTo>
                  <a:cubicBezTo>
                    <a:pt x="840" y="2"/>
                    <a:pt x="842" y="4"/>
                    <a:pt x="842" y="6"/>
                  </a:cubicBezTo>
                  <a:cubicBezTo>
                    <a:pt x="846" y="53"/>
                    <a:pt x="834" y="100"/>
                    <a:pt x="778" y="102"/>
                  </a:cubicBezTo>
                  <a:close/>
                  <a:moveTo>
                    <a:pt x="9" y="11"/>
                  </a:moveTo>
                  <a:cubicBezTo>
                    <a:pt x="5" y="51"/>
                    <a:pt x="16" y="92"/>
                    <a:pt x="63" y="93"/>
                  </a:cubicBezTo>
                  <a:cubicBezTo>
                    <a:pt x="63" y="93"/>
                    <a:pt x="778" y="93"/>
                    <a:pt x="778" y="93"/>
                  </a:cubicBezTo>
                  <a:cubicBezTo>
                    <a:pt x="826" y="91"/>
                    <a:pt x="837" y="51"/>
                    <a:pt x="833" y="11"/>
                  </a:cubicBezTo>
                  <a:lnTo>
                    <a:pt x="9" y="11"/>
                  </a:lnTo>
                  <a:close/>
                </a:path>
              </a:pathLst>
            </a:custGeom>
            <a:solidFill>
              <a:srgbClr val="0C11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08" name="Freeform 51">
              <a:extLst>
                <a:ext uri="{FF2B5EF4-FFF2-40B4-BE49-F238E27FC236}">
                  <a16:creationId xmlns:a16="http://schemas.microsoft.com/office/drawing/2014/main" id="{598384DA-CD56-406B-894D-F8DECC9E552F}"/>
                </a:ext>
              </a:extLst>
            </p:cNvPr>
            <p:cNvSpPr>
              <a:spLocks/>
            </p:cNvSpPr>
            <p:nvPr/>
          </p:nvSpPr>
          <p:spPr bwMode="auto">
            <a:xfrm>
              <a:off x="4067176" y="1438276"/>
              <a:ext cx="4189413" cy="3792538"/>
            </a:xfrm>
            <a:custGeom>
              <a:avLst/>
              <a:gdLst>
                <a:gd name="T0" fmla="*/ 758 w 930"/>
                <a:gd name="T1" fmla="*/ 679 h 842"/>
                <a:gd name="T2" fmla="*/ 101 w 930"/>
                <a:gd name="T3" fmla="*/ 234 h 842"/>
                <a:gd name="T4" fmla="*/ 172 w 930"/>
                <a:gd name="T5" fmla="*/ 163 h 842"/>
                <a:gd name="T6" fmla="*/ 829 w 930"/>
                <a:gd name="T7" fmla="*/ 608 h 842"/>
                <a:gd name="T8" fmla="*/ 758 w 930"/>
                <a:gd name="T9" fmla="*/ 679 h 842"/>
              </a:gdLst>
              <a:ahLst/>
              <a:cxnLst>
                <a:cxn ang="0">
                  <a:pos x="T0" y="T1"/>
                </a:cxn>
                <a:cxn ang="0">
                  <a:pos x="T2" y="T3"/>
                </a:cxn>
                <a:cxn ang="0">
                  <a:pos x="T4" y="T5"/>
                </a:cxn>
                <a:cxn ang="0">
                  <a:pos x="T6" y="T7"/>
                </a:cxn>
                <a:cxn ang="0">
                  <a:pos x="T8" y="T9"/>
                </a:cxn>
              </a:cxnLst>
              <a:rect l="0" t="0" r="r" b="b"/>
              <a:pathLst>
                <a:path w="930" h="842">
                  <a:moveTo>
                    <a:pt x="758" y="679"/>
                  </a:moveTo>
                  <a:cubicBezTo>
                    <a:pt x="0" y="647"/>
                    <a:pt x="106" y="842"/>
                    <a:pt x="101" y="234"/>
                  </a:cubicBezTo>
                  <a:cubicBezTo>
                    <a:pt x="101" y="195"/>
                    <a:pt x="133" y="163"/>
                    <a:pt x="172" y="163"/>
                  </a:cubicBezTo>
                  <a:cubicBezTo>
                    <a:pt x="930" y="195"/>
                    <a:pt x="824" y="0"/>
                    <a:pt x="829" y="608"/>
                  </a:cubicBezTo>
                  <a:cubicBezTo>
                    <a:pt x="829" y="647"/>
                    <a:pt x="797" y="679"/>
                    <a:pt x="758" y="679"/>
                  </a:cubicBezTo>
                  <a:close/>
                </a:path>
              </a:pathLst>
            </a:custGeom>
            <a:solidFill>
              <a:srgbClr val="F2F5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09" name="Freeform 52">
              <a:extLst>
                <a:ext uri="{FF2B5EF4-FFF2-40B4-BE49-F238E27FC236}">
                  <a16:creationId xmlns:a16="http://schemas.microsoft.com/office/drawing/2014/main" id="{3E452EAD-3EE0-40EA-9451-C20CDB6B1E43}"/>
                </a:ext>
              </a:extLst>
            </p:cNvPr>
            <p:cNvSpPr>
              <a:spLocks/>
            </p:cNvSpPr>
            <p:nvPr/>
          </p:nvSpPr>
          <p:spPr bwMode="auto">
            <a:xfrm>
              <a:off x="4606926" y="2262188"/>
              <a:ext cx="3194050" cy="2233613"/>
            </a:xfrm>
            <a:custGeom>
              <a:avLst/>
              <a:gdLst>
                <a:gd name="T0" fmla="*/ 687 w 709"/>
                <a:gd name="T1" fmla="*/ 0 h 496"/>
                <a:gd name="T2" fmla="*/ 690 w 709"/>
                <a:gd name="T3" fmla="*/ 20 h 496"/>
                <a:gd name="T4" fmla="*/ 690 w 709"/>
                <a:gd name="T5" fmla="*/ 419 h 496"/>
                <a:gd name="T6" fmla="*/ 632 w 709"/>
                <a:gd name="T7" fmla="*/ 477 h 496"/>
                <a:gd name="T8" fmla="*/ 21 w 709"/>
                <a:gd name="T9" fmla="*/ 477 h 496"/>
                <a:gd name="T10" fmla="*/ 0 w 709"/>
                <a:gd name="T11" fmla="*/ 474 h 496"/>
                <a:gd name="T12" fmla="*/ 52 w 709"/>
                <a:gd name="T13" fmla="*/ 496 h 496"/>
                <a:gd name="T14" fmla="*/ 638 w 709"/>
                <a:gd name="T15" fmla="*/ 496 h 496"/>
                <a:gd name="T16" fmla="*/ 709 w 709"/>
                <a:gd name="T17" fmla="*/ 425 h 496"/>
                <a:gd name="T18" fmla="*/ 709 w 709"/>
                <a:gd name="T19" fmla="*/ 51 h 496"/>
                <a:gd name="T20" fmla="*/ 687 w 709"/>
                <a:gd name="T21" fmla="*/ 0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09" h="496">
                  <a:moveTo>
                    <a:pt x="687" y="0"/>
                  </a:moveTo>
                  <a:cubicBezTo>
                    <a:pt x="689" y="6"/>
                    <a:pt x="690" y="13"/>
                    <a:pt x="690" y="20"/>
                  </a:cubicBezTo>
                  <a:cubicBezTo>
                    <a:pt x="690" y="419"/>
                    <a:pt x="690" y="419"/>
                    <a:pt x="690" y="419"/>
                  </a:cubicBezTo>
                  <a:cubicBezTo>
                    <a:pt x="690" y="451"/>
                    <a:pt x="664" y="477"/>
                    <a:pt x="632" y="477"/>
                  </a:cubicBezTo>
                  <a:cubicBezTo>
                    <a:pt x="21" y="477"/>
                    <a:pt x="21" y="477"/>
                    <a:pt x="21" y="477"/>
                  </a:cubicBezTo>
                  <a:cubicBezTo>
                    <a:pt x="14" y="477"/>
                    <a:pt x="7" y="476"/>
                    <a:pt x="0" y="474"/>
                  </a:cubicBezTo>
                  <a:cubicBezTo>
                    <a:pt x="13" y="487"/>
                    <a:pt x="32" y="496"/>
                    <a:pt x="52" y="496"/>
                  </a:cubicBezTo>
                  <a:cubicBezTo>
                    <a:pt x="638" y="496"/>
                    <a:pt x="638" y="496"/>
                    <a:pt x="638" y="496"/>
                  </a:cubicBezTo>
                  <a:cubicBezTo>
                    <a:pt x="677" y="496"/>
                    <a:pt x="709" y="464"/>
                    <a:pt x="709" y="425"/>
                  </a:cubicBezTo>
                  <a:cubicBezTo>
                    <a:pt x="709" y="51"/>
                    <a:pt x="709" y="51"/>
                    <a:pt x="709" y="51"/>
                  </a:cubicBezTo>
                  <a:cubicBezTo>
                    <a:pt x="709" y="31"/>
                    <a:pt x="700" y="13"/>
                    <a:pt x="687" y="0"/>
                  </a:cubicBezTo>
                  <a:close/>
                </a:path>
              </a:pathLst>
            </a:custGeom>
            <a:solidFill>
              <a:srgbClr val="A8BCD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10" name="Freeform 53">
              <a:extLst>
                <a:ext uri="{FF2B5EF4-FFF2-40B4-BE49-F238E27FC236}">
                  <a16:creationId xmlns:a16="http://schemas.microsoft.com/office/drawing/2014/main" id="{CA42928B-43F5-42DC-A035-24CF0F91C9DF}"/>
                </a:ext>
              </a:extLst>
            </p:cNvPr>
            <p:cNvSpPr>
              <a:spLocks noEditPoints="1"/>
            </p:cNvSpPr>
            <p:nvPr/>
          </p:nvSpPr>
          <p:spPr bwMode="auto">
            <a:xfrm>
              <a:off x="4052888" y="1411288"/>
              <a:ext cx="4216400" cy="3846513"/>
            </a:xfrm>
            <a:custGeom>
              <a:avLst/>
              <a:gdLst>
                <a:gd name="T0" fmla="*/ 761 w 936"/>
                <a:gd name="T1" fmla="*/ 689 h 854"/>
                <a:gd name="T2" fmla="*/ 99 w 936"/>
                <a:gd name="T3" fmla="*/ 240 h 854"/>
                <a:gd name="T4" fmla="*/ 175 w 936"/>
                <a:gd name="T5" fmla="*/ 165 h 854"/>
                <a:gd name="T6" fmla="*/ 836 w 936"/>
                <a:gd name="T7" fmla="*/ 614 h 854"/>
                <a:gd name="T8" fmla="*/ 761 w 936"/>
                <a:gd name="T9" fmla="*/ 689 h 854"/>
                <a:gd name="T10" fmla="*/ 175 w 936"/>
                <a:gd name="T11" fmla="*/ 174 h 854"/>
                <a:gd name="T12" fmla="*/ 108 w 936"/>
                <a:gd name="T13" fmla="*/ 240 h 854"/>
                <a:gd name="T14" fmla="*/ 761 w 936"/>
                <a:gd name="T15" fmla="*/ 680 h 854"/>
                <a:gd name="T16" fmla="*/ 827 w 936"/>
                <a:gd name="T17" fmla="*/ 614 h 854"/>
                <a:gd name="T18" fmla="*/ 175 w 936"/>
                <a:gd name="T19" fmla="*/ 174 h 8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6" h="854">
                  <a:moveTo>
                    <a:pt x="761" y="689"/>
                  </a:moveTo>
                  <a:cubicBezTo>
                    <a:pt x="7" y="657"/>
                    <a:pt x="102" y="854"/>
                    <a:pt x="99" y="240"/>
                  </a:cubicBezTo>
                  <a:cubicBezTo>
                    <a:pt x="99" y="198"/>
                    <a:pt x="133" y="165"/>
                    <a:pt x="175" y="165"/>
                  </a:cubicBezTo>
                  <a:cubicBezTo>
                    <a:pt x="929" y="197"/>
                    <a:pt x="834" y="0"/>
                    <a:pt x="836" y="614"/>
                  </a:cubicBezTo>
                  <a:cubicBezTo>
                    <a:pt x="836" y="655"/>
                    <a:pt x="802" y="689"/>
                    <a:pt x="761" y="689"/>
                  </a:cubicBezTo>
                  <a:close/>
                  <a:moveTo>
                    <a:pt x="175" y="174"/>
                  </a:moveTo>
                  <a:cubicBezTo>
                    <a:pt x="138" y="174"/>
                    <a:pt x="108" y="203"/>
                    <a:pt x="108" y="240"/>
                  </a:cubicBezTo>
                  <a:cubicBezTo>
                    <a:pt x="115" y="841"/>
                    <a:pt x="0" y="649"/>
                    <a:pt x="761" y="680"/>
                  </a:cubicBezTo>
                  <a:cubicBezTo>
                    <a:pt x="797" y="680"/>
                    <a:pt x="827" y="650"/>
                    <a:pt x="827" y="614"/>
                  </a:cubicBezTo>
                  <a:cubicBezTo>
                    <a:pt x="820" y="13"/>
                    <a:pt x="936" y="205"/>
                    <a:pt x="175" y="174"/>
                  </a:cubicBezTo>
                  <a:close/>
                </a:path>
              </a:pathLst>
            </a:custGeom>
            <a:solidFill>
              <a:srgbClr val="0C11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11" name="Freeform 54">
              <a:extLst>
                <a:ext uri="{FF2B5EF4-FFF2-40B4-BE49-F238E27FC236}">
                  <a16:creationId xmlns:a16="http://schemas.microsoft.com/office/drawing/2014/main" id="{05C2181A-018A-40AC-B50B-11757693BC7B}"/>
                </a:ext>
              </a:extLst>
            </p:cNvPr>
            <p:cNvSpPr>
              <a:spLocks/>
            </p:cNvSpPr>
            <p:nvPr/>
          </p:nvSpPr>
          <p:spPr bwMode="auto">
            <a:xfrm>
              <a:off x="4710113" y="2362201"/>
              <a:ext cx="2909888" cy="1927225"/>
            </a:xfrm>
            <a:custGeom>
              <a:avLst/>
              <a:gdLst>
                <a:gd name="T0" fmla="*/ 614 w 646"/>
                <a:gd name="T1" fmla="*/ 428 h 428"/>
                <a:gd name="T2" fmla="*/ 32 w 646"/>
                <a:gd name="T3" fmla="*/ 428 h 428"/>
                <a:gd name="T4" fmla="*/ 0 w 646"/>
                <a:gd name="T5" fmla="*/ 396 h 428"/>
                <a:gd name="T6" fmla="*/ 0 w 646"/>
                <a:gd name="T7" fmla="*/ 32 h 428"/>
                <a:gd name="T8" fmla="*/ 32 w 646"/>
                <a:gd name="T9" fmla="*/ 0 h 428"/>
                <a:gd name="T10" fmla="*/ 614 w 646"/>
                <a:gd name="T11" fmla="*/ 0 h 428"/>
                <a:gd name="T12" fmla="*/ 646 w 646"/>
                <a:gd name="T13" fmla="*/ 32 h 428"/>
                <a:gd name="T14" fmla="*/ 646 w 646"/>
                <a:gd name="T15" fmla="*/ 396 h 428"/>
                <a:gd name="T16" fmla="*/ 614 w 646"/>
                <a:gd name="T17" fmla="*/ 428 h 4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6" h="428">
                  <a:moveTo>
                    <a:pt x="614" y="428"/>
                  </a:moveTo>
                  <a:cubicBezTo>
                    <a:pt x="32" y="428"/>
                    <a:pt x="32" y="428"/>
                    <a:pt x="32" y="428"/>
                  </a:cubicBezTo>
                  <a:cubicBezTo>
                    <a:pt x="15" y="428"/>
                    <a:pt x="0" y="414"/>
                    <a:pt x="0" y="396"/>
                  </a:cubicBezTo>
                  <a:cubicBezTo>
                    <a:pt x="0" y="32"/>
                    <a:pt x="0" y="32"/>
                    <a:pt x="0" y="32"/>
                  </a:cubicBezTo>
                  <a:cubicBezTo>
                    <a:pt x="0" y="14"/>
                    <a:pt x="15" y="0"/>
                    <a:pt x="32" y="0"/>
                  </a:cubicBezTo>
                  <a:cubicBezTo>
                    <a:pt x="614" y="0"/>
                    <a:pt x="614" y="0"/>
                    <a:pt x="614" y="0"/>
                  </a:cubicBezTo>
                  <a:cubicBezTo>
                    <a:pt x="631" y="0"/>
                    <a:pt x="646" y="14"/>
                    <a:pt x="646" y="32"/>
                  </a:cubicBezTo>
                  <a:cubicBezTo>
                    <a:pt x="646" y="396"/>
                    <a:pt x="646" y="396"/>
                    <a:pt x="646" y="396"/>
                  </a:cubicBezTo>
                  <a:cubicBezTo>
                    <a:pt x="646" y="414"/>
                    <a:pt x="631" y="428"/>
                    <a:pt x="614" y="428"/>
                  </a:cubicBezTo>
                  <a:close/>
                </a:path>
              </a:pathLst>
            </a:custGeom>
            <a:solidFill>
              <a:srgbClr val="BAD9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12" name="Freeform 55">
              <a:extLst>
                <a:ext uri="{FF2B5EF4-FFF2-40B4-BE49-F238E27FC236}">
                  <a16:creationId xmlns:a16="http://schemas.microsoft.com/office/drawing/2014/main" id="{25B7063B-F2F7-455E-BC2C-55132F321727}"/>
                </a:ext>
              </a:extLst>
            </p:cNvPr>
            <p:cNvSpPr>
              <a:spLocks/>
            </p:cNvSpPr>
            <p:nvPr/>
          </p:nvSpPr>
          <p:spPr bwMode="auto">
            <a:xfrm>
              <a:off x="4710113" y="2362201"/>
              <a:ext cx="2901950" cy="1922463"/>
            </a:xfrm>
            <a:custGeom>
              <a:avLst/>
              <a:gdLst>
                <a:gd name="T0" fmla="*/ 26 w 644"/>
                <a:gd name="T1" fmla="*/ 42 h 427"/>
                <a:gd name="T2" fmla="*/ 44 w 644"/>
                <a:gd name="T3" fmla="*/ 23 h 427"/>
                <a:gd name="T4" fmla="*/ 644 w 644"/>
                <a:gd name="T5" fmla="*/ 23 h 427"/>
                <a:gd name="T6" fmla="*/ 614 w 644"/>
                <a:gd name="T7" fmla="*/ 0 h 427"/>
                <a:gd name="T8" fmla="*/ 32 w 644"/>
                <a:gd name="T9" fmla="*/ 0 h 427"/>
                <a:gd name="T10" fmla="*/ 0 w 644"/>
                <a:gd name="T11" fmla="*/ 32 h 427"/>
                <a:gd name="T12" fmla="*/ 0 w 644"/>
                <a:gd name="T13" fmla="*/ 396 h 427"/>
                <a:gd name="T14" fmla="*/ 26 w 644"/>
                <a:gd name="T15" fmla="*/ 427 h 427"/>
                <a:gd name="T16" fmla="*/ 26 w 644"/>
                <a:gd name="T17" fmla="*/ 42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4" h="427">
                  <a:moveTo>
                    <a:pt x="26" y="42"/>
                  </a:moveTo>
                  <a:cubicBezTo>
                    <a:pt x="26" y="31"/>
                    <a:pt x="34" y="23"/>
                    <a:pt x="44" y="23"/>
                  </a:cubicBezTo>
                  <a:cubicBezTo>
                    <a:pt x="644" y="23"/>
                    <a:pt x="644" y="23"/>
                    <a:pt x="644" y="23"/>
                  </a:cubicBezTo>
                  <a:cubicBezTo>
                    <a:pt x="640" y="10"/>
                    <a:pt x="628" y="0"/>
                    <a:pt x="614" y="0"/>
                  </a:cubicBezTo>
                  <a:cubicBezTo>
                    <a:pt x="32" y="0"/>
                    <a:pt x="32" y="0"/>
                    <a:pt x="32" y="0"/>
                  </a:cubicBezTo>
                  <a:cubicBezTo>
                    <a:pt x="15" y="0"/>
                    <a:pt x="0" y="14"/>
                    <a:pt x="0" y="32"/>
                  </a:cubicBezTo>
                  <a:cubicBezTo>
                    <a:pt x="0" y="396"/>
                    <a:pt x="0" y="396"/>
                    <a:pt x="0" y="396"/>
                  </a:cubicBezTo>
                  <a:cubicBezTo>
                    <a:pt x="0" y="411"/>
                    <a:pt x="11" y="424"/>
                    <a:pt x="26" y="427"/>
                  </a:cubicBezTo>
                  <a:lnTo>
                    <a:pt x="26" y="42"/>
                  </a:lnTo>
                  <a:close/>
                </a:path>
              </a:pathLst>
            </a:custGeom>
            <a:solidFill>
              <a:srgbClr val="75B3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13" name="Freeform 56">
              <a:extLst>
                <a:ext uri="{FF2B5EF4-FFF2-40B4-BE49-F238E27FC236}">
                  <a16:creationId xmlns:a16="http://schemas.microsoft.com/office/drawing/2014/main" id="{DAE4C4BA-C997-4B04-AE81-80536BD9F941}"/>
                </a:ext>
              </a:extLst>
            </p:cNvPr>
            <p:cNvSpPr>
              <a:spLocks noEditPoints="1"/>
            </p:cNvSpPr>
            <p:nvPr/>
          </p:nvSpPr>
          <p:spPr bwMode="auto">
            <a:xfrm>
              <a:off x="4692651" y="2343151"/>
              <a:ext cx="2946400" cy="1963738"/>
            </a:xfrm>
            <a:custGeom>
              <a:avLst/>
              <a:gdLst>
                <a:gd name="T0" fmla="*/ 618 w 654"/>
                <a:gd name="T1" fmla="*/ 436 h 436"/>
                <a:gd name="T2" fmla="*/ 36 w 654"/>
                <a:gd name="T3" fmla="*/ 436 h 436"/>
                <a:gd name="T4" fmla="*/ 0 w 654"/>
                <a:gd name="T5" fmla="*/ 400 h 436"/>
                <a:gd name="T6" fmla="*/ 0 w 654"/>
                <a:gd name="T7" fmla="*/ 36 h 436"/>
                <a:gd name="T8" fmla="*/ 36 w 654"/>
                <a:gd name="T9" fmla="*/ 0 h 436"/>
                <a:gd name="T10" fmla="*/ 618 w 654"/>
                <a:gd name="T11" fmla="*/ 0 h 436"/>
                <a:gd name="T12" fmla="*/ 654 w 654"/>
                <a:gd name="T13" fmla="*/ 36 h 436"/>
                <a:gd name="T14" fmla="*/ 654 w 654"/>
                <a:gd name="T15" fmla="*/ 400 h 436"/>
                <a:gd name="T16" fmla="*/ 618 w 654"/>
                <a:gd name="T17" fmla="*/ 436 h 436"/>
                <a:gd name="T18" fmla="*/ 36 w 654"/>
                <a:gd name="T19" fmla="*/ 9 h 436"/>
                <a:gd name="T20" fmla="*/ 9 w 654"/>
                <a:gd name="T21" fmla="*/ 36 h 436"/>
                <a:gd name="T22" fmla="*/ 9 w 654"/>
                <a:gd name="T23" fmla="*/ 400 h 436"/>
                <a:gd name="T24" fmla="*/ 36 w 654"/>
                <a:gd name="T25" fmla="*/ 427 h 436"/>
                <a:gd name="T26" fmla="*/ 618 w 654"/>
                <a:gd name="T27" fmla="*/ 427 h 436"/>
                <a:gd name="T28" fmla="*/ 645 w 654"/>
                <a:gd name="T29" fmla="*/ 400 h 436"/>
                <a:gd name="T30" fmla="*/ 645 w 654"/>
                <a:gd name="T31" fmla="*/ 36 h 436"/>
                <a:gd name="T32" fmla="*/ 618 w 654"/>
                <a:gd name="T33" fmla="*/ 9 h 436"/>
                <a:gd name="T34" fmla="*/ 36 w 654"/>
                <a:gd name="T35" fmla="*/ 9 h 4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54" h="436">
                  <a:moveTo>
                    <a:pt x="618" y="436"/>
                  </a:moveTo>
                  <a:cubicBezTo>
                    <a:pt x="36" y="436"/>
                    <a:pt x="36" y="436"/>
                    <a:pt x="36" y="436"/>
                  </a:cubicBezTo>
                  <a:cubicBezTo>
                    <a:pt x="16" y="436"/>
                    <a:pt x="0" y="420"/>
                    <a:pt x="0" y="400"/>
                  </a:cubicBezTo>
                  <a:cubicBezTo>
                    <a:pt x="0" y="36"/>
                    <a:pt x="0" y="36"/>
                    <a:pt x="0" y="36"/>
                  </a:cubicBezTo>
                  <a:cubicBezTo>
                    <a:pt x="0" y="16"/>
                    <a:pt x="16" y="0"/>
                    <a:pt x="36" y="0"/>
                  </a:cubicBezTo>
                  <a:cubicBezTo>
                    <a:pt x="618" y="0"/>
                    <a:pt x="618" y="0"/>
                    <a:pt x="618" y="0"/>
                  </a:cubicBezTo>
                  <a:cubicBezTo>
                    <a:pt x="638" y="0"/>
                    <a:pt x="654" y="16"/>
                    <a:pt x="654" y="36"/>
                  </a:cubicBezTo>
                  <a:cubicBezTo>
                    <a:pt x="654" y="400"/>
                    <a:pt x="654" y="400"/>
                    <a:pt x="654" y="400"/>
                  </a:cubicBezTo>
                  <a:cubicBezTo>
                    <a:pt x="654" y="420"/>
                    <a:pt x="638" y="436"/>
                    <a:pt x="618" y="436"/>
                  </a:cubicBezTo>
                  <a:close/>
                  <a:moveTo>
                    <a:pt x="36" y="9"/>
                  </a:moveTo>
                  <a:cubicBezTo>
                    <a:pt x="21" y="9"/>
                    <a:pt x="9" y="21"/>
                    <a:pt x="9" y="36"/>
                  </a:cubicBezTo>
                  <a:cubicBezTo>
                    <a:pt x="9" y="400"/>
                    <a:pt x="9" y="400"/>
                    <a:pt x="9" y="400"/>
                  </a:cubicBezTo>
                  <a:cubicBezTo>
                    <a:pt x="9" y="415"/>
                    <a:pt x="21" y="427"/>
                    <a:pt x="36" y="427"/>
                  </a:cubicBezTo>
                  <a:cubicBezTo>
                    <a:pt x="618" y="427"/>
                    <a:pt x="618" y="427"/>
                    <a:pt x="618" y="427"/>
                  </a:cubicBezTo>
                  <a:cubicBezTo>
                    <a:pt x="633" y="427"/>
                    <a:pt x="645" y="415"/>
                    <a:pt x="645" y="400"/>
                  </a:cubicBezTo>
                  <a:cubicBezTo>
                    <a:pt x="645" y="36"/>
                    <a:pt x="645" y="36"/>
                    <a:pt x="645" y="36"/>
                  </a:cubicBezTo>
                  <a:cubicBezTo>
                    <a:pt x="645" y="21"/>
                    <a:pt x="633" y="9"/>
                    <a:pt x="618" y="9"/>
                  </a:cubicBezTo>
                  <a:lnTo>
                    <a:pt x="36" y="9"/>
                  </a:lnTo>
                  <a:close/>
                </a:path>
              </a:pathLst>
            </a:custGeom>
            <a:solidFill>
              <a:srgbClr val="0C11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14" name="Freeform 57">
              <a:extLst>
                <a:ext uri="{FF2B5EF4-FFF2-40B4-BE49-F238E27FC236}">
                  <a16:creationId xmlns:a16="http://schemas.microsoft.com/office/drawing/2014/main" id="{2B438974-B3C9-4A6B-8D1B-FE82A11572D7}"/>
                </a:ext>
              </a:extLst>
            </p:cNvPr>
            <p:cNvSpPr>
              <a:spLocks/>
            </p:cNvSpPr>
            <p:nvPr/>
          </p:nvSpPr>
          <p:spPr bwMode="auto">
            <a:xfrm>
              <a:off x="5494338" y="4491038"/>
              <a:ext cx="1333500" cy="149225"/>
            </a:xfrm>
            <a:custGeom>
              <a:avLst/>
              <a:gdLst>
                <a:gd name="T0" fmla="*/ 274 w 296"/>
                <a:gd name="T1" fmla="*/ 33 h 33"/>
                <a:gd name="T2" fmla="*/ 22 w 296"/>
                <a:gd name="T3" fmla="*/ 33 h 33"/>
                <a:gd name="T4" fmla="*/ 1 w 296"/>
                <a:gd name="T5" fmla="*/ 0 h 33"/>
                <a:gd name="T6" fmla="*/ 295 w 296"/>
                <a:gd name="T7" fmla="*/ 0 h 33"/>
                <a:gd name="T8" fmla="*/ 274 w 296"/>
                <a:gd name="T9" fmla="*/ 33 h 33"/>
              </a:gdLst>
              <a:ahLst/>
              <a:cxnLst>
                <a:cxn ang="0">
                  <a:pos x="T0" y="T1"/>
                </a:cxn>
                <a:cxn ang="0">
                  <a:pos x="T2" y="T3"/>
                </a:cxn>
                <a:cxn ang="0">
                  <a:pos x="T4" y="T5"/>
                </a:cxn>
                <a:cxn ang="0">
                  <a:pos x="T6" y="T7"/>
                </a:cxn>
                <a:cxn ang="0">
                  <a:pos x="T8" y="T9"/>
                </a:cxn>
              </a:cxnLst>
              <a:rect l="0" t="0" r="r" b="b"/>
              <a:pathLst>
                <a:path w="296" h="33">
                  <a:moveTo>
                    <a:pt x="274" y="33"/>
                  </a:moveTo>
                  <a:cubicBezTo>
                    <a:pt x="22" y="33"/>
                    <a:pt x="22" y="33"/>
                    <a:pt x="22" y="33"/>
                  </a:cubicBezTo>
                  <a:cubicBezTo>
                    <a:pt x="3" y="32"/>
                    <a:pt x="0" y="16"/>
                    <a:pt x="1" y="0"/>
                  </a:cubicBezTo>
                  <a:cubicBezTo>
                    <a:pt x="295" y="0"/>
                    <a:pt x="295" y="0"/>
                    <a:pt x="295" y="0"/>
                  </a:cubicBezTo>
                  <a:cubicBezTo>
                    <a:pt x="296" y="16"/>
                    <a:pt x="293" y="32"/>
                    <a:pt x="274" y="33"/>
                  </a:cubicBezTo>
                  <a:close/>
                </a:path>
              </a:pathLst>
            </a:custGeom>
            <a:solidFill>
              <a:srgbClr val="95AD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15" name="Freeform 58">
              <a:extLst>
                <a:ext uri="{FF2B5EF4-FFF2-40B4-BE49-F238E27FC236}">
                  <a16:creationId xmlns:a16="http://schemas.microsoft.com/office/drawing/2014/main" id="{38C3209D-EC8E-4AC5-8ED9-7EA05F601D78}"/>
                </a:ext>
              </a:extLst>
            </p:cNvPr>
            <p:cNvSpPr>
              <a:spLocks noEditPoints="1"/>
            </p:cNvSpPr>
            <p:nvPr/>
          </p:nvSpPr>
          <p:spPr bwMode="auto">
            <a:xfrm>
              <a:off x="5472113" y="4473576"/>
              <a:ext cx="1377950" cy="184150"/>
            </a:xfrm>
            <a:custGeom>
              <a:avLst/>
              <a:gdLst>
                <a:gd name="T0" fmla="*/ 279 w 306"/>
                <a:gd name="T1" fmla="*/ 41 h 41"/>
                <a:gd name="T2" fmla="*/ 27 w 306"/>
                <a:gd name="T3" fmla="*/ 41 h 41"/>
                <a:gd name="T4" fmla="*/ 1 w 306"/>
                <a:gd name="T5" fmla="*/ 4 h 41"/>
                <a:gd name="T6" fmla="*/ 6 w 306"/>
                <a:gd name="T7" fmla="*/ 0 h 41"/>
                <a:gd name="T8" fmla="*/ 300 w 306"/>
                <a:gd name="T9" fmla="*/ 0 h 41"/>
                <a:gd name="T10" fmla="*/ 304 w 306"/>
                <a:gd name="T11" fmla="*/ 4 h 41"/>
                <a:gd name="T12" fmla="*/ 279 w 306"/>
                <a:gd name="T13" fmla="*/ 41 h 41"/>
                <a:gd name="T14" fmla="*/ 10 w 306"/>
                <a:gd name="T15" fmla="*/ 9 h 41"/>
                <a:gd name="T16" fmla="*/ 27 w 306"/>
                <a:gd name="T17" fmla="*/ 32 h 41"/>
                <a:gd name="T18" fmla="*/ 279 w 306"/>
                <a:gd name="T19" fmla="*/ 32 h 41"/>
                <a:gd name="T20" fmla="*/ 295 w 306"/>
                <a:gd name="T21" fmla="*/ 9 h 41"/>
                <a:gd name="T22" fmla="*/ 10 w 306"/>
                <a:gd name="T23" fmla="*/ 9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06" h="41">
                  <a:moveTo>
                    <a:pt x="279" y="41"/>
                  </a:moveTo>
                  <a:cubicBezTo>
                    <a:pt x="27" y="41"/>
                    <a:pt x="27" y="41"/>
                    <a:pt x="27" y="41"/>
                  </a:cubicBezTo>
                  <a:cubicBezTo>
                    <a:pt x="6" y="40"/>
                    <a:pt x="0" y="23"/>
                    <a:pt x="1" y="4"/>
                  </a:cubicBezTo>
                  <a:cubicBezTo>
                    <a:pt x="1" y="2"/>
                    <a:pt x="3" y="0"/>
                    <a:pt x="6" y="0"/>
                  </a:cubicBezTo>
                  <a:cubicBezTo>
                    <a:pt x="300" y="0"/>
                    <a:pt x="300" y="0"/>
                    <a:pt x="300" y="0"/>
                  </a:cubicBezTo>
                  <a:cubicBezTo>
                    <a:pt x="302" y="0"/>
                    <a:pt x="304" y="2"/>
                    <a:pt x="304" y="4"/>
                  </a:cubicBezTo>
                  <a:cubicBezTo>
                    <a:pt x="306" y="22"/>
                    <a:pt x="300" y="40"/>
                    <a:pt x="279" y="41"/>
                  </a:cubicBezTo>
                  <a:close/>
                  <a:moveTo>
                    <a:pt x="10" y="9"/>
                  </a:moveTo>
                  <a:cubicBezTo>
                    <a:pt x="9" y="20"/>
                    <a:pt x="14" y="32"/>
                    <a:pt x="27" y="32"/>
                  </a:cubicBezTo>
                  <a:cubicBezTo>
                    <a:pt x="27" y="32"/>
                    <a:pt x="279" y="32"/>
                    <a:pt x="279" y="32"/>
                  </a:cubicBezTo>
                  <a:cubicBezTo>
                    <a:pt x="292" y="32"/>
                    <a:pt x="297" y="20"/>
                    <a:pt x="295" y="9"/>
                  </a:cubicBezTo>
                  <a:lnTo>
                    <a:pt x="10" y="9"/>
                  </a:lnTo>
                  <a:close/>
                </a:path>
              </a:pathLst>
            </a:custGeom>
            <a:solidFill>
              <a:srgbClr val="0C11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16" name="Freeform 59">
              <a:extLst>
                <a:ext uri="{FF2B5EF4-FFF2-40B4-BE49-F238E27FC236}">
                  <a16:creationId xmlns:a16="http://schemas.microsoft.com/office/drawing/2014/main" id="{9E4322C0-F3A1-42E9-819F-85D8879069CF}"/>
                </a:ext>
              </a:extLst>
            </p:cNvPr>
            <p:cNvSpPr>
              <a:spLocks/>
            </p:cNvSpPr>
            <p:nvPr/>
          </p:nvSpPr>
          <p:spPr bwMode="auto">
            <a:xfrm>
              <a:off x="5080001" y="2901951"/>
              <a:ext cx="1541463" cy="1063625"/>
            </a:xfrm>
            <a:custGeom>
              <a:avLst/>
              <a:gdLst>
                <a:gd name="T0" fmla="*/ 336 w 342"/>
                <a:gd name="T1" fmla="*/ 236 h 236"/>
                <a:gd name="T2" fmla="*/ 5 w 342"/>
                <a:gd name="T3" fmla="*/ 236 h 236"/>
                <a:gd name="T4" fmla="*/ 0 w 342"/>
                <a:gd name="T5" fmla="*/ 231 h 236"/>
                <a:gd name="T6" fmla="*/ 0 w 342"/>
                <a:gd name="T7" fmla="*/ 5 h 236"/>
                <a:gd name="T8" fmla="*/ 5 w 342"/>
                <a:gd name="T9" fmla="*/ 0 h 236"/>
                <a:gd name="T10" fmla="*/ 9 w 342"/>
                <a:gd name="T11" fmla="*/ 5 h 236"/>
                <a:gd name="T12" fmla="*/ 9 w 342"/>
                <a:gd name="T13" fmla="*/ 227 h 236"/>
                <a:gd name="T14" fmla="*/ 336 w 342"/>
                <a:gd name="T15" fmla="*/ 227 h 236"/>
                <a:gd name="T16" fmla="*/ 336 w 342"/>
                <a:gd name="T17" fmla="*/ 236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2" h="236">
                  <a:moveTo>
                    <a:pt x="336" y="236"/>
                  </a:moveTo>
                  <a:cubicBezTo>
                    <a:pt x="5" y="236"/>
                    <a:pt x="5" y="236"/>
                    <a:pt x="5" y="236"/>
                  </a:cubicBezTo>
                  <a:cubicBezTo>
                    <a:pt x="2" y="236"/>
                    <a:pt x="0" y="234"/>
                    <a:pt x="0" y="231"/>
                  </a:cubicBezTo>
                  <a:cubicBezTo>
                    <a:pt x="0" y="5"/>
                    <a:pt x="0" y="5"/>
                    <a:pt x="0" y="5"/>
                  </a:cubicBezTo>
                  <a:cubicBezTo>
                    <a:pt x="0" y="2"/>
                    <a:pt x="2" y="0"/>
                    <a:pt x="5" y="0"/>
                  </a:cubicBezTo>
                  <a:cubicBezTo>
                    <a:pt x="7" y="0"/>
                    <a:pt x="9" y="2"/>
                    <a:pt x="9" y="5"/>
                  </a:cubicBezTo>
                  <a:cubicBezTo>
                    <a:pt x="9" y="227"/>
                    <a:pt x="9" y="227"/>
                    <a:pt x="9" y="227"/>
                  </a:cubicBezTo>
                  <a:cubicBezTo>
                    <a:pt x="336" y="227"/>
                    <a:pt x="336" y="227"/>
                    <a:pt x="336" y="227"/>
                  </a:cubicBezTo>
                  <a:cubicBezTo>
                    <a:pt x="342" y="227"/>
                    <a:pt x="342" y="236"/>
                    <a:pt x="336" y="236"/>
                  </a:cubicBezTo>
                  <a:close/>
                </a:path>
              </a:pathLst>
            </a:custGeom>
            <a:solidFill>
              <a:srgbClr val="0C11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17" name="Freeform 60">
              <a:extLst>
                <a:ext uri="{FF2B5EF4-FFF2-40B4-BE49-F238E27FC236}">
                  <a16:creationId xmlns:a16="http://schemas.microsoft.com/office/drawing/2014/main" id="{2C518302-3F3D-492B-811B-F4FE602351FE}"/>
                </a:ext>
              </a:extLst>
            </p:cNvPr>
            <p:cNvSpPr>
              <a:spLocks/>
            </p:cNvSpPr>
            <p:nvPr/>
          </p:nvSpPr>
          <p:spPr bwMode="auto">
            <a:xfrm>
              <a:off x="4981576" y="3095626"/>
              <a:ext cx="144463" cy="41275"/>
            </a:xfrm>
            <a:custGeom>
              <a:avLst/>
              <a:gdLst>
                <a:gd name="T0" fmla="*/ 26 w 32"/>
                <a:gd name="T1" fmla="*/ 9 h 9"/>
                <a:gd name="T2" fmla="*/ 4 w 32"/>
                <a:gd name="T3" fmla="*/ 9 h 9"/>
                <a:gd name="T4" fmla="*/ 0 w 32"/>
                <a:gd name="T5" fmla="*/ 4 h 9"/>
                <a:gd name="T6" fmla="*/ 4 w 32"/>
                <a:gd name="T7" fmla="*/ 0 h 9"/>
                <a:gd name="T8" fmla="*/ 26 w 32"/>
                <a:gd name="T9" fmla="*/ 0 h 9"/>
                <a:gd name="T10" fmla="*/ 26 w 32"/>
                <a:gd name="T11" fmla="*/ 9 h 9"/>
              </a:gdLst>
              <a:ahLst/>
              <a:cxnLst>
                <a:cxn ang="0">
                  <a:pos x="T0" y="T1"/>
                </a:cxn>
                <a:cxn ang="0">
                  <a:pos x="T2" y="T3"/>
                </a:cxn>
                <a:cxn ang="0">
                  <a:pos x="T4" y="T5"/>
                </a:cxn>
                <a:cxn ang="0">
                  <a:pos x="T6" y="T7"/>
                </a:cxn>
                <a:cxn ang="0">
                  <a:pos x="T8" y="T9"/>
                </a:cxn>
                <a:cxn ang="0">
                  <a:pos x="T10" y="T11"/>
                </a:cxn>
              </a:cxnLst>
              <a:rect l="0" t="0" r="r" b="b"/>
              <a:pathLst>
                <a:path w="32" h="9">
                  <a:moveTo>
                    <a:pt x="26" y="9"/>
                  </a:moveTo>
                  <a:cubicBezTo>
                    <a:pt x="4" y="9"/>
                    <a:pt x="4" y="9"/>
                    <a:pt x="4" y="9"/>
                  </a:cubicBezTo>
                  <a:cubicBezTo>
                    <a:pt x="2" y="9"/>
                    <a:pt x="0" y="7"/>
                    <a:pt x="0" y="4"/>
                  </a:cubicBezTo>
                  <a:cubicBezTo>
                    <a:pt x="0" y="2"/>
                    <a:pt x="2" y="0"/>
                    <a:pt x="4" y="0"/>
                  </a:cubicBezTo>
                  <a:cubicBezTo>
                    <a:pt x="26" y="0"/>
                    <a:pt x="26" y="0"/>
                    <a:pt x="26" y="0"/>
                  </a:cubicBezTo>
                  <a:cubicBezTo>
                    <a:pt x="32" y="0"/>
                    <a:pt x="32" y="9"/>
                    <a:pt x="26" y="9"/>
                  </a:cubicBezTo>
                  <a:close/>
                </a:path>
              </a:pathLst>
            </a:custGeom>
            <a:solidFill>
              <a:srgbClr val="0C11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18" name="Freeform 61">
              <a:extLst>
                <a:ext uri="{FF2B5EF4-FFF2-40B4-BE49-F238E27FC236}">
                  <a16:creationId xmlns:a16="http://schemas.microsoft.com/office/drawing/2014/main" id="{83AAB179-6D32-4296-AF31-88828179E482}"/>
                </a:ext>
              </a:extLst>
            </p:cNvPr>
            <p:cNvSpPr>
              <a:spLocks/>
            </p:cNvSpPr>
            <p:nvPr/>
          </p:nvSpPr>
          <p:spPr bwMode="auto">
            <a:xfrm>
              <a:off x="4981576" y="3330576"/>
              <a:ext cx="144463" cy="39688"/>
            </a:xfrm>
            <a:custGeom>
              <a:avLst/>
              <a:gdLst>
                <a:gd name="T0" fmla="*/ 26 w 32"/>
                <a:gd name="T1" fmla="*/ 9 h 9"/>
                <a:gd name="T2" fmla="*/ 4 w 32"/>
                <a:gd name="T3" fmla="*/ 9 h 9"/>
                <a:gd name="T4" fmla="*/ 0 w 32"/>
                <a:gd name="T5" fmla="*/ 5 h 9"/>
                <a:gd name="T6" fmla="*/ 4 w 32"/>
                <a:gd name="T7" fmla="*/ 0 h 9"/>
                <a:gd name="T8" fmla="*/ 26 w 32"/>
                <a:gd name="T9" fmla="*/ 0 h 9"/>
                <a:gd name="T10" fmla="*/ 26 w 32"/>
                <a:gd name="T11" fmla="*/ 9 h 9"/>
              </a:gdLst>
              <a:ahLst/>
              <a:cxnLst>
                <a:cxn ang="0">
                  <a:pos x="T0" y="T1"/>
                </a:cxn>
                <a:cxn ang="0">
                  <a:pos x="T2" y="T3"/>
                </a:cxn>
                <a:cxn ang="0">
                  <a:pos x="T4" y="T5"/>
                </a:cxn>
                <a:cxn ang="0">
                  <a:pos x="T6" y="T7"/>
                </a:cxn>
                <a:cxn ang="0">
                  <a:pos x="T8" y="T9"/>
                </a:cxn>
                <a:cxn ang="0">
                  <a:pos x="T10" y="T11"/>
                </a:cxn>
              </a:cxnLst>
              <a:rect l="0" t="0" r="r" b="b"/>
              <a:pathLst>
                <a:path w="32" h="9">
                  <a:moveTo>
                    <a:pt x="26" y="9"/>
                  </a:moveTo>
                  <a:cubicBezTo>
                    <a:pt x="4" y="9"/>
                    <a:pt x="4" y="9"/>
                    <a:pt x="4" y="9"/>
                  </a:cubicBezTo>
                  <a:cubicBezTo>
                    <a:pt x="2" y="9"/>
                    <a:pt x="0" y="7"/>
                    <a:pt x="0" y="5"/>
                  </a:cubicBezTo>
                  <a:cubicBezTo>
                    <a:pt x="0" y="2"/>
                    <a:pt x="2" y="0"/>
                    <a:pt x="4" y="0"/>
                  </a:cubicBezTo>
                  <a:cubicBezTo>
                    <a:pt x="26" y="0"/>
                    <a:pt x="26" y="0"/>
                    <a:pt x="26" y="0"/>
                  </a:cubicBezTo>
                  <a:cubicBezTo>
                    <a:pt x="32" y="0"/>
                    <a:pt x="32" y="9"/>
                    <a:pt x="26" y="9"/>
                  </a:cubicBezTo>
                  <a:close/>
                </a:path>
              </a:pathLst>
            </a:custGeom>
            <a:solidFill>
              <a:srgbClr val="0C11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19" name="Freeform 62">
              <a:extLst>
                <a:ext uri="{FF2B5EF4-FFF2-40B4-BE49-F238E27FC236}">
                  <a16:creationId xmlns:a16="http://schemas.microsoft.com/office/drawing/2014/main" id="{1FB85E4D-0E4C-4703-9B09-099B83E79F51}"/>
                </a:ext>
              </a:extLst>
            </p:cNvPr>
            <p:cNvSpPr>
              <a:spLocks/>
            </p:cNvSpPr>
            <p:nvPr/>
          </p:nvSpPr>
          <p:spPr bwMode="auto">
            <a:xfrm>
              <a:off x="4981576" y="3568701"/>
              <a:ext cx="144463" cy="44450"/>
            </a:xfrm>
            <a:custGeom>
              <a:avLst/>
              <a:gdLst>
                <a:gd name="T0" fmla="*/ 26 w 32"/>
                <a:gd name="T1" fmla="*/ 10 h 10"/>
                <a:gd name="T2" fmla="*/ 4 w 32"/>
                <a:gd name="T3" fmla="*/ 10 h 10"/>
                <a:gd name="T4" fmla="*/ 0 w 32"/>
                <a:gd name="T5" fmla="*/ 5 h 10"/>
                <a:gd name="T6" fmla="*/ 4 w 32"/>
                <a:gd name="T7" fmla="*/ 1 h 10"/>
                <a:gd name="T8" fmla="*/ 26 w 32"/>
                <a:gd name="T9" fmla="*/ 1 h 10"/>
                <a:gd name="T10" fmla="*/ 26 w 32"/>
                <a:gd name="T11" fmla="*/ 10 h 10"/>
              </a:gdLst>
              <a:ahLst/>
              <a:cxnLst>
                <a:cxn ang="0">
                  <a:pos x="T0" y="T1"/>
                </a:cxn>
                <a:cxn ang="0">
                  <a:pos x="T2" y="T3"/>
                </a:cxn>
                <a:cxn ang="0">
                  <a:pos x="T4" y="T5"/>
                </a:cxn>
                <a:cxn ang="0">
                  <a:pos x="T6" y="T7"/>
                </a:cxn>
                <a:cxn ang="0">
                  <a:pos x="T8" y="T9"/>
                </a:cxn>
                <a:cxn ang="0">
                  <a:pos x="T10" y="T11"/>
                </a:cxn>
              </a:cxnLst>
              <a:rect l="0" t="0" r="r" b="b"/>
              <a:pathLst>
                <a:path w="32" h="10">
                  <a:moveTo>
                    <a:pt x="26" y="10"/>
                  </a:moveTo>
                  <a:cubicBezTo>
                    <a:pt x="4" y="10"/>
                    <a:pt x="4" y="10"/>
                    <a:pt x="4" y="10"/>
                  </a:cubicBezTo>
                  <a:cubicBezTo>
                    <a:pt x="2" y="10"/>
                    <a:pt x="0" y="8"/>
                    <a:pt x="0" y="5"/>
                  </a:cubicBezTo>
                  <a:cubicBezTo>
                    <a:pt x="0" y="3"/>
                    <a:pt x="2" y="1"/>
                    <a:pt x="4" y="1"/>
                  </a:cubicBezTo>
                  <a:cubicBezTo>
                    <a:pt x="26" y="1"/>
                    <a:pt x="26" y="1"/>
                    <a:pt x="26" y="1"/>
                  </a:cubicBezTo>
                  <a:cubicBezTo>
                    <a:pt x="32" y="0"/>
                    <a:pt x="32" y="10"/>
                    <a:pt x="26" y="10"/>
                  </a:cubicBezTo>
                  <a:close/>
                </a:path>
              </a:pathLst>
            </a:custGeom>
            <a:solidFill>
              <a:srgbClr val="0C11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20" name="Freeform 63">
              <a:extLst>
                <a:ext uri="{FF2B5EF4-FFF2-40B4-BE49-F238E27FC236}">
                  <a16:creationId xmlns:a16="http://schemas.microsoft.com/office/drawing/2014/main" id="{D580803E-29E0-468A-AE34-3109534BA2F8}"/>
                </a:ext>
              </a:extLst>
            </p:cNvPr>
            <p:cNvSpPr>
              <a:spLocks/>
            </p:cNvSpPr>
            <p:nvPr/>
          </p:nvSpPr>
          <p:spPr bwMode="auto">
            <a:xfrm>
              <a:off x="4981576" y="3816351"/>
              <a:ext cx="144463" cy="39688"/>
            </a:xfrm>
            <a:custGeom>
              <a:avLst/>
              <a:gdLst>
                <a:gd name="T0" fmla="*/ 26 w 32"/>
                <a:gd name="T1" fmla="*/ 9 h 9"/>
                <a:gd name="T2" fmla="*/ 4 w 32"/>
                <a:gd name="T3" fmla="*/ 9 h 9"/>
                <a:gd name="T4" fmla="*/ 0 w 32"/>
                <a:gd name="T5" fmla="*/ 4 h 9"/>
                <a:gd name="T6" fmla="*/ 4 w 32"/>
                <a:gd name="T7" fmla="*/ 0 h 9"/>
                <a:gd name="T8" fmla="*/ 26 w 32"/>
                <a:gd name="T9" fmla="*/ 0 h 9"/>
                <a:gd name="T10" fmla="*/ 26 w 32"/>
                <a:gd name="T11" fmla="*/ 9 h 9"/>
              </a:gdLst>
              <a:ahLst/>
              <a:cxnLst>
                <a:cxn ang="0">
                  <a:pos x="T0" y="T1"/>
                </a:cxn>
                <a:cxn ang="0">
                  <a:pos x="T2" y="T3"/>
                </a:cxn>
                <a:cxn ang="0">
                  <a:pos x="T4" y="T5"/>
                </a:cxn>
                <a:cxn ang="0">
                  <a:pos x="T6" y="T7"/>
                </a:cxn>
                <a:cxn ang="0">
                  <a:pos x="T8" y="T9"/>
                </a:cxn>
                <a:cxn ang="0">
                  <a:pos x="T10" y="T11"/>
                </a:cxn>
              </a:cxnLst>
              <a:rect l="0" t="0" r="r" b="b"/>
              <a:pathLst>
                <a:path w="32" h="9">
                  <a:moveTo>
                    <a:pt x="26" y="9"/>
                  </a:moveTo>
                  <a:cubicBezTo>
                    <a:pt x="4" y="9"/>
                    <a:pt x="4" y="9"/>
                    <a:pt x="4" y="9"/>
                  </a:cubicBezTo>
                  <a:cubicBezTo>
                    <a:pt x="2" y="9"/>
                    <a:pt x="0" y="7"/>
                    <a:pt x="0" y="4"/>
                  </a:cubicBezTo>
                  <a:cubicBezTo>
                    <a:pt x="0" y="2"/>
                    <a:pt x="2" y="0"/>
                    <a:pt x="4" y="0"/>
                  </a:cubicBezTo>
                  <a:cubicBezTo>
                    <a:pt x="26" y="0"/>
                    <a:pt x="26" y="0"/>
                    <a:pt x="26" y="0"/>
                  </a:cubicBezTo>
                  <a:cubicBezTo>
                    <a:pt x="32" y="0"/>
                    <a:pt x="32" y="9"/>
                    <a:pt x="26" y="9"/>
                  </a:cubicBezTo>
                  <a:close/>
                </a:path>
              </a:pathLst>
            </a:custGeom>
            <a:solidFill>
              <a:srgbClr val="0C11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21" name="Freeform 64">
              <a:extLst>
                <a:ext uri="{FF2B5EF4-FFF2-40B4-BE49-F238E27FC236}">
                  <a16:creationId xmlns:a16="http://schemas.microsoft.com/office/drawing/2014/main" id="{ED9250F2-7372-40CF-9A9C-E6AB20658FE0}"/>
                </a:ext>
              </a:extLst>
            </p:cNvPr>
            <p:cNvSpPr>
              <a:spLocks/>
            </p:cNvSpPr>
            <p:nvPr/>
          </p:nvSpPr>
          <p:spPr bwMode="auto">
            <a:xfrm>
              <a:off x="5300663" y="3348038"/>
              <a:ext cx="242888" cy="590550"/>
            </a:xfrm>
            <a:custGeom>
              <a:avLst/>
              <a:gdLst>
                <a:gd name="T0" fmla="*/ 44 w 54"/>
                <a:gd name="T1" fmla="*/ 0 h 131"/>
                <a:gd name="T2" fmla="*/ 11 w 54"/>
                <a:gd name="T3" fmla="*/ 0 h 131"/>
                <a:gd name="T4" fmla="*/ 0 w 54"/>
                <a:gd name="T5" fmla="*/ 10 h 131"/>
                <a:gd name="T6" fmla="*/ 0 w 54"/>
                <a:gd name="T7" fmla="*/ 131 h 131"/>
                <a:gd name="T8" fmla="*/ 54 w 54"/>
                <a:gd name="T9" fmla="*/ 131 h 131"/>
                <a:gd name="T10" fmla="*/ 54 w 54"/>
                <a:gd name="T11" fmla="*/ 10 h 131"/>
                <a:gd name="T12" fmla="*/ 44 w 54"/>
                <a:gd name="T13" fmla="*/ 0 h 131"/>
              </a:gdLst>
              <a:ahLst/>
              <a:cxnLst>
                <a:cxn ang="0">
                  <a:pos x="T0" y="T1"/>
                </a:cxn>
                <a:cxn ang="0">
                  <a:pos x="T2" y="T3"/>
                </a:cxn>
                <a:cxn ang="0">
                  <a:pos x="T4" y="T5"/>
                </a:cxn>
                <a:cxn ang="0">
                  <a:pos x="T6" y="T7"/>
                </a:cxn>
                <a:cxn ang="0">
                  <a:pos x="T8" y="T9"/>
                </a:cxn>
                <a:cxn ang="0">
                  <a:pos x="T10" y="T11"/>
                </a:cxn>
                <a:cxn ang="0">
                  <a:pos x="T12" y="T13"/>
                </a:cxn>
              </a:cxnLst>
              <a:rect l="0" t="0" r="r" b="b"/>
              <a:pathLst>
                <a:path w="54" h="131">
                  <a:moveTo>
                    <a:pt x="44" y="0"/>
                  </a:moveTo>
                  <a:cubicBezTo>
                    <a:pt x="11" y="0"/>
                    <a:pt x="11" y="0"/>
                    <a:pt x="11" y="0"/>
                  </a:cubicBezTo>
                  <a:cubicBezTo>
                    <a:pt x="5" y="0"/>
                    <a:pt x="0" y="4"/>
                    <a:pt x="0" y="10"/>
                  </a:cubicBezTo>
                  <a:cubicBezTo>
                    <a:pt x="0" y="131"/>
                    <a:pt x="0" y="131"/>
                    <a:pt x="0" y="131"/>
                  </a:cubicBezTo>
                  <a:cubicBezTo>
                    <a:pt x="54" y="131"/>
                    <a:pt x="54" y="131"/>
                    <a:pt x="54" y="131"/>
                  </a:cubicBezTo>
                  <a:cubicBezTo>
                    <a:pt x="54" y="10"/>
                    <a:pt x="54" y="10"/>
                    <a:pt x="54" y="10"/>
                  </a:cubicBezTo>
                  <a:cubicBezTo>
                    <a:pt x="54" y="4"/>
                    <a:pt x="50" y="0"/>
                    <a:pt x="44" y="0"/>
                  </a:cubicBezTo>
                  <a:close/>
                </a:path>
              </a:pathLst>
            </a:custGeom>
            <a:solidFill>
              <a:srgbClr val="62A9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22" name="Freeform 65">
              <a:extLst>
                <a:ext uri="{FF2B5EF4-FFF2-40B4-BE49-F238E27FC236}">
                  <a16:creationId xmlns:a16="http://schemas.microsoft.com/office/drawing/2014/main" id="{074B1C3B-5E47-4FF9-BF2B-51B2438744DC}"/>
                </a:ext>
              </a:extLst>
            </p:cNvPr>
            <p:cNvSpPr>
              <a:spLocks noEditPoints="1"/>
            </p:cNvSpPr>
            <p:nvPr/>
          </p:nvSpPr>
          <p:spPr bwMode="auto">
            <a:xfrm>
              <a:off x="5283201" y="3325813"/>
              <a:ext cx="284163" cy="635000"/>
            </a:xfrm>
            <a:custGeom>
              <a:avLst/>
              <a:gdLst>
                <a:gd name="T0" fmla="*/ 58 w 63"/>
                <a:gd name="T1" fmla="*/ 141 h 141"/>
                <a:gd name="T2" fmla="*/ 4 w 63"/>
                <a:gd name="T3" fmla="*/ 141 h 141"/>
                <a:gd name="T4" fmla="*/ 0 w 63"/>
                <a:gd name="T5" fmla="*/ 136 h 141"/>
                <a:gd name="T6" fmla="*/ 0 w 63"/>
                <a:gd name="T7" fmla="*/ 15 h 141"/>
                <a:gd name="T8" fmla="*/ 15 w 63"/>
                <a:gd name="T9" fmla="*/ 0 h 141"/>
                <a:gd name="T10" fmla="*/ 48 w 63"/>
                <a:gd name="T11" fmla="*/ 0 h 141"/>
                <a:gd name="T12" fmla="*/ 63 w 63"/>
                <a:gd name="T13" fmla="*/ 15 h 141"/>
                <a:gd name="T14" fmla="*/ 63 w 63"/>
                <a:gd name="T15" fmla="*/ 136 h 141"/>
                <a:gd name="T16" fmla="*/ 58 w 63"/>
                <a:gd name="T17" fmla="*/ 141 h 141"/>
                <a:gd name="T18" fmla="*/ 9 w 63"/>
                <a:gd name="T19" fmla="*/ 132 h 141"/>
                <a:gd name="T20" fmla="*/ 54 w 63"/>
                <a:gd name="T21" fmla="*/ 132 h 141"/>
                <a:gd name="T22" fmla="*/ 54 w 63"/>
                <a:gd name="T23" fmla="*/ 15 h 141"/>
                <a:gd name="T24" fmla="*/ 48 w 63"/>
                <a:gd name="T25" fmla="*/ 9 h 141"/>
                <a:gd name="T26" fmla="*/ 15 w 63"/>
                <a:gd name="T27" fmla="*/ 9 h 141"/>
                <a:gd name="T28" fmla="*/ 9 w 63"/>
                <a:gd name="T29" fmla="*/ 15 h 141"/>
                <a:gd name="T30" fmla="*/ 9 w 63"/>
                <a:gd name="T31" fmla="*/ 132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3" h="141">
                  <a:moveTo>
                    <a:pt x="58" y="141"/>
                  </a:moveTo>
                  <a:cubicBezTo>
                    <a:pt x="4" y="141"/>
                    <a:pt x="4" y="141"/>
                    <a:pt x="4" y="141"/>
                  </a:cubicBezTo>
                  <a:cubicBezTo>
                    <a:pt x="2" y="141"/>
                    <a:pt x="0" y="139"/>
                    <a:pt x="0" y="136"/>
                  </a:cubicBezTo>
                  <a:cubicBezTo>
                    <a:pt x="0" y="15"/>
                    <a:pt x="0" y="15"/>
                    <a:pt x="0" y="15"/>
                  </a:cubicBezTo>
                  <a:cubicBezTo>
                    <a:pt x="0" y="7"/>
                    <a:pt x="7" y="0"/>
                    <a:pt x="15" y="0"/>
                  </a:cubicBezTo>
                  <a:cubicBezTo>
                    <a:pt x="48" y="0"/>
                    <a:pt x="48" y="0"/>
                    <a:pt x="48" y="0"/>
                  </a:cubicBezTo>
                  <a:cubicBezTo>
                    <a:pt x="56" y="0"/>
                    <a:pt x="63" y="7"/>
                    <a:pt x="63" y="15"/>
                  </a:cubicBezTo>
                  <a:cubicBezTo>
                    <a:pt x="63" y="136"/>
                    <a:pt x="63" y="136"/>
                    <a:pt x="63" y="136"/>
                  </a:cubicBezTo>
                  <a:cubicBezTo>
                    <a:pt x="63" y="139"/>
                    <a:pt x="61" y="141"/>
                    <a:pt x="58" y="141"/>
                  </a:cubicBezTo>
                  <a:close/>
                  <a:moveTo>
                    <a:pt x="9" y="132"/>
                  </a:moveTo>
                  <a:cubicBezTo>
                    <a:pt x="54" y="132"/>
                    <a:pt x="54" y="132"/>
                    <a:pt x="54" y="132"/>
                  </a:cubicBezTo>
                  <a:cubicBezTo>
                    <a:pt x="54" y="15"/>
                    <a:pt x="54" y="15"/>
                    <a:pt x="54" y="15"/>
                  </a:cubicBezTo>
                  <a:cubicBezTo>
                    <a:pt x="54" y="12"/>
                    <a:pt x="51" y="9"/>
                    <a:pt x="48" y="9"/>
                  </a:cubicBezTo>
                  <a:cubicBezTo>
                    <a:pt x="15" y="9"/>
                    <a:pt x="15" y="9"/>
                    <a:pt x="15" y="9"/>
                  </a:cubicBezTo>
                  <a:cubicBezTo>
                    <a:pt x="11" y="9"/>
                    <a:pt x="9" y="12"/>
                    <a:pt x="9" y="15"/>
                  </a:cubicBezTo>
                  <a:lnTo>
                    <a:pt x="9" y="132"/>
                  </a:lnTo>
                  <a:close/>
                </a:path>
              </a:pathLst>
            </a:custGeom>
            <a:solidFill>
              <a:srgbClr val="0C11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23" name="Freeform 66">
              <a:extLst>
                <a:ext uri="{FF2B5EF4-FFF2-40B4-BE49-F238E27FC236}">
                  <a16:creationId xmlns:a16="http://schemas.microsoft.com/office/drawing/2014/main" id="{89A39290-65CF-4F80-B685-65FA0BB60968}"/>
                </a:ext>
              </a:extLst>
            </p:cNvPr>
            <p:cNvSpPr>
              <a:spLocks/>
            </p:cNvSpPr>
            <p:nvPr/>
          </p:nvSpPr>
          <p:spPr bwMode="auto">
            <a:xfrm>
              <a:off x="5553076" y="3573463"/>
              <a:ext cx="320675" cy="365125"/>
            </a:xfrm>
            <a:custGeom>
              <a:avLst/>
              <a:gdLst>
                <a:gd name="T0" fmla="*/ 60 w 71"/>
                <a:gd name="T1" fmla="*/ 5 h 81"/>
                <a:gd name="T2" fmla="*/ 17 w 71"/>
                <a:gd name="T3" fmla="*/ 81 h 81"/>
                <a:gd name="T4" fmla="*/ 71 w 71"/>
                <a:gd name="T5" fmla="*/ 81 h 81"/>
                <a:gd name="T6" fmla="*/ 71 w 71"/>
                <a:gd name="T7" fmla="*/ 15 h 81"/>
                <a:gd name="T8" fmla="*/ 60 w 71"/>
                <a:gd name="T9" fmla="*/ 5 h 81"/>
              </a:gdLst>
              <a:ahLst/>
              <a:cxnLst>
                <a:cxn ang="0">
                  <a:pos x="T0" y="T1"/>
                </a:cxn>
                <a:cxn ang="0">
                  <a:pos x="T2" y="T3"/>
                </a:cxn>
                <a:cxn ang="0">
                  <a:pos x="T4" y="T5"/>
                </a:cxn>
                <a:cxn ang="0">
                  <a:pos x="T6" y="T7"/>
                </a:cxn>
                <a:cxn ang="0">
                  <a:pos x="T8" y="T9"/>
                </a:cxn>
              </a:cxnLst>
              <a:rect l="0" t="0" r="r" b="b"/>
              <a:pathLst>
                <a:path w="71" h="81">
                  <a:moveTo>
                    <a:pt x="60" y="5"/>
                  </a:moveTo>
                  <a:cubicBezTo>
                    <a:pt x="0" y="4"/>
                    <a:pt x="20" y="0"/>
                    <a:pt x="17" y="81"/>
                  </a:cubicBezTo>
                  <a:cubicBezTo>
                    <a:pt x="71" y="81"/>
                    <a:pt x="71" y="81"/>
                    <a:pt x="71" y="81"/>
                  </a:cubicBezTo>
                  <a:cubicBezTo>
                    <a:pt x="71" y="15"/>
                    <a:pt x="71" y="15"/>
                    <a:pt x="71" y="15"/>
                  </a:cubicBezTo>
                  <a:cubicBezTo>
                    <a:pt x="71" y="10"/>
                    <a:pt x="66" y="5"/>
                    <a:pt x="60" y="5"/>
                  </a:cubicBezTo>
                  <a:close/>
                </a:path>
              </a:pathLst>
            </a:custGeom>
            <a:solidFill>
              <a:srgbClr val="E661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24" name="Freeform 67">
              <a:extLst>
                <a:ext uri="{FF2B5EF4-FFF2-40B4-BE49-F238E27FC236}">
                  <a16:creationId xmlns:a16="http://schemas.microsoft.com/office/drawing/2014/main" id="{3B9D734B-258C-4A0E-BF07-DF8754F30750}"/>
                </a:ext>
              </a:extLst>
            </p:cNvPr>
            <p:cNvSpPr>
              <a:spLocks noEditPoints="1"/>
            </p:cNvSpPr>
            <p:nvPr/>
          </p:nvSpPr>
          <p:spPr bwMode="auto">
            <a:xfrm>
              <a:off x="5607051" y="3573463"/>
              <a:ext cx="315913" cy="387350"/>
            </a:xfrm>
            <a:custGeom>
              <a:avLst/>
              <a:gdLst>
                <a:gd name="T0" fmla="*/ 59 w 70"/>
                <a:gd name="T1" fmla="*/ 86 h 86"/>
                <a:gd name="T2" fmla="*/ 5 w 70"/>
                <a:gd name="T3" fmla="*/ 86 h 86"/>
                <a:gd name="T4" fmla="*/ 0 w 70"/>
                <a:gd name="T5" fmla="*/ 81 h 86"/>
                <a:gd name="T6" fmla="*/ 0 w 70"/>
                <a:gd name="T7" fmla="*/ 15 h 86"/>
                <a:gd name="T8" fmla="*/ 15 w 70"/>
                <a:gd name="T9" fmla="*/ 1 h 86"/>
                <a:gd name="T10" fmla="*/ 48 w 70"/>
                <a:gd name="T11" fmla="*/ 1 h 86"/>
                <a:gd name="T12" fmla="*/ 63 w 70"/>
                <a:gd name="T13" fmla="*/ 15 h 86"/>
                <a:gd name="T14" fmla="*/ 63 w 70"/>
                <a:gd name="T15" fmla="*/ 81 h 86"/>
                <a:gd name="T16" fmla="*/ 59 w 70"/>
                <a:gd name="T17" fmla="*/ 86 h 86"/>
                <a:gd name="T18" fmla="*/ 9 w 70"/>
                <a:gd name="T19" fmla="*/ 77 h 86"/>
                <a:gd name="T20" fmla="*/ 54 w 70"/>
                <a:gd name="T21" fmla="*/ 77 h 86"/>
                <a:gd name="T22" fmla="*/ 15 w 70"/>
                <a:gd name="T23" fmla="*/ 10 h 86"/>
                <a:gd name="T24" fmla="*/ 9 w 70"/>
                <a:gd name="T25" fmla="*/ 15 h 86"/>
                <a:gd name="T26" fmla="*/ 9 w 70"/>
                <a:gd name="T27" fmla="*/ 77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86">
                  <a:moveTo>
                    <a:pt x="59" y="86"/>
                  </a:moveTo>
                  <a:cubicBezTo>
                    <a:pt x="5" y="86"/>
                    <a:pt x="5" y="86"/>
                    <a:pt x="5" y="86"/>
                  </a:cubicBezTo>
                  <a:cubicBezTo>
                    <a:pt x="2" y="86"/>
                    <a:pt x="0" y="84"/>
                    <a:pt x="0" y="81"/>
                  </a:cubicBezTo>
                  <a:cubicBezTo>
                    <a:pt x="0" y="15"/>
                    <a:pt x="0" y="15"/>
                    <a:pt x="0" y="15"/>
                  </a:cubicBezTo>
                  <a:cubicBezTo>
                    <a:pt x="0" y="7"/>
                    <a:pt x="7" y="1"/>
                    <a:pt x="15" y="1"/>
                  </a:cubicBezTo>
                  <a:cubicBezTo>
                    <a:pt x="48" y="1"/>
                    <a:pt x="48" y="1"/>
                    <a:pt x="48" y="1"/>
                  </a:cubicBezTo>
                  <a:cubicBezTo>
                    <a:pt x="57" y="1"/>
                    <a:pt x="63" y="7"/>
                    <a:pt x="63" y="15"/>
                  </a:cubicBezTo>
                  <a:cubicBezTo>
                    <a:pt x="63" y="81"/>
                    <a:pt x="63" y="81"/>
                    <a:pt x="63" y="81"/>
                  </a:cubicBezTo>
                  <a:cubicBezTo>
                    <a:pt x="63" y="84"/>
                    <a:pt x="61" y="86"/>
                    <a:pt x="59" y="86"/>
                  </a:cubicBezTo>
                  <a:close/>
                  <a:moveTo>
                    <a:pt x="9" y="77"/>
                  </a:moveTo>
                  <a:cubicBezTo>
                    <a:pt x="54" y="77"/>
                    <a:pt x="54" y="77"/>
                    <a:pt x="54" y="77"/>
                  </a:cubicBezTo>
                  <a:cubicBezTo>
                    <a:pt x="51" y="0"/>
                    <a:pt x="70" y="10"/>
                    <a:pt x="15" y="10"/>
                  </a:cubicBezTo>
                  <a:cubicBezTo>
                    <a:pt x="12" y="10"/>
                    <a:pt x="9" y="12"/>
                    <a:pt x="9" y="15"/>
                  </a:cubicBezTo>
                  <a:lnTo>
                    <a:pt x="9" y="77"/>
                  </a:lnTo>
                  <a:close/>
                </a:path>
              </a:pathLst>
            </a:custGeom>
            <a:solidFill>
              <a:srgbClr val="0C11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25" name="Freeform 68">
              <a:extLst>
                <a:ext uri="{FF2B5EF4-FFF2-40B4-BE49-F238E27FC236}">
                  <a16:creationId xmlns:a16="http://schemas.microsoft.com/office/drawing/2014/main" id="{2C486735-096D-4C87-8DDD-4F8F694FDC9D}"/>
                </a:ext>
              </a:extLst>
            </p:cNvPr>
            <p:cNvSpPr>
              <a:spLocks/>
            </p:cNvSpPr>
            <p:nvPr/>
          </p:nvSpPr>
          <p:spPr bwMode="auto">
            <a:xfrm>
              <a:off x="5949951" y="3441701"/>
              <a:ext cx="242888" cy="496888"/>
            </a:xfrm>
            <a:custGeom>
              <a:avLst/>
              <a:gdLst>
                <a:gd name="T0" fmla="*/ 44 w 54"/>
                <a:gd name="T1" fmla="*/ 0 h 110"/>
                <a:gd name="T2" fmla="*/ 11 w 54"/>
                <a:gd name="T3" fmla="*/ 0 h 110"/>
                <a:gd name="T4" fmla="*/ 0 w 54"/>
                <a:gd name="T5" fmla="*/ 10 h 110"/>
                <a:gd name="T6" fmla="*/ 0 w 54"/>
                <a:gd name="T7" fmla="*/ 110 h 110"/>
                <a:gd name="T8" fmla="*/ 54 w 54"/>
                <a:gd name="T9" fmla="*/ 110 h 110"/>
                <a:gd name="T10" fmla="*/ 54 w 54"/>
                <a:gd name="T11" fmla="*/ 10 h 110"/>
                <a:gd name="T12" fmla="*/ 44 w 54"/>
                <a:gd name="T13" fmla="*/ 0 h 110"/>
              </a:gdLst>
              <a:ahLst/>
              <a:cxnLst>
                <a:cxn ang="0">
                  <a:pos x="T0" y="T1"/>
                </a:cxn>
                <a:cxn ang="0">
                  <a:pos x="T2" y="T3"/>
                </a:cxn>
                <a:cxn ang="0">
                  <a:pos x="T4" y="T5"/>
                </a:cxn>
                <a:cxn ang="0">
                  <a:pos x="T6" y="T7"/>
                </a:cxn>
                <a:cxn ang="0">
                  <a:pos x="T8" y="T9"/>
                </a:cxn>
                <a:cxn ang="0">
                  <a:pos x="T10" y="T11"/>
                </a:cxn>
                <a:cxn ang="0">
                  <a:pos x="T12" y="T13"/>
                </a:cxn>
              </a:cxnLst>
              <a:rect l="0" t="0" r="r" b="b"/>
              <a:pathLst>
                <a:path w="54" h="110">
                  <a:moveTo>
                    <a:pt x="44" y="0"/>
                  </a:moveTo>
                  <a:cubicBezTo>
                    <a:pt x="11" y="0"/>
                    <a:pt x="11" y="0"/>
                    <a:pt x="11" y="0"/>
                  </a:cubicBezTo>
                  <a:cubicBezTo>
                    <a:pt x="5" y="0"/>
                    <a:pt x="0" y="4"/>
                    <a:pt x="0" y="10"/>
                  </a:cubicBezTo>
                  <a:cubicBezTo>
                    <a:pt x="0" y="110"/>
                    <a:pt x="0" y="110"/>
                    <a:pt x="0" y="110"/>
                  </a:cubicBezTo>
                  <a:cubicBezTo>
                    <a:pt x="54" y="110"/>
                    <a:pt x="54" y="110"/>
                    <a:pt x="54" y="110"/>
                  </a:cubicBezTo>
                  <a:cubicBezTo>
                    <a:pt x="54" y="10"/>
                    <a:pt x="54" y="10"/>
                    <a:pt x="54" y="10"/>
                  </a:cubicBezTo>
                  <a:cubicBezTo>
                    <a:pt x="54" y="4"/>
                    <a:pt x="50" y="0"/>
                    <a:pt x="44" y="0"/>
                  </a:cubicBezTo>
                  <a:close/>
                </a:path>
              </a:pathLst>
            </a:custGeom>
            <a:solidFill>
              <a:srgbClr val="F9D12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26" name="Freeform 69">
              <a:extLst>
                <a:ext uri="{FF2B5EF4-FFF2-40B4-BE49-F238E27FC236}">
                  <a16:creationId xmlns:a16="http://schemas.microsoft.com/office/drawing/2014/main" id="{96275061-F7B0-437C-A1C1-1B48B704785E}"/>
                </a:ext>
              </a:extLst>
            </p:cNvPr>
            <p:cNvSpPr>
              <a:spLocks noEditPoints="1"/>
            </p:cNvSpPr>
            <p:nvPr/>
          </p:nvSpPr>
          <p:spPr bwMode="auto">
            <a:xfrm>
              <a:off x="5930901" y="3419476"/>
              <a:ext cx="284163" cy="541338"/>
            </a:xfrm>
            <a:custGeom>
              <a:avLst/>
              <a:gdLst>
                <a:gd name="T0" fmla="*/ 58 w 63"/>
                <a:gd name="T1" fmla="*/ 120 h 120"/>
                <a:gd name="T2" fmla="*/ 4 w 63"/>
                <a:gd name="T3" fmla="*/ 120 h 120"/>
                <a:gd name="T4" fmla="*/ 0 w 63"/>
                <a:gd name="T5" fmla="*/ 115 h 120"/>
                <a:gd name="T6" fmla="*/ 0 w 63"/>
                <a:gd name="T7" fmla="*/ 15 h 120"/>
                <a:gd name="T8" fmla="*/ 15 w 63"/>
                <a:gd name="T9" fmla="*/ 0 h 120"/>
                <a:gd name="T10" fmla="*/ 48 w 63"/>
                <a:gd name="T11" fmla="*/ 0 h 120"/>
                <a:gd name="T12" fmla="*/ 63 w 63"/>
                <a:gd name="T13" fmla="*/ 15 h 120"/>
                <a:gd name="T14" fmla="*/ 63 w 63"/>
                <a:gd name="T15" fmla="*/ 115 h 120"/>
                <a:gd name="T16" fmla="*/ 58 w 63"/>
                <a:gd name="T17" fmla="*/ 120 h 120"/>
                <a:gd name="T18" fmla="*/ 9 w 63"/>
                <a:gd name="T19" fmla="*/ 111 h 120"/>
                <a:gd name="T20" fmla="*/ 54 w 63"/>
                <a:gd name="T21" fmla="*/ 111 h 120"/>
                <a:gd name="T22" fmla="*/ 54 w 63"/>
                <a:gd name="T23" fmla="*/ 15 h 120"/>
                <a:gd name="T24" fmla="*/ 48 w 63"/>
                <a:gd name="T25" fmla="*/ 9 h 120"/>
                <a:gd name="T26" fmla="*/ 15 w 63"/>
                <a:gd name="T27" fmla="*/ 9 h 120"/>
                <a:gd name="T28" fmla="*/ 9 w 63"/>
                <a:gd name="T29" fmla="*/ 15 h 120"/>
                <a:gd name="T30" fmla="*/ 9 w 63"/>
                <a:gd name="T31" fmla="*/ 111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3" h="120">
                  <a:moveTo>
                    <a:pt x="58" y="120"/>
                  </a:moveTo>
                  <a:cubicBezTo>
                    <a:pt x="4" y="120"/>
                    <a:pt x="4" y="120"/>
                    <a:pt x="4" y="120"/>
                  </a:cubicBezTo>
                  <a:cubicBezTo>
                    <a:pt x="2" y="120"/>
                    <a:pt x="0" y="118"/>
                    <a:pt x="0" y="115"/>
                  </a:cubicBezTo>
                  <a:cubicBezTo>
                    <a:pt x="0" y="15"/>
                    <a:pt x="0" y="15"/>
                    <a:pt x="0" y="15"/>
                  </a:cubicBezTo>
                  <a:cubicBezTo>
                    <a:pt x="0" y="7"/>
                    <a:pt x="7" y="0"/>
                    <a:pt x="15" y="0"/>
                  </a:cubicBezTo>
                  <a:cubicBezTo>
                    <a:pt x="48" y="0"/>
                    <a:pt x="48" y="0"/>
                    <a:pt x="48" y="0"/>
                  </a:cubicBezTo>
                  <a:cubicBezTo>
                    <a:pt x="56" y="0"/>
                    <a:pt x="63" y="7"/>
                    <a:pt x="63" y="15"/>
                  </a:cubicBezTo>
                  <a:cubicBezTo>
                    <a:pt x="63" y="115"/>
                    <a:pt x="63" y="115"/>
                    <a:pt x="63" y="115"/>
                  </a:cubicBezTo>
                  <a:cubicBezTo>
                    <a:pt x="63" y="118"/>
                    <a:pt x="61" y="120"/>
                    <a:pt x="58" y="120"/>
                  </a:cubicBezTo>
                  <a:close/>
                  <a:moveTo>
                    <a:pt x="9" y="111"/>
                  </a:moveTo>
                  <a:cubicBezTo>
                    <a:pt x="54" y="111"/>
                    <a:pt x="54" y="111"/>
                    <a:pt x="54" y="111"/>
                  </a:cubicBezTo>
                  <a:cubicBezTo>
                    <a:pt x="54" y="15"/>
                    <a:pt x="54" y="15"/>
                    <a:pt x="54" y="15"/>
                  </a:cubicBezTo>
                  <a:cubicBezTo>
                    <a:pt x="54" y="12"/>
                    <a:pt x="51" y="9"/>
                    <a:pt x="48" y="9"/>
                  </a:cubicBezTo>
                  <a:cubicBezTo>
                    <a:pt x="15" y="9"/>
                    <a:pt x="15" y="9"/>
                    <a:pt x="15" y="9"/>
                  </a:cubicBezTo>
                  <a:cubicBezTo>
                    <a:pt x="11" y="9"/>
                    <a:pt x="9" y="12"/>
                    <a:pt x="9" y="15"/>
                  </a:cubicBezTo>
                  <a:lnTo>
                    <a:pt x="9" y="111"/>
                  </a:lnTo>
                  <a:close/>
                </a:path>
              </a:pathLst>
            </a:custGeom>
            <a:solidFill>
              <a:srgbClr val="0C11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27" name="Freeform 70">
              <a:extLst>
                <a:ext uri="{FF2B5EF4-FFF2-40B4-BE49-F238E27FC236}">
                  <a16:creationId xmlns:a16="http://schemas.microsoft.com/office/drawing/2014/main" id="{25DB71AD-76B3-406C-A0ED-61F38E66B24A}"/>
                </a:ext>
              </a:extLst>
            </p:cNvPr>
            <p:cNvSpPr>
              <a:spLocks/>
            </p:cNvSpPr>
            <p:nvPr/>
          </p:nvSpPr>
          <p:spPr bwMode="auto">
            <a:xfrm>
              <a:off x="6273801" y="3068638"/>
              <a:ext cx="242888" cy="869950"/>
            </a:xfrm>
            <a:custGeom>
              <a:avLst/>
              <a:gdLst>
                <a:gd name="T0" fmla="*/ 44 w 54"/>
                <a:gd name="T1" fmla="*/ 0 h 193"/>
                <a:gd name="T2" fmla="*/ 10 w 54"/>
                <a:gd name="T3" fmla="*/ 0 h 193"/>
                <a:gd name="T4" fmla="*/ 0 w 54"/>
                <a:gd name="T5" fmla="*/ 10 h 193"/>
                <a:gd name="T6" fmla="*/ 0 w 54"/>
                <a:gd name="T7" fmla="*/ 193 h 193"/>
                <a:gd name="T8" fmla="*/ 54 w 54"/>
                <a:gd name="T9" fmla="*/ 193 h 193"/>
                <a:gd name="T10" fmla="*/ 54 w 54"/>
                <a:gd name="T11" fmla="*/ 10 h 193"/>
                <a:gd name="T12" fmla="*/ 44 w 54"/>
                <a:gd name="T13" fmla="*/ 0 h 193"/>
              </a:gdLst>
              <a:ahLst/>
              <a:cxnLst>
                <a:cxn ang="0">
                  <a:pos x="T0" y="T1"/>
                </a:cxn>
                <a:cxn ang="0">
                  <a:pos x="T2" y="T3"/>
                </a:cxn>
                <a:cxn ang="0">
                  <a:pos x="T4" y="T5"/>
                </a:cxn>
                <a:cxn ang="0">
                  <a:pos x="T6" y="T7"/>
                </a:cxn>
                <a:cxn ang="0">
                  <a:pos x="T8" y="T9"/>
                </a:cxn>
                <a:cxn ang="0">
                  <a:pos x="T10" y="T11"/>
                </a:cxn>
                <a:cxn ang="0">
                  <a:pos x="T12" y="T13"/>
                </a:cxn>
              </a:cxnLst>
              <a:rect l="0" t="0" r="r" b="b"/>
              <a:pathLst>
                <a:path w="54" h="193">
                  <a:moveTo>
                    <a:pt x="44" y="0"/>
                  </a:moveTo>
                  <a:cubicBezTo>
                    <a:pt x="10" y="0"/>
                    <a:pt x="10" y="0"/>
                    <a:pt x="10" y="0"/>
                  </a:cubicBezTo>
                  <a:cubicBezTo>
                    <a:pt x="5" y="0"/>
                    <a:pt x="0" y="4"/>
                    <a:pt x="0" y="10"/>
                  </a:cubicBezTo>
                  <a:cubicBezTo>
                    <a:pt x="0" y="193"/>
                    <a:pt x="0" y="193"/>
                    <a:pt x="0" y="193"/>
                  </a:cubicBezTo>
                  <a:cubicBezTo>
                    <a:pt x="54" y="193"/>
                    <a:pt x="54" y="193"/>
                    <a:pt x="54" y="193"/>
                  </a:cubicBezTo>
                  <a:cubicBezTo>
                    <a:pt x="54" y="10"/>
                    <a:pt x="54" y="10"/>
                    <a:pt x="54" y="10"/>
                  </a:cubicBezTo>
                  <a:cubicBezTo>
                    <a:pt x="54" y="4"/>
                    <a:pt x="50" y="0"/>
                    <a:pt x="44" y="0"/>
                  </a:cubicBezTo>
                  <a:close/>
                </a:path>
              </a:pathLst>
            </a:custGeom>
            <a:solidFill>
              <a:srgbClr val="E661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28" name="Freeform 71">
              <a:extLst>
                <a:ext uri="{FF2B5EF4-FFF2-40B4-BE49-F238E27FC236}">
                  <a16:creationId xmlns:a16="http://schemas.microsoft.com/office/drawing/2014/main" id="{FCC10423-A8FC-4BC6-B343-8FCDD7D4C12C}"/>
                </a:ext>
              </a:extLst>
            </p:cNvPr>
            <p:cNvSpPr>
              <a:spLocks noEditPoints="1"/>
            </p:cNvSpPr>
            <p:nvPr/>
          </p:nvSpPr>
          <p:spPr bwMode="auto">
            <a:xfrm>
              <a:off x="6256338" y="3046413"/>
              <a:ext cx="282575" cy="914400"/>
            </a:xfrm>
            <a:custGeom>
              <a:avLst/>
              <a:gdLst>
                <a:gd name="T0" fmla="*/ 58 w 63"/>
                <a:gd name="T1" fmla="*/ 203 h 203"/>
                <a:gd name="T2" fmla="*/ 4 w 63"/>
                <a:gd name="T3" fmla="*/ 203 h 203"/>
                <a:gd name="T4" fmla="*/ 0 w 63"/>
                <a:gd name="T5" fmla="*/ 198 h 203"/>
                <a:gd name="T6" fmla="*/ 0 w 63"/>
                <a:gd name="T7" fmla="*/ 15 h 203"/>
                <a:gd name="T8" fmla="*/ 14 w 63"/>
                <a:gd name="T9" fmla="*/ 0 h 203"/>
                <a:gd name="T10" fmla="*/ 48 w 63"/>
                <a:gd name="T11" fmla="*/ 0 h 203"/>
                <a:gd name="T12" fmla="*/ 63 w 63"/>
                <a:gd name="T13" fmla="*/ 15 h 203"/>
                <a:gd name="T14" fmla="*/ 63 w 63"/>
                <a:gd name="T15" fmla="*/ 198 h 203"/>
                <a:gd name="T16" fmla="*/ 58 w 63"/>
                <a:gd name="T17" fmla="*/ 203 h 203"/>
                <a:gd name="T18" fmla="*/ 9 w 63"/>
                <a:gd name="T19" fmla="*/ 194 h 203"/>
                <a:gd name="T20" fmla="*/ 54 w 63"/>
                <a:gd name="T21" fmla="*/ 194 h 203"/>
                <a:gd name="T22" fmla="*/ 54 w 63"/>
                <a:gd name="T23" fmla="*/ 15 h 203"/>
                <a:gd name="T24" fmla="*/ 48 w 63"/>
                <a:gd name="T25" fmla="*/ 9 h 203"/>
                <a:gd name="T26" fmla="*/ 14 w 63"/>
                <a:gd name="T27" fmla="*/ 9 h 203"/>
                <a:gd name="T28" fmla="*/ 9 w 63"/>
                <a:gd name="T29" fmla="*/ 15 h 203"/>
                <a:gd name="T30" fmla="*/ 9 w 63"/>
                <a:gd name="T31" fmla="*/ 194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3" h="203">
                  <a:moveTo>
                    <a:pt x="58" y="203"/>
                  </a:moveTo>
                  <a:cubicBezTo>
                    <a:pt x="4" y="203"/>
                    <a:pt x="4" y="203"/>
                    <a:pt x="4" y="203"/>
                  </a:cubicBezTo>
                  <a:cubicBezTo>
                    <a:pt x="2" y="203"/>
                    <a:pt x="0" y="201"/>
                    <a:pt x="0" y="198"/>
                  </a:cubicBezTo>
                  <a:cubicBezTo>
                    <a:pt x="0" y="15"/>
                    <a:pt x="0" y="15"/>
                    <a:pt x="0" y="15"/>
                  </a:cubicBezTo>
                  <a:cubicBezTo>
                    <a:pt x="0" y="7"/>
                    <a:pt x="6" y="0"/>
                    <a:pt x="14" y="0"/>
                  </a:cubicBezTo>
                  <a:cubicBezTo>
                    <a:pt x="48" y="0"/>
                    <a:pt x="48" y="0"/>
                    <a:pt x="48" y="0"/>
                  </a:cubicBezTo>
                  <a:cubicBezTo>
                    <a:pt x="56" y="0"/>
                    <a:pt x="63" y="7"/>
                    <a:pt x="63" y="15"/>
                  </a:cubicBezTo>
                  <a:cubicBezTo>
                    <a:pt x="63" y="198"/>
                    <a:pt x="63" y="198"/>
                    <a:pt x="63" y="198"/>
                  </a:cubicBezTo>
                  <a:cubicBezTo>
                    <a:pt x="63" y="201"/>
                    <a:pt x="61" y="203"/>
                    <a:pt x="58" y="203"/>
                  </a:cubicBezTo>
                  <a:close/>
                  <a:moveTo>
                    <a:pt x="9" y="194"/>
                  </a:moveTo>
                  <a:cubicBezTo>
                    <a:pt x="54" y="194"/>
                    <a:pt x="54" y="194"/>
                    <a:pt x="54" y="194"/>
                  </a:cubicBezTo>
                  <a:cubicBezTo>
                    <a:pt x="54" y="15"/>
                    <a:pt x="54" y="15"/>
                    <a:pt x="54" y="15"/>
                  </a:cubicBezTo>
                  <a:cubicBezTo>
                    <a:pt x="54" y="12"/>
                    <a:pt x="51" y="9"/>
                    <a:pt x="48" y="9"/>
                  </a:cubicBezTo>
                  <a:cubicBezTo>
                    <a:pt x="14" y="9"/>
                    <a:pt x="14" y="9"/>
                    <a:pt x="14" y="9"/>
                  </a:cubicBezTo>
                  <a:cubicBezTo>
                    <a:pt x="11" y="9"/>
                    <a:pt x="9" y="12"/>
                    <a:pt x="9" y="15"/>
                  </a:cubicBezTo>
                  <a:lnTo>
                    <a:pt x="9" y="194"/>
                  </a:lnTo>
                  <a:close/>
                </a:path>
              </a:pathLst>
            </a:custGeom>
            <a:solidFill>
              <a:srgbClr val="0C11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29" name="Freeform 72">
              <a:extLst>
                <a:ext uri="{FF2B5EF4-FFF2-40B4-BE49-F238E27FC236}">
                  <a16:creationId xmlns:a16="http://schemas.microsoft.com/office/drawing/2014/main" id="{C797FC93-9187-4AA1-9297-F7D9CB335A23}"/>
                </a:ext>
              </a:extLst>
            </p:cNvPr>
            <p:cNvSpPr>
              <a:spLocks noEditPoints="1"/>
            </p:cNvSpPr>
            <p:nvPr/>
          </p:nvSpPr>
          <p:spPr bwMode="auto">
            <a:xfrm>
              <a:off x="5170488" y="2740026"/>
              <a:ext cx="1179513" cy="652463"/>
            </a:xfrm>
            <a:custGeom>
              <a:avLst/>
              <a:gdLst>
                <a:gd name="T0" fmla="*/ 128 w 262"/>
                <a:gd name="T1" fmla="*/ 145 h 145"/>
                <a:gd name="T2" fmla="*/ 125 w 262"/>
                <a:gd name="T3" fmla="*/ 144 h 145"/>
                <a:gd name="T4" fmla="*/ 66 w 262"/>
                <a:gd name="T5" fmla="*/ 82 h 145"/>
                <a:gd name="T6" fmla="*/ 6 w 262"/>
                <a:gd name="T7" fmla="*/ 113 h 145"/>
                <a:gd name="T8" fmla="*/ 0 w 262"/>
                <a:gd name="T9" fmla="*/ 110 h 145"/>
                <a:gd name="T10" fmla="*/ 3 w 262"/>
                <a:gd name="T11" fmla="*/ 105 h 145"/>
                <a:gd name="T12" fmla="*/ 65 w 262"/>
                <a:gd name="T13" fmla="*/ 72 h 145"/>
                <a:gd name="T14" fmla="*/ 129 w 262"/>
                <a:gd name="T15" fmla="*/ 135 h 145"/>
                <a:gd name="T16" fmla="*/ 199 w 262"/>
                <a:gd name="T17" fmla="*/ 98 h 145"/>
                <a:gd name="T18" fmla="*/ 247 w 262"/>
                <a:gd name="T19" fmla="*/ 14 h 145"/>
                <a:gd name="T20" fmla="*/ 234 w 262"/>
                <a:gd name="T21" fmla="*/ 19 h 145"/>
                <a:gd name="T22" fmla="*/ 228 w 262"/>
                <a:gd name="T23" fmla="*/ 17 h 145"/>
                <a:gd name="T24" fmla="*/ 231 w 262"/>
                <a:gd name="T25" fmla="*/ 11 h 145"/>
                <a:gd name="T26" fmla="*/ 255 w 262"/>
                <a:gd name="T27" fmla="*/ 1 h 145"/>
                <a:gd name="T28" fmla="*/ 260 w 262"/>
                <a:gd name="T29" fmla="*/ 2 h 145"/>
                <a:gd name="T30" fmla="*/ 261 w 262"/>
                <a:gd name="T31" fmla="*/ 7 h 145"/>
                <a:gd name="T32" fmla="*/ 207 w 262"/>
                <a:gd name="T33" fmla="*/ 103 h 145"/>
                <a:gd name="T34" fmla="*/ 205 w 262"/>
                <a:gd name="T35" fmla="*/ 105 h 145"/>
                <a:gd name="T36" fmla="*/ 131 w 262"/>
                <a:gd name="T37" fmla="*/ 145 h 145"/>
                <a:gd name="T38" fmla="*/ 128 w 262"/>
                <a:gd name="T39" fmla="*/ 145 h 145"/>
                <a:gd name="T40" fmla="*/ 3 w 262"/>
                <a:gd name="T41" fmla="*/ 105 h 145"/>
                <a:gd name="T42" fmla="*/ 3 w 262"/>
                <a:gd name="T43" fmla="*/ 105 h 145"/>
                <a:gd name="T44" fmla="*/ 3 w 262"/>
                <a:gd name="T45" fmla="*/ 105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62" h="145">
                  <a:moveTo>
                    <a:pt x="128" y="145"/>
                  </a:moveTo>
                  <a:cubicBezTo>
                    <a:pt x="127" y="145"/>
                    <a:pt x="126" y="145"/>
                    <a:pt x="125" y="144"/>
                  </a:cubicBezTo>
                  <a:cubicBezTo>
                    <a:pt x="66" y="82"/>
                    <a:pt x="66" y="82"/>
                    <a:pt x="66" y="82"/>
                  </a:cubicBezTo>
                  <a:cubicBezTo>
                    <a:pt x="47" y="92"/>
                    <a:pt x="9" y="112"/>
                    <a:pt x="6" y="113"/>
                  </a:cubicBezTo>
                  <a:cubicBezTo>
                    <a:pt x="4" y="114"/>
                    <a:pt x="1" y="113"/>
                    <a:pt x="0" y="110"/>
                  </a:cubicBezTo>
                  <a:cubicBezTo>
                    <a:pt x="0" y="108"/>
                    <a:pt x="1" y="105"/>
                    <a:pt x="3" y="105"/>
                  </a:cubicBezTo>
                  <a:cubicBezTo>
                    <a:pt x="6" y="103"/>
                    <a:pt x="43" y="84"/>
                    <a:pt x="65" y="72"/>
                  </a:cubicBezTo>
                  <a:cubicBezTo>
                    <a:pt x="68" y="65"/>
                    <a:pt x="127" y="135"/>
                    <a:pt x="129" y="135"/>
                  </a:cubicBezTo>
                  <a:cubicBezTo>
                    <a:pt x="199" y="98"/>
                    <a:pt x="199" y="98"/>
                    <a:pt x="199" y="98"/>
                  </a:cubicBezTo>
                  <a:cubicBezTo>
                    <a:pt x="247" y="14"/>
                    <a:pt x="247" y="14"/>
                    <a:pt x="247" y="14"/>
                  </a:cubicBezTo>
                  <a:cubicBezTo>
                    <a:pt x="234" y="19"/>
                    <a:pt x="234" y="19"/>
                    <a:pt x="234" y="19"/>
                  </a:cubicBezTo>
                  <a:cubicBezTo>
                    <a:pt x="232" y="20"/>
                    <a:pt x="229" y="19"/>
                    <a:pt x="228" y="17"/>
                  </a:cubicBezTo>
                  <a:cubicBezTo>
                    <a:pt x="227" y="14"/>
                    <a:pt x="228" y="12"/>
                    <a:pt x="231" y="11"/>
                  </a:cubicBezTo>
                  <a:cubicBezTo>
                    <a:pt x="255" y="1"/>
                    <a:pt x="255" y="1"/>
                    <a:pt x="255" y="1"/>
                  </a:cubicBezTo>
                  <a:cubicBezTo>
                    <a:pt x="257" y="0"/>
                    <a:pt x="259" y="1"/>
                    <a:pt x="260" y="2"/>
                  </a:cubicBezTo>
                  <a:cubicBezTo>
                    <a:pt x="262" y="3"/>
                    <a:pt x="262" y="6"/>
                    <a:pt x="261" y="7"/>
                  </a:cubicBezTo>
                  <a:cubicBezTo>
                    <a:pt x="207" y="103"/>
                    <a:pt x="207" y="103"/>
                    <a:pt x="207" y="103"/>
                  </a:cubicBezTo>
                  <a:cubicBezTo>
                    <a:pt x="206" y="104"/>
                    <a:pt x="205" y="105"/>
                    <a:pt x="205" y="105"/>
                  </a:cubicBezTo>
                  <a:cubicBezTo>
                    <a:pt x="131" y="145"/>
                    <a:pt x="131" y="145"/>
                    <a:pt x="131" y="145"/>
                  </a:cubicBezTo>
                  <a:cubicBezTo>
                    <a:pt x="130" y="145"/>
                    <a:pt x="129" y="145"/>
                    <a:pt x="128" y="145"/>
                  </a:cubicBezTo>
                  <a:close/>
                  <a:moveTo>
                    <a:pt x="3" y="105"/>
                  </a:moveTo>
                  <a:cubicBezTo>
                    <a:pt x="3" y="105"/>
                    <a:pt x="3" y="105"/>
                    <a:pt x="3" y="105"/>
                  </a:cubicBezTo>
                  <a:cubicBezTo>
                    <a:pt x="3" y="105"/>
                    <a:pt x="3" y="105"/>
                    <a:pt x="3" y="105"/>
                  </a:cubicBezTo>
                  <a:close/>
                </a:path>
              </a:pathLst>
            </a:custGeom>
            <a:solidFill>
              <a:srgbClr val="0C11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30" name="Freeform 73">
              <a:extLst>
                <a:ext uri="{FF2B5EF4-FFF2-40B4-BE49-F238E27FC236}">
                  <a16:creationId xmlns:a16="http://schemas.microsoft.com/office/drawing/2014/main" id="{6FA11802-920A-4466-A7BA-4D51C5439076}"/>
                </a:ext>
              </a:extLst>
            </p:cNvPr>
            <p:cNvSpPr>
              <a:spLocks/>
            </p:cNvSpPr>
            <p:nvPr/>
          </p:nvSpPr>
          <p:spPr bwMode="auto">
            <a:xfrm>
              <a:off x="6305551" y="2730501"/>
              <a:ext cx="68263" cy="176213"/>
            </a:xfrm>
            <a:custGeom>
              <a:avLst/>
              <a:gdLst>
                <a:gd name="T0" fmla="*/ 10 w 15"/>
                <a:gd name="T1" fmla="*/ 39 h 39"/>
                <a:gd name="T2" fmla="*/ 6 w 15"/>
                <a:gd name="T3" fmla="*/ 35 h 39"/>
                <a:gd name="T4" fmla="*/ 1 w 15"/>
                <a:gd name="T5" fmla="*/ 8 h 39"/>
                <a:gd name="T6" fmla="*/ 9 w 15"/>
                <a:gd name="T7" fmla="*/ 6 h 39"/>
                <a:gd name="T8" fmla="*/ 14 w 15"/>
                <a:gd name="T9" fmla="*/ 34 h 39"/>
                <a:gd name="T10" fmla="*/ 10 w 15"/>
                <a:gd name="T11" fmla="*/ 39 h 39"/>
              </a:gdLst>
              <a:ahLst/>
              <a:cxnLst>
                <a:cxn ang="0">
                  <a:pos x="T0" y="T1"/>
                </a:cxn>
                <a:cxn ang="0">
                  <a:pos x="T2" y="T3"/>
                </a:cxn>
                <a:cxn ang="0">
                  <a:pos x="T4" y="T5"/>
                </a:cxn>
                <a:cxn ang="0">
                  <a:pos x="T6" y="T7"/>
                </a:cxn>
                <a:cxn ang="0">
                  <a:pos x="T8" y="T9"/>
                </a:cxn>
                <a:cxn ang="0">
                  <a:pos x="T10" y="T11"/>
                </a:cxn>
              </a:cxnLst>
              <a:rect l="0" t="0" r="r" b="b"/>
              <a:pathLst>
                <a:path w="15" h="39">
                  <a:moveTo>
                    <a:pt x="10" y="39"/>
                  </a:moveTo>
                  <a:cubicBezTo>
                    <a:pt x="8" y="39"/>
                    <a:pt x="6" y="38"/>
                    <a:pt x="6" y="35"/>
                  </a:cubicBezTo>
                  <a:cubicBezTo>
                    <a:pt x="1" y="8"/>
                    <a:pt x="1" y="8"/>
                    <a:pt x="1" y="8"/>
                  </a:cubicBezTo>
                  <a:cubicBezTo>
                    <a:pt x="0" y="2"/>
                    <a:pt x="9" y="0"/>
                    <a:pt x="9" y="6"/>
                  </a:cubicBezTo>
                  <a:cubicBezTo>
                    <a:pt x="9" y="6"/>
                    <a:pt x="14" y="34"/>
                    <a:pt x="14" y="34"/>
                  </a:cubicBezTo>
                  <a:cubicBezTo>
                    <a:pt x="15" y="37"/>
                    <a:pt x="13" y="39"/>
                    <a:pt x="10" y="39"/>
                  </a:cubicBezTo>
                  <a:close/>
                </a:path>
              </a:pathLst>
            </a:custGeom>
            <a:solidFill>
              <a:srgbClr val="0C11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31" name="Freeform 74">
              <a:extLst>
                <a:ext uri="{FF2B5EF4-FFF2-40B4-BE49-F238E27FC236}">
                  <a16:creationId xmlns:a16="http://schemas.microsoft.com/office/drawing/2014/main" id="{3BB46A3B-A127-4B97-AC01-2ECE3804AC2E}"/>
                </a:ext>
              </a:extLst>
            </p:cNvPr>
            <p:cNvSpPr>
              <a:spLocks/>
            </p:cNvSpPr>
            <p:nvPr/>
          </p:nvSpPr>
          <p:spPr bwMode="auto">
            <a:xfrm>
              <a:off x="5418138" y="3014663"/>
              <a:ext cx="112713" cy="149225"/>
            </a:xfrm>
            <a:custGeom>
              <a:avLst/>
              <a:gdLst>
                <a:gd name="T0" fmla="*/ 25 w 25"/>
                <a:gd name="T1" fmla="*/ 16 h 33"/>
                <a:gd name="T2" fmla="*/ 0 w 25"/>
                <a:gd name="T3" fmla="*/ 16 h 33"/>
                <a:gd name="T4" fmla="*/ 25 w 25"/>
                <a:gd name="T5" fmla="*/ 16 h 33"/>
              </a:gdLst>
              <a:ahLst/>
              <a:cxnLst>
                <a:cxn ang="0">
                  <a:pos x="T0" y="T1"/>
                </a:cxn>
                <a:cxn ang="0">
                  <a:pos x="T2" y="T3"/>
                </a:cxn>
                <a:cxn ang="0">
                  <a:pos x="T4" y="T5"/>
                </a:cxn>
              </a:cxnLst>
              <a:rect l="0" t="0" r="r" b="b"/>
              <a:pathLst>
                <a:path w="25" h="33">
                  <a:moveTo>
                    <a:pt x="25" y="16"/>
                  </a:moveTo>
                  <a:cubicBezTo>
                    <a:pt x="24" y="33"/>
                    <a:pt x="0" y="33"/>
                    <a:pt x="0" y="16"/>
                  </a:cubicBezTo>
                  <a:cubicBezTo>
                    <a:pt x="0" y="0"/>
                    <a:pt x="24" y="0"/>
                    <a:pt x="25" y="16"/>
                  </a:cubicBezTo>
                  <a:close/>
                </a:path>
              </a:pathLst>
            </a:custGeom>
            <a:solidFill>
              <a:srgbClr val="0C11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32" name="Freeform 75">
              <a:extLst>
                <a:ext uri="{FF2B5EF4-FFF2-40B4-BE49-F238E27FC236}">
                  <a16:creationId xmlns:a16="http://schemas.microsoft.com/office/drawing/2014/main" id="{CBAFD088-F17C-49FA-830C-1A24022ED93D}"/>
                </a:ext>
              </a:extLst>
            </p:cNvPr>
            <p:cNvSpPr>
              <a:spLocks/>
            </p:cNvSpPr>
            <p:nvPr/>
          </p:nvSpPr>
          <p:spPr bwMode="auto">
            <a:xfrm>
              <a:off x="5702301" y="3298826"/>
              <a:ext cx="112713" cy="147638"/>
            </a:xfrm>
            <a:custGeom>
              <a:avLst/>
              <a:gdLst>
                <a:gd name="T0" fmla="*/ 25 w 25"/>
                <a:gd name="T1" fmla="*/ 17 h 33"/>
                <a:gd name="T2" fmla="*/ 0 w 25"/>
                <a:gd name="T3" fmla="*/ 17 h 33"/>
                <a:gd name="T4" fmla="*/ 25 w 25"/>
                <a:gd name="T5" fmla="*/ 17 h 33"/>
              </a:gdLst>
              <a:ahLst/>
              <a:cxnLst>
                <a:cxn ang="0">
                  <a:pos x="T0" y="T1"/>
                </a:cxn>
                <a:cxn ang="0">
                  <a:pos x="T2" y="T3"/>
                </a:cxn>
                <a:cxn ang="0">
                  <a:pos x="T4" y="T5"/>
                </a:cxn>
              </a:cxnLst>
              <a:rect l="0" t="0" r="r" b="b"/>
              <a:pathLst>
                <a:path w="25" h="33">
                  <a:moveTo>
                    <a:pt x="25" y="17"/>
                  </a:moveTo>
                  <a:cubicBezTo>
                    <a:pt x="25" y="33"/>
                    <a:pt x="0" y="33"/>
                    <a:pt x="0" y="17"/>
                  </a:cubicBezTo>
                  <a:cubicBezTo>
                    <a:pt x="0" y="0"/>
                    <a:pt x="25" y="0"/>
                    <a:pt x="25" y="17"/>
                  </a:cubicBezTo>
                  <a:close/>
                </a:path>
              </a:pathLst>
            </a:custGeom>
            <a:solidFill>
              <a:srgbClr val="0C11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33" name="Freeform 76">
              <a:extLst>
                <a:ext uri="{FF2B5EF4-FFF2-40B4-BE49-F238E27FC236}">
                  <a16:creationId xmlns:a16="http://schemas.microsoft.com/office/drawing/2014/main" id="{FCC0D581-98D3-4629-990C-87DB80A1111F}"/>
                </a:ext>
              </a:extLst>
            </p:cNvPr>
            <p:cNvSpPr>
              <a:spLocks/>
            </p:cNvSpPr>
            <p:nvPr/>
          </p:nvSpPr>
          <p:spPr bwMode="auto">
            <a:xfrm>
              <a:off x="6008688" y="3132138"/>
              <a:ext cx="112713" cy="142875"/>
            </a:xfrm>
            <a:custGeom>
              <a:avLst/>
              <a:gdLst>
                <a:gd name="T0" fmla="*/ 25 w 25"/>
                <a:gd name="T1" fmla="*/ 16 h 32"/>
                <a:gd name="T2" fmla="*/ 0 w 25"/>
                <a:gd name="T3" fmla="*/ 16 h 32"/>
                <a:gd name="T4" fmla="*/ 25 w 25"/>
                <a:gd name="T5" fmla="*/ 16 h 32"/>
              </a:gdLst>
              <a:ahLst/>
              <a:cxnLst>
                <a:cxn ang="0">
                  <a:pos x="T0" y="T1"/>
                </a:cxn>
                <a:cxn ang="0">
                  <a:pos x="T2" y="T3"/>
                </a:cxn>
                <a:cxn ang="0">
                  <a:pos x="T4" y="T5"/>
                </a:cxn>
              </a:cxnLst>
              <a:rect l="0" t="0" r="r" b="b"/>
              <a:pathLst>
                <a:path w="25" h="32">
                  <a:moveTo>
                    <a:pt x="25" y="16"/>
                  </a:moveTo>
                  <a:cubicBezTo>
                    <a:pt x="25" y="32"/>
                    <a:pt x="0" y="32"/>
                    <a:pt x="0" y="16"/>
                  </a:cubicBezTo>
                  <a:cubicBezTo>
                    <a:pt x="0" y="0"/>
                    <a:pt x="25" y="0"/>
                    <a:pt x="25" y="16"/>
                  </a:cubicBezTo>
                  <a:close/>
                </a:path>
              </a:pathLst>
            </a:custGeom>
            <a:solidFill>
              <a:srgbClr val="0C11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34" name="Freeform 77">
              <a:extLst>
                <a:ext uri="{FF2B5EF4-FFF2-40B4-BE49-F238E27FC236}">
                  <a16:creationId xmlns:a16="http://schemas.microsoft.com/office/drawing/2014/main" id="{053BE2E3-6F47-40E9-99B6-8AAC19CDC7A9}"/>
                </a:ext>
              </a:extLst>
            </p:cNvPr>
            <p:cNvSpPr>
              <a:spLocks/>
            </p:cNvSpPr>
            <p:nvPr/>
          </p:nvSpPr>
          <p:spPr bwMode="auto">
            <a:xfrm>
              <a:off x="6719888" y="3225801"/>
              <a:ext cx="603250" cy="522288"/>
            </a:xfrm>
            <a:custGeom>
              <a:avLst/>
              <a:gdLst>
                <a:gd name="T0" fmla="*/ 134 w 134"/>
                <a:gd name="T1" fmla="*/ 58 h 116"/>
                <a:gd name="T2" fmla="*/ 76 w 134"/>
                <a:gd name="T3" fmla="*/ 116 h 116"/>
                <a:gd name="T4" fmla="*/ 76 w 134"/>
                <a:gd name="T5" fmla="*/ 0 h 116"/>
                <a:gd name="T6" fmla="*/ 76 w 134"/>
                <a:gd name="T7" fmla="*/ 58 h 116"/>
                <a:gd name="T8" fmla="*/ 134 w 134"/>
                <a:gd name="T9" fmla="*/ 58 h 116"/>
              </a:gdLst>
              <a:ahLst/>
              <a:cxnLst>
                <a:cxn ang="0">
                  <a:pos x="T0" y="T1"/>
                </a:cxn>
                <a:cxn ang="0">
                  <a:pos x="T2" y="T3"/>
                </a:cxn>
                <a:cxn ang="0">
                  <a:pos x="T4" y="T5"/>
                </a:cxn>
                <a:cxn ang="0">
                  <a:pos x="T6" y="T7"/>
                </a:cxn>
                <a:cxn ang="0">
                  <a:pos x="T8" y="T9"/>
                </a:cxn>
              </a:cxnLst>
              <a:rect l="0" t="0" r="r" b="b"/>
              <a:pathLst>
                <a:path w="134" h="116">
                  <a:moveTo>
                    <a:pt x="134" y="58"/>
                  </a:moveTo>
                  <a:cubicBezTo>
                    <a:pt x="134" y="90"/>
                    <a:pt x="108" y="116"/>
                    <a:pt x="76" y="116"/>
                  </a:cubicBezTo>
                  <a:cubicBezTo>
                    <a:pt x="0" y="115"/>
                    <a:pt x="0" y="2"/>
                    <a:pt x="76" y="0"/>
                  </a:cubicBezTo>
                  <a:cubicBezTo>
                    <a:pt x="76" y="58"/>
                    <a:pt x="76" y="58"/>
                    <a:pt x="76" y="58"/>
                  </a:cubicBezTo>
                  <a:lnTo>
                    <a:pt x="134" y="58"/>
                  </a:lnTo>
                  <a:close/>
                </a:path>
              </a:pathLst>
            </a:custGeom>
            <a:solidFill>
              <a:srgbClr val="E86F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35" name="Freeform 78">
              <a:extLst>
                <a:ext uri="{FF2B5EF4-FFF2-40B4-BE49-F238E27FC236}">
                  <a16:creationId xmlns:a16="http://schemas.microsoft.com/office/drawing/2014/main" id="{7BA8BD7A-C4E6-4C38-BA37-82D030FCEF0F}"/>
                </a:ext>
              </a:extLst>
            </p:cNvPr>
            <p:cNvSpPr>
              <a:spLocks/>
            </p:cNvSpPr>
            <p:nvPr/>
          </p:nvSpPr>
          <p:spPr bwMode="auto">
            <a:xfrm>
              <a:off x="6989763" y="3487738"/>
              <a:ext cx="338138" cy="301625"/>
            </a:xfrm>
            <a:custGeom>
              <a:avLst/>
              <a:gdLst>
                <a:gd name="T0" fmla="*/ 51 w 75"/>
                <a:gd name="T1" fmla="*/ 0 h 67"/>
                <a:gd name="T2" fmla="*/ 0 w 75"/>
                <a:gd name="T3" fmla="*/ 56 h 67"/>
                <a:gd name="T4" fmla="*/ 74 w 75"/>
                <a:gd name="T5" fmla="*/ 0 h 67"/>
                <a:gd name="T6" fmla="*/ 51 w 75"/>
                <a:gd name="T7" fmla="*/ 0 h 67"/>
              </a:gdLst>
              <a:ahLst/>
              <a:cxnLst>
                <a:cxn ang="0">
                  <a:pos x="T0" y="T1"/>
                </a:cxn>
                <a:cxn ang="0">
                  <a:pos x="T2" y="T3"/>
                </a:cxn>
                <a:cxn ang="0">
                  <a:pos x="T4" y="T5"/>
                </a:cxn>
                <a:cxn ang="0">
                  <a:pos x="T6" y="T7"/>
                </a:cxn>
              </a:cxnLst>
              <a:rect l="0" t="0" r="r" b="b"/>
              <a:pathLst>
                <a:path w="75" h="67">
                  <a:moveTo>
                    <a:pt x="51" y="0"/>
                  </a:moveTo>
                  <a:cubicBezTo>
                    <a:pt x="41" y="25"/>
                    <a:pt x="25" y="48"/>
                    <a:pt x="0" y="56"/>
                  </a:cubicBezTo>
                  <a:cubicBezTo>
                    <a:pt x="36" y="67"/>
                    <a:pt x="75" y="38"/>
                    <a:pt x="74" y="0"/>
                  </a:cubicBezTo>
                  <a:lnTo>
                    <a:pt x="51" y="0"/>
                  </a:lnTo>
                  <a:close/>
                </a:path>
              </a:pathLst>
            </a:custGeom>
            <a:solidFill>
              <a:srgbClr val="E34B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36" name="Freeform 79">
              <a:extLst>
                <a:ext uri="{FF2B5EF4-FFF2-40B4-BE49-F238E27FC236}">
                  <a16:creationId xmlns:a16="http://schemas.microsoft.com/office/drawing/2014/main" id="{71B80137-9A5D-4822-8FD7-7529D3ACCE82}"/>
                </a:ext>
              </a:extLst>
            </p:cNvPr>
            <p:cNvSpPr>
              <a:spLocks noEditPoints="1"/>
            </p:cNvSpPr>
            <p:nvPr/>
          </p:nvSpPr>
          <p:spPr bwMode="auto">
            <a:xfrm>
              <a:off x="6692901" y="3208338"/>
              <a:ext cx="649288" cy="598488"/>
            </a:xfrm>
            <a:custGeom>
              <a:avLst/>
              <a:gdLst>
                <a:gd name="T0" fmla="*/ 82 w 144"/>
                <a:gd name="T1" fmla="*/ 125 h 133"/>
                <a:gd name="T2" fmla="*/ 82 w 144"/>
                <a:gd name="T3" fmla="*/ 0 h 133"/>
                <a:gd name="T4" fmla="*/ 87 w 144"/>
                <a:gd name="T5" fmla="*/ 4 h 133"/>
                <a:gd name="T6" fmla="*/ 87 w 144"/>
                <a:gd name="T7" fmla="*/ 58 h 133"/>
                <a:gd name="T8" fmla="*/ 140 w 144"/>
                <a:gd name="T9" fmla="*/ 58 h 133"/>
                <a:gd name="T10" fmla="*/ 144 w 144"/>
                <a:gd name="T11" fmla="*/ 62 h 133"/>
                <a:gd name="T12" fmla="*/ 82 w 144"/>
                <a:gd name="T13" fmla="*/ 125 h 133"/>
                <a:gd name="T14" fmla="*/ 78 w 144"/>
                <a:gd name="T15" fmla="*/ 9 h 133"/>
                <a:gd name="T16" fmla="*/ 29 w 144"/>
                <a:gd name="T17" fmla="*/ 62 h 133"/>
                <a:gd name="T18" fmla="*/ 135 w 144"/>
                <a:gd name="T19" fmla="*/ 67 h 133"/>
                <a:gd name="T20" fmla="*/ 78 w 144"/>
                <a:gd name="T21" fmla="*/ 9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4" h="133">
                  <a:moveTo>
                    <a:pt x="82" y="125"/>
                  </a:moveTo>
                  <a:cubicBezTo>
                    <a:pt x="0" y="123"/>
                    <a:pt x="0" y="1"/>
                    <a:pt x="82" y="0"/>
                  </a:cubicBezTo>
                  <a:cubicBezTo>
                    <a:pt x="85" y="0"/>
                    <a:pt x="87" y="2"/>
                    <a:pt x="87" y="4"/>
                  </a:cubicBezTo>
                  <a:cubicBezTo>
                    <a:pt x="87" y="58"/>
                    <a:pt x="87" y="58"/>
                    <a:pt x="87" y="58"/>
                  </a:cubicBezTo>
                  <a:cubicBezTo>
                    <a:pt x="140" y="58"/>
                    <a:pt x="140" y="58"/>
                    <a:pt x="140" y="58"/>
                  </a:cubicBezTo>
                  <a:cubicBezTo>
                    <a:pt x="142" y="58"/>
                    <a:pt x="144" y="60"/>
                    <a:pt x="144" y="62"/>
                  </a:cubicBezTo>
                  <a:cubicBezTo>
                    <a:pt x="144" y="97"/>
                    <a:pt x="116" y="125"/>
                    <a:pt x="82" y="125"/>
                  </a:cubicBezTo>
                  <a:close/>
                  <a:moveTo>
                    <a:pt x="78" y="9"/>
                  </a:moveTo>
                  <a:cubicBezTo>
                    <a:pt x="50" y="11"/>
                    <a:pt x="29" y="34"/>
                    <a:pt x="29" y="62"/>
                  </a:cubicBezTo>
                  <a:cubicBezTo>
                    <a:pt x="29" y="129"/>
                    <a:pt x="130" y="133"/>
                    <a:pt x="135" y="67"/>
                  </a:cubicBezTo>
                  <a:cubicBezTo>
                    <a:pt x="60" y="64"/>
                    <a:pt x="80" y="84"/>
                    <a:pt x="78" y="9"/>
                  </a:cubicBezTo>
                  <a:close/>
                </a:path>
              </a:pathLst>
            </a:custGeom>
            <a:solidFill>
              <a:srgbClr val="0C11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37" name="Freeform 80">
              <a:extLst>
                <a:ext uri="{FF2B5EF4-FFF2-40B4-BE49-F238E27FC236}">
                  <a16:creationId xmlns:a16="http://schemas.microsoft.com/office/drawing/2014/main" id="{E1B27A53-C15E-40C8-9718-786FE65B60CA}"/>
                </a:ext>
              </a:extLst>
            </p:cNvPr>
            <p:cNvSpPr>
              <a:spLocks/>
            </p:cNvSpPr>
            <p:nvPr/>
          </p:nvSpPr>
          <p:spPr bwMode="auto">
            <a:xfrm>
              <a:off x="7156451" y="3136901"/>
              <a:ext cx="261938" cy="260350"/>
            </a:xfrm>
            <a:custGeom>
              <a:avLst/>
              <a:gdLst>
                <a:gd name="T0" fmla="*/ 0 w 58"/>
                <a:gd name="T1" fmla="*/ 0 h 58"/>
                <a:gd name="T2" fmla="*/ 58 w 58"/>
                <a:gd name="T3" fmla="*/ 58 h 58"/>
                <a:gd name="T4" fmla="*/ 0 w 58"/>
                <a:gd name="T5" fmla="*/ 57 h 58"/>
                <a:gd name="T6" fmla="*/ 0 w 58"/>
                <a:gd name="T7" fmla="*/ 0 h 58"/>
              </a:gdLst>
              <a:ahLst/>
              <a:cxnLst>
                <a:cxn ang="0">
                  <a:pos x="T0" y="T1"/>
                </a:cxn>
                <a:cxn ang="0">
                  <a:pos x="T2" y="T3"/>
                </a:cxn>
                <a:cxn ang="0">
                  <a:pos x="T4" y="T5"/>
                </a:cxn>
                <a:cxn ang="0">
                  <a:pos x="T6" y="T7"/>
                </a:cxn>
              </a:cxnLst>
              <a:rect l="0" t="0" r="r" b="b"/>
              <a:pathLst>
                <a:path w="58" h="58">
                  <a:moveTo>
                    <a:pt x="0" y="0"/>
                  </a:moveTo>
                  <a:cubicBezTo>
                    <a:pt x="32" y="0"/>
                    <a:pt x="58" y="26"/>
                    <a:pt x="58" y="58"/>
                  </a:cubicBezTo>
                  <a:cubicBezTo>
                    <a:pt x="0" y="57"/>
                    <a:pt x="0" y="57"/>
                    <a:pt x="0" y="57"/>
                  </a:cubicBezTo>
                  <a:lnTo>
                    <a:pt x="0" y="0"/>
                  </a:lnTo>
                  <a:close/>
                </a:path>
              </a:pathLst>
            </a:custGeom>
            <a:solidFill>
              <a:srgbClr val="F9D12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38" name="Freeform 81">
              <a:extLst>
                <a:ext uri="{FF2B5EF4-FFF2-40B4-BE49-F238E27FC236}">
                  <a16:creationId xmlns:a16="http://schemas.microsoft.com/office/drawing/2014/main" id="{3457FC37-E215-4A5B-BDFB-1D23EC300249}"/>
                </a:ext>
              </a:extLst>
            </p:cNvPr>
            <p:cNvSpPr>
              <a:spLocks/>
            </p:cNvSpPr>
            <p:nvPr/>
          </p:nvSpPr>
          <p:spPr bwMode="auto">
            <a:xfrm>
              <a:off x="7232651" y="3190876"/>
              <a:ext cx="185738" cy="206375"/>
            </a:xfrm>
            <a:custGeom>
              <a:avLst/>
              <a:gdLst>
                <a:gd name="T0" fmla="*/ 18 w 41"/>
                <a:gd name="T1" fmla="*/ 0 h 46"/>
                <a:gd name="T2" fmla="*/ 0 w 41"/>
                <a:gd name="T3" fmla="*/ 45 h 46"/>
                <a:gd name="T4" fmla="*/ 41 w 41"/>
                <a:gd name="T5" fmla="*/ 46 h 46"/>
                <a:gd name="T6" fmla="*/ 18 w 41"/>
                <a:gd name="T7" fmla="*/ 0 h 46"/>
              </a:gdLst>
              <a:ahLst/>
              <a:cxnLst>
                <a:cxn ang="0">
                  <a:pos x="T0" y="T1"/>
                </a:cxn>
                <a:cxn ang="0">
                  <a:pos x="T2" y="T3"/>
                </a:cxn>
                <a:cxn ang="0">
                  <a:pos x="T4" y="T5"/>
                </a:cxn>
                <a:cxn ang="0">
                  <a:pos x="T6" y="T7"/>
                </a:cxn>
              </a:cxnLst>
              <a:rect l="0" t="0" r="r" b="b"/>
              <a:pathLst>
                <a:path w="41" h="46">
                  <a:moveTo>
                    <a:pt x="18" y="0"/>
                  </a:moveTo>
                  <a:cubicBezTo>
                    <a:pt x="14" y="15"/>
                    <a:pt x="8" y="31"/>
                    <a:pt x="0" y="45"/>
                  </a:cubicBezTo>
                  <a:cubicBezTo>
                    <a:pt x="41" y="46"/>
                    <a:pt x="41" y="46"/>
                    <a:pt x="41" y="46"/>
                  </a:cubicBezTo>
                  <a:cubicBezTo>
                    <a:pt x="41" y="27"/>
                    <a:pt x="32" y="10"/>
                    <a:pt x="18" y="0"/>
                  </a:cubicBezTo>
                  <a:close/>
                </a:path>
              </a:pathLst>
            </a:custGeom>
            <a:solidFill>
              <a:srgbClr val="F4BD0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39" name="Freeform 82">
              <a:extLst>
                <a:ext uri="{FF2B5EF4-FFF2-40B4-BE49-F238E27FC236}">
                  <a16:creationId xmlns:a16="http://schemas.microsoft.com/office/drawing/2014/main" id="{639E605B-0A3A-4AEA-BCCD-10AC5560DB11}"/>
                </a:ext>
              </a:extLst>
            </p:cNvPr>
            <p:cNvSpPr>
              <a:spLocks noEditPoints="1"/>
            </p:cNvSpPr>
            <p:nvPr/>
          </p:nvSpPr>
          <p:spPr bwMode="auto">
            <a:xfrm>
              <a:off x="7053263" y="3117851"/>
              <a:ext cx="382588" cy="382588"/>
            </a:xfrm>
            <a:custGeom>
              <a:avLst/>
              <a:gdLst>
                <a:gd name="T0" fmla="*/ 81 w 85"/>
                <a:gd name="T1" fmla="*/ 66 h 85"/>
                <a:gd name="T2" fmla="*/ 18 w 85"/>
                <a:gd name="T3" fmla="*/ 4 h 85"/>
                <a:gd name="T4" fmla="*/ 23 w 85"/>
                <a:gd name="T5" fmla="*/ 0 h 85"/>
                <a:gd name="T6" fmla="*/ 85 w 85"/>
                <a:gd name="T7" fmla="*/ 62 h 85"/>
                <a:gd name="T8" fmla="*/ 81 w 85"/>
                <a:gd name="T9" fmla="*/ 66 h 85"/>
                <a:gd name="T10" fmla="*/ 27 w 85"/>
                <a:gd name="T11" fmla="*/ 57 h 85"/>
                <a:gd name="T12" fmla="*/ 76 w 85"/>
                <a:gd name="T13" fmla="*/ 57 h 85"/>
                <a:gd name="T14" fmla="*/ 27 w 85"/>
                <a:gd name="T15" fmla="*/ 9 h 85"/>
                <a:gd name="T16" fmla="*/ 27 w 85"/>
                <a:gd name="T17" fmla="*/ 57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85">
                  <a:moveTo>
                    <a:pt x="81" y="66"/>
                  </a:moveTo>
                  <a:cubicBezTo>
                    <a:pt x="0" y="62"/>
                    <a:pt x="21" y="85"/>
                    <a:pt x="18" y="4"/>
                  </a:cubicBezTo>
                  <a:cubicBezTo>
                    <a:pt x="18" y="2"/>
                    <a:pt x="20" y="0"/>
                    <a:pt x="23" y="0"/>
                  </a:cubicBezTo>
                  <a:cubicBezTo>
                    <a:pt x="57" y="0"/>
                    <a:pt x="85" y="28"/>
                    <a:pt x="85" y="62"/>
                  </a:cubicBezTo>
                  <a:cubicBezTo>
                    <a:pt x="85" y="64"/>
                    <a:pt x="83" y="67"/>
                    <a:pt x="81" y="66"/>
                  </a:cubicBezTo>
                  <a:close/>
                  <a:moveTo>
                    <a:pt x="27" y="57"/>
                  </a:moveTo>
                  <a:cubicBezTo>
                    <a:pt x="76" y="57"/>
                    <a:pt x="76" y="57"/>
                    <a:pt x="76" y="57"/>
                  </a:cubicBezTo>
                  <a:cubicBezTo>
                    <a:pt x="74" y="32"/>
                    <a:pt x="53" y="11"/>
                    <a:pt x="27" y="9"/>
                  </a:cubicBezTo>
                  <a:lnTo>
                    <a:pt x="27" y="57"/>
                  </a:lnTo>
                  <a:close/>
                </a:path>
              </a:pathLst>
            </a:custGeom>
            <a:solidFill>
              <a:srgbClr val="0C11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40" name="Freeform 83">
              <a:extLst>
                <a:ext uri="{FF2B5EF4-FFF2-40B4-BE49-F238E27FC236}">
                  <a16:creationId xmlns:a16="http://schemas.microsoft.com/office/drawing/2014/main" id="{929E1C7C-9E93-4609-B88D-53945E4502DF}"/>
                </a:ext>
              </a:extLst>
            </p:cNvPr>
            <p:cNvSpPr>
              <a:spLocks/>
            </p:cNvSpPr>
            <p:nvPr/>
          </p:nvSpPr>
          <p:spPr bwMode="auto">
            <a:xfrm>
              <a:off x="6805613" y="2622551"/>
              <a:ext cx="360363" cy="41275"/>
            </a:xfrm>
            <a:custGeom>
              <a:avLst/>
              <a:gdLst>
                <a:gd name="T0" fmla="*/ 74 w 80"/>
                <a:gd name="T1" fmla="*/ 9 h 9"/>
                <a:gd name="T2" fmla="*/ 5 w 80"/>
                <a:gd name="T3" fmla="*/ 9 h 9"/>
                <a:gd name="T4" fmla="*/ 0 w 80"/>
                <a:gd name="T5" fmla="*/ 5 h 9"/>
                <a:gd name="T6" fmla="*/ 5 w 80"/>
                <a:gd name="T7" fmla="*/ 0 h 9"/>
                <a:gd name="T8" fmla="*/ 74 w 80"/>
                <a:gd name="T9" fmla="*/ 0 h 9"/>
                <a:gd name="T10" fmla="*/ 74 w 80"/>
                <a:gd name="T11" fmla="*/ 9 h 9"/>
              </a:gdLst>
              <a:ahLst/>
              <a:cxnLst>
                <a:cxn ang="0">
                  <a:pos x="T0" y="T1"/>
                </a:cxn>
                <a:cxn ang="0">
                  <a:pos x="T2" y="T3"/>
                </a:cxn>
                <a:cxn ang="0">
                  <a:pos x="T4" y="T5"/>
                </a:cxn>
                <a:cxn ang="0">
                  <a:pos x="T6" y="T7"/>
                </a:cxn>
                <a:cxn ang="0">
                  <a:pos x="T8" y="T9"/>
                </a:cxn>
                <a:cxn ang="0">
                  <a:pos x="T10" y="T11"/>
                </a:cxn>
              </a:cxnLst>
              <a:rect l="0" t="0" r="r" b="b"/>
              <a:pathLst>
                <a:path w="80" h="9">
                  <a:moveTo>
                    <a:pt x="74" y="9"/>
                  </a:moveTo>
                  <a:cubicBezTo>
                    <a:pt x="5" y="9"/>
                    <a:pt x="5" y="9"/>
                    <a:pt x="5" y="9"/>
                  </a:cubicBezTo>
                  <a:cubicBezTo>
                    <a:pt x="2" y="9"/>
                    <a:pt x="0" y="7"/>
                    <a:pt x="0" y="5"/>
                  </a:cubicBezTo>
                  <a:cubicBezTo>
                    <a:pt x="0" y="2"/>
                    <a:pt x="2" y="0"/>
                    <a:pt x="5" y="0"/>
                  </a:cubicBezTo>
                  <a:cubicBezTo>
                    <a:pt x="74" y="0"/>
                    <a:pt x="74" y="0"/>
                    <a:pt x="74" y="0"/>
                  </a:cubicBezTo>
                  <a:cubicBezTo>
                    <a:pt x="80" y="0"/>
                    <a:pt x="80" y="9"/>
                    <a:pt x="74" y="9"/>
                  </a:cubicBezTo>
                  <a:close/>
                </a:path>
              </a:pathLst>
            </a:custGeom>
            <a:solidFill>
              <a:srgbClr val="0C11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41" name="Freeform 84">
              <a:extLst>
                <a:ext uri="{FF2B5EF4-FFF2-40B4-BE49-F238E27FC236}">
                  <a16:creationId xmlns:a16="http://schemas.microsoft.com/office/drawing/2014/main" id="{A46C3C29-2EA6-4B7B-9598-6573B39963E2}"/>
                </a:ext>
              </a:extLst>
            </p:cNvPr>
            <p:cNvSpPr>
              <a:spLocks/>
            </p:cNvSpPr>
            <p:nvPr/>
          </p:nvSpPr>
          <p:spPr bwMode="auto">
            <a:xfrm>
              <a:off x="6805613" y="2857501"/>
              <a:ext cx="360363" cy="39688"/>
            </a:xfrm>
            <a:custGeom>
              <a:avLst/>
              <a:gdLst>
                <a:gd name="T0" fmla="*/ 74 w 80"/>
                <a:gd name="T1" fmla="*/ 9 h 9"/>
                <a:gd name="T2" fmla="*/ 5 w 80"/>
                <a:gd name="T3" fmla="*/ 9 h 9"/>
                <a:gd name="T4" fmla="*/ 0 w 80"/>
                <a:gd name="T5" fmla="*/ 5 h 9"/>
                <a:gd name="T6" fmla="*/ 5 w 80"/>
                <a:gd name="T7" fmla="*/ 0 h 9"/>
                <a:gd name="T8" fmla="*/ 74 w 80"/>
                <a:gd name="T9" fmla="*/ 0 h 9"/>
                <a:gd name="T10" fmla="*/ 74 w 80"/>
                <a:gd name="T11" fmla="*/ 9 h 9"/>
              </a:gdLst>
              <a:ahLst/>
              <a:cxnLst>
                <a:cxn ang="0">
                  <a:pos x="T0" y="T1"/>
                </a:cxn>
                <a:cxn ang="0">
                  <a:pos x="T2" y="T3"/>
                </a:cxn>
                <a:cxn ang="0">
                  <a:pos x="T4" y="T5"/>
                </a:cxn>
                <a:cxn ang="0">
                  <a:pos x="T6" y="T7"/>
                </a:cxn>
                <a:cxn ang="0">
                  <a:pos x="T8" y="T9"/>
                </a:cxn>
                <a:cxn ang="0">
                  <a:pos x="T10" y="T11"/>
                </a:cxn>
              </a:cxnLst>
              <a:rect l="0" t="0" r="r" b="b"/>
              <a:pathLst>
                <a:path w="80" h="9">
                  <a:moveTo>
                    <a:pt x="74" y="9"/>
                  </a:moveTo>
                  <a:cubicBezTo>
                    <a:pt x="5" y="9"/>
                    <a:pt x="5" y="9"/>
                    <a:pt x="5" y="9"/>
                  </a:cubicBezTo>
                  <a:cubicBezTo>
                    <a:pt x="2" y="9"/>
                    <a:pt x="0" y="7"/>
                    <a:pt x="0" y="5"/>
                  </a:cubicBezTo>
                  <a:cubicBezTo>
                    <a:pt x="0" y="2"/>
                    <a:pt x="2" y="0"/>
                    <a:pt x="5" y="0"/>
                  </a:cubicBezTo>
                  <a:cubicBezTo>
                    <a:pt x="74" y="0"/>
                    <a:pt x="74" y="0"/>
                    <a:pt x="74" y="0"/>
                  </a:cubicBezTo>
                  <a:cubicBezTo>
                    <a:pt x="80" y="0"/>
                    <a:pt x="80" y="9"/>
                    <a:pt x="74" y="9"/>
                  </a:cubicBezTo>
                  <a:close/>
                </a:path>
              </a:pathLst>
            </a:custGeom>
            <a:solidFill>
              <a:srgbClr val="0C11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42" name="Freeform 85">
              <a:extLst>
                <a:ext uri="{FF2B5EF4-FFF2-40B4-BE49-F238E27FC236}">
                  <a16:creationId xmlns:a16="http://schemas.microsoft.com/office/drawing/2014/main" id="{F13BD2B9-9B45-48BA-B039-23A83936FA30}"/>
                </a:ext>
              </a:extLst>
            </p:cNvPr>
            <p:cNvSpPr>
              <a:spLocks/>
            </p:cNvSpPr>
            <p:nvPr/>
          </p:nvSpPr>
          <p:spPr bwMode="auto">
            <a:xfrm>
              <a:off x="6800851" y="2740026"/>
              <a:ext cx="576263" cy="39688"/>
            </a:xfrm>
            <a:custGeom>
              <a:avLst/>
              <a:gdLst>
                <a:gd name="T0" fmla="*/ 122 w 128"/>
                <a:gd name="T1" fmla="*/ 9 h 9"/>
                <a:gd name="T2" fmla="*/ 4 w 128"/>
                <a:gd name="T3" fmla="*/ 9 h 9"/>
                <a:gd name="T4" fmla="*/ 0 w 128"/>
                <a:gd name="T5" fmla="*/ 4 h 9"/>
                <a:gd name="T6" fmla="*/ 4 w 128"/>
                <a:gd name="T7" fmla="*/ 0 h 9"/>
                <a:gd name="T8" fmla="*/ 122 w 128"/>
                <a:gd name="T9" fmla="*/ 0 h 9"/>
                <a:gd name="T10" fmla="*/ 122 w 128"/>
                <a:gd name="T11" fmla="*/ 9 h 9"/>
              </a:gdLst>
              <a:ahLst/>
              <a:cxnLst>
                <a:cxn ang="0">
                  <a:pos x="T0" y="T1"/>
                </a:cxn>
                <a:cxn ang="0">
                  <a:pos x="T2" y="T3"/>
                </a:cxn>
                <a:cxn ang="0">
                  <a:pos x="T4" y="T5"/>
                </a:cxn>
                <a:cxn ang="0">
                  <a:pos x="T6" y="T7"/>
                </a:cxn>
                <a:cxn ang="0">
                  <a:pos x="T8" y="T9"/>
                </a:cxn>
                <a:cxn ang="0">
                  <a:pos x="T10" y="T11"/>
                </a:cxn>
              </a:cxnLst>
              <a:rect l="0" t="0" r="r" b="b"/>
              <a:pathLst>
                <a:path w="128" h="9">
                  <a:moveTo>
                    <a:pt x="122" y="9"/>
                  </a:moveTo>
                  <a:cubicBezTo>
                    <a:pt x="4" y="9"/>
                    <a:pt x="4" y="9"/>
                    <a:pt x="4" y="9"/>
                  </a:cubicBezTo>
                  <a:cubicBezTo>
                    <a:pt x="2" y="9"/>
                    <a:pt x="0" y="7"/>
                    <a:pt x="0" y="4"/>
                  </a:cubicBezTo>
                  <a:cubicBezTo>
                    <a:pt x="0" y="2"/>
                    <a:pt x="2" y="0"/>
                    <a:pt x="4" y="0"/>
                  </a:cubicBezTo>
                  <a:cubicBezTo>
                    <a:pt x="122" y="0"/>
                    <a:pt x="122" y="0"/>
                    <a:pt x="122" y="0"/>
                  </a:cubicBezTo>
                  <a:cubicBezTo>
                    <a:pt x="128" y="0"/>
                    <a:pt x="128" y="9"/>
                    <a:pt x="122" y="9"/>
                  </a:cubicBezTo>
                  <a:close/>
                </a:path>
              </a:pathLst>
            </a:custGeom>
            <a:solidFill>
              <a:srgbClr val="0C11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grpSp>
    </p:spTree>
    <p:custDataLst>
      <p:tags r:id="rId1"/>
    </p:custDataLst>
    <p:extLst>
      <p:ext uri="{BB962C8B-B14F-4D97-AF65-F5344CB8AC3E}">
        <p14:creationId xmlns:p14="http://schemas.microsoft.com/office/powerpoint/2010/main" val="2692759433"/>
      </p:ext>
    </p:extLst>
  </p:cSld>
  <p:clrMapOvr>
    <a:masterClrMapping/>
  </p:clrMapOvr>
  <mc:AlternateContent xmlns:mc="http://schemas.openxmlformats.org/markup-compatibility/2006">
    <mc:Choice xmlns:p14="http://schemas.microsoft.com/office/powerpoint/2010/main" Requires="p14">
      <p:transition spd="slow" p14:dur="1250">
        <p:blinds dir="vert"/>
      </p:transition>
    </mc:Choice>
    <mc:Fallback>
      <p:transition spd="slow">
        <p:blinds dir="vert"/>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318" name="Picture 6">
            <a:extLst>
              <a:ext uri="{FF2B5EF4-FFF2-40B4-BE49-F238E27FC236}">
                <a16:creationId xmlns:a16="http://schemas.microsoft.com/office/drawing/2014/main" id="{57E8DFC9-2994-41E3-96A1-BF85C03D6E5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167686" y="3807752"/>
            <a:ext cx="3795712" cy="1799156"/>
          </a:xfrm>
          <a:prstGeom prst="rect">
            <a:avLst/>
          </a:prstGeom>
          <a:noFill/>
          <a:extLst>
            <a:ext uri="{909E8E84-426E-40DD-AFC4-6F175D3DCCD1}">
              <a14:hiddenFill xmlns:a14="http://schemas.microsoft.com/office/drawing/2010/main">
                <a:solidFill>
                  <a:srgbClr val="FFFFFF"/>
                </a:solidFill>
              </a14:hiddenFill>
            </a:ext>
          </a:extLst>
        </p:spPr>
      </p:pic>
      <p:pic>
        <p:nvPicPr>
          <p:cNvPr id="13314" name="Picture 2">
            <a:extLst>
              <a:ext uri="{FF2B5EF4-FFF2-40B4-BE49-F238E27FC236}">
                <a16:creationId xmlns:a16="http://schemas.microsoft.com/office/drawing/2014/main" id="{0ED27470-1598-446C-AA4D-9F6973DFA3D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452561" y="1618373"/>
            <a:ext cx="3225963" cy="1404781"/>
          </a:xfrm>
          <a:prstGeom prst="rect">
            <a:avLst/>
          </a:prstGeom>
          <a:noFill/>
          <a:extLst>
            <a:ext uri="{909E8E84-426E-40DD-AFC4-6F175D3DCCD1}">
              <a14:hiddenFill xmlns:a14="http://schemas.microsoft.com/office/drawing/2010/main">
                <a:solidFill>
                  <a:srgbClr val="FFFFFF"/>
                </a:solidFill>
              </a14:hiddenFill>
            </a:ext>
          </a:extLst>
        </p:spPr>
      </p:pic>
      <p:sp>
        <p:nvSpPr>
          <p:cNvPr id="4" name="灯片编号占位符 3">
            <a:extLst>
              <a:ext uri="{FF2B5EF4-FFF2-40B4-BE49-F238E27FC236}">
                <a16:creationId xmlns:a16="http://schemas.microsoft.com/office/drawing/2014/main" id="{2A5C0DA9-421E-435E-A37F-75EEA4A204CB}"/>
              </a:ext>
            </a:extLst>
          </p:cNvPr>
          <p:cNvSpPr>
            <a:spLocks noGrp="1"/>
          </p:cNvSpPr>
          <p:nvPr>
            <p:ph type="sldNum" sz="quarter" idx="12"/>
          </p:nvPr>
        </p:nvSpPr>
        <p:spPr/>
        <p:txBody>
          <a:bodyPr/>
          <a:lstStyle/>
          <a:p>
            <a:fld id="{5DD3DB80-B894-403A-B48E-6FDC1A72010E}" type="slidenum">
              <a:rPr lang="zh-CN" altLang="en-US" smtClean="0"/>
              <a:pPr/>
              <a:t>17</a:t>
            </a:fld>
            <a:endParaRPr lang="zh-CN" altLang="en-US"/>
          </a:p>
        </p:txBody>
      </p:sp>
      <p:sp>
        <p:nvSpPr>
          <p:cNvPr id="5" name="标题 1">
            <a:extLst>
              <a:ext uri="{FF2B5EF4-FFF2-40B4-BE49-F238E27FC236}">
                <a16:creationId xmlns:a16="http://schemas.microsoft.com/office/drawing/2014/main" id="{A66C21BB-C083-4C2F-A2AE-920B8A20D84E}"/>
              </a:ext>
            </a:extLst>
          </p:cNvPr>
          <p:cNvSpPr>
            <a:spLocks noGrp="1"/>
          </p:cNvSpPr>
          <p:nvPr>
            <p:ph type="title"/>
          </p:nvPr>
        </p:nvSpPr>
        <p:spPr>
          <a:xfrm>
            <a:off x="669924" y="1"/>
            <a:ext cx="10850563" cy="1028699"/>
          </a:xfrm>
        </p:spPr>
        <p:txBody>
          <a:bodyPr/>
          <a:lstStyle/>
          <a:p>
            <a:r>
              <a:rPr lang="en-US" altLang="zh-CN" dirty="0"/>
              <a:t>UML</a:t>
            </a:r>
            <a:r>
              <a:rPr lang="zh-CN" altLang="en-US" dirty="0"/>
              <a:t>状态图</a:t>
            </a:r>
          </a:p>
        </p:txBody>
      </p:sp>
      <p:sp>
        <p:nvSpPr>
          <p:cNvPr id="6" name="文本框 5">
            <a:extLst>
              <a:ext uri="{FF2B5EF4-FFF2-40B4-BE49-F238E27FC236}">
                <a16:creationId xmlns:a16="http://schemas.microsoft.com/office/drawing/2014/main" id="{AD4EF72B-B237-4531-96CB-FAD2B6E29EE8}"/>
              </a:ext>
            </a:extLst>
          </p:cNvPr>
          <p:cNvSpPr txBox="1"/>
          <p:nvPr/>
        </p:nvSpPr>
        <p:spPr>
          <a:xfrm>
            <a:off x="669924" y="1407765"/>
            <a:ext cx="7588572" cy="2031325"/>
          </a:xfrm>
          <a:prstGeom prst="rect">
            <a:avLst/>
          </a:prstGeom>
          <a:noFill/>
        </p:spPr>
        <p:txBody>
          <a:bodyPr wrap="square" rtlCol="0">
            <a:spAutoFit/>
          </a:bodyPr>
          <a:lstStyle/>
          <a:p>
            <a:pPr algn="l"/>
            <a:r>
              <a:rPr lang="en-US" altLang="zh-CN" b="1" i="0" dirty="0">
                <a:solidFill>
                  <a:srgbClr val="0D0016"/>
                </a:solidFill>
                <a:effectLst/>
                <a:latin typeface="PingFang SC"/>
              </a:rPr>
              <a:t>1</a:t>
            </a:r>
            <a:r>
              <a:rPr lang="zh-CN" altLang="en-US" b="1" i="0" dirty="0">
                <a:solidFill>
                  <a:srgbClr val="0D0016"/>
                </a:solidFill>
                <a:effectLst/>
                <a:latin typeface="PingFang SC"/>
              </a:rPr>
              <a:t>、状态和转移：</a:t>
            </a:r>
            <a:endParaRPr lang="en-US" altLang="zh-CN" b="1" i="0" dirty="0">
              <a:solidFill>
                <a:srgbClr val="0D0016"/>
              </a:solidFill>
              <a:effectLst/>
              <a:latin typeface="PingFang SC"/>
            </a:endParaRPr>
          </a:p>
          <a:p>
            <a:pPr algn="l"/>
            <a:r>
              <a:rPr lang="zh-CN" altLang="en-US" i="0" dirty="0">
                <a:solidFill>
                  <a:srgbClr val="0D0016"/>
                </a:solidFill>
                <a:effectLst/>
                <a:latin typeface="+mn-ea"/>
              </a:rPr>
              <a:t>起始状态：黑色实心终止状态：用一对同心圆</a:t>
            </a:r>
            <a:r>
              <a:rPr lang="en-US" altLang="zh-CN" i="0" dirty="0">
                <a:solidFill>
                  <a:srgbClr val="0D0016"/>
                </a:solidFill>
                <a:effectLst/>
                <a:latin typeface="+mn-ea"/>
              </a:rPr>
              <a:t>(</a:t>
            </a:r>
            <a:r>
              <a:rPr lang="zh-CN" altLang="en-US" i="0" dirty="0">
                <a:solidFill>
                  <a:srgbClr val="0D0016"/>
                </a:solidFill>
                <a:effectLst/>
                <a:latin typeface="+mn-ea"/>
              </a:rPr>
              <a:t>内圆为实心圆</a:t>
            </a:r>
            <a:r>
              <a:rPr lang="en-US" altLang="zh-CN" i="0" dirty="0">
                <a:solidFill>
                  <a:srgbClr val="0D0016"/>
                </a:solidFill>
                <a:effectLst/>
                <a:latin typeface="+mn-ea"/>
              </a:rPr>
              <a:t>)</a:t>
            </a:r>
            <a:r>
              <a:rPr lang="zh-CN" altLang="en-US" i="0" dirty="0">
                <a:solidFill>
                  <a:srgbClr val="0D0016"/>
                </a:solidFill>
                <a:effectLst/>
                <a:latin typeface="+mn-ea"/>
              </a:rPr>
              <a:t>表示行为转移：两个状态之间带箭头的连线，箭头指明了转换方向。中间状态：用圆角矩形表示，可以用两条水平横线把它分成上、中、下</a:t>
            </a:r>
            <a:r>
              <a:rPr lang="en-US" altLang="zh-CN" i="0" dirty="0">
                <a:solidFill>
                  <a:srgbClr val="0D0016"/>
                </a:solidFill>
                <a:effectLst/>
                <a:latin typeface="+mn-ea"/>
              </a:rPr>
              <a:t>3</a:t>
            </a:r>
            <a:r>
              <a:rPr lang="zh-CN" altLang="en-US" i="0" dirty="0">
                <a:solidFill>
                  <a:srgbClr val="0D0016"/>
                </a:solidFill>
                <a:effectLst/>
                <a:latin typeface="+mn-ea"/>
              </a:rPr>
              <a:t>个部分。（上面部分为状态的名称，这部分是必须有的；中间部分为状态变量的名字和值，这部分是可选的；下面部分是活动表，这部分也是可选的）</a:t>
            </a:r>
          </a:p>
          <a:p>
            <a:pPr algn="l"/>
            <a:endParaRPr lang="zh-CN" altLang="en-US" b="0" i="0" dirty="0">
              <a:solidFill>
                <a:srgbClr val="4D4D4D"/>
              </a:solidFill>
              <a:effectLst/>
              <a:latin typeface="-apple-system"/>
            </a:endParaRPr>
          </a:p>
        </p:txBody>
      </p:sp>
      <p:grpSp>
        <p:nvGrpSpPr>
          <p:cNvPr id="378" name="组合 377">
            <a:extLst>
              <a:ext uri="{FF2B5EF4-FFF2-40B4-BE49-F238E27FC236}">
                <a16:creationId xmlns:a16="http://schemas.microsoft.com/office/drawing/2014/main" id="{4D6F4725-E9CF-47C0-A24D-95F9A714BAE0}"/>
              </a:ext>
            </a:extLst>
          </p:cNvPr>
          <p:cNvGrpSpPr/>
          <p:nvPr/>
        </p:nvGrpSpPr>
        <p:grpSpPr>
          <a:xfrm>
            <a:off x="10482954" y="0"/>
            <a:ext cx="1030921" cy="1080294"/>
            <a:chOff x="4874988" y="1859559"/>
            <a:chExt cx="2661884" cy="3969810"/>
          </a:xfrm>
        </p:grpSpPr>
        <p:grpSp>
          <p:nvGrpSpPr>
            <p:cNvPr id="379" name="íŝḻïḑè">
              <a:extLst>
                <a:ext uri="{FF2B5EF4-FFF2-40B4-BE49-F238E27FC236}">
                  <a16:creationId xmlns:a16="http://schemas.microsoft.com/office/drawing/2014/main" id="{E773D6DB-E4EF-4893-BA5C-FF1895435916}"/>
                </a:ext>
              </a:extLst>
            </p:cNvPr>
            <p:cNvGrpSpPr/>
            <p:nvPr/>
          </p:nvGrpSpPr>
          <p:grpSpPr>
            <a:xfrm>
              <a:off x="6480535" y="5493164"/>
              <a:ext cx="520250" cy="336205"/>
              <a:chOff x="6185308" y="3970463"/>
              <a:chExt cx="170914" cy="110451"/>
            </a:xfrm>
          </p:grpSpPr>
          <p:sp>
            <p:nvSpPr>
              <p:cNvPr id="860" name="ïSľidè">
                <a:extLst>
                  <a:ext uri="{FF2B5EF4-FFF2-40B4-BE49-F238E27FC236}">
                    <a16:creationId xmlns:a16="http://schemas.microsoft.com/office/drawing/2014/main" id="{56BED41C-949C-4322-B58A-3386FED33CBA}"/>
                  </a:ext>
                </a:extLst>
              </p:cNvPr>
              <p:cNvSpPr/>
              <p:nvPr/>
            </p:nvSpPr>
            <p:spPr>
              <a:xfrm>
                <a:off x="6241161" y="3970463"/>
                <a:ext cx="78771" cy="21749"/>
              </a:xfrm>
              <a:custGeom>
                <a:avLst/>
                <a:gdLst>
                  <a:gd name="connsiteX0" fmla="*/ -336 w 78771"/>
                  <a:gd name="connsiteY0" fmla="*/ 13014 h 21749"/>
                  <a:gd name="connsiteX1" fmla="*/ 807 w 78771"/>
                  <a:gd name="connsiteY1" fmla="*/ 13014 h 21749"/>
                  <a:gd name="connsiteX2" fmla="*/ 5188 w 78771"/>
                  <a:gd name="connsiteY2" fmla="*/ 13014 h 21749"/>
                  <a:gd name="connsiteX3" fmla="*/ 5188 w 78771"/>
                  <a:gd name="connsiteY3" fmla="*/ 13014 h 21749"/>
                  <a:gd name="connsiteX4" fmla="*/ 8808 w 78771"/>
                  <a:gd name="connsiteY4" fmla="*/ 13966 h 21749"/>
                  <a:gd name="connsiteX5" fmla="*/ 13189 w 78771"/>
                  <a:gd name="connsiteY5" fmla="*/ 15586 h 21749"/>
                  <a:gd name="connsiteX6" fmla="*/ 16427 w 78771"/>
                  <a:gd name="connsiteY6" fmla="*/ 17014 h 21749"/>
                  <a:gd name="connsiteX7" fmla="*/ 18142 w 78771"/>
                  <a:gd name="connsiteY7" fmla="*/ 17776 h 21749"/>
                  <a:gd name="connsiteX8" fmla="*/ 21666 w 78771"/>
                  <a:gd name="connsiteY8" fmla="*/ 19586 h 21749"/>
                  <a:gd name="connsiteX9" fmla="*/ 25286 w 78771"/>
                  <a:gd name="connsiteY9" fmla="*/ 21586 h 21749"/>
                  <a:gd name="connsiteX10" fmla="*/ 78435 w 78771"/>
                  <a:gd name="connsiteY10" fmla="*/ 12061 h 21749"/>
                  <a:gd name="connsiteX11" fmla="*/ 57957 w 78771"/>
                  <a:gd name="connsiteY11" fmla="*/ 2536 h 21749"/>
                  <a:gd name="connsiteX12" fmla="*/ 40050 w 78771"/>
                  <a:gd name="connsiteY12" fmla="*/ -131 h 21749"/>
                  <a:gd name="connsiteX13" fmla="*/ 21000 w 78771"/>
                  <a:gd name="connsiteY13" fmla="*/ 3584 h 21749"/>
                  <a:gd name="connsiteX14" fmla="*/ -336 w 78771"/>
                  <a:gd name="connsiteY14" fmla="*/ 13014 h 217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8771" h="21749">
                    <a:moveTo>
                      <a:pt x="-336" y="13014"/>
                    </a:moveTo>
                    <a:cubicBezTo>
                      <a:pt x="35" y="12899"/>
                      <a:pt x="435" y="12899"/>
                      <a:pt x="807" y="13014"/>
                    </a:cubicBezTo>
                    <a:cubicBezTo>
                      <a:pt x="2255" y="12728"/>
                      <a:pt x="3740" y="12728"/>
                      <a:pt x="5188" y="13014"/>
                    </a:cubicBezTo>
                    <a:lnTo>
                      <a:pt x="5188" y="13014"/>
                    </a:lnTo>
                    <a:cubicBezTo>
                      <a:pt x="6407" y="13261"/>
                      <a:pt x="7617" y="13585"/>
                      <a:pt x="8808" y="13966"/>
                    </a:cubicBezTo>
                    <a:cubicBezTo>
                      <a:pt x="10303" y="14414"/>
                      <a:pt x="11770" y="14947"/>
                      <a:pt x="13189" y="15586"/>
                    </a:cubicBezTo>
                    <a:lnTo>
                      <a:pt x="16427" y="17014"/>
                    </a:lnTo>
                    <a:lnTo>
                      <a:pt x="18142" y="17776"/>
                    </a:lnTo>
                    <a:lnTo>
                      <a:pt x="21666" y="19586"/>
                    </a:lnTo>
                    <a:lnTo>
                      <a:pt x="25286" y="21586"/>
                    </a:lnTo>
                    <a:cubicBezTo>
                      <a:pt x="47860" y="8537"/>
                      <a:pt x="67672" y="5489"/>
                      <a:pt x="78435" y="12061"/>
                    </a:cubicBezTo>
                    <a:cubicBezTo>
                      <a:pt x="71949" y="8204"/>
                      <a:pt x="65091" y="5003"/>
                      <a:pt x="57957" y="2536"/>
                    </a:cubicBezTo>
                    <a:cubicBezTo>
                      <a:pt x="52203" y="555"/>
                      <a:pt x="46136" y="-350"/>
                      <a:pt x="40050" y="-131"/>
                    </a:cubicBezTo>
                    <a:cubicBezTo>
                      <a:pt x="33553" y="193"/>
                      <a:pt x="27143" y="1450"/>
                      <a:pt x="21000" y="3584"/>
                    </a:cubicBezTo>
                    <a:cubicBezTo>
                      <a:pt x="13580" y="5975"/>
                      <a:pt x="6426" y="9137"/>
                      <a:pt x="-336" y="13014"/>
                    </a:cubicBezTo>
                    <a:close/>
                  </a:path>
                </a:pathLst>
              </a:custGeom>
              <a:solidFill>
                <a:srgbClr val="FF7D33"/>
              </a:solidFill>
              <a:ln w="9525" cap="flat">
                <a:noFill/>
                <a:prstDash val="solid"/>
                <a:miter/>
              </a:ln>
            </p:spPr>
            <p:txBody>
              <a:bodyPr rtlCol="0" anchor="ctr"/>
              <a:lstStyle/>
              <a:p>
                <a:endParaRPr lang="zh-CN" altLang="en-US"/>
              </a:p>
            </p:txBody>
          </p:sp>
          <p:sp>
            <p:nvSpPr>
              <p:cNvPr id="861" name="ïślíde">
                <a:extLst>
                  <a:ext uri="{FF2B5EF4-FFF2-40B4-BE49-F238E27FC236}">
                    <a16:creationId xmlns:a16="http://schemas.microsoft.com/office/drawing/2014/main" id="{EE31D9B4-8FDF-4F4A-84C5-DF230243C3F3}"/>
                  </a:ext>
                </a:extLst>
              </p:cNvPr>
              <p:cNvSpPr/>
              <p:nvPr/>
            </p:nvSpPr>
            <p:spPr>
              <a:xfrm>
                <a:off x="6267164" y="3979144"/>
                <a:ext cx="60007" cy="16878"/>
              </a:xfrm>
              <a:custGeom>
                <a:avLst/>
                <a:gdLst>
                  <a:gd name="connsiteX0" fmla="*/ -336 w 60007"/>
                  <a:gd name="connsiteY0" fmla="*/ 12715 h 16878"/>
                  <a:gd name="connsiteX1" fmla="*/ 6427 w 60007"/>
                  <a:gd name="connsiteY1" fmla="*/ 16715 h 16878"/>
                  <a:gd name="connsiteX2" fmla="*/ 59671 w 60007"/>
                  <a:gd name="connsiteY2" fmla="*/ 7190 h 16878"/>
                  <a:gd name="connsiteX3" fmla="*/ 52813 w 60007"/>
                  <a:gd name="connsiteY3" fmla="*/ 3190 h 16878"/>
                  <a:gd name="connsiteX4" fmla="*/ -336 w 60007"/>
                  <a:gd name="connsiteY4" fmla="*/ 12715 h 168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16878">
                    <a:moveTo>
                      <a:pt x="-336" y="12715"/>
                    </a:moveTo>
                    <a:lnTo>
                      <a:pt x="6427" y="16715"/>
                    </a:lnTo>
                    <a:cubicBezTo>
                      <a:pt x="29096" y="3666"/>
                      <a:pt x="48908" y="618"/>
                      <a:pt x="59671" y="7190"/>
                    </a:cubicBezTo>
                    <a:lnTo>
                      <a:pt x="52813" y="3190"/>
                    </a:lnTo>
                    <a:cubicBezTo>
                      <a:pt x="42050" y="-3382"/>
                      <a:pt x="22238" y="-334"/>
                      <a:pt x="-336" y="12715"/>
                    </a:cubicBezTo>
                    <a:close/>
                  </a:path>
                </a:pathLst>
              </a:custGeom>
              <a:solidFill>
                <a:srgbClr val="D1D9E8"/>
              </a:solidFill>
              <a:ln w="9525" cap="flat">
                <a:noFill/>
                <a:prstDash val="solid"/>
                <a:miter/>
              </a:ln>
            </p:spPr>
            <p:txBody>
              <a:bodyPr rtlCol="0" anchor="ctr"/>
              <a:lstStyle/>
              <a:p>
                <a:endParaRPr lang="zh-CN" altLang="en-US"/>
              </a:p>
            </p:txBody>
          </p:sp>
          <p:sp>
            <p:nvSpPr>
              <p:cNvPr id="862" name="îṧ1îdê">
                <a:extLst>
                  <a:ext uri="{FF2B5EF4-FFF2-40B4-BE49-F238E27FC236}">
                    <a16:creationId xmlns:a16="http://schemas.microsoft.com/office/drawing/2014/main" id="{9172A6D8-5C9D-45D9-A3F8-E8D5C56C8AD1}"/>
                  </a:ext>
                </a:extLst>
              </p:cNvPr>
              <p:cNvSpPr/>
              <p:nvPr/>
            </p:nvSpPr>
            <p:spPr>
              <a:xfrm>
                <a:off x="6273831" y="3983188"/>
                <a:ext cx="82105" cy="38075"/>
              </a:xfrm>
              <a:custGeom>
                <a:avLst/>
                <a:gdLst>
                  <a:gd name="connsiteX0" fmla="*/ -336 w 82105"/>
                  <a:gd name="connsiteY0" fmla="*/ 12671 h 38075"/>
                  <a:gd name="connsiteX1" fmla="*/ 27000 w 82105"/>
                  <a:gd name="connsiteY1" fmla="*/ 37913 h 38075"/>
                  <a:gd name="connsiteX2" fmla="*/ 80531 w 82105"/>
                  <a:gd name="connsiteY2" fmla="*/ 30578 h 38075"/>
                  <a:gd name="connsiteX3" fmla="*/ 81769 w 82105"/>
                  <a:gd name="connsiteY3" fmla="*/ 31340 h 38075"/>
                  <a:gd name="connsiteX4" fmla="*/ 80055 w 82105"/>
                  <a:gd name="connsiteY4" fmla="*/ 25816 h 38075"/>
                  <a:gd name="connsiteX5" fmla="*/ 73482 w 82105"/>
                  <a:gd name="connsiteY5" fmla="*/ 18005 h 38075"/>
                  <a:gd name="connsiteX6" fmla="*/ 52908 w 82105"/>
                  <a:gd name="connsiteY6" fmla="*/ 2861 h 38075"/>
                  <a:gd name="connsiteX7" fmla="*/ -336 w 82105"/>
                  <a:gd name="connsiteY7" fmla="*/ 12671 h 38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2105" h="38075">
                    <a:moveTo>
                      <a:pt x="-336" y="12671"/>
                    </a:moveTo>
                    <a:cubicBezTo>
                      <a:pt x="14713" y="21339"/>
                      <a:pt x="27000" y="32674"/>
                      <a:pt x="27000" y="37913"/>
                    </a:cubicBezTo>
                    <a:cubicBezTo>
                      <a:pt x="57957" y="20101"/>
                      <a:pt x="80817" y="23530"/>
                      <a:pt x="80531" y="30578"/>
                    </a:cubicBezTo>
                    <a:lnTo>
                      <a:pt x="81769" y="31340"/>
                    </a:lnTo>
                    <a:cubicBezTo>
                      <a:pt x="81703" y="29378"/>
                      <a:pt x="81112" y="27473"/>
                      <a:pt x="80055" y="25816"/>
                    </a:cubicBezTo>
                    <a:cubicBezTo>
                      <a:pt x="78169" y="22968"/>
                      <a:pt x="75968" y="20349"/>
                      <a:pt x="73482" y="18005"/>
                    </a:cubicBezTo>
                    <a:cubicBezTo>
                      <a:pt x="67253" y="12148"/>
                      <a:pt x="60347" y="7061"/>
                      <a:pt x="52908" y="2861"/>
                    </a:cubicBezTo>
                    <a:cubicBezTo>
                      <a:pt x="42240" y="-3140"/>
                      <a:pt x="22429" y="-378"/>
                      <a:pt x="-336" y="12671"/>
                    </a:cubicBezTo>
                    <a:close/>
                  </a:path>
                </a:pathLst>
              </a:custGeom>
              <a:solidFill>
                <a:srgbClr val="FF7D33"/>
              </a:solidFill>
              <a:ln w="9525" cap="flat">
                <a:noFill/>
                <a:prstDash val="solid"/>
                <a:miter/>
              </a:ln>
            </p:spPr>
            <p:txBody>
              <a:bodyPr rtlCol="0" anchor="ctr"/>
              <a:lstStyle/>
              <a:p>
                <a:endParaRPr lang="zh-CN" altLang="en-US"/>
              </a:p>
            </p:txBody>
          </p:sp>
          <p:sp>
            <p:nvSpPr>
              <p:cNvPr id="863" name="íšļîḍê">
                <a:extLst>
                  <a:ext uri="{FF2B5EF4-FFF2-40B4-BE49-F238E27FC236}">
                    <a16:creationId xmlns:a16="http://schemas.microsoft.com/office/drawing/2014/main" id="{1BD76DAE-16A8-4FA4-AB1F-2E740895D658}"/>
                  </a:ext>
                </a:extLst>
              </p:cNvPr>
              <p:cNvSpPr/>
              <p:nvPr/>
            </p:nvSpPr>
            <p:spPr>
              <a:xfrm>
                <a:off x="6245256" y="4013929"/>
                <a:ext cx="110966" cy="64769"/>
              </a:xfrm>
              <a:custGeom>
                <a:avLst/>
                <a:gdLst>
                  <a:gd name="connsiteX0" fmla="*/ -336 w 110966"/>
                  <a:gd name="connsiteY0" fmla="*/ 64607 h 64769"/>
                  <a:gd name="connsiteX1" fmla="*/ 110630 w 110966"/>
                  <a:gd name="connsiteY1" fmla="*/ 599 h 64769"/>
                  <a:gd name="connsiteX2" fmla="*/ 109392 w 110966"/>
                  <a:gd name="connsiteY2" fmla="*/ -163 h 64769"/>
                  <a:gd name="connsiteX3" fmla="*/ 2235 w 110966"/>
                  <a:gd name="connsiteY3" fmla="*/ 61369 h 64769"/>
                  <a:gd name="connsiteX4" fmla="*/ 1283 w 110966"/>
                  <a:gd name="connsiteY4" fmla="*/ 62607 h 64769"/>
                  <a:gd name="connsiteX5" fmla="*/ 426 w 110966"/>
                  <a:gd name="connsiteY5" fmla="*/ 63560 h 64769"/>
                  <a:gd name="connsiteX6" fmla="*/ -51 w 110966"/>
                  <a:gd name="connsiteY6" fmla="*/ 63560 h 64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0966" h="64769">
                    <a:moveTo>
                      <a:pt x="-336" y="64607"/>
                    </a:moveTo>
                    <a:lnTo>
                      <a:pt x="110630" y="599"/>
                    </a:lnTo>
                    <a:lnTo>
                      <a:pt x="109392" y="-163"/>
                    </a:lnTo>
                    <a:lnTo>
                      <a:pt x="2235" y="61369"/>
                    </a:lnTo>
                    <a:cubicBezTo>
                      <a:pt x="1969" y="61816"/>
                      <a:pt x="1655" y="62236"/>
                      <a:pt x="1283" y="62607"/>
                    </a:cubicBezTo>
                    <a:lnTo>
                      <a:pt x="426" y="63560"/>
                    </a:lnTo>
                    <a:lnTo>
                      <a:pt x="-51" y="63560"/>
                    </a:lnTo>
                    <a:close/>
                  </a:path>
                </a:pathLst>
              </a:custGeom>
              <a:solidFill>
                <a:srgbClr val="BF4200"/>
              </a:solidFill>
              <a:ln w="9525" cap="flat">
                <a:noFill/>
                <a:prstDash val="solid"/>
                <a:miter/>
              </a:ln>
            </p:spPr>
            <p:txBody>
              <a:bodyPr rtlCol="0" anchor="ctr"/>
              <a:lstStyle/>
              <a:p>
                <a:endParaRPr lang="zh-CN" altLang="en-US"/>
              </a:p>
            </p:txBody>
          </p:sp>
          <p:sp>
            <p:nvSpPr>
              <p:cNvPr id="864" name="íşľîḍè">
                <a:extLst>
                  <a:ext uri="{FF2B5EF4-FFF2-40B4-BE49-F238E27FC236}">
                    <a16:creationId xmlns:a16="http://schemas.microsoft.com/office/drawing/2014/main" id="{02E918F9-69B4-48A7-B0FD-9B7086F25879}"/>
                  </a:ext>
                </a:extLst>
              </p:cNvPr>
              <p:cNvSpPr/>
              <p:nvPr/>
            </p:nvSpPr>
            <p:spPr>
              <a:xfrm>
                <a:off x="6247823" y="4007929"/>
                <a:ext cx="106970" cy="67531"/>
              </a:xfrm>
              <a:custGeom>
                <a:avLst/>
                <a:gdLst>
                  <a:gd name="connsiteX0" fmla="*/ -332 w 106970"/>
                  <a:gd name="connsiteY0" fmla="*/ 67369 h 67531"/>
                  <a:gd name="connsiteX1" fmla="*/ 106634 w 106970"/>
                  <a:gd name="connsiteY1" fmla="*/ 5552 h 67531"/>
                  <a:gd name="connsiteX2" fmla="*/ 53104 w 106970"/>
                  <a:gd name="connsiteY2" fmla="*/ 12886 h 67531"/>
                  <a:gd name="connsiteX3" fmla="*/ -332 w 106970"/>
                  <a:gd name="connsiteY3" fmla="*/ 67369 h 67531"/>
                </a:gdLst>
                <a:ahLst/>
                <a:cxnLst>
                  <a:cxn ang="0">
                    <a:pos x="connsiteX0" y="connsiteY0"/>
                  </a:cxn>
                  <a:cxn ang="0">
                    <a:pos x="connsiteX1" y="connsiteY1"/>
                  </a:cxn>
                  <a:cxn ang="0">
                    <a:pos x="connsiteX2" y="connsiteY2"/>
                  </a:cxn>
                  <a:cxn ang="0">
                    <a:pos x="connsiteX3" y="connsiteY3"/>
                  </a:cxn>
                </a:cxnLst>
                <a:rect l="l" t="t" r="r" b="b"/>
                <a:pathLst>
                  <a:path w="106970" h="67531">
                    <a:moveTo>
                      <a:pt x="-332" y="67369"/>
                    </a:moveTo>
                    <a:lnTo>
                      <a:pt x="106634" y="5552"/>
                    </a:lnTo>
                    <a:cubicBezTo>
                      <a:pt x="106634" y="-1497"/>
                      <a:pt x="84060" y="-4926"/>
                      <a:pt x="53104" y="12886"/>
                    </a:cubicBezTo>
                    <a:cubicBezTo>
                      <a:pt x="22148" y="30697"/>
                      <a:pt x="-712" y="60987"/>
                      <a:pt x="-332" y="67369"/>
                    </a:cubicBezTo>
                    <a:close/>
                  </a:path>
                </a:pathLst>
              </a:custGeom>
              <a:solidFill>
                <a:srgbClr val="BF4200"/>
              </a:solidFill>
              <a:ln w="9525" cap="flat">
                <a:noFill/>
                <a:prstDash val="solid"/>
                <a:miter/>
              </a:ln>
            </p:spPr>
            <p:txBody>
              <a:bodyPr rtlCol="0" anchor="ctr"/>
              <a:lstStyle/>
              <a:p>
                <a:endParaRPr lang="zh-CN" altLang="en-US"/>
              </a:p>
            </p:txBody>
          </p:sp>
          <p:sp>
            <p:nvSpPr>
              <p:cNvPr id="865" name="íṩľidé">
                <a:extLst>
                  <a:ext uri="{FF2B5EF4-FFF2-40B4-BE49-F238E27FC236}">
                    <a16:creationId xmlns:a16="http://schemas.microsoft.com/office/drawing/2014/main" id="{D8681DC0-C00C-4972-B21D-D22ABBD12280}"/>
                  </a:ext>
                </a:extLst>
              </p:cNvPr>
              <p:cNvSpPr/>
              <p:nvPr/>
            </p:nvSpPr>
            <p:spPr>
              <a:xfrm>
                <a:off x="6185308" y="3984473"/>
                <a:ext cx="115192" cy="96441"/>
              </a:xfrm>
              <a:custGeom>
                <a:avLst/>
                <a:gdLst>
                  <a:gd name="connsiteX0" fmla="*/ -301 w 115192"/>
                  <a:gd name="connsiteY0" fmla="*/ 60535 h 96441"/>
                  <a:gd name="connsiteX1" fmla="*/ 19987 w 115192"/>
                  <a:gd name="connsiteY1" fmla="*/ 85491 h 96441"/>
                  <a:gd name="connsiteX2" fmla="*/ 26750 w 115192"/>
                  <a:gd name="connsiteY2" fmla="*/ 89491 h 96441"/>
                  <a:gd name="connsiteX3" fmla="*/ 58659 w 115192"/>
                  <a:gd name="connsiteY3" fmla="*/ 94540 h 96441"/>
                  <a:gd name="connsiteX4" fmla="*/ 58659 w 115192"/>
                  <a:gd name="connsiteY4" fmla="*/ 94540 h 96441"/>
                  <a:gd name="connsiteX5" fmla="*/ 59135 w 115192"/>
                  <a:gd name="connsiteY5" fmla="*/ 94540 h 96441"/>
                  <a:gd name="connsiteX6" fmla="*/ 59135 w 115192"/>
                  <a:gd name="connsiteY6" fmla="*/ 94540 h 96441"/>
                  <a:gd name="connsiteX7" fmla="*/ 59612 w 115192"/>
                  <a:gd name="connsiteY7" fmla="*/ 94540 h 96441"/>
                  <a:gd name="connsiteX8" fmla="*/ 60469 w 115192"/>
                  <a:gd name="connsiteY8" fmla="*/ 93587 h 96441"/>
                  <a:gd name="connsiteX9" fmla="*/ 61421 w 115192"/>
                  <a:gd name="connsiteY9" fmla="*/ 92349 h 96441"/>
                  <a:gd name="connsiteX10" fmla="*/ 114856 w 115192"/>
                  <a:gd name="connsiteY10" fmla="*/ 37866 h 96441"/>
                  <a:gd name="connsiteX11" fmla="*/ 87520 w 115192"/>
                  <a:gd name="connsiteY11" fmla="*/ 12625 h 96441"/>
                  <a:gd name="connsiteX12" fmla="*/ 80757 w 115192"/>
                  <a:gd name="connsiteY12" fmla="*/ 8624 h 96441"/>
                  <a:gd name="connsiteX13" fmla="*/ 77137 w 115192"/>
                  <a:gd name="connsiteY13" fmla="*/ 6624 h 96441"/>
                  <a:gd name="connsiteX14" fmla="*/ 73613 w 115192"/>
                  <a:gd name="connsiteY14" fmla="*/ 4814 h 96441"/>
                  <a:gd name="connsiteX15" fmla="*/ 71899 w 115192"/>
                  <a:gd name="connsiteY15" fmla="*/ 4052 h 96441"/>
                  <a:gd name="connsiteX16" fmla="*/ 68660 w 115192"/>
                  <a:gd name="connsiteY16" fmla="*/ 2623 h 96441"/>
                  <a:gd name="connsiteX17" fmla="*/ 64279 w 115192"/>
                  <a:gd name="connsiteY17" fmla="*/ 1004 h 96441"/>
                  <a:gd name="connsiteX18" fmla="*/ 60659 w 115192"/>
                  <a:gd name="connsiteY18" fmla="*/ 52 h 96441"/>
                  <a:gd name="connsiteX19" fmla="*/ 60659 w 115192"/>
                  <a:gd name="connsiteY19" fmla="*/ 52 h 96441"/>
                  <a:gd name="connsiteX20" fmla="*/ 56278 w 115192"/>
                  <a:gd name="connsiteY20" fmla="*/ 52 h 96441"/>
                  <a:gd name="connsiteX21" fmla="*/ 55135 w 115192"/>
                  <a:gd name="connsiteY21" fmla="*/ 52 h 96441"/>
                  <a:gd name="connsiteX22" fmla="*/ 45610 w 115192"/>
                  <a:gd name="connsiteY22" fmla="*/ 5957 h 96441"/>
                  <a:gd name="connsiteX23" fmla="*/ 36752 w 115192"/>
                  <a:gd name="connsiteY23" fmla="*/ 12529 h 96441"/>
                  <a:gd name="connsiteX24" fmla="*/ 28655 w 115192"/>
                  <a:gd name="connsiteY24" fmla="*/ 19387 h 96441"/>
                  <a:gd name="connsiteX25" fmla="*/ 17987 w 115192"/>
                  <a:gd name="connsiteY25" fmla="*/ 29770 h 96441"/>
                  <a:gd name="connsiteX26" fmla="*/ 9605 w 115192"/>
                  <a:gd name="connsiteY26" fmla="*/ 39295 h 96441"/>
                  <a:gd name="connsiteX27" fmla="*/ 3509 w 115192"/>
                  <a:gd name="connsiteY27" fmla="*/ 48058 h 96441"/>
                  <a:gd name="connsiteX28" fmla="*/ 176 w 115192"/>
                  <a:gd name="connsiteY28" fmla="*/ 55106 h 96441"/>
                  <a:gd name="connsiteX29" fmla="*/ -301 w 115192"/>
                  <a:gd name="connsiteY29" fmla="*/ 60535 h 96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15192" h="96441">
                    <a:moveTo>
                      <a:pt x="-301" y="60535"/>
                    </a:moveTo>
                    <a:cubicBezTo>
                      <a:pt x="2223" y="71556"/>
                      <a:pt x="9720" y="80776"/>
                      <a:pt x="19987" y="85491"/>
                    </a:cubicBezTo>
                    <a:lnTo>
                      <a:pt x="26750" y="89491"/>
                    </a:lnTo>
                    <a:cubicBezTo>
                      <a:pt x="35971" y="96178"/>
                      <a:pt x="47829" y="98054"/>
                      <a:pt x="58659" y="94540"/>
                    </a:cubicBezTo>
                    <a:lnTo>
                      <a:pt x="58659" y="94540"/>
                    </a:lnTo>
                    <a:lnTo>
                      <a:pt x="59135" y="94540"/>
                    </a:lnTo>
                    <a:lnTo>
                      <a:pt x="59135" y="94540"/>
                    </a:lnTo>
                    <a:lnTo>
                      <a:pt x="59612" y="94540"/>
                    </a:lnTo>
                    <a:lnTo>
                      <a:pt x="60469" y="93587"/>
                    </a:lnTo>
                    <a:cubicBezTo>
                      <a:pt x="60840" y="93216"/>
                      <a:pt x="61154" y="92797"/>
                      <a:pt x="61421" y="92349"/>
                    </a:cubicBezTo>
                    <a:cubicBezTo>
                      <a:pt x="61421" y="85681"/>
                      <a:pt x="83805" y="55868"/>
                      <a:pt x="114856" y="37866"/>
                    </a:cubicBezTo>
                    <a:cubicBezTo>
                      <a:pt x="114856" y="32627"/>
                      <a:pt x="102569" y="21293"/>
                      <a:pt x="87520" y="12625"/>
                    </a:cubicBezTo>
                    <a:lnTo>
                      <a:pt x="80757" y="8624"/>
                    </a:lnTo>
                    <a:lnTo>
                      <a:pt x="77137" y="6624"/>
                    </a:lnTo>
                    <a:lnTo>
                      <a:pt x="73613" y="4814"/>
                    </a:lnTo>
                    <a:lnTo>
                      <a:pt x="71899" y="4052"/>
                    </a:lnTo>
                    <a:lnTo>
                      <a:pt x="68660" y="2623"/>
                    </a:lnTo>
                    <a:cubicBezTo>
                      <a:pt x="67241" y="1985"/>
                      <a:pt x="65774" y="1452"/>
                      <a:pt x="64279" y="1004"/>
                    </a:cubicBezTo>
                    <a:cubicBezTo>
                      <a:pt x="63088" y="623"/>
                      <a:pt x="61879" y="299"/>
                      <a:pt x="60659" y="52"/>
                    </a:cubicBezTo>
                    <a:lnTo>
                      <a:pt x="60659" y="52"/>
                    </a:lnTo>
                    <a:cubicBezTo>
                      <a:pt x="59212" y="-234"/>
                      <a:pt x="57726" y="-234"/>
                      <a:pt x="56278" y="52"/>
                    </a:cubicBezTo>
                    <a:cubicBezTo>
                      <a:pt x="55897" y="-15"/>
                      <a:pt x="55516" y="-15"/>
                      <a:pt x="55135" y="52"/>
                    </a:cubicBezTo>
                    <a:cubicBezTo>
                      <a:pt x="52182" y="1766"/>
                      <a:pt x="48467" y="4147"/>
                      <a:pt x="45610" y="5957"/>
                    </a:cubicBezTo>
                    <a:cubicBezTo>
                      <a:pt x="40752" y="9291"/>
                      <a:pt x="36847" y="12434"/>
                      <a:pt x="36752" y="12529"/>
                    </a:cubicBezTo>
                    <a:cubicBezTo>
                      <a:pt x="33932" y="14663"/>
                      <a:pt x="31227" y="16958"/>
                      <a:pt x="28655" y="19387"/>
                    </a:cubicBezTo>
                    <a:cubicBezTo>
                      <a:pt x="25798" y="22054"/>
                      <a:pt x="21512" y="25960"/>
                      <a:pt x="17987" y="29770"/>
                    </a:cubicBezTo>
                    <a:cubicBezTo>
                      <a:pt x="14463" y="33580"/>
                      <a:pt x="12844" y="35580"/>
                      <a:pt x="9605" y="39295"/>
                    </a:cubicBezTo>
                    <a:cubicBezTo>
                      <a:pt x="7424" y="42105"/>
                      <a:pt x="5386" y="45029"/>
                      <a:pt x="3509" y="48058"/>
                    </a:cubicBezTo>
                    <a:cubicBezTo>
                      <a:pt x="2157" y="50286"/>
                      <a:pt x="1042" y="52649"/>
                      <a:pt x="176" y="55106"/>
                    </a:cubicBezTo>
                    <a:cubicBezTo>
                      <a:pt x="-253" y="56878"/>
                      <a:pt x="-415" y="58716"/>
                      <a:pt x="-301" y="60535"/>
                    </a:cubicBezTo>
                    <a:close/>
                  </a:path>
                </a:pathLst>
              </a:custGeom>
              <a:solidFill>
                <a:srgbClr val="D9530B"/>
              </a:solidFill>
              <a:ln w="9525" cap="flat">
                <a:noFill/>
                <a:prstDash val="solid"/>
                <a:miter/>
              </a:ln>
            </p:spPr>
            <p:txBody>
              <a:bodyPr rtlCol="0" anchor="ctr"/>
              <a:lstStyle/>
              <a:p>
                <a:endParaRPr lang="zh-CN" altLang="en-US"/>
              </a:p>
            </p:txBody>
          </p:sp>
        </p:grpSp>
        <p:sp>
          <p:nvSpPr>
            <p:cNvPr id="380" name="í$ḷiḍé">
              <a:extLst>
                <a:ext uri="{FF2B5EF4-FFF2-40B4-BE49-F238E27FC236}">
                  <a16:creationId xmlns:a16="http://schemas.microsoft.com/office/drawing/2014/main" id="{38204F6A-5CE1-497A-827B-CEEB99CCC968}"/>
                </a:ext>
              </a:extLst>
            </p:cNvPr>
            <p:cNvSpPr/>
            <p:nvPr/>
          </p:nvSpPr>
          <p:spPr>
            <a:xfrm>
              <a:off x="4874988" y="4873963"/>
              <a:ext cx="1716699" cy="724850"/>
            </a:xfrm>
            <a:custGeom>
              <a:avLst/>
              <a:gdLst>
                <a:gd name="connsiteX0" fmla="*/ -336 w 563975"/>
                <a:gd name="connsiteY0" fmla="*/ -163 h 238130"/>
                <a:gd name="connsiteX1" fmla="*/ -336 w 563975"/>
                <a:gd name="connsiteY1" fmla="*/ 7553 h 238130"/>
                <a:gd name="connsiteX2" fmla="*/ 5188 w 563975"/>
                <a:gd name="connsiteY2" fmla="*/ 15839 h 238130"/>
                <a:gd name="connsiteX3" fmla="*/ 6046 w 563975"/>
                <a:gd name="connsiteY3" fmla="*/ 16506 h 238130"/>
                <a:gd name="connsiteX4" fmla="*/ 383236 w 563975"/>
                <a:gd name="connsiteY4" fmla="*/ 234248 h 238130"/>
                <a:gd name="connsiteX5" fmla="*/ 398856 w 563975"/>
                <a:gd name="connsiteY5" fmla="*/ 237962 h 238130"/>
                <a:gd name="connsiteX6" fmla="*/ 414382 w 563975"/>
                <a:gd name="connsiteY6" fmla="*/ 234248 h 238130"/>
                <a:gd name="connsiteX7" fmla="*/ 557257 w 563975"/>
                <a:gd name="connsiteY7" fmla="*/ 151666 h 238130"/>
                <a:gd name="connsiteX8" fmla="*/ 558210 w 563975"/>
                <a:gd name="connsiteY8" fmla="*/ 151094 h 238130"/>
                <a:gd name="connsiteX9" fmla="*/ 563639 w 563975"/>
                <a:gd name="connsiteY9" fmla="*/ 142712 h 238130"/>
                <a:gd name="connsiteX10" fmla="*/ 563639 w 563975"/>
                <a:gd name="connsiteY10" fmla="*/ 134997 h 238130"/>
                <a:gd name="connsiteX11" fmla="*/ 562591 w 563975"/>
                <a:gd name="connsiteY11" fmla="*/ 138807 h 238130"/>
                <a:gd name="connsiteX12" fmla="*/ 558210 w 563975"/>
                <a:gd name="connsiteY12" fmla="*/ 143379 h 238130"/>
                <a:gd name="connsiteX13" fmla="*/ 557257 w 563975"/>
                <a:gd name="connsiteY13" fmla="*/ 144046 h 238130"/>
                <a:gd name="connsiteX14" fmla="*/ 414382 w 563975"/>
                <a:gd name="connsiteY14" fmla="*/ 226533 h 238130"/>
                <a:gd name="connsiteX15" fmla="*/ 398856 w 563975"/>
                <a:gd name="connsiteY15" fmla="*/ 230247 h 238130"/>
                <a:gd name="connsiteX16" fmla="*/ 383236 w 563975"/>
                <a:gd name="connsiteY16" fmla="*/ 226533 h 238130"/>
                <a:gd name="connsiteX17" fmla="*/ 6046 w 563975"/>
                <a:gd name="connsiteY17" fmla="*/ 8791 h 238130"/>
                <a:gd name="connsiteX18" fmla="*/ 5188 w 563975"/>
                <a:gd name="connsiteY18" fmla="*/ 8219 h 238130"/>
                <a:gd name="connsiteX19" fmla="*/ 712 w 563975"/>
                <a:gd name="connsiteY19" fmla="*/ 3647 h 238130"/>
                <a:gd name="connsiteX20" fmla="*/ -336 w 563975"/>
                <a:gd name="connsiteY20" fmla="*/ -163 h 238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63975" h="238130">
                  <a:moveTo>
                    <a:pt x="-336" y="-163"/>
                  </a:moveTo>
                  <a:lnTo>
                    <a:pt x="-336" y="7553"/>
                  </a:lnTo>
                  <a:cubicBezTo>
                    <a:pt x="-41" y="11077"/>
                    <a:pt x="2045" y="14211"/>
                    <a:pt x="5188" y="15839"/>
                  </a:cubicBezTo>
                  <a:lnTo>
                    <a:pt x="6046" y="16506"/>
                  </a:lnTo>
                  <a:lnTo>
                    <a:pt x="383236" y="234248"/>
                  </a:lnTo>
                  <a:cubicBezTo>
                    <a:pt x="388046" y="236781"/>
                    <a:pt x="393418" y="238058"/>
                    <a:pt x="398856" y="237962"/>
                  </a:cubicBezTo>
                  <a:cubicBezTo>
                    <a:pt x="404267" y="238067"/>
                    <a:pt x="409610" y="236791"/>
                    <a:pt x="414382" y="234248"/>
                  </a:cubicBezTo>
                  <a:lnTo>
                    <a:pt x="557257" y="151666"/>
                  </a:lnTo>
                  <a:lnTo>
                    <a:pt x="558210" y="151094"/>
                  </a:lnTo>
                  <a:cubicBezTo>
                    <a:pt x="561306" y="149390"/>
                    <a:pt x="563344" y="146237"/>
                    <a:pt x="563639" y="142712"/>
                  </a:cubicBezTo>
                  <a:lnTo>
                    <a:pt x="563639" y="134997"/>
                  </a:lnTo>
                  <a:cubicBezTo>
                    <a:pt x="563630" y="136340"/>
                    <a:pt x="563268" y="137655"/>
                    <a:pt x="562591" y="138807"/>
                  </a:cubicBezTo>
                  <a:cubicBezTo>
                    <a:pt x="561553" y="140684"/>
                    <a:pt x="560039" y="142255"/>
                    <a:pt x="558210" y="143379"/>
                  </a:cubicBezTo>
                  <a:lnTo>
                    <a:pt x="557257" y="144046"/>
                  </a:lnTo>
                  <a:lnTo>
                    <a:pt x="414382" y="226533"/>
                  </a:lnTo>
                  <a:cubicBezTo>
                    <a:pt x="409629" y="229123"/>
                    <a:pt x="404267" y="230399"/>
                    <a:pt x="398856" y="230247"/>
                  </a:cubicBezTo>
                  <a:cubicBezTo>
                    <a:pt x="393418" y="230390"/>
                    <a:pt x="388036" y="229104"/>
                    <a:pt x="383236" y="226533"/>
                  </a:cubicBezTo>
                  <a:lnTo>
                    <a:pt x="6046" y="8791"/>
                  </a:lnTo>
                  <a:lnTo>
                    <a:pt x="5188" y="8219"/>
                  </a:lnTo>
                  <a:cubicBezTo>
                    <a:pt x="3331" y="7105"/>
                    <a:pt x="1788" y="5533"/>
                    <a:pt x="712" y="3647"/>
                  </a:cubicBezTo>
                  <a:cubicBezTo>
                    <a:pt x="45" y="2485"/>
                    <a:pt x="-317" y="1171"/>
                    <a:pt x="-336" y="-163"/>
                  </a:cubicBezTo>
                  <a:close/>
                </a:path>
              </a:pathLst>
            </a:custGeom>
            <a:solidFill>
              <a:srgbClr val="BF4200"/>
            </a:solidFill>
            <a:ln w="9525" cap="flat">
              <a:noFill/>
              <a:prstDash val="solid"/>
              <a:miter/>
            </a:ln>
          </p:spPr>
          <p:txBody>
            <a:bodyPr rtlCol="0" anchor="ctr"/>
            <a:lstStyle/>
            <a:p>
              <a:endParaRPr lang="zh-CN" altLang="en-US"/>
            </a:p>
          </p:txBody>
        </p:sp>
        <p:sp>
          <p:nvSpPr>
            <p:cNvPr id="381" name="îŝļiďè">
              <a:extLst>
                <a:ext uri="{FF2B5EF4-FFF2-40B4-BE49-F238E27FC236}">
                  <a16:creationId xmlns:a16="http://schemas.microsoft.com/office/drawing/2014/main" id="{E22A9682-4E2B-423E-9C44-F34C887C00F4}"/>
                </a:ext>
              </a:extLst>
            </p:cNvPr>
            <p:cNvSpPr/>
            <p:nvPr/>
          </p:nvSpPr>
          <p:spPr>
            <a:xfrm>
              <a:off x="4874988" y="4583739"/>
              <a:ext cx="1716699" cy="991611"/>
            </a:xfrm>
            <a:custGeom>
              <a:avLst/>
              <a:gdLst>
                <a:gd name="connsiteX0" fmla="*/ -336 w 563975"/>
                <a:gd name="connsiteY0" fmla="*/ 95182 h 325767"/>
                <a:gd name="connsiteX1" fmla="*/ 712 w 563975"/>
                <a:gd name="connsiteY1" fmla="*/ 98992 h 325767"/>
                <a:gd name="connsiteX2" fmla="*/ 5188 w 563975"/>
                <a:gd name="connsiteY2" fmla="*/ 103565 h 325767"/>
                <a:gd name="connsiteX3" fmla="*/ 6046 w 563975"/>
                <a:gd name="connsiteY3" fmla="*/ 104136 h 325767"/>
                <a:gd name="connsiteX4" fmla="*/ 383236 w 563975"/>
                <a:gd name="connsiteY4" fmla="*/ 321878 h 325767"/>
                <a:gd name="connsiteX5" fmla="*/ 398856 w 563975"/>
                <a:gd name="connsiteY5" fmla="*/ 325592 h 325767"/>
                <a:gd name="connsiteX6" fmla="*/ 414382 w 563975"/>
                <a:gd name="connsiteY6" fmla="*/ 321878 h 325767"/>
                <a:gd name="connsiteX7" fmla="*/ 557257 w 563975"/>
                <a:gd name="connsiteY7" fmla="*/ 239391 h 325767"/>
                <a:gd name="connsiteX8" fmla="*/ 558210 w 563975"/>
                <a:gd name="connsiteY8" fmla="*/ 238724 h 325767"/>
                <a:gd name="connsiteX9" fmla="*/ 562591 w 563975"/>
                <a:gd name="connsiteY9" fmla="*/ 234152 h 325767"/>
                <a:gd name="connsiteX10" fmla="*/ 563639 w 563975"/>
                <a:gd name="connsiteY10" fmla="*/ 230342 h 325767"/>
                <a:gd name="connsiteX11" fmla="*/ 557257 w 563975"/>
                <a:gd name="connsiteY11" fmla="*/ 221389 h 325767"/>
                <a:gd name="connsiteX12" fmla="*/ 180163 w 563975"/>
                <a:gd name="connsiteY12" fmla="*/ 3552 h 325767"/>
                <a:gd name="connsiteX13" fmla="*/ 149111 w 563975"/>
                <a:gd name="connsiteY13" fmla="*/ 3552 h 325767"/>
                <a:gd name="connsiteX14" fmla="*/ 6236 w 563975"/>
                <a:gd name="connsiteY14" fmla="*/ 86134 h 325767"/>
                <a:gd name="connsiteX15" fmla="*/ -336 w 563975"/>
                <a:gd name="connsiteY15" fmla="*/ 95182 h 325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63975" h="325767">
                  <a:moveTo>
                    <a:pt x="-336" y="95182"/>
                  </a:moveTo>
                  <a:cubicBezTo>
                    <a:pt x="-317" y="96516"/>
                    <a:pt x="45" y="97831"/>
                    <a:pt x="712" y="98992"/>
                  </a:cubicBezTo>
                  <a:cubicBezTo>
                    <a:pt x="1788" y="100878"/>
                    <a:pt x="3331" y="102450"/>
                    <a:pt x="5188" y="103565"/>
                  </a:cubicBezTo>
                  <a:lnTo>
                    <a:pt x="6046" y="104136"/>
                  </a:lnTo>
                  <a:lnTo>
                    <a:pt x="383236" y="321878"/>
                  </a:lnTo>
                  <a:cubicBezTo>
                    <a:pt x="388036" y="324449"/>
                    <a:pt x="393418" y="325735"/>
                    <a:pt x="398856" y="325592"/>
                  </a:cubicBezTo>
                  <a:cubicBezTo>
                    <a:pt x="404267" y="325745"/>
                    <a:pt x="409629" y="324468"/>
                    <a:pt x="414382" y="321878"/>
                  </a:cubicBezTo>
                  <a:lnTo>
                    <a:pt x="557257" y="239391"/>
                  </a:lnTo>
                  <a:lnTo>
                    <a:pt x="558210" y="238724"/>
                  </a:lnTo>
                  <a:cubicBezTo>
                    <a:pt x="560039" y="237600"/>
                    <a:pt x="561544" y="236029"/>
                    <a:pt x="562591" y="234152"/>
                  </a:cubicBezTo>
                  <a:cubicBezTo>
                    <a:pt x="563268" y="233000"/>
                    <a:pt x="563630" y="231685"/>
                    <a:pt x="563639" y="230342"/>
                  </a:cubicBezTo>
                  <a:cubicBezTo>
                    <a:pt x="563268" y="226427"/>
                    <a:pt x="560839" y="223008"/>
                    <a:pt x="557257" y="221389"/>
                  </a:cubicBezTo>
                  <a:lnTo>
                    <a:pt x="180163" y="3552"/>
                  </a:lnTo>
                  <a:cubicBezTo>
                    <a:pt x="170409" y="-1401"/>
                    <a:pt x="158865" y="-1401"/>
                    <a:pt x="149111" y="3552"/>
                  </a:cubicBezTo>
                  <a:lnTo>
                    <a:pt x="6236" y="86134"/>
                  </a:lnTo>
                  <a:cubicBezTo>
                    <a:pt x="2540" y="87705"/>
                    <a:pt x="16" y="91182"/>
                    <a:pt x="-336" y="95182"/>
                  </a:cubicBezTo>
                  <a:close/>
                </a:path>
              </a:pathLst>
            </a:custGeom>
            <a:solidFill>
              <a:srgbClr val="D9530B"/>
            </a:solidFill>
            <a:ln w="9525" cap="flat">
              <a:noFill/>
              <a:prstDash val="solid"/>
              <a:miter/>
            </a:ln>
          </p:spPr>
          <p:txBody>
            <a:bodyPr rtlCol="0" anchor="ctr"/>
            <a:lstStyle/>
            <a:p>
              <a:endParaRPr lang="zh-CN" altLang="en-US"/>
            </a:p>
          </p:txBody>
        </p:sp>
        <p:sp>
          <p:nvSpPr>
            <p:cNvPr id="382" name="îṧļïḑé">
              <a:extLst>
                <a:ext uri="{FF2B5EF4-FFF2-40B4-BE49-F238E27FC236}">
                  <a16:creationId xmlns:a16="http://schemas.microsoft.com/office/drawing/2014/main" id="{0C41D675-F83C-4529-BE85-27CB75222476}"/>
                </a:ext>
              </a:extLst>
            </p:cNvPr>
            <p:cNvSpPr/>
            <p:nvPr/>
          </p:nvSpPr>
          <p:spPr>
            <a:xfrm>
              <a:off x="4888905" y="4592004"/>
              <a:ext cx="1690603" cy="975408"/>
            </a:xfrm>
            <a:custGeom>
              <a:avLst/>
              <a:gdLst>
                <a:gd name="connsiteX0" fmla="*/ -336 w 555402"/>
                <a:gd name="connsiteY0" fmla="*/ 92468 h 320444"/>
                <a:gd name="connsiteX1" fmla="*/ 4045 w 555402"/>
                <a:gd name="connsiteY1" fmla="*/ 99040 h 320444"/>
                <a:gd name="connsiteX2" fmla="*/ 4807 w 555402"/>
                <a:gd name="connsiteY2" fmla="*/ 99516 h 320444"/>
                <a:gd name="connsiteX3" fmla="*/ 382473 w 555402"/>
                <a:gd name="connsiteY3" fmla="*/ 317353 h 320444"/>
                <a:gd name="connsiteX4" fmla="*/ 407048 w 555402"/>
                <a:gd name="connsiteY4" fmla="*/ 317353 h 320444"/>
                <a:gd name="connsiteX5" fmla="*/ 549923 w 555402"/>
                <a:gd name="connsiteY5" fmla="*/ 234771 h 320444"/>
                <a:gd name="connsiteX6" fmla="*/ 550685 w 555402"/>
                <a:gd name="connsiteY6" fmla="*/ 234295 h 320444"/>
                <a:gd name="connsiteX7" fmla="*/ 555066 w 555402"/>
                <a:gd name="connsiteY7" fmla="*/ 227628 h 320444"/>
                <a:gd name="connsiteX8" fmla="*/ 549923 w 555402"/>
                <a:gd name="connsiteY8" fmla="*/ 220579 h 320444"/>
                <a:gd name="connsiteX9" fmla="*/ 172733 w 555402"/>
                <a:gd name="connsiteY9" fmla="*/ 2838 h 320444"/>
                <a:gd name="connsiteX10" fmla="*/ 148158 w 555402"/>
                <a:gd name="connsiteY10" fmla="*/ 2838 h 320444"/>
                <a:gd name="connsiteX11" fmla="*/ 5283 w 555402"/>
                <a:gd name="connsiteY11" fmla="*/ 85324 h 320444"/>
                <a:gd name="connsiteX12" fmla="*/ -336 w 555402"/>
                <a:gd name="connsiteY12" fmla="*/ 92468 h 320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55402" h="320444">
                  <a:moveTo>
                    <a:pt x="-336" y="92468"/>
                  </a:moveTo>
                  <a:cubicBezTo>
                    <a:pt x="-155" y="95287"/>
                    <a:pt x="1521" y="97792"/>
                    <a:pt x="4045" y="99040"/>
                  </a:cubicBezTo>
                  <a:lnTo>
                    <a:pt x="4807" y="99516"/>
                  </a:lnTo>
                  <a:lnTo>
                    <a:pt x="382473" y="317353"/>
                  </a:lnTo>
                  <a:cubicBezTo>
                    <a:pt x="390198" y="321259"/>
                    <a:pt x="399323" y="321259"/>
                    <a:pt x="407048" y="317353"/>
                  </a:cubicBezTo>
                  <a:lnTo>
                    <a:pt x="549923" y="234771"/>
                  </a:lnTo>
                  <a:lnTo>
                    <a:pt x="550685" y="234295"/>
                  </a:lnTo>
                  <a:cubicBezTo>
                    <a:pt x="553180" y="232952"/>
                    <a:pt x="554828" y="230447"/>
                    <a:pt x="555066" y="227628"/>
                  </a:cubicBezTo>
                  <a:cubicBezTo>
                    <a:pt x="554790" y="224513"/>
                    <a:pt x="552809" y="221798"/>
                    <a:pt x="549923" y="220579"/>
                  </a:cubicBezTo>
                  <a:lnTo>
                    <a:pt x="172733" y="2838"/>
                  </a:lnTo>
                  <a:cubicBezTo>
                    <a:pt x="165027" y="-1163"/>
                    <a:pt x="155864" y="-1163"/>
                    <a:pt x="148158" y="2838"/>
                  </a:cubicBezTo>
                  <a:lnTo>
                    <a:pt x="5283" y="85324"/>
                  </a:lnTo>
                  <a:cubicBezTo>
                    <a:pt x="2226" y="86467"/>
                    <a:pt x="64" y="89229"/>
                    <a:pt x="-336" y="92468"/>
                  </a:cubicBezTo>
                  <a:close/>
                </a:path>
              </a:pathLst>
            </a:custGeom>
            <a:solidFill>
              <a:srgbClr val="FF7D33"/>
            </a:solidFill>
            <a:ln w="9525" cap="flat">
              <a:noFill/>
              <a:prstDash val="solid"/>
              <a:miter/>
            </a:ln>
          </p:spPr>
          <p:txBody>
            <a:bodyPr rtlCol="0" anchor="ctr"/>
            <a:lstStyle/>
            <a:p>
              <a:endParaRPr lang="zh-CN" altLang="en-US"/>
            </a:p>
          </p:txBody>
        </p:sp>
        <p:sp>
          <p:nvSpPr>
            <p:cNvPr id="383" name="îsļîďe">
              <a:extLst>
                <a:ext uri="{FF2B5EF4-FFF2-40B4-BE49-F238E27FC236}">
                  <a16:creationId xmlns:a16="http://schemas.microsoft.com/office/drawing/2014/main" id="{E56C1C4E-33BF-432E-A85C-7E70B2BC7617}"/>
                </a:ext>
              </a:extLst>
            </p:cNvPr>
            <p:cNvSpPr/>
            <p:nvPr/>
          </p:nvSpPr>
          <p:spPr>
            <a:xfrm>
              <a:off x="5313079" y="4592220"/>
              <a:ext cx="146416" cy="84804"/>
            </a:xfrm>
            <a:custGeom>
              <a:avLst/>
              <a:gdLst>
                <a:gd name="connsiteX0" fmla="*/ -336 w 48101"/>
                <a:gd name="connsiteY0" fmla="*/ 10291 h 27860"/>
                <a:gd name="connsiteX1" fmla="*/ 1188 w 48101"/>
                <a:gd name="connsiteY1" fmla="*/ 12577 h 27860"/>
                <a:gd name="connsiteX2" fmla="*/ 3569 w 48101"/>
                <a:gd name="connsiteY2" fmla="*/ 13911 h 27860"/>
                <a:gd name="connsiteX3" fmla="*/ 25857 w 48101"/>
                <a:gd name="connsiteY3" fmla="*/ 26769 h 27860"/>
                <a:gd name="connsiteX4" fmla="*/ 33668 w 48101"/>
                <a:gd name="connsiteY4" fmla="*/ 26769 h 27860"/>
                <a:gd name="connsiteX5" fmla="*/ 43860 w 48101"/>
                <a:gd name="connsiteY5" fmla="*/ 20864 h 27860"/>
                <a:gd name="connsiteX6" fmla="*/ 46241 w 48101"/>
                <a:gd name="connsiteY6" fmla="*/ 19530 h 27860"/>
                <a:gd name="connsiteX7" fmla="*/ 47765 w 48101"/>
                <a:gd name="connsiteY7" fmla="*/ 17816 h 27860"/>
                <a:gd name="connsiteX8" fmla="*/ 47765 w 48101"/>
                <a:gd name="connsiteY8" fmla="*/ 16768 h 27860"/>
                <a:gd name="connsiteX9" fmla="*/ 46241 w 48101"/>
                <a:gd name="connsiteY9" fmla="*/ 15054 h 27860"/>
                <a:gd name="connsiteX10" fmla="*/ 21476 w 48101"/>
                <a:gd name="connsiteY10" fmla="*/ 766 h 27860"/>
                <a:gd name="connsiteX11" fmla="*/ 13856 w 48101"/>
                <a:gd name="connsiteY11" fmla="*/ 766 h 27860"/>
                <a:gd name="connsiteX12" fmla="*/ 1188 w 48101"/>
                <a:gd name="connsiteY12" fmla="*/ 8100 h 27860"/>
                <a:gd name="connsiteX13" fmla="*/ -336 w 48101"/>
                <a:gd name="connsiteY13" fmla="*/ 10291 h 27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8101" h="27860">
                  <a:moveTo>
                    <a:pt x="-336" y="10291"/>
                  </a:moveTo>
                  <a:cubicBezTo>
                    <a:pt x="-270" y="11272"/>
                    <a:pt x="311" y="12139"/>
                    <a:pt x="1188" y="12577"/>
                  </a:cubicBezTo>
                  <a:lnTo>
                    <a:pt x="3569" y="13911"/>
                  </a:lnTo>
                  <a:lnTo>
                    <a:pt x="25857" y="26769"/>
                  </a:lnTo>
                  <a:cubicBezTo>
                    <a:pt x="28315" y="28007"/>
                    <a:pt x="31211" y="28007"/>
                    <a:pt x="33668" y="26769"/>
                  </a:cubicBezTo>
                  <a:lnTo>
                    <a:pt x="43860" y="20864"/>
                  </a:lnTo>
                  <a:lnTo>
                    <a:pt x="46241" y="19530"/>
                  </a:lnTo>
                  <a:cubicBezTo>
                    <a:pt x="46946" y="19168"/>
                    <a:pt x="47479" y="18559"/>
                    <a:pt x="47765" y="17816"/>
                  </a:cubicBezTo>
                  <a:lnTo>
                    <a:pt x="47765" y="16768"/>
                  </a:lnTo>
                  <a:cubicBezTo>
                    <a:pt x="47479" y="16025"/>
                    <a:pt x="46946" y="15415"/>
                    <a:pt x="46241" y="15054"/>
                  </a:cubicBezTo>
                  <a:lnTo>
                    <a:pt x="21476" y="766"/>
                  </a:lnTo>
                  <a:cubicBezTo>
                    <a:pt x="19085" y="-472"/>
                    <a:pt x="16247" y="-472"/>
                    <a:pt x="13856" y="766"/>
                  </a:cubicBezTo>
                  <a:lnTo>
                    <a:pt x="1188" y="8100"/>
                  </a:lnTo>
                  <a:cubicBezTo>
                    <a:pt x="311" y="8491"/>
                    <a:pt x="-279"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384" name="ïṡḷïḓé">
              <a:extLst>
                <a:ext uri="{FF2B5EF4-FFF2-40B4-BE49-F238E27FC236}">
                  <a16:creationId xmlns:a16="http://schemas.microsoft.com/office/drawing/2014/main" id="{AA1FC480-8C7A-4CA8-8298-B2A0281769BA}"/>
                </a:ext>
              </a:extLst>
            </p:cNvPr>
            <p:cNvSpPr/>
            <p:nvPr/>
          </p:nvSpPr>
          <p:spPr>
            <a:xfrm>
              <a:off x="5314963" y="4594539"/>
              <a:ext cx="142718" cy="82484"/>
            </a:xfrm>
            <a:custGeom>
              <a:avLst/>
              <a:gdLst>
                <a:gd name="connsiteX0" fmla="*/ 25429 w 46886"/>
                <a:gd name="connsiteY0" fmla="*/ 26007 h 27098"/>
                <a:gd name="connsiteX1" fmla="*/ 1235 w 46886"/>
                <a:gd name="connsiteY1" fmla="*/ 12006 h 27098"/>
                <a:gd name="connsiteX2" fmla="*/ 1235 w 46886"/>
                <a:gd name="connsiteY2" fmla="*/ 7719 h 27098"/>
                <a:gd name="connsiteX3" fmla="*/ 13332 w 46886"/>
                <a:gd name="connsiteY3" fmla="*/ 766 h 27098"/>
                <a:gd name="connsiteX4" fmla="*/ 20761 w 46886"/>
                <a:gd name="connsiteY4" fmla="*/ 766 h 27098"/>
                <a:gd name="connsiteX5" fmla="*/ 45050 w 46886"/>
                <a:gd name="connsiteY5" fmla="*/ 14768 h 27098"/>
                <a:gd name="connsiteX6" fmla="*/ 45050 w 46886"/>
                <a:gd name="connsiteY6" fmla="*/ 19054 h 27098"/>
                <a:gd name="connsiteX7" fmla="*/ 32858 w 46886"/>
                <a:gd name="connsiteY7" fmla="*/ 26007 h 27098"/>
                <a:gd name="connsiteX8" fmla="*/ 25429 w 46886"/>
                <a:gd name="connsiteY8" fmla="*/ 26007 h 270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886" h="27098">
                  <a:moveTo>
                    <a:pt x="25429" y="26007"/>
                  </a:moveTo>
                  <a:lnTo>
                    <a:pt x="1235" y="12006"/>
                  </a:lnTo>
                  <a:cubicBezTo>
                    <a:pt x="-860" y="10863"/>
                    <a:pt x="-860" y="8958"/>
                    <a:pt x="1235" y="7719"/>
                  </a:cubicBezTo>
                  <a:lnTo>
                    <a:pt x="13332" y="766"/>
                  </a:lnTo>
                  <a:cubicBezTo>
                    <a:pt x="15656" y="-472"/>
                    <a:pt x="18437" y="-472"/>
                    <a:pt x="20761" y="766"/>
                  </a:cubicBezTo>
                  <a:lnTo>
                    <a:pt x="45050" y="14768"/>
                  </a:lnTo>
                  <a:cubicBezTo>
                    <a:pt x="47051" y="15911"/>
                    <a:pt x="47051" y="17816"/>
                    <a:pt x="45050" y="19054"/>
                  </a:cubicBezTo>
                  <a:lnTo>
                    <a:pt x="32858" y="26007"/>
                  </a:lnTo>
                  <a:cubicBezTo>
                    <a:pt x="30534" y="27245"/>
                    <a:pt x="27753" y="27245"/>
                    <a:pt x="25429" y="26007"/>
                  </a:cubicBezTo>
                  <a:close/>
                </a:path>
              </a:pathLst>
            </a:custGeom>
            <a:solidFill>
              <a:srgbClr val="D1D9E8"/>
            </a:solidFill>
            <a:ln w="9525" cap="flat">
              <a:noFill/>
              <a:prstDash val="solid"/>
              <a:miter/>
            </a:ln>
          </p:spPr>
          <p:txBody>
            <a:bodyPr rtlCol="0" anchor="ctr"/>
            <a:lstStyle/>
            <a:p>
              <a:endParaRPr lang="zh-CN" altLang="en-US"/>
            </a:p>
          </p:txBody>
        </p:sp>
        <p:sp>
          <p:nvSpPr>
            <p:cNvPr id="385" name="îṩḷíḋê">
              <a:extLst>
                <a:ext uri="{FF2B5EF4-FFF2-40B4-BE49-F238E27FC236}">
                  <a16:creationId xmlns:a16="http://schemas.microsoft.com/office/drawing/2014/main" id="{0DA03A87-DB88-4EA2-A22C-E4C275BC50FF}"/>
                </a:ext>
              </a:extLst>
            </p:cNvPr>
            <p:cNvSpPr/>
            <p:nvPr/>
          </p:nvSpPr>
          <p:spPr>
            <a:xfrm>
              <a:off x="5313079" y="4624041"/>
              <a:ext cx="146416" cy="74728"/>
            </a:xfrm>
            <a:custGeom>
              <a:avLst/>
              <a:gdLst>
                <a:gd name="connsiteX0" fmla="*/ -336 w 48101"/>
                <a:gd name="connsiteY0" fmla="*/ -163 h 24550"/>
                <a:gd name="connsiteX1" fmla="*/ -336 w 48101"/>
                <a:gd name="connsiteY1" fmla="*/ 6981 h 24550"/>
                <a:gd name="connsiteX2" fmla="*/ 1188 w 48101"/>
                <a:gd name="connsiteY2" fmla="*/ 9267 h 24550"/>
                <a:gd name="connsiteX3" fmla="*/ 25857 w 48101"/>
                <a:gd name="connsiteY3" fmla="*/ 23459 h 24550"/>
                <a:gd name="connsiteX4" fmla="*/ 33668 w 48101"/>
                <a:gd name="connsiteY4" fmla="*/ 23459 h 24550"/>
                <a:gd name="connsiteX5" fmla="*/ 46241 w 48101"/>
                <a:gd name="connsiteY5" fmla="*/ 16220 h 24550"/>
                <a:gd name="connsiteX6" fmla="*/ 47765 w 48101"/>
                <a:gd name="connsiteY6" fmla="*/ 14601 h 24550"/>
                <a:gd name="connsiteX7" fmla="*/ 47765 w 48101"/>
                <a:gd name="connsiteY7" fmla="*/ 7362 h 24550"/>
                <a:gd name="connsiteX8" fmla="*/ 46241 w 48101"/>
                <a:gd name="connsiteY8" fmla="*/ 9077 h 24550"/>
                <a:gd name="connsiteX9" fmla="*/ 43860 w 48101"/>
                <a:gd name="connsiteY9" fmla="*/ 10410 h 24550"/>
                <a:gd name="connsiteX10" fmla="*/ 33668 w 48101"/>
                <a:gd name="connsiteY10" fmla="*/ 16316 h 24550"/>
                <a:gd name="connsiteX11" fmla="*/ 25857 w 48101"/>
                <a:gd name="connsiteY11" fmla="*/ 16316 h 24550"/>
                <a:gd name="connsiteX12" fmla="*/ 3569 w 48101"/>
                <a:gd name="connsiteY12" fmla="*/ 3457 h 24550"/>
                <a:gd name="connsiteX13" fmla="*/ 1188 w 48101"/>
                <a:gd name="connsiteY13" fmla="*/ 2123 h 24550"/>
                <a:gd name="connsiteX14" fmla="*/ -336 w 48101"/>
                <a:gd name="connsiteY14" fmla="*/ -163 h 24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8101" h="24550">
                  <a:moveTo>
                    <a:pt x="-336" y="-163"/>
                  </a:moveTo>
                  <a:lnTo>
                    <a:pt x="-336" y="6981"/>
                  </a:lnTo>
                  <a:cubicBezTo>
                    <a:pt x="-251" y="7953"/>
                    <a:pt x="321" y="8819"/>
                    <a:pt x="1188" y="9267"/>
                  </a:cubicBezTo>
                  <a:lnTo>
                    <a:pt x="25857" y="23459"/>
                  </a:lnTo>
                  <a:cubicBezTo>
                    <a:pt x="28315" y="24697"/>
                    <a:pt x="31211" y="24697"/>
                    <a:pt x="33668" y="23459"/>
                  </a:cubicBezTo>
                  <a:lnTo>
                    <a:pt x="46241" y="16220"/>
                  </a:lnTo>
                  <a:cubicBezTo>
                    <a:pt x="46917" y="15868"/>
                    <a:pt x="47451" y="15296"/>
                    <a:pt x="47765" y="14601"/>
                  </a:cubicBezTo>
                  <a:lnTo>
                    <a:pt x="47765" y="7362"/>
                  </a:lnTo>
                  <a:cubicBezTo>
                    <a:pt x="47479" y="8105"/>
                    <a:pt x="46946" y="8715"/>
                    <a:pt x="46241" y="9077"/>
                  </a:cubicBezTo>
                  <a:lnTo>
                    <a:pt x="43860" y="10410"/>
                  </a:lnTo>
                  <a:lnTo>
                    <a:pt x="33668" y="16316"/>
                  </a:lnTo>
                  <a:cubicBezTo>
                    <a:pt x="31211" y="17554"/>
                    <a:pt x="28315" y="17554"/>
                    <a:pt x="25857" y="16316"/>
                  </a:cubicBezTo>
                  <a:lnTo>
                    <a:pt x="3569" y="3457"/>
                  </a:lnTo>
                  <a:lnTo>
                    <a:pt x="1188"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386" name="iṡľidé">
              <a:extLst>
                <a:ext uri="{FF2B5EF4-FFF2-40B4-BE49-F238E27FC236}">
                  <a16:creationId xmlns:a16="http://schemas.microsoft.com/office/drawing/2014/main" id="{7DA1ECB1-7BFD-4C57-AA8A-2C311A6E582F}"/>
                </a:ext>
              </a:extLst>
            </p:cNvPr>
            <p:cNvSpPr/>
            <p:nvPr/>
          </p:nvSpPr>
          <p:spPr>
            <a:xfrm>
              <a:off x="5429923" y="4660839"/>
              <a:ext cx="109740" cy="63442"/>
            </a:xfrm>
            <a:custGeom>
              <a:avLst/>
              <a:gdLst>
                <a:gd name="connsiteX0" fmla="*/ -336 w 36052"/>
                <a:gd name="connsiteY0" fmla="*/ 10227 h 20842"/>
                <a:gd name="connsiteX1" fmla="*/ 1188 w 36052"/>
                <a:gd name="connsiteY1" fmla="*/ 12513 h 20842"/>
                <a:gd name="connsiteX2" fmla="*/ 3569 w 36052"/>
                <a:gd name="connsiteY2" fmla="*/ 13846 h 20842"/>
                <a:gd name="connsiteX3" fmla="*/ 13856 w 36052"/>
                <a:gd name="connsiteY3" fmla="*/ 19752 h 20842"/>
                <a:gd name="connsiteX4" fmla="*/ 21476 w 36052"/>
                <a:gd name="connsiteY4" fmla="*/ 19752 h 20842"/>
                <a:gd name="connsiteX5" fmla="*/ 31763 w 36052"/>
                <a:gd name="connsiteY5" fmla="*/ 13846 h 20842"/>
                <a:gd name="connsiteX6" fmla="*/ 34144 w 36052"/>
                <a:gd name="connsiteY6" fmla="*/ 12513 h 20842"/>
                <a:gd name="connsiteX7" fmla="*/ 35573 w 36052"/>
                <a:gd name="connsiteY7" fmla="*/ 9465 h 20842"/>
                <a:gd name="connsiteX8" fmla="*/ 34144 w 36052"/>
                <a:gd name="connsiteY8" fmla="*/ 8036 h 20842"/>
                <a:gd name="connsiteX9" fmla="*/ 21476 w 36052"/>
                <a:gd name="connsiteY9" fmla="*/ 702 h 20842"/>
                <a:gd name="connsiteX10" fmla="*/ 13856 w 36052"/>
                <a:gd name="connsiteY10" fmla="*/ 702 h 20842"/>
                <a:gd name="connsiteX11" fmla="*/ 1188 w 36052"/>
                <a:gd name="connsiteY11" fmla="*/ 8036 h 20842"/>
                <a:gd name="connsiteX12" fmla="*/ -336 w 36052"/>
                <a:gd name="connsiteY12" fmla="*/ 10227 h 20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2">
                  <a:moveTo>
                    <a:pt x="-336" y="10227"/>
                  </a:moveTo>
                  <a:cubicBezTo>
                    <a:pt x="-270" y="11208"/>
                    <a:pt x="311" y="12074"/>
                    <a:pt x="1188" y="12513"/>
                  </a:cubicBezTo>
                  <a:lnTo>
                    <a:pt x="3569" y="13846"/>
                  </a:lnTo>
                  <a:lnTo>
                    <a:pt x="13856" y="19752"/>
                  </a:lnTo>
                  <a:cubicBezTo>
                    <a:pt x="16247" y="20990"/>
                    <a:pt x="19085" y="20990"/>
                    <a:pt x="21476" y="19752"/>
                  </a:cubicBezTo>
                  <a:lnTo>
                    <a:pt x="31763" y="13846"/>
                  </a:lnTo>
                  <a:lnTo>
                    <a:pt x="34144" y="12513"/>
                  </a:lnTo>
                  <a:cubicBezTo>
                    <a:pt x="35382" y="12065"/>
                    <a:pt x="36020" y="10693"/>
                    <a:pt x="35573" y="9465"/>
                  </a:cubicBezTo>
                  <a:cubicBezTo>
                    <a:pt x="35325" y="8798"/>
                    <a:pt x="34811" y="8274"/>
                    <a:pt x="34144"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387" name="iś1ïḓé">
              <a:extLst>
                <a:ext uri="{FF2B5EF4-FFF2-40B4-BE49-F238E27FC236}">
                  <a16:creationId xmlns:a16="http://schemas.microsoft.com/office/drawing/2014/main" id="{C6BCECAE-A361-46DB-96B1-6B798F06CECD}"/>
                </a:ext>
              </a:extLst>
            </p:cNvPr>
            <p:cNvSpPr/>
            <p:nvPr/>
          </p:nvSpPr>
          <p:spPr>
            <a:xfrm>
              <a:off x="5431808" y="4662020"/>
              <a:ext cx="105895" cy="61104"/>
            </a:xfrm>
            <a:custGeom>
              <a:avLst/>
              <a:gdLst>
                <a:gd name="connsiteX0" fmla="*/ 1235 w 34789"/>
                <a:gd name="connsiteY0" fmla="*/ 12029 h 20074"/>
                <a:gd name="connsiteX1" fmla="*/ 13332 w 34789"/>
                <a:gd name="connsiteY1" fmla="*/ 18983 h 20074"/>
                <a:gd name="connsiteX2" fmla="*/ 20761 w 34789"/>
                <a:gd name="connsiteY2" fmla="*/ 18983 h 20074"/>
                <a:gd name="connsiteX3" fmla="*/ 32953 w 34789"/>
                <a:gd name="connsiteY3" fmla="*/ 12029 h 20074"/>
                <a:gd name="connsiteX4" fmla="*/ 32953 w 34789"/>
                <a:gd name="connsiteY4" fmla="*/ 7743 h 20074"/>
                <a:gd name="connsiteX5" fmla="*/ 20761 w 34789"/>
                <a:gd name="connsiteY5" fmla="*/ 695 h 20074"/>
                <a:gd name="connsiteX6" fmla="*/ 13332 w 34789"/>
                <a:gd name="connsiteY6" fmla="*/ 695 h 20074"/>
                <a:gd name="connsiteX7" fmla="*/ 1235 w 34789"/>
                <a:gd name="connsiteY7" fmla="*/ 7743 h 20074"/>
                <a:gd name="connsiteX8" fmla="*/ 1235 w 34789"/>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89" h="20074">
                  <a:moveTo>
                    <a:pt x="1235" y="12029"/>
                  </a:moveTo>
                  <a:lnTo>
                    <a:pt x="13332" y="18983"/>
                  </a:lnTo>
                  <a:cubicBezTo>
                    <a:pt x="15656" y="20221"/>
                    <a:pt x="18437" y="20221"/>
                    <a:pt x="20761" y="18983"/>
                  </a:cubicBezTo>
                  <a:lnTo>
                    <a:pt x="32953" y="12029"/>
                  </a:lnTo>
                  <a:cubicBezTo>
                    <a:pt x="34954" y="10791"/>
                    <a:pt x="34954" y="8886"/>
                    <a:pt x="32953" y="7743"/>
                  </a:cubicBezTo>
                  <a:lnTo>
                    <a:pt x="20761" y="695"/>
                  </a:lnTo>
                  <a:cubicBezTo>
                    <a:pt x="18418" y="-448"/>
                    <a:pt x="15675" y="-448"/>
                    <a:pt x="13332" y="695"/>
                  </a:cubicBezTo>
                  <a:lnTo>
                    <a:pt x="1235" y="7743"/>
                  </a:lnTo>
                  <a:cubicBezTo>
                    <a:pt x="-860" y="8886"/>
                    <a:pt x="-860" y="10791"/>
                    <a:pt x="1235" y="12029"/>
                  </a:cubicBezTo>
                  <a:close/>
                </a:path>
              </a:pathLst>
            </a:custGeom>
            <a:solidFill>
              <a:srgbClr val="D1D9E8"/>
            </a:solidFill>
            <a:ln w="9525" cap="flat">
              <a:noFill/>
              <a:prstDash val="solid"/>
              <a:miter/>
            </a:ln>
          </p:spPr>
          <p:txBody>
            <a:bodyPr rtlCol="0" anchor="ctr"/>
            <a:lstStyle/>
            <a:p>
              <a:endParaRPr lang="zh-CN" altLang="en-US"/>
            </a:p>
          </p:txBody>
        </p:sp>
        <p:sp>
          <p:nvSpPr>
            <p:cNvPr id="388" name="ïṩḻîḍê">
              <a:extLst>
                <a:ext uri="{FF2B5EF4-FFF2-40B4-BE49-F238E27FC236}">
                  <a16:creationId xmlns:a16="http://schemas.microsoft.com/office/drawing/2014/main" id="{402CA260-61FB-4D6D-852D-52181F213AB9}"/>
                </a:ext>
              </a:extLst>
            </p:cNvPr>
            <p:cNvSpPr/>
            <p:nvPr/>
          </p:nvSpPr>
          <p:spPr>
            <a:xfrm>
              <a:off x="5429923" y="4692465"/>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4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4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20"/>
                    <a:pt x="35582" y="7953"/>
                    <a:pt x="35668" y="6981"/>
                  </a:cubicBezTo>
                  <a:lnTo>
                    <a:pt x="35668" y="-163"/>
                  </a:lnTo>
                  <a:cubicBezTo>
                    <a:pt x="35602" y="819"/>
                    <a:pt x="35021" y="1685"/>
                    <a:pt x="34144" y="2124"/>
                  </a:cubicBezTo>
                  <a:lnTo>
                    <a:pt x="31763" y="3457"/>
                  </a:lnTo>
                  <a:lnTo>
                    <a:pt x="21476" y="9362"/>
                  </a:lnTo>
                  <a:cubicBezTo>
                    <a:pt x="19085" y="10601"/>
                    <a:pt x="16247" y="10601"/>
                    <a:pt x="13856" y="9362"/>
                  </a:cubicBezTo>
                  <a:lnTo>
                    <a:pt x="3569" y="3457"/>
                  </a:lnTo>
                  <a:lnTo>
                    <a:pt x="1188" y="2124"/>
                  </a:lnTo>
                  <a:cubicBezTo>
                    <a:pt x="311" y="1685"/>
                    <a:pt x="-270" y="819"/>
                    <a:pt x="-336" y="-163"/>
                  </a:cubicBezTo>
                  <a:close/>
                </a:path>
              </a:pathLst>
            </a:custGeom>
            <a:solidFill>
              <a:srgbClr val="BF4200"/>
            </a:solidFill>
            <a:ln w="9525" cap="flat">
              <a:noFill/>
              <a:prstDash val="solid"/>
              <a:miter/>
            </a:ln>
          </p:spPr>
          <p:txBody>
            <a:bodyPr rtlCol="0" anchor="ctr"/>
            <a:lstStyle/>
            <a:p>
              <a:endParaRPr lang="zh-CN" altLang="en-US"/>
            </a:p>
          </p:txBody>
        </p:sp>
        <p:sp>
          <p:nvSpPr>
            <p:cNvPr id="389" name="ïṣlîde">
              <a:extLst>
                <a:ext uri="{FF2B5EF4-FFF2-40B4-BE49-F238E27FC236}">
                  <a16:creationId xmlns:a16="http://schemas.microsoft.com/office/drawing/2014/main" id="{758AB995-8C2E-4719-9B74-BFC284EBB40B}"/>
                </a:ext>
              </a:extLst>
            </p:cNvPr>
            <p:cNvSpPr/>
            <p:nvPr/>
          </p:nvSpPr>
          <p:spPr>
            <a:xfrm>
              <a:off x="5507337" y="4705293"/>
              <a:ext cx="109740" cy="63639"/>
            </a:xfrm>
            <a:custGeom>
              <a:avLst/>
              <a:gdLst>
                <a:gd name="connsiteX0" fmla="*/ -336 w 36052"/>
                <a:gd name="connsiteY0" fmla="*/ 10291 h 20907"/>
                <a:gd name="connsiteX1" fmla="*/ 1187 w 36052"/>
                <a:gd name="connsiteY1" fmla="*/ 12577 h 20907"/>
                <a:gd name="connsiteX2" fmla="*/ 3569 w 36052"/>
                <a:gd name="connsiteY2" fmla="*/ 13911 h 20907"/>
                <a:gd name="connsiteX3" fmla="*/ 13856 w 36052"/>
                <a:gd name="connsiteY3" fmla="*/ 19816 h 20907"/>
                <a:gd name="connsiteX4" fmla="*/ 21476 w 36052"/>
                <a:gd name="connsiteY4" fmla="*/ 19816 h 20907"/>
                <a:gd name="connsiteX5" fmla="*/ 31763 w 36052"/>
                <a:gd name="connsiteY5" fmla="*/ 13911 h 20907"/>
                <a:gd name="connsiteX6" fmla="*/ 34144 w 36052"/>
                <a:gd name="connsiteY6" fmla="*/ 12577 h 20907"/>
                <a:gd name="connsiteX7" fmla="*/ 35573 w 36052"/>
                <a:gd name="connsiteY7" fmla="*/ 9529 h 20907"/>
                <a:gd name="connsiteX8" fmla="*/ 34144 w 36052"/>
                <a:gd name="connsiteY8" fmla="*/ 8101 h 20907"/>
                <a:gd name="connsiteX9" fmla="*/ 21476 w 36052"/>
                <a:gd name="connsiteY9" fmla="*/ 766 h 20907"/>
                <a:gd name="connsiteX10" fmla="*/ 13856 w 36052"/>
                <a:gd name="connsiteY10" fmla="*/ 766 h 20907"/>
                <a:gd name="connsiteX11" fmla="*/ 1187 w 36052"/>
                <a:gd name="connsiteY11" fmla="*/ 8101 h 20907"/>
                <a:gd name="connsiteX12" fmla="*/ -336 w 36052"/>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907">
                  <a:moveTo>
                    <a:pt x="-336" y="10291"/>
                  </a:moveTo>
                  <a:cubicBezTo>
                    <a:pt x="-270" y="11272"/>
                    <a:pt x="311" y="12139"/>
                    <a:pt x="1187" y="12577"/>
                  </a:cubicBezTo>
                  <a:lnTo>
                    <a:pt x="3569" y="13911"/>
                  </a:lnTo>
                  <a:lnTo>
                    <a:pt x="13856" y="19816"/>
                  </a:lnTo>
                  <a:cubicBezTo>
                    <a:pt x="16247" y="21054"/>
                    <a:pt x="19085" y="21054"/>
                    <a:pt x="21476" y="19816"/>
                  </a:cubicBezTo>
                  <a:lnTo>
                    <a:pt x="31763" y="13911"/>
                  </a:lnTo>
                  <a:lnTo>
                    <a:pt x="34144" y="12577"/>
                  </a:lnTo>
                  <a:cubicBezTo>
                    <a:pt x="35382" y="12129"/>
                    <a:pt x="36020" y="10758"/>
                    <a:pt x="35573" y="9529"/>
                  </a:cubicBezTo>
                  <a:cubicBezTo>
                    <a:pt x="35325" y="8862"/>
                    <a:pt x="34811" y="8339"/>
                    <a:pt x="34144" y="8101"/>
                  </a:cubicBezTo>
                  <a:lnTo>
                    <a:pt x="21476" y="766"/>
                  </a:lnTo>
                  <a:cubicBezTo>
                    <a:pt x="19085" y="-472"/>
                    <a:pt x="16247" y="-472"/>
                    <a:pt x="13856" y="766"/>
                  </a:cubicBezTo>
                  <a:lnTo>
                    <a:pt x="1187" y="8101"/>
                  </a:lnTo>
                  <a:cubicBezTo>
                    <a:pt x="340" y="8519"/>
                    <a:pt x="-241" y="9348"/>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390" name="ïšḻïḍé">
              <a:extLst>
                <a:ext uri="{FF2B5EF4-FFF2-40B4-BE49-F238E27FC236}">
                  <a16:creationId xmlns:a16="http://schemas.microsoft.com/office/drawing/2014/main" id="{E94CDF92-6D9E-49BF-AF43-2A56B326DF42}"/>
                </a:ext>
              </a:extLst>
            </p:cNvPr>
            <p:cNvSpPr/>
            <p:nvPr/>
          </p:nvSpPr>
          <p:spPr>
            <a:xfrm>
              <a:off x="5509148" y="4706671"/>
              <a:ext cx="105898" cy="61101"/>
            </a:xfrm>
            <a:custGeom>
              <a:avLst/>
              <a:gdLst>
                <a:gd name="connsiteX0" fmla="*/ 1164 w 34790"/>
                <a:gd name="connsiteY0" fmla="*/ 12029 h 20073"/>
                <a:gd name="connsiteX1" fmla="*/ 13356 w 34790"/>
                <a:gd name="connsiteY1" fmla="*/ 18982 h 20073"/>
                <a:gd name="connsiteX2" fmla="*/ 20786 w 34790"/>
                <a:gd name="connsiteY2" fmla="*/ 18982 h 20073"/>
                <a:gd name="connsiteX3" fmla="*/ 32882 w 34790"/>
                <a:gd name="connsiteY3" fmla="*/ 12029 h 20073"/>
                <a:gd name="connsiteX4" fmla="*/ 32882 w 34790"/>
                <a:gd name="connsiteY4" fmla="*/ 7743 h 20073"/>
                <a:gd name="connsiteX5" fmla="*/ 20786 w 34790"/>
                <a:gd name="connsiteY5" fmla="*/ 695 h 20073"/>
                <a:gd name="connsiteX6" fmla="*/ 13356 w 34790"/>
                <a:gd name="connsiteY6" fmla="*/ 695 h 20073"/>
                <a:gd name="connsiteX7" fmla="*/ 1164 w 34790"/>
                <a:gd name="connsiteY7" fmla="*/ 7743 h 20073"/>
                <a:gd name="connsiteX8" fmla="*/ 1164 w 34790"/>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3">
                  <a:moveTo>
                    <a:pt x="1164" y="12029"/>
                  </a:moveTo>
                  <a:lnTo>
                    <a:pt x="13356" y="18982"/>
                  </a:lnTo>
                  <a:cubicBezTo>
                    <a:pt x="15680" y="20221"/>
                    <a:pt x="18461" y="20221"/>
                    <a:pt x="20786" y="18982"/>
                  </a:cubicBezTo>
                  <a:lnTo>
                    <a:pt x="32882" y="12029"/>
                  </a:lnTo>
                  <a:cubicBezTo>
                    <a:pt x="34978" y="10791"/>
                    <a:pt x="34978" y="8886"/>
                    <a:pt x="32882" y="7743"/>
                  </a:cubicBezTo>
                  <a:lnTo>
                    <a:pt x="20786" y="695"/>
                  </a:lnTo>
                  <a:cubicBezTo>
                    <a:pt x="18442" y="-448"/>
                    <a:pt x="15699" y="-448"/>
                    <a:pt x="13356" y="695"/>
                  </a:cubicBezTo>
                  <a:lnTo>
                    <a:pt x="1164" y="7743"/>
                  </a:lnTo>
                  <a:cubicBezTo>
                    <a:pt x="-836" y="8886"/>
                    <a:pt x="-836" y="10791"/>
                    <a:pt x="1164" y="12029"/>
                  </a:cubicBezTo>
                  <a:close/>
                </a:path>
              </a:pathLst>
            </a:custGeom>
            <a:solidFill>
              <a:srgbClr val="D1D9E8"/>
            </a:solidFill>
            <a:ln w="9525" cap="flat">
              <a:noFill/>
              <a:prstDash val="solid"/>
              <a:miter/>
            </a:ln>
          </p:spPr>
          <p:txBody>
            <a:bodyPr rtlCol="0" anchor="ctr"/>
            <a:lstStyle/>
            <a:p>
              <a:endParaRPr lang="zh-CN" altLang="en-US"/>
            </a:p>
          </p:txBody>
        </p:sp>
        <p:sp>
          <p:nvSpPr>
            <p:cNvPr id="391" name="ïśľîḓe">
              <a:extLst>
                <a:ext uri="{FF2B5EF4-FFF2-40B4-BE49-F238E27FC236}">
                  <a16:creationId xmlns:a16="http://schemas.microsoft.com/office/drawing/2014/main" id="{F74FB998-CBEE-4BE5-A137-32777F866DF4}"/>
                </a:ext>
              </a:extLst>
            </p:cNvPr>
            <p:cNvSpPr/>
            <p:nvPr/>
          </p:nvSpPr>
          <p:spPr>
            <a:xfrm>
              <a:off x="5507337" y="4737114"/>
              <a:ext cx="109594" cy="53564"/>
            </a:xfrm>
            <a:custGeom>
              <a:avLst/>
              <a:gdLst>
                <a:gd name="connsiteX0" fmla="*/ -336 w 36004"/>
                <a:gd name="connsiteY0" fmla="*/ -163 h 17597"/>
                <a:gd name="connsiteX1" fmla="*/ -336 w 36004"/>
                <a:gd name="connsiteY1" fmla="*/ 7076 h 17597"/>
                <a:gd name="connsiteX2" fmla="*/ 1187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4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7 w 36004"/>
                <a:gd name="connsiteY13" fmla="*/ 2124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7" y="9267"/>
                  </a:cubicBezTo>
                  <a:lnTo>
                    <a:pt x="13856" y="16506"/>
                  </a:lnTo>
                  <a:cubicBezTo>
                    <a:pt x="16247" y="17744"/>
                    <a:pt x="19085" y="17744"/>
                    <a:pt x="21476" y="16506"/>
                  </a:cubicBezTo>
                  <a:lnTo>
                    <a:pt x="34144" y="9267"/>
                  </a:lnTo>
                  <a:cubicBezTo>
                    <a:pt x="35011" y="8819"/>
                    <a:pt x="35582" y="7953"/>
                    <a:pt x="35668" y="6981"/>
                  </a:cubicBezTo>
                  <a:lnTo>
                    <a:pt x="35668" y="-163"/>
                  </a:lnTo>
                  <a:cubicBezTo>
                    <a:pt x="35601" y="818"/>
                    <a:pt x="35020" y="1685"/>
                    <a:pt x="34144" y="2124"/>
                  </a:cubicBezTo>
                  <a:lnTo>
                    <a:pt x="31763" y="3457"/>
                  </a:lnTo>
                  <a:lnTo>
                    <a:pt x="21476" y="9362"/>
                  </a:lnTo>
                  <a:cubicBezTo>
                    <a:pt x="19085" y="10601"/>
                    <a:pt x="16247" y="10601"/>
                    <a:pt x="13856" y="9362"/>
                  </a:cubicBezTo>
                  <a:lnTo>
                    <a:pt x="3569" y="3457"/>
                  </a:lnTo>
                  <a:lnTo>
                    <a:pt x="1187" y="2124"/>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392" name="íŝ1ïḑé">
              <a:extLst>
                <a:ext uri="{FF2B5EF4-FFF2-40B4-BE49-F238E27FC236}">
                  <a16:creationId xmlns:a16="http://schemas.microsoft.com/office/drawing/2014/main" id="{BEDEB679-E08C-4BEE-A638-C3806FC502DE}"/>
                </a:ext>
              </a:extLst>
            </p:cNvPr>
            <p:cNvSpPr/>
            <p:nvPr/>
          </p:nvSpPr>
          <p:spPr>
            <a:xfrm>
              <a:off x="5584457" y="4749944"/>
              <a:ext cx="109883" cy="63639"/>
            </a:xfrm>
            <a:custGeom>
              <a:avLst/>
              <a:gdLst>
                <a:gd name="connsiteX0" fmla="*/ -336 w 36099"/>
                <a:gd name="connsiteY0" fmla="*/ 10291 h 20907"/>
                <a:gd name="connsiteX1" fmla="*/ 1283 w 36099"/>
                <a:gd name="connsiteY1" fmla="*/ 12577 h 20907"/>
                <a:gd name="connsiteX2" fmla="*/ 3569 w 36099"/>
                <a:gd name="connsiteY2" fmla="*/ 13911 h 20907"/>
                <a:gd name="connsiteX3" fmla="*/ 13856 w 36099"/>
                <a:gd name="connsiteY3" fmla="*/ 19816 h 20907"/>
                <a:gd name="connsiteX4" fmla="*/ 21571 w 36099"/>
                <a:gd name="connsiteY4" fmla="*/ 19816 h 20907"/>
                <a:gd name="connsiteX5" fmla="*/ 31858 w 36099"/>
                <a:gd name="connsiteY5" fmla="*/ 13911 h 20907"/>
                <a:gd name="connsiteX6" fmla="*/ 34144 w 36099"/>
                <a:gd name="connsiteY6" fmla="*/ 12577 h 20907"/>
                <a:gd name="connsiteX7" fmla="*/ 35764 w 36099"/>
                <a:gd name="connsiteY7" fmla="*/ 10291 h 20907"/>
                <a:gd name="connsiteX8" fmla="*/ 34144 w 36099"/>
                <a:gd name="connsiteY8" fmla="*/ 8100 h 20907"/>
                <a:gd name="connsiteX9" fmla="*/ 21571 w 36099"/>
                <a:gd name="connsiteY9" fmla="*/ 766 h 20907"/>
                <a:gd name="connsiteX10" fmla="*/ 13856 w 36099"/>
                <a:gd name="connsiteY10" fmla="*/ 766 h 20907"/>
                <a:gd name="connsiteX11" fmla="*/ 1283 w 36099"/>
                <a:gd name="connsiteY11" fmla="*/ 8100 h 20907"/>
                <a:gd name="connsiteX12" fmla="*/ -336 w 36099"/>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99" h="20907">
                  <a:moveTo>
                    <a:pt x="-336" y="10291"/>
                  </a:moveTo>
                  <a:cubicBezTo>
                    <a:pt x="-269" y="11301"/>
                    <a:pt x="350" y="12187"/>
                    <a:pt x="1283" y="12577"/>
                  </a:cubicBezTo>
                  <a:lnTo>
                    <a:pt x="3569" y="13911"/>
                  </a:lnTo>
                  <a:lnTo>
                    <a:pt x="13856" y="19816"/>
                  </a:lnTo>
                  <a:cubicBezTo>
                    <a:pt x="16275" y="21054"/>
                    <a:pt x="19152" y="21054"/>
                    <a:pt x="21571" y="19816"/>
                  </a:cubicBezTo>
                  <a:lnTo>
                    <a:pt x="31858" y="13911"/>
                  </a:lnTo>
                  <a:lnTo>
                    <a:pt x="34144" y="12577"/>
                  </a:lnTo>
                  <a:cubicBezTo>
                    <a:pt x="35049" y="12149"/>
                    <a:pt x="35659" y="11282"/>
                    <a:pt x="35764" y="10291"/>
                  </a:cubicBezTo>
                  <a:cubicBezTo>
                    <a:pt x="35649" y="9329"/>
                    <a:pt x="35030" y="8491"/>
                    <a:pt x="34144" y="8100"/>
                  </a:cubicBezTo>
                  <a:lnTo>
                    <a:pt x="21571" y="766"/>
                  </a:lnTo>
                  <a:cubicBezTo>
                    <a:pt x="19152" y="-472"/>
                    <a:pt x="16275" y="-472"/>
                    <a:pt x="13856" y="766"/>
                  </a:cubicBezTo>
                  <a:lnTo>
                    <a:pt x="1283" y="8100"/>
                  </a:lnTo>
                  <a:cubicBezTo>
                    <a:pt x="369" y="8462"/>
                    <a:pt x="-260" y="9310"/>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393" name="iSļiďè">
              <a:extLst>
                <a:ext uri="{FF2B5EF4-FFF2-40B4-BE49-F238E27FC236}">
                  <a16:creationId xmlns:a16="http://schemas.microsoft.com/office/drawing/2014/main" id="{3036BAF3-D789-408D-BD1A-B0D9F264187A}"/>
                </a:ext>
              </a:extLst>
            </p:cNvPr>
            <p:cNvSpPr/>
            <p:nvPr/>
          </p:nvSpPr>
          <p:spPr>
            <a:xfrm>
              <a:off x="5586126" y="4751104"/>
              <a:ext cx="105244" cy="61101"/>
            </a:xfrm>
            <a:custGeom>
              <a:avLst/>
              <a:gdLst>
                <a:gd name="connsiteX0" fmla="*/ 1021 w 34575"/>
                <a:gd name="connsiteY0" fmla="*/ 12006 h 20073"/>
                <a:gd name="connsiteX1" fmla="*/ 13118 w 34575"/>
                <a:gd name="connsiteY1" fmla="*/ 19054 h 20073"/>
                <a:gd name="connsiteX2" fmla="*/ 20547 w 34575"/>
                <a:gd name="connsiteY2" fmla="*/ 19054 h 20073"/>
                <a:gd name="connsiteX3" fmla="*/ 32739 w 34575"/>
                <a:gd name="connsiteY3" fmla="*/ 12006 h 20073"/>
                <a:gd name="connsiteX4" fmla="*/ 32739 w 34575"/>
                <a:gd name="connsiteY4" fmla="*/ 7719 h 20073"/>
                <a:gd name="connsiteX5" fmla="*/ 20547 w 34575"/>
                <a:gd name="connsiteY5" fmla="*/ 766 h 20073"/>
                <a:gd name="connsiteX6" fmla="*/ 13118 w 34575"/>
                <a:gd name="connsiteY6" fmla="*/ 766 h 20073"/>
                <a:gd name="connsiteX7" fmla="*/ 1021 w 34575"/>
                <a:gd name="connsiteY7" fmla="*/ 7719 h 20073"/>
                <a:gd name="connsiteX8" fmla="*/ 1021 w 34575"/>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575" h="20073">
                  <a:moveTo>
                    <a:pt x="1021" y="12006"/>
                  </a:moveTo>
                  <a:lnTo>
                    <a:pt x="13118" y="19054"/>
                  </a:lnTo>
                  <a:cubicBezTo>
                    <a:pt x="15461" y="20197"/>
                    <a:pt x="18204" y="20197"/>
                    <a:pt x="20547" y="19054"/>
                  </a:cubicBezTo>
                  <a:lnTo>
                    <a:pt x="32739" y="12006"/>
                  </a:lnTo>
                  <a:cubicBezTo>
                    <a:pt x="34740" y="10863"/>
                    <a:pt x="34740" y="8957"/>
                    <a:pt x="32739" y="7719"/>
                  </a:cubicBezTo>
                  <a:lnTo>
                    <a:pt x="20547" y="766"/>
                  </a:lnTo>
                  <a:cubicBezTo>
                    <a:pt x="18223" y="-472"/>
                    <a:pt x="15442" y="-472"/>
                    <a:pt x="13118" y="766"/>
                  </a:cubicBezTo>
                  <a:lnTo>
                    <a:pt x="1021" y="7719"/>
                  </a:lnTo>
                  <a:cubicBezTo>
                    <a:pt x="-789" y="8957"/>
                    <a:pt x="-789" y="10863"/>
                    <a:pt x="1021" y="12006"/>
                  </a:cubicBezTo>
                  <a:close/>
                </a:path>
              </a:pathLst>
            </a:custGeom>
            <a:solidFill>
              <a:srgbClr val="D1D9E8"/>
            </a:solidFill>
            <a:ln w="9525" cap="flat">
              <a:noFill/>
              <a:prstDash val="solid"/>
              <a:miter/>
            </a:ln>
          </p:spPr>
          <p:txBody>
            <a:bodyPr rtlCol="0" anchor="ctr"/>
            <a:lstStyle/>
            <a:p>
              <a:endParaRPr lang="zh-CN" altLang="en-US"/>
            </a:p>
          </p:txBody>
        </p:sp>
        <p:sp>
          <p:nvSpPr>
            <p:cNvPr id="394" name="îşḻîḑé">
              <a:extLst>
                <a:ext uri="{FF2B5EF4-FFF2-40B4-BE49-F238E27FC236}">
                  <a16:creationId xmlns:a16="http://schemas.microsoft.com/office/drawing/2014/main" id="{62BB1114-C69B-421B-92EC-01EDFEB8C456}"/>
                </a:ext>
              </a:extLst>
            </p:cNvPr>
            <p:cNvSpPr/>
            <p:nvPr/>
          </p:nvSpPr>
          <p:spPr>
            <a:xfrm>
              <a:off x="5584457" y="4781765"/>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4 w 36099"/>
                <a:gd name="connsiteY6" fmla="*/ 6981 h 17597"/>
                <a:gd name="connsiteX7" fmla="*/ 35764 w 36099"/>
                <a:gd name="connsiteY7" fmla="*/ -163 h 17597"/>
                <a:gd name="connsiteX8" fmla="*/ 34144 w 36099"/>
                <a:gd name="connsiteY8" fmla="*/ 2123 h 17597"/>
                <a:gd name="connsiteX9" fmla="*/ 31858 w 36099"/>
                <a:gd name="connsiteY9" fmla="*/ 3457 h 17597"/>
                <a:gd name="connsiteX10" fmla="*/ 21571 w 36099"/>
                <a:gd name="connsiteY10" fmla="*/ 9362 h 17597"/>
                <a:gd name="connsiteX11" fmla="*/ 13856 w 36099"/>
                <a:gd name="connsiteY11" fmla="*/ 9362 h 17597"/>
                <a:gd name="connsiteX12" fmla="*/ 3569 w 36099"/>
                <a:gd name="connsiteY12" fmla="*/ 3457 h 17597"/>
                <a:gd name="connsiteX13" fmla="*/ 1283 w 36099"/>
                <a:gd name="connsiteY13" fmla="*/ 2123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41" y="8048"/>
                    <a:pt x="378" y="8886"/>
                    <a:pt x="1283" y="9267"/>
                  </a:cubicBezTo>
                  <a:lnTo>
                    <a:pt x="13856" y="16506"/>
                  </a:lnTo>
                  <a:cubicBezTo>
                    <a:pt x="16275" y="17744"/>
                    <a:pt x="19152" y="17744"/>
                    <a:pt x="21571" y="16506"/>
                  </a:cubicBezTo>
                  <a:lnTo>
                    <a:pt x="34144" y="9267"/>
                  </a:lnTo>
                  <a:cubicBezTo>
                    <a:pt x="35030" y="8829"/>
                    <a:pt x="35640" y="7962"/>
                    <a:pt x="35764" y="6981"/>
                  </a:cubicBezTo>
                  <a:lnTo>
                    <a:pt x="35764" y="-163"/>
                  </a:lnTo>
                  <a:cubicBezTo>
                    <a:pt x="35659" y="828"/>
                    <a:pt x="35049" y="1695"/>
                    <a:pt x="34144" y="2123"/>
                  </a:cubicBezTo>
                  <a:lnTo>
                    <a:pt x="31858" y="3457"/>
                  </a:lnTo>
                  <a:lnTo>
                    <a:pt x="21571" y="9362"/>
                  </a:lnTo>
                  <a:cubicBezTo>
                    <a:pt x="19152" y="10601"/>
                    <a:pt x="16275" y="10601"/>
                    <a:pt x="13856" y="9362"/>
                  </a:cubicBezTo>
                  <a:lnTo>
                    <a:pt x="3569" y="3457"/>
                  </a:lnTo>
                  <a:lnTo>
                    <a:pt x="1283" y="2123"/>
                  </a:lnTo>
                  <a:cubicBezTo>
                    <a:pt x="350" y="1733"/>
                    <a:pt x="-269" y="847"/>
                    <a:pt x="-336" y="-163"/>
                  </a:cubicBezTo>
                  <a:close/>
                </a:path>
              </a:pathLst>
            </a:custGeom>
            <a:solidFill>
              <a:srgbClr val="BF4200"/>
            </a:solidFill>
            <a:ln w="9525" cap="flat">
              <a:noFill/>
              <a:prstDash val="solid"/>
              <a:miter/>
            </a:ln>
          </p:spPr>
          <p:txBody>
            <a:bodyPr rtlCol="0" anchor="ctr"/>
            <a:lstStyle/>
            <a:p>
              <a:endParaRPr lang="zh-CN" altLang="en-US"/>
            </a:p>
          </p:txBody>
        </p:sp>
        <p:sp>
          <p:nvSpPr>
            <p:cNvPr id="395" name="îṣlíḋe">
              <a:extLst>
                <a:ext uri="{FF2B5EF4-FFF2-40B4-BE49-F238E27FC236}">
                  <a16:creationId xmlns:a16="http://schemas.microsoft.com/office/drawing/2014/main" id="{42246F9C-6A4E-4CAF-B439-1C06421CCF48}"/>
                </a:ext>
              </a:extLst>
            </p:cNvPr>
            <p:cNvSpPr/>
            <p:nvPr/>
          </p:nvSpPr>
          <p:spPr>
            <a:xfrm>
              <a:off x="5661871" y="4795463"/>
              <a:ext cx="110753" cy="63588"/>
            </a:xfrm>
            <a:custGeom>
              <a:avLst/>
              <a:gdLst>
                <a:gd name="connsiteX0" fmla="*/ -336 w 36385"/>
                <a:gd name="connsiteY0" fmla="*/ 10196 h 20890"/>
                <a:gd name="connsiteX1" fmla="*/ 1188 w 36385"/>
                <a:gd name="connsiteY1" fmla="*/ 12482 h 20890"/>
                <a:gd name="connsiteX2" fmla="*/ 3569 w 36385"/>
                <a:gd name="connsiteY2" fmla="*/ 13815 h 20890"/>
                <a:gd name="connsiteX3" fmla="*/ 14237 w 36385"/>
                <a:gd name="connsiteY3" fmla="*/ 19721 h 20890"/>
                <a:gd name="connsiteX4" fmla="*/ 21857 w 36385"/>
                <a:gd name="connsiteY4" fmla="*/ 19721 h 20890"/>
                <a:gd name="connsiteX5" fmla="*/ 32144 w 36385"/>
                <a:gd name="connsiteY5" fmla="*/ 13911 h 20890"/>
                <a:gd name="connsiteX6" fmla="*/ 34525 w 36385"/>
                <a:gd name="connsiteY6" fmla="*/ 12577 h 20890"/>
                <a:gd name="connsiteX7" fmla="*/ 36049 w 36385"/>
                <a:gd name="connsiteY7" fmla="*/ 10291 h 20890"/>
                <a:gd name="connsiteX8" fmla="*/ 34525 w 36385"/>
                <a:gd name="connsiteY8" fmla="*/ 8100 h 20890"/>
                <a:gd name="connsiteX9" fmla="*/ 21857 w 36385"/>
                <a:gd name="connsiteY9" fmla="*/ 766 h 20890"/>
                <a:gd name="connsiteX10" fmla="*/ 14237 w 36385"/>
                <a:gd name="connsiteY10" fmla="*/ 766 h 20890"/>
                <a:gd name="connsiteX11" fmla="*/ 1569 w 36385"/>
                <a:gd name="connsiteY11" fmla="*/ 8100 h 20890"/>
                <a:gd name="connsiteX12" fmla="*/ -336 w 36385"/>
                <a:gd name="connsiteY12" fmla="*/ 10196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385" h="20890">
                  <a:moveTo>
                    <a:pt x="-336" y="10196"/>
                  </a:moveTo>
                  <a:cubicBezTo>
                    <a:pt x="-270" y="11177"/>
                    <a:pt x="311" y="12044"/>
                    <a:pt x="1188" y="12482"/>
                  </a:cubicBezTo>
                  <a:lnTo>
                    <a:pt x="3569" y="13815"/>
                  </a:lnTo>
                  <a:lnTo>
                    <a:pt x="14237" y="19721"/>
                  </a:lnTo>
                  <a:cubicBezTo>
                    <a:pt x="16599" y="21064"/>
                    <a:pt x="19495" y="21064"/>
                    <a:pt x="21857" y="19721"/>
                  </a:cubicBezTo>
                  <a:lnTo>
                    <a:pt x="32144" y="13911"/>
                  </a:lnTo>
                  <a:lnTo>
                    <a:pt x="34525" y="12577"/>
                  </a:lnTo>
                  <a:cubicBezTo>
                    <a:pt x="35401" y="12139"/>
                    <a:pt x="35982" y="11272"/>
                    <a:pt x="36049" y="10291"/>
                  </a:cubicBezTo>
                  <a:cubicBezTo>
                    <a:pt x="35992" y="9339"/>
                    <a:pt x="35401" y="8491"/>
                    <a:pt x="34525" y="8100"/>
                  </a:cubicBezTo>
                  <a:lnTo>
                    <a:pt x="21857" y="766"/>
                  </a:lnTo>
                  <a:cubicBezTo>
                    <a:pt x="19466" y="-472"/>
                    <a:pt x="16628" y="-472"/>
                    <a:pt x="14237" y="766"/>
                  </a:cubicBezTo>
                  <a:lnTo>
                    <a:pt x="1569" y="8100"/>
                  </a:lnTo>
                  <a:cubicBezTo>
                    <a:pt x="569" y="8357"/>
                    <a:pt x="-174" y="9177"/>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396" name="î$ḻîdè">
              <a:extLst>
                <a:ext uri="{FF2B5EF4-FFF2-40B4-BE49-F238E27FC236}">
                  <a16:creationId xmlns:a16="http://schemas.microsoft.com/office/drawing/2014/main" id="{D73B1B39-F798-4DA4-80F4-1805A65F9D42}"/>
                </a:ext>
              </a:extLst>
            </p:cNvPr>
            <p:cNvSpPr/>
            <p:nvPr/>
          </p:nvSpPr>
          <p:spPr>
            <a:xfrm>
              <a:off x="5663755" y="4795755"/>
              <a:ext cx="105825" cy="61101"/>
            </a:xfrm>
            <a:custGeom>
              <a:avLst/>
              <a:gdLst>
                <a:gd name="connsiteX0" fmla="*/ 1235 w 34766"/>
                <a:gd name="connsiteY0" fmla="*/ 12006 h 20073"/>
                <a:gd name="connsiteX1" fmla="*/ 13332 w 34766"/>
                <a:gd name="connsiteY1" fmla="*/ 19054 h 20073"/>
                <a:gd name="connsiteX2" fmla="*/ 20761 w 34766"/>
                <a:gd name="connsiteY2" fmla="*/ 19054 h 20073"/>
                <a:gd name="connsiteX3" fmla="*/ 32858 w 34766"/>
                <a:gd name="connsiteY3" fmla="*/ 12006 h 20073"/>
                <a:gd name="connsiteX4" fmla="*/ 32858 w 34766"/>
                <a:gd name="connsiteY4" fmla="*/ 7719 h 20073"/>
                <a:gd name="connsiteX5" fmla="*/ 20761 w 34766"/>
                <a:gd name="connsiteY5" fmla="*/ 766 h 20073"/>
                <a:gd name="connsiteX6" fmla="*/ 13332 w 34766"/>
                <a:gd name="connsiteY6" fmla="*/ 766 h 20073"/>
                <a:gd name="connsiteX7" fmla="*/ 1235 w 34766"/>
                <a:gd name="connsiteY7" fmla="*/ 7719 h 20073"/>
                <a:gd name="connsiteX8" fmla="*/ 1235 w 34766"/>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6" h="20073">
                  <a:moveTo>
                    <a:pt x="1235" y="12006"/>
                  </a:moveTo>
                  <a:lnTo>
                    <a:pt x="13332" y="19054"/>
                  </a:lnTo>
                  <a:cubicBezTo>
                    <a:pt x="15675" y="20197"/>
                    <a:pt x="18418" y="20197"/>
                    <a:pt x="20761" y="19054"/>
                  </a:cubicBezTo>
                  <a:lnTo>
                    <a:pt x="32858" y="12006"/>
                  </a:lnTo>
                  <a:cubicBezTo>
                    <a:pt x="34954" y="10862"/>
                    <a:pt x="34954" y="8958"/>
                    <a:pt x="32858" y="7719"/>
                  </a:cubicBezTo>
                  <a:lnTo>
                    <a:pt x="20761" y="766"/>
                  </a:lnTo>
                  <a:cubicBezTo>
                    <a:pt x="18437" y="-472"/>
                    <a:pt x="15656" y="-472"/>
                    <a:pt x="13332" y="766"/>
                  </a:cubicBezTo>
                  <a:lnTo>
                    <a:pt x="1235" y="7719"/>
                  </a:lnTo>
                  <a:cubicBezTo>
                    <a:pt x="-860" y="8958"/>
                    <a:pt x="-860" y="10862"/>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397" name="i$ḷïḍê">
              <a:extLst>
                <a:ext uri="{FF2B5EF4-FFF2-40B4-BE49-F238E27FC236}">
                  <a16:creationId xmlns:a16="http://schemas.microsoft.com/office/drawing/2014/main" id="{734AE88F-7AD6-4C65-A048-1216A5082545}"/>
                </a:ext>
              </a:extLst>
            </p:cNvPr>
            <p:cNvSpPr/>
            <p:nvPr/>
          </p:nvSpPr>
          <p:spPr>
            <a:xfrm>
              <a:off x="5661871" y="4826995"/>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3 h 17597"/>
                <a:gd name="connsiteX9" fmla="*/ 31763 w 36004"/>
                <a:gd name="connsiteY9" fmla="*/ 3457 h 17597"/>
                <a:gd name="connsiteX10" fmla="*/ 21476 w 36004"/>
                <a:gd name="connsiteY10" fmla="*/ 9267 h 17597"/>
                <a:gd name="connsiteX11" fmla="*/ 13856 w 36004"/>
                <a:gd name="connsiteY11" fmla="*/ 9267 h 17597"/>
                <a:gd name="connsiteX12" fmla="*/ 3569 w 36004"/>
                <a:gd name="connsiteY12" fmla="*/ 3457 h 17597"/>
                <a:gd name="connsiteX13" fmla="*/ 1188 w 36004"/>
                <a:gd name="connsiteY13" fmla="*/ 2123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2" y="7953"/>
                    <a:pt x="35668" y="6981"/>
                  </a:cubicBezTo>
                  <a:lnTo>
                    <a:pt x="35668" y="-163"/>
                  </a:lnTo>
                  <a:cubicBezTo>
                    <a:pt x="35602" y="818"/>
                    <a:pt x="35021" y="1685"/>
                    <a:pt x="34144" y="2123"/>
                  </a:cubicBezTo>
                  <a:lnTo>
                    <a:pt x="31763" y="3457"/>
                  </a:lnTo>
                  <a:lnTo>
                    <a:pt x="21476" y="9267"/>
                  </a:lnTo>
                  <a:cubicBezTo>
                    <a:pt x="19114" y="10610"/>
                    <a:pt x="16218" y="10610"/>
                    <a:pt x="13856" y="9267"/>
                  </a:cubicBezTo>
                  <a:lnTo>
                    <a:pt x="3569" y="3457"/>
                  </a:lnTo>
                  <a:lnTo>
                    <a:pt x="1188"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398" name="ïş1îḍe">
              <a:extLst>
                <a:ext uri="{FF2B5EF4-FFF2-40B4-BE49-F238E27FC236}">
                  <a16:creationId xmlns:a16="http://schemas.microsoft.com/office/drawing/2014/main" id="{1F41704E-2EE8-40F2-BFFB-38DEFF4C492D}"/>
                </a:ext>
              </a:extLst>
            </p:cNvPr>
            <p:cNvSpPr/>
            <p:nvPr/>
          </p:nvSpPr>
          <p:spPr>
            <a:xfrm>
              <a:off x="5738995" y="4839244"/>
              <a:ext cx="109916" cy="63588"/>
            </a:xfrm>
            <a:custGeom>
              <a:avLst/>
              <a:gdLst>
                <a:gd name="connsiteX0" fmla="*/ -336 w 36110"/>
                <a:gd name="connsiteY0" fmla="*/ 10291 h 20890"/>
                <a:gd name="connsiteX1" fmla="*/ 1283 w 36110"/>
                <a:gd name="connsiteY1" fmla="*/ 12482 h 20890"/>
                <a:gd name="connsiteX2" fmla="*/ 3569 w 36110"/>
                <a:gd name="connsiteY2" fmla="*/ 13910 h 20890"/>
                <a:gd name="connsiteX3" fmla="*/ 13856 w 36110"/>
                <a:gd name="connsiteY3" fmla="*/ 19721 h 20890"/>
                <a:gd name="connsiteX4" fmla="*/ 21571 w 36110"/>
                <a:gd name="connsiteY4" fmla="*/ 19721 h 20890"/>
                <a:gd name="connsiteX5" fmla="*/ 31858 w 36110"/>
                <a:gd name="connsiteY5" fmla="*/ 13910 h 20890"/>
                <a:gd name="connsiteX6" fmla="*/ 34144 w 36110"/>
                <a:gd name="connsiteY6" fmla="*/ 12482 h 20890"/>
                <a:gd name="connsiteX7" fmla="*/ 35678 w 36110"/>
                <a:gd name="connsiteY7" fmla="*/ 9634 h 20890"/>
                <a:gd name="connsiteX8" fmla="*/ 34144 w 36110"/>
                <a:gd name="connsiteY8" fmla="*/ 8100 h 20890"/>
                <a:gd name="connsiteX9" fmla="*/ 21571 w 36110"/>
                <a:gd name="connsiteY9" fmla="*/ 766 h 20890"/>
                <a:gd name="connsiteX10" fmla="*/ 13856 w 36110"/>
                <a:gd name="connsiteY10" fmla="*/ 766 h 20890"/>
                <a:gd name="connsiteX11" fmla="*/ 1283 w 36110"/>
                <a:gd name="connsiteY11" fmla="*/ 8100 h 20890"/>
                <a:gd name="connsiteX12" fmla="*/ -336 w 36110"/>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110" h="20890">
                  <a:moveTo>
                    <a:pt x="-336" y="10291"/>
                  </a:moveTo>
                  <a:cubicBezTo>
                    <a:pt x="-260" y="11272"/>
                    <a:pt x="369" y="12120"/>
                    <a:pt x="1283" y="12482"/>
                  </a:cubicBezTo>
                  <a:lnTo>
                    <a:pt x="3569" y="13910"/>
                  </a:lnTo>
                  <a:lnTo>
                    <a:pt x="13856" y="19721"/>
                  </a:lnTo>
                  <a:cubicBezTo>
                    <a:pt x="16256" y="21064"/>
                    <a:pt x="19171" y="21064"/>
                    <a:pt x="21571" y="19721"/>
                  </a:cubicBezTo>
                  <a:lnTo>
                    <a:pt x="31858" y="13910"/>
                  </a:lnTo>
                  <a:lnTo>
                    <a:pt x="34144" y="12482"/>
                  </a:lnTo>
                  <a:cubicBezTo>
                    <a:pt x="35354" y="12120"/>
                    <a:pt x="36040" y="10843"/>
                    <a:pt x="35678" y="9634"/>
                  </a:cubicBezTo>
                  <a:cubicBezTo>
                    <a:pt x="35459" y="8900"/>
                    <a:pt x="34887" y="8319"/>
                    <a:pt x="34144" y="8100"/>
                  </a:cubicBezTo>
                  <a:lnTo>
                    <a:pt x="21571" y="766"/>
                  </a:lnTo>
                  <a:cubicBezTo>
                    <a:pt x="19152" y="-472"/>
                    <a:pt x="16275" y="-472"/>
                    <a:pt x="13856" y="766"/>
                  </a:cubicBezTo>
                  <a:lnTo>
                    <a:pt x="1283" y="8100"/>
                  </a:lnTo>
                  <a:cubicBezTo>
                    <a:pt x="369" y="8462"/>
                    <a:pt x="-260" y="9310"/>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565" name="îṥḻîḋè">
              <a:extLst>
                <a:ext uri="{FF2B5EF4-FFF2-40B4-BE49-F238E27FC236}">
                  <a16:creationId xmlns:a16="http://schemas.microsoft.com/office/drawing/2014/main" id="{BD9F6577-7A32-4088-AE02-AFA877A3A31A}"/>
                </a:ext>
              </a:extLst>
            </p:cNvPr>
            <p:cNvSpPr/>
            <p:nvPr/>
          </p:nvSpPr>
          <p:spPr>
            <a:xfrm>
              <a:off x="5741095" y="4840403"/>
              <a:ext cx="105679" cy="61104"/>
            </a:xfrm>
            <a:custGeom>
              <a:avLst/>
              <a:gdLst>
                <a:gd name="connsiteX0" fmla="*/ 1164 w 34718"/>
                <a:gd name="connsiteY0" fmla="*/ 12006 h 20074"/>
                <a:gd name="connsiteX1" fmla="*/ 13261 w 34718"/>
                <a:gd name="connsiteY1" fmla="*/ 19054 h 20074"/>
                <a:gd name="connsiteX2" fmla="*/ 20690 w 34718"/>
                <a:gd name="connsiteY2" fmla="*/ 19054 h 20074"/>
                <a:gd name="connsiteX3" fmla="*/ 32882 w 34718"/>
                <a:gd name="connsiteY3" fmla="*/ 12006 h 20074"/>
                <a:gd name="connsiteX4" fmla="*/ 32882 w 34718"/>
                <a:gd name="connsiteY4" fmla="*/ 7719 h 20074"/>
                <a:gd name="connsiteX5" fmla="*/ 20690 w 34718"/>
                <a:gd name="connsiteY5" fmla="*/ 766 h 20074"/>
                <a:gd name="connsiteX6" fmla="*/ 13261 w 34718"/>
                <a:gd name="connsiteY6" fmla="*/ 766 h 20074"/>
                <a:gd name="connsiteX7" fmla="*/ 1164 w 34718"/>
                <a:gd name="connsiteY7" fmla="*/ 7719 h 20074"/>
                <a:gd name="connsiteX8" fmla="*/ 1164 w 34718"/>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18" h="20074">
                  <a:moveTo>
                    <a:pt x="1164" y="12006"/>
                  </a:moveTo>
                  <a:lnTo>
                    <a:pt x="13261" y="19054"/>
                  </a:lnTo>
                  <a:cubicBezTo>
                    <a:pt x="15604" y="20197"/>
                    <a:pt x="18347" y="20197"/>
                    <a:pt x="20690" y="19054"/>
                  </a:cubicBezTo>
                  <a:lnTo>
                    <a:pt x="32882" y="12006"/>
                  </a:lnTo>
                  <a:cubicBezTo>
                    <a:pt x="34882" y="10863"/>
                    <a:pt x="34882" y="8958"/>
                    <a:pt x="32882" y="7719"/>
                  </a:cubicBezTo>
                  <a:lnTo>
                    <a:pt x="20690" y="766"/>
                  </a:lnTo>
                  <a:cubicBezTo>
                    <a:pt x="18366" y="-472"/>
                    <a:pt x="15585" y="-472"/>
                    <a:pt x="13261" y="766"/>
                  </a:cubicBezTo>
                  <a:lnTo>
                    <a:pt x="1164" y="7719"/>
                  </a:lnTo>
                  <a:cubicBezTo>
                    <a:pt x="-836" y="8958"/>
                    <a:pt x="-836" y="10863"/>
                    <a:pt x="1164" y="12006"/>
                  </a:cubicBezTo>
                  <a:close/>
                </a:path>
              </a:pathLst>
            </a:custGeom>
            <a:solidFill>
              <a:srgbClr val="D1D9E8"/>
            </a:solidFill>
            <a:ln w="9525" cap="flat">
              <a:noFill/>
              <a:prstDash val="solid"/>
              <a:miter/>
            </a:ln>
          </p:spPr>
          <p:txBody>
            <a:bodyPr rtlCol="0" anchor="ctr"/>
            <a:lstStyle/>
            <a:p>
              <a:endParaRPr lang="zh-CN" altLang="en-US"/>
            </a:p>
          </p:txBody>
        </p:sp>
        <p:sp>
          <p:nvSpPr>
            <p:cNvPr id="566" name="îsḷïde">
              <a:extLst>
                <a:ext uri="{FF2B5EF4-FFF2-40B4-BE49-F238E27FC236}">
                  <a16:creationId xmlns:a16="http://schemas.microsoft.com/office/drawing/2014/main" id="{D771518E-A7C8-4F18-9E03-2096B60E411F}"/>
                </a:ext>
              </a:extLst>
            </p:cNvPr>
            <p:cNvSpPr/>
            <p:nvPr/>
          </p:nvSpPr>
          <p:spPr>
            <a:xfrm>
              <a:off x="5738995" y="4871065"/>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4 w 36099"/>
                <a:gd name="connsiteY6" fmla="*/ 6981 h 17597"/>
                <a:gd name="connsiteX7" fmla="*/ 35764 w 36099"/>
                <a:gd name="connsiteY7" fmla="*/ -163 h 17597"/>
                <a:gd name="connsiteX8" fmla="*/ 34144 w 36099"/>
                <a:gd name="connsiteY8" fmla="*/ 2028 h 17597"/>
                <a:gd name="connsiteX9" fmla="*/ 31858 w 36099"/>
                <a:gd name="connsiteY9" fmla="*/ 3457 h 17597"/>
                <a:gd name="connsiteX10" fmla="*/ 21571 w 36099"/>
                <a:gd name="connsiteY10" fmla="*/ 9267 h 17597"/>
                <a:gd name="connsiteX11" fmla="*/ 13856 w 36099"/>
                <a:gd name="connsiteY11" fmla="*/ 9267 h 17597"/>
                <a:gd name="connsiteX12" fmla="*/ 3569 w 36099"/>
                <a:gd name="connsiteY12" fmla="*/ 3457 h 17597"/>
                <a:gd name="connsiteX13" fmla="*/ 1283 w 36099"/>
                <a:gd name="connsiteY13" fmla="*/ 2028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03" y="8029"/>
                    <a:pt x="407" y="8858"/>
                    <a:pt x="1283" y="9267"/>
                  </a:cubicBezTo>
                  <a:lnTo>
                    <a:pt x="13856" y="16506"/>
                  </a:lnTo>
                  <a:cubicBezTo>
                    <a:pt x="16275" y="17744"/>
                    <a:pt x="19152" y="17744"/>
                    <a:pt x="21571" y="16506"/>
                  </a:cubicBezTo>
                  <a:lnTo>
                    <a:pt x="34144" y="9267"/>
                  </a:lnTo>
                  <a:cubicBezTo>
                    <a:pt x="35030" y="8829"/>
                    <a:pt x="35640" y="7972"/>
                    <a:pt x="35764" y="6981"/>
                  </a:cubicBezTo>
                  <a:lnTo>
                    <a:pt x="35764" y="-163"/>
                  </a:lnTo>
                  <a:cubicBezTo>
                    <a:pt x="35687" y="818"/>
                    <a:pt x="35059" y="1666"/>
                    <a:pt x="34144" y="2028"/>
                  </a:cubicBezTo>
                  <a:lnTo>
                    <a:pt x="31858" y="3457"/>
                  </a:lnTo>
                  <a:lnTo>
                    <a:pt x="21571" y="9267"/>
                  </a:lnTo>
                  <a:cubicBezTo>
                    <a:pt x="19171" y="10610"/>
                    <a:pt x="16256" y="10610"/>
                    <a:pt x="13856" y="9267"/>
                  </a:cubicBezTo>
                  <a:lnTo>
                    <a:pt x="3569" y="3457"/>
                  </a:lnTo>
                  <a:lnTo>
                    <a:pt x="1283" y="2028"/>
                  </a:lnTo>
                  <a:cubicBezTo>
                    <a:pt x="369" y="1666"/>
                    <a:pt x="-26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567" name="ïşľïḋè">
              <a:extLst>
                <a:ext uri="{FF2B5EF4-FFF2-40B4-BE49-F238E27FC236}">
                  <a16:creationId xmlns:a16="http://schemas.microsoft.com/office/drawing/2014/main" id="{935DACAA-3E5B-4163-B912-C24A7DBF2820}"/>
                </a:ext>
              </a:extLst>
            </p:cNvPr>
            <p:cNvSpPr/>
            <p:nvPr/>
          </p:nvSpPr>
          <p:spPr>
            <a:xfrm>
              <a:off x="5816405" y="4883895"/>
              <a:ext cx="109594" cy="63588"/>
            </a:xfrm>
            <a:custGeom>
              <a:avLst/>
              <a:gdLst>
                <a:gd name="connsiteX0" fmla="*/ -336 w 36004"/>
                <a:gd name="connsiteY0" fmla="*/ 10291 h 20890"/>
                <a:gd name="connsiteX1" fmla="*/ 1188 w 36004"/>
                <a:gd name="connsiteY1" fmla="*/ 12482 h 20890"/>
                <a:gd name="connsiteX2" fmla="*/ 3569 w 36004"/>
                <a:gd name="connsiteY2" fmla="*/ 13815 h 20890"/>
                <a:gd name="connsiteX3" fmla="*/ 13856 w 36004"/>
                <a:gd name="connsiteY3" fmla="*/ 19721 h 20890"/>
                <a:gd name="connsiteX4" fmla="*/ 21476 w 36004"/>
                <a:gd name="connsiteY4" fmla="*/ 19721 h 20890"/>
                <a:gd name="connsiteX5" fmla="*/ 31763 w 36004"/>
                <a:gd name="connsiteY5" fmla="*/ 13815 h 20890"/>
                <a:gd name="connsiteX6" fmla="*/ 34144 w 36004"/>
                <a:gd name="connsiteY6" fmla="*/ 12482 h 20890"/>
                <a:gd name="connsiteX7" fmla="*/ 35668 w 36004"/>
                <a:gd name="connsiteY7" fmla="*/ 10291 h 20890"/>
                <a:gd name="connsiteX8" fmla="*/ 34144 w 36004"/>
                <a:gd name="connsiteY8" fmla="*/ 8005 h 20890"/>
                <a:gd name="connsiteX9" fmla="*/ 21476 w 36004"/>
                <a:gd name="connsiteY9" fmla="*/ 766 h 20890"/>
                <a:gd name="connsiteX10" fmla="*/ 13856 w 36004"/>
                <a:gd name="connsiteY10" fmla="*/ 766 h 20890"/>
                <a:gd name="connsiteX11" fmla="*/ 1188 w 36004"/>
                <a:gd name="connsiteY11" fmla="*/ 8005 h 20890"/>
                <a:gd name="connsiteX12" fmla="*/ -336 w 36004"/>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291"/>
                  </a:moveTo>
                  <a:cubicBezTo>
                    <a:pt x="-279" y="11244"/>
                    <a:pt x="312" y="12091"/>
                    <a:pt x="1188" y="12482"/>
                  </a:cubicBezTo>
                  <a:lnTo>
                    <a:pt x="3569" y="13815"/>
                  </a:lnTo>
                  <a:lnTo>
                    <a:pt x="13856" y="19721"/>
                  </a:lnTo>
                  <a:cubicBezTo>
                    <a:pt x="16218" y="21064"/>
                    <a:pt x="19114" y="21064"/>
                    <a:pt x="21476" y="19721"/>
                  </a:cubicBezTo>
                  <a:lnTo>
                    <a:pt x="31763" y="13815"/>
                  </a:lnTo>
                  <a:lnTo>
                    <a:pt x="34144" y="12482"/>
                  </a:lnTo>
                  <a:cubicBezTo>
                    <a:pt x="35021" y="12091"/>
                    <a:pt x="35611" y="11253"/>
                    <a:pt x="35668" y="10291"/>
                  </a:cubicBezTo>
                  <a:cubicBezTo>
                    <a:pt x="35602" y="9310"/>
                    <a:pt x="35021" y="8443"/>
                    <a:pt x="34144" y="8005"/>
                  </a:cubicBezTo>
                  <a:lnTo>
                    <a:pt x="21476" y="766"/>
                  </a:lnTo>
                  <a:cubicBezTo>
                    <a:pt x="19085" y="-472"/>
                    <a:pt x="16247" y="-472"/>
                    <a:pt x="13856" y="766"/>
                  </a:cubicBezTo>
                  <a:lnTo>
                    <a:pt x="1188" y="8005"/>
                  </a:lnTo>
                  <a:cubicBezTo>
                    <a:pt x="312" y="8443"/>
                    <a:pt x="-269" y="9310"/>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568" name="îṣḻidê">
              <a:extLst>
                <a:ext uri="{FF2B5EF4-FFF2-40B4-BE49-F238E27FC236}">
                  <a16:creationId xmlns:a16="http://schemas.microsoft.com/office/drawing/2014/main" id="{640F5F01-860D-4771-B0C5-E82C3BC410F0}"/>
                </a:ext>
              </a:extLst>
            </p:cNvPr>
            <p:cNvSpPr/>
            <p:nvPr/>
          </p:nvSpPr>
          <p:spPr>
            <a:xfrm>
              <a:off x="5818073" y="4885055"/>
              <a:ext cx="105174" cy="61101"/>
            </a:xfrm>
            <a:custGeom>
              <a:avLst/>
              <a:gdLst>
                <a:gd name="connsiteX0" fmla="*/ 1021 w 34552"/>
                <a:gd name="connsiteY0" fmla="*/ 12006 h 20073"/>
                <a:gd name="connsiteX1" fmla="*/ 13118 w 34552"/>
                <a:gd name="connsiteY1" fmla="*/ 19054 h 20073"/>
                <a:gd name="connsiteX2" fmla="*/ 20547 w 34552"/>
                <a:gd name="connsiteY2" fmla="*/ 19054 h 20073"/>
                <a:gd name="connsiteX3" fmla="*/ 32644 w 34552"/>
                <a:gd name="connsiteY3" fmla="*/ 12006 h 20073"/>
                <a:gd name="connsiteX4" fmla="*/ 32644 w 34552"/>
                <a:gd name="connsiteY4" fmla="*/ 7719 h 20073"/>
                <a:gd name="connsiteX5" fmla="*/ 20547 w 34552"/>
                <a:gd name="connsiteY5" fmla="*/ 766 h 20073"/>
                <a:gd name="connsiteX6" fmla="*/ 13118 w 34552"/>
                <a:gd name="connsiteY6" fmla="*/ 766 h 20073"/>
                <a:gd name="connsiteX7" fmla="*/ 1021 w 34552"/>
                <a:gd name="connsiteY7" fmla="*/ 7719 h 20073"/>
                <a:gd name="connsiteX8" fmla="*/ 1021 w 34552"/>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552" h="20073">
                  <a:moveTo>
                    <a:pt x="1021" y="12006"/>
                  </a:moveTo>
                  <a:lnTo>
                    <a:pt x="13118" y="19054"/>
                  </a:lnTo>
                  <a:cubicBezTo>
                    <a:pt x="15461" y="20197"/>
                    <a:pt x="18204" y="20197"/>
                    <a:pt x="20547" y="19054"/>
                  </a:cubicBezTo>
                  <a:lnTo>
                    <a:pt x="32644" y="12006"/>
                  </a:lnTo>
                  <a:cubicBezTo>
                    <a:pt x="34740" y="10863"/>
                    <a:pt x="34740" y="8957"/>
                    <a:pt x="32644" y="7719"/>
                  </a:cubicBezTo>
                  <a:lnTo>
                    <a:pt x="20547" y="766"/>
                  </a:lnTo>
                  <a:cubicBezTo>
                    <a:pt x="18223" y="-472"/>
                    <a:pt x="15442" y="-472"/>
                    <a:pt x="13118" y="766"/>
                  </a:cubicBezTo>
                  <a:lnTo>
                    <a:pt x="1021" y="7719"/>
                  </a:lnTo>
                  <a:cubicBezTo>
                    <a:pt x="-789" y="9339"/>
                    <a:pt x="-789" y="10863"/>
                    <a:pt x="1021" y="12006"/>
                  </a:cubicBezTo>
                  <a:close/>
                </a:path>
              </a:pathLst>
            </a:custGeom>
            <a:solidFill>
              <a:srgbClr val="D1D9E8"/>
            </a:solidFill>
            <a:ln w="9525" cap="flat">
              <a:noFill/>
              <a:prstDash val="solid"/>
              <a:miter/>
            </a:ln>
          </p:spPr>
          <p:txBody>
            <a:bodyPr rtlCol="0" anchor="ctr"/>
            <a:lstStyle/>
            <a:p>
              <a:endParaRPr lang="zh-CN" altLang="en-US"/>
            </a:p>
          </p:txBody>
        </p:sp>
        <p:sp>
          <p:nvSpPr>
            <p:cNvPr id="569" name="îṧļiḓé">
              <a:extLst>
                <a:ext uri="{FF2B5EF4-FFF2-40B4-BE49-F238E27FC236}">
                  <a16:creationId xmlns:a16="http://schemas.microsoft.com/office/drawing/2014/main" id="{AE11A5B9-2885-45AC-B35F-0A6FFCCD5078}"/>
                </a:ext>
              </a:extLst>
            </p:cNvPr>
            <p:cNvSpPr/>
            <p:nvPr/>
          </p:nvSpPr>
          <p:spPr>
            <a:xfrm>
              <a:off x="5816405" y="4915713"/>
              <a:ext cx="109594" cy="53564"/>
            </a:xfrm>
            <a:custGeom>
              <a:avLst/>
              <a:gdLst>
                <a:gd name="connsiteX0" fmla="*/ -336 w 36004"/>
                <a:gd name="connsiteY0" fmla="*/ -163 h 17597"/>
                <a:gd name="connsiteX1" fmla="*/ -336 w 36004"/>
                <a:gd name="connsiteY1" fmla="*/ 6981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028 h 17597"/>
                <a:gd name="connsiteX9" fmla="*/ 31763 w 36004"/>
                <a:gd name="connsiteY9" fmla="*/ 3362 h 17597"/>
                <a:gd name="connsiteX10" fmla="*/ 21476 w 36004"/>
                <a:gd name="connsiteY10" fmla="*/ 9267 h 17597"/>
                <a:gd name="connsiteX11" fmla="*/ 13856 w 36004"/>
                <a:gd name="connsiteY11" fmla="*/ 9267 h 17597"/>
                <a:gd name="connsiteX12" fmla="*/ 3569 w 36004"/>
                <a:gd name="connsiteY12" fmla="*/ 3362 h 17597"/>
                <a:gd name="connsiteX13" fmla="*/ 1188 w 36004"/>
                <a:gd name="connsiteY13" fmla="*/ 2028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6981"/>
                  </a:lnTo>
                  <a:cubicBezTo>
                    <a:pt x="-269" y="7962"/>
                    <a:pt x="312" y="8829"/>
                    <a:pt x="1188" y="9267"/>
                  </a:cubicBezTo>
                  <a:lnTo>
                    <a:pt x="13856" y="16506"/>
                  </a:lnTo>
                  <a:cubicBezTo>
                    <a:pt x="16247" y="17744"/>
                    <a:pt x="19085" y="17744"/>
                    <a:pt x="21476" y="16506"/>
                  </a:cubicBezTo>
                  <a:lnTo>
                    <a:pt x="34144" y="9267"/>
                  </a:lnTo>
                  <a:cubicBezTo>
                    <a:pt x="35011" y="8819"/>
                    <a:pt x="35583" y="7953"/>
                    <a:pt x="35668" y="6981"/>
                  </a:cubicBezTo>
                  <a:lnTo>
                    <a:pt x="35668" y="-163"/>
                  </a:lnTo>
                  <a:cubicBezTo>
                    <a:pt x="35611" y="790"/>
                    <a:pt x="35021" y="1638"/>
                    <a:pt x="34144" y="2028"/>
                  </a:cubicBezTo>
                  <a:lnTo>
                    <a:pt x="31763" y="3362"/>
                  </a:lnTo>
                  <a:lnTo>
                    <a:pt x="21476" y="9267"/>
                  </a:lnTo>
                  <a:cubicBezTo>
                    <a:pt x="19114" y="10610"/>
                    <a:pt x="16218" y="10610"/>
                    <a:pt x="13856" y="9267"/>
                  </a:cubicBezTo>
                  <a:lnTo>
                    <a:pt x="3569" y="3362"/>
                  </a:lnTo>
                  <a:lnTo>
                    <a:pt x="1188" y="2028"/>
                  </a:lnTo>
                  <a:cubicBezTo>
                    <a:pt x="312" y="1638"/>
                    <a:pt x="-279" y="800"/>
                    <a:pt x="-336" y="-163"/>
                  </a:cubicBezTo>
                  <a:close/>
                </a:path>
              </a:pathLst>
            </a:custGeom>
            <a:solidFill>
              <a:srgbClr val="BF4200"/>
            </a:solidFill>
            <a:ln w="9525" cap="flat">
              <a:noFill/>
              <a:prstDash val="solid"/>
              <a:miter/>
            </a:ln>
          </p:spPr>
          <p:txBody>
            <a:bodyPr rtlCol="0" anchor="ctr"/>
            <a:lstStyle/>
            <a:p>
              <a:endParaRPr lang="zh-CN" altLang="en-US"/>
            </a:p>
          </p:txBody>
        </p:sp>
        <p:sp>
          <p:nvSpPr>
            <p:cNvPr id="570" name="îş1iḓé">
              <a:extLst>
                <a:ext uri="{FF2B5EF4-FFF2-40B4-BE49-F238E27FC236}">
                  <a16:creationId xmlns:a16="http://schemas.microsoft.com/office/drawing/2014/main" id="{B9C6AA89-8786-4F58-856F-68DF58DF5F67}"/>
                </a:ext>
              </a:extLst>
            </p:cNvPr>
            <p:cNvSpPr/>
            <p:nvPr/>
          </p:nvSpPr>
          <p:spPr>
            <a:xfrm>
              <a:off x="5893818" y="4928543"/>
              <a:ext cx="109594" cy="63588"/>
            </a:xfrm>
            <a:custGeom>
              <a:avLst/>
              <a:gdLst>
                <a:gd name="connsiteX0" fmla="*/ -336 w 36004"/>
                <a:gd name="connsiteY0" fmla="*/ 10196 h 20890"/>
                <a:gd name="connsiteX1" fmla="*/ 1188 w 36004"/>
                <a:gd name="connsiteY1" fmla="*/ 12482 h 20890"/>
                <a:gd name="connsiteX2" fmla="*/ 3474 w 36004"/>
                <a:gd name="connsiteY2" fmla="*/ 13815 h 20890"/>
                <a:gd name="connsiteX3" fmla="*/ 13761 w 36004"/>
                <a:gd name="connsiteY3" fmla="*/ 19721 h 20890"/>
                <a:gd name="connsiteX4" fmla="*/ 21476 w 36004"/>
                <a:gd name="connsiteY4" fmla="*/ 19721 h 20890"/>
                <a:gd name="connsiteX5" fmla="*/ 31763 w 36004"/>
                <a:gd name="connsiteY5" fmla="*/ 13815 h 20890"/>
                <a:gd name="connsiteX6" fmla="*/ 34049 w 36004"/>
                <a:gd name="connsiteY6" fmla="*/ 12482 h 20890"/>
                <a:gd name="connsiteX7" fmla="*/ 35668 w 36004"/>
                <a:gd name="connsiteY7" fmla="*/ 10196 h 20890"/>
                <a:gd name="connsiteX8" fmla="*/ 34049 w 36004"/>
                <a:gd name="connsiteY8" fmla="*/ 8005 h 20890"/>
                <a:gd name="connsiteX9" fmla="*/ 21476 w 36004"/>
                <a:gd name="connsiteY9" fmla="*/ 766 h 20890"/>
                <a:gd name="connsiteX10" fmla="*/ 13761 w 36004"/>
                <a:gd name="connsiteY10" fmla="*/ 766 h 20890"/>
                <a:gd name="connsiteX11" fmla="*/ 1188 w 36004"/>
                <a:gd name="connsiteY11" fmla="*/ 8005 h 20890"/>
                <a:gd name="connsiteX12" fmla="*/ -336 w 36004"/>
                <a:gd name="connsiteY12" fmla="*/ 10196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196"/>
                  </a:moveTo>
                  <a:cubicBezTo>
                    <a:pt x="-308" y="11186"/>
                    <a:pt x="283" y="12082"/>
                    <a:pt x="1188" y="12482"/>
                  </a:cubicBezTo>
                  <a:lnTo>
                    <a:pt x="3474" y="13815"/>
                  </a:lnTo>
                  <a:lnTo>
                    <a:pt x="13761" y="19721"/>
                  </a:lnTo>
                  <a:cubicBezTo>
                    <a:pt x="16161" y="21064"/>
                    <a:pt x="19076" y="21064"/>
                    <a:pt x="21476" y="19721"/>
                  </a:cubicBezTo>
                  <a:lnTo>
                    <a:pt x="31763" y="13815"/>
                  </a:lnTo>
                  <a:lnTo>
                    <a:pt x="34049" y="12482"/>
                  </a:lnTo>
                  <a:cubicBezTo>
                    <a:pt x="34992" y="12110"/>
                    <a:pt x="35630" y="11215"/>
                    <a:pt x="35668" y="10196"/>
                  </a:cubicBezTo>
                  <a:cubicBezTo>
                    <a:pt x="35573" y="9224"/>
                    <a:pt x="34944" y="8386"/>
                    <a:pt x="34049" y="8005"/>
                  </a:cubicBezTo>
                  <a:lnTo>
                    <a:pt x="21476" y="766"/>
                  </a:lnTo>
                  <a:cubicBezTo>
                    <a:pt x="19057" y="-472"/>
                    <a:pt x="16180" y="-472"/>
                    <a:pt x="13761" y="766"/>
                  </a:cubicBezTo>
                  <a:lnTo>
                    <a:pt x="1188" y="8005"/>
                  </a:lnTo>
                  <a:cubicBezTo>
                    <a:pt x="340" y="8424"/>
                    <a:pt x="-241" y="925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571" name="isḻîďe">
              <a:extLst>
                <a:ext uri="{FF2B5EF4-FFF2-40B4-BE49-F238E27FC236}">
                  <a16:creationId xmlns:a16="http://schemas.microsoft.com/office/drawing/2014/main" id="{4FC6CCDC-4DE5-4F53-875A-10F53FAFB9AC}"/>
                </a:ext>
              </a:extLst>
            </p:cNvPr>
            <p:cNvSpPr/>
            <p:nvPr/>
          </p:nvSpPr>
          <p:spPr>
            <a:xfrm>
              <a:off x="5895659" y="4929703"/>
              <a:ext cx="105618" cy="61101"/>
            </a:xfrm>
            <a:custGeom>
              <a:avLst/>
              <a:gdLst>
                <a:gd name="connsiteX0" fmla="*/ 1154 w 34698"/>
                <a:gd name="connsiteY0" fmla="*/ 12006 h 20073"/>
                <a:gd name="connsiteX1" fmla="*/ 13346 w 34698"/>
                <a:gd name="connsiteY1" fmla="*/ 19054 h 20073"/>
                <a:gd name="connsiteX2" fmla="*/ 20775 w 34698"/>
                <a:gd name="connsiteY2" fmla="*/ 19054 h 20073"/>
                <a:gd name="connsiteX3" fmla="*/ 32872 w 34698"/>
                <a:gd name="connsiteY3" fmla="*/ 12006 h 20073"/>
                <a:gd name="connsiteX4" fmla="*/ 34215 w 34698"/>
                <a:gd name="connsiteY4" fmla="*/ 9072 h 20073"/>
                <a:gd name="connsiteX5" fmla="*/ 32872 w 34698"/>
                <a:gd name="connsiteY5" fmla="*/ 7719 h 20073"/>
                <a:gd name="connsiteX6" fmla="*/ 20775 w 34698"/>
                <a:gd name="connsiteY6" fmla="*/ 766 h 20073"/>
                <a:gd name="connsiteX7" fmla="*/ 13346 w 34698"/>
                <a:gd name="connsiteY7" fmla="*/ 766 h 20073"/>
                <a:gd name="connsiteX8" fmla="*/ 1154 w 34698"/>
                <a:gd name="connsiteY8" fmla="*/ 7719 h 20073"/>
                <a:gd name="connsiteX9" fmla="*/ -189 w 34698"/>
                <a:gd name="connsiteY9" fmla="*/ 10653 h 20073"/>
                <a:gd name="connsiteX10" fmla="*/ 1154 w 34698"/>
                <a:gd name="connsiteY10"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698" h="20073">
                  <a:moveTo>
                    <a:pt x="1154" y="12006"/>
                  </a:moveTo>
                  <a:lnTo>
                    <a:pt x="13346" y="19054"/>
                  </a:lnTo>
                  <a:cubicBezTo>
                    <a:pt x="15689" y="20197"/>
                    <a:pt x="18432" y="20197"/>
                    <a:pt x="20775" y="19054"/>
                  </a:cubicBezTo>
                  <a:lnTo>
                    <a:pt x="32872" y="12006"/>
                  </a:lnTo>
                  <a:cubicBezTo>
                    <a:pt x="34053" y="11567"/>
                    <a:pt x="34663" y="10253"/>
                    <a:pt x="34215" y="9072"/>
                  </a:cubicBezTo>
                  <a:cubicBezTo>
                    <a:pt x="33986" y="8443"/>
                    <a:pt x="33491" y="7948"/>
                    <a:pt x="32872" y="7719"/>
                  </a:cubicBezTo>
                  <a:lnTo>
                    <a:pt x="20775" y="766"/>
                  </a:lnTo>
                  <a:cubicBezTo>
                    <a:pt x="18451" y="-472"/>
                    <a:pt x="15670" y="-472"/>
                    <a:pt x="13346" y="766"/>
                  </a:cubicBezTo>
                  <a:lnTo>
                    <a:pt x="1154" y="7719"/>
                  </a:lnTo>
                  <a:cubicBezTo>
                    <a:pt x="-27" y="8157"/>
                    <a:pt x="-637" y="9472"/>
                    <a:pt x="-189" y="10653"/>
                  </a:cubicBezTo>
                  <a:cubicBezTo>
                    <a:pt x="39" y="11281"/>
                    <a:pt x="535" y="11777"/>
                    <a:pt x="1154" y="12006"/>
                  </a:cubicBezTo>
                  <a:close/>
                </a:path>
              </a:pathLst>
            </a:custGeom>
            <a:solidFill>
              <a:srgbClr val="D1D9E8"/>
            </a:solidFill>
            <a:ln w="9525" cap="flat">
              <a:noFill/>
              <a:prstDash val="solid"/>
              <a:miter/>
            </a:ln>
          </p:spPr>
          <p:txBody>
            <a:bodyPr rtlCol="0" anchor="ctr"/>
            <a:lstStyle/>
            <a:p>
              <a:endParaRPr lang="zh-CN" altLang="en-US"/>
            </a:p>
          </p:txBody>
        </p:sp>
        <p:sp>
          <p:nvSpPr>
            <p:cNvPr id="572" name="îṡ1îdè">
              <a:extLst>
                <a:ext uri="{FF2B5EF4-FFF2-40B4-BE49-F238E27FC236}">
                  <a16:creationId xmlns:a16="http://schemas.microsoft.com/office/drawing/2014/main" id="{DC3669F8-BED4-4BDF-B40F-009C76F0649D}"/>
                </a:ext>
              </a:extLst>
            </p:cNvPr>
            <p:cNvSpPr/>
            <p:nvPr/>
          </p:nvSpPr>
          <p:spPr>
            <a:xfrm>
              <a:off x="5893818" y="4960072"/>
              <a:ext cx="109594" cy="53801"/>
            </a:xfrm>
            <a:custGeom>
              <a:avLst/>
              <a:gdLst>
                <a:gd name="connsiteX0" fmla="*/ -336 w 36004"/>
                <a:gd name="connsiteY0" fmla="*/ -163 h 17675"/>
                <a:gd name="connsiteX1" fmla="*/ -336 w 36004"/>
                <a:gd name="connsiteY1" fmla="*/ 7076 h 17675"/>
                <a:gd name="connsiteX2" fmla="*/ 1188 w 36004"/>
                <a:gd name="connsiteY2" fmla="*/ 9267 h 17675"/>
                <a:gd name="connsiteX3" fmla="*/ 13761 w 36004"/>
                <a:gd name="connsiteY3" fmla="*/ 16506 h 17675"/>
                <a:gd name="connsiteX4" fmla="*/ 21476 w 36004"/>
                <a:gd name="connsiteY4" fmla="*/ 16506 h 17675"/>
                <a:gd name="connsiteX5" fmla="*/ 34049 w 36004"/>
                <a:gd name="connsiteY5" fmla="*/ 9267 h 17675"/>
                <a:gd name="connsiteX6" fmla="*/ 35668 w 36004"/>
                <a:gd name="connsiteY6" fmla="*/ 7076 h 17675"/>
                <a:gd name="connsiteX7" fmla="*/ 35668 w 36004"/>
                <a:gd name="connsiteY7" fmla="*/ -163 h 17675"/>
                <a:gd name="connsiteX8" fmla="*/ 34049 w 36004"/>
                <a:gd name="connsiteY8" fmla="*/ 2123 h 17675"/>
                <a:gd name="connsiteX9" fmla="*/ 31763 w 36004"/>
                <a:gd name="connsiteY9" fmla="*/ 3457 h 17675"/>
                <a:gd name="connsiteX10" fmla="*/ 21476 w 36004"/>
                <a:gd name="connsiteY10" fmla="*/ 9362 h 17675"/>
                <a:gd name="connsiteX11" fmla="*/ 13761 w 36004"/>
                <a:gd name="connsiteY11" fmla="*/ 9362 h 17675"/>
                <a:gd name="connsiteX12" fmla="*/ 3474 w 36004"/>
                <a:gd name="connsiteY12" fmla="*/ 3457 h 17675"/>
                <a:gd name="connsiteX13" fmla="*/ 1188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98" y="8038"/>
                    <a:pt x="292" y="8896"/>
                    <a:pt x="1188" y="9267"/>
                  </a:cubicBezTo>
                  <a:lnTo>
                    <a:pt x="13761" y="16506"/>
                  </a:lnTo>
                  <a:cubicBezTo>
                    <a:pt x="16161" y="17849"/>
                    <a:pt x="19076" y="17849"/>
                    <a:pt x="21476" y="16506"/>
                  </a:cubicBezTo>
                  <a:lnTo>
                    <a:pt x="34049" y="9267"/>
                  </a:lnTo>
                  <a:cubicBezTo>
                    <a:pt x="34963" y="8905"/>
                    <a:pt x="35592" y="8058"/>
                    <a:pt x="35668" y="7076"/>
                  </a:cubicBezTo>
                  <a:lnTo>
                    <a:pt x="35668" y="-163"/>
                  </a:lnTo>
                  <a:cubicBezTo>
                    <a:pt x="35630" y="856"/>
                    <a:pt x="34992" y="1752"/>
                    <a:pt x="34049" y="2123"/>
                  </a:cubicBezTo>
                  <a:lnTo>
                    <a:pt x="31763" y="3457"/>
                  </a:lnTo>
                  <a:lnTo>
                    <a:pt x="21476" y="9362"/>
                  </a:lnTo>
                  <a:cubicBezTo>
                    <a:pt x="19076" y="10705"/>
                    <a:pt x="16161" y="10705"/>
                    <a:pt x="13761" y="9362"/>
                  </a:cubicBezTo>
                  <a:lnTo>
                    <a:pt x="3474" y="3457"/>
                  </a:lnTo>
                  <a:lnTo>
                    <a:pt x="1188" y="2123"/>
                  </a:lnTo>
                  <a:cubicBezTo>
                    <a:pt x="283" y="1723"/>
                    <a:pt x="-308"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573" name="íšḷïďê">
              <a:extLst>
                <a:ext uri="{FF2B5EF4-FFF2-40B4-BE49-F238E27FC236}">
                  <a16:creationId xmlns:a16="http://schemas.microsoft.com/office/drawing/2014/main" id="{39E2F128-1EE1-431C-BC46-57855AB8F697}"/>
                </a:ext>
              </a:extLst>
            </p:cNvPr>
            <p:cNvSpPr/>
            <p:nvPr/>
          </p:nvSpPr>
          <p:spPr>
            <a:xfrm>
              <a:off x="5970942" y="4973195"/>
              <a:ext cx="109740" cy="63350"/>
            </a:xfrm>
            <a:custGeom>
              <a:avLst/>
              <a:gdLst>
                <a:gd name="connsiteX0" fmla="*/ -336 w 36052"/>
                <a:gd name="connsiteY0" fmla="*/ 10196 h 20812"/>
                <a:gd name="connsiteX1" fmla="*/ 1188 w 36052"/>
                <a:gd name="connsiteY1" fmla="*/ 12482 h 20812"/>
                <a:gd name="connsiteX2" fmla="*/ 3569 w 36052"/>
                <a:gd name="connsiteY2" fmla="*/ 13815 h 20812"/>
                <a:gd name="connsiteX3" fmla="*/ 13856 w 36052"/>
                <a:gd name="connsiteY3" fmla="*/ 19721 h 20812"/>
                <a:gd name="connsiteX4" fmla="*/ 21476 w 36052"/>
                <a:gd name="connsiteY4" fmla="*/ 19721 h 20812"/>
                <a:gd name="connsiteX5" fmla="*/ 31763 w 36052"/>
                <a:gd name="connsiteY5" fmla="*/ 13815 h 20812"/>
                <a:gd name="connsiteX6" fmla="*/ 34144 w 36052"/>
                <a:gd name="connsiteY6" fmla="*/ 12482 h 20812"/>
                <a:gd name="connsiteX7" fmla="*/ 35573 w 36052"/>
                <a:gd name="connsiteY7" fmla="*/ 9434 h 20812"/>
                <a:gd name="connsiteX8" fmla="*/ 34144 w 36052"/>
                <a:gd name="connsiteY8" fmla="*/ 8005 h 20812"/>
                <a:gd name="connsiteX9" fmla="*/ 21476 w 36052"/>
                <a:gd name="connsiteY9" fmla="*/ 766 h 20812"/>
                <a:gd name="connsiteX10" fmla="*/ 13856 w 36052"/>
                <a:gd name="connsiteY10" fmla="*/ 766 h 20812"/>
                <a:gd name="connsiteX11" fmla="*/ 1188 w 36052"/>
                <a:gd name="connsiteY11" fmla="*/ 8005 h 20812"/>
                <a:gd name="connsiteX12" fmla="*/ -336 w 36052"/>
                <a:gd name="connsiteY12" fmla="*/ 10196 h 20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12">
                  <a:moveTo>
                    <a:pt x="-336" y="10196"/>
                  </a:moveTo>
                  <a:cubicBezTo>
                    <a:pt x="-270" y="11177"/>
                    <a:pt x="311" y="12044"/>
                    <a:pt x="1188" y="12482"/>
                  </a:cubicBezTo>
                  <a:lnTo>
                    <a:pt x="3569" y="13815"/>
                  </a:lnTo>
                  <a:lnTo>
                    <a:pt x="13856" y="19721"/>
                  </a:lnTo>
                  <a:cubicBezTo>
                    <a:pt x="16247" y="20959"/>
                    <a:pt x="19085" y="20959"/>
                    <a:pt x="21476" y="19721"/>
                  </a:cubicBezTo>
                  <a:lnTo>
                    <a:pt x="31763" y="13815"/>
                  </a:lnTo>
                  <a:lnTo>
                    <a:pt x="34144" y="12482"/>
                  </a:lnTo>
                  <a:cubicBezTo>
                    <a:pt x="35382" y="12034"/>
                    <a:pt x="36020" y="10662"/>
                    <a:pt x="35573" y="9434"/>
                  </a:cubicBezTo>
                  <a:cubicBezTo>
                    <a:pt x="35325" y="8767"/>
                    <a:pt x="34811" y="8243"/>
                    <a:pt x="34144" y="8005"/>
                  </a:cubicBezTo>
                  <a:lnTo>
                    <a:pt x="21476" y="766"/>
                  </a:lnTo>
                  <a:cubicBezTo>
                    <a:pt x="19085" y="-472"/>
                    <a:pt x="16247" y="-472"/>
                    <a:pt x="13856" y="766"/>
                  </a:cubicBezTo>
                  <a:lnTo>
                    <a:pt x="1188" y="8005"/>
                  </a:lnTo>
                  <a:cubicBezTo>
                    <a:pt x="340" y="8424"/>
                    <a:pt x="-241" y="925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574" name="iṥļidé">
              <a:extLst>
                <a:ext uri="{FF2B5EF4-FFF2-40B4-BE49-F238E27FC236}">
                  <a16:creationId xmlns:a16="http://schemas.microsoft.com/office/drawing/2014/main" id="{C6870AF5-C71C-4741-A1DD-5A5EA3F0EF1C}"/>
                </a:ext>
              </a:extLst>
            </p:cNvPr>
            <p:cNvSpPr/>
            <p:nvPr/>
          </p:nvSpPr>
          <p:spPr>
            <a:xfrm>
              <a:off x="5973073" y="4974281"/>
              <a:ext cx="105618" cy="61174"/>
            </a:xfrm>
            <a:custGeom>
              <a:avLst/>
              <a:gdLst>
                <a:gd name="connsiteX0" fmla="*/ 1154 w 34698"/>
                <a:gd name="connsiteY0" fmla="*/ 12029 h 20097"/>
                <a:gd name="connsiteX1" fmla="*/ 13251 w 34698"/>
                <a:gd name="connsiteY1" fmla="*/ 19078 h 20097"/>
                <a:gd name="connsiteX2" fmla="*/ 20680 w 34698"/>
                <a:gd name="connsiteY2" fmla="*/ 19078 h 20097"/>
                <a:gd name="connsiteX3" fmla="*/ 32872 w 34698"/>
                <a:gd name="connsiteY3" fmla="*/ 12029 h 20097"/>
                <a:gd name="connsiteX4" fmla="*/ 34215 w 34698"/>
                <a:gd name="connsiteY4" fmla="*/ 9086 h 20097"/>
                <a:gd name="connsiteX5" fmla="*/ 32872 w 34698"/>
                <a:gd name="connsiteY5" fmla="*/ 7743 h 20097"/>
                <a:gd name="connsiteX6" fmla="*/ 20680 w 34698"/>
                <a:gd name="connsiteY6" fmla="*/ 695 h 20097"/>
                <a:gd name="connsiteX7" fmla="*/ 13251 w 34698"/>
                <a:gd name="connsiteY7" fmla="*/ 695 h 20097"/>
                <a:gd name="connsiteX8" fmla="*/ 1154 w 34698"/>
                <a:gd name="connsiteY8" fmla="*/ 7743 h 20097"/>
                <a:gd name="connsiteX9" fmla="*/ -189 w 34698"/>
                <a:gd name="connsiteY9" fmla="*/ 10686 h 20097"/>
                <a:gd name="connsiteX10" fmla="*/ 1154 w 34698"/>
                <a:gd name="connsiteY10" fmla="*/ 12029 h 20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698" h="20097">
                  <a:moveTo>
                    <a:pt x="1154" y="12029"/>
                  </a:moveTo>
                  <a:lnTo>
                    <a:pt x="13251" y="19078"/>
                  </a:lnTo>
                  <a:cubicBezTo>
                    <a:pt x="15594" y="20221"/>
                    <a:pt x="18337" y="20221"/>
                    <a:pt x="20680" y="19078"/>
                  </a:cubicBezTo>
                  <a:lnTo>
                    <a:pt x="32872" y="12029"/>
                  </a:lnTo>
                  <a:cubicBezTo>
                    <a:pt x="34053" y="11591"/>
                    <a:pt x="34663" y="10277"/>
                    <a:pt x="34215" y="9086"/>
                  </a:cubicBezTo>
                  <a:cubicBezTo>
                    <a:pt x="33987" y="8467"/>
                    <a:pt x="33491" y="7972"/>
                    <a:pt x="32872" y="7743"/>
                  </a:cubicBezTo>
                  <a:lnTo>
                    <a:pt x="20680" y="695"/>
                  </a:lnTo>
                  <a:cubicBezTo>
                    <a:pt x="18337" y="-448"/>
                    <a:pt x="15594" y="-448"/>
                    <a:pt x="13251" y="695"/>
                  </a:cubicBezTo>
                  <a:lnTo>
                    <a:pt x="1154" y="7743"/>
                  </a:lnTo>
                  <a:cubicBezTo>
                    <a:pt x="-27" y="8181"/>
                    <a:pt x="-637" y="9496"/>
                    <a:pt x="-189" y="10686"/>
                  </a:cubicBezTo>
                  <a:cubicBezTo>
                    <a:pt x="40" y="11305"/>
                    <a:pt x="525" y="11801"/>
                    <a:pt x="1154" y="12029"/>
                  </a:cubicBezTo>
                  <a:close/>
                </a:path>
              </a:pathLst>
            </a:custGeom>
            <a:solidFill>
              <a:srgbClr val="D1D9E8"/>
            </a:solidFill>
            <a:ln w="9525" cap="flat">
              <a:noFill/>
              <a:prstDash val="solid"/>
              <a:miter/>
            </a:ln>
          </p:spPr>
          <p:txBody>
            <a:bodyPr rtlCol="0" anchor="ctr"/>
            <a:lstStyle/>
            <a:p>
              <a:endParaRPr lang="zh-CN" altLang="en-US"/>
            </a:p>
          </p:txBody>
        </p:sp>
        <p:sp>
          <p:nvSpPr>
            <p:cNvPr id="575" name="ïślíḋe">
              <a:extLst>
                <a:ext uri="{FF2B5EF4-FFF2-40B4-BE49-F238E27FC236}">
                  <a16:creationId xmlns:a16="http://schemas.microsoft.com/office/drawing/2014/main" id="{0F4A4764-9F9D-49CE-9DD8-4EC0046E8AE2}"/>
                </a:ext>
              </a:extLst>
            </p:cNvPr>
            <p:cNvSpPr/>
            <p:nvPr/>
          </p:nvSpPr>
          <p:spPr>
            <a:xfrm>
              <a:off x="5970942" y="5004724"/>
              <a:ext cx="109594" cy="53801"/>
            </a:xfrm>
            <a:custGeom>
              <a:avLst/>
              <a:gdLst>
                <a:gd name="connsiteX0" fmla="*/ -336 w 36004"/>
                <a:gd name="connsiteY0" fmla="*/ -163 h 17675"/>
                <a:gd name="connsiteX1" fmla="*/ -336 w 36004"/>
                <a:gd name="connsiteY1" fmla="*/ 7076 h 17675"/>
                <a:gd name="connsiteX2" fmla="*/ 1188 w 36004"/>
                <a:gd name="connsiteY2" fmla="*/ 9267 h 17675"/>
                <a:gd name="connsiteX3" fmla="*/ 13856 w 36004"/>
                <a:gd name="connsiteY3" fmla="*/ 16506 h 17675"/>
                <a:gd name="connsiteX4" fmla="*/ 21476 w 36004"/>
                <a:gd name="connsiteY4" fmla="*/ 16506 h 17675"/>
                <a:gd name="connsiteX5" fmla="*/ 34144 w 36004"/>
                <a:gd name="connsiteY5" fmla="*/ 9267 h 17675"/>
                <a:gd name="connsiteX6" fmla="*/ 35668 w 36004"/>
                <a:gd name="connsiteY6" fmla="*/ 7076 h 17675"/>
                <a:gd name="connsiteX7" fmla="*/ 35668 w 36004"/>
                <a:gd name="connsiteY7" fmla="*/ -163 h 17675"/>
                <a:gd name="connsiteX8" fmla="*/ 34144 w 36004"/>
                <a:gd name="connsiteY8" fmla="*/ 2123 h 17675"/>
                <a:gd name="connsiteX9" fmla="*/ 31763 w 36004"/>
                <a:gd name="connsiteY9" fmla="*/ 3457 h 17675"/>
                <a:gd name="connsiteX10" fmla="*/ 21476 w 36004"/>
                <a:gd name="connsiteY10" fmla="*/ 9362 h 17675"/>
                <a:gd name="connsiteX11" fmla="*/ 13856 w 36004"/>
                <a:gd name="connsiteY11" fmla="*/ 9362 h 17675"/>
                <a:gd name="connsiteX12" fmla="*/ 3569 w 36004"/>
                <a:gd name="connsiteY12" fmla="*/ 3457 h 17675"/>
                <a:gd name="connsiteX13" fmla="*/ 1188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79" y="8038"/>
                    <a:pt x="311" y="8877"/>
                    <a:pt x="1188" y="9267"/>
                  </a:cubicBezTo>
                  <a:lnTo>
                    <a:pt x="13856" y="16506"/>
                  </a:lnTo>
                  <a:cubicBezTo>
                    <a:pt x="16218" y="17849"/>
                    <a:pt x="19114" y="17849"/>
                    <a:pt x="21476" y="16506"/>
                  </a:cubicBezTo>
                  <a:lnTo>
                    <a:pt x="34144" y="9267"/>
                  </a:lnTo>
                  <a:cubicBezTo>
                    <a:pt x="35021" y="8877"/>
                    <a:pt x="35611" y="8038"/>
                    <a:pt x="35668" y="7076"/>
                  </a:cubicBezTo>
                  <a:lnTo>
                    <a:pt x="35668" y="-163"/>
                  </a:lnTo>
                  <a:cubicBezTo>
                    <a:pt x="35602" y="818"/>
                    <a:pt x="35021" y="1685"/>
                    <a:pt x="34144" y="2123"/>
                  </a:cubicBezTo>
                  <a:lnTo>
                    <a:pt x="31763" y="3457"/>
                  </a:lnTo>
                  <a:lnTo>
                    <a:pt x="21476" y="9362"/>
                  </a:lnTo>
                  <a:cubicBezTo>
                    <a:pt x="19085" y="10601"/>
                    <a:pt x="16247" y="10601"/>
                    <a:pt x="13856" y="9362"/>
                  </a:cubicBezTo>
                  <a:lnTo>
                    <a:pt x="3569" y="3457"/>
                  </a:lnTo>
                  <a:lnTo>
                    <a:pt x="1188"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576" name="iṥlîḓe">
              <a:extLst>
                <a:ext uri="{FF2B5EF4-FFF2-40B4-BE49-F238E27FC236}">
                  <a16:creationId xmlns:a16="http://schemas.microsoft.com/office/drawing/2014/main" id="{A21BA53E-C038-4BE7-82E0-B7375199128F}"/>
                </a:ext>
              </a:extLst>
            </p:cNvPr>
            <p:cNvSpPr/>
            <p:nvPr/>
          </p:nvSpPr>
          <p:spPr>
            <a:xfrm>
              <a:off x="6048352" y="5017749"/>
              <a:ext cx="109740" cy="63442"/>
            </a:xfrm>
            <a:custGeom>
              <a:avLst/>
              <a:gdLst>
                <a:gd name="connsiteX0" fmla="*/ -336 w 36052"/>
                <a:gd name="connsiteY0" fmla="*/ 10227 h 20842"/>
                <a:gd name="connsiteX1" fmla="*/ 1188 w 36052"/>
                <a:gd name="connsiteY1" fmla="*/ 12513 h 20842"/>
                <a:gd name="connsiteX2" fmla="*/ 3569 w 36052"/>
                <a:gd name="connsiteY2" fmla="*/ 13846 h 20842"/>
                <a:gd name="connsiteX3" fmla="*/ 13856 w 36052"/>
                <a:gd name="connsiteY3" fmla="*/ 19752 h 20842"/>
                <a:gd name="connsiteX4" fmla="*/ 21476 w 36052"/>
                <a:gd name="connsiteY4" fmla="*/ 19752 h 20842"/>
                <a:gd name="connsiteX5" fmla="*/ 31763 w 36052"/>
                <a:gd name="connsiteY5" fmla="*/ 13846 h 20842"/>
                <a:gd name="connsiteX6" fmla="*/ 34144 w 36052"/>
                <a:gd name="connsiteY6" fmla="*/ 12513 h 20842"/>
                <a:gd name="connsiteX7" fmla="*/ 35573 w 36052"/>
                <a:gd name="connsiteY7" fmla="*/ 9465 h 20842"/>
                <a:gd name="connsiteX8" fmla="*/ 34144 w 36052"/>
                <a:gd name="connsiteY8" fmla="*/ 8036 h 20842"/>
                <a:gd name="connsiteX9" fmla="*/ 21476 w 36052"/>
                <a:gd name="connsiteY9" fmla="*/ 702 h 20842"/>
                <a:gd name="connsiteX10" fmla="*/ 13856 w 36052"/>
                <a:gd name="connsiteY10" fmla="*/ 702 h 20842"/>
                <a:gd name="connsiteX11" fmla="*/ 1188 w 36052"/>
                <a:gd name="connsiteY11" fmla="*/ 8036 h 20842"/>
                <a:gd name="connsiteX12" fmla="*/ -336 w 36052"/>
                <a:gd name="connsiteY12" fmla="*/ 10227 h 20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2">
                  <a:moveTo>
                    <a:pt x="-336" y="10227"/>
                  </a:moveTo>
                  <a:cubicBezTo>
                    <a:pt x="-269" y="11208"/>
                    <a:pt x="312" y="12075"/>
                    <a:pt x="1188" y="12513"/>
                  </a:cubicBezTo>
                  <a:lnTo>
                    <a:pt x="3569" y="13846"/>
                  </a:lnTo>
                  <a:lnTo>
                    <a:pt x="13856" y="19752"/>
                  </a:lnTo>
                  <a:cubicBezTo>
                    <a:pt x="16247" y="20990"/>
                    <a:pt x="19085" y="20990"/>
                    <a:pt x="21476" y="19752"/>
                  </a:cubicBezTo>
                  <a:lnTo>
                    <a:pt x="31763" y="13846"/>
                  </a:lnTo>
                  <a:lnTo>
                    <a:pt x="34144" y="12513"/>
                  </a:lnTo>
                  <a:cubicBezTo>
                    <a:pt x="35382" y="12065"/>
                    <a:pt x="36021" y="10693"/>
                    <a:pt x="35573" y="9465"/>
                  </a:cubicBezTo>
                  <a:cubicBezTo>
                    <a:pt x="35325" y="8798"/>
                    <a:pt x="34811" y="8274"/>
                    <a:pt x="34144"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577" name="ísļïḍé">
              <a:extLst>
                <a:ext uri="{FF2B5EF4-FFF2-40B4-BE49-F238E27FC236}">
                  <a16:creationId xmlns:a16="http://schemas.microsoft.com/office/drawing/2014/main" id="{64555E74-C9E7-4A37-98AF-571D048AC279}"/>
                </a:ext>
              </a:extLst>
            </p:cNvPr>
            <p:cNvSpPr/>
            <p:nvPr/>
          </p:nvSpPr>
          <p:spPr>
            <a:xfrm>
              <a:off x="6050020" y="5018930"/>
              <a:ext cx="105463" cy="61104"/>
            </a:xfrm>
            <a:custGeom>
              <a:avLst/>
              <a:gdLst>
                <a:gd name="connsiteX0" fmla="*/ 1021 w 34647"/>
                <a:gd name="connsiteY0" fmla="*/ 12029 h 20074"/>
                <a:gd name="connsiteX1" fmla="*/ 13213 w 34647"/>
                <a:gd name="connsiteY1" fmla="*/ 18983 h 20074"/>
                <a:gd name="connsiteX2" fmla="*/ 20642 w 34647"/>
                <a:gd name="connsiteY2" fmla="*/ 18983 h 20074"/>
                <a:gd name="connsiteX3" fmla="*/ 32739 w 34647"/>
                <a:gd name="connsiteY3" fmla="*/ 12029 h 20074"/>
                <a:gd name="connsiteX4" fmla="*/ 32739 w 34647"/>
                <a:gd name="connsiteY4" fmla="*/ 7743 h 20074"/>
                <a:gd name="connsiteX5" fmla="*/ 20642 w 34647"/>
                <a:gd name="connsiteY5" fmla="*/ 695 h 20074"/>
                <a:gd name="connsiteX6" fmla="*/ 13213 w 34647"/>
                <a:gd name="connsiteY6" fmla="*/ 695 h 20074"/>
                <a:gd name="connsiteX7" fmla="*/ 1021 w 34647"/>
                <a:gd name="connsiteY7" fmla="*/ 7743 h 20074"/>
                <a:gd name="connsiteX8" fmla="*/ 1021 w 34647"/>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647" h="20074">
                  <a:moveTo>
                    <a:pt x="1021" y="12029"/>
                  </a:moveTo>
                  <a:lnTo>
                    <a:pt x="13213" y="18983"/>
                  </a:lnTo>
                  <a:cubicBezTo>
                    <a:pt x="15537" y="20221"/>
                    <a:pt x="18318" y="20221"/>
                    <a:pt x="20642" y="18983"/>
                  </a:cubicBezTo>
                  <a:lnTo>
                    <a:pt x="32739" y="12029"/>
                  </a:lnTo>
                  <a:cubicBezTo>
                    <a:pt x="34835" y="10791"/>
                    <a:pt x="34835" y="8886"/>
                    <a:pt x="32739" y="7743"/>
                  </a:cubicBezTo>
                  <a:lnTo>
                    <a:pt x="20642" y="695"/>
                  </a:lnTo>
                  <a:cubicBezTo>
                    <a:pt x="18299" y="-448"/>
                    <a:pt x="15556" y="-448"/>
                    <a:pt x="13213" y="695"/>
                  </a:cubicBezTo>
                  <a:lnTo>
                    <a:pt x="1021" y="7743"/>
                  </a:lnTo>
                  <a:cubicBezTo>
                    <a:pt x="-789" y="8886"/>
                    <a:pt x="-789" y="10791"/>
                    <a:pt x="1021" y="12029"/>
                  </a:cubicBezTo>
                  <a:close/>
                </a:path>
              </a:pathLst>
            </a:custGeom>
            <a:solidFill>
              <a:srgbClr val="D1D9E8"/>
            </a:solidFill>
            <a:ln w="9525" cap="flat">
              <a:noFill/>
              <a:prstDash val="solid"/>
              <a:miter/>
            </a:ln>
          </p:spPr>
          <p:txBody>
            <a:bodyPr rtlCol="0" anchor="ctr"/>
            <a:lstStyle/>
            <a:p>
              <a:endParaRPr lang="zh-CN" altLang="en-US"/>
            </a:p>
          </p:txBody>
        </p:sp>
        <p:sp>
          <p:nvSpPr>
            <p:cNvPr id="578" name="îşḷiďê">
              <a:extLst>
                <a:ext uri="{FF2B5EF4-FFF2-40B4-BE49-F238E27FC236}">
                  <a16:creationId xmlns:a16="http://schemas.microsoft.com/office/drawing/2014/main" id="{807FC88A-3169-46F4-9DA1-9F6C5E16B654}"/>
                </a:ext>
              </a:extLst>
            </p:cNvPr>
            <p:cNvSpPr/>
            <p:nvPr/>
          </p:nvSpPr>
          <p:spPr>
            <a:xfrm>
              <a:off x="6048352" y="5049375"/>
              <a:ext cx="109594" cy="53801"/>
            </a:xfrm>
            <a:custGeom>
              <a:avLst/>
              <a:gdLst>
                <a:gd name="connsiteX0" fmla="*/ -336 w 36004"/>
                <a:gd name="connsiteY0" fmla="*/ -163 h 17675"/>
                <a:gd name="connsiteX1" fmla="*/ -336 w 36004"/>
                <a:gd name="connsiteY1" fmla="*/ 7076 h 17675"/>
                <a:gd name="connsiteX2" fmla="*/ 1188 w 36004"/>
                <a:gd name="connsiteY2" fmla="*/ 9267 h 17675"/>
                <a:gd name="connsiteX3" fmla="*/ 13856 w 36004"/>
                <a:gd name="connsiteY3" fmla="*/ 16506 h 17675"/>
                <a:gd name="connsiteX4" fmla="*/ 21476 w 36004"/>
                <a:gd name="connsiteY4" fmla="*/ 16506 h 17675"/>
                <a:gd name="connsiteX5" fmla="*/ 34144 w 36004"/>
                <a:gd name="connsiteY5" fmla="*/ 9267 h 17675"/>
                <a:gd name="connsiteX6" fmla="*/ 35668 w 36004"/>
                <a:gd name="connsiteY6" fmla="*/ 6981 h 17675"/>
                <a:gd name="connsiteX7" fmla="*/ 35668 w 36004"/>
                <a:gd name="connsiteY7" fmla="*/ -163 h 17675"/>
                <a:gd name="connsiteX8" fmla="*/ 34144 w 36004"/>
                <a:gd name="connsiteY8" fmla="*/ 2123 h 17675"/>
                <a:gd name="connsiteX9" fmla="*/ 31763 w 36004"/>
                <a:gd name="connsiteY9" fmla="*/ 3457 h 17675"/>
                <a:gd name="connsiteX10" fmla="*/ 21476 w 36004"/>
                <a:gd name="connsiteY10" fmla="*/ 9362 h 17675"/>
                <a:gd name="connsiteX11" fmla="*/ 13856 w 36004"/>
                <a:gd name="connsiteY11" fmla="*/ 9362 h 17675"/>
                <a:gd name="connsiteX12" fmla="*/ 3569 w 36004"/>
                <a:gd name="connsiteY12" fmla="*/ 3457 h 17675"/>
                <a:gd name="connsiteX13" fmla="*/ 1188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79" y="8029"/>
                    <a:pt x="312" y="8876"/>
                    <a:pt x="1188" y="9267"/>
                  </a:cubicBezTo>
                  <a:lnTo>
                    <a:pt x="13856" y="16506"/>
                  </a:lnTo>
                  <a:cubicBezTo>
                    <a:pt x="16218" y="17849"/>
                    <a:pt x="19114" y="17849"/>
                    <a:pt x="21476" y="16506"/>
                  </a:cubicBezTo>
                  <a:lnTo>
                    <a:pt x="34144" y="9267"/>
                  </a:lnTo>
                  <a:cubicBezTo>
                    <a:pt x="35049" y="8867"/>
                    <a:pt x="35640" y="7971"/>
                    <a:pt x="35668" y="6981"/>
                  </a:cubicBezTo>
                  <a:lnTo>
                    <a:pt x="35668" y="-163"/>
                  </a:lnTo>
                  <a:cubicBezTo>
                    <a:pt x="35602" y="818"/>
                    <a:pt x="35021" y="1685"/>
                    <a:pt x="34144" y="2123"/>
                  </a:cubicBezTo>
                  <a:lnTo>
                    <a:pt x="31763" y="3457"/>
                  </a:lnTo>
                  <a:lnTo>
                    <a:pt x="21476" y="9362"/>
                  </a:lnTo>
                  <a:cubicBezTo>
                    <a:pt x="19085" y="10600"/>
                    <a:pt x="16247" y="10600"/>
                    <a:pt x="13856" y="9362"/>
                  </a:cubicBezTo>
                  <a:lnTo>
                    <a:pt x="3569" y="3457"/>
                  </a:lnTo>
                  <a:lnTo>
                    <a:pt x="1188" y="2123"/>
                  </a:lnTo>
                  <a:cubicBezTo>
                    <a:pt x="312"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579" name="ïṧḻíde">
              <a:extLst>
                <a:ext uri="{FF2B5EF4-FFF2-40B4-BE49-F238E27FC236}">
                  <a16:creationId xmlns:a16="http://schemas.microsoft.com/office/drawing/2014/main" id="{1261BA01-36F4-4554-8667-98B7167D33B7}"/>
                </a:ext>
              </a:extLst>
            </p:cNvPr>
            <p:cNvSpPr/>
            <p:nvPr/>
          </p:nvSpPr>
          <p:spPr>
            <a:xfrm>
              <a:off x="6125476" y="5062202"/>
              <a:ext cx="109362" cy="63588"/>
            </a:xfrm>
            <a:custGeom>
              <a:avLst/>
              <a:gdLst>
                <a:gd name="connsiteX0" fmla="*/ -336 w 35928"/>
                <a:gd name="connsiteY0" fmla="*/ 10291 h 20890"/>
                <a:gd name="connsiteX1" fmla="*/ 1283 w 35928"/>
                <a:gd name="connsiteY1" fmla="*/ 12482 h 20890"/>
                <a:gd name="connsiteX2" fmla="*/ 3569 w 35928"/>
                <a:gd name="connsiteY2" fmla="*/ 13911 h 20890"/>
                <a:gd name="connsiteX3" fmla="*/ 13856 w 35928"/>
                <a:gd name="connsiteY3" fmla="*/ 19721 h 20890"/>
                <a:gd name="connsiteX4" fmla="*/ 21571 w 35928"/>
                <a:gd name="connsiteY4" fmla="*/ 19721 h 20890"/>
                <a:gd name="connsiteX5" fmla="*/ 31858 w 35928"/>
                <a:gd name="connsiteY5" fmla="*/ 13911 h 20890"/>
                <a:gd name="connsiteX6" fmla="*/ 34144 w 35928"/>
                <a:gd name="connsiteY6" fmla="*/ 12482 h 20890"/>
                <a:gd name="connsiteX7" fmla="*/ 35402 w 35928"/>
                <a:gd name="connsiteY7" fmla="*/ 9358 h 20890"/>
                <a:gd name="connsiteX8" fmla="*/ 34144 w 35928"/>
                <a:gd name="connsiteY8" fmla="*/ 8101 h 20890"/>
                <a:gd name="connsiteX9" fmla="*/ 21571 w 35928"/>
                <a:gd name="connsiteY9" fmla="*/ 766 h 20890"/>
                <a:gd name="connsiteX10" fmla="*/ 13856 w 35928"/>
                <a:gd name="connsiteY10" fmla="*/ 766 h 20890"/>
                <a:gd name="connsiteX11" fmla="*/ 1283 w 35928"/>
                <a:gd name="connsiteY11" fmla="*/ 8101 h 20890"/>
                <a:gd name="connsiteX12" fmla="*/ -336 w 35928"/>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928" h="20890">
                  <a:moveTo>
                    <a:pt x="-336" y="10291"/>
                  </a:moveTo>
                  <a:cubicBezTo>
                    <a:pt x="-279" y="11282"/>
                    <a:pt x="350" y="12139"/>
                    <a:pt x="1283" y="12482"/>
                  </a:cubicBezTo>
                  <a:lnTo>
                    <a:pt x="3569" y="13911"/>
                  </a:lnTo>
                  <a:lnTo>
                    <a:pt x="13856" y="19721"/>
                  </a:lnTo>
                  <a:cubicBezTo>
                    <a:pt x="16256" y="21064"/>
                    <a:pt x="19171" y="21064"/>
                    <a:pt x="21571" y="19721"/>
                  </a:cubicBezTo>
                  <a:lnTo>
                    <a:pt x="31858" y="13911"/>
                  </a:lnTo>
                  <a:lnTo>
                    <a:pt x="34144" y="12482"/>
                  </a:lnTo>
                  <a:cubicBezTo>
                    <a:pt x="35354" y="11967"/>
                    <a:pt x="35916" y="10568"/>
                    <a:pt x="35402" y="9358"/>
                  </a:cubicBezTo>
                  <a:cubicBezTo>
                    <a:pt x="35164" y="8796"/>
                    <a:pt x="34706" y="8339"/>
                    <a:pt x="34144" y="8101"/>
                  </a:cubicBezTo>
                  <a:lnTo>
                    <a:pt x="21571" y="766"/>
                  </a:lnTo>
                  <a:cubicBezTo>
                    <a:pt x="19152" y="-472"/>
                    <a:pt x="16275" y="-472"/>
                    <a:pt x="13856" y="766"/>
                  </a:cubicBezTo>
                  <a:lnTo>
                    <a:pt x="1283" y="8101"/>
                  </a:lnTo>
                  <a:cubicBezTo>
                    <a:pt x="350" y="8443"/>
                    <a:pt x="-279" y="9300"/>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580" name="iS1íḓé">
              <a:extLst>
                <a:ext uri="{FF2B5EF4-FFF2-40B4-BE49-F238E27FC236}">
                  <a16:creationId xmlns:a16="http://schemas.microsoft.com/office/drawing/2014/main" id="{72738022-E8D0-4364-9428-F0050FAF5715}"/>
                </a:ext>
              </a:extLst>
            </p:cNvPr>
            <p:cNvSpPr/>
            <p:nvPr/>
          </p:nvSpPr>
          <p:spPr>
            <a:xfrm>
              <a:off x="6127360" y="5063362"/>
              <a:ext cx="105898" cy="61104"/>
            </a:xfrm>
            <a:custGeom>
              <a:avLst/>
              <a:gdLst>
                <a:gd name="connsiteX0" fmla="*/ 1235 w 34790"/>
                <a:gd name="connsiteY0" fmla="*/ 12006 h 20074"/>
                <a:gd name="connsiteX1" fmla="*/ 13332 w 34790"/>
                <a:gd name="connsiteY1" fmla="*/ 19054 h 20074"/>
                <a:gd name="connsiteX2" fmla="*/ 20761 w 34790"/>
                <a:gd name="connsiteY2" fmla="*/ 19054 h 20074"/>
                <a:gd name="connsiteX3" fmla="*/ 32953 w 34790"/>
                <a:gd name="connsiteY3" fmla="*/ 12006 h 20074"/>
                <a:gd name="connsiteX4" fmla="*/ 32953 w 34790"/>
                <a:gd name="connsiteY4" fmla="*/ 7719 h 20074"/>
                <a:gd name="connsiteX5" fmla="*/ 20761 w 34790"/>
                <a:gd name="connsiteY5" fmla="*/ 766 h 20074"/>
                <a:gd name="connsiteX6" fmla="*/ 13332 w 34790"/>
                <a:gd name="connsiteY6" fmla="*/ 766 h 20074"/>
                <a:gd name="connsiteX7" fmla="*/ 1235 w 34790"/>
                <a:gd name="connsiteY7" fmla="*/ 7719 h 20074"/>
                <a:gd name="connsiteX8" fmla="*/ 1235 w 34790"/>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4">
                  <a:moveTo>
                    <a:pt x="1235" y="12006"/>
                  </a:moveTo>
                  <a:lnTo>
                    <a:pt x="13332" y="19054"/>
                  </a:lnTo>
                  <a:cubicBezTo>
                    <a:pt x="15675" y="20197"/>
                    <a:pt x="18418" y="20197"/>
                    <a:pt x="20761" y="19054"/>
                  </a:cubicBezTo>
                  <a:lnTo>
                    <a:pt x="32953" y="12006"/>
                  </a:lnTo>
                  <a:cubicBezTo>
                    <a:pt x="34954" y="10863"/>
                    <a:pt x="34954" y="8957"/>
                    <a:pt x="32953" y="7719"/>
                  </a:cubicBezTo>
                  <a:lnTo>
                    <a:pt x="20761" y="766"/>
                  </a:lnTo>
                  <a:cubicBezTo>
                    <a:pt x="18437" y="-472"/>
                    <a:pt x="15656" y="-472"/>
                    <a:pt x="13332" y="766"/>
                  </a:cubicBezTo>
                  <a:lnTo>
                    <a:pt x="1235" y="7719"/>
                  </a:lnTo>
                  <a:cubicBezTo>
                    <a:pt x="-860" y="8957"/>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581" name="îṩliḑè">
              <a:extLst>
                <a:ext uri="{FF2B5EF4-FFF2-40B4-BE49-F238E27FC236}">
                  <a16:creationId xmlns:a16="http://schemas.microsoft.com/office/drawing/2014/main" id="{A8958DC7-B5F0-43E7-AFD5-C9CD2E185FFE}"/>
                </a:ext>
              </a:extLst>
            </p:cNvPr>
            <p:cNvSpPr/>
            <p:nvPr/>
          </p:nvSpPr>
          <p:spPr>
            <a:xfrm>
              <a:off x="6125464" y="5094023"/>
              <a:ext cx="111055" cy="54724"/>
            </a:xfrm>
            <a:custGeom>
              <a:avLst/>
              <a:gdLst>
                <a:gd name="connsiteX0" fmla="*/ -333 w 36484"/>
                <a:gd name="connsiteY0" fmla="*/ -163 h 17978"/>
                <a:gd name="connsiteX1" fmla="*/ -333 w 36484"/>
                <a:gd name="connsiteY1" fmla="*/ 7362 h 17978"/>
                <a:gd name="connsiteX2" fmla="*/ 1286 w 36484"/>
                <a:gd name="connsiteY2" fmla="*/ 9553 h 17978"/>
                <a:gd name="connsiteX3" fmla="*/ 14336 w 36484"/>
                <a:gd name="connsiteY3" fmla="*/ 16887 h 17978"/>
                <a:gd name="connsiteX4" fmla="*/ 22051 w 36484"/>
                <a:gd name="connsiteY4" fmla="*/ 16887 h 17978"/>
                <a:gd name="connsiteX5" fmla="*/ 34624 w 36484"/>
                <a:gd name="connsiteY5" fmla="*/ 9648 h 17978"/>
                <a:gd name="connsiteX6" fmla="*/ 36148 w 36484"/>
                <a:gd name="connsiteY6" fmla="*/ 7362 h 17978"/>
                <a:gd name="connsiteX7" fmla="*/ 36148 w 36484"/>
                <a:gd name="connsiteY7" fmla="*/ 218 h 17978"/>
                <a:gd name="connsiteX8" fmla="*/ 34624 w 36484"/>
                <a:gd name="connsiteY8" fmla="*/ 2409 h 17978"/>
                <a:gd name="connsiteX9" fmla="*/ 32338 w 36484"/>
                <a:gd name="connsiteY9" fmla="*/ 3838 h 17978"/>
                <a:gd name="connsiteX10" fmla="*/ 22051 w 36484"/>
                <a:gd name="connsiteY10" fmla="*/ 9648 h 17978"/>
                <a:gd name="connsiteX11" fmla="*/ 14336 w 36484"/>
                <a:gd name="connsiteY11" fmla="*/ 9648 h 17978"/>
                <a:gd name="connsiteX12" fmla="*/ 4049 w 36484"/>
                <a:gd name="connsiteY12" fmla="*/ 3838 h 17978"/>
                <a:gd name="connsiteX13" fmla="*/ 1763 w 36484"/>
                <a:gd name="connsiteY13" fmla="*/ 2409 h 17978"/>
                <a:gd name="connsiteX14" fmla="*/ -333 w 36484"/>
                <a:gd name="connsiteY14" fmla="*/ -163 h 17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484" h="17978">
                  <a:moveTo>
                    <a:pt x="-333" y="-163"/>
                  </a:moveTo>
                  <a:lnTo>
                    <a:pt x="-333" y="7362"/>
                  </a:lnTo>
                  <a:cubicBezTo>
                    <a:pt x="-238" y="8334"/>
                    <a:pt x="382" y="9172"/>
                    <a:pt x="1286" y="9553"/>
                  </a:cubicBezTo>
                  <a:lnTo>
                    <a:pt x="14336" y="16887"/>
                  </a:lnTo>
                  <a:cubicBezTo>
                    <a:pt x="16755" y="18125"/>
                    <a:pt x="19632" y="18125"/>
                    <a:pt x="22051" y="16887"/>
                  </a:cubicBezTo>
                  <a:lnTo>
                    <a:pt x="34624" y="9648"/>
                  </a:lnTo>
                  <a:cubicBezTo>
                    <a:pt x="35491" y="9200"/>
                    <a:pt x="36062" y="8334"/>
                    <a:pt x="36148" y="7362"/>
                  </a:cubicBezTo>
                  <a:lnTo>
                    <a:pt x="36148" y="218"/>
                  </a:lnTo>
                  <a:cubicBezTo>
                    <a:pt x="36110" y="1181"/>
                    <a:pt x="35519" y="2038"/>
                    <a:pt x="34624" y="2409"/>
                  </a:cubicBezTo>
                  <a:lnTo>
                    <a:pt x="32338" y="3838"/>
                  </a:lnTo>
                  <a:lnTo>
                    <a:pt x="22051" y="9648"/>
                  </a:lnTo>
                  <a:cubicBezTo>
                    <a:pt x="19651" y="10991"/>
                    <a:pt x="16736" y="10991"/>
                    <a:pt x="14336" y="9648"/>
                  </a:cubicBezTo>
                  <a:lnTo>
                    <a:pt x="4049" y="3838"/>
                  </a:lnTo>
                  <a:lnTo>
                    <a:pt x="1763" y="2409"/>
                  </a:lnTo>
                  <a:cubicBezTo>
                    <a:pt x="505" y="2219"/>
                    <a:pt x="-399" y="1104"/>
                    <a:pt x="-333" y="-163"/>
                  </a:cubicBezTo>
                  <a:close/>
                </a:path>
              </a:pathLst>
            </a:custGeom>
            <a:solidFill>
              <a:srgbClr val="BF4200"/>
            </a:solidFill>
            <a:ln w="9525" cap="flat">
              <a:noFill/>
              <a:prstDash val="solid"/>
              <a:miter/>
            </a:ln>
          </p:spPr>
          <p:txBody>
            <a:bodyPr rtlCol="0" anchor="ctr"/>
            <a:lstStyle/>
            <a:p>
              <a:endParaRPr lang="zh-CN" altLang="en-US"/>
            </a:p>
          </p:txBody>
        </p:sp>
        <p:sp>
          <p:nvSpPr>
            <p:cNvPr id="582" name="iṣ1îḍê">
              <a:extLst>
                <a:ext uri="{FF2B5EF4-FFF2-40B4-BE49-F238E27FC236}">
                  <a16:creationId xmlns:a16="http://schemas.microsoft.com/office/drawing/2014/main" id="{7C290668-8447-42D5-8A3F-B9DB325E8B40}"/>
                </a:ext>
              </a:extLst>
            </p:cNvPr>
            <p:cNvSpPr/>
            <p:nvPr/>
          </p:nvSpPr>
          <p:spPr>
            <a:xfrm>
              <a:off x="6202889" y="5107048"/>
              <a:ext cx="109740" cy="63445"/>
            </a:xfrm>
            <a:custGeom>
              <a:avLst/>
              <a:gdLst>
                <a:gd name="connsiteX0" fmla="*/ -336 w 36052"/>
                <a:gd name="connsiteY0" fmla="*/ 10227 h 20843"/>
                <a:gd name="connsiteX1" fmla="*/ 1188 w 36052"/>
                <a:gd name="connsiteY1" fmla="*/ 12513 h 20843"/>
                <a:gd name="connsiteX2" fmla="*/ 3569 w 36052"/>
                <a:gd name="connsiteY2" fmla="*/ 13846 h 20843"/>
                <a:gd name="connsiteX3" fmla="*/ 13856 w 36052"/>
                <a:gd name="connsiteY3" fmla="*/ 19752 h 20843"/>
                <a:gd name="connsiteX4" fmla="*/ 21476 w 36052"/>
                <a:gd name="connsiteY4" fmla="*/ 19752 h 20843"/>
                <a:gd name="connsiteX5" fmla="*/ 31763 w 36052"/>
                <a:gd name="connsiteY5" fmla="*/ 13846 h 20843"/>
                <a:gd name="connsiteX6" fmla="*/ 34144 w 36052"/>
                <a:gd name="connsiteY6" fmla="*/ 12513 h 20843"/>
                <a:gd name="connsiteX7" fmla="*/ 35573 w 36052"/>
                <a:gd name="connsiteY7" fmla="*/ 9465 h 20843"/>
                <a:gd name="connsiteX8" fmla="*/ 34144 w 36052"/>
                <a:gd name="connsiteY8" fmla="*/ 8036 h 20843"/>
                <a:gd name="connsiteX9" fmla="*/ 21476 w 36052"/>
                <a:gd name="connsiteY9" fmla="*/ 702 h 20843"/>
                <a:gd name="connsiteX10" fmla="*/ 13856 w 36052"/>
                <a:gd name="connsiteY10" fmla="*/ 702 h 20843"/>
                <a:gd name="connsiteX11" fmla="*/ 1188 w 36052"/>
                <a:gd name="connsiteY11" fmla="*/ 8036 h 20843"/>
                <a:gd name="connsiteX12" fmla="*/ -336 w 36052"/>
                <a:gd name="connsiteY12" fmla="*/ 10227 h 20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3">
                  <a:moveTo>
                    <a:pt x="-336" y="10227"/>
                  </a:moveTo>
                  <a:cubicBezTo>
                    <a:pt x="-270" y="11208"/>
                    <a:pt x="311" y="12075"/>
                    <a:pt x="1188" y="12513"/>
                  </a:cubicBezTo>
                  <a:lnTo>
                    <a:pt x="3569" y="13846"/>
                  </a:lnTo>
                  <a:lnTo>
                    <a:pt x="13856" y="19752"/>
                  </a:lnTo>
                  <a:cubicBezTo>
                    <a:pt x="16247" y="20990"/>
                    <a:pt x="19085" y="20990"/>
                    <a:pt x="21476" y="19752"/>
                  </a:cubicBezTo>
                  <a:lnTo>
                    <a:pt x="31763" y="13846"/>
                  </a:lnTo>
                  <a:lnTo>
                    <a:pt x="34144" y="12513"/>
                  </a:lnTo>
                  <a:cubicBezTo>
                    <a:pt x="35382" y="12065"/>
                    <a:pt x="36020" y="10694"/>
                    <a:pt x="35573" y="9465"/>
                  </a:cubicBezTo>
                  <a:cubicBezTo>
                    <a:pt x="35325" y="8798"/>
                    <a:pt x="34811" y="8274"/>
                    <a:pt x="34144"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583" name="islïḑe">
              <a:extLst>
                <a:ext uri="{FF2B5EF4-FFF2-40B4-BE49-F238E27FC236}">
                  <a16:creationId xmlns:a16="http://schemas.microsoft.com/office/drawing/2014/main" id="{835F0B99-CC58-4779-9C8C-AB007A1B8EE9}"/>
                </a:ext>
              </a:extLst>
            </p:cNvPr>
            <p:cNvSpPr/>
            <p:nvPr/>
          </p:nvSpPr>
          <p:spPr>
            <a:xfrm>
              <a:off x="6204700" y="5108811"/>
              <a:ext cx="105895" cy="61101"/>
            </a:xfrm>
            <a:custGeom>
              <a:avLst/>
              <a:gdLst>
                <a:gd name="connsiteX0" fmla="*/ 1164 w 34789"/>
                <a:gd name="connsiteY0" fmla="*/ 12029 h 20073"/>
                <a:gd name="connsiteX1" fmla="*/ 13356 w 34789"/>
                <a:gd name="connsiteY1" fmla="*/ 18983 h 20073"/>
                <a:gd name="connsiteX2" fmla="*/ 20785 w 34789"/>
                <a:gd name="connsiteY2" fmla="*/ 18983 h 20073"/>
                <a:gd name="connsiteX3" fmla="*/ 32882 w 34789"/>
                <a:gd name="connsiteY3" fmla="*/ 12029 h 20073"/>
                <a:gd name="connsiteX4" fmla="*/ 32882 w 34789"/>
                <a:gd name="connsiteY4" fmla="*/ 7743 h 20073"/>
                <a:gd name="connsiteX5" fmla="*/ 20785 w 34789"/>
                <a:gd name="connsiteY5" fmla="*/ 695 h 20073"/>
                <a:gd name="connsiteX6" fmla="*/ 13356 w 34789"/>
                <a:gd name="connsiteY6" fmla="*/ 695 h 20073"/>
                <a:gd name="connsiteX7" fmla="*/ 1164 w 34789"/>
                <a:gd name="connsiteY7" fmla="*/ 7743 h 20073"/>
                <a:gd name="connsiteX8" fmla="*/ 1164 w 34789"/>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89" h="20073">
                  <a:moveTo>
                    <a:pt x="1164" y="12029"/>
                  </a:moveTo>
                  <a:lnTo>
                    <a:pt x="13356" y="18983"/>
                  </a:lnTo>
                  <a:cubicBezTo>
                    <a:pt x="15680" y="20221"/>
                    <a:pt x="18461" y="20221"/>
                    <a:pt x="20785" y="18983"/>
                  </a:cubicBezTo>
                  <a:lnTo>
                    <a:pt x="32882" y="12029"/>
                  </a:lnTo>
                  <a:cubicBezTo>
                    <a:pt x="34977" y="10791"/>
                    <a:pt x="34977" y="8886"/>
                    <a:pt x="32882" y="7743"/>
                  </a:cubicBezTo>
                  <a:lnTo>
                    <a:pt x="20785" y="695"/>
                  </a:lnTo>
                  <a:cubicBezTo>
                    <a:pt x="18442" y="-448"/>
                    <a:pt x="15699" y="-448"/>
                    <a:pt x="13356" y="695"/>
                  </a:cubicBezTo>
                  <a:lnTo>
                    <a:pt x="1164" y="7743"/>
                  </a:lnTo>
                  <a:cubicBezTo>
                    <a:pt x="-836" y="8696"/>
                    <a:pt x="-836" y="10601"/>
                    <a:pt x="1164" y="12029"/>
                  </a:cubicBezTo>
                  <a:close/>
                </a:path>
              </a:pathLst>
            </a:custGeom>
            <a:solidFill>
              <a:srgbClr val="D1D9E8"/>
            </a:solidFill>
            <a:ln w="9525" cap="flat">
              <a:noFill/>
              <a:prstDash val="solid"/>
              <a:miter/>
            </a:ln>
          </p:spPr>
          <p:txBody>
            <a:bodyPr rtlCol="0" anchor="ctr"/>
            <a:lstStyle/>
            <a:p>
              <a:endParaRPr lang="zh-CN" altLang="en-US"/>
            </a:p>
          </p:txBody>
        </p:sp>
        <p:sp>
          <p:nvSpPr>
            <p:cNvPr id="584" name="ïṧľíḍè">
              <a:extLst>
                <a:ext uri="{FF2B5EF4-FFF2-40B4-BE49-F238E27FC236}">
                  <a16:creationId xmlns:a16="http://schemas.microsoft.com/office/drawing/2014/main" id="{014629D1-DD8E-4745-96AD-1139CA6D3498}"/>
                </a:ext>
              </a:extLst>
            </p:cNvPr>
            <p:cNvSpPr/>
            <p:nvPr/>
          </p:nvSpPr>
          <p:spPr>
            <a:xfrm>
              <a:off x="6202889" y="5138675"/>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3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3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2" y="7953"/>
                    <a:pt x="35668" y="6981"/>
                  </a:cubicBezTo>
                  <a:lnTo>
                    <a:pt x="35668" y="-163"/>
                  </a:lnTo>
                  <a:cubicBezTo>
                    <a:pt x="35602" y="818"/>
                    <a:pt x="35021" y="1685"/>
                    <a:pt x="34144" y="2123"/>
                  </a:cubicBezTo>
                  <a:lnTo>
                    <a:pt x="31763" y="3457"/>
                  </a:lnTo>
                  <a:lnTo>
                    <a:pt x="21476" y="9362"/>
                  </a:lnTo>
                  <a:cubicBezTo>
                    <a:pt x="19085" y="10601"/>
                    <a:pt x="16247" y="10601"/>
                    <a:pt x="13856" y="9362"/>
                  </a:cubicBezTo>
                  <a:lnTo>
                    <a:pt x="3569" y="3457"/>
                  </a:lnTo>
                  <a:lnTo>
                    <a:pt x="1188"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585" name="iṧľiḑé">
              <a:extLst>
                <a:ext uri="{FF2B5EF4-FFF2-40B4-BE49-F238E27FC236}">
                  <a16:creationId xmlns:a16="http://schemas.microsoft.com/office/drawing/2014/main" id="{6C4C83EE-FA58-49A5-8CC0-86D8DAD477DF}"/>
                </a:ext>
              </a:extLst>
            </p:cNvPr>
            <p:cNvSpPr/>
            <p:nvPr/>
          </p:nvSpPr>
          <p:spPr>
            <a:xfrm>
              <a:off x="6280010" y="5151502"/>
              <a:ext cx="109740" cy="63639"/>
            </a:xfrm>
            <a:custGeom>
              <a:avLst/>
              <a:gdLst>
                <a:gd name="connsiteX0" fmla="*/ -336 w 36052"/>
                <a:gd name="connsiteY0" fmla="*/ 10291 h 20907"/>
                <a:gd name="connsiteX1" fmla="*/ 1283 w 36052"/>
                <a:gd name="connsiteY1" fmla="*/ 12577 h 20907"/>
                <a:gd name="connsiteX2" fmla="*/ 3569 w 36052"/>
                <a:gd name="connsiteY2" fmla="*/ 13911 h 20907"/>
                <a:gd name="connsiteX3" fmla="*/ 13856 w 36052"/>
                <a:gd name="connsiteY3" fmla="*/ 19816 h 20907"/>
                <a:gd name="connsiteX4" fmla="*/ 21571 w 36052"/>
                <a:gd name="connsiteY4" fmla="*/ 19816 h 20907"/>
                <a:gd name="connsiteX5" fmla="*/ 31858 w 36052"/>
                <a:gd name="connsiteY5" fmla="*/ 13911 h 20907"/>
                <a:gd name="connsiteX6" fmla="*/ 34144 w 36052"/>
                <a:gd name="connsiteY6" fmla="*/ 12577 h 20907"/>
                <a:gd name="connsiteX7" fmla="*/ 35573 w 36052"/>
                <a:gd name="connsiteY7" fmla="*/ 9529 h 20907"/>
                <a:gd name="connsiteX8" fmla="*/ 34144 w 36052"/>
                <a:gd name="connsiteY8" fmla="*/ 8100 h 20907"/>
                <a:gd name="connsiteX9" fmla="*/ 21571 w 36052"/>
                <a:gd name="connsiteY9" fmla="*/ 766 h 20907"/>
                <a:gd name="connsiteX10" fmla="*/ 13856 w 36052"/>
                <a:gd name="connsiteY10" fmla="*/ 766 h 20907"/>
                <a:gd name="connsiteX11" fmla="*/ 1283 w 36052"/>
                <a:gd name="connsiteY11" fmla="*/ 8100 h 20907"/>
                <a:gd name="connsiteX12" fmla="*/ -336 w 36052"/>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907">
                  <a:moveTo>
                    <a:pt x="-336" y="10291"/>
                  </a:moveTo>
                  <a:cubicBezTo>
                    <a:pt x="-232" y="11282"/>
                    <a:pt x="378" y="12148"/>
                    <a:pt x="1283" y="12577"/>
                  </a:cubicBezTo>
                  <a:lnTo>
                    <a:pt x="3569" y="13911"/>
                  </a:lnTo>
                  <a:lnTo>
                    <a:pt x="13856" y="19816"/>
                  </a:lnTo>
                  <a:cubicBezTo>
                    <a:pt x="16275" y="21054"/>
                    <a:pt x="19152" y="21054"/>
                    <a:pt x="21571" y="19816"/>
                  </a:cubicBezTo>
                  <a:lnTo>
                    <a:pt x="31858" y="13911"/>
                  </a:lnTo>
                  <a:lnTo>
                    <a:pt x="34144" y="12577"/>
                  </a:lnTo>
                  <a:cubicBezTo>
                    <a:pt x="35382" y="12129"/>
                    <a:pt x="36020" y="10758"/>
                    <a:pt x="35573" y="9529"/>
                  </a:cubicBezTo>
                  <a:cubicBezTo>
                    <a:pt x="35325" y="8862"/>
                    <a:pt x="34811" y="8338"/>
                    <a:pt x="34144" y="8100"/>
                  </a:cubicBezTo>
                  <a:lnTo>
                    <a:pt x="21571" y="766"/>
                  </a:lnTo>
                  <a:cubicBezTo>
                    <a:pt x="19152" y="-472"/>
                    <a:pt x="16275" y="-472"/>
                    <a:pt x="13856" y="766"/>
                  </a:cubicBezTo>
                  <a:lnTo>
                    <a:pt x="1283" y="8100"/>
                  </a:lnTo>
                  <a:cubicBezTo>
                    <a:pt x="407" y="8510"/>
                    <a:pt x="-203" y="933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586" name="ïsľïḋê">
              <a:extLst>
                <a:ext uri="{FF2B5EF4-FFF2-40B4-BE49-F238E27FC236}">
                  <a16:creationId xmlns:a16="http://schemas.microsoft.com/office/drawing/2014/main" id="{D20FF1AE-4C86-41AD-ABD9-9B3110BE7C67}"/>
                </a:ext>
              </a:extLst>
            </p:cNvPr>
            <p:cNvSpPr/>
            <p:nvPr/>
          </p:nvSpPr>
          <p:spPr>
            <a:xfrm>
              <a:off x="6281967" y="5152881"/>
              <a:ext cx="105244" cy="61104"/>
            </a:xfrm>
            <a:custGeom>
              <a:avLst/>
              <a:gdLst>
                <a:gd name="connsiteX0" fmla="*/ 1021 w 34575"/>
                <a:gd name="connsiteY0" fmla="*/ 12029 h 20074"/>
                <a:gd name="connsiteX1" fmla="*/ 13118 w 34575"/>
                <a:gd name="connsiteY1" fmla="*/ 18983 h 20074"/>
                <a:gd name="connsiteX2" fmla="*/ 20547 w 34575"/>
                <a:gd name="connsiteY2" fmla="*/ 18983 h 20074"/>
                <a:gd name="connsiteX3" fmla="*/ 32739 w 34575"/>
                <a:gd name="connsiteY3" fmla="*/ 12029 h 20074"/>
                <a:gd name="connsiteX4" fmla="*/ 32739 w 34575"/>
                <a:gd name="connsiteY4" fmla="*/ 7743 h 20074"/>
                <a:gd name="connsiteX5" fmla="*/ 20547 w 34575"/>
                <a:gd name="connsiteY5" fmla="*/ 695 h 20074"/>
                <a:gd name="connsiteX6" fmla="*/ 13118 w 34575"/>
                <a:gd name="connsiteY6" fmla="*/ 695 h 20074"/>
                <a:gd name="connsiteX7" fmla="*/ 1021 w 34575"/>
                <a:gd name="connsiteY7" fmla="*/ 7743 h 20074"/>
                <a:gd name="connsiteX8" fmla="*/ 1021 w 34575"/>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575" h="20074">
                  <a:moveTo>
                    <a:pt x="1021" y="12029"/>
                  </a:moveTo>
                  <a:lnTo>
                    <a:pt x="13118" y="18983"/>
                  </a:lnTo>
                  <a:cubicBezTo>
                    <a:pt x="15442" y="20221"/>
                    <a:pt x="18223" y="20221"/>
                    <a:pt x="20547" y="18983"/>
                  </a:cubicBezTo>
                  <a:lnTo>
                    <a:pt x="32739" y="12029"/>
                  </a:lnTo>
                  <a:cubicBezTo>
                    <a:pt x="34740" y="10791"/>
                    <a:pt x="34740" y="8886"/>
                    <a:pt x="32739" y="7743"/>
                  </a:cubicBezTo>
                  <a:lnTo>
                    <a:pt x="20547" y="695"/>
                  </a:lnTo>
                  <a:cubicBezTo>
                    <a:pt x="18204" y="-448"/>
                    <a:pt x="15461" y="-448"/>
                    <a:pt x="13118" y="695"/>
                  </a:cubicBezTo>
                  <a:lnTo>
                    <a:pt x="1021" y="7743"/>
                  </a:lnTo>
                  <a:cubicBezTo>
                    <a:pt x="-789" y="8886"/>
                    <a:pt x="-789" y="10791"/>
                    <a:pt x="1021" y="12029"/>
                  </a:cubicBezTo>
                  <a:close/>
                </a:path>
              </a:pathLst>
            </a:custGeom>
            <a:solidFill>
              <a:srgbClr val="D1D9E8"/>
            </a:solidFill>
            <a:ln w="9525" cap="flat">
              <a:noFill/>
              <a:prstDash val="solid"/>
              <a:miter/>
            </a:ln>
          </p:spPr>
          <p:txBody>
            <a:bodyPr rtlCol="0" anchor="ctr"/>
            <a:lstStyle/>
            <a:p>
              <a:endParaRPr lang="zh-CN" altLang="en-US"/>
            </a:p>
          </p:txBody>
        </p:sp>
        <p:sp>
          <p:nvSpPr>
            <p:cNvPr id="587" name="íṥľíḓè">
              <a:extLst>
                <a:ext uri="{FF2B5EF4-FFF2-40B4-BE49-F238E27FC236}">
                  <a16:creationId xmlns:a16="http://schemas.microsoft.com/office/drawing/2014/main" id="{62F1AA72-40F8-455A-8A34-0D86FFF8AFA1}"/>
                </a:ext>
              </a:extLst>
            </p:cNvPr>
            <p:cNvSpPr/>
            <p:nvPr/>
          </p:nvSpPr>
          <p:spPr>
            <a:xfrm>
              <a:off x="6280010" y="5183323"/>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3 w 36099"/>
                <a:gd name="connsiteY6" fmla="*/ 6981 h 17597"/>
                <a:gd name="connsiteX7" fmla="*/ 35763 w 36099"/>
                <a:gd name="connsiteY7" fmla="*/ -163 h 17597"/>
                <a:gd name="connsiteX8" fmla="*/ 34144 w 36099"/>
                <a:gd name="connsiteY8" fmla="*/ 2123 h 17597"/>
                <a:gd name="connsiteX9" fmla="*/ 31858 w 36099"/>
                <a:gd name="connsiteY9" fmla="*/ 3457 h 17597"/>
                <a:gd name="connsiteX10" fmla="*/ 21571 w 36099"/>
                <a:gd name="connsiteY10" fmla="*/ 9362 h 17597"/>
                <a:gd name="connsiteX11" fmla="*/ 13856 w 36099"/>
                <a:gd name="connsiteY11" fmla="*/ 9362 h 17597"/>
                <a:gd name="connsiteX12" fmla="*/ 3569 w 36099"/>
                <a:gd name="connsiteY12" fmla="*/ 3457 h 17597"/>
                <a:gd name="connsiteX13" fmla="*/ 1283 w 36099"/>
                <a:gd name="connsiteY13" fmla="*/ 2123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03" y="8029"/>
                    <a:pt x="407" y="8857"/>
                    <a:pt x="1283" y="9267"/>
                  </a:cubicBezTo>
                  <a:lnTo>
                    <a:pt x="13856" y="16506"/>
                  </a:lnTo>
                  <a:cubicBezTo>
                    <a:pt x="16275" y="17744"/>
                    <a:pt x="19152" y="17744"/>
                    <a:pt x="21571" y="16506"/>
                  </a:cubicBezTo>
                  <a:lnTo>
                    <a:pt x="34144" y="9267"/>
                  </a:lnTo>
                  <a:cubicBezTo>
                    <a:pt x="35030" y="8829"/>
                    <a:pt x="35639" y="7962"/>
                    <a:pt x="35763" y="6981"/>
                  </a:cubicBezTo>
                  <a:lnTo>
                    <a:pt x="35763" y="-163"/>
                  </a:lnTo>
                  <a:cubicBezTo>
                    <a:pt x="35659" y="828"/>
                    <a:pt x="35049" y="1695"/>
                    <a:pt x="34144" y="2123"/>
                  </a:cubicBezTo>
                  <a:lnTo>
                    <a:pt x="31858" y="3457"/>
                  </a:lnTo>
                  <a:lnTo>
                    <a:pt x="21571" y="9362"/>
                  </a:lnTo>
                  <a:cubicBezTo>
                    <a:pt x="19152" y="10601"/>
                    <a:pt x="16275" y="10601"/>
                    <a:pt x="13856" y="9362"/>
                  </a:cubicBezTo>
                  <a:lnTo>
                    <a:pt x="3569" y="3457"/>
                  </a:lnTo>
                  <a:lnTo>
                    <a:pt x="1283" y="2123"/>
                  </a:lnTo>
                  <a:cubicBezTo>
                    <a:pt x="378" y="1695"/>
                    <a:pt x="-232"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588" name="ïsľide">
              <a:extLst>
                <a:ext uri="{FF2B5EF4-FFF2-40B4-BE49-F238E27FC236}">
                  <a16:creationId xmlns:a16="http://schemas.microsoft.com/office/drawing/2014/main" id="{FC26F811-B9E7-4396-BA1D-E793AEF14B45}"/>
                </a:ext>
              </a:extLst>
            </p:cNvPr>
            <p:cNvSpPr/>
            <p:nvPr/>
          </p:nvSpPr>
          <p:spPr>
            <a:xfrm>
              <a:off x="6357423" y="5196153"/>
              <a:ext cx="109594" cy="63639"/>
            </a:xfrm>
            <a:custGeom>
              <a:avLst/>
              <a:gdLst>
                <a:gd name="connsiteX0" fmla="*/ -336 w 36004"/>
                <a:gd name="connsiteY0" fmla="*/ 10291 h 20907"/>
                <a:gd name="connsiteX1" fmla="*/ 1188 w 36004"/>
                <a:gd name="connsiteY1" fmla="*/ 12577 h 20907"/>
                <a:gd name="connsiteX2" fmla="*/ 3569 w 36004"/>
                <a:gd name="connsiteY2" fmla="*/ 13910 h 20907"/>
                <a:gd name="connsiteX3" fmla="*/ 13856 w 36004"/>
                <a:gd name="connsiteY3" fmla="*/ 19816 h 20907"/>
                <a:gd name="connsiteX4" fmla="*/ 21476 w 36004"/>
                <a:gd name="connsiteY4" fmla="*/ 19816 h 20907"/>
                <a:gd name="connsiteX5" fmla="*/ 31763 w 36004"/>
                <a:gd name="connsiteY5" fmla="*/ 13910 h 20907"/>
                <a:gd name="connsiteX6" fmla="*/ 34144 w 36004"/>
                <a:gd name="connsiteY6" fmla="*/ 12577 h 20907"/>
                <a:gd name="connsiteX7" fmla="*/ 35668 w 36004"/>
                <a:gd name="connsiteY7" fmla="*/ 10291 h 20907"/>
                <a:gd name="connsiteX8" fmla="*/ 34144 w 36004"/>
                <a:gd name="connsiteY8" fmla="*/ 8100 h 20907"/>
                <a:gd name="connsiteX9" fmla="*/ 21476 w 36004"/>
                <a:gd name="connsiteY9" fmla="*/ 766 h 20907"/>
                <a:gd name="connsiteX10" fmla="*/ 13856 w 36004"/>
                <a:gd name="connsiteY10" fmla="*/ 766 h 20907"/>
                <a:gd name="connsiteX11" fmla="*/ 1188 w 36004"/>
                <a:gd name="connsiteY11" fmla="*/ 8100 h 20907"/>
                <a:gd name="connsiteX12" fmla="*/ -336 w 36004"/>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907">
                  <a:moveTo>
                    <a:pt x="-336" y="10291"/>
                  </a:moveTo>
                  <a:cubicBezTo>
                    <a:pt x="-269" y="11272"/>
                    <a:pt x="312" y="12139"/>
                    <a:pt x="1188" y="12577"/>
                  </a:cubicBezTo>
                  <a:lnTo>
                    <a:pt x="3569" y="13910"/>
                  </a:lnTo>
                  <a:lnTo>
                    <a:pt x="13856" y="19816"/>
                  </a:lnTo>
                  <a:cubicBezTo>
                    <a:pt x="16247" y="21054"/>
                    <a:pt x="19085" y="21054"/>
                    <a:pt x="21476" y="19816"/>
                  </a:cubicBezTo>
                  <a:lnTo>
                    <a:pt x="31763" y="13910"/>
                  </a:lnTo>
                  <a:lnTo>
                    <a:pt x="34144" y="12577"/>
                  </a:lnTo>
                  <a:cubicBezTo>
                    <a:pt x="35021" y="12139"/>
                    <a:pt x="35602" y="11272"/>
                    <a:pt x="35668" y="10291"/>
                  </a:cubicBezTo>
                  <a:cubicBezTo>
                    <a:pt x="35611" y="9339"/>
                    <a:pt x="35021" y="8491"/>
                    <a:pt x="34144" y="8100"/>
                  </a:cubicBezTo>
                  <a:lnTo>
                    <a:pt x="21476" y="766"/>
                  </a:lnTo>
                  <a:cubicBezTo>
                    <a:pt x="19085" y="-472"/>
                    <a:pt x="16247" y="-472"/>
                    <a:pt x="13856" y="766"/>
                  </a:cubicBezTo>
                  <a:lnTo>
                    <a:pt x="1188" y="8100"/>
                  </a:lnTo>
                  <a:cubicBezTo>
                    <a:pt x="312" y="8491"/>
                    <a:pt x="-279"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589" name="i$ļiḑê">
              <a:extLst>
                <a:ext uri="{FF2B5EF4-FFF2-40B4-BE49-F238E27FC236}">
                  <a16:creationId xmlns:a16="http://schemas.microsoft.com/office/drawing/2014/main" id="{7FEF0632-5819-4DD9-AD59-02EBA4BA15A8}"/>
                </a:ext>
              </a:extLst>
            </p:cNvPr>
            <p:cNvSpPr/>
            <p:nvPr/>
          </p:nvSpPr>
          <p:spPr>
            <a:xfrm>
              <a:off x="6359234" y="5197313"/>
              <a:ext cx="105898" cy="61104"/>
            </a:xfrm>
            <a:custGeom>
              <a:avLst/>
              <a:gdLst>
                <a:gd name="connsiteX0" fmla="*/ 1164 w 34790"/>
                <a:gd name="connsiteY0" fmla="*/ 12006 h 20074"/>
                <a:gd name="connsiteX1" fmla="*/ 13356 w 34790"/>
                <a:gd name="connsiteY1" fmla="*/ 19054 h 20074"/>
                <a:gd name="connsiteX2" fmla="*/ 20785 w 34790"/>
                <a:gd name="connsiteY2" fmla="*/ 19054 h 20074"/>
                <a:gd name="connsiteX3" fmla="*/ 32882 w 34790"/>
                <a:gd name="connsiteY3" fmla="*/ 12006 h 20074"/>
                <a:gd name="connsiteX4" fmla="*/ 32882 w 34790"/>
                <a:gd name="connsiteY4" fmla="*/ 7719 h 20074"/>
                <a:gd name="connsiteX5" fmla="*/ 20785 w 34790"/>
                <a:gd name="connsiteY5" fmla="*/ 766 h 20074"/>
                <a:gd name="connsiteX6" fmla="*/ 13356 w 34790"/>
                <a:gd name="connsiteY6" fmla="*/ 766 h 20074"/>
                <a:gd name="connsiteX7" fmla="*/ 1164 w 34790"/>
                <a:gd name="connsiteY7" fmla="*/ 7719 h 20074"/>
                <a:gd name="connsiteX8" fmla="*/ 1164 w 34790"/>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4">
                  <a:moveTo>
                    <a:pt x="1164" y="12006"/>
                  </a:moveTo>
                  <a:lnTo>
                    <a:pt x="13356" y="19054"/>
                  </a:lnTo>
                  <a:cubicBezTo>
                    <a:pt x="15699" y="20197"/>
                    <a:pt x="18442" y="20197"/>
                    <a:pt x="20785" y="19054"/>
                  </a:cubicBezTo>
                  <a:lnTo>
                    <a:pt x="32882" y="12006"/>
                  </a:lnTo>
                  <a:cubicBezTo>
                    <a:pt x="34978" y="10863"/>
                    <a:pt x="34978" y="8958"/>
                    <a:pt x="32882" y="7719"/>
                  </a:cubicBezTo>
                  <a:lnTo>
                    <a:pt x="20785" y="766"/>
                  </a:lnTo>
                  <a:cubicBezTo>
                    <a:pt x="18461" y="-472"/>
                    <a:pt x="15680" y="-472"/>
                    <a:pt x="13356" y="766"/>
                  </a:cubicBezTo>
                  <a:lnTo>
                    <a:pt x="1164" y="7719"/>
                  </a:lnTo>
                  <a:cubicBezTo>
                    <a:pt x="-836" y="8958"/>
                    <a:pt x="-836" y="10863"/>
                    <a:pt x="1164" y="12006"/>
                  </a:cubicBezTo>
                  <a:close/>
                </a:path>
              </a:pathLst>
            </a:custGeom>
            <a:solidFill>
              <a:srgbClr val="D1D9E8"/>
            </a:solidFill>
            <a:ln w="9525" cap="flat">
              <a:noFill/>
              <a:prstDash val="solid"/>
              <a:miter/>
            </a:ln>
          </p:spPr>
          <p:txBody>
            <a:bodyPr rtlCol="0" anchor="ctr"/>
            <a:lstStyle/>
            <a:p>
              <a:endParaRPr lang="zh-CN" altLang="en-US"/>
            </a:p>
          </p:txBody>
        </p:sp>
        <p:sp>
          <p:nvSpPr>
            <p:cNvPr id="590" name="íṡḻïďê">
              <a:extLst>
                <a:ext uri="{FF2B5EF4-FFF2-40B4-BE49-F238E27FC236}">
                  <a16:creationId xmlns:a16="http://schemas.microsoft.com/office/drawing/2014/main" id="{026DA0D2-F80F-40DD-ABE7-45E0118FF8AD}"/>
                </a:ext>
              </a:extLst>
            </p:cNvPr>
            <p:cNvSpPr/>
            <p:nvPr/>
          </p:nvSpPr>
          <p:spPr>
            <a:xfrm>
              <a:off x="6357423" y="5227971"/>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4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4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20"/>
                    <a:pt x="35582" y="7953"/>
                    <a:pt x="35668" y="6981"/>
                  </a:cubicBezTo>
                  <a:lnTo>
                    <a:pt x="35668" y="-163"/>
                  </a:lnTo>
                  <a:cubicBezTo>
                    <a:pt x="35602" y="819"/>
                    <a:pt x="35021" y="1685"/>
                    <a:pt x="34144" y="2124"/>
                  </a:cubicBezTo>
                  <a:lnTo>
                    <a:pt x="31763" y="3457"/>
                  </a:lnTo>
                  <a:lnTo>
                    <a:pt x="21476" y="9362"/>
                  </a:lnTo>
                  <a:cubicBezTo>
                    <a:pt x="19085" y="10601"/>
                    <a:pt x="16247" y="10601"/>
                    <a:pt x="13856" y="9362"/>
                  </a:cubicBezTo>
                  <a:lnTo>
                    <a:pt x="3569" y="3457"/>
                  </a:lnTo>
                  <a:lnTo>
                    <a:pt x="1188" y="2124"/>
                  </a:lnTo>
                  <a:cubicBezTo>
                    <a:pt x="312" y="1685"/>
                    <a:pt x="-269" y="819"/>
                    <a:pt x="-336" y="-163"/>
                  </a:cubicBezTo>
                  <a:close/>
                </a:path>
              </a:pathLst>
            </a:custGeom>
            <a:solidFill>
              <a:srgbClr val="BF4200"/>
            </a:solidFill>
            <a:ln w="9525" cap="flat">
              <a:noFill/>
              <a:prstDash val="solid"/>
              <a:miter/>
            </a:ln>
          </p:spPr>
          <p:txBody>
            <a:bodyPr rtlCol="0" anchor="ctr"/>
            <a:lstStyle/>
            <a:p>
              <a:endParaRPr lang="zh-CN" altLang="en-US"/>
            </a:p>
          </p:txBody>
        </p:sp>
        <p:sp>
          <p:nvSpPr>
            <p:cNvPr id="591" name="i$ḻíḓè">
              <a:extLst>
                <a:ext uri="{FF2B5EF4-FFF2-40B4-BE49-F238E27FC236}">
                  <a16:creationId xmlns:a16="http://schemas.microsoft.com/office/drawing/2014/main" id="{0FF5EF65-87DE-419E-A32E-011D6A1C6FCB}"/>
                </a:ext>
              </a:extLst>
            </p:cNvPr>
            <p:cNvSpPr/>
            <p:nvPr/>
          </p:nvSpPr>
          <p:spPr>
            <a:xfrm>
              <a:off x="6434544" y="5240801"/>
              <a:ext cx="109883" cy="63588"/>
            </a:xfrm>
            <a:custGeom>
              <a:avLst/>
              <a:gdLst>
                <a:gd name="connsiteX0" fmla="*/ -336 w 36099"/>
                <a:gd name="connsiteY0" fmla="*/ 10291 h 20890"/>
                <a:gd name="connsiteX1" fmla="*/ 1283 w 36099"/>
                <a:gd name="connsiteY1" fmla="*/ 12577 h 20890"/>
                <a:gd name="connsiteX2" fmla="*/ 3569 w 36099"/>
                <a:gd name="connsiteY2" fmla="*/ 13911 h 20890"/>
                <a:gd name="connsiteX3" fmla="*/ 13856 w 36099"/>
                <a:gd name="connsiteY3" fmla="*/ 19721 h 20890"/>
                <a:gd name="connsiteX4" fmla="*/ 21571 w 36099"/>
                <a:gd name="connsiteY4" fmla="*/ 19721 h 20890"/>
                <a:gd name="connsiteX5" fmla="*/ 31858 w 36099"/>
                <a:gd name="connsiteY5" fmla="*/ 13911 h 20890"/>
                <a:gd name="connsiteX6" fmla="*/ 34144 w 36099"/>
                <a:gd name="connsiteY6" fmla="*/ 12577 h 20890"/>
                <a:gd name="connsiteX7" fmla="*/ 35764 w 36099"/>
                <a:gd name="connsiteY7" fmla="*/ 10291 h 20890"/>
                <a:gd name="connsiteX8" fmla="*/ 34144 w 36099"/>
                <a:gd name="connsiteY8" fmla="*/ 8101 h 20890"/>
                <a:gd name="connsiteX9" fmla="*/ 21571 w 36099"/>
                <a:gd name="connsiteY9" fmla="*/ 766 h 20890"/>
                <a:gd name="connsiteX10" fmla="*/ 13856 w 36099"/>
                <a:gd name="connsiteY10" fmla="*/ 766 h 20890"/>
                <a:gd name="connsiteX11" fmla="*/ 1283 w 36099"/>
                <a:gd name="connsiteY11" fmla="*/ 8101 h 20890"/>
                <a:gd name="connsiteX12" fmla="*/ -336 w 36099"/>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99" h="20890">
                  <a:moveTo>
                    <a:pt x="-336" y="10291"/>
                  </a:moveTo>
                  <a:cubicBezTo>
                    <a:pt x="-269" y="11301"/>
                    <a:pt x="359" y="12187"/>
                    <a:pt x="1283" y="12577"/>
                  </a:cubicBezTo>
                  <a:lnTo>
                    <a:pt x="3569" y="13911"/>
                  </a:lnTo>
                  <a:lnTo>
                    <a:pt x="13856" y="19721"/>
                  </a:lnTo>
                  <a:cubicBezTo>
                    <a:pt x="16256" y="21064"/>
                    <a:pt x="19171" y="21064"/>
                    <a:pt x="21571" y="19721"/>
                  </a:cubicBezTo>
                  <a:lnTo>
                    <a:pt x="31858" y="13911"/>
                  </a:lnTo>
                  <a:lnTo>
                    <a:pt x="34144" y="12577"/>
                  </a:lnTo>
                  <a:cubicBezTo>
                    <a:pt x="35049" y="12149"/>
                    <a:pt x="35659" y="11282"/>
                    <a:pt x="35764" y="10291"/>
                  </a:cubicBezTo>
                  <a:cubicBezTo>
                    <a:pt x="35649" y="9329"/>
                    <a:pt x="35030" y="8491"/>
                    <a:pt x="34144" y="8101"/>
                  </a:cubicBezTo>
                  <a:lnTo>
                    <a:pt x="21571" y="766"/>
                  </a:lnTo>
                  <a:cubicBezTo>
                    <a:pt x="19152" y="-472"/>
                    <a:pt x="16275" y="-472"/>
                    <a:pt x="13856" y="766"/>
                  </a:cubicBezTo>
                  <a:lnTo>
                    <a:pt x="1283" y="8101"/>
                  </a:lnTo>
                  <a:cubicBezTo>
                    <a:pt x="369" y="8462"/>
                    <a:pt x="-260" y="9310"/>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592" name="íśḻíḑe">
              <a:extLst>
                <a:ext uri="{FF2B5EF4-FFF2-40B4-BE49-F238E27FC236}">
                  <a16:creationId xmlns:a16="http://schemas.microsoft.com/office/drawing/2014/main" id="{24D59B43-98DC-4493-84F9-D62FA869751C}"/>
                </a:ext>
              </a:extLst>
            </p:cNvPr>
            <p:cNvSpPr/>
            <p:nvPr/>
          </p:nvSpPr>
          <p:spPr>
            <a:xfrm>
              <a:off x="6436428" y="5241961"/>
              <a:ext cx="105898" cy="61101"/>
            </a:xfrm>
            <a:custGeom>
              <a:avLst/>
              <a:gdLst>
                <a:gd name="connsiteX0" fmla="*/ 1235 w 34790"/>
                <a:gd name="connsiteY0" fmla="*/ 12006 h 20073"/>
                <a:gd name="connsiteX1" fmla="*/ 13332 w 34790"/>
                <a:gd name="connsiteY1" fmla="*/ 19054 h 20073"/>
                <a:gd name="connsiteX2" fmla="*/ 20761 w 34790"/>
                <a:gd name="connsiteY2" fmla="*/ 19054 h 20073"/>
                <a:gd name="connsiteX3" fmla="*/ 32953 w 34790"/>
                <a:gd name="connsiteY3" fmla="*/ 12006 h 20073"/>
                <a:gd name="connsiteX4" fmla="*/ 32953 w 34790"/>
                <a:gd name="connsiteY4" fmla="*/ 7719 h 20073"/>
                <a:gd name="connsiteX5" fmla="*/ 20761 w 34790"/>
                <a:gd name="connsiteY5" fmla="*/ 766 h 20073"/>
                <a:gd name="connsiteX6" fmla="*/ 13332 w 34790"/>
                <a:gd name="connsiteY6" fmla="*/ 766 h 20073"/>
                <a:gd name="connsiteX7" fmla="*/ 1235 w 34790"/>
                <a:gd name="connsiteY7" fmla="*/ 7719 h 20073"/>
                <a:gd name="connsiteX8" fmla="*/ 1235 w 34790"/>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3">
                  <a:moveTo>
                    <a:pt x="1235" y="12006"/>
                  </a:moveTo>
                  <a:lnTo>
                    <a:pt x="13332" y="19054"/>
                  </a:lnTo>
                  <a:cubicBezTo>
                    <a:pt x="15675" y="20197"/>
                    <a:pt x="18418" y="20197"/>
                    <a:pt x="20761" y="19054"/>
                  </a:cubicBezTo>
                  <a:lnTo>
                    <a:pt x="32953" y="12006"/>
                  </a:lnTo>
                  <a:cubicBezTo>
                    <a:pt x="34954" y="10863"/>
                    <a:pt x="34954" y="8957"/>
                    <a:pt x="32953" y="7719"/>
                  </a:cubicBezTo>
                  <a:lnTo>
                    <a:pt x="20761" y="766"/>
                  </a:lnTo>
                  <a:cubicBezTo>
                    <a:pt x="18437" y="-472"/>
                    <a:pt x="15656" y="-472"/>
                    <a:pt x="13332" y="766"/>
                  </a:cubicBezTo>
                  <a:lnTo>
                    <a:pt x="1235" y="7719"/>
                  </a:lnTo>
                  <a:cubicBezTo>
                    <a:pt x="-860" y="8957"/>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593" name="îṩ1iḑè">
              <a:extLst>
                <a:ext uri="{FF2B5EF4-FFF2-40B4-BE49-F238E27FC236}">
                  <a16:creationId xmlns:a16="http://schemas.microsoft.com/office/drawing/2014/main" id="{33FC04AF-499E-45CE-999D-7075D5EA97C0}"/>
                </a:ext>
              </a:extLst>
            </p:cNvPr>
            <p:cNvSpPr/>
            <p:nvPr/>
          </p:nvSpPr>
          <p:spPr>
            <a:xfrm>
              <a:off x="6434544" y="5272623"/>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4 w 36099"/>
                <a:gd name="connsiteY6" fmla="*/ 6981 h 17597"/>
                <a:gd name="connsiteX7" fmla="*/ 35764 w 36099"/>
                <a:gd name="connsiteY7" fmla="*/ -163 h 17597"/>
                <a:gd name="connsiteX8" fmla="*/ 34144 w 36099"/>
                <a:gd name="connsiteY8" fmla="*/ 2123 h 17597"/>
                <a:gd name="connsiteX9" fmla="*/ 31858 w 36099"/>
                <a:gd name="connsiteY9" fmla="*/ 3457 h 17597"/>
                <a:gd name="connsiteX10" fmla="*/ 21571 w 36099"/>
                <a:gd name="connsiteY10" fmla="*/ 9267 h 17597"/>
                <a:gd name="connsiteX11" fmla="*/ 13856 w 36099"/>
                <a:gd name="connsiteY11" fmla="*/ 9267 h 17597"/>
                <a:gd name="connsiteX12" fmla="*/ 3569 w 36099"/>
                <a:gd name="connsiteY12" fmla="*/ 3457 h 17597"/>
                <a:gd name="connsiteX13" fmla="*/ 1283 w 36099"/>
                <a:gd name="connsiteY13" fmla="*/ 2123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41" y="8048"/>
                    <a:pt x="378" y="8886"/>
                    <a:pt x="1283" y="9267"/>
                  </a:cubicBezTo>
                  <a:lnTo>
                    <a:pt x="13856" y="16506"/>
                  </a:lnTo>
                  <a:cubicBezTo>
                    <a:pt x="16275" y="17744"/>
                    <a:pt x="19152" y="17744"/>
                    <a:pt x="21571" y="16506"/>
                  </a:cubicBezTo>
                  <a:lnTo>
                    <a:pt x="34144" y="9267"/>
                  </a:lnTo>
                  <a:cubicBezTo>
                    <a:pt x="35030" y="8829"/>
                    <a:pt x="35640" y="7962"/>
                    <a:pt x="35764" y="6981"/>
                  </a:cubicBezTo>
                  <a:lnTo>
                    <a:pt x="35764" y="-163"/>
                  </a:lnTo>
                  <a:cubicBezTo>
                    <a:pt x="35659" y="828"/>
                    <a:pt x="35049" y="1695"/>
                    <a:pt x="34144" y="2123"/>
                  </a:cubicBezTo>
                  <a:lnTo>
                    <a:pt x="31858" y="3457"/>
                  </a:lnTo>
                  <a:lnTo>
                    <a:pt x="21571" y="9267"/>
                  </a:lnTo>
                  <a:cubicBezTo>
                    <a:pt x="19171" y="10610"/>
                    <a:pt x="16256" y="10610"/>
                    <a:pt x="13856" y="9267"/>
                  </a:cubicBezTo>
                  <a:lnTo>
                    <a:pt x="3569" y="3457"/>
                  </a:lnTo>
                  <a:lnTo>
                    <a:pt x="1283" y="2123"/>
                  </a:lnTo>
                  <a:cubicBezTo>
                    <a:pt x="359" y="1733"/>
                    <a:pt x="-269" y="847"/>
                    <a:pt x="-336" y="-163"/>
                  </a:cubicBezTo>
                  <a:close/>
                </a:path>
              </a:pathLst>
            </a:custGeom>
            <a:solidFill>
              <a:srgbClr val="BF4200"/>
            </a:solidFill>
            <a:ln w="9525" cap="flat">
              <a:noFill/>
              <a:prstDash val="solid"/>
              <a:miter/>
            </a:ln>
          </p:spPr>
          <p:txBody>
            <a:bodyPr rtlCol="0" anchor="ctr"/>
            <a:lstStyle/>
            <a:p>
              <a:endParaRPr lang="zh-CN" altLang="en-US"/>
            </a:p>
          </p:txBody>
        </p:sp>
        <p:sp>
          <p:nvSpPr>
            <p:cNvPr id="594" name="ïSḷídè">
              <a:extLst>
                <a:ext uri="{FF2B5EF4-FFF2-40B4-BE49-F238E27FC236}">
                  <a16:creationId xmlns:a16="http://schemas.microsoft.com/office/drawing/2014/main" id="{1368FFB5-4917-434A-AA35-B07E56E16A54}"/>
                </a:ext>
              </a:extLst>
            </p:cNvPr>
            <p:cNvSpPr/>
            <p:nvPr/>
          </p:nvSpPr>
          <p:spPr>
            <a:xfrm>
              <a:off x="5235377" y="4638898"/>
              <a:ext cx="109594" cy="63639"/>
            </a:xfrm>
            <a:custGeom>
              <a:avLst/>
              <a:gdLst>
                <a:gd name="connsiteX0" fmla="*/ -336 w 36004"/>
                <a:gd name="connsiteY0" fmla="*/ 10291 h 20907"/>
                <a:gd name="connsiteX1" fmla="*/ 1188 w 36004"/>
                <a:gd name="connsiteY1" fmla="*/ 12577 h 20907"/>
                <a:gd name="connsiteX2" fmla="*/ 3569 w 36004"/>
                <a:gd name="connsiteY2" fmla="*/ 13910 h 20907"/>
                <a:gd name="connsiteX3" fmla="*/ 13856 w 36004"/>
                <a:gd name="connsiteY3" fmla="*/ 19816 h 20907"/>
                <a:gd name="connsiteX4" fmla="*/ 21476 w 36004"/>
                <a:gd name="connsiteY4" fmla="*/ 19816 h 20907"/>
                <a:gd name="connsiteX5" fmla="*/ 31763 w 36004"/>
                <a:gd name="connsiteY5" fmla="*/ 13910 h 20907"/>
                <a:gd name="connsiteX6" fmla="*/ 34144 w 36004"/>
                <a:gd name="connsiteY6" fmla="*/ 12577 h 20907"/>
                <a:gd name="connsiteX7" fmla="*/ 35668 w 36004"/>
                <a:gd name="connsiteY7" fmla="*/ 10291 h 20907"/>
                <a:gd name="connsiteX8" fmla="*/ 34144 w 36004"/>
                <a:gd name="connsiteY8" fmla="*/ 8100 h 20907"/>
                <a:gd name="connsiteX9" fmla="*/ 21476 w 36004"/>
                <a:gd name="connsiteY9" fmla="*/ 766 h 20907"/>
                <a:gd name="connsiteX10" fmla="*/ 13856 w 36004"/>
                <a:gd name="connsiteY10" fmla="*/ 766 h 20907"/>
                <a:gd name="connsiteX11" fmla="*/ 1188 w 36004"/>
                <a:gd name="connsiteY11" fmla="*/ 8100 h 20907"/>
                <a:gd name="connsiteX12" fmla="*/ -336 w 36004"/>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907">
                  <a:moveTo>
                    <a:pt x="-336" y="10291"/>
                  </a:moveTo>
                  <a:cubicBezTo>
                    <a:pt x="-270" y="11272"/>
                    <a:pt x="311" y="12139"/>
                    <a:pt x="1188" y="12577"/>
                  </a:cubicBezTo>
                  <a:lnTo>
                    <a:pt x="3569" y="13910"/>
                  </a:lnTo>
                  <a:lnTo>
                    <a:pt x="13856" y="19816"/>
                  </a:lnTo>
                  <a:cubicBezTo>
                    <a:pt x="16247" y="21054"/>
                    <a:pt x="19085" y="21054"/>
                    <a:pt x="21476" y="19816"/>
                  </a:cubicBezTo>
                  <a:lnTo>
                    <a:pt x="31763" y="13910"/>
                  </a:lnTo>
                  <a:lnTo>
                    <a:pt x="34144" y="12577"/>
                  </a:lnTo>
                  <a:cubicBezTo>
                    <a:pt x="35020" y="12139"/>
                    <a:pt x="35601" y="11272"/>
                    <a:pt x="35668" y="10291"/>
                  </a:cubicBezTo>
                  <a:cubicBezTo>
                    <a:pt x="35611" y="9339"/>
                    <a:pt x="35020" y="8491"/>
                    <a:pt x="34144" y="8100"/>
                  </a:cubicBezTo>
                  <a:lnTo>
                    <a:pt x="21476" y="766"/>
                  </a:lnTo>
                  <a:cubicBezTo>
                    <a:pt x="19085" y="-472"/>
                    <a:pt x="16247" y="-472"/>
                    <a:pt x="13856" y="766"/>
                  </a:cubicBezTo>
                  <a:lnTo>
                    <a:pt x="1188" y="8100"/>
                  </a:lnTo>
                  <a:cubicBezTo>
                    <a:pt x="311" y="8491"/>
                    <a:pt x="-279"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595" name="iṧļîḓê">
              <a:extLst>
                <a:ext uri="{FF2B5EF4-FFF2-40B4-BE49-F238E27FC236}">
                  <a16:creationId xmlns:a16="http://schemas.microsoft.com/office/drawing/2014/main" id="{F4784CA2-8CF3-4641-9E24-D97DC35F0074}"/>
                </a:ext>
              </a:extLst>
            </p:cNvPr>
            <p:cNvSpPr/>
            <p:nvPr/>
          </p:nvSpPr>
          <p:spPr>
            <a:xfrm>
              <a:off x="5237334" y="4640058"/>
              <a:ext cx="106330" cy="61104"/>
            </a:xfrm>
            <a:custGeom>
              <a:avLst/>
              <a:gdLst>
                <a:gd name="connsiteX0" fmla="*/ 1307 w 34932"/>
                <a:gd name="connsiteY0" fmla="*/ 12006 h 20074"/>
                <a:gd name="connsiteX1" fmla="*/ 13499 w 34932"/>
                <a:gd name="connsiteY1" fmla="*/ 19054 h 20074"/>
                <a:gd name="connsiteX2" fmla="*/ 20928 w 34932"/>
                <a:gd name="connsiteY2" fmla="*/ 19054 h 20074"/>
                <a:gd name="connsiteX3" fmla="*/ 33025 w 34932"/>
                <a:gd name="connsiteY3" fmla="*/ 12006 h 20074"/>
                <a:gd name="connsiteX4" fmla="*/ 33025 w 34932"/>
                <a:gd name="connsiteY4" fmla="*/ 7719 h 20074"/>
                <a:gd name="connsiteX5" fmla="*/ 20928 w 34932"/>
                <a:gd name="connsiteY5" fmla="*/ 766 h 20074"/>
                <a:gd name="connsiteX6" fmla="*/ 13499 w 34932"/>
                <a:gd name="connsiteY6" fmla="*/ 766 h 20074"/>
                <a:gd name="connsiteX7" fmla="*/ 1307 w 34932"/>
                <a:gd name="connsiteY7" fmla="*/ 7719 h 20074"/>
                <a:gd name="connsiteX8" fmla="*/ 1307 w 34932"/>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932" h="20074">
                  <a:moveTo>
                    <a:pt x="1307" y="12006"/>
                  </a:moveTo>
                  <a:lnTo>
                    <a:pt x="13499" y="19054"/>
                  </a:lnTo>
                  <a:cubicBezTo>
                    <a:pt x="15842" y="20197"/>
                    <a:pt x="18585" y="20197"/>
                    <a:pt x="20928" y="19054"/>
                  </a:cubicBezTo>
                  <a:lnTo>
                    <a:pt x="33025" y="12006"/>
                  </a:lnTo>
                  <a:cubicBezTo>
                    <a:pt x="35120" y="10863"/>
                    <a:pt x="35120" y="8958"/>
                    <a:pt x="33025" y="7719"/>
                  </a:cubicBezTo>
                  <a:lnTo>
                    <a:pt x="20928" y="766"/>
                  </a:lnTo>
                  <a:cubicBezTo>
                    <a:pt x="18604" y="-472"/>
                    <a:pt x="15823" y="-472"/>
                    <a:pt x="13499" y="766"/>
                  </a:cubicBezTo>
                  <a:lnTo>
                    <a:pt x="1307" y="7719"/>
                  </a:lnTo>
                  <a:cubicBezTo>
                    <a:pt x="-884" y="8958"/>
                    <a:pt x="-884" y="10863"/>
                    <a:pt x="1307" y="12006"/>
                  </a:cubicBezTo>
                  <a:close/>
                </a:path>
              </a:pathLst>
            </a:custGeom>
            <a:solidFill>
              <a:srgbClr val="D1D9E8"/>
            </a:solidFill>
            <a:ln w="9525" cap="flat">
              <a:noFill/>
              <a:prstDash val="solid"/>
              <a:miter/>
            </a:ln>
          </p:spPr>
          <p:txBody>
            <a:bodyPr rtlCol="0" anchor="ctr"/>
            <a:lstStyle/>
            <a:p>
              <a:endParaRPr lang="zh-CN" altLang="en-US"/>
            </a:p>
          </p:txBody>
        </p:sp>
        <p:sp>
          <p:nvSpPr>
            <p:cNvPr id="596" name="ïṣļîḋé">
              <a:extLst>
                <a:ext uri="{FF2B5EF4-FFF2-40B4-BE49-F238E27FC236}">
                  <a16:creationId xmlns:a16="http://schemas.microsoft.com/office/drawing/2014/main" id="{80240EE3-9ECB-4513-B93F-3A4EF117D7F2}"/>
                </a:ext>
              </a:extLst>
            </p:cNvPr>
            <p:cNvSpPr/>
            <p:nvPr/>
          </p:nvSpPr>
          <p:spPr>
            <a:xfrm>
              <a:off x="5235377" y="4670720"/>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4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4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20"/>
                    <a:pt x="35582" y="7953"/>
                    <a:pt x="35668" y="6981"/>
                  </a:cubicBezTo>
                  <a:lnTo>
                    <a:pt x="35668" y="-163"/>
                  </a:lnTo>
                  <a:cubicBezTo>
                    <a:pt x="35601" y="819"/>
                    <a:pt x="35020" y="1685"/>
                    <a:pt x="34144" y="2124"/>
                  </a:cubicBezTo>
                  <a:lnTo>
                    <a:pt x="31763" y="3457"/>
                  </a:lnTo>
                  <a:lnTo>
                    <a:pt x="21476" y="9362"/>
                  </a:lnTo>
                  <a:cubicBezTo>
                    <a:pt x="19085" y="10601"/>
                    <a:pt x="16247" y="10601"/>
                    <a:pt x="13856" y="9362"/>
                  </a:cubicBezTo>
                  <a:lnTo>
                    <a:pt x="3569" y="3457"/>
                  </a:lnTo>
                  <a:lnTo>
                    <a:pt x="1188" y="2124"/>
                  </a:lnTo>
                  <a:cubicBezTo>
                    <a:pt x="311" y="1685"/>
                    <a:pt x="-270" y="819"/>
                    <a:pt x="-336" y="-163"/>
                  </a:cubicBezTo>
                  <a:close/>
                </a:path>
              </a:pathLst>
            </a:custGeom>
            <a:solidFill>
              <a:srgbClr val="BF4200"/>
            </a:solidFill>
            <a:ln w="9525" cap="flat">
              <a:noFill/>
              <a:prstDash val="solid"/>
              <a:miter/>
            </a:ln>
          </p:spPr>
          <p:txBody>
            <a:bodyPr rtlCol="0" anchor="ctr"/>
            <a:lstStyle/>
            <a:p>
              <a:endParaRPr lang="zh-CN" altLang="en-US"/>
            </a:p>
          </p:txBody>
        </p:sp>
        <p:sp>
          <p:nvSpPr>
            <p:cNvPr id="597" name="íṡľiḓê">
              <a:extLst>
                <a:ext uri="{FF2B5EF4-FFF2-40B4-BE49-F238E27FC236}">
                  <a16:creationId xmlns:a16="http://schemas.microsoft.com/office/drawing/2014/main" id="{1541361F-2B11-46BD-93E1-3697F80889A5}"/>
                </a:ext>
              </a:extLst>
            </p:cNvPr>
            <p:cNvSpPr/>
            <p:nvPr/>
          </p:nvSpPr>
          <p:spPr>
            <a:xfrm>
              <a:off x="5312501" y="4683550"/>
              <a:ext cx="109362" cy="63588"/>
            </a:xfrm>
            <a:custGeom>
              <a:avLst/>
              <a:gdLst>
                <a:gd name="connsiteX0" fmla="*/ -336 w 35928"/>
                <a:gd name="connsiteY0" fmla="*/ 10291 h 20890"/>
                <a:gd name="connsiteX1" fmla="*/ 1283 w 35928"/>
                <a:gd name="connsiteY1" fmla="*/ 12482 h 20890"/>
                <a:gd name="connsiteX2" fmla="*/ 3569 w 35928"/>
                <a:gd name="connsiteY2" fmla="*/ 13911 h 20890"/>
                <a:gd name="connsiteX3" fmla="*/ 13856 w 35928"/>
                <a:gd name="connsiteY3" fmla="*/ 19721 h 20890"/>
                <a:gd name="connsiteX4" fmla="*/ 21571 w 35928"/>
                <a:gd name="connsiteY4" fmla="*/ 19721 h 20890"/>
                <a:gd name="connsiteX5" fmla="*/ 31858 w 35928"/>
                <a:gd name="connsiteY5" fmla="*/ 13911 h 20890"/>
                <a:gd name="connsiteX6" fmla="*/ 34144 w 35928"/>
                <a:gd name="connsiteY6" fmla="*/ 12482 h 20890"/>
                <a:gd name="connsiteX7" fmla="*/ 35401 w 35928"/>
                <a:gd name="connsiteY7" fmla="*/ 9358 h 20890"/>
                <a:gd name="connsiteX8" fmla="*/ 34144 w 35928"/>
                <a:gd name="connsiteY8" fmla="*/ 8101 h 20890"/>
                <a:gd name="connsiteX9" fmla="*/ 21571 w 35928"/>
                <a:gd name="connsiteY9" fmla="*/ 766 h 20890"/>
                <a:gd name="connsiteX10" fmla="*/ 13856 w 35928"/>
                <a:gd name="connsiteY10" fmla="*/ 766 h 20890"/>
                <a:gd name="connsiteX11" fmla="*/ 1283 w 35928"/>
                <a:gd name="connsiteY11" fmla="*/ 8101 h 20890"/>
                <a:gd name="connsiteX12" fmla="*/ -336 w 35928"/>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928" h="20890">
                  <a:moveTo>
                    <a:pt x="-336" y="10291"/>
                  </a:moveTo>
                  <a:cubicBezTo>
                    <a:pt x="-279" y="11282"/>
                    <a:pt x="349" y="12139"/>
                    <a:pt x="1283" y="12482"/>
                  </a:cubicBezTo>
                  <a:lnTo>
                    <a:pt x="3569" y="13911"/>
                  </a:lnTo>
                  <a:lnTo>
                    <a:pt x="13856" y="19721"/>
                  </a:lnTo>
                  <a:cubicBezTo>
                    <a:pt x="16256" y="21064"/>
                    <a:pt x="19171" y="21064"/>
                    <a:pt x="21571" y="19721"/>
                  </a:cubicBezTo>
                  <a:lnTo>
                    <a:pt x="31858" y="13911"/>
                  </a:lnTo>
                  <a:lnTo>
                    <a:pt x="34144" y="12482"/>
                  </a:lnTo>
                  <a:cubicBezTo>
                    <a:pt x="35354" y="11967"/>
                    <a:pt x="35916" y="10567"/>
                    <a:pt x="35401" y="9358"/>
                  </a:cubicBezTo>
                  <a:cubicBezTo>
                    <a:pt x="35163" y="8796"/>
                    <a:pt x="34706" y="8339"/>
                    <a:pt x="34144" y="8101"/>
                  </a:cubicBezTo>
                  <a:lnTo>
                    <a:pt x="21571" y="766"/>
                  </a:lnTo>
                  <a:cubicBezTo>
                    <a:pt x="19152" y="-472"/>
                    <a:pt x="16275" y="-472"/>
                    <a:pt x="13856" y="766"/>
                  </a:cubicBezTo>
                  <a:lnTo>
                    <a:pt x="1283" y="8101"/>
                  </a:lnTo>
                  <a:cubicBezTo>
                    <a:pt x="349" y="8443"/>
                    <a:pt x="-279" y="9300"/>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598" name="iŝḷíḑe">
              <a:extLst>
                <a:ext uri="{FF2B5EF4-FFF2-40B4-BE49-F238E27FC236}">
                  <a16:creationId xmlns:a16="http://schemas.microsoft.com/office/drawing/2014/main" id="{77DE56C7-E302-4358-99B1-148BFEFAE4A2}"/>
                </a:ext>
              </a:extLst>
            </p:cNvPr>
            <p:cNvSpPr/>
            <p:nvPr/>
          </p:nvSpPr>
          <p:spPr>
            <a:xfrm>
              <a:off x="5314385" y="4684710"/>
              <a:ext cx="105898" cy="61101"/>
            </a:xfrm>
            <a:custGeom>
              <a:avLst/>
              <a:gdLst>
                <a:gd name="connsiteX0" fmla="*/ 1235 w 34790"/>
                <a:gd name="connsiteY0" fmla="*/ 12006 h 20073"/>
                <a:gd name="connsiteX1" fmla="*/ 13332 w 34790"/>
                <a:gd name="connsiteY1" fmla="*/ 19054 h 20073"/>
                <a:gd name="connsiteX2" fmla="*/ 20762 w 34790"/>
                <a:gd name="connsiteY2" fmla="*/ 19054 h 20073"/>
                <a:gd name="connsiteX3" fmla="*/ 32954 w 34790"/>
                <a:gd name="connsiteY3" fmla="*/ 12006 h 20073"/>
                <a:gd name="connsiteX4" fmla="*/ 32954 w 34790"/>
                <a:gd name="connsiteY4" fmla="*/ 7719 h 20073"/>
                <a:gd name="connsiteX5" fmla="*/ 20762 w 34790"/>
                <a:gd name="connsiteY5" fmla="*/ 766 h 20073"/>
                <a:gd name="connsiteX6" fmla="*/ 13332 w 34790"/>
                <a:gd name="connsiteY6" fmla="*/ 766 h 20073"/>
                <a:gd name="connsiteX7" fmla="*/ 1235 w 34790"/>
                <a:gd name="connsiteY7" fmla="*/ 7719 h 20073"/>
                <a:gd name="connsiteX8" fmla="*/ 1235 w 34790"/>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3">
                  <a:moveTo>
                    <a:pt x="1235" y="12006"/>
                  </a:moveTo>
                  <a:lnTo>
                    <a:pt x="13332" y="19054"/>
                  </a:lnTo>
                  <a:cubicBezTo>
                    <a:pt x="15675" y="20197"/>
                    <a:pt x="18419" y="20197"/>
                    <a:pt x="20762" y="19054"/>
                  </a:cubicBezTo>
                  <a:lnTo>
                    <a:pt x="32954" y="12006"/>
                  </a:lnTo>
                  <a:cubicBezTo>
                    <a:pt x="34954" y="10863"/>
                    <a:pt x="34954" y="8957"/>
                    <a:pt x="32954" y="7719"/>
                  </a:cubicBezTo>
                  <a:lnTo>
                    <a:pt x="20762" y="766"/>
                  </a:lnTo>
                  <a:cubicBezTo>
                    <a:pt x="18437" y="-472"/>
                    <a:pt x="15656" y="-472"/>
                    <a:pt x="13332" y="766"/>
                  </a:cubicBezTo>
                  <a:lnTo>
                    <a:pt x="1235" y="7719"/>
                  </a:lnTo>
                  <a:cubicBezTo>
                    <a:pt x="-860" y="8957"/>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599" name="ï$ḻîďê">
              <a:extLst>
                <a:ext uri="{FF2B5EF4-FFF2-40B4-BE49-F238E27FC236}">
                  <a16:creationId xmlns:a16="http://schemas.microsoft.com/office/drawing/2014/main" id="{B0055F5A-AF39-4B01-A70F-99ACB4B041D6}"/>
                </a:ext>
              </a:extLst>
            </p:cNvPr>
            <p:cNvSpPr/>
            <p:nvPr/>
          </p:nvSpPr>
          <p:spPr>
            <a:xfrm>
              <a:off x="5312501" y="4715368"/>
              <a:ext cx="109594" cy="53564"/>
            </a:xfrm>
            <a:custGeom>
              <a:avLst/>
              <a:gdLst>
                <a:gd name="connsiteX0" fmla="*/ -336 w 36004"/>
                <a:gd name="connsiteY0" fmla="*/ -163 h 17597"/>
                <a:gd name="connsiteX1" fmla="*/ -336 w 36004"/>
                <a:gd name="connsiteY1" fmla="*/ 7076 h 17597"/>
                <a:gd name="connsiteX2" fmla="*/ 1283 w 36004"/>
                <a:gd name="connsiteY2" fmla="*/ 9267 h 17597"/>
                <a:gd name="connsiteX3" fmla="*/ 13856 w 36004"/>
                <a:gd name="connsiteY3" fmla="*/ 16506 h 17597"/>
                <a:gd name="connsiteX4" fmla="*/ 21571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028 h 17597"/>
                <a:gd name="connsiteX9" fmla="*/ 31858 w 36004"/>
                <a:gd name="connsiteY9" fmla="*/ 3457 h 17597"/>
                <a:gd name="connsiteX10" fmla="*/ 21571 w 36004"/>
                <a:gd name="connsiteY10" fmla="*/ 9267 h 17597"/>
                <a:gd name="connsiteX11" fmla="*/ 13856 w 36004"/>
                <a:gd name="connsiteY11" fmla="*/ 9267 h 17597"/>
                <a:gd name="connsiteX12" fmla="*/ 3569 w 36004"/>
                <a:gd name="connsiteY12" fmla="*/ 3457 h 17597"/>
                <a:gd name="connsiteX13" fmla="*/ 1283 w 36004"/>
                <a:gd name="connsiteY13" fmla="*/ 2028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48"/>
                    <a:pt x="387" y="8886"/>
                    <a:pt x="1283" y="9267"/>
                  </a:cubicBezTo>
                  <a:lnTo>
                    <a:pt x="13856" y="16506"/>
                  </a:lnTo>
                  <a:cubicBezTo>
                    <a:pt x="16275" y="17744"/>
                    <a:pt x="19152" y="17744"/>
                    <a:pt x="21571" y="16506"/>
                  </a:cubicBezTo>
                  <a:lnTo>
                    <a:pt x="34144" y="9267"/>
                  </a:lnTo>
                  <a:cubicBezTo>
                    <a:pt x="35011" y="8819"/>
                    <a:pt x="35582" y="7953"/>
                    <a:pt x="35668" y="6981"/>
                  </a:cubicBezTo>
                  <a:lnTo>
                    <a:pt x="35668" y="-163"/>
                  </a:lnTo>
                  <a:cubicBezTo>
                    <a:pt x="35630" y="800"/>
                    <a:pt x="35039" y="1657"/>
                    <a:pt x="34144" y="2028"/>
                  </a:cubicBezTo>
                  <a:lnTo>
                    <a:pt x="31858" y="3457"/>
                  </a:lnTo>
                  <a:lnTo>
                    <a:pt x="21571" y="9267"/>
                  </a:lnTo>
                  <a:cubicBezTo>
                    <a:pt x="19171" y="10610"/>
                    <a:pt x="16256" y="10610"/>
                    <a:pt x="13856" y="9267"/>
                  </a:cubicBezTo>
                  <a:lnTo>
                    <a:pt x="3569" y="3457"/>
                  </a:lnTo>
                  <a:lnTo>
                    <a:pt x="1283" y="2028"/>
                  </a:lnTo>
                  <a:cubicBezTo>
                    <a:pt x="349" y="1685"/>
                    <a:pt x="-279"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00" name="iṣlîḋê">
              <a:extLst>
                <a:ext uri="{FF2B5EF4-FFF2-40B4-BE49-F238E27FC236}">
                  <a16:creationId xmlns:a16="http://schemas.microsoft.com/office/drawing/2014/main" id="{F4B55C51-E311-4224-B2B8-D9AB67885FC6}"/>
                </a:ext>
              </a:extLst>
            </p:cNvPr>
            <p:cNvSpPr/>
            <p:nvPr/>
          </p:nvSpPr>
          <p:spPr>
            <a:xfrm>
              <a:off x="5389911" y="4728198"/>
              <a:ext cx="109594" cy="63588"/>
            </a:xfrm>
            <a:custGeom>
              <a:avLst/>
              <a:gdLst>
                <a:gd name="connsiteX0" fmla="*/ -336 w 36004"/>
                <a:gd name="connsiteY0" fmla="*/ 10291 h 20890"/>
                <a:gd name="connsiteX1" fmla="*/ 1188 w 36004"/>
                <a:gd name="connsiteY1" fmla="*/ 12482 h 20890"/>
                <a:gd name="connsiteX2" fmla="*/ 3569 w 36004"/>
                <a:gd name="connsiteY2" fmla="*/ 13911 h 20890"/>
                <a:gd name="connsiteX3" fmla="*/ 13856 w 36004"/>
                <a:gd name="connsiteY3" fmla="*/ 19721 h 20890"/>
                <a:gd name="connsiteX4" fmla="*/ 21476 w 36004"/>
                <a:gd name="connsiteY4" fmla="*/ 19721 h 20890"/>
                <a:gd name="connsiteX5" fmla="*/ 31763 w 36004"/>
                <a:gd name="connsiteY5" fmla="*/ 13911 h 20890"/>
                <a:gd name="connsiteX6" fmla="*/ 34144 w 36004"/>
                <a:gd name="connsiteY6" fmla="*/ 12482 h 20890"/>
                <a:gd name="connsiteX7" fmla="*/ 35668 w 36004"/>
                <a:gd name="connsiteY7" fmla="*/ 10291 h 20890"/>
                <a:gd name="connsiteX8" fmla="*/ 34144 w 36004"/>
                <a:gd name="connsiteY8" fmla="*/ 8005 h 20890"/>
                <a:gd name="connsiteX9" fmla="*/ 21476 w 36004"/>
                <a:gd name="connsiteY9" fmla="*/ 766 h 20890"/>
                <a:gd name="connsiteX10" fmla="*/ 13856 w 36004"/>
                <a:gd name="connsiteY10" fmla="*/ 766 h 20890"/>
                <a:gd name="connsiteX11" fmla="*/ 1188 w 36004"/>
                <a:gd name="connsiteY11" fmla="*/ 8005 h 20890"/>
                <a:gd name="connsiteX12" fmla="*/ -336 w 36004"/>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291"/>
                  </a:moveTo>
                  <a:cubicBezTo>
                    <a:pt x="-279" y="11244"/>
                    <a:pt x="311" y="12091"/>
                    <a:pt x="1188" y="12482"/>
                  </a:cubicBezTo>
                  <a:lnTo>
                    <a:pt x="3569" y="13911"/>
                  </a:lnTo>
                  <a:lnTo>
                    <a:pt x="13856" y="19721"/>
                  </a:lnTo>
                  <a:cubicBezTo>
                    <a:pt x="16218" y="21064"/>
                    <a:pt x="19114" y="21064"/>
                    <a:pt x="21476" y="19721"/>
                  </a:cubicBezTo>
                  <a:lnTo>
                    <a:pt x="31763" y="13911"/>
                  </a:lnTo>
                  <a:lnTo>
                    <a:pt x="34144" y="12482"/>
                  </a:lnTo>
                  <a:cubicBezTo>
                    <a:pt x="35021" y="12091"/>
                    <a:pt x="35611" y="11253"/>
                    <a:pt x="35668" y="10291"/>
                  </a:cubicBezTo>
                  <a:cubicBezTo>
                    <a:pt x="35602" y="9310"/>
                    <a:pt x="35021" y="8443"/>
                    <a:pt x="34144" y="8005"/>
                  </a:cubicBezTo>
                  <a:lnTo>
                    <a:pt x="21476" y="766"/>
                  </a:lnTo>
                  <a:cubicBezTo>
                    <a:pt x="19085" y="-472"/>
                    <a:pt x="16247" y="-472"/>
                    <a:pt x="13856" y="766"/>
                  </a:cubicBezTo>
                  <a:lnTo>
                    <a:pt x="1188" y="8005"/>
                  </a:lnTo>
                  <a:cubicBezTo>
                    <a:pt x="311" y="8443"/>
                    <a:pt x="-270" y="9310"/>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601" name="îšļiḍê">
              <a:extLst>
                <a:ext uri="{FF2B5EF4-FFF2-40B4-BE49-F238E27FC236}">
                  <a16:creationId xmlns:a16="http://schemas.microsoft.com/office/drawing/2014/main" id="{73C8149B-97EE-4EFF-82C8-04132849EF3A}"/>
                </a:ext>
              </a:extLst>
            </p:cNvPr>
            <p:cNvSpPr/>
            <p:nvPr/>
          </p:nvSpPr>
          <p:spPr>
            <a:xfrm>
              <a:off x="5391725" y="4729358"/>
              <a:ext cx="105895" cy="61101"/>
            </a:xfrm>
            <a:custGeom>
              <a:avLst/>
              <a:gdLst>
                <a:gd name="connsiteX0" fmla="*/ 1164 w 34789"/>
                <a:gd name="connsiteY0" fmla="*/ 12006 h 20073"/>
                <a:gd name="connsiteX1" fmla="*/ 13356 w 34789"/>
                <a:gd name="connsiteY1" fmla="*/ 19054 h 20073"/>
                <a:gd name="connsiteX2" fmla="*/ 20785 w 34789"/>
                <a:gd name="connsiteY2" fmla="*/ 19054 h 20073"/>
                <a:gd name="connsiteX3" fmla="*/ 32882 w 34789"/>
                <a:gd name="connsiteY3" fmla="*/ 12006 h 20073"/>
                <a:gd name="connsiteX4" fmla="*/ 32882 w 34789"/>
                <a:gd name="connsiteY4" fmla="*/ 7719 h 20073"/>
                <a:gd name="connsiteX5" fmla="*/ 20785 w 34789"/>
                <a:gd name="connsiteY5" fmla="*/ 766 h 20073"/>
                <a:gd name="connsiteX6" fmla="*/ 13356 w 34789"/>
                <a:gd name="connsiteY6" fmla="*/ 766 h 20073"/>
                <a:gd name="connsiteX7" fmla="*/ 1164 w 34789"/>
                <a:gd name="connsiteY7" fmla="*/ 7719 h 20073"/>
                <a:gd name="connsiteX8" fmla="*/ 1164 w 34789"/>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89" h="20073">
                  <a:moveTo>
                    <a:pt x="1164" y="12006"/>
                  </a:moveTo>
                  <a:lnTo>
                    <a:pt x="13356" y="19054"/>
                  </a:lnTo>
                  <a:cubicBezTo>
                    <a:pt x="15699" y="20197"/>
                    <a:pt x="18442" y="20197"/>
                    <a:pt x="20785" y="19054"/>
                  </a:cubicBezTo>
                  <a:lnTo>
                    <a:pt x="32882" y="12006"/>
                  </a:lnTo>
                  <a:cubicBezTo>
                    <a:pt x="34977" y="10863"/>
                    <a:pt x="34977" y="8957"/>
                    <a:pt x="32882" y="7719"/>
                  </a:cubicBezTo>
                  <a:lnTo>
                    <a:pt x="20785" y="766"/>
                  </a:lnTo>
                  <a:cubicBezTo>
                    <a:pt x="18461" y="-472"/>
                    <a:pt x="15680" y="-472"/>
                    <a:pt x="13356" y="766"/>
                  </a:cubicBezTo>
                  <a:lnTo>
                    <a:pt x="1164" y="7719"/>
                  </a:lnTo>
                  <a:cubicBezTo>
                    <a:pt x="-836" y="8957"/>
                    <a:pt x="-836" y="10863"/>
                    <a:pt x="1164" y="12006"/>
                  </a:cubicBezTo>
                  <a:close/>
                </a:path>
              </a:pathLst>
            </a:custGeom>
            <a:solidFill>
              <a:srgbClr val="D1D9E8"/>
            </a:solidFill>
            <a:ln w="9525" cap="flat">
              <a:noFill/>
              <a:prstDash val="solid"/>
              <a:miter/>
            </a:ln>
          </p:spPr>
          <p:txBody>
            <a:bodyPr rtlCol="0" anchor="ctr"/>
            <a:lstStyle/>
            <a:p>
              <a:endParaRPr lang="zh-CN" altLang="en-US"/>
            </a:p>
          </p:txBody>
        </p:sp>
        <p:sp>
          <p:nvSpPr>
            <p:cNvPr id="602" name="íşlíḓe">
              <a:extLst>
                <a:ext uri="{FF2B5EF4-FFF2-40B4-BE49-F238E27FC236}">
                  <a16:creationId xmlns:a16="http://schemas.microsoft.com/office/drawing/2014/main" id="{385FD81E-1524-4918-9FAD-69C91E06C98F}"/>
                </a:ext>
              </a:extLst>
            </p:cNvPr>
            <p:cNvSpPr/>
            <p:nvPr/>
          </p:nvSpPr>
          <p:spPr>
            <a:xfrm>
              <a:off x="5389911" y="4760019"/>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028 h 17597"/>
                <a:gd name="connsiteX9" fmla="*/ 31763 w 36004"/>
                <a:gd name="connsiteY9" fmla="*/ 3457 h 17597"/>
                <a:gd name="connsiteX10" fmla="*/ 21476 w 36004"/>
                <a:gd name="connsiteY10" fmla="*/ 9267 h 17597"/>
                <a:gd name="connsiteX11" fmla="*/ 13856 w 36004"/>
                <a:gd name="connsiteY11" fmla="*/ 9267 h 17597"/>
                <a:gd name="connsiteX12" fmla="*/ 3569 w 36004"/>
                <a:gd name="connsiteY12" fmla="*/ 3457 h 17597"/>
                <a:gd name="connsiteX13" fmla="*/ 1188 w 36004"/>
                <a:gd name="connsiteY13" fmla="*/ 2028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2" y="7953"/>
                    <a:pt x="35668" y="6981"/>
                  </a:cubicBezTo>
                  <a:lnTo>
                    <a:pt x="35668" y="-163"/>
                  </a:lnTo>
                  <a:cubicBezTo>
                    <a:pt x="35611" y="790"/>
                    <a:pt x="35021" y="1638"/>
                    <a:pt x="34144" y="2028"/>
                  </a:cubicBezTo>
                  <a:lnTo>
                    <a:pt x="31763" y="3457"/>
                  </a:lnTo>
                  <a:lnTo>
                    <a:pt x="21476" y="9267"/>
                  </a:lnTo>
                  <a:cubicBezTo>
                    <a:pt x="19114" y="10610"/>
                    <a:pt x="16218" y="10610"/>
                    <a:pt x="13856" y="9267"/>
                  </a:cubicBezTo>
                  <a:lnTo>
                    <a:pt x="3569" y="3457"/>
                  </a:lnTo>
                  <a:lnTo>
                    <a:pt x="1188" y="2028"/>
                  </a:lnTo>
                  <a:cubicBezTo>
                    <a:pt x="311" y="1638"/>
                    <a:pt x="-279" y="799"/>
                    <a:pt x="-336" y="-163"/>
                  </a:cubicBezTo>
                  <a:close/>
                </a:path>
              </a:pathLst>
            </a:custGeom>
            <a:solidFill>
              <a:srgbClr val="BF4200"/>
            </a:solidFill>
            <a:ln w="9525" cap="flat">
              <a:noFill/>
              <a:prstDash val="solid"/>
              <a:miter/>
            </a:ln>
          </p:spPr>
          <p:txBody>
            <a:bodyPr rtlCol="0" anchor="ctr"/>
            <a:lstStyle/>
            <a:p>
              <a:endParaRPr lang="zh-CN" altLang="en-US"/>
            </a:p>
          </p:txBody>
        </p:sp>
        <p:sp>
          <p:nvSpPr>
            <p:cNvPr id="603" name="ïṧľïḋè">
              <a:extLst>
                <a:ext uri="{FF2B5EF4-FFF2-40B4-BE49-F238E27FC236}">
                  <a16:creationId xmlns:a16="http://schemas.microsoft.com/office/drawing/2014/main" id="{2CA55B2C-5953-43DF-B3BE-2FE9239D1699}"/>
                </a:ext>
              </a:extLst>
            </p:cNvPr>
            <p:cNvSpPr/>
            <p:nvPr/>
          </p:nvSpPr>
          <p:spPr>
            <a:xfrm>
              <a:off x="5467035" y="4772849"/>
              <a:ext cx="109883" cy="63588"/>
            </a:xfrm>
            <a:custGeom>
              <a:avLst/>
              <a:gdLst>
                <a:gd name="connsiteX0" fmla="*/ -336 w 36099"/>
                <a:gd name="connsiteY0" fmla="*/ 10196 h 20890"/>
                <a:gd name="connsiteX1" fmla="*/ 1283 w 36099"/>
                <a:gd name="connsiteY1" fmla="*/ 12482 h 20890"/>
                <a:gd name="connsiteX2" fmla="*/ 3569 w 36099"/>
                <a:gd name="connsiteY2" fmla="*/ 13815 h 20890"/>
                <a:gd name="connsiteX3" fmla="*/ 13856 w 36099"/>
                <a:gd name="connsiteY3" fmla="*/ 19721 h 20890"/>
                <a:gd name="connsiteX4" fmla="*/ 21571 w 36099"/>
                <a:gd name="connsiteY4" fmla="*/ 19721 h 20890"/>
                <a:gd name="connsiteX5" fmla="*/ 31858 w 36099"/>
                <a:gd name="connsiteY5" fmla="*/ 13815 h 20890"/>
                <a:gd name="connsiteX6" fmla="*/ 34144 w 36099"/>
                <a:gd name="connsiteY6" fmla="*/ 12482 h 20890"/>
                <a:gd name="connsiteX7" fmla="*/ 35764 w 36099"/>
                <a:gd name="connsiteY7" fmla="*/ 10196 h 20890"/>
                <a:gd name="connsiteX8" fmla="*/ 34144 w 36099"/>
                <a:gd name="connsiteY8" fmla="*/ 8005 h 20890"/>
                <a:gd name="connsiteX9" fmla="*/ 21571 w 36099"/>
                <a:gd name="connsiteY9" fmla="*/ 766 h 20890"/>
                <a:gd name="connsiteX10" fmla="*/ 13856 w 36099"/>
                <a:gd name="connsiteY10" fmla="*/ 766 h 20890"/>
                <a:gd name="connsiteX11" fmla="*/ 1283 w 36099"/>
                <a:gd name="connsiteY11" fmla="*/ 8005 h 20890"/>
                <a:gd name="connsiteX12" fmla="*/ -336 w 36099"/>
                <a:gd name="connsiteY12" fmla="*/ 10196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99" h="20890">
                  <a:moveTo>
                    <a:pt x="-336" y="10196"/>
                  </a:moveTo>
                  <a:cubicBezTo>
                    <a:pt x="-251" y="11196"/>
                    <a:pt x="369" y="12072"/>
                    <a:pt x="1283" y="12482"/>
                  </a:cubicBezTo>
                  <a:lnTo>
                    <a:pt x="3569" y="13815"/>
                  </a:lnTo>
                  <a:lnTo>
                    <a:pt x="13856" y="19721"/>
                  </a:lnTo>
                  <a:cubicBezTo>
                    <a:pt x="16256" y="21064"/>
                    <a:pt x="19171" y="21064"/>
                    <a:pt x="21571" y="19721"/>
                  </a:cubicBezTo>
                  <a:lnTo>
                    <a:pt x="31858" y="13815"/>
                  </a:lnTo>
                  <a:lnTo>
                    <a:pt x="34144" y="12482"/>
                  </a:lnTo>
                  <a:cubicBezTo>
                    <a:pt x="35059" y="12072"/>
                    <a:pt x="35678" y="11196"/>
                    <a:pt x="35764" y="10196"/>
                  </a:cubicBezTo>
                  <a:cubicBezTo>
                    <a:pt x="35630" y="9243"/>
                    <a:pt x="35021" y="8414"/>
                    <a:pt x="34144" y="8005"/>
                  </a:cubicBezTo>
                  <a:lnTo>
                    <a:pt x="21571" y="766"/>
                  </a:lnTo>
                  <a:cubicBezTo>
                    <a:pt x="19152" y="-472"/>
                    <a:pt x="16275" y="-472"/>
                    <a:pt x="13856" y="766"/>
                  </a:cubicBezTo>
                  <a:lnTo>
                    <a:pt x="1283" y="8005"/>
                  </a:lnTo>
                  <a:cubicBezTo>
                    <a:pt x="407" y="8414"/>
                    <a:pt x="-203" y="924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604" name="ïŝlíḑé">
              <a:extLst>
                <a:ext uri="{FF2B5EF4-FFF2-40B4-BE49-F238E27FC236}">
                  <a16:creationId xmlns:a16="http://schemas.microsoft.com/office/drawing/2014/main" id="{DAEEEF72-7BDB-4737-B2D4-07055EB0FFE2}"/>
                </a:ext>
              </a:extLst>
            </p:cNvPr>
            <p:cNvSpPr/>
            <p:nvPr/>
          </p:nvSpPr>
          <p:spPr>
            <a:xfrm>
              <a:off x="5469281" y="4774009"/>
              <a:ext cx="106114" cy="61101"/>
            </a:xfrm>
            <a:custGeom>
              <a:avLst/>
              <a:gdLst>
                <a:gd name="connsiteX0" fmla="*/ 1307 w 34861"/>
                <a:gd name="connsiteY0" fmla="*/ 12006 h 20073"/>
                <a:gd name="connsiteX1" fmla="*/ 13403 w 34861"/>
                <a:gd name="connsiteY1" fmla="*/ 19054 h 20073"/>
                <a:gd name="connsiteX2" fmla="*/ 20833 w 34861"/>
                <a:gd name="connsiteY2" fmla="*/ 19054 h 20073"/>
                <a:gd name="connsiteX3" fmla="*/ 33025 w 34861"/>
                <a:gd name="connsiteY3" fmla="*/ 12006 h 20073"/>
                <a:gd name="connsiteX4" fmla="*/ 33025 w 34861"/>
                <a:gd name="connsiteY4" fmla="*/ 7719 h 20073"/>
                <a:gd name="connsiteX5" fmla="*/ 20833 w 34861"/>
                <a:gd name="connsiteY5" fmla="*/ 766 h 20073"/>
                <a:gd name="connsiteX6" fmla="*/ 13403 w 34861"/>
                <a:gd name="connsiteY6" fmla="*/ 766 h 20073"/>
                <a:gd name="connsiteX7" fmla="*/ 1307 w 34861"/>
                <a:gd name="connsiteY7" fmla="*/ 7719 h 20073"/>
                <a:gd name="connsiteX8" fmla="*/ 1307 w 34861"/>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861" h="20073">
                  <a:moveTo>
                    <a:pt x="1307" y="12006"/>
                  </a:moveTo>
                  <a:lnTo>
                    <a:pt x="13403" y="19054"/>
                  </a:lnTo>
                  <a:cubicBezTo>
                    <a:pt x="15747" y="20197"/>
                    <a:pt x="18490" y="20197"/>
                    <a:pt x="20833" y="19054"/>
                  </a:cubicBezTo>
                  <a:lnTo>
                    <a:pt x="33025" y="12006"/>
                  </a:lnTo>
                  <a:cubicBezTo>
                    <a:pt x="35025" y="10862"/>
                    <a:pt x="35025" y="8958"/>
                    <a:pt x="33025" y="7719"/>
                  </a:cubicBezTo>
                  <a:lnTo>
                    <a:pt x="20833" y="766"/>
                  </a:lnTo>
                  <a:cubicBezTo>
                    <a:pt x="18509" y="-472"/>
                    <a:pt x="15728" y="-472"/>
                    <a:pt x="13403" y="766"/>
                  </a:cubicBezTo>
                  <a:lnTo>
                    <a:pt x="1307" y="7719"/>
                  </a:lnTo>
                  <a:cubicBezTo>
                    <a:pt x="-884" y="8958"/>
                    <a:pt x="-884" y="10862"/>
                    <a:pt x="1307" y="12006"/>
                  </a:cubicBezTo>
                  <a:close/>
                </a:path>
              </a:pathLst>
            </a:custGeom>
            <a:solidFill>
              <a:srgbClr val="D1D9E8"/>
            </a:solidFill>
            <a:ln w="9525" cap="flat">
              <a:noFill/>
              <a:prstDash val="solid"/>
              <a:miter/>
            </a:ln>
          </p:spPr>
          <p:txBody>
            <a:bodyPr rtlCol="0" anchor="ctr"/>
            <a:lstStyle/>
            <a:p>
              <a:endParaRPr lang="zh-CN" altLang="en-US"/>
            </a:p>
          </p:txBody>
        </p:sp>
        <p:sp>
          <p:nvSpPr>
            <p:cNvPr id="605" name="ïśḷïḑé">
              <a:extLst>
                <a:ext uri="{FF2B5EF4-FFF2-40B4-BE49-F238E27FC236}">
                  <a16:creationId xmlns:a16="http://schemas.microsoft.com/office/drawing/2014/main" id="{DCA095AD-F522-4457-8E0D-1A943A8DDC7F}"/>
                </a:ext>
              </a:extLst>
            </p:cNvPr>
            <p:cNvSpPr/>
            <p:nvPr/>
          </p:nvSpPr>
          <p:spPr>
            <a:xfrm>
              <a:off x="5467035" y="4804378"/>
              <a:ext cx="109883" cy="54383"/>
            </a:xfrm>
            <a:custGeom>
              <a:avLst/>
              <a:gdLst>
                <a:gd name="connsiteX0" fmla="*/ -336 w 36099"/>
                <a:gd name="connsiteY0" fmla="*/ -163 h 17866"/>
                <a:gd name="connsiteX1" fmla="*/ -336 w 36099"/>
                <a:gd name="connsiteY1" fmla="*/ 7267 h 17866"/>
                <a:gd name="connsiteX2" fmla="*/ 1283 w 36099"/>
                <a:gd name="connsiteY2" fmla="*/ 9553 h 17866"/>
                <a:gd name="connsiteX3" fmla="*/ 13856 w 36099"/>
                <a:gd name="connsiteY3" fmla="*/ 16697 h 17866"/>
                <a:gd name="connsiteX4" fmla="*/ 21571 w 36099"/>
                <a:gd name="connsiteY4" fmla="*/ 16697 h 17866"/>
                <a:gd name="connsiteX5" fmla="*/ 34144 w 36099"/>
                <a:gd name="connsiteY5" fmla="*/ 9553 h 17866"/>
                <a:gd name="connsiteX6" fmla="*/ 35764 w 36099"/>
                <a:gd name="connsiteY6" fmla="*/ 7267 h 17866"/>
                <a:gd name="connsiteX7" fmla="*/ 35764 w 36099"/>
                <a:gd name="connsiteY7" fmla="*/ 28 h 17866"/>
                <a:gd name="connsiteX8" fmla="*/ 34144 w 36099"/>
                <a:gd name="connsiteY8" fmla="*/ 2314 h 17866"/>
                <a:gd name="connsiteX9" fmla="*/ 31858 w 36099"/>
                <a:gd name="connsiteY9" fmla="*/ 3647 h 17866"/>
                <a:gd name="connsiteX10" fmla="*/ 21571 w 36099"/>
                <a:gd name="connsiteY10" fmla="*/ 9553 h 17866"/>
                <a:gd name="connsiteX11" fmla="*/ 13856 w 36099"/>
                <a:gd name="connsiteY11" fmla="*/ 9553 h 17866"/>
                <a:gd name="connsiteX12" fmla="*/ 3569 w 36099"/>
                <a:gd name="connsiteY12" fmla="*/ 3647 h 17866"/>
                <a:gd name="connsiteX13" fmla="*/ 1283 w 36099"/>
                <a:gd name="connsiteY13" fmla="*/ 2314 h 17866"/>
                <a:gd name="connsiteX14" fmla="*/ -336 w 36099"/>
                <a:gd name="connsiteY14" fmla="*/ -163 h 178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866">
                  <a:moveTo>
                    <a:pt x="-336" y="-163"/>
                  </a:moveTo>
                  <a:lnTo>
                    <a:pt x="-336" y="7267"/>
                  </a:lnTo>
                  <a:cubicBezTo>
                    <a:pt x="-232" y="8257"/>
                    <a:pt x="378" y="9124"/>
                    <a:pt x="1283" y="9553"/>
                  </a:cubicBezTo>
                  <a:lnTo>
                    <a:pt x="13856" y="16697"/>
                  </a:lnTo>
                  <a:cubicBezTo>
                    <a:pt x="16256" y="18040"/>
                    <a:pt x="19171" y="18040"/>
                    <a:pt x="21571" y="16697"/>
                  </a:cubicBezTo>
                  <a:lnTo>
                    <a:pt x="34144" y="9553"/>
                  </a:lnTo>
                  <a:cubicBezTo>
                    <a:pt x="35030" y="9115"/>
                    <a:pt x="35640" y="8248"/>
                    <a:pt x="35764" y="7267"/>
                  </a:cubicBezTo>
                  <a:lnTo>
                    <a:pt x="35764" y="28"/>
                  </a:lnTo>
                  <a:cubicBezTo>
                    <a:pt x="35678" y="1028"/>
                    <a:pt x="35059" y="1904"/>
                    <a:pt x="34144" y="2314"/>
                  </a:cubicBezTo>
                  <a:lnTo>
                    <a:pt x="31858" y="3647"/>
                  </a:lnTo>
                  <a:lnTo>
                    <a:pt x="21571" y="9553"/>
                  </a:lnTo>
                  <a:cubicBezTo>
                    <a:pt x="19171" y="10896"/>
                    <a:pt x="16256" y="10896"/>
                    <a:pt x="13856" y="9553"/>
                  </a:cubicBezTo>
                  <a:lnTo>
                    <a:pt x="3569" y="3647"/>
                  </a:lnTo>
                  <a:lnTo>
                    <a:pt x="1283" y="2314"/>
                  </a:lnTo>
                  <a:cubicBezTo>
                    <a:pt x="311" y="1876"/>
                    <a:pt x="-317" y="904"/>
                    <a:pt x="-336" y="-163"/>
                  </a:cubicBezTo>
                  <a:close/>
                </a:path>
              </a:pathLst>
            </a:custGeom>
            <a:solidFill>
              <a:srgbClr val="BF4200"/>
            </a:solidFill>
            <a:ln w="9525" cap="flat">
              <a:noFill/>
              <a:prstDash val="solid"/>
              <a:miter/>
            </a:ln>
          </p:spPr>
          <p:txBody>
            <a:bodyPr rtlCol="0" anchor="ctr"/>
            <a:lstStyle/>
            <a:p>
              <a:endParaRPr lang="zh-CN" altLang="en-US"/>
            </a:p>
          </p:txBody>
        </p:sp>
        <p:sp>
          <p:nvSpPr>
            <p:cNvPr id="606" name="íš1îḍê">
              <a:extLst>
                <a:ext uri="{FF2B5EF4-FFF2-40B4-BE49-F238E27FC236}">
                  <a16:creationId xmlns:a16="http://schemas.microsoft.com/office/drawing/2014/main" id="{F44EB2E2-10A2-408B-9946-D6CBC333992E}"/>
                </a:ext>
              </a:extLst>
            </p:cNvPr>
            <p:cNvSpPr/>
            <p:nvPr/>
          </p:nvSpPr>
          <p:spPr>
            <a:xfrm>
              <a:off x="5544448" y="4817498"/>
              <a:ext cx="108580" cy="63588"/>
            </a:xfrm>
            <a:custGeom>
              <a:avLst/>
              <a:gdLst>
                <a:gd name="connsiteX0" fmla="*/ -336 w 35671"/>
                <a:gd name="connsiteY0" fmla="*/ 10196 h 20890"/>
                <a:gd name="connsiteX1" fmla="*/ 1187 w 35671"/>
                <a:gd name="connsiteY1" fmla="*/ 12482 h 20890"/>
                <a:gd name="connsiteX2" fmla="*/ 3569 w 35671"/>
                <a:gd name="connsiteY2" fmla="*/ 13815 h 20890"/>
                <a:gd name="connsiteX3" fmla="*/ 13856 w 35671"/>
                <a:gd name="connsiteY3" fmla="*/ 19721 h 20890"/>
                <a:gd name="connsiteX4" fmla="*/ 21476 w 35671"/>
                <a:gd name="connsiteY4" fmla="*/ 19721 h 20890"/>
                <a:gd name="connsiteX5" fmla="*/ 31763 w 35671"/>
                <a:gd name="connsiteY5" fmla="*/ 13815 h 20890"/>
                <a:gd name="connsiteX6" fmla="*/ 33763 w 35671"/>
                <a:gd name="connsiteY6" fmla="*/ 12482 h 20890"/>
                <a:gd name="connsiteX7" fmla="*/ 35192 w 35671"/>
                <a:gd name="connsiteY7" fmla="*/ 9434 h 20890"/>
                <a:gd name="connsiteX8" fmla="*/ 33763 w 35671"/>
                <a:gd name="connsiteY8" fmla="*/ 8005 h 20890"/>
                <a:gd name="connsiteX9" fmla="*/ 21095 w 35671"/>
                <a:gd name="connsiteY9" fmla="*/ 766 h 20890"/>
                <a:gd name="connsiteX10" fmla="*/ 13475 w 35671"/>
                <a:gd name="connsiteY10" fmla="*/ 766 h 20890"/>
                <a:gd name="connsiteX11" fmla="*/ 807 w 35671"/>
                <a:gd name="connsiteY11" fmla="*/ 8005 h 20890"/>
                <a:gd name="connsiteX12" fmla="*/ -336 w 35671"/>
                <a:gd name="connsiteY12" fmla="*/ 10196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671" h="20890">
                  <a:moveTo>
                    <a:pt x="-336" y="10196"/>
                  </a:moveTo>
                  <a:cubicBezTo>
                    <a:pt x="-270" y="11177"/>
                    <a:pt x="311" y="12044"/>
                    <a:pt x="1187" y="12482"/>
                  </a:cubicBezTo>
                  <a:lnTo>
                    <a:pt x="3569" y="13815"/>
                  </a:lnTo>
                  <a:lnTo>
                    <a:pt x="13856" y="19721"/>
                  </a:lnTo>
                  <a:cubicBezTo>
                    <a:pt x="16218" y="21064"/>
                    <a:pt x="19114" y="21064"/>
                    <a:pt x="21476" y="19721"/>
                  </a:cubicBezTo>
                  <a:lnTo>
                    <a:pt x="31763" y="13815"/>
                  </a:lnTo>
                  <a:lnTo>
                    <a:pt x="33763" y="12482"/>
                  </a:lnTo>
                  <a:cubicBezTo>
                    <a:pt x="35001" y="12034"/>
                    <a:pt x="35639" y="10662"/>
                    <a:pt x="35192" y="9434"/>
                  </a:cubicBezTo>
                  <a:cubicBezTo>
                    <a:pt x="34944" y="8767"/>
                    <a:pt x="34430" y="8243"/>
                    <a:pt x="33763" y="8005"/>
                  </a:cubicBezTo>
                  <a:lnTo>
                    <a:pt x="21095" y="766"/>
                  </a:lnTo>
                  <a:cubicBezTo>
                    <a:pt x="18704" y="-472"/>
                    <a:pt x="15866" y="-472"/>
                    <a:pt x="13475" y="766"/>
                  </a:cubicBezTo>
                  <a:lnTo>
                    <a:pt x="807" y="8005"/>
                  </a:lnTo>
                  <a:cubicBezTo>
                    <a:pt x="102" y="8510"/>
                    <a:pt x="-317" y="9329"/>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607" name="işlïdé">
              <a:extLst>
                <a:ext uri="{FF2B5EF4-FFF2-40B4-BE49-F238E27FC236}">
                  <a16:creationId xmlns:a16="http://schemas.microsoft.com/office/drawing/2014/main" id="{6619F2D5-9748-40DC-BF5B-137274BF8AA8}"/>
                </a:ext>
              </a:extLst>
            </p:cNvPr>
            <p:cNvSpPr/>
            <p:nvPr/>
          </p:nvSpPr>
          <p:spPr>
            <a:xfrm>
              <a:off x="5546981" y="4818877"/>
              <a:ext cx="105798" cy="61174"/>
            </a:xfrm>
            <a:custGeom>
              <a:avLst/>
              <a:gdLst>
                <a:gd name="connsiteX0" fmla="*/ 1022 w 34757"/>
                <a:gd name="connsiteY0" fmla="*/ 12029 h 20097"/>
                <a:gd name="connsiteX1" fmla="*/ 13119 w 34757"/>
                <a:gd name="connsiteY1" fmla="*/ 19078 h 20097"/>
                <a:gd name="connsiteX2" fmla="*/ 20548 w 34757"/>
                <a:gd name="connsiteY2" fmla="*/ 19078 h 20097"/>
                <a:gd name="connsiteX3" fmla="*/ 32931 w 34757"/>
                <a:gd name="connsiteY3" fmla="*/ 12029 h 20097"/>
                <a:gd name="connsiteX4" fmla="*/ 34274 w 34757"/>
                <a:gd name="connsiteY4" fmla="*/ 9086 h 20097"/>
                <a:gd name="connsiteX5" fmla="*/ 32931 w 34757"/>
                <a:gd name="connsiteY5" fmla="*/ 7743 h 20097"/>
                <a:gd name="connsiteX6" fmla="*/ 20834 w 34757"/>
                <a:gd name="connsiteY6" fmla="*/ 695 h 20097"/>
                <a:gd name="connsiteX7" fmla="*/ 13405 w 34757"/>
                <a:gd name="connsiteY7" fmla="*/ 695 h 20097"/>
                <a:gd name="connsiteX8" fmla="*/ 1308 w 34757"/>
                <a:gd name="connsiteY8" fmla="*/ 7743 h 20097"/>
                <a:gd name="connsiteX9" fmla="*/ -245 w 34757"/>
                <a:gd name="connsiteY9" fmla="*/ 10572 h 20097"/>
                <a:gd name="connsiteX10" fmla="*/ 1022 w 34757"/>
                <a:gd name="connsiteY10" fmla="*/ 12029 h 20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757" h="20097">
                  <a:moveTo>
                    <a:pt x="1022" y="12029"/>
                  </a:moveTo>
                  <a:lnTo>
                    <a:pt x="13119" y="19078"/>
                  </a:lnTo>
                  <a:cubicBezTo>
                    <a:pt x="15462" y="20221"/>
                    <a:pt x="18205" y="20221"/>
                    <a:pt x="20548" y="19078"/>
                  </a:cubicBezTo>
                  <a:lnTo>
                    <a:pt x="32931" y="12029"/>
                  </a:lnTo>
                  <a:cubicBezTo>
                    <a:pt x="34112" y="11591"/>
                    <a:pt x="34721" y="10277"/>
                    <a:pt x="34274" y="9086"/>
                  </a:cubicBezTo>
                  <a:cubicBezTo>
                    <a:pt x="34045" y="8467"/>
                    <a:pt x="33550" y="7972"/>
                    <a:pt x="32931" y="7743"/>
                  </a:cubicBezTo>
                  <a:lnTo>
                    <a:pt x="20834" y="695"/>
                  </a:lnTo>
                  <a:cubicBezTo>
                    <a:pt x="18491" y="-448"/>
                    <a:pt x="15748" y="-448"/>
                    <a:pt x="13405" y="695"/>
                  </a:cubicBezTo>
                  <a:lnTo>
                    <a:pt x="1308" y="7743"/>
                  </a:lnTo>
                  <a:cubicBezTo>
                    <a:pt x="98" y="8096"/>
                    <a:pt x="-597" y="9362"/>
                    <a:pt x="-245" y="10572"/>
                  </a:cubicBezTo>
                  <a:cubicBezTo>
                    <a:pt x="-64" y="11229"/>
                    <a:pt x="403" y="11753"/>
                    <a:pt x="1022" y="12029"/>
                  </a:cubicBezTo>
                  <a:close/>
                </a:path>
              </a:pathLst>
            </a:custGeom>
            <a:solidFill>
              <a:srgbClr val="D1D9E8"/>
            </a:solidFill>
            <a:ln w="9525" cap="flat">
              <a:noFill/>
              <a:prstDash val="solid"/>
              <a:miter/>
            </a:ln>
          </p:spPr>
          <p:txBody>
            <a:bodyPr rtlCol="0" anchor="ctr"/>
            <a:lstStyle/>
            <a:p>
              <a:endParaRPr lang="zh-CN" altLang="en-US"/>
            </a:p>
          </p:txBody>
        </p:sp>
        <p:sp>
          <p:nvSpPr>
            <p:cNvPr id="608" name="ïṡľïḓe">
              <a:extLst>
                <a:ext uri="{FF2B5EF4-FFF2-40B4-BE49-F238E27FC236}">
                  <a16:creationId xmlns:a16="http://schemas.microsoft.com/office/drawing/2014/main" id="{C1108CB1-773F-4B71-906F-37D562CFEBF7}"/>
                </a:ext>
              </a:extLst>
            </p:cNvPr>
            <p:cNvSpPr/>
            <p:nvPr/>
          </p:nvSpPr>
          <p:spPr>
            <a:xfrm>
              <a:off x="5544448" y="4849030"/>
              <a:ext cx="109594" cy="53801"/>
            </a:xfrm>
            <a:custGeom>
              <a:avLst/>
              <a:gdLst>
                <a:gd name="connsiteX0" fmla="*/ -336 w 36004"/>
                <a:gd name="connsiteY0" fmla="*/ -163 h 17675"/>
                <a:gd name="connsiteX1" fmla="*/ -336 w 36004"/>
                <a:gd name="connsiteY1" fmla="*/ 7076 h 17675"/>
                <a:gd name="connsiteX2" fmla="*/ 1187 w 36004"/>
                <a:gd name="connsiteY2" fmla="*/ 9267 h 17675"/>
                <a:gd name="connsiteX3" fmla="*/ 13856 w 36004"/>
                <a:gd name="connsiteY3" fmla="*/ 16506 h 17675"/>
                <a:gd name="connsiteX4" fmla="*/ 21476 w 36004"/>
                <a:gd name="connsiteY4" fmla="*/ 16506 h 17675"/>
                <a:gd name="connsiteX5" fmla="*/ 34144 w 36004"/>
                <a:gd name="connsiteY5" fmla="*/ 9267 h 17675"/>
                <a:gd name="connsiteX6" fmla="*/ 35668 w 36004"/>
                <a:gd name="connsiteY6" fmla="*/ 7076 h 17675"/>
                <a:gd name="connsiteX7" fmla="*/ 35668 w 36004"/>
                <a:gd name="connsiteY7" fmla="*/ -163 h 17675"/>
                <a:gd name="connsiteX8" fmla="*/ 34144 w 36004"/>
                <a:gd name="connsiteY8" fmla="*/ 2123 h 17675"/>
                <a:gd name="connsiteX9" fmla="*/ 31763 w 36004"/>
                <a:gd name="connsiteY9" fmla="*/ 3457 h 17675"/>
                <a:gd name="connsiteX10" fmla="*/ 21476 w 36004"/>
                <a:gd name="connsiteY10" fmla="*/ 9362 h 17675"/>
                <a:gd name="connsiteX11" fmla="*/ 13856 w 36004"/>
                <a:gd name="connsiteY11" fmla="*/ 9362 h 17675"/>
                <a:gd name="connsiteX12" fmla="*/ 3569 w 36004"/>
                <a:gd name="connsiteY12" fmla="*/ 3457 h 17675"/>
                <a:gd name="connsiteX13" fmla="*/ 1187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98" y="8038"/>
                    <a:pt x="292" y="8896"/>
                    <a:pt x="1187" y="9267"/>
                  </a:cubicBezTo>
                  <a:lnTo>
                    <a:pt x="13856" y="16506"/>
                  </a:lnTo>
                  <a:cubicBezTo>
                    <a:pt x="16218" y="17849"/>
                    <a:pt x="19114" y="17849"/>
                    <a:pt x="21476" y="16506"/>
                  </a:cubicBezTo>
                  <a:lnTo>
                    <a:pt x="34144" y="9267"/>
                  </a:lnTo>
                  <a:cubicBezTo>
                    <a:pt x="35020" y="8877"/>
                    <a:pt x="35611" y="8038"/>
                    <a:pt x="35668" y="7076"/>
                  </a:cubicBezTo>
                  <a:lnTo>
                    <a:pt x="35668" y="-163"/>
                  </a:lnTo>
                  <a:cubicBezTo>
                    <a:pt x="35601" y="818"/>
                    <a:pt x="35020" y="1685"/>
                    <a:pt x="34144" y="2123"/>
                  </a:cubicBezTo>
                  <a:lnTo>
                    <a:pt x="31763" y="3457"/>
                  </a:lnTo>
                  <a:lnTo>
                    <a:pt x="21476" y="9362"/>
                  </a:lnTo>
                  <a:cubicBezTo>
                    <a:pt x="19114" y="10705"/>
                    <a:pt x="16218" y="10705"/>
                    <a:pt x="13856" y="9362"/>
                  </a:cubicBezTo>
                  <a:lnTo>
                    <a:pt x="3569" y="3457"/>
                  </a:lnTo>
                  <a:lnTo>
                    <a:pt x="1187"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09" name="îSľïḓé">
              <a:extLst>
                <a:ext uri="{FF2B5EF4-FFF2-40B4-BE49-F238E27FC236}">
                  <a16:creationId xmlns:a16="http://schemas.microsoft.com/office/drawing/2014/main" id="{CB080CA6-48D3-487E-B017-66E668AEB09A}"/>
                </a:ext>
              </a:extLst>
            </p:cNvPr>
            <p:cNvSpPr/>
            <p:nvPr/>
          </p:nvSpPr>
          <p:spPr>
            <a:xfrm>
              <a:off x="5621569" y="4862207"/>
              <a:ext cx="109740" cy="63289"/>
            </a:xfrm>
            <a:custGeom>
              <a:avLst/>
              <a:gdLst>
                <a:gd name="connsiteX0" fmla="*/ -336 w 36052"/>
                <a:gd name="connsiteY0" fmla="*/ 10177 h 20792"/>
                <a:gd name="connsiteX1" fmla="*/ 1283 w 36052"/>
                <a:gd name="connsiteY1" fmla="*/ 12463 h 20792"/>
                <a:gd name="connsiteX2" fmla="*/ 3569 w 36052"/>
                <a:gd name="connsiteY2" fmla="*/ 13796 h 20792"/>
                <a:gd name="connsiteX3" fmla="*/ 13856 w 36052"/>
                <a:gd name="connsiteY3" fmla="*/ 19702 h 20792"/>
                <a:gd name="connsiteX4" fmla="*/ 21571 w 36052"/>
                <a:gd name="connsiteY4" fmla="*/ 19702 h 20792"/>
                <a:gd name="connsiteX5" fmla="*/ 31858 w 36052"/>
                <a:gd name="connsiteY5" fmla="*/ 13796 h 20792"/>
                <a:gd name="connsiteX6" fmla="*/ 34144 w 36052"/>
                <a:gd name="connsiteY6" fmla="*/ 12463 h 20792"/>
                <a:gd name="connsiteX7" fmla="*/ 35573 w 36052"/>
                <a:gd name="connsiteY7" fmla="*/ 9415 h 20792"/>
                <a:gd name="connsiteX8" fmla="*/ 34144 w 36052"/>
                <a:gd name="connsiteY8" fmla="*/ 7986 h 20792"/>
                <a:gd name="connsiteX9" fmla="*/ 21571 w 36052"/>
                <a:gd name="connsiteY9" fmla="*/ 652 h 20792"/>
                <a:gd name="connsiteX10" fmla="*/ 13856 w 36052"/>
                <a:gd name="connsiteY10" fmla="*/ 652 h 20792"/>
                <a:gd name="connsiteX11" fmla="*/ 1283 w 36052"/>
                <a:gd name="connsiteY11" fmla="*/ 7986 h 20792"/>
                <a:gd name="connsiteX12" fmla="*/ -336 w 36052"/>
                <a:gd name="connsiteY12" fmla="*/ 10177 h 20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792">
                  <a:moveTo>
                    <a:pt x="-336" y="10177"/>
                  </a:moveTo>
                  <a:cubicBezTo>
                    <a:pt x="-231" y="11167"/>
                    <a:pt x="378" y="12034"/>
                    <a:pt x="1283" y="12463"/>
                  </a:cubicBezTo>
                  <a:lnTo>
                    <a:pt x="3569" y="13796"/>
                  </a:lnTo>
                  <a:lnTo>
                    <a:pt x="13856" y="19702"/>
                  </a:lnTo>
                  <a:cubicBezTo>
                    <a:pt x="16275" y="20940"/>
                    <a:pt x="19152" y="20940"/>
                    <a:pt x="21571" y="19702"/>
                  </a:cubicBezTo>
                  <a:lnTo>
                    <a:pt x="31858" y="13796"/>
                  </a:lnTo>
                  <a:lnTo>
                    <a:pt x="34144" y="12463"/>
                  </a:lnTo>
                  <a:cubicBezTo>
                    <a:pt x="35382" y="12015"/>
                    <a:pt x="36021" y="10643"/>
                    <a:pt x="35573" y="9415"/>
                  </a:cubicBezTo>
                  <a:cubicBezTo>
                    <a:pt x="35325" y="8748"/>
                    <a:pt x="34811" y="8224"/>
                    <a:pt x="34144" y="7986"/>
                  </a:cubicBezTo>
                  <a:lnTo>
                    <a:pt x="21571" y="652"/>
                  </a:lnTo>
                  <a:cubicBezTo>
                    <a:pt x="19114" y="-434"/>
                    <a:pt x="16314" y="-434"/>
                    <a:pt x="13856" y="652"/>
                  </a:cubicBezTo>
                  <a:lnTo>
                    <a:pt x="1283" y="7986"/>
                  </a:lnTo>
                  <a:cubicBezTo>
                    <a:pt x="407" y="8396"/>
                    <a:pt x="-203" y="9224"/>
                    <a:pt x="-336" y="10177"/>
                  </a:cubicBezTo>
                  <a:close/>
                </a:path>
              </a:pathLst>
            </a:custGeom>
            <a:solidFill>
              <a:srgbClr val="FFFFFF"/>
            </a:solidFill>
            <a:ln w="9525" cap="flat">
              <a:noFill/>
              <a:prstDash val="solid"/>
              <a:miter/>
            </a:ln>
          </p:spPr>
          <p:txBody>
            <a:bodyPr rtlCol="0" anchor="ctr"/>
            <a:lstStyle/>
            <a:p>
              <a:endParaRPr lang="zh-CN" altLang="en-US"/>
            </a:p>
          </p:txBody>
        </p:sp>
        <p:sp>
          <p:nvSpPr>
            <p:cNvPr id="610" name="îṡliḋe">
              <a:extLst>
                <a:ext uri="{FF2B5EF4-FFF2-40B4-BE49-F238E27FC236}">
                  <a16:creationId xmlns:a16="http://schemas.microsoft.com/office/drawing/2014/main" id="{9B4634F1-59C4-4D48-861E-BC65E604013D}"/>
                </a:ext>
              </a:extLst>
            </p:cNvPr>
            <p:cNvSpPr/>
            <p:nvPr/>
          </p:nvSpPr>
          <p:spPr>
            <a:xfrm>
              <a:off x="5623672" y="4863236"/>
              <a:ext cx="105679" cy="61104"/>
            </a:xfrm>
            <a:custGeom>
              <a:avLst/>
              <a:gdLst>
                <a:gd name="connsiteX0" fmla="*/ 1164 w 34718"/>
                <a:gd name="connsiteY0" fmla="*/ 12029 h 20074"/>
                <a:gd name="connsiteX1" fmla="*/ 13356 w 34718"/>
                <a:gd name="connsiteY1" fmla="*/ 18983 h 20074"/>
                <a:gd name="connsiteX2" fmla="*/ 20785 w 34718"/>
                <a:gd name="connsiteY2" fmla="*/ 18983 h 20074"/>
                <a:gd name="connsiteX3" fmla="*/ 32882 w 34718"/>
                <a:gd name="connsiteY3" fmla="*/ 12029 h 20074"/>
                <a:gd name="connsiteX4" fmla="*/ 32882 w 34718"/>
                <a:gd name="connsiteY4" fmla="*/ 7743 h 20074"/>
                <a:gd name="connsiteX5" fmla="*/ 20785 w 34718"/>
                <a:gd name="connsiteY5" fmla="*/ 695 h 20074"/>
                <a:gd name="connsiteX6" fmla="*/ 13356 w 34718"/>
                <a:gd name="connsiteY6" fmla="*/ 695 h 20074"/>
                <a:gd name="connsiteX7" fmla="*/ 1164 w 34718"/>
                <a:gd name="connsiteY7" fmla="*/ 7743 h 20074"/>
                <a:gd name="connsiteX8" fmla="*/ 1164 w 34718"/>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18" h="20074">
                  <a:moveTo>
                    <a:pt x="1164" y="12029"/>
                  </a:moveTo>
                  <a:lnTo>
                    <a:pt x="13356" y="18983"/>
                  </a:lnTo>
                  <a:cubicBezTo>
                    <a:pt x="15680" y="20221"/>
                    <a:pt x="18461" y="20221"/>
                    <a:pt x="20785" y="18983"/>
                  </a:cubicBezTo>
                  <a:lnTo>
                    <a:pt x="32882" y="12029"/>
                  </a:lnTo>
                  <a:cubicBezTo>
                    <a:pt x="34882" y="10791"/>
                    <a:pt x="34882" y="8886"/>
                    <a:pt x="32882" y="7743"/>
                  </a:cubicBezTo>
                  <a:lnTo>
                    <a:pt x="20785" y="695"/>
                  </a:lnTo>
                  <a:cubicBezTo>
                    <a:pt x="18442" y="-448"/>
                    <a:pt x="15699" y="-448"/>
                    <a:pt x="13356" y="695"/>
                  </a:cubicBezTo>
                  <a:lnTo>
                    <a:pt x="1164" y="7743"/>
                  </a:lnTo>
                  <a:cubicBezTo>
                    <a:pt x="-836" y="8886"/>
                    <a:pt x="-836" y="10791"/>
                    <a:pt x="1164" y="12029"/>
                  </a:cubicBezTo>
                  <a:close/>
                </a:path>
              </a:pathLst>
            </a:custGeom>
            <a:solidFill>
              <a:srgbClr val="D1D9E8"/>
            </a:solidFill>
            <a:ln w="9525" cap="flat">
              <a:noFill/>
              <a:prstDash val="solid"/>
              <a:miter/>
            </a:ln>
          </p:spPr>
          <p:txBody>
            <a:bodyPr rtlCol="0" anchor="ctr"/>
            <a:lstStyle/>
            <a:p>
              <a:endParaRPr lang="zh-CN" altLang="en-US"/>
            </a:p>
          </p:txBody>
        </p:sp>
        <p:sp>
          <p:nvSpPr>
            <p:cNvPr id="611" name="iṣlîdê">
              <a:extLst>
                <a:ext uri="{FF2B5EF4-FFF2-40B4-BE49-F238E27FC236}">
                  <a16:creationId xmlns:a16="http://schemas.microsoft.com/office/drawing/2014/main" id="{8430C535-2B5F-41B9-9C60-19F3D87ACE9F}"/>
                </a:ext>
              </a:extLst>
            </p:cNvPr>
            <p:cNvSpPr/>
            <p:nvPr/>
          </p:nvSpPr>
          <p:spPr>
            <a:xfrm>
              <a:off x="5621569" y="4893678"/>
              <a:ext cx="109883" cy="53804"/>
            </a:xfrm>
            <a:custGeom>
              <a:avLst/>
              <a:gdLst>
                <a:gd name="connsiteX0" fmla="*/ -336 w 36099"/>
                <a:gd name="connsiteY0" fmla="*/ -163 h 17676"/>
                <a:gd name="connsiteX1" fmla="*/ -336 w 36099"/>
                <a:gd name="connsiteY1" fmla="*/ 7076 h 17676"/>
                <a:gd name="connsiteX2" fmla="*/ 1283 w 36099"/>
                <a:gd name="connsiteY2" fmla="*/ 9267 h 17676"/>
                <a:gd name="connsiteX3" fmla="*/ 13856 w 36099"/>
                <a:gd name="connsiteY3" fmla="*/ 16506 h 17676"/>
                <a:gd name="connsiteX4" fmla="*/ 21571 w 36099"/>
                <a:gd name="connsiteY4" fmla="*/ 16506 h 17676"/>
                <a:gd name="connsiteX5" fmla="*/ 34144 w 36099"/>
                <a:gd name="connsiteY5" fmla="*/ 9267 h 17676"/>
                <a:gd name="connsiteX6" fmla="*/ 35764 w 36099"/>
                <a:gd name="connsiteY6" fmla="*/ 6981 h 17676"/>
                <a:gd name="connsiteX7" fmla="*/ 35764 w 36099"/>
                <a:gd name="connsiteY7" fmla="*/ -163 h 17676"/>
                <a:gd name="connsiteX8" fmla="*/ 34144 w 36099"/>
                <a:gd name="connsiteY8" fmla="*/ 2124 h 17676"/>
                <a:gd name="connsiteX9" fmla="*/ 31858 w 36099"/>
                <a:gd name="connsiteY9" fmla="*/ 3457 h 17676"/>
                <a:gd name="connsiteX10" fmla="*/ 21571 w 36099"/>
                <a:gd name="connsiteY10" fmla="*/ 9362 h 17676"/>
                <a:gd name="connsiteX11" fmla="*/ 13856 w 36099"/>
                <a:gd name="connsiteY11" fmla="*/ 9362 h 17676"/>
                <a:gd name="connsiteX12" fmla="*/ 3569 w 36099"/>
                <a:gd name="connsiteY12" fmla="*/ 3457 h 17676"/>
                <a:gd name="connsiteX13" fmla="*/ 1283 w 36099"/>
                <a:gd name="connsiteY13" fmla="*/ 2124 h 17676"/>
                <a:gd name="connsiteX14" fmla="*/ -336 w 36099"/>
                <a:gd name="connsiteY14" fmla="*/ -163 h 17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676">
                  <a:moveTo>
                    <a:pt x="-336" y="-163"/>
                  </a:moveTo>
                  <a:lnTo>
                    <a:pt x="-336" y="7076"/>
                  </a:lnTo>
                  <a:cubicBezTo>
                    <a:pt x="-222" y="8039"/>
                    <a:pt x="397" y="8877"/>
                    <a:pt x="1283" y="9267"/>
                  </a:cubicBezTo>
                  <a:lnTo>
                    <a:pt x="13856" y="16506"/>
                  </a:lnTo>
                  <a:cubicBezTo>
                    <a:pt x="16256" y="17849"/>
                    <a:pt x="19171" y="17849"/>
                    <a:pt x="21571" y="16506"/>
                  </a:cubicBezTo>
                  <a:lnTo>
                    <a:pt x="34144" y="9267"/>
                  </a:lnTo>
                  <a:cubicBezTo>
                    <a:pt x="35087" y="8896"/>
                    <a:pt x="35725" y="8001"/>
                    <a:pt x="35764" y="6981"/>
                  </a:cubicBezTo>
                  <a:lnTo>
                    <a:pt x="35764" y="-163"/>
                  </a:lnTo>
                  <a:cubicBezTo>
                    <a:pt x="35697" y="847"/>
                    <a:pt x="35068" y="1733"/>
                    <a:pt x="34144" y="2124"/>
                  </a:cubicBezTo>
                  <a:lnTo>
                    <a:pt x="31858" y="3457"/>
                  </a:lnTo>
                  <a:lnTo>
                    <a:pt x="21571" y="9362"/>
                  </a:lnTo>
                  <a:cubicBezTo>
                    <a:pt x="19152" y="10601"/>
                    <a:pt x="16275" y="10601"/>
                    <a:pt x="13856" y="9362"/>
                  </a:cubicBezTo>
                  <a:lnTo>
                    <a:pt x="3569" y="3457"/>
                  </a:lnTo>
                  <a:lnTo>
                    <a:pt x="1283" y="2124"/>
                  </a:lnTo>
                  <a:cubicBezTo>
                    <a:pt x="378" y="1695"/>
                    <a:pt x="-231"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12" name="ïṩľîḓè">
              <a:extLst>
                <a:ext uri="{FF2B5EF4-FFF2-40B4-BE49-F238E27FC236}">
                  <a16:creationId xmlns:a16="http://schemas.microsoft.com/office/drawing/2014/main" id="{5904289F-9349-4BC6-A53C-5CE1184EACD1}"/>
                </a:ext>
              </a:extLst>
            </p:cNvPr>
            <p:cNvSpPr/>
            <p:nvPr/>
          </p:nvSpPr>
          <p:spPr>
            <a:xfrm>
              <a:off x="5698982" y="4906703"/>
              <a:ext cx="109740" cy="63445"/>
            </a:xfrm>
            <a:custGeom>
              <a:avLst/>
              <a:gdLst>
                <a:gd name="connsiteX0" fmla="*/ -336 w 36052"/>
                <a:gd name="connsiteY0" fmla="*/ 10227 h 20843"/>
                <a:gd name="connsiteX1" fmla="*/ 1188 w 36052"/>
                <a:gd name="connsiteY1" fmla="*/ 12513 h 20843"/>
                <a:gd name="connsiteX2" fmla="*/ 3569 w 36052"/>
                <a:gd name="connsiteY2" fmla="*/ 13846 h 20843"/>
                <a:gd name="connsiteX3" fmla="*/ 13856 w 36052"/>
                <a:gd name="connsiteY3" fmla="*/ 19752 h 20843"/>
                <a:gd name="connsiteX4" fmla="*/ 21476 w 36052"/>
                <a:gd name="connsiteY4" fmla="*/ 19752 h 20843"/>
                <a:gd name="connsiteX5" fmla="*/ 31763 w 36052"/>
                <a:gd name="connsiteY5" fmla="*/ 13846 h 20843"/>
                <a:gd name="connsiteX6" fmla="*/ 34144 w 36052"/>
                <a:gd name="connsiteY6" fmla="*/ 12513 h 20843"/>
                <a:gd name="connsiteX7" fmla="*/ 35573 w 36052"/>
                <a:gd name="connsiteY7" fmla="*/ 9465 h 20843"/>
                <a:gd name="connsiteX8" fmla="*/ 34144 w 36052"/>
                <a:gd name="connsiteY8" fmla="*/ 8036 h 20843"/>
                <a:gd name="connsiteX9" fmla="*/ 21476 w 36052"/>
                <a:gd name="connsiteY9" fmla="*/ 702 h 20843"/>
                <a:gd name="connsiteX10" fmla="*/ 13856 w 36052"/>
                <a:gd name="connsiteY10" fmla="*/ 702 h 20843"/>
                <a:gd name="connsiteX11" fmla="*/ 1188 w 36052"/>
                <a:gd name="connsiteY11" fmla="*/ 8036 h 20843"/>
                <a:gd name="connsiteX12" fmla="*/ -336 w 36052"/>
                <a:gd name="connsiteY12" fmla="*/ 10227 h 20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3">
                  <a:moveTo>
                    <a:pt x="-336" y="10227"/>
                  </a:moveTo>
                  <a:cubicBezTo>
                    <a:pt x="-270" y="11208"/>
                    <a:pt x="311" y="12075"/>
                    <a:pt x="1188" y="12513"/>
                  </a:cubicBezTo>
                  <a:lnTo>
                    <a:pt x="3569" y="13846"/>
                  </a:lnTo>
                  <a:lnTo>
                    <a:pt x="13856" y="19752"/>
                  </a:lnTo>
                  <a:cubicBezTo>
                    <a:pt x="16247" y="20990"/>
                    <a:pt x="19085" y="20990"/>
                    <a:pt x="21476" y="19752"/>
                  </a:cubicBezTo>
                  <a:lnTo>
                    <a:pt x="31763" y="13846"/>
                  </a:lnTo>
                  <a:lnTo>
                    <a:pt x="34144" y="12513"/>
                  </a:lnTo>
                  <a:cubicBezTo>
                    <a:pt x="35382" y="12065"/>
                    <a:pt x="36020" y="10694"/>
                    <a:pt x="35573" y="9465"/>
                  </a:cubicBezTo>
                  <a:cubicBezTo>
                    <a:pt x="35325" y="8798"/>
                    <a:pt x="34811" y="8274"/>
                    <a:pt x="34144"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613" name="ïşļîḍe">
              <a:extLst>
                <a:ext uri="{FF2B5EF4-FFF2-40B4-BE49-F238E27FC236}">
                  <a16:creationId xmlns:a16="http://schemas.microsoft.com/office/drawing/2014/main" id="{19EBC936-FBE5-494E-B7FE-55F953952D56}"/>
                </a:ext>
              </a:extLst>
            </p:cNvPr>
            <p:cNvSpPr/>
            <p:nvPr/>
          </p:nvSpPr>
          <p:spPr>
            <a:xfrm>
              <a:off x="5701012" y="4907887"/>
              <a:ext cx="106260" cy="61101"/>
            </a:xfrm>
            <a:custGeom>
              <a:avLst/>
              <a:gdLst>
                <a:gd name="connsiteX0" fmla="*/ 1378 w 34909"/>
                <a:gd name="connsiteY0" fmla="*/ 12029 h 20073"/>
                <a:gd name="connsiteX1" fmla="*/ 13475 w 34909"/>
                <a:gd name="connsiteY1" fmla="*/ 18982 h 20073"/>
                <a:gd name="connsiteX2" fmla="*/ 20904 w 34909"/>
                <a:gd name="connsiteY2" fmla="*/ 18982 h 20073"/>
                <a:gd name="connsiteX3" fmla="*/ 33001 w 34909"/>
                <a:gd name="connsiteY3" fmla="*/ 12029 h 20073"/>
                <a:gd name="connsiteX4" fmla="*/ 33001 w 34909"/>
                <a:gd name="connsiteY4" fmla="*/ 7743 h 20073"/>
                <a:gd name="connsiteX5" fmla="*/ 20904 w 34909"/>
                <a:gd name="connsiteY5" fmla="*/ 695 h 20073"/>
                <a:gd name="connsiteX6" fmla="*/ 13475 w 34909"/>
                <a:gd name="connsiteY6" fmla="*/ 695 h 20073"/>
                <a:gd name="connsiteX7" fmla="*/ 1378 w 34909"/>
                <a:gd name="connsiteY7" fmla="*/ 7743 h 20073"/>
                <a:gd name="connsiteX8" fmla="*/ 1378 w 34909"/>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909" h="20073">
                  <a:moveTo>
                    <a:pt x="1378" y="12029"/>
                  </a:moveTo>
                  <a:lnTo>
                    <a:pt x="13475" y="18982"/>
                  </a:lnTo>
                  <a:cubicBezTo>
                    <a:pt x="15799" y="20221"/>
                    <a:pt x="18580" y="20221"/>
                    <a:pt x="20904" y="18982"/>
                  </a:cubicBezTo>
                  <a:lnTo>
                    <a:pt x="33001" y="12029"/>
                  </a:lnTo>
                  <a:cubicBezTo>
                    <a:pt x="35097" y="10791"/>
                    <a:pt x="35097" y="8886"/>
                    <a:pt x="33001" y="7743"/>
                  </a:cubicBezTo>
                  <a:lnTo>
                    <a:pt x="20904" y="695"/>
                  </a:lnTo>
                  <a:cubicBezTo>
                    <a:pt x="18561" y="-448"/>
                    <a:pt x="15818" y="-448"/>
                    <a:pt x="13475" y="695"/>
                  </a:cubicBezTo>
                  <a:lnTo>
                    <a:pt x="1378" y="7743"/>
                  </a:lnTo>
                  <a:cubicBezTo>
                    <a:pt x="-908" y="8886"/>
                    <a:pt x="-908" y="10791"/>
                    <a:pt x="1378" y="12029"/>
                  </a:cubicBezTo>
                  <a:close/>
                </a:path>
              </a:pathLst>
            </a:custGeom>
            <a:solidFill>
              <a:srgbClr val="D1D9E8"/>
            </a:solidFill>
            <a:ln w="9525" cap="flat">
              <a:noFill/>
              <a:prstDash val="solid"/>
              <a:miter/>
            </a:ln>
          </p:spPr>
          <p:txBody>
            <a:bodyPr rtlCol="0" anchor="ctr"/>
            <a:lstStyle/>
            <a:p>
              <a:endParaRPr lang="zh-CN" altLang="en-US"/>
            </a:p>
          </p:txBody>
        </p:sp>
        <p:sp>
          <p:nvSpPr>
            <p:cNvPr id="614" name="isļîḋé">
              <a:extLst>
                <a:ext uri="{FF2B5EF4-FFF2-40B4-BE49-F238E27FC236}">
                  <a16:creationId xmlns:a16="http://schemas.microsoft.com/office/drawing/2014/main" id="{0E3F959E-C2A4-42E6-9D9E-34B06BE75793}"/>
                </a:ext>
              </a:extLst>
            </p:cNvPr>
            <p:cNvSpPr/>
            <p:nvPr/>
          </p:nvSpPr>
          <p:spPr>
            <a:xfrm>
              <a:off x="5698982" y="4938329"/>
              <a:ext cx="109594" cy="53801"/>
            </a:xfrm>
            <a:custGeom>
              <a:avLst/>
              <a:gdLst>
                <a:gd name="connsiteX0" fmla="*/ -336 w 36004"/>
                <a:gd name="connsiteY0" fmla="*/ -163 h 17675"/>
                <a:gd name="connsiteX1" fmla="*/ -336 w 36004"/>
                <a:gd name="connsiteY1" fmla="*/ 7076 h 17675"/>
                <a:gd name="connsiteX2" fmla="*/ 1188 w 36004"/>
                <a:gd name="connsiteY2" fmla="*/ 9267 h 17675"/>
                <a:gd name="connsiteX3" fmla="*/ 13856 w 36004"/>
                <a:gd name="connsiteY3" fmla="*/ 16506 h 17675"/>
                <a:gd name="connsiteX4" fmla="*/ 21476 w 36004"/>
                <a:gd name="connsiteY4" fmla="*/ 16506 h 17675"/>
                <a:gd name="connsiteX5" fmla="*/ 34144 w 36004"/>
                <a:gd name="connsiteY5" fmla="*/ 9267 h 17675"/>
                <a:gd name="connsiteX6" fmla="*/ 35668 w 36004"/>
                <a:gd name="connsiteY6" fmla="*/ 6981 h 17675"/>
                <a:gd name="connsiteX7" fmla="*/ 35668 w 36004"/>
                <a:gd name="connsiteY7" fmla="*/ -163 h 17675"/>
                <a:gd name="connsiteX8" fmla="*/ 34144 w 36004"/>
                <a:gd name="connsiteY8" fmla="*/ 2123 h 17675"/>
                <a:gd name="connsiteX9" fmla="*/ 31763 w 36004"/>
                <a:gd name="connsiteY9" fmla="*/ 3457 h 17675"/>
                <a:gd name="connsiteX10" fmla="*/ 21476 w 36004"/>
                <a:gd name="connsiteY10" fmla="*/ 9362 h 17675"/>
                <a:gd name="connsiteX11" fmla="*/ 13856 w 36004"/>
                <a:gd name="connsiteY11" fmla="*/ 9362 h 17675"/>
                <a:gd name="connsiteX12" fmla="*/ 3569 w 36004"/>
                <a:gd name="connsiteY12" fmla="*/ 3457 h 17675"/>
                <a:gd name="connsiteX13" fmla="*/ 1188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41" y="8019"/>
                    <a:pt x="340" y="8848"/>
                    <a:pt x="1188" y="9267"/>
                  </a:cubicBezTo>
                  <a:lnTo>
                    <a:pt x="13856" y="16506"/>
                  </a:lnTo>
                  <a:cubicBezTo>
                    <a:pt x="16218" y="17849"/>
                    <a:pt x="19114" y="17849"/>
                    <a:pt x="21476" y="16506"/>
                  </a:cubicBezTo>
                  <a:lnTo>
                    <a:pt x="34144" y="9267"/>
                  </a:lnTo>
                  <a:cubicBezTo>
                    <a:pt x="35021" y="8829"/>
                    <a:pt x="35602" y="7962"/>
                    <a:pt x="35668" y="6981"/>
                  </a:cubicBezTo>
                  <a:lnTo>
                    <a:pt x="35668" y="-163"/>
                  </a:lnTo>
                  <a:cubicBezTo>
                    <a:pt x="35602" y="818"/>
                    <a:pt x="35021" y="1685"/>
                    <a:pt x="34144" y="2123"/>
                  </a:cubicBezTo>
                  <a:lnTo>
                    <a:pt x="31763" y="3457"/>
                  </a:lnTo>
                  <a:lnTo>
                    <a:pt x="21476" y="9362"/>
                  </a:lnTo>
                  <a:cubicBezTo>
                    <a:pt x="19085" y="10601"/>
                    <a:pt x="16247" y="10601"/>
                    <a:pt x="13856" y="9362"/>
                  </a:cubicBezTo>
                  <a:lnTo>
                    <a:pt x="3569" y="3457"/>
                  </a:lnTo>
                  <a:lnTo>
                    <a:pt x="1188"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15" name="íṥ1îďe">
              <a:extLst>
                <a:ext uri="{FF2B5EF4-FFF2-40B4-BE49-F238E27FC236}">
                  <a16:creationId xmlns:a16="http://schemas.microsoft.com/office/drawing/2014/main" id="{60F2A2A9-0765-4B50-B849-578BC7A19F05}"/>
                </a:ext>
              </a:extLst>
            </p:cNvPr>
            <p:cNvSpPr/>
            <p:nvPr/>
          </p:nvSpPr>
          <p:spPr>
            <a:xfrm>
              <a:off x="5776395" y="4951354"/>
              <a:ext cx="109447" cy="63445"/>
            </a:xfrm>
            <a:custGeom>
              <a:avLst/>
              <a:gdLst>
                <a:gd name="connsiteX0" fmla="*/ -336 w 35956"/>
                <a:gd name="connsiteY0" fmla="*/ 10227 h 20843"/>
                <a:gd name="connsiteX1" fmla="*/ 1187 w 35956"/>
                <a:gd name="connsiteY1" fmla="*/ 12513 h 20843"/>
                <a:gd name="connsiteX2" fmla="*/ 3569 w 35956"/>
                <a:gd name="connsiteY2" fmla="*/ 13846 h 20843"/>
                <a:gd name="connsiteX3" fmla="*/ 13856 w 35956"/>
                <a:gd name="connsiteY3" fmla="*/ 19752 h 20843"/>
                <a:gd name="connsiteX4" fmla="*/ 21476 w 35956"/>
                <a:gd name="connsiteY4" fmla="*/ 19752 h 20843"/>
                <a:gd name="connsiteX5" fmla="*/ 31763 w 35956"/>
                <a:gd name="connsiteY5" fmla="*/ 13846 h 20843"/>
                <a:gd name="connsiteX6" fmla="*/ 34049 w 35956"/>
                <a:gd name="connsiteY6" fmla="*/ 12513 h 20843"/>
                <a:gd name="connsiteX7" fmla="*/ 35477 w 35956"/>
                <a:gd name="connsiteY7" fmla="*/ 9465 h 20843"/>
                <a:gd name="connsiteX8" fmla="*/ 34049 w 35956"/>
                <a:gd name="connsiteY8" fmla="*/ 8036 h 20843"/>
                <a:gd name="connsiteX9" fmla="*/ 21476 w 35956"/>
                <a:gd name="connsiteY9" fmla="*/ 702 h 20843"/>
                <a:gd name="connsiteX10" fmla="*/ 13856 w 35956"/>
                <a:gd name="connsiteY10" fmla="*/ 702 h 20843"/>
                <a:gd name="connsiteX11" fmla="*/ 1187 w 35956"/>
                <a:gd name="connsiteY11" fmla="*/ 8036 h 20843"/>
                <a:gd name="connsiteX12" fmla="*/ -336 w 35956"/>
                <a:gd name="connsiteY12" fmla="*/ 10227 h 20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956" h="20843">
                  <a:moveTo>
                    <a:pt x="-336" y="10227"/>
                  </a:moveTo>
                  <a:cubicBezTo>
                    <a:pt x="-270" y="11208"/>
                    <a:pt x="311" y="12075"/>
                    <a:pt x="1187" y="12513"/>
                  </a:cubicBezTo>
                  <a:lnTo>
                    <a:pt x="3569" y="13846"/>
                  </a:lnTo>
                  <a:lnTo>
                    <a:pt x="13856" y="19752"/>
                  </a:lnTo>
                  <a:cubicBezTo>
                    <a:pt x="16247" y="20990"/>
                    <a:pt x="19085" y="20990"/>
                    <a:pt x="21476" y="19752"/>
                  </a:cubicBezTo>
                  <a:lnTo>
                    <a:pt x="31763" y="13846"/>
                  </a:lnTo>
                  <a:lnTo>
                    <a:pt x="34049" y="12513"/>
                  </a:lnTo>
                  <a:cubicBezTo>
                    <a:pt x="35287" y="12065"/>
                    <a:pt x="35925" y="10693"/>
                    <a:pt x="35477" y="9465"/>
                  </a:cubicBezTo>
                  <a:cubicBezTo>
                    <a:pt x="35230" y="8798"/>
                    <a:pt x="34716" y="8274"/>
                    <a:pt x="34049" y="8036"/>
                  </a:cubicBezTo>
                  <a:lnTo>
                    <a:pt x="21476" y="702"/>
                  </a:lnTo>
                  <a:cubicBezTo>
                    <a:pt x="19066" y="-451"/>
                    <a:pt x="16266" y="-451"/>
                    <a:pt x="13856" y="702"/>
                  </a:cubicBezTo>
                  <a:lnTo>
                    <a:pt x="1187"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616" name="î$ļiḑè">
              <a:extLst>
                <a:ext uri="{FF2B5EF4-FFF2-40B4-BE49-F238E27FC236}">
                  <a16:creationId xmlns:a16="http://schemas.microsoft.com/office/drawing/2014/main" id="{88D6D309-2A1D-4D45-BE40-8E4949588D4A}"/>
                </a:ext>
              </a:extLst>
            </p:cNvPr>
            <p:cNvSpPr/>
            <p:nvPr/>
          </p:nvSpPr>
          <p:spPr>
            <a:xfrm>
              <a:off x="5778206" y="4952535"/>
              <a:ext cx="105898" cy="61101"/>
            </a:xfrm>
            <a:custGeom>
              <a:avLst/>
              <a:gdLst>
                <a:gd name="connsiteX0" fmla="*/ 1164 w 34790"/>
                <a:gd name="connsiteY0" fmla="*/ 12029 h 20073"/>
                <a:gd name="connsiteX1" fmla="*/ 13356 w 34790"/>
                <a:gd name="connsiteY1" fmla="*/ 18983 h 20073"/>
                <a:gd name="connsiteX2" fmla="*/ 20785 w 34790"/>
                <a:gd name="connsiteY2" fmla="*/ 18983 h 20073"/>
                <a:gd name="connsiteX3" fmla="*/ 32882 w 34790"/>
                <a:gd name="connsiteY3" fmla="*/ 12029 h 20073"/>
                <a:gd name="connsiteX4" fmla="*/ 32882 w 34790"/>
                <a:gd name="connsiteY4" fmla="*/ 7743 h 20073"/>
                <a:gd name="connsiteX5" fmla="*/ 20785 w 34790"/>
                <a:gd name="connsiteY5" fmla="*/ 695 h 20073"/>
                <a:gd name="connsiteX6" fmla="*/ 13356 w 34790"/>
                <a:gd name="connsiteY6" fmla="*/ 695 h 20073"/>
                <a:gd name="connsiteX7" fmla="*/ 1164 w 34790"/>
                <a:gd name="connsiteY7" fmla="*/ 7743 h 20073"/>
                <a:gd name="connsiteX8" fmla="*/ 1164 w 34790"/>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3">
                  <a:moveTo>
                    <a:pt x="1164" y="12029"/>
                  </a:moveTo>
                  <a:lnTo>
                    <a:pt x="13356" y="18983"/>
                  </a:lnTo>
                  <a:cubicBezTo>
                    <a:pt x="15680" y="20221"/>
                    <a:pt x="18461" y="20221"/>
                    <a:pt x="20785" y="18983"/>
                  </a:cubicBezTo>
                  <a:lnTo>
                    <a:pt x="32882" y="12029"/>
                  </a:lnTo>
                  <a:cubicBezTo>
                    <a:pt x="34978" y="10791"/>
                    <a:pt x="34978" y="8886"/>
                    <a:pt x="32882" y="7743"/>
                  </a:cubicBezTo>
                  <a:lnTo>
                    <a:pt x="20785" y="695"/>
                  </a:lnTo>
                  <a:cubicBezTo>
                    <a:pt x="18442" y="-448"/>
                    <a:pt x="15699" y="-448"/>
                    <a:pt x="13356" y="695"/>
                  </a:cubicBezTo>
                  <a:lnTo>
                    <a:pt x="1164" y="7743"/>
                  </a:lnTo>
                  <a:cubicBezTo>
                    <a:pt x="-836" y="8886"/>
                    <a:pt x="-836" y="10791"/>
                    <a:pt x="1164" y="12029"/>
                  </a:cubicBezTo>
                  <a:close/>
                </a:path>
              </a:pathLst>
            </a:custGeom>
            <a:solidFill>
              <a:srgbClr val="D1D9E8"/>
            </a:solidFill>
            <a:ln w="9525" cap="flat">
              <a:noFill/>
              <a:prstDash val="solid"/>
              <a:miter/>
            </a:ln>
          </p:spPr>
          <p:txBody>
            <a:bodyPr rtlCol="0" anchor="ctr"/>
            <a:lstStyle/>
            <a:p>
              <a:endParaRPr lang="zh-CN" altLang="en-US"/>
            </a:p>
          </p:txBody>
        </p:sp>
        <p:sp>
          <p:nvSpPr>
            <p:cNvPr id="617" name="íṡľîďe">
              <a:extLst>
                <a:ext uri="{FF2B5EF4-FFF2-40B4-BE49-F238E27FC236}">
                  <a16:creationId xmlns:a16="http://schemas.microsoft.com/office/drawing/2014/main" id="{4683B326-926F-4565-96B7-87D320D4241E}"/>
                </a:ext>
              </a:extLst>
            </p:cNvPr>
            <p:cNvSpPr/>
            <p:nvPr/>
          </p:nvSpPr>
          <p:spPr>
            <a:xfrm>
              <a:off x="5776395" y="4982978"/>
              <a:ext cx="109594" cy="53564"/>
            </a:xfrm>
            <a:custGeom>
              <a:avLst/>
              <a:gdLst>
                <a:gd name="connsiteX0" fmla="*/ -336 w 36004"/>
                <a:gd name="connsiteY0" fmla="*/ -163 h 17597"/>
                <a:gd name="connsiteX1" fmla="*/ -336 w 36004"/>
                <a:gd name="connsiteY1" fmla="*/ 7076 h 17597"/>
                <a:gd name="connsiteX2" fmla="*/ 1187 w 36004"/>
                <a:gd name="connsiteY2" fmla="*/ 9267 h 17597"/>
                <a:gd name="connsiteX3" fmla="*/ 13856 w 36004"/>
                <a:gd name="connsiteY3" fmla="*/ 16506 h 17597"/>
                <a:gd name="connsiteX4" fmla="*/ 21476 w 36004"/>
                <a:gd name="connsiteY4" fmla="*/ 16506 h 17597"/>
                <a:gd name="connsiteX5" fmla="*/ 34049 w 36004"/>
                <a:gd name="connsiteY5" fmla="*/ 9267 h 17597"/>
                <a:gd name="connsiteX6" fmla="*/ 35668 w 36004"/>
                <a:gd name="connsiteY6" fmla="*/ 6981 h 17597"/>
                <a:gd name="connsiteX7" fmla="*/ 35668 w 36004"/>
                <a:gd name="connsiteY7" fmla="*/ -163 h 17597"/>
                <a:gd name="connsiteX8" fmla="*/ 34049 w 36004"/>
                <a:gd name="connsiteY8" fmla="*/ 2123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7 w 36004"/>
                <a:gd name="connsiteY13" fmla="*/ 2123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7" y="9267"/>
                  </a:cubicBezTo>
                  <a:lnTo>
                    <a:pt x="13856" y="16506"/>
                  </a:lnTo>
                  <a:cubicBezTo>
                    <a:pt x="16247" y="17744"/>
                    <a:pt x="19085" y="17744"/>
                    <a:pt x="21476" y="16506"/>
                  </a:cubicBezTo>
                  <a:lnTo>
                    <a:pt x="34049" y="9267"/>
                  </a:lnTo>
                  <a:cubicBezTo>
                    <a:pt x="34963" y="8857"/>
                    <a:pt x="35582" y="7981"/>
                    <a:pt x="35668" y="6981"/>
                  </a:cubicBezTo>
                  <a:lnTo>
                    <a:pt x="35668" y="-163"/>
                  </a:lnTo>
                  <a:cubicBezTo>
                    <a:pt x="35601" y="847"/>
                    <a:pt x="34982" y="1733"/>
                    <a:pt x="34049" y="2123"/>
                  </a:cubicBezTo>
                  <a:lnTo>
                    <a:pt x="31763" y="3457"/>
                  </a:lnTo>
                  <a:lnTo>
                    <a:pt x="21476" y="9362"/>
                  </a:lnTo>
                  <a:cubicBezTo>
                    <a:pt x="19085" y="10601"/>
                    <a:pt x="16247" y="10601"/>
                    <a:pt x="13856" y="9362"/>
                  </a:cubicBezTo>
                  <a:lnTo>
                    <a:pt x="3569" y="3457"/>
                  </a:lnTo>
                  <a:lnTo>
                    <a:pt x="1187"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18" name="îşlïďê">
              <a:extLst>
                <a:ext uri="{FF2B5EF4-FFF2-40B4-BE49-F238E27FC236}">
                  <a16:creationId xmlns:a16="http://schemas.microsoft.com/office/drawing/2014/main" id="{BE9778D8-5F71-4834-8199-B96716F673B5}"/>
                </a:ext>
              </a:extLst>
            </p:cNvPr>
            <p:cNvSpPr/>
            <p:nvPr/>
          </p:nvSpPr>
          <p:spPr>
            <a:xfrm>
              <a:off x="5853516" y="4996003"/>
              <a:ext cx="109740" cy="63442"/>
            </a:xfrm>
            <a:custGeom>
              <a:avLst/>
              <a:gdLst>
                <a:gd name="connsiteX0" fmla="*/ -336 w 36052"/>
                <a:gd name="connsiteY0" fmla="*/ 10227 h 20842"/>
                <a:gd name="connsiteX1" fmla="*/ 1283 w 36052"/>
                <a:gd name="connsiteY1" fmla="*/ 12513 h 20842"/>
                <a:gd name="connsiteX2" fmla="*/ 3569 w 36052"/>
                <a:gd name="connsiteY2" fmla="*/ 13846 h 20842"/>
                <a:gd name="connsiteX3" fmla="*/ 13856 w 36052"/>
                <a:gd name="connsiteY3" fmla="*/ 19752 h 20842"/>
                <a:gd name="connsiteX4" fmla="*/ 21476 w 36052"/>
                <a:gd name="connsiteY4" fmla="*/ 19752 h 20842"/>
                <a:gd name="connsiteX5" fmla="*/ 31763 w 36052"/>
                <a:gd name="connsiteY5" fmla="*/ 13846 h 20842"/>
                <a:gd name="connsiteX6" fmla="*/ 34144 w 36052"/>
                <a:gd name="connsiteY6" fmla="*/ 12513 h 20842"/>
                <a:gd name="connsiteX7" fmla="*/ 35573 w 36052"/>
                <a:gd name="connsiteY7" fmla="*/ 9465 h 20842"/>
                <a:gd name="connsiteX8" fmla="*/ 34144 w 36052"/>
                <a:gd name="connsiteY8" fmla="*/ 8036 h 20842"/>
                <a:gd name="connsiteX9" fmla="*/ 21476 w 36052"/>
                <a:gd name="connsiteY9" fmla="*/ 702 h 20842"/>
                <a:gd name="connsiteX10" fmla="*/ 13856 w 36052"/>
                <a:gd name="connsiteY10" fmla="*/ 702 h 20842"/>
                <a:gd name="connsiteX11" fmla="*/ 1283 w 36052"/>
                <a:gd name="connsiteY11" fmla="*/ 8036 h 20842"/>
                <a:gd name="connsiteX12" fmla="*/ -336 w 36052"/>
                <a:gd name="connsiteY12" fmla="*/ 10227 h 20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2">
                  <a:moveTo>
                    <a:pt x="-336" y="10227"/>
                  </a:moveTo>
                  <a:cubicBezTo>
                    <a:pt x="-269" y="11236"/>
                    <a:pt x="350" y="12122"/>
                    <a:pt x="1283" y="12513"/>
                  </a:cubicBezTo>
                  <a:lnTo>
                    <a:pt x="3569" y="13846"/>
                  </a:lnTo>
                  <a:lnTo>
                    <a:pt x="13856" y="19752"/>
                  </a:lnTo>
                  <a:cubicBezTo>
                    <a:pt x="16247" y="20990"/>
                    <a:pt x="19085" y="20990"/>
                    <a:pt x="21476" y="19752"/>
                  </a:cubicBezTo>
                  <a:lnTo>
                    <a:pt x="31763" y="13846"/>
                  </a:lnTo>
                  <a:lnTo>
                    <a:pt x="34144" y="12513"/>
                  </a:lnTo>
                  <a:cubicBezTo>
                    <a:pt x="35382" y="12065"/>
                    <a:pt x="36021" y="10693"/>
                    <a:pt x="35573" y="9465"/>
                  </a:cubicBezTo>
                  <a:cubicBezTo>
                    <a:pt x="35325" y="8798"/>
                    <a:pt x="34811" y="8274"/>
                    <a:pt x="34144" y="8036"/>
                  </a:cubicBezTo>
                  <a:lnTo>
                    <a:pt x="21476" y="702"/>
                  </a:lnTo>
                  <a:cubicBezTo>
                    <a:pt x="19066" y="-451"/>
                    <a:pt x="16266" y="-451"/>
                    <a:pt x="13856" y="702"/>
                  </a:cubicBezTo>
                  <a:lnTo>
                    <a:pt x="1283" y="8036"/>
                  </a:lnTo>
                  <a:cubicBezTo>
                    <a:pt x="378" y="8417"/>
                    <a:pt x="-241" y="9255"/>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619" name="ïSḻiďe">
              <a:extLst>
                <a:ext uri="{FF2B5EF4-FFF2-40B4-BE49-F238E27FC236}">
                  <a16:creationId xmlns:a16="http://schemas.microsoft.com/office/drawing/2014/main" id="{7E62B54D-12EE-44FB-9EE6-EE308A611986}"/>
                </a:ext>
              </a:extLst>
            </p:cNvPr>
            <p:cNvSpPr/>
            <p:nvPr/>
          </p:nvSpPr>
          <p:spPr>
            <a:xfrm>
              <a:off x="5855400" y="4997184"/>
              <a:ext cx="105898" cy="61104"/>
            </a:xfrm>
            <a:custGeom>
              <a:avLst/>
              <a:gdLst>
                <a:gd name="connsiteX0" fmla="*/ 1235 w 34790"/>
                <a:gd name="connsiteY0" fmla="*/ 12029 h 20074"/>
                <a:gd name="connsiteX1" fmla="*/ 13332 w 34790"/>
                <a:gd name="connsiteY1" fmla="*/ 18983 h 20074"/>
                <a:gd name="connsiteX2" fmla="*/ 20761 w 34790"/>
                <a:gd name="connsiteY2" fmla="*/ 18983 h 20074"/>
                <a:gd name="connsiteX3" fmla="*/ 32954 w 34790"/>
                <a:gd name="connsiteY3" fmla="*/ 12029 h 20074"/>
                <a:gd name="connsiteX4" fmla="*/ 32954 w 34790"/>
                <a:gd name="connsiteY4" fmla="*/ 7743 h 20074"/>
                <a:gd name="connsiteX5" fmla="*/ 20761 w 34790"/>
                <a:gd name="connsiteY5" fmla="*/ 695 h 20074"/>
                <a:gd name="connsiteX6" fmla="*/ 13332 w 34790"/>
                <a:gd name="connsiteY6" fmla="*/ 695 h 20074"/>
                <a:gd name="connsiteX7" fmla="*/ 1235 w 34790"/>
                <a:gd name="connsiteY7" fmla="*/ 7743 h 20074"/>
                <a:gd name="connsiteX8" fmla="*/ 1235 w 34790"/>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4">
                  <a:moveTo>
                    <a:pt x="1235" y="12029"/>
                  </a:moveTo>
                  <a:lnTo>
                    <a:pt x="13332" y="18983"/>
                  </a:lnTo>
                  <a:cubicBezTo>
                    <a:pt x="15656" y="20221"/>
                    <a:pt x="18437" y="20221"/>
                    <a:pt x="20761" y="18983"/>
                  </a:cubicBezTo>
                  <a:lnTo>
                    <a:pt x="32954" y="12029"/>
                  </a:lnTo>
                  <a:cubicBezTo>
                    <a:pt x="34954" y="10791"/>
                    <a:pt x="34954" y="8886"/>
                    <a:pt x="32954" y="7743"/>
                  </a:cubicBezTo>
                  <a:lnTo>
                    <a:pt x="20761" y="695"/>
                  </a:lnTo>
                  <a:cubicBezTo>
                    <a:pt x="18419" y="-448"/>
                    <a:pt x="15675" y="-448"/>
                    <a:pt x="13332" y="695"/>
                  </a:cubicBezTo>
                  <a:lnTo>
                    <a:pt x="1235" y="7743"/>
                  </a:lnTo>
                  <a:cubicBezTo>
                    <a:pt x="-860" y="8886"/>
                    <a:pt x="-860" y="10601"/>
                    <a:pt x="1235" y="12029"/>
                  </a:cubicBezTo>
                  <a:close/>
                </a:path>
              </a:pathLst>
            </a:custGeom>
            <a:solidFill>
              <a:srgbClr val="D1D9E8"/>
            </a:solidFill>
            <a:ln w="9525" cap="flat">
              <a:noFill/>
              <a:prstDash val="solid"/>
              <a:miter/>
            </a:ln>
          </p:spPr>
          <p:txBody>
            <a:bodyPr rtlCol="0" anchor="ctr"/>
            <a:lstStyle/>
            <a:p>
              <a:endParaRPr lang="zh-CN" altLang="en-US"/>
            </a:p>
          </p:txBody>
        </p:sp>
        <p:sp>
          <p:nvSpPr>
            <p:cNvPr id="620" name="îṩľïḋè">
              <a:extLst>
                <a:ext uri="{FF2B5EF4-FFF2-40B4-BE49-F238E27FC236}">
                  <a16:creationId xmlns:a16="http://schemas.microsoft.com/office/drawing/2014/main" id="{33E5153B-1132-4428-92AF-849E36B8523C}"/>
                </a:ext>
              </a:extLst>
            </p:cNvPr>
            <p:cNvSpPr/>
            <p:nvPr/>
          </p:nvSpPr>
          <p:spPr>
            <a:xfrm>
              <a:off x="5853516" y="5027629"/>
              <a:ext cx="109594" cy="53564"/>
            </a:xfrm>
            <a:custGeom>
              <a:avLst/>
              <a:gdLst>
                <a:gd name="connsiteX0" fmla="*/ -336 w 36004"/>
                <a:gd name="connsiteY0" fmla="*/ -163 h 17597"/>
                <a:gd name="connsiteX1" fmla="*/ -336 w 36004"/>
                <a:gd name="connsiteY1" fmla="*/ 7076 h 17597"/>
                <a:gd name="connsiteX2" fmla="*/ 1283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3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283 w 36004"/>
                <a:gd name="connsiteY13" fmla="*/ 2123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48"/>
                    <a:pt x="378" y="8886"/>
                    <a:pt x="1283" y="9267"/>
                  </a:cubicBezTo>
                  <a:lnTo>
                    <a:pt x="13856" y="16506"/>
                  </a:lnTo>
                  <a:cubicBezTo>
                    <a:pt x="16247" y="17744"/>
                    <a:pt x="19085" y="17744"/>
                    <a:pt x="21476" y="16506"/>
                  </a:cubicBezTo>
                  <a:lnTo>
                    <a:pt x="34144" y="9267"/>
                  </a:lnTo>
                  <a:cubicBezTo>
                    <a:pt x="35011" y="8819"/>
                    <a:pt x="35583" y="7953"/>
                    <a:pt x="35668" y="6981"/>
                  </a:cubicBezTo>
                  <a:lnTo>
                    <a:pt x="35668" y="-163"/>
                  </a:lnTo>
                  <a:cubicBezTo>
                    <a:pt x="35602" y="818"/>
                    <a:pt x="35021" y="1685"/>
                    <a:pt x="34144" y="2123"/>
                  </a:cubicBezTo>
                  <a:lnTo>
                    <a:pt x="31763" y="3457"/>
                  </a:lnTo>
                  <a:lnTo>
                    <a:pt x="21476" y="9362"/>
                  </a:lnTo>
                  <a:cubicBezTo>
                    <a:pt x="19085" y="10600"/>
                    <a:pt x="16247" y="10600"/>
                    <a:pt x="13856" y="9362"/>
                  </a:cubicBezTo>
                  <a:lnTo>
                    <a:pt x="3569" y="3457"/>
                  </a:lnTo>
                  <a:lnTo>
                    <a:pt x="1283" y="2123"/>
                  </a:lnTo>
                  <a:cubicBezTo>
                    <a:pt x="350" y="1733"/>
                    <a:pt x="-269" y="847"/>
                    <a:pt x="-336" y="-163"/>
                  </a:cubicBezTo>
                  <a:close/>
                </a:path>
              </a:pathLst>
            </a:custGeom>
            <a:solidFill>
              <a:srgbClr val="BF4200"/>
            </a:solidFill>
            <a:ln w="9525" cap="flat">
              <a:noFill/>
              <a:prstDash val="solid"/>
              <a:miter/>
            </a:ln>
          </p:spPr>
          <p:txBody>
            <a:bodyPr rtlCol="0" anchor="ctr"/>
            <a:lstStyle/>
            <a:p>
              <a:endParaRPr lang="zh-CN" altLang="en-US"/>
            </a:p>
          </p:txBody>
        </p:sp>
        <p:sp>
          <p:nvSpPr>
            <p:cNvPr id="621" name="ïṡļídé">
              <a:extLst>
                <a:ext uri="{FF2B5EF4-FFF2-40B4-BE49-F238E27FC236}">
                  <a16:creationId xmlns:a16="http://schemas.microsoft.com/office/drawing/2014/main" id="{5C3D1EE0-2E15-41EA-87BC-C53FE833ED6B}"/>
                </a:ext>
              </a:extLst>
            </p:cNvPr>
            <p:cNvSpPr/>
            <p:nvPr/>
          </p:nvSpPr>
          <p:spPr>
            <a:xfrm>
              <a:off x="5930929" y="5040456"/>
              <a:ext cx="109594" cy="63639"/>
            </a:xfrm>
            <a:custGeom>
              <a:avLst/>
              <a:gdLst>
                <a:gd name="connsiteX0" fmla="*/ -336 w 36004"/>
                <a:gd name="connsiteY0" fmla="*/ 10291 h 20907"/>
                <a:gd name="connsiteX1" fmla="*/ 1188 w 36004"/>
                <a:gd name="connsiteY1" fmla="*/ 12577 h 20907"/>
                <a:gd name="connsiteX2" fmla="*/ 3569 w 36004"/>
                <a:gd name="connsiteY2" fmla="*/ 13911 h 20907"/>
                <a:gd name="connsiteX3" fmla="*/ 13856 w 36004"/>
                <a:gd name="connsiteY3" fmla="*/ 19816 h 20907"/>
                <a:gd name="connsiteX4" fmla="*/ 21476 w 36004"/>
                <a:gd name="connsiteY4" fmla="*/ 19816 h 20907"/>
                <a:gd name="connsiteX5" fmla="*/ 31763 w 36004"/>
                <a:gd name="connsiteY5" fmla="*/ 13911 h 20907"/>
                <a:gd name="connsiteX6" fmla="*/ 34144 w 36004"/>
                <a:gd name="connsiteY6" fmla="*/ 12577 h 20907"/>
                <a:gd name="connsiteX7" fmla="*/ 35668 w 36004"/>
                <a:gd name="connsiteY7" fmla="*/ 10291 h 20907"/>
                <a:gd name="connsiteX8" fmla="*/ 34144 w 36004"/>
                <a:gd name="connsiteY8" fmla="*/ 8101 h 20907"/>
                <a:gd name="connsiteX9" fmla="*/ 21476 w 36004"/>
                <a:gd name="connsiteY9" fmla="*/ 766 h 20907"/>
                <a:gd name="connsiteX10" fmla="*/ 13856 w 36004"/>
                <a:gd name="connsiteY10" fmla="*/ 766 h 20907"/>
                <a:gd name="connsiteX11" fmla="*/ 1188 w 36004"/>
                <a:gd name="connsiteY11" fmla="*/ 8101 h 20907"/>
                <a:gd name="connsiteX12" fmla="*/ -336 w 36004"/>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907">
                  <a:moveTo>
                    <a:pt x="-336" y="10291"/>
                  </a:moveTo>
                  <a:cubicBezTo>
                    <a:pt x="-270" y="11272"/>
                    <a:pt x="311" y="12139"/>
                    <a:pt x="1188" y="12577"/>
                  </a:cubicBezTo>
                  <a:lnTo>
                    <a:pt x="3569" y="13911"/>
                  </a:lnTo>
                  <a:lnTo>
                    <a:pt x="13856" y="19816"/>
                  </a:lnTo>
                  <a:cubicBezTo>
                    <a:pt x="16247" y="21054"/>
                    <a:pt x="19085" y="21054"/>
                    <a:pt x="21476" y="19816"/>
                  </a:cubicBezTo>
                  <a:lnTo>
                    <a:pt x="31763" y="13911"/>
                  </a:lnTo>
                  <a:lnTo>
                    <a:pt x="34144" y="12577"/>
                  </a:lnTo>
                  <a:cubicBezTo>
                    <a:pt x="35021" y="12139"/>
                    <a:pt x="35602" y="11272"/>
                    <a:pt x="35668" y="10291"/>
                  </a:cubicBezTo>
                  <a:cubicBezTo>
                    <a:pt x="35611" y="9339"/>
                    <a:pt x="35021" y="8491"/>
                    <a:pt x="34144" y="8101"/>
                  </a:cubicBezTo>
                  <a:lnTo>
                    <a:pt x="21476" y="766"/>
                  </a:lnTo>
                  <a:cubicBezTo>
                    <a:pt x="19085" y="-472"/>
                    <a:pt x="16247" y="-472"/>
                    <a:pt x="13856" y="766"/>
                  </a:cubicBezTo>
                  <a:lnTo>
                    <a:pt x="1188" y="8101"/>
                  </a:lnTo>
                  <a:cubicBezTo>
                    <a:pt x="311" y="8491"/>
                    <a:pt x="-279"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622" name="îṧliḋe">
              <a:extLst>
                <a:ext uri="{FF2B5EF4-FFF2-40B4-BE49-F238E27FC236}">
                  <a16:creationId xmlns:a16="http://schemas.microsoft.com/office/drawing/2014/main" id="{7AD30AA5-2E9C-4BC3-81CC-F2287C3A14D8}"/>
                </a:ext>
              </a:extLst>
            </p:cNvPr>
            <p:cNvSpPr/>
            <p:nvPr/>
          </p:nvSpPr>
          <p:spPr>
            <a:xfrm>
              <a:off x="5932747" y="5041835"/>
              <a:ext cx="106760" cy="61101"/>
            </a:xfrm>
            <a:custGeom>
              <a:avLst/>
              <a:gdLst>
                <a:gd name="connsiteX0" fmla="*/ 1448 w 35073"/>
                <a:gd name="connsiteY0" fmla="*/ 12029 h 20073"/>
                <a:gd name="connsiteX1" fmla="*/ 13640 w 35073"/>
                <a:gd name="connsiteY1" fmla="*/ 18983 h 20073"/>
                <a:gd name="connsiteX2" fmla="*/ 21069 w 35073"/>
                <a:gd name="connsiteY2" fmla="*/ 18983 h 20073"/>
                <a:gd name="connsiteX3" fmla="*/ 33166 w 35073"/>
                <a:gd name="connsiteY3" fmla="*/ 12029 h 20073"/>
                <a:gd name="connsiteX4" fmla="*/ 33166 w 35073"/>
                <a:gd name="connsiteY4" fmla="*/ 7648 h 20073"/>
                <a:gd name="connsiteX5" fmla="*/ 20498 w 35073"/>
                <a:gd name="connsiteY5" fmla="*/ 695 h 20073"/>
                <a:gd name="connsiteX6" fmla="*/ 13068 w 35073"/>
                <a:gd name="connsiteY6" fmla="*/ 695 h 20073"/>
                <a:gd name="connsiteX7" fmla="*/ 876 w 35073"/>
                <a:gd name="connsiteY7" fmla="*/ 7648 h 20073"/>
                <a:gd name="connsiteX8" fmla="*/ -29 w 35073"/>
                <a:gd name="connsiteY8" fmla="*/ 10886 h 20073"/>
                <a:gd name="connsiteX9" fmla="*/ 1448 w 35073"/>
                <a:gd name="connsiteY9"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5073" h="20073">
                  <a:moveTo>
                    <a:pt x="1448" y="12029"/>
                  </a:moveTo>
                  <a:lnTo>
                    <a:pt x="13640" y="18983"/>
                  </a:lnTo>
                  <a:cubicBezTo>
                    <a:pt x="15964" y="20221"/>
                    <a:pt x="18745" y="20221"/>
                    <a:pt x="21069" y="18983"/>
                  </a:cubicBezTo>
                  <a:lnTo>
                    <a:pt x="33166" y="12029"/>
                  </a:lnTo>
                  <a:cubicBezTo>
                    <a:pt x="35261" y="10791"/>
                    <a:pt x="35261" y="8886"/>
                    <a:pt x="33166" y="7648"/>
                  </a:cubicBezTo>
                  <a:lnTo>
                    <a:pt x="20498" y="695"/>
                  </a:lnTo>
                  <a:cubicBezTo>
                    <a:pt x="18154" y="-448"/>
                    <a:pt x="15411" y="-448"/>
                    <a:pt x="13068" y="695"/>
                  </a:cubicBezTo>
                  <a:lnTo>
                    <a:pt x="876" y="7648"/>
                  </a:lnTo>
                  <a:cubicBezTo>
                    <a:pt x="-267" y="8296"/>
                    <a:pt x="-676" y="9743"/>
                    <a:pt x="-29" y="10886"/>
                  </a:cubicBezTo>
                  <a:cubicBezTo>
                    <a:pt x="285" y="11458"/>
                    <a:pt x="819" y="11867"/>
                    <a:pt x="1448" y="12029"/>
                  </a:cubicBezTo>
                  <a:close/>
                </a:path>
              </a:pathLst>
            </a:custGeom>
            <a:solidFill>
              <a:srgbClr val="D1D9E8"/>
            </a:solidFill>
            <a:ln w="9525" cap="flat">
              <a:noFill/>
              <a:prstDash val="solid"/>
              <a:miter/>
            </a:ln>
          </p:spPr>
          <p:txBody>
            <a:bodyPr rtlCol="0" anchor="ctr"/>
            <a:lstStyle/>
            <a:p>
              <a:endParaRPr lang="zh-CN" altLang="en-US"/>
            </a:p>
          </p:txBody>
        </p:sp>
        <p:sp>
          <p:nvSpPr>
            <p:cNvPr id="623" name="ïṩlídè">
              <a:extLst>
                <a:ext uri="{FF2B5EF4-FFF2-40B4-BE49-F238E27FC236}">
                  <a16:creationId xmlns:a16="http://schemas.microsoft.com/office/drawing/2014/main" id="{86C90858-DFD3-48AA-95A3-B6B0EA3BF0BF}"/>
                </a:ext>
              </a:extLst>
            </p:cNvPr>
            <p:cNvSpPr/>
            <p:nvPr/>
          </p:nvSpPr>
          <p:spPr>
            <a:xfrm>
              <a:off x="5930929" y="5072277"/>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4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4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20"/>
                    <a:pt x="35582" y="7953"/>
                    <a:pt x="35668" y="6981"/>
                  </a:cubicBezTo>
                  <a:lnTo>
                    <a:pt x="35668" y="-163"/>
                  </a:lnTo>
                  <a:cubicBezTo>
                    <a:pt x="35602" y="818"/>
                    <a:pt x="35021" y="1685"/>
                    <a:pt x="34144" y="2124"/>
                  </a:cubicBezTo>
                  <a:lnTo>
                    <a:pt x="31763" y="3457"/>
                  </a:lnTo>
                  <a:lnTo>
                    <a:pt x="21476" y="9362"/>
                  </a:lnTo>
                  <a:cubicBezTo>
                    <a:pt x="19085" y="10601"/>
                    <a:pt x="16247" y="10601"/>
                    <a:pt x="13856" y="9362"/>
                  </a:cubicBezTo>
                  <a:lnTo>
                    <a:pt x="3569" y="3457"/>
                  </a:lnTo>
                  <a:lnTo>
                    <a:pt x="1188" y="2124"/>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24" name="iśļíḓê">
              <a:extLst>
                <a:ext uri="{FF2B5EF4-FFF2-40B4-BE49-F238E27FC236}">
                  <a16:creationId xmlns:a16="http://schemas.microsoft.com/office/drawing/2014/main" id="{8B720D40-DE24-4A09-8F98-497196DF7E34}"/>
                </a:ext>
              </a:extLst>
            </p:cNvPr>
            <p:cNvSpPr/>
            <p:nvPr/>
          </p:nvSpPr>
          <p:spPr>
            <a:xfrm>
              <a:off x="6008053" y="5085108"/>
              <a:ext cx="109883" cy="63639"/>
            </a:xfrm>
            <a:custGeom>
              <a:avLst/>
              <a:gdLst>
                <a:gd name="connsiteX0" fmla="*/ -336 w 36099"/>
                <a:gd name="connsiteY0" fmla="*/ 10291 h 20907"/>
                <a:gd name="connsiteX1" fmla="*/ 1283 w 36099"/>
                <a:gd name="connsiteY1" fmla="*/ 12577 h 20907"/>
                <a:gd name="connsiteX2" fmla="*/ 3569 w 36099"/>
                <a:gd name="connsiteY2" fmla="*/ 13911 h 20907"/>
                <a:gd name="connsiteX3" fmla="*/ 13856 w 36099"/>
                <a:gd name="connsiteY3" fmla="*/ 19816 h 20907"/>
                <a:gd name="connsiteX4" fmla="*/ 21571 w 36099"/>
                <a:gd name="connsiteY4" fmla="*/ 19816 h 20907"/>
                <a:gd name="connsiteX5" fmla="*/ 31858 w 36099"/>
                <a:gd name="connsiteY5" fmla="*/ 13911 h 20907"/>
                <a:gd name="connsiteX6" fmla="*/ 34144 w 36099"/>
                <a:gd name="connsiteY6" fmla="*/ 12577 h 20907"/>
                <a:gd name="connsiteX7" fmla="*/ 35764 w 36099"/>
                <a:gd name="connsiteY7" fmla="*/ 10291 h 20907"/>
                <a:gd name="connsiteX8" fmla="*/ 34144 w 36099"/>
                <a:gd name="connsiteY8" fmla="*/ 8100 h 20907"/>
                <a:gd name="connsiteX9" fmla="*/ 21571 w 36099"/>
                <a:gd name="connsiteY9" fmla="*/ 766 h 20907"/>
                <a:gd name="connsiteX10" fmla="*/ 13856 w 36099"/>
                <a:gd name="connsiteY10" fmla="*/ 766 h 20907"/>
                <a:gd name="connsiteX11" fmla="*/ 1283 w 36099"/>
                <a:gd name="connsiteY11" fmla="*/ 8100 h 20907"/>
                <a:gd name="connsiteX12" fmla="*/ -336 w 36099"/>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99" h="20907">
                  <a:moveTo>
                    <a:pt x="-336" y="10291"/>
                  </a:moveTo>
                  <a:cubicBezTo>
                    <a:pt x="-270" y="11301"/>
                    <a:pt x="359" y="12187"/>
                    <a:pt x="1283" y="12577"/>
                  </a:cubicBezTo>
                  <a:lnTo>
                    <a:pt x="3569" y="13911"/>
                  </a:lnTo>
                  <a:lnTo>
                    <a:pt x="13856" y="19816"/>
                  </a:lnTo>
                  <a:cubicBezTo>
                    <a:pt x="16275" y="21054"/>
                    <a:pt x="19152" y="21054"/>
                    <a:pt x="21571" y="19816"/>
                  </a:cubicBezTo>
                  <a:lnTo>
                    <a:pt x="31858" y="13911"/>
                  </a:lnTo>
                  <a:lnTo>
                    <a:pt x="34144" y="12577"/>
                  </a:lnTo>
                  <a:cubicBezTo>
                    <a:pt x="35049" y="12149"/>
                    <a:pt x="35659" y="11282"/>
                    <a:pt x="35764" y="10291"/>
                  </a:cubicBezTo>
                  <a:cubicBezTo>
                    <a:pt x="35649" y="9329"/>
                    <a:pt x="35030" y="8491"/>
                    <a:pt x="34144" y="8100"/>
                  </a:cubicBezTo>
                  <a:lnTo>
                    <a:pt x="21571" y="766"/>
                  </a:lnTo>
                  <a:cubicBezTo>
                    <a:pt x="19152" y="-472"/>
                    <a:pt x="16275" y="-472"/>
                    <a:pt x="13856" y="766"/>
                  </a:cubicBezTo>
                  <a:lnTo>
                    <a:pt x="1283" y="8100"/>
                  </a:lnTo>
                  <a:cubicBezTo>
                    <a:pt x="369" y="8462"/>
                    <a:pt x="-260" y="9310"/>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625" name="iṥlíḑe">
              <a:extLst>
                <a:ext uri="{FF2B5EF4-FFF2-40B4-BE49-F238E27FC236}">
                  <a16:creationId xmlns:a16="http://schemas.microsoft.com/office/drawing/2014/main" id="{A4FEA2B0-8C41-4D06-9801-8402CDD16068}"/>
                </a:ext>
              </a:extLst>
            </p:cNvPr>
            <p:cNvSpPr/>
            <p:nvPr/>
          </p:nvSpPr>
          <p:spPr>
            <a:xfrm>
              <a:off x="6009938" y="5086267"/>
              <a:ext cx="105895" cy="61101"/>
            </a:xfrm>
            <a:custGeom>
              <a:avLst/>
              <a:gdLst>
                <a:gd name="connsiteX0" fmla="*/ 1235 w 34789"/>
                <a:gd name="connsiteY0" fmla="*/ 12006 h 20073"/>
                <a:gd name="connsiteX1" fmla="*/ 13332 w 34789"/>
                <a:gd name="connsiteY1" fmla="*/ 19054 h 20073"/>
                <a:gd name="connsiteX2" fmla="*/ 20761 w 34789"/>
                <a:gd name="connsiteY2" fmla="*/ 19054 h 20073"/>
                <a:gd name="connsiteX3" fmla="*/ 32953 w 34789"/>
                <a:gd name="connsiteY3" fmla="*/ 12006 h 20073"/>
                <a:gd name="connsiteX4" fmla="*/ 32953 w 34789"/>
                <a:gd name="connsiteY4" fmla="*/ 7719 h 20073"/>
                <a:gd name="connsiteX5" fmla="*/ 20761 w 34789"/>
                <a:gd name="connsiteY5" fmla="*/ 766 h 20073"/>
                <a:gd name="connsiteX6" fmla="*/ 13332 w 34789"/>
                <a:gd name="connsiteY6" fmla="*/ 766 h 20073"/>
                <a:gd name="connsiteX7" fmla="*/ 1235 w 34789"/>
                <a:gd name="connsiteY7" fmla="*/ 7719 h 20073"/>
                <a:gd name="connsiteX8" fmla="*/ 1235 w 34789"/>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89" h="20073">
                  <a:moveTo>
                    <a:pt x="1235" y="12006"/>
                  </a:moveTo>
                  <a:lnTo>
                    <a:pt x="13332" y="19054"/>
                  </a:lnTo>
                  <a:cubicBezTo>
                    <a:pt x="15675" y="20197"/>
                    <a:pt x="18418" y="20197"/>
                    <a:pt x="20761" y="19054"/>
                  </a:cubicBezTo>
                  <a:lnTo>
                    <a:pt x="32953" y="12006"/>
                  </a:lnTo>
                  <a:cubicBezTo>
                    <a:pt x="34954" y="10863"/>
                    <a:pt x="34954" y="8957"/>
                    <a:pt x="32953" y="7719"/>
                  </a:cubicBezTo>
                  <a:lnTo>
                    <a:pt x="20761" y="766"/>
                  </a:lnTo>
                  <a:cubicBezTo>
                    <a:pt x="18437" y="-472"/>
                    <a:pt x="15656" y="-472"/>
                    <a:pt x="13332" y="766"/>
                  </a:cubicBezTo>
                  <a:lnTo>
                    <a:pt x="1235" y="7719"/>
                  </a:lnTo>
                  <a:cubicBezTo>
                    <a:pt x="-860" y="8957"/>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626" name="iṥ1ïḓé">
              <a:extLst>
                <a:ext uri="{FF2B5EF4-FFF2-40B4-BE49-F238E27FC236}">
                  <a16:creationId xmlns:a16="http://schemas.microsoft.com/office/drawing/2014/main" id="{F1D60A0B-47E4-4BE7-84CE-A60B4CC23647}"/>
                </a:ext>
              </a:extLst>
            </p:cNvPr>
            <p:cNvSpPr/>
            <p:nvPr/>
          </p:nvSpPr>
          <p:spPr>
            <a:xfrm>
              <a:off x="6008053" y="5116929"/>
              <a:ext cx="109015" cy="53564"/>
            </a:xfrm>
            <a:custGeom>
              <a:avLst/>
              <a:gdLst>
                <a:gd name="connsiteX0" fmla="*/ -336 w 35814"/>
                <a:gd name="connsiteY0" fmla="*/ -163 h 17597"/>
                <a:gd name="connsiteX1" fmla="*/ -336 w 35814"/>
                <a:gd name="connsiteY1" fmla="*/ 7076 h 17597"/>
                <a:gd name="connsiteX2" fmla="*/ 1283 w 35814"/>
                <a:gd name="connsiteY2" fmla="*/ 9267 h 17597"/>
                <a:gd name="connsiteX3" fmla="*/ 13856 w 35814"/>
                <a:gd name="connsiteY3" fmla="*/ 16506 h 17597"/>
                <a:gd name="connsiteX4" fmla="*/ 21571 w 35814"/>
                <a:gd name="connsiteY4" fmla="*/ 16506 h 17597"/>
                <a:gd name="connsiteX5" fmla="*/ 33858 w 35814"/>
                <a:gd name="connsiteY5" fmla="*/ 9362 h 17597"/>
                <a:gd name="connsiteX6" fmla="*/ 35478 w 35814"/>
                <a:gd name="connsiteY6" fmla="*/ 7076 h 17597"/>
                <a:gd name="connsiteX7" fmla="*/ 35478 w 35814"/>
                <a:gd name="connsiteY7" fmla="*/ -163 h 17597"/>
                <a:gd name="connsiteX8" fmla="*/ 33858 w 35814"/>
                <a:gd name="connsiteY8" fmla="*/ 2123 h 17597"/>
                <a:gd name="connsiteX9" fmla="*/ 31572 w 35814"/>
                <a:gd name="connsiteY9" fmla="*/ 3457 h 17597"/>
                <a:gd name="connsiteX10" fmla="*/ 21285 w 35814"/>
                <a:gd name="connsiteY10" fmla="*/ 9362 h 17597"/>
                <a:gd name="connsiteX11" fmla="*/ 13570 w 35814"/>
                <a:gd name="connsiteY11" fmla="*/ 9362 h 17597"/>
                <a:gd name="connsiteX12" fmla="*/ 3283 w 35814"/>
                <a:gd name="connsiteY12" fmla="*/ 3457 h 17597"/>
                <a:gd name="connsiteX13" fmla="*/ 997 w 35814"/>
                <a:gd name="connsiteY13" fmla="*/ 2123 h 17597"/>
                <a:gd name="connsiteX14" fmla="*/ -336 w 3581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5814" h="17597">
                  <a:moveTo>
                    <a:pt x="-336" y="-163"/>
                  </a:moveTo>
                  <a:lnTo>
                    <a:pt x="-336" y="7076"/>
                  </a:lnTo>
                  <a:cubicBezTo>
                    <a:pt x="-241" y="8048"/>
                    <a:pt x="387" y="8886"/>
                    <a:pt x="1283" y="9267"/>
                  </a:cubicBezTo>
                  <a:lnTo>
                    <a:pt x="13856" y="16506"/>
                  </a:lnTo>
                  <a:cubicBezTo>
                    <a:pt x="16275" y="17744"/>
                    <a:pt x="19152" y="17744"/>
                    <a:pt x="21571" y="16506"/>
                  </a:cubicBezTo>
                  <a:lnTo>
                    <a:pt x="33858" y="9362"/>
                  </a:lnTo>
                  <a:cubicBezTo>
                    <a:pt x="34744" y="8924"/>
                    <a:pt x="35354" y="8058"/>
                    <a:pt x="35478" y="7076"/>
                  </a:cubicBezTo>
                  <a:lnTo>
                    <a:pt x="35478" y="-163"/>
                  </a:lnTo>
                  <a:cubicBezTo>
                    <a:pt x="35373" y="828"/>
                    <a:pt x="34763" y="1695"/>
                    <a:pt x="33858" y="2123"/>
                  </a:cubicBezTo>
                  <a:lnTo>
                    <a:pt x="31572" y="3457"/>
                  </a:lnTo>
                  <a:lnTo>
                    <a:pt x="21285" y="9362"/>
                  </a:lnTo>
                  <a:cubicBezTo>
                    <a:pt x="18866" y="10601"/>
                    <a:pt x="15989" y="10601"/>
                    <a:pt x="13570" y="9362"/>
                  </a:cubicBezTo>
                  <a:lnTo>
                    <a:pt x="3283" y="3457"/>
                  </a:lnTo>
                  <a:lnTo>
                    <a:pt x="997" y="2123"/>
                  </a:lnTo>
                  <a:cubicBezTo>
                    <a:pt x="178" y="1647"/>
                    <a:pt x="-327" y="780"/>
                    <a:pt x="-336" y="-163"/>
                  </a:cubicBezTo>
                  <a:close/>
                </a:path>
              </a:pathLst>
            </a:custGeom>
            <a:solidFill>
              <a:srgbClr val="BF4200"/>
            </a:solidFill>
            <a:ln w="9525" cap="flat">
              <a:noFill/>
              <a:prstDash val="solid"/>
              <a:miter/>
            </a:ln>
          </p:spPr>
          <p:txBody>
            <a:bodyPr rtlCol="0" anchor="ctr"/>
            <a:lstStyle/>
            <a:p>
              <a:endParaRPr lang="zh-CN" altLang="en-US"/>
            </a:p>
          </p:txBody>
        </p:sp>
        <p:sp>
          <p:nvSpPr>
            <p:cNvPr id="627" name="îṡḻïḋe">
              <a:extLst>
                <a:ext uri="{FF2B5EF4-FFF2-40B4-BE49-F238E27FC236}">
                  <a16:creationId xmlns:a16="http://schemas.microsoft.com/office/drawing/2014/main" id="{1A52E50A-AA9B-435E-8219-9295451422B7}"/>
                </a:ext>
              </a:extLst>
            </p:cNvPr>
            <p:cNvSpPr/>
            <p:nvPr/>
          </p:nvSpPr>
          <p:spPr>
            <a:xfrm>
              <a:off x="6085464" y="5129759"/>
              <a:ext cx="109362" cy="63588"/>
            </a:xfrm>
            <a:custGeom>
              <a:avLst/>
              <a:gdLst>
                <a:gd name="connsiteX0" fmla="*/ -336 w 35928"/>
                <a:gd name="connsiteY0" fmla="*/ 10291 h 20890"/>
                <a:gd name="connsiteX1" fmla="*/ 1188 w 35928"/>
                <a:gd name="connsiteY1" fmla="*/ 12482 h 20890"/>
                <a:gd name="connsiteX2" fmla="*/ 3569 w 35928"/>
                <a:gd name="connsiteY2" fmla="*/ 13911 h 20890"/>
                <a:gd name="connsiteX3" fmla="*/ 13856 w 35928"/>
                <a:gd name="connsiteY3" fmla="*/ 19721 h 20890"/>
                <a:gd name="connsiteX4" fmla="*/ 21476 w 35928"/>
                <a:gd name="connsiteY4" fmla="*/ 19721 h 20890"/>
                <a:gd name="connsiteX5" fmla="*/ 31763 w 35928"/>
                <a:gd name="connsiteY5" fmla="*/ 13911 h 20890"/>
                <a:gd name="connsiteX6" fmla="*/ 34144 w 35928"/>
                <a:gd name="connsiteY6" fmla="*/ 12482 h 20890"/>
                <a:gd name="connsiteX7" fmla="*/ 35402 w 35928"/>
                <a:gd name="connsiteY7" fmla="*/ 9357 h 20890"/>
                <a:gd name="connsiteX8" fmla="*/ 34144 w 35928"/>
                <a:gd name="connsiteY8" fmla="*/ 8100 h 20890"/>
                <a:gd name="connsiteX9" fmla="*/ 21476 w 35928"/>
                <a:gd name="connsiteY9" fmla="*/ 766 h 20890"/>
                <a:gd name="connsiteX10" fmla="*/ 13856 w 35928"/>
                <a:gd name="connsiteY10" fmla="*/ 766 h 20890"/>
                <a:gd name="connsiteX11" fmla="*/ 1188 w 35928"/>
                <a:gd name="connsiteY11" fmla="*/ 8100 h 20890"/>
                <a:gd name="connsiteX12" fmla="*/ -336 w 35928"/>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928" h="20890">
                  <a:moveTo>
                    <a:pt x="-336" y="10291"/>
                  </a:moveTo>
                  <a:cubicBezTo>
                    <a:pt x="-298" y="11253"/>
                    <a:pt x="292" y="12110"/>
                    <a:pt x="1188" y="12482"/>
                  </a:cubicBezTo>
                  <a:lnTo>
                    <a:pt x="3569" y="13911"/>
                  </a:lnTo>
                  <a:lnTo>
                    <a:pt x="13856" y="19721"/>
                  </a:lnTo>
                  <a:cubicBezTo>
                    <a:pt x="16218" y="21064"/>
                    <a:pt x="19114" y="21064"/>
                    <a:pt x="21476" y="19721"/>
                  </a:cubicBezTo>
                  <a:lnTo>
                    <a:pt x="31763" y="13911"/>
                  </a:lnTo>
                  <a:lnTo>
                    <a:pt x="34144" y="12482"/>
                  </a:lnTo>
                  <a:cubicBezTo>
                    <a:pt x="35354" y="11967"/>
                    <a:pt x="35916" y="10567"/>
                    <a:pt x="35402" y="9357"/>
                  </a:cubicBezTo>
                  <a:cubicBezTo>
                    <a:pt x="35164" y="8796"/>
                    <a:pt x="34706" y="8338"/>
                    <a:pt x="34144" y="8100"/>
                  </a:cubicBezTo>
                  <a:lnTo>
                    <a:pt x="21476" y="766"/>
                  </a:lnTo>
                  <a:cubicBezTo>
                    <a:pt x="19085" y="-472"/>
                    <a:pt x="16247" y="-472"/>
                    <a:pt x="13856" y="766"/>
                  </a:cubicBezTo>
                  <a:lnTo>
                    <a:pt x="1188" y="8100"/>
                  </a:lnTo>
                  <a:cubicBezTo>
                    <a:pt x="292" y="8472"/>
                    <a:pt x="-298"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628" name="îṧḷîḋé">
              <a:extLst>
                <a:ext uri="{FF2B5EF4-FFF2-40B4-BE49-F238E27FC236}">
                  <a16:creationId xmlns:a16="http://schemas.microsoft.com/office/drawing/2014/main" id="{01824EF5-CDFF-40F4-829F-6868A6E02889}"/>
                </a:ext>
              </a:extLst>
            </p:cNvPr>
            <p:cNvSpPr/>
            <p:nvPr/>
          </p:nvSpPr>
          <p:spPr>
            <a:xfrm>
              <a:off x="6087348" y="5130919"/>
              <a:ext cx="105825" cy="61101"/>
            </a:xfrm>
            <a:custGeom>
              <a:avLst/>
              <a:gdLst>
                <a:gd name="connsiteX0" fmla="*/ 1235 w 34766"/>
                <a:gd name="connsiteY0" fmla="*/ 12006 h 20073"/>
                <a:gd name="connsiteX1" fmla="*/ 13332 w 34766"/>
                <a:gd name="connsiteY1" fmla="*/ 19054 h 20073"/>
                <a:gd name="connsiteX2" fmla="*/ 20761 w 34766"/>
                <a:gd name="connsiteY2" fmla="*/ 19054 h 20073"/>
                <a:gd name="connsiteX3" fmla="*/ 32858 w 34766"/>
                <a:gd name="connsiteY3" fmla="*/ 12006 h 20073"/>
                <a:gd name="connsiteX4" fmla="*/ 32858 w 34766"/>
                <a:gd name="connsiteY4" fmla="*/ 7719 h 20073"/>
                <a:gd name="connsiteX5" fmla="*/ 20761 w 34766"/>
                <a:gd name="connsiteY5" fmla="*/ 766 h 20073"/>
                <a:gd name="connsiteX6" fmla="*/ 13332 w 34766"/>
                <a:gd name="connsiteY6" fmla="*/ 766 h 20073"/>
                <a:gd name="connsiteX7" fmla="*/ 1235 w 34766"/>
                <a:gd name="connsiteY7" fmla="*/ 7719 h 20073"/>
                <a:gd name="connsiteX8" fmla="*/ 1235 w 34766"/>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6" h="20073">
                  <a:moveTo>
                    <a:pt x="1235" y="12006"/>
                  </a:moveTo>
                  <a:lnTo>
                    <a:pt x="13332" y="19054"/>
                  </a:lnTo>
                  <a:cubicBezTo>
                    <a:pt x="15675" y="20197"/>
                    <a:pt x="18419" y="20197"/>
                    <a:pt x="20761" y="19054"/>
                  </a:cubicBezTo>
                  <a:lnTo>
                    <a:pt x="32858" y="12006"/>
                  </a:lnTo>
                  <a:cubicBezTo>
                    <a:pt x="34954" y="10863"/>
                    <a:pt x="34954" y="8958"/>
                    <a:pt x="32858" y="7719"/>
                  </a:cubicBezTo>
                  <a:lnTo>
                    <a:pt x="20761" y="766"/>
                  </a:lnTo>
                  <a:cubicBezTo>
                    <a:pt x="18437" y="-472"/>
                    <a:pt x="15656" y="-472"/>
                    <a:pt x="13332" y="766"/>
                  </a:cubicBezTo>
                  <a:lnTo>
                    <a:pt x="1235" y="7719"/>
                  </a:lnTo>
                  <a:cubicBezTo>
                    <a:pt x="-860" y="8958"/>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629" name="ï$ľiḑê">
              <a:extLst>
                <a:ext uri="{FF2B5EF4-FFF2-40B4-BE49-F238E27FC236}">
                  <a16:creationId xmlns:a16="http://schemas.microsoft.com/office/drawing/2014/main" id="{E49469B0-52B4-4C30-98A4-87D2551D6F5E}"/>
                </a:ext>
              </a:extLst>
            </p:cNvPr>
            <p:cNvSpPr/>
            <p:nvPr/>
          </p:nvSpPr>
          <p:spPr>
            <a:xfrm>
              <a:off x="6085464" y="5161577"/>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028 h 17597"/>
                <a:gd name="connsiteX9" fmla="*/ 31763 w 36004"/>
                <a:gd name="connsiteY9" fmla="*/ 3457 h 17597"/>
                <a:gd name="connsiteX10" fmla="*/ 21476 w 36004"/>
                <a:gd name="connsiteY10" fmla="*/ 9267 h 17597"/>
                <a:gd name="connsiteX11" fmla="*/ 13856 w 36004"/>
                <a:gd name="connsiteY11" fmla="*/ 9267 h 17597"/>
                <a:gd name="connsiteX12" fmla="*/ 3569 w 36004"/>
                <a:gd name="connsiteY12" fmla="*/ 3457 h 17597"/>
                <a:gd name="connsiteX13" fmla="*/ 1188 w 36004"/>
                <a:gd name="connsiteY13" fmla="*/ 2028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3" y="7953"/>
                    <a:pt x="35668" y="6981"/>
                  </a:cubicBezTo>
                  <a:lnTo>
                    <a:pt x="35668" y="-163"/>
                  </a:lnTo>
                  <a:cubicBezTo>
                    <a:pt x="35630" y="799"/>
                    <a:pt x="35040" y="1656"/>
                    <a:pt x="34144" y="2028"/>
                  </a:cubicBezTo>
                  <a:lnTo>
                    <a:pt x="31763" y="3457"/>
                  </a:lnTo>
                  <a:lnTo>
                    <a:pt x="21476" y="9267"/>
                  </a:lnTo>
                  <a:cubicBezTo>
                    <a:pt x="19114" y="10610"/>
                    <a:pt x="16218" y="10610"/>
                    <a:pt x="13856" y="9267"/>
                  </a:cubicBezTo>
                  <a:lnTo>
                    <a:pt x="3569" y="3457"/>
                  </a:lnTo>
                  <a:lnTo>
                    <a:pt x="1188" y="2028"/>
                  </a:lnTo>
                  <a:cubicBezTo>
                    <a:pt x="292" y="1656"/>
                    <a:pt x="-298" y="799"/>
                    <a:pt x="-336" y="-163"/>
                  </a:cubicBezTo>
                  <a:close/>
                </a:path>
              </a:pathLst>
            </a:custGeom>
            <a:solidFill>
              <a:srgbClr val="BF4200"/>
            </a:solidFill>
            <a:ln w="9525" cap="flat">
              <a:noFill/>
              <a:prstDash val="solid"/>
              <a:miter/>
            </a:ln>
          </p:spPr>
          <p:txBody>
            <a:bodyPr rtlCol="0" anchor="ctr"/>
            <a:lstStyle/>
            <a:p>
              <a:endParaRPr lang="zh-CN" altLang="en-US"/>
            </a:p>
          </p:txBody>
        </p:sp>
        <p:sp>
          <p:nvSpPr>
            <p:cNvPr id="630" name="ïṥḷïdé">
              <a:extLst>
                <a:ext uri="{FF2B5EF4-FFF2-40B4-BE49-F238E27FC236}">
                  <a16:creationId xmlns:a16="http://schemas.microsoft.com/office/drawing/2014/main" id="{BCE871EA-5762-420C-BA15-8937A527E99D}"/>
                </a:ext>
              </a:extLst>
            </p:cNvPr>
            <p:cNvSpPr/>
            <p:nvPr/>
          </p:nvSpPr>
          <p:spPr>
            <a:xfrm>
              <a:off x="6162588" y="5174407"/>
              <a:ext cx="109883" cy="63639"/>
            </a:xfrm>
            <a:custGeom>
              <a:avLst/>
              <a:gdLst>
                <a:gd name="connsiteX0" fmla="*/ -336 w 36099"/>
                <a:gd name="connsiteY0" fmla="*/ 10291 h 20907"/>
                <a:gd name="connsiteX1" fmla="*/ 1283 w 36099"/>
                <a:gd name="connsiteY1" fmla="*/ 12577 h 20907"/>
                <a:gd name="connsiteX2" fmla="*/ 3569 w 36099"/>
                <a:gd name="connsiteY2" fmla="*/ 13910 h 20907"/>
                <a:gd name="connsiteX3" fmla="*/ 13856 w 36099"/>
                <a:gd name="connsiteY3" fmla="*/ 19816 h 20907"/>
                <a:gd name="connsiteX4" fmla="*/ 21571 w 36099"/>
                <a:gd name="connsiteY4" fmla="*/ 19816 h 20907"/>
                <a:gd name="connsiteX5" fmla="*/ 31858 w 36099"/>
                <a:gd name="connsiteY5" fmla="*/ 13910 h 20907"/>
                <a:gd name="connsiteX6" fmla="*/ 34144 w 36099"/>
                <a:gd name="connsiteY6" fmla="*/ 12577 h 20907"/>
                <a:gd name="connsiteX7" fmla="*/ 35764 w 36099"/>
                <a:gd name="connsiteY7" fmla="*/ 10291 h 20907"/>
                <a:gd name="connsiteX8" fmla="*/ 34144 w 36099"/>
                <a:gd name="connsiteY8" fmla="*/ 8100 h 20907"/>
                <a:gd name="connsiteX9" fmla="*/ 21571 w 36099"/>
                <a:gd name="connsiteY9" fmla="*/ 766 h 20907"/>
                <a:gd name="connsiteX10" fmla="*/ 13856 w 36099"/>
                <a:gd name="connsiteY10" fmla="*/ 766 h 20907"/>
                <a:gd name="connsiteX11" fmla="*/ 1283 w 36099"/>
                <a:gd name="connsiteY11" fmla="*/ 8100 h 20907"/>
                <a:gd name="connsiteX12" fmla="*/ -336 w 36099"/>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99" h="20907">
                  <a:moveTo>
                    <a:pt x="-336" y="10291"/>
                  </a:moveTo>
                  <a:cubicBezTo>
                    <a:pt x="-231" y="11282"/>
                    <a:pt x="378" y="12148"/>
                    <a:pt x="1283" y="12577"/>
                  </a:cubicBezTo>
                  <a:lnTo>
                    <a:pt x="3569" y="13910"/>
                  </a:lnTo>
                  <a:lnTo>
                    <a:pt x="13856" y="19816"/>
                  </a:lnTo>
                  <a:cubicBezTo>
                    <a:pt x="16275" y="21054"/>
                    <a:pt x="19152" y="21054"/>
                    <a:pt x="21571" y="19816"/>
                  </a:cubicBezTo>
                  <a:lnTo>
                    <a:pt x="31858" y="13910"/>
                  </a:lnTo>
                  <a:lnTo>
                    <a:pt x="34144" y="12577"/>
                  </a:lnTo>
                  <a:cubicBezTo>
                    <a:pt x="35049" y="12148"/>
                    <a:pt x="35659" y="11282"/>
                    <a:pt x="35764" y="10291"/>
                  </a:cubicBezTo>
                  <a:cubicBezTo>
                    <a:pt x="35649" y="9329"/>
                    <a:pt x="35030" y="8491"/>
                    <a:pt x="34144" y="8100"/>
                  </a:cubicBezTo>
                  <a:lnTo>
                    <a:pt x="21571" y="766"/>
                  </a:lnTo>
                  <a:cubicBezTo>
                    <a:pt x="19152" y="-472"/>
                    <a:pt x="16275" y="-472"/>
                    <a:pt x="13856" y="766"/>
                  </a:cubicBezTo>
                  <a:lnTo>
                    <a:pt x="1283" y="8100"/>
                  </a:lnTo>
                  <a:cubicBezTo>
                    <a:pt x="397" y="8491"/>
                    <a:pt x="-222"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631" name="í$1idê">
              <a:extLst>
                <a:ext uri="{FF2B5EF4-FFF2-40B4-BE49-F238E27FC236}">
                  <a16:creationId xmlns:a16="http://schemas.microsoft.com/office/drawing/2014/main" id="{A4A8BBE0-2AAC-412A-BF69-594C6D620E0E}"/>
                </a:ext>
              </a:extLst>
            </p:cNvPr>
            <p:cNvSpPr/>
            <p:nvPr/>
          </p:nvSpPr>
          <p:spPr>
            <a:xfrm>
              <a:off x="6164907" y="5175567"/>
              <a:ext cx="106330" cy="61104"/>
            </a:xfrm>
            <a:custGeom>
              <a:avLst/>
              <a:gdLst>
                <a:gd name="connsiteX0" fmla="*/ 1378 w 34932"/>
                <a:gd name="connsiteY0" fmla="*/ 12006 h 20074"/>
                <a:gd name="connsiteX1" fmla="*/ 13475 w 34932"/>
                <a:gd name="connsiteY1" fmla="*/ 19054 h 20074"/>
                <a:gd name="connsiteX2" fmla="*/ 21000 w 34932"/>
                <a:gd name="connsiteY2" fmla="*/ 19054 h 20074"/>
                <a:gd name="connsiteX3" fmla="*/ 33096 w 34932"/>
                <a:gd name="connsiteY3" fmla="*/ 12006 h 20074"/>
                <a:gd name="connsiteX4" fmla="*/ 33096 w 34932"/>
                <a:gd name="connsiteY4" fmla="*/ 7719 h 20074"/>
                <a:gd name="connsiteX5" fmla="*/ 21000 w 34932"/>
                <a:gd name="connsiteY5" fmla="*/ 766 h 20074"/>
                <a:gd name="connsiteX6" fmla="*/ 13475 w 34932"/>
                <a:gd name="connsiteY6" fmla="*/ 766 h 20074"/>
                <a:gd name="connsiteX7" fmla="*/ 1378 w 34932"/>
                <a:gd name="connsiteY7" fmla="*/ 7719 h 20074"/>
                <a:gd name="connsiteX8" fmla="*/ 1378 w 34932"/>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932" h="20074">
                  <a:moveTo>
                    <a:pt x="1378" y="12006"/>
                  </a:moveTo>
                  <a:lnTo>
                    <a:pt x="13475" y="19054"/>
                  </a:lnTo>
                  <a:cubicBezTo>
                    <a:pt x="15856" y="20197"/>
                    <a:pt x="18618" y="20197"/>
                    <a:pt x="21000" y="19054"/>
                  </a:cubicBezTo>
                  <a:lnTo>
                    <a:pt x="33096" y="12006"/>
                  </a:lnTo>
                  <a:cubicBezTo>
                    <a:pt x="35097" y="10863"/>
                    <a:pt x="35097" y="8958"/>
                    <a:pt x="33096" y="7719"/>
                  </a:cubicBezTo>
                  <a:lnTo>
                    <a:pt x="21000" y="766"/>
                  </a:lnTo>
                  <a:cubicBezTo>
                    <a:pt x="18647" y="-472"/>
                    <a:pt x="15828" y="-472"/>
                    <a:pt x="13475" y="766"/>
                  </a:cubicBezTo>
                  <a:lnTo>
                    <a:pt x="1378" y="7719"/>
                  </a:lnTo>
                  <a:cubicBezTo>
                    <a:pt x="-908" y="9148"/>
                    <a:pt x="-908" y="10863"/>
                    <a:pt x="1378" y="12006"/>
                  </a:cubicBezTo>
                  <a:close/>
                </a:path>
              </a:pathLst>
            </a:custGeom>
            <a:solidFill>
              <a:srgbClr val="D1D9E8"/>
            </a:solidFill>
            <a:ln w="9525" cap="flat">
              <a:noFill/>
              <a:prstDash val="solid"/>
              <a:miter/>
            </a:ln>
          </p:spPr>
          <p:txBody>
            <a:bodyPr rtlCol="0" anchor="ctr"/>
            <a:lstStyle/>
            <a:p>
              <a:endParaRPr lang="zh-CN" altLang="en-US"/>
            </a:p>
          </p:txBody>
        </p:sp>
        <p:sp>
          <p:nvSpPr>
            <p:cNvPr id="632" name="išļîḓé">
              <a:extLst>
                <a:ext uri="{FF2B5EF4-FFF2-40B4-BE49-F238E27FC236}">
                  <a16:creationId xmlns:a16="http://schemas.microsoft.com/office/drawing/2014/main" id="{3ADA038C-636B-4D3B-8AD0-476FC5796898}"/>
                </a:ext>
              </a:extLst>
            </p:cNvPr>
            <p:cNvSpPr/>
            <p:nvPr/>
          </p:nvSpPr>
          <p:spPr>
            <a:xfrm>
              <a:off x="6162588" y="5206229"/>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4 w 36099"/>
                <a:gd name="connsiteY6" fmla="*/ 6981 h 17597"/>
                <a:gd name="connsiteX7" fmla="*/ 35764 w 36099"/>
                <a:gd name="connsiteY7" fmla="*/ -163 h 17597"/>
                <a:gd name="connsiteX8" fmla="*/ 34144 w 36099"/>
                <a:gd name="connsiteY8" fmla="*/ 2124 h 17597"/>
                <a:gd name="connsiteX9" fmla="*/ 31858 w 36099"/>
                <a:gd name="connsiteY9" fmla="*/ 3457 h 17597"/>
                <a:gd name="connsiteX10" fmla="*/ 21571 w 36099"/>
                <a:gd name="connsiteY10" fmla="*/ 9362 h 17597"/>
                <a:gd name="connsiteX11" fmla="*/ 13856 w 36099"/>
                <a:gd name="connsiteY11" fmla="*/ 9362 h 17597"/>
                <a:gd name="connsiteX12" fmla="*/ 3569 w 36099"/>
                <a:gd name="connsiteY12" fmla="*/ 3457 h 17597"/>
                <a:gd name="connsiteX13" fmla="*/ 1283 w 36099"/>
                <a:gd name="connsiteY13" fmla="*/ 2124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03" y="8029"/>
                    <a:pt x="407" y="8858"/>
                    <a:pt x="1283" y="9267"/>
                  </a:cubicBezTo>
                  <a:lnTo>
                    <a:pt x="13856" y="16506"/>
                  </a:lnTo>
                  <a:cubicBezTo>
                    <a:pt x="16275" y="17744"/>
                    <a:pt x="19152" y="17744"/>
                    <a:pt x="21571" y="16506"/>
                  </a:cubicBezTo>
                  <a:lnTo>
                    <a:pt x="34144" y="9267"/>
                  </a:lnTo>
                  <a:cubicBezTo>
                    <a:pt x="35030" y="8829"/>
                    <a:pt x="35640" y="7972"/>
                    <a:pt x="35764" y="6981"/>
                  </a:cubicBezTo>
                  <a:lnTo>
                    <a:pt x="35764" y="-163"/>
                  </a:lnTo>
                  <a:cubicBezTo>
                    <a:pt x="35659" y="828"/>
                    <a:pt x="35049" y="1695"/>
                    <a:pt x="34144" y="2124"/>
                  </a:cubicBezTo>
                  <a:lnTo>
                    <a:pt x="31858" y="3457"/>
                  </a:lnTo>
                  <a:lnTo>
                    <a:pt x="21571" y="9362"/>
                  </a:lnTo>
                  <a:cubicBezTo>
                    <a:pt x="19152" y="10601"/>
                    <a:pt x="16275" y="10601"/>
                    <a:pt x="13856" y="9362"/>
                  </a:cubicBezTo>
                  <a:lnTo>
                    <a:pt x="3569" y="3457"/>
                  </a:lnTo>
                  <a:lnTo>
                    <a:pt x="1283" y="2124"/>
                  </a:lnTo>
                  <a:cubicBezTo>
                    <a:pt x="378" y="1695"/>
                    <a:pt x="-231"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33" name="íṡ1íḓê">
              <a:extLst>
                <a:ext uri="{FF2B5EF4-FFF2-40B4-BE49-F238E27FC236}">
                  <a16:creationId xmlns:a16="http://schemas.microsoft.com/office/drawing/2014/main" id="{0B87FBBC-EF02-4613-A4D9-E95EE405E58C}"/>
                </a:ext>
              </a:extLst>
            </p:cNvPr>
            <p:cNvSpPr/>
            <p:nvPr/>
          </p:nvSpPr>
          <p:spPr>
            <a:xfrm>
              <a:off x="6240001" y="5219056"/>
              <a:ext cx="109594" cy="63588"/>
            </a:xfrm>
            <a:custGeom>
              <a:avLst/>
              <a:gdLst>
                <a:gd name="connsiteX0" fmla="*/ -336 w 36004"/>
                <a:gd name="connsiteY0" fmla="*/ 10291 h 20890"/>
                <a:gd name="connsiteX1" fmla="*/ 1188 w 36004"/>
                <a:gd name="connsiteY1" fmla="*/ 12482 h 20890"/>
                <a:gd name="connsiteX2" fmla="*/ 3569 w 36004"/>
                <a:gd name="connsiteY2" fmla="*/ 13911 h 20890"/>
                <a:gd name="connsiteX3" fmla="*/ 13856 w 36004"/>
                <a:gd name="connsiteY3" fmla="*/ 19721 h 20890"/>
                <a:gd name="connsiteX4" fmla="*/ 21476 w 36004"/>
                <a:gd name="connsiteY4" fmla="*/ 19721 h 20890"/>
                <a:gd name="connsiteX5" fmla="*/ 31763 w 36004"/>
                <a:gd name="connsiteY5" fmla="*/ 13911 h 20890"/>
                <a:gd name="connsiteX6" fmla="*/ 34144 w 36004"/>
                <a:gd name="connsiteY6" fmla="*/ 12482 h 20890"/>
                <a:gd name="connsiteX7" fmla="*/ 35668 w 36004"/>
                <a:gd name="connsiteY7" fmla="*/ 10291 h 20890"/>
                <a:gd name="connsiteX8" fmla="*/ 34144 w 36004"/>
                <a:gd name="connsiteY8" fmla="*/ 8005 h 20890"/>
                <a:gd name="connsiteX9" fmla="*/ 21476 w 36004"/>
                <a:gd name="connsiteY9" fmla="*/ 766 h 20890"/>
                <a:gd name="connsiteX10" fmla="*/ 13856 w 36004"/>
                <a:gd name="connsiteY10" fmla="*/ 766 h 20890"/>
                <a:gd name="connsiteX11" fmla="*/ 1188 w 36004"/>
                <a:gd name="connsiteY11" fmla="*/ 8005 h 20890"/>
                <a:gd name="connsiteX12" fmla="*/ -336 w 36004"/>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291"/>
                  </a:moveTo>
                  <a:cubicBezTo>
                    <a:pt x="-279" y="11244"/>
                    <a:pt x="311" y="12091"/>
                    <a:pt x="1188" y="12482"/>
                  </a:cubicBezTo>
                  <a:lnTo>
                    <a:pt x="3569" y="13911"/>
                  </a:lnTo>
                  <a:lnTo>
                    <a:pt x="13856" y="19721"/>
                  </a:lnTo>
                  <a:cubicBezTo>
                    <a:pt x="16218" y="21064"/>
                    <a:pt x="19114" y="21064"/>
                    <a:pt x="21476" y="19721"/>
                  </a:cubicBezTo>
                  <a:lnTo>
                    <a:pt x="31763" y="13911"/>
                  </a:lnTo>
                  <a:lnTo>
                    <a:pt x="34144" y="12482"/>
                  </a:lnTo>
                  <a:cubicBezTo>
                    <a:pt x="35021" y="12091"/>
                    <a:pt x="35611" y="11253"/>
                    <a:pt x="35668" y="10291"/>
                  </a:cubicBezTo>
                  <a:cubicBezTo>
                    <a:pt x="35602" y="9310"/>
                    <a:pt x="35021" y="8443"/>
                    <a:pt x="34144" y="8005"/>
                  </a:cubicBezTo>
                  <a:lnTo>
                    <a:pt x="21476" y="766"/>
                  </a:lnTo>
                  <a:cubicBezTo>
                    <a:pt x="19085" y="-472"/>
                    <a:pt x="16247" y="-472"/>
                    <a:pt x="13856" y="766"/>
                  </a:cubicBezTo>
                  <a:lnTo>
                    <a:pt x="1188" y="8005"/>
                  </a:lnTo>
                  <a:cubicBezTo>
                    <a:pt x="311" y="8443"/>
                    <a:pt x="-270" y="9310"/>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634" name="iṥľîḑè">
              <a:extLst>
                <a:ext uri="{FF2B5EF4-FFF2-40B4-BE49-F238E27FC236}">
                  <a16:creationId xmlns:a16="http://schemas.microsoft.com/office/drawing/2014/main" id="{0BD6F299-61C4-4F1D-A889-908C1DCA85BA}"/>
                </a:ext>
              </a:extLst>
            </p:cNvPr>
            <p:cNvSpPr/>
            <p:nvPr/>
          </p:nvSpPr>
          <p:spPr>
            <a:xfrm>
              <a:off x="6241885" y="5220218"/>
              <a:ext cx="105825" cy="61101"/>
            </a:xfrm>
            <a:custGeom>
              <a:avLst/>
              <a:gdLst>
                <a:gd name="connsiteX0" fmla="*/ 1235 w 34766"/>
                <a:gd name="connsiteY0" fmla="*/ 12006 h 20073"/>
                <a:gd name="connsiteX1" fmla="*/ 13332 w 34766"/>
                <a:gd name="connsiteY1" fmla="*/ 19054 h 20073"/>
                <a:gd name="connsiteX2" fmla="*/ 20761 w 34766"/>
                <a:gd name="connsiteY2" fmla="*/ 19054 h 20073"/>
                <a:gd name="connsiteX3" fmla="*/ 32858 w 34766"/>
                <a:gd name="connsiteY3" fmla="*/ 12006 h 20073"/>
                <a:gd name="connsiteX4" fmla="*/ 32858 w 34766"/>
                <a:gd name="connsiteY4" fmla="*/ 7719 h 20073"/>
                <a:gd name="connsiteX5" fmla="*/ 20761 w 34766"/>
                <a:gd name="connsiteY5" fmla="*/ 766 h 20073"/>
                <a:gd name="connsiteX6" fmla="*/ 13332 w 34766"/>
                <a:gd name="connsiteY6" fmla="*/ 766 h 20073"/>
                <a:gd name="connsiteX7" fmla="*/ 1235 w 34766"/>
                <a:gd name="connsiteY7" fmla="*/ 7719 h 20073"/>
                <a:gd name="connsiteX8" fmla="*/ 1235 w 34766"/>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6" h="20073">
                  <a:moveTo>
                    <a:pt x="1235" y="12006"/>
                  </a:moveTo>
                  <a:lnTo>
                    <a:pt x="13332" y="19054"/>
                  </a:lnTo>
                  <a:cubicBezTo>
                    <a:pt x="15675" y="20197"/>
                    <a:pt x="18418" y="20197"/>
                    <a:pt x="20761" y="19054"/>
                  </a:cubicBezTo>
                  <a:lnTo>
                    <a:pt x="32858" y="12006"/>
                  </a:lnTo>
                  <a:cubicBezTo>
                    <a:pt x="34954" y="10863"/>
                    <a:pt x="34954" y="8957"/>
                    <a:pt x="32858" y="7719"/>
                  </a:cubicBezTo>
                  <a:lnTo>
                    <a:pt x="20761" y="766"/>
                  </a:lnTo>
                  <a:cubicBezTo>
                    <a:pt x="18437" y="-472"/>
                    <a:pt x="15656" y="-472"/>
                    <a:pt x="13332" y="766"/>
                  </a:cubicBezTo>
                  <a:lnTo>
                    <a:pt x="1235" y="7719"/>
                  </a:lnTo>
                  <a:cubicBezTo>
                    <a:pt x="-860" y="8957"/>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635" name="ïšḻidè">
              <a:extLst>
                <a:ext uri="{FF2B5EF4-FFF2-40B4-BE49-F238E27FC236}">
                  <a16:creationId xmlns:a16="http://schemas.microsoft.com/office/drawing/2014/main" id="{A7576B87-6F2E-4CC2-8FC7-0DED50BDAD78}"/>
                </a:ext>
              </a:extLst>
            </p:cNvPr>
            <p:cNvSpPr/>
            <p:nvPr/>
          </p:nvSpPr>
          <p:spPr>
            <a:xfrm>
              <a:off x="6240001" y="5250877"/>
              <a:ext cx="109594" cy="53564"/>
            </a:xfrm>
            <a:custGeom>
              <a:avLst/>
              <a:gdLst>
                <a:gd name="connsiteX0" fmla="*/ -336 w 36004"/>
                <a:gd name="connsiteY0" fmla="*/ -163 h 17597"/>
                <a:gd name="connsiteX1" fmla="*/ -336 w 36004"/>
                <a:gd name="connsiteY1" fmla="*/ 6981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028 h 17597"/>
                <a:gd name="connsiteX9" fmla="*/ 31763 w 36004"/>
                <a:gd name="connsiteY9" fmla="*/ 3457 h 17597"/>
                <a:gd name="connsiteX10" fmla="*/ 21476 w 36004"/>
                <a:gd name="connsiteY10" fmla="*/ 9267 h 17597"/>
                <a:gd name="connsiteX11" fmla="*/ 13856 w 36004"/>
                <a:gd name="connsiteY11" fmla="*/ 9267 h 17597"/>
                <a:gd name="connsiteX12" fmla="*/ 3569 w 36004"/>
                <a:gd name="connsiteY12" fmla="*/ 3457 h 17597"/>
                <a:gd name="connsiteX13" fmla="*/ 1188 w 36004"/>
                <a:gd name="connsiteY13" fmla="*/ 2028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6981"/>
                  </a:lnTo>
                  <a:cubicBezTo>
                    <a:pt x="-270" y="7962"/>
                    <a:pt x="311" y="8829"/>
                    <a:pt x="1188" y="9267"/>
                  </a:cubicBezTo>
                  <a:lnTo>
                    <a:pt x="13856" y="16506"/>
                  </a:lnTo>
                  <a:cubicBezTo>
                    <a:pt x="16247" y="17744"/>
                    <a:pt x="19085" y="17744"/>
                    <a:pt x="21476" y="16506"/>
                  </a:cubicBezTo>
                  <a:lnTo>
                    <a:pt x="34144" y="9267"/>
                  </a:lnTo>
                  <a:cubicBezTo>
                    <a:pt x="35011" y="8819"/>
                    <a:pt x="35582" y="7953"/>
                    <a:pt x="35668" y="6981"/>
                  </a:cubicBezTo>
                  <a:lnTo>
                    <a:pt x="35668" y="-163"/>
                  </a:lnTo>
                  <a:cubicBezTo>
                    <a:pt x="35611" y="790"/>
                    <a:pt x="35021" y="1638"/>
                    <a:pt x="34144" y="2028"/>
                  </a:cubicBezTo>
                  <a:lnTo>
                    <a:pt x="31763" y="3457"/>
                  </a:lnTo>
                  <a:lnTo>
                    <a:pt x="21476" y="9267"/>
                  </a:lnTo>
                  <a:cubicBezTo>
                    <a:pt x="19114" y="10610"/>
                    <a:pt x="16218" y="10610"/>
                    <a:pt x="13856" y="9267"/>
                  </a:cubicBezTo>
                  <a:lnTo>
                    <a:pt x="3569" y="3457"/>
                  </a:lnTo>
                  <a:lnTo>
                    <a:pt x="1188" y="2028"/>
                  </a:lnTo>
                  <a:cubicBezTo>
                    <a:pt x="311" y="1638"/>
                    <a:pt x="-279" y="800"/>
                    <a:pt x="-336" y="-163"/>
                  </a:cubicBezTo>
                  <a:close/>
                </a:path>
              </a:pathLst>
            </a:custGeom>
            <a:solidFill>
              <a:srgbClr val="BF4200"/>
            </a:solidFill>
            <a:ln w="9525" cap="flat">
              <a:noFill/>
              <a:prstDash val="solid"/>
              <a:miter/>
            </a:ln>
          </p:spPr>
          <p:txBody>
            <a:bodyPr rtlCol="0" anchor="ctr"/>
            <a:lstStyle/>
            <a:p>
              <a:endParaRPr lang="zh-CN" altLang="en-US"/>
            </a:p>
          </p:txBody>
        </p:sp>
        <p:sp>
          <p:nvSpPr>
            <p:cNvPr id="636" name="ïṧlíḍe">
              <a:extLst>
                <a:ext uri="{FF2B5EF4-FFF2-40B4-BE49-F238E27FC236}">
                  <a16:creationId xmlns:a16="http://schemas.microsoft.com/office/drawing/2014/main" id="{F06E6E87-8409-43F4-80C0-7C96DDFCA79F}"/>
                </a:ext>
              </a:extLst>
            </p:cNvPr>
            <p:cNvSpPr/>
            <p:nvPr/>
          </p:nvSpPr>
          <p:spPr>
            <a:xfrm>
              <a:off x="6319441" y="5266803"/>
              <a:ext cx="146416" cy="84551"/>
            </a:xfrm>
            <a:custGeom>
              <a:avLst/>
              <a:gdLst>
                <a:gd name="connsiteX0" fmla="*/ -336 w 48101"/>
                <a:gd name="connsiteY0" fmla="*/ 9941 h 27777"/>
                <a:gd name="connsiteX1" fmla="*/ 1188 w 48101"/>
                <a:gd name="connsiteY1" fmla="*/ 12227 h 27777"/>
                <a:gd name="connsiteX2" fmla="*/ 3569 w 48101"/>
                <a:gd name="connsiteY2" fmla="*/ 13560 h 27777"/>
                <a:gd name="connsiteX3" fmla="*/ 25857 w 48101"/>
                <a:gd name="connsiteY3" fmla="*/ 26800 h 27777"/>
                <a:gd name="connsiteX4" fmla="*/ 33573 w 48101"/>
                <a:gd name="connsiteY4" fmla="*/ 26800 h 27777"/>
                <a:gd name="connsiteX5" fmla="*/ 43860 w 48101"/>
                <a:gd name="connsiteY5" fmla="*/ 20799 h 27777"/>
                <a:gd name="connsiteX6" fmla="*/ 46241 w 48101"/>
                <a:gd name="connsiteY6" fmla="*/ 19466 h 27777"/>
                <a:gd name="connsiteX7" fmla="*/ 47765 w 48101"/>
                <a:gd name="connsiteY7" fmla="*/ 17847 h 27777"/>
                <a:gd name="connsiteX8" fmla="*/ 47765 w 48101"/>
                <a:gd name="connsiteY8" fmla="*/ 16704 h 27777"/>
                <a:gd name="connsiteX9" fmla="*/ 46241 w 48101"/>
                <a:gd name="connsiteY9" fmla="*/ 14989 h 27777"/>
                <a:gd name="connsiteX10" fmla="*/ 21476 w 48101"/>
                <a:gd name="connsiteY10" fmla="*/ 702 h 27777"/>
                <a:gd name="connsiteX11" fmla="*/ 13856 w 48101"/>
                <a:gd name="connsiteY11" fmla="*/ 702 h 27777"/>
                <a:gd name="connsiteX12" fmla="*/ 1188 w 48101"/>
                <a:gd name="connsiteY12" fmla="*/ 8036 h 27777"/>
                <a:gd name="connsiteX13" fmla="*/ -336 w 48101"/>
                <a:gd name="connsiteY13" fmla="*/ 9941 h 27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8101" h="27777">
                  <a:moveTo>
                    <a:pt x="-336" y="9941"/>
                  </a:moveTo>
                  <a:cubicBezTo>
                    <a:pt x="-269" y="10922"/>
                    <a:pt x="311" y="11789"/>
                    <a:pt x="1188" y="12227"/>
                  </a:cubicBezTo>
                  <a:lnTo>
                    <a:pt x="3569" y="13560"/>
                  </a:lnTo>
                  <a:lnTo>
                    <a:pt x="25857" y="26800"/>
                  </a:lnTo>
                  <a:cubicBezTo>
                    <a:pt x="28315" y="27886"/>
                    <a:pt x="31115" y="27886"/>
                    <a:pt x="33573" y="26800"/>
                  </a:cubicBezTo>
                  <a:lnTo>
                    <a:pt x="43860" y="20799"/>
                  </a:lnTo>
                  <a:lnTo>
                    <a:pt x="46241" y="19466"/>
                  </a:lnTo>
                  <a:cubicBezTo>
                    <a:pt x="46955" y="19161"/>
                    <a:pt x="47508" y="18580"/>
                    <a:pt x="47765" y="17847"/>
                  </a:cubicBezTo>
                  <a:lnTo>
                    <a:pt x="47765" y="16704"/>
                  </a:lnTo>
                  <a:cubicBezTo>
                    <a:pt x="47479" y="15961"/>
                    <a:pt x="46946" y="15351"/>
                    <a:pt x="46241" y="14989"/>
                  </a:cubicBezTo>
                  <a:lnTo>
                    <a:pt x="21476" y="702"/>
                  </a:lnTo>
                  <a:cubicBezTo>
                    <a:pt x="19066" y="-451"/>
                    <a:pt x="16266" y="-451"/>
                    <a:pt x="13856" y="702"/>
                  </a:cubicBezTo>
                  <a:lnTo>
                    <a:pt x="1188" y="8036"/>
                  </a:lnTo>
                  <a:cubicBezTo>
                    <a:pt x="416" y="8398"/>
                    <a:pt x="-155" y="9103"/>
                    <a:pt x="-336" y="9941"/>
                  </a:cubicBezTo>
                  <a:close/>
                </a:path>
              </a:pathLst>
            </a:custGeom>
            <a:solidFill>
              <a:srgbClr val="FFFFFF"/>
            </a:solidFill>
            <a:ln w="9525" cap="flat">
              <a:noFill/>
              <a:prstDash val="solid"/>
              <a:miter/>
            </a:ln>
          </p:spPr>
          <p:txBody>
            <a:bodyPr rtlCol="0" anchor="ctr"/>
            <a:lstStyle/>
            <a:p>
              <a:endParaRPr lang="zh-CN" altLang="en-US"/>
            </a:p>
          </p:txBody>
        </p:sp>
        <p:sp>
          <p:nvSpPr>
            <p:cNvPr id="637" name="ïṩḷiḑè">
              <a:extLst>
                <a:ext uri="{FF2B5EF4-FFF2-40B4-BE49-F238E27FC236}">
                  <a16:creationId xmlns:a16="http://schemas.microsoft.com/office/drawing/2014/main" id="{144B36BB-DEDA-4168-A288-9E973391AED3}"/>
                </a:ext>
              </a:extLst>
            </p:cNvPr>
            <p:cNvSpPr/>
            <p:nvPr/>
          </p:nvSpPr>
          <p:spPr>
            <a:xfrm>
              <a:off x="6321325" y="5267113"/>
              <a:ext cx="142645" cy="82338"/>
            </a:xfrm>
            <a:custGeom>
              <a:avLst/>
              <a:gdLst>
                <a:gd name="connsiteX0" fmla="*/ 25429 w 46862"/>
                <a:gd name="connsiteY0" fmla="*/ 26031 h 27050"/>
                <a:gd name="connsiteX1" fmla="*/ 1235 w 46862"/>
                <a:gd name="connsiteY1" fmla="*/ 12029 h 27050"/>
                <a:gd name="connsiteX2" fmla="*/ 1235 w 46862"/>
                <a:gd name="connsiteY2" fmla="*/ 7743 h 27050"/>
                <a:gd name="connsiteX3" fmla="*/ 13332 w 46862"/>
                <a:gd name="connsiteY3" fmla="*/ 695 h 27050"/>
                <a:gd name="connsiteX4" fmla="*/ 20761 w 46862"/>
                <a:gd name="connsiteY4" fmla="*/ 695 h 27050"/>
                <a:gd name="connsiteX5" fmla="*/ 44955 w 46862"/>
                <a:gd name="connsiteY5" fmla="*/ 14696 h 27050"/>
                <a:gd name="connsiteX6" fmla="*/ 44955 w 46862"/>
                <a:gd name="connsiteY6" fmla="*/ 18983 h 27050"/>
                <a:gd name="connsiteX7" fmla="*/ 32858 w 46862"/>
                <a:gd name="connsiteY7" fmla="*/ 26031 h 27050"/>
                <a:gd name="connsiteX8" fmla="*/ 25429 w 46862"/>
                <a:gd name="connsiteY8" fmla="*/ 26031 h 27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862" h="27050">
                  <a:moveTo>
                    <a:pt x="25429" y="26031"/>
                  </a:moveTo>
                  <a:lnTo>
                    <a:pt x="1235" y="12029"/>
                  </a:lnTo>
                  <a:cubicBezTo>
                    <a:pt x="-860" y="10791"/>
                    <a:pt x="-860" y="8886"/>
                    <a:pt x="1235" y="7743"/>
                  </a:cubicBezTo>
                  <a:lnTo>
                    <a:pt x="13332" y="695"/>
                  </a:lnTo>
                  <a:cubicBezTo>
                    <a:pt x="15675" y="-448"/>
                    <a:pt x="18418" y="-448"/>
                    <a:pt x="20761" y="695"/>
                  </a:cubicBezTo>
                  <a:lnTo>
                    <a:pt x="44955" y="14696"/>
                  </a:lnTo>
                  <a:cubicBezTo>
                    <a:pt x="47051" y="15935"/>
                    <a:pt x="47051" y="17840"/>
                    <a:pt x="44955" y="18983"/>
                  </a:cubicBezTo>
                  <a:lnTo>
                    <a:pt x="32858" y="26031"/>
                  </a:lnTo>
                  <a:cubicBezTo>
                    <a:pt x="30515" y="27174"/>
                    <a:pt x="27772" y="27174"/>
                    <a:pt x="25429" y="26031"/>
                  </a:cubicBezTo>
                  <a:close/>
                </a:path>
              </a:pathLst>
            </a:custGeom>
            <a:solidFill>
              <a:srgbClr val="D1D9E8"/>
            </a:solidFill>
            <a:ln w="9525" cap="flat">
              <a:noFill/>
              <a:prstDash val="solid"/>
              <a:miter/>
            </a:ln>
          </p:spPr>
          <p:txBody>
            <a:bodyPr rtlCol="0" anchor="ctr"/>
            <a:lstStyle/>
            <a:p>
              <a:endParaRPr lang="zh-CN" altLang="en-US"/>
            </a:p>
          </p:txBody>
        </p:sp>
        <p:sp>
          <p:nvSpPr>
            <p:cNvPr id="638" name="ï$ľïḓe">
              <a:extLst>
                <a:ext uri="{FF2B5EF4-FFF2-40B4-BE49-F238E27FC236}">
                  <a16:creationId xmlns:a16="http://schemas.microsoft.com/office/drawing/2014/main" id="{43370BBD-4A7E-4ECB-8A96-8EE709E31B3B}"/>
                </a:ext>
              </a:extLst>
            </p:cNvPr>
            <p:cNvSpPr/>
            <p:nvPr/>
          </p:nvSpPr>
          <p:spPr>
            <a:xfrm>
              <a:off x="6319441" y="5297558"/>
              <a:ext cx="145256" cy="75599"/>
            </a:xfrm>
            <a:custGeom>
              <a:avLst/>
              <a:gdLst>
                <a:gd name="connsiteX0" fmla="*/ -336 w 47720"/>
                <a:gd name="connsiteY0" fmla="*/ -163 h 24836"/>
                <a:gd name="connsiteX1" fmla="*/ -336 w 47720"/>
                <a:gd name="connsiteY1" fmla="*/ 7172 h 24836"/>
                <a:gd name="connsiteX2" fmla="*/ 1188 w 47720"/>
                <a:gd name="connsiteY2" fmla="*/ 9457 h 24836"/>
                <a:gd name="connsiteX3" fmla="*/ 25857 w 47720"/>
                <a:gd name="connsiteY3" fmla="*/ 23745 h 24836"/>
                <a:gd name="connsiteX4" fmla="*/ 33573 w 47720"/>
                <a:gd name="connsiteY4" fmla="*/ 23745 h 24836"/>
                <a:gd name="connsiteX5" fmla="*/ 45860 w 47720"/>
                <a:gd name="connsiteY5" fmla="*/ 16697 h 24836"/>
                <a:gd name="connsiteX6" fmla="*/ 47384 w 47720"/>
                <a:gd name="connsiteY6" fmla="*/ 15077 h 24836"/>
                <a:gd name="connsiteX7" fmla="*/ 47384 w 47720"/>
                <a:gd name="connsiteY7" fmla="*/ 7172 h 24836"/>
                <a:gd name="connsiteX8" fmla="*/ 45860 w 47720"/>
                <a:gd name="connsiteY8" fmla="*/ 8791 h 24836"/>
                <a:gd name="connsiteX9" fmla="*/ 43479 w 47720"/>
                <a:gd name="connsiteY9" fmla="*/ 10124 h 24836"/>
                <a:gd name="connsiteX10" fmla="*/ 33192 w 47720"/>
                <a:gd name="connsiteY10" fmla="*/ 16125 h 24836"/>
                <a:gd name="connsiteX11" fmla="*/ 25476 w 47720"/>
                <a:gd name="connsiteY11" fmla="*/ 16125 h 24836"/>
                <a:gd name="connsiteX12" fmla="*/ 3188 w 47720"/>
                <a:gd name="connsiteY12" fmla="*/ 3171 h 24836"/>
                <a:gd name="connsiteX13" fmla="*/ 807 w 47720"/>
                <a:gd name="connsiteY13" fmla="*/ 1838 h 24836"/>
                <a:gd name="connsiteX14" fmla="*/ -336 w 47720"/>
                <a:gd name="connsiteY14" fmla="*/ -163 h 24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7720" h="24836">
                  <a:moveTo>
                    <a:pt x="-336" y="-163"/>
                  </a:moveTo>
                  <a:lnTo>
                    <a:pt x="-336" y="7172"/>
                  </a:lnTo>
                  <a:cubicBezTo>
                    <a:pt x="-308" y="8162"/>
                    <a:pt x="283" y="9057"/>
                    <a:pt x="1188" y="9457"/>
                  </a:cubicBezTo>
                  <a:lnTo>
                    <a:pt x="25857" y="23745"/>
                  </a:lnTo>
                  <a:cubicBezTo>
                    <a:pt x="28277" y="24983"/>
                    <a:pt x="31153" y="24983"/>
                    <a:pt x="33573" y="23745"/>
                  </a:cubicBezTo>
                  <a:lnTo>
                    <a:pt x="45860" y="16697"/>
                  </a:lnTo>
                  <a:cubicBezTo>
                    <a:pt x="46536" y="16344"/>
                    <a:pt x="47070" y="15773"/>
                    <a:pt x="47384" y="15077"/>
                  </a:cubicBezTo>
                  <a:lnTo>
                    <a:pt x="47384" y="7172"/>
                  </a:lnTo>
                  <a:cubicBezTo>
                    <a:pt x="47127" y="7905"/>
                    <a:pt x="46574" y="8486"/>
                    <a:pt x="45860" y="8791"/>
                  </a:cubicBezTo>
                  <a:lnTo>
                    <a:pt x="43479" y="10124"/>
                  </a:lnTo>
                  <a:lnTo>
                    <a:pt x="33192" y="16125"/>
                  </a:lnTo>
                  <a:cubicBezTo>
                    <a:pt x="30734" y="17211"/>
                    <a:pt x="27934" y="17211"/>
                    <a:pt x="25476" y="16125"/>
                  </a:cubicBezTo>
                  <a:lnTo>
                    <a:pt x="3188" y="3171"/>
                  </a:lnTo>
                  <a:lnTo>
                    <a:pt x="807" y="1838"/>
                  </a:lnTo>
                  <a:cubicBezTo>
                    <a:pt x="149" y="1371"/>
                    <a:pt x="-260" y="637"/>
                    <a:pt x="-336" y="-163"/>
                  </a:cubicBezTo>
                  <a:close/>
                </a:path>
              </a:pathLst>
            </a:custGeom>
            <a:solidFill>
              <a:srgbClr val="BF4200"/>
            </a:solidFill>
            <a:ln w="9525" cap="flat">
              <a:noFill/>
              <a:prstDash val="solid"/>
              <a:miter/>
            </a:ln>
          </p:spPr>
          <p:txBody>
            <a:bodyPr rtlCol="0" anchor="ctr"/>
            <a:lstStyle/>
            <a:p>
              <a:endParaRPr lang="zh-CN" altLang="en-US"/>
            </a:p>
          </p:txBody>
        </p:sp>
        <p:sp>
          <p:nvSpPr>
            <p:cNvPr id="639" name="ïśḷïḓé">
              <a:extLst>
                <a:ext uri="{FF2B5EF4-FFF2-40B4-BE49-F238E27FC236}">
                  <a16:creationId xmlns:a16="http://schemas.microsoft.com/office/drawing/2014/main" id="{DD71FC37-7805-41ED-9226-57575B6EDB5F}"/>
                </a:ext>
              </a:extLst>
            </p:cNvPr>
            <p:cNvSpPr/>
            <p:nvPr/>
          </p:nvSpPr>
          <p:spPr>
            <a:xfrm>
              <a:off x="5155355" y="4683839"/>
              <a:ext cx="140036" cy="81035"/>
            </a:xfrm>
            <a:custGeom>
              <a:avLst/>
              <a:gdLst>
                <a:gd name="connsiteX0" fmla="*/ -336 w 46005"/>
                <a:gd name="connsiteY0" fmla="*/ 10196 h 26622"/>
                <a:gd name="connsiteX1" fmla="*/ 1188 w 46005"/>
                <a:gd name="connsiteY1" fmla="*/ 12482 h 26622"/>
                <a:gd name="connsiteX2" fmla="*/ 3569 w 46005"/>
                <a:gd name="connsiteY2" fmla="*/ 13815 h 26622"/>
                <a:gd name="connsiteX3" fmla="*/ 23762 w 46005"/>
                <a:gd name="connsiteY3" fmla="*/ 25531 h 26622"/>
                <a:gd name="connsiteX4" fmla="*/ 31477 w 46005"/>
                <a:gd name="connsiteY4" fmla="*/ 25531 h 26622"/>
                <a:gd name="connsiteX5" fmla="*/ 41669 w 46005"/>
                <a:gd name="connsiteY5" fmla="*/ 19530 h 26622"/>
                <a:gd name="connsiteX6" fmla="*/ 44146 w 46005"/>
                <a:gd name="connsiteY6" fmla="*/ 18197 h 26622"/>
                <a:gd name="connsiteX7" fmla="*/ 45669 w 46005"/>
                <a:gd name="connsiteY7" fmla="*/ 16578 h 26622"/>
                <a:gd name="connsiteX8" fmla="*/ 45669 w 46005"/>
                <a:gd name="connsiteY8" fmla="*/ 15435 h 26622"/>
                <a:gd name="connsiteX9" fmla="*/ 44146 w 46005"/>
                <a:gd name="connsiteY9" fmla="*/ 13720 h 26622"/>
                <a:gd name="connsiteX10" fmla="*/ 21476 w 46005"/>
                <a:gd name="connsiteY10" fmla="*/ 766 h 26622"/>
                <a:gd name="connsiteX11" fmla="*/ 13856 w 46005"/>
                <a:gd name="connsiteY11" fmla="*/ 766 h 26622"/>
                <a:gd name="connsiteX12" fmla="*/ 1188 w 46005"/>
                <a:gd name="connsiteY12" fmla="*/ 8005 h 26622"/>
                <a:gd name="connsiteX13" fmla="*/ -336 w 46005"/>
                <a:gd name="connsiteY13" fmla="*/ 10196 h 26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005" h="26622">
                  <a:moveTo>
                    <a:pt x="-336" y="10196"/>
                  </a:moveTo>
                  <a:cubicBezTo>
                    <a:pt x="-308" y="11186"/>
                    <a:pt x="283" y="12082"/>
                    <a:pt x="1188" y="12482"/>
                  </a:cubicBezTo>
                  <a:lnTo>
                    <a:pt x="3569" y="13815"/>
                  </a:lnTo>
                  <a:lnTo>
                    <a:pt x="23762" y="25531"/>
                  </a:lnTo>
                  <a:cubicBezTo>
                    <a:pt x="26181" y="26769"/>
                    <a:pt x="29058" y="26769"/>
                    <a:pt x="31477" y="25531"/>
                  </a:cubicBezTo>
                  <a:lnTo>
                    <a:pt x="41669" y="19530"/>
                  </a:lnTo>
                  <a:lnTo>
                    <a:pt x="44146" y="18197"/>
                  </a:lnTo>
                  <a:cubicBezTo>
                    <a:pt x="44860" y="17892"/>
                    <a:pt x="45412" y="17311"/>
                    <a:pt x="45669" y="16578"/>
                  </a:cubicBezTo>
                  <a:lnTo>
                    <a:pt x="45669" y="15435"/>
                  </a:lnTo>
                  <a:cubicBezTo>
                    <a:pt x="45365" y="14711"/>
                    <a:pt x="44822" y="14111"/>
                    <a:pt x="44146" y="13720"/>
                  </a:cubicBezTo>
                  <a:lnTo>
                    <a:pt x="21476" y="766"/>
                  </a:lnTo>
                  <a:cubicBezTo>
                    <a:pt x="19085" y="-472"/>
                    <a:pt x="16247" y="-472"/>
                    <a:pt x="13856" y="766"/>
                  </a:cubicBezTo>
                  <a:lnTo>
                    <a:pt x="1188" y="8005"/>
                  </a:lnTo>
                  <a:cubicBezTo>
                    <a:pt x="340" y="8424"/>
                    <a:pt x="-241" y="925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640" name="iṣḷîḋe">
              <a:extLst>
                <a:ext uri="{FF2B5EF4-FFF2-40B4-BE49-F238E27FC236}">
                  <a16:creationId xmlns:a16="http://schemas.microsoft.com/office/drawing/2014/main" id="{0A985908-C8E8-453F-BA69-52026F72DDEA}"/>
                </a:ext>
              </a:extLst>
            </p:cNvPr>
            <p:cNvSpPr/>
            <p:nvPr/>
          </p:nvSpPr>
          <p:spPr>
            <a:xfrm>
              <a:off x="5158067" y="4684926"/>
              <a:ext cx="136018" cy="78570"/>
            </a:xfrm>
            <a:custGeom>
              <a:avLst/>
              <a:gdLst>
                <a:gd name="connsiteX0" fmla="*/ 23252 w 44685"/>
                <a:gd name="connsiteY0" fmla="*/ 24793 h 25812"/>
                <a:gd name="connsiteX1" fmla="*/ 1154 w 44685"/>
                <a:gd name="connsiteY1" fmla="*/ 12029 h 25812"/>
                <a:gd name="connsiteX2" fmla="*/ -189 w 44685"/>
                <a:gd name="connsiteY2" fmla="*/ 9096 h 25812"/>
                <a:gd name="connsiteX3" fmla="*/ 1154 w 44685"/>
                <a:gd name="connsiteY3" fmla="*/ 7743 h 25812"/>
                <a:gd name="connsiteX4" fmla="*/ 13250 w 44685"/>
                <a:gd name="connsiteY4" fmla="*/ 695 h 25812"/>
                <a:gd name="connsiteX5" fmla="*/ 20680 w 44685"/>
                <a:gd name="connsiteY5" fmla="*/ 695 h 25812"/>
                <a:gd name="connsiteX6" fmla="*/ 42778 w 44685"/>
                <a:gd name="connsiteY6" fmla="*/ 13458 h 25812"/>
                <a:gd name="connsiteX7" fmla="*/ 42778 w 44685"/>
                <a:gd name="connsiteY7" fmla="*/ 17744 h 25812"/>
                <a:gd name="connsiteX8" fmla="*/ 30681 w 44685"/>
                <a:gd name="connsiteY8" fmla="*/ 24793 h 25812"/>
                <a:gd name="connsiteX9" fmla="*/ 23252 w 44685"/>
                <a:gd name="connsiteY9" fmla="*/ 24793 h 25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4685" h="25812">
                  <a:moveTo>
                    <a:pt x="23252" y="24793"/>
                  </a:moveTo>
                  <a:lnTo>
                    <a:pt x="1154" y="12029"/>
                  </a:lnTo>
                  <a:cubicBezTo>
                    <a:pt x="-27" y="11591"/>
                    <a:pt x="-637" y="10277"/>
                    <a:pt x="-189" y="9096"/>
                  </a:cubicBezTo>
                  <a:cubicBezTo>
                    <a:pt x="39" y="8467"/>
                    <a:pt x="535" y="7972"/>
                    <a:pt x="1154" y="7743"/>
                  </a:cubicBezTo>
                  <a:lnTo>
                    <a:pt x="13250" y="695"/>
                  </a:lnTo>
                  <a:cubicBezTo>
                    <a:pt x="15594" y="-448"/>
                    <a:pt x="18337" y="-448"/>
                    <a:pt x="20680" y="695"/>
                  </a:cubicBezTo>
                  <a:lnTo>
                    <a:pt x="42778" y="13458"/>
                  </a:lnTo>
                  <a:cubicBezTo>
                    <a:pt x="44873" y="14696"/>
                    <a:pt x="44873" y="16601"/>
                    <a:pt x="42778" y="17744"/>
                  </a:cubicBezTo>
                  <a:lnTo>
                    <a:pt x="30681" y="24793"/>
                  </a:lnTo>
                  <a:cubicBezTo>
                    <a:pt x="28338" y="25936"/>
                    <a:pt x="25595" y="25936"/>
                    <a:pt x="23252" y="24793"/>
                  </a:cubicBezTo>
                  <a:close/>
                </a:path>
              </a:pathLst>
            </a:custGeom>
            <a:solidFill>
              <a:srgbClr val="D1D9E8"/>
            </a:solidFill>
            <a:ln w="9525" cap="flat">
              <a:noFill/>
              <a:prstDash val="solid"/>
              <a:miter/>
            </a:ln>
          </p:spPr>
          <p:txBody>
            <a:bodyPr rtlCol="0" anchor="ctr"/>
            <a:lstStyle/>
            <a:p>
              <a:endParaRPr lang="zh-CN" altLang="en-US"/>
            </a:p>
          </p:txBody>
        </p:sp>
        <p:sp>
          <p:nvSpPr>
            <p:cNvPr id="641" name="ïSḷíďê">
              <a:extLst>
                <a:ext uri="{FF2B5EF4-FFF2-40B4-BE49-F238E27FC236}">
                  <a16:creationId xmlns:a16="http://schemas.microsoft.com/office/drawing/2014/main" id="{6E5D467F-B04A-4FF8-AF4F-83AD1A4304B3}"/>
                </a:ext>
              </a:extLst>
            </p:cNvPr>
            <p:cNvSpPr/>
            <p:nvPr/>
          </p:nvSpPr>
          <p:spPr>
            <a:xfrm>
              <a:off x="5155355" y="4715368"/>
              <a:ext cx="140036" cy="71249"/>
            </a:xfrm>
            <a:custGeom>
              <a:avLst/>
              <a:gdLst>
                <a:gd name="connsiteX0" fmla="*/ -336 w 46005"/>
                <a:gd name="connsiteY0" fmla="*/ -163 h 23407"/>
                <a:gd name="connsiteX1" fmla="*/ -336 w 46005"/>
                <a:gd name="connsiteY1" fmla="*/ 7076 h 23407"/>
                <a:gd name="connsiteX2" fmla="*/ 1188 w 46005"/>
                <a:gd name="connsiteY2" fmla="*/ 9267 h 23407"/>
                <a:gd name="connsiteX3" fmla="*/ 23762 w 46005"/>
                <a:gd name="connsiteY3" fmla="*/ 22317 h 23407"/>
                <a:gd name="connsiteX4" fmla="*/ 31477 w 46005"/>
                <a:gd name="connsiteY4" fmla="*/ 22317 h 23407"/>
                <a:gd name="connsiteX5" fmla="*/ 44146 w 46005"/>
                <a:gd name="connsiteY5" fmla="*/ 14982 h 23407"/>
                <a:gd name="connsiteX6" fmla="*/ 45669 w 46005"/>
                <a:gd name="connsiteY6" fmla="*/ 13363 h 23407"/>
                <a:gd name="connsiteX7" fmla="*/ 45669 w 46005"/>
                <a:gd name="connsiteY7" fmla="*/ 6219 h 23407"/>
                <a:gd name="connsiteX8" fmla="*/ 44146 w 46005"/>
                <a:gd name="connsiteY8" fmla="*/ 7838 h 23407"/>
                <a:gd name="connsiteX9" fmla="*/ 41669 w 46005"/>
                <a:gd name="connsiteY9" fmla="*/ 9172 h 23407"/>
                <a:gd name="connsiteX10" fmla="*/ 31477 w 46005"/>
                <a:gd name="connsiteY10" fmla="*/ 15173 h 23407"/>
                <a:gd name="connsiteX11" fmla="*/ 23762 w 46005"/>
                <a:gd name="connsiteY11" fmla="*/ 15173 h 23407"/>
                <a:gd name="connsiteX12" fmla="*/ 3569 w 46005"/>
                <a:gd name="connsiteY12" fmla="*/ 3457 h 23407"/>
                <a:gd name="connsiteX13" fmla="*/ 1188 w 46005"/>
                <a:gd name="connsiteY13" fmla="*/ 2124 h 23407"/>
                <a:gd name="connsiteX14" fmla="*/ -336 w 46005"/>
                <a:gd name="connsiteY14" fmla="*/ -163 h 234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6005" h="23407">
                  <a:moveTo>
                    <a:pt x="-336" y="-163"/>
                  </a:moveTo>
                  <a:lnTo>
                    <a:pt x="-336" y="7076"/>
                  </a:lnTo>
                  <a:cubicBezTo>
                    <a:pt x="-279" y="8029"/>
                    <a:pt x="311" y="8877"/>
                    <a:pt x="1188" y="9267"/>
                  </a:cubicBezTo>
                  <a:lnTo>
                    <a:pt x="23762" y="22317"/>
                  </a:lnTo>
                  <a:cubicBezTo>
                    <a:pt x="26181" y="23555"/>
                    <a:pt x="29058" y="23555"/>
                    <a:pt x="31477" y="22317"/>
                  </a:cubicBezTo>
                  <a:lnTo>
                    <a:pt x="44146" y="14982"/>
                  </a:lnTo>
                  <a:cubicBezTo>
                    <a:pt x="44822" y="14630"/>
                    <a:pt x="45355" y="14058"/>
                    <a:pt x="45669" y="13363"/>
                  </a:cubicBezTo>
                  <a:lnTo>
                    <a:pt x="45669" y="6219"/>
                  </a:lnTo>
                  <a:cubicBezTo>
                    <a:pt x="45412" y="6953"/>
                    <a:pt x="44860" y="7534"/>
                    <a:pt x="44146" y="7838"/>
                  </a:cubicBezTo>
                  <a:lnTo>
                    <a:pt x="41669" y="9172"/>
                  </a:lnTo>
                  <a:lnTo>
                    <a:pt x="31477" y="15173"/>
                  </a:lnTo>
                  <a:cubicBezTo>
                    <a:pt x="29058" y="16411"/>
                    <a:pt x="26181" y="16411"/>
                    <a:pt x="23762" y="15173"/>
                  </a:cubicBezTo>
                  <a:lnTo>
                    <a:pt x="3569" y="3457"/>
                  </a:lnTo>
                  <a:lnTo>
                    <a:pt x="1188" y="2124"/>
                  </a:lnTo>
                  <a:cubicBezTo>
                    <a:pt x="283" y="1723"/>
                    <a:pt x="-308"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42" name="íšḻiḍè">
              <a:extLst>
                <a:ext uri="{FF2B5EF4-FFF2-40B4-BE49-F238E27FC236}">
                  <a16:creationId xmlns:a16="http://schemas.microsoft.com/office/drawing/2014/main" id="{5112F7A3-11EE-4E83-B891-3E71A0CE2ADE}"/>
                </a:ext>
              </a:extLst>
            </p:cNvPr>
            <p:cNvSpPr/>
            <p:nvPr/>
          </p:nvSpPr>
          <p:spPr>
            <a:xfrm>
              <a:off x="5264952" y="4746465"/>
              <a:ext cx="109594" cy="63639"/>
            </a:xfrm>
            <a:custGeom>
              <a:avLst/>
              <a:gdLst>
                <a:gd name="connsiteX0" fmla="*/ -336 w 36004"/>
                <a:gd name="connsiteY0" fmla="*/ 10291 h 20907"/>
                <a:gd name="connsiteX1" fmla="*/ 1188 w 36004"/>
                <a:gd name="connsiteY1" fmla="*/ 12577 h 20907"/>
                <a:gd name="connsiteX2" fmla="*/ 3569 w 36004"/>
                <a:gd name="connsiteY2" fmla="*/ 13911 h 20907"/>
                <a:gd name="connsiteX3" fmla="*/ 13856 w 36004"/>
                <a:gd name="connsiteY3" fmla="*/ 19816 h 20907"/>
                <a:gd name="connsiteX4" fmla="*/ 21476 w 36004"/>
                <a:gd name="connsiteY4" fmla="*/ 19816 h 20907"/>
                <a:gd name="connsiteX5" fmla="*/ 31763 w 36004"/>
                <a:gd name="connsiteY5" fmla="*/ 13911 h 20907"/>
                <a:gd name="connsiteX6" fmla="*/ 34144 w 36004"/>
                <a:gd name="connsiteY6" fmla="*/ 12577 h 20907"/>
                <a:gd name="connsiteX7" fmla="*/ 35668 w 36004"/>
                <a:gd name="connsiteY7" fmla="*/ 10291 h 20907"/>
                <a:gd name="connsiteX8" fmla="*/ 34144 w 36004"/>
                <a:gd name="connsiteY8" fmla="*/ 8100 h 20907"/>
                <a:gd name="connsiteX9" fmla="*/ 21476 w 36004"/>
                <a:gd name="connsiteY9" fmla="*/ 766 h 20907"/>
                <a:gd name="connsiteX10" fmla="*/ 13856 w 36004"/>
                <a:gd name="connsiteY10" fmla="*/ 766 h 20907"/>
                <a:gd name="connsiteX11" fmla="*/ 1188 w 36004"/>
                <a:gd name="connsiteY11" fmla="*/ 8100 h 20907"/>
                <a:gd name="connsiteX12" fmla="*/ -336 w 36004"/>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907">
                  <a:moveTo>
                    <a:pt x="-336" y="10291"/>
                  </a:moveTo>
                  <a:cubicBezTo>
                    <a:pt x="-270" y="11272"/>
                    <a:pt x="311" y="12139"/>
                    <a:pt x="1188" y="12577"/>
                  </a:cubicBezTo>
                  <a:lnTo>
                    <a:pt x="3569" y="13911"/>
                  </a:lnTo>
                  <a:lnTo>
                    <a:pt x="13856" y="19816"/>
                  </a:lnTo>
                  <a:cubicBezTo>
                    <a:pt x="16247" y="21054"/>
                    <a:pt x="19085" y="21054"/>
                    <a:pt x="21476" y="19816"/>
                  </a:cubicBezTo>
                  <a:lnTo>
                    <a:pt x="31763" y="13911"/>
                  </a:lnTo>
                  <a:lnTo>
                    <a:pt x="34144" y="12577"/>
                  </a:lnTo>
                  <a:cubicBezTo>
                    <a:pt x="35021" y="12139"/>
                    <a:pt x="35602" y="11272"/>
                    <a:pt x="35668" y="10291"/>
                  </a:cubicBezTo>
                  <a:cubicBezTo>
                    <a:pt x="35611" y="9339"/>
                    <a:pt x="35021" y="8491"/>
                    <a:pt x="34144" y="8100"/>
                  </a:cubicBezTo>
                  <a:lnTo>
                    <a:pt x="21476" y="766"/>
                  </a:lnTo>
                  <a:cubicBezTo>
                    <a:pt x="19085" y="-472"/>
                    <a:pt x="16247" y="-472"/>
                    <a:pt x="13856" y="766"/>
                  </a:cubicBezTo>
                  <a:lnTo>
                    <a:pt x="1188" y="8100"/>
                  </a:lnTo>
                  <a:cubicBezTo>
                    <a:pt x="311" y="8491"/>
                    <a:pt x="-279"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643" name="işḻiḓè">
              <a:extLst>
                <a:ext uri="{FF2B5EF4-FFF2-40B4-BE49-F238E27FC236}">
                  <a16:creationId xmlns:a16="http://schemas.microsoft.com/office/drawing/2014/main" id="{C9DD8A0B-C777-471D-BD71-92398E24CDC1}"/>
                </a:ext>
              </a:extLst>
            </p:cNvPr>
            <p:cNvSpPr/>
            <p:nvPr/>
          </p:nvSpPr>
          <p:spPr>
            <a:xfrm>
              <a:off x="5266763" y="4747624"/>
              <a:ext cx="105895" cy="61101"/>
            </a:xfrm>
            <a:custGeom>
              <a:avLst/>
              <a:gdLst>
                <a:gd name="connsiteX0" fmla="*/ 1164 w 34789"/>
                <a:gd name="connsiteY0" fmla="*/ 12006 h 20073"/>
                <a:gd name="connsiteX1" fmla="*/ 13356 w 34789"/>
                <a:gd name="connsiteY1" fmla="*/ 19054 h 20073"/>
                <a:gd name="connsiteX2" fmla="*/ 20785 w 34789"/>
                <a:gd name="connsiteY2" fmla="*/ 19054 h 20073"/>
                <a:gd name="connsiteX3" fmla="*/ 32882 w 34789"/>
                <a:gd name="connsiteY3" fmla="*/ 12006 h 20073"/>
                <a:gd name="connsiteX4" fmla="*/ 32882 w 34789"/>
                <a:gd name="connsiteY4" fmla="*/ 7719 h 20073"/>
                <a:gd name="connsiteX5" fmla="*/ 20785 w 34789"/>
                <a:gd name="connsiteY5" fmla="*/ 766 h 20073"/>
                <a:gd name="connsiteX6" fmla="*/ 13356 w 34789"/>
                <a:gd name="connsiteY6" fmla="*/ 766 h 20073"/>
                <a:gd name="connsiteX7" fmla="*/ 1164 w 34789"/>
                <a:gd name="connsiteY7" fmla="*/ 7719 h 20073"/>
                <a:gd name="connsiteX8" fmla="*/ 1164 w 34789"/>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89" h="20073">
                  <a:moveTo>
                    <a:pt x="1164" y="12006"/>
                  </a:moveTo>
                  <a:lnTo>
                    <a:pt x="13356" y="19054"/>
                  </a:lnTo>
                  <a:cubicBezTo>
                    <a:pt x="15699" y="20197"/>
                    <a:pt x="18442" y="20197"/>
                    <a:pt x="20785" y="19054"/>
                  </a:cubicBezTo>
                  <a:lnTo>
                    <a:pt x="32882" y="12006"/>
                  </a:lnTo>
                  <a:cubicBezTo>
                    <a:pt x="34977" y="10863"/>
                    <a:pt x="34977" y="8958"/>
                    <a:pt x="32882" y="7719"/>
                  </a:cubicBezTo>
                  <a:lnTo>
                    <a:pt x="20785" y="766"/>
                  </a:lnTo>
                  <a:cubicBezTo>
                    <a:pt x="18461" y="-472"/>
                    <a:pt x="15680" y="-472"/>
                    <a:pt x="13356" y="766"/>
                  </a:cubicBezTo>
                  <a:lnTo>
                    <a:pt x="1164" y="7719"/>
                  </a:lnTo>
                  <a:cubicBezTo>
                    <a:pt x="-836" y="8958"/>
                    <a:pt x="-836" y="10863"/>
                    <a:pt x="1164" y="12006"/>
                  </a:cubicBezTo>
                  <a:close/>
                </a:path>
              </a:pathLst>
            </a:custGeom>
            <a:solidFill>
              <a:srgbClr val="D1D9E8"/>
            </a:solidFill>
            <a:ln w="9525" cap="flat">
              <a:noFill/>
              <a:prstDash val="solid"/>
              <a:miter/>
            </a:ln>
          </p:spPr>
          <p:txBody>
            <a:bodyPr rtlCol="0" anchor="ctr"/>
            <a:lstStyle/>
            <a:p>
              <a:endParaRPr lang="zh-CN" altLang="en-US"/>
            </a:p>
          </p:txBody>
        </p:sp>
        <p:sp>
          <p:nvSpPr>
            <p:cNvPr id="644" name="ïS1îḋê">
              <a:extLst>
                <a:ext uri="{FF2B5EF4-FFF2-40B4-BE49-F238E27FC236}">
                  <a16:creationId xmlns:a16="http://schemas.microsoft.com/office/drawing/2014/main" id="{92E2943E-2894-49B0-8E20-F4DF33812B67}"/>
                </a:ext>
              </a:extLst>
            </p:cNvPr>
            <p:cNvSpPr/>
            <p:nvPr/>
          </p:nvSpPr>
          <p:spPr>
            <a:xfrm>
              <a:off x="5264952" y="4778286"/>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3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3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2" y="7953"/>
                    <a:pt x="35668" y="6981"/>
                  </a:cubicBezTo>
                  <a:lnTo>
                    <a:pt x="35668" y="-163"/>
                  </a:lnTo>
                  <a:cubicBezTo>
                    <a:pt x="35602" y="818"/>
                    <a:pt x="35021" y="1685"/>
                    <a:pt x="34144" y="2123"/>
                  </a:cubicBezTo>
                  <a:lnTo>
                    <a:pt x="31763" y="3457"/>
                  </a:lnTo>
                  <a:lnTo>
                    <a:pt x="21476" y="9362"/>
                  </a:lnTo>
                  <a:cubicBezTo>
                    <a:pt x="19085" y="10601"/>
                    <a:pt x="16247" y="10601"/>
                    <a:pt x="13856" y="9362"/>
                  </a:cubicBezTo>
                  <a:lnTo>
                    <a:pt x="3569" y="3457"/>
                  </a:lnTo>
                  <a:lnTo>
                    <a:pt x="1188"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45" name="íS1ïḋê">
              <a:extLst>
                <a:ext uri="{FF2B5EF4-FFF2-40B4-BE49-F238E27FC236}">
                  <a16:creationId xmlns:a16="http://schemas.microsoft.com/office/drawing/2014/main" id="{95B4C2E7-5FBF-43A1-8DED-B325DC39224F}"/>
                </a:ext>
              </a:extLst>
            </p:cNvPr>
            <p:cNvSpPr/>
            <p:nvPr/>
          </p:nvSpPr>
          <p:spPr>
            <a:xfrm>
              <a:off x="5342073" y="4791116"/>
              <a:ext cx="109883" cy="63588"/>
            </a:xfrm>
            <a:custGeom>
              <a:avLst/>
              <a:gdLst>
                <a:gd name="connsiteX0" fmla="*/ -336 w 36099"/>
                <a:gd name="connsiteY0" fmla="*/ 10291 h 20890"/>
                <a:gd name="connsiteX1" fmla="*/ 1283 w 36099"/>
                <a:gd name="connsiteY1" fmla="*/ 12577 h 20890"/>
                <a:gd name="connsiteX2" fmla="*/ 3569 w 36099"/>
                <a:gd name="connsiteY2" fmla="*/ 13910 h 20890"/>
                <a:gd name="connsiteX3" fmla="*/ 13856 w 36099"/>
                <a:gd name="connsiteY3" fmla="*/ 19721 h 20890"/>
                <a:gd name="connsiteX4" fmla="*/ 21571 w 36099"/>
                <a:gd name="connsiteY4" fmla="*/ 19721 h 20890"/>
                <a:gd name="connsiteX5" fmla="*/ 31858 w 36099"/>
                <a:gd name="connsiteY5" fmla="*/ 13910 h 20890"/>
                <a:gd name="connsiteX6" fmla="*/ 34144 w 36099"/>
                <a:gd name="connsiteY6" fmla="*/ 12577 h 20890"/>
                <a:gd name="connsiteX7" fmla="*/ 35764 w 36099"/>
                <a:gd name="connsiteY7" fmla="*/ 10291 h 20890"/>
                <a:gd name="connsiteX8" fmla="*/ 34144 w 36099"/>
                <a:gd name="connsiteY8" fmla="*/ 8100 h 20890"/>
                <a:gd name="connsiteX9" fmla="*/ 21571 w 36099"/>
                <a:gd name="connsiteY9" fmla="*/ 766 h 20890"/>
                <a:gd name="connsiteX10" fmla="*/ 13856 w 36099"/>
                <a:gd name="connsiteY10" fmla="*/ 766 h 20890"/>
                <a:gd name="connsiteX11" fmla="*/ 1283 w 36099"/>
                <a:gd name="connsiteY11" fmla="*/ 8100 h 20890"/>
                <a:gd name="connsiteX12" fmla="*/ -336 w 36099"/>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99" h="20890">
                  <a:moveTo>
                    <a:pt x="-336" y="10291"/>
                  </a:moveTo>
                  <a:cubicBezTo>
                    <a:pt x="-270" y="11301"/>
                    <a:pt x="359" y="12186"/>
                    <a:pt x="1283" y="12577"/>
                  </a:cubicBezTo>
                  <a:lnTo>
                    <a:pt x="3569" y="13910"/>
                  </a:lnTo>
                  <a:lnTo>
                    <a:pt x="13856" y="19721"/>
                  </a:lnTo>
                  <a:cubicBezTo>
                    <a:pt x="16256" y="21064"/>
                    <a:pt x="19171" y="21064"/>
                    <a:pt x="21571" y="19721"/>
                  </a:cubicBezTo>
                  <a:lnTo>
                    <a:pt x="31858" y="13910"/>
                  </a:lnTo>
                  <a:lnTo>
                    <a:pt x="34144" y="12577"/>
                  </a:lnTo>
                  <a:cubicBezTo>
                    <a:pt x="35049" y="12148"/>
                    <a:pt x="35659" y="11282"/>
                    <a:pt x="35764" y="10291"/>
                  </a:cubicBezTo>
                  <a:cubicBezTo>
                    <a:pt x="35687" y="9310"/>
                    <a:pt x="35059" y="8462"/>
                    <a:pt x="34144" y="8100"/>
                  </a:cubicBezTo>
                  <a:lnTo>
                    <a:pt x="21571" y="766"/>
                  </a:lnTo>
                  <a:cubicBezTo>
                    <a:pt x="19152" y="-472"/>
                    <a:pt x="16275" y="-472"/>
                    <a:pt x="13856" y="766"/>
                  </a:cubicBezTo>
                  <a:lnTo>
                    <a:pt x="1283" y="8100"/>
                  </a:lnTo>
                  <a:cubicBezTo>
                    <a:pt x="349" y="8443"/>
                    <a:pt x="-279" y="9301"/>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646" name="íślîḋé">
              <a:extLst>
                <a:ext uri="{FF2B5EF4-FFF2-40B4-BE49-F238E27FC236}">
                  <a16:creationId xmlns:a16="http://schemas.microsoft.com/office/drawing/2014/main" id="{86554CDE-F7D6-477C-943D-AC85A5DC4CE5}"/>
                </a:ext>
              </a:extLst>
            </p:cNvPr>
            <p:cNvSpPr/>
            <p:nvPr/>
          </p:nvSpPr>
          <p:spPr>
            <a:xfrm>
              <a:off x="5343957" y="4792273"/>
              <a:ext cx="105895" cy="61104"/>
            </a:xfrm>
            <a:custGeom>
              <a:avLst/>
              <a:gdLst>
                <a:gd name="connsiteX0" fmla="*/ 1235 w 34789"/>
                <a:gd name="connsiteY0" fmla="*/ 12006 h 20074"/>
                <a:gd name="connsiteX1" fmla="*/ 13332 w 34789"/>
                <a:gd name="connsiteY1" fmla="*/ 19054 h 20074"/>
                <a:gd name="connsiteX2" fmla="*/ 20761 w 34789"/>
                <a:gd name="connsiteY2" fmla="*/ 19054 h 20074"/>
                <a:gd name="connsiteX3" fmla="*/ 32953 w 34789"/>
                <a:gd name="connsiteY3" fmla="*/ 12006 h 20074"/>
                <a:gd name="connsiteX4" fmla="*/ 32953 w 34789"/>
                <a:gd name="connsiteY4" fmla="*/ 7719 h 20074"/>
                <a:gd name="connsiteX5" fmla="*/ 20761 w 34789"/>
                <a:gd name="connsiteY5" fmla="*/ 766 h 20074"/>
                <a:gd name="connsiteX6" fmla="*/ 13332 w 34789"/>
                <a:gd name="connsiteY6" fmla="*/ 766 h 20074"/>
                <a:gd name="connsiteX7" fmla="*/ 1235 w 34789"/>
                <a:gd name="connsiteY7" fmla="*/ 7719 h 20074"/>
                <a:gd name="connsiteX8" fmla="*/ 1235 w 34789"/>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89" h="20074">
                  <a:moveTo>
                    <a:pt x="1235" y="12006"/>
                  </a:moveTo>
                  <a:lnTo>
                    <a:pt x="13332" y="19054"/>
                  </a:lnTo>
                  <a:cubicBezTo>
                    <a:pt x="15675" y="20197"/>
                    <a:pt x="18418" y="20197"/>
                    <a:pt x="20761" y="19054"/>
                  </a:cubicBezTo>
                  <a:lnTo>
                    <a:pt x="32953" y="12006"/>
                  </a:lnTo>
                  <a:cubicBezTo>
                    <a:pt x="34954" y="10863"/>
                    <a:pt x="34954" y="8958"/>
                    <a:pt x="32953" y="7719"/>
                  </a:cubicBezTo>
                  <a:lnTo>
                    <a:pt x="20761" y="766"/>
                  </a:lnTo>
                  <a:cubicBezTo>
                    <a:pt x="18437" y="-472"/>
                    <a:pt x="15656" y="-472"/>
                    <a:pt x="13332" y="766"/>
                  </a:cubicBezTo>
                  <a:lnTo>
                    <a:pt x="1235" y="7719"/>
                  </a:lnTo>
                  <a:cubicBezTo>
                    <a:pt x="-860" y="8958"/>
                    <a:pt x="-860" y="11244"/>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647" name="îṥľîḍê">
              <a:extLst>
                <a:ext uri="{FF2B5EF4-FFF2-40B4-BE49-F238E27FC236}">
                  <a16:creationId xmlns:a16="http://schemas.microsoft.com/office/drawing/2014/main" id="{7C52CAFB-58F4-4E3B-8132-A428B6FF5FE7}"/>
                </a:ext>
              </a:extLst>
            </p:cNvPr>
            <p:cNvSpPr/>
            <p:nvPr/>
          </p:nvSpPr>
          <p:spPr>
            <a:xfrm>
              <a:off x="5342073" y="4822934"/>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4 w 36099"/>
                <a:gd name="connsiteY6" fmla="*/ 6981 h 17597"/>
                <a:gd name="connsiteX7" fmla="*/ 35764 w 36099"/>
                <a:gd name="connsiteY7" fmla="*/ -163 h 17597"/>
                <a:gd name="connsiteX8" fmla="*/ 34144 w 36099"/>
                <a:gd name="connsiteY8" fmla="*/ 2124 h 17597"/>
                <a:gd name="connsiteX9" fmla="*/ 31858 w 36099"/>
                <a:gd name="connsiteY9" fmla="*/ 3457 h 17597"/>
                <a:gd name="connsiteX10" fmla="*/ 21571 w 36099"/>
                <a:gd name="connsiteY10" fmla="*/ 9267 h 17597"/>
                <a:gd name="connsiteX11" fmla="*/ 13856 w 36099"/>
                <a:gd name="connsiteY11" fmla="*/ 9267 h 17597"/>
                <a:gd name="connsiteX12" fmla="*/ 3569 w 36099"/>
                <a:gd name="connsiteY12" fmla="*/ 3457 h 17597"/>
                <a:gd name="connsiteX13" fmla="*/ 1283 w 36099"/>
                <a:gd name="connsiteY13" fmla="*/ 2124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41" y="8048"/>
                    <a:pt x="387" y="8886"/>
                    <a:pt x="1283" y="9267"/>
                  </a:cubicBezTo>
                  <a:lnTo>
                    <a:pt x="13856" y="16506"/>
                  </a:lnTo>
                  <a:cubicBezTo>
                    <a:pt x="16275" y="17744"/>
                    <a:pt x="19152" y="17744"/>
                    <a:pt x="21571" y="16506"/>
                  </a:cubicBezTo>
                  <a:lnTo>
                    <a:pt x="34144" y="9267"/>
                  </a:lnTo>
                  <a:cubicBezTo>
                    <a:pt x="35030" y="8829"/>
                    <a:pt x="35640" y="7972"/>
                    <a:pt x="35764" y="6981"/>
                  </a:cubicBezTo>
                  <a:lnTo>
                    <a:pt x="35764" y="-163"/>
                  </a:lnTo>
                  <a:cubicBezTo>
                    <a:pt x="35659" y="828"/>
                    <a:pt x="35049" y="1695"/>
                    <a:pt x="34144" y="2124"/>
                  </a:cubicBezTo>
                  <a:lnTo>
                    <a:pt x="31858" y="3457"/>
                  </a:lnTo>
                  <a:lnTo>
                    <a:pt x="21571" y="9267"/>
                  </a:lnTo>
                  <a:cubicBezTo>
                    <a:pt x="19171" y="10610"/>
                    <a:pt x="16256" y="10610"/>
                    <a:pt x="13856" y="9267"/>
                  </a:cubicBezTo>
                  <a:lnTo>
                    <a:pt x="3569" y="3457"/>
                  </a:lnTo>
                  <a:lnTo>
                    <a:pt x="1283" y="2124"/>
                  </a:lnTo>
                  <a:cubicBezTo>
                    <a:pt x="349" y="1733"/>
                    <a:pt x="-270" y="847"/>
                    <a:pt x="-336" y="-163"/>
                  </a:cubicBezTo>
                  <a:close/>
                </a:path>
              </a:pathLst>
            </a:custGeom>
            <a:solidFill>
              <a:srgbClr val="BF4200"/>
            </a:solidFill>
            <a:ln w="9525" cap="flat">
              <a:noFill/>
              <a:prstDash val="solid"/>
              <a:miter/>
            </a:ln>
          </p:spPr>
          <p:txBody>
            <a:bodyPr rtlCol="0" anchor="ctr"/>
            <a:lstStyle/>
            <a:p>
              <a:endParaRPr lang="zh-CN" altLang="en-US"/>
            </a:p>
          </p:txBody>
        </p:sp>
        <p:sp>
          <p:nvSpPr>
            <p:cNvPr id="648" name="íṧḷîḑê">
              <a:extLst>
                <a:ext uri="{FF2B5EF4-FFF2-40B4-BE49-F238E27FC236}">
                  <a16:creationId xmlns:a16="http://schemas.microsoft.com/office/drawing/2014/main" id="{E6E6DCE7-D015-40F4-9037-D1F2C6B589F7}"/>
                </a:ext>
              </a:extLst>
            </p:cNvPr>
            <p:cNvSpPr/>
            <p:nvPr/>
          </p:nvSpPr>
          <p:spPr>
            <a:xfrm>
              <a:off x="5419486" y="4835764"/>
              <a:ext cx="109362" cy="63588"/>
            </a:xfrm>
            <a:custGeom>
              <a:avLst/>
              <a:gdLst>
                <a:gd name="connsiteX0" fmla="*/ -336 w 35928"/>
                <a:gd name="connsiteY0" fmla="*/ 10291 h 20890"/>
                <a:gd name="connsiteX1" fmla="*/ 1188 w 35928"/>
                <a:gd name="connsiteY1" fmla="*/ 12482 h 20890"/>
                <a:gd name="connsiteX2" fmla="*/ 3569 w 35928"/>
                <a:gd name="connsiteY2" fmla="*/ 13911 h 20890"/>
                <a:gd name="connsiteX3" fmla="*/ 13856 w 35928"/>
                <a:gd name="connsiteY3" fmla="*/ 19721 h 20890"/>
                <a:gd name="connsiteX4" fmla="*/ 21476 w 35928"/>
                <a:gd name="connsiteY4" fmla="*/ 19721 h 20890"/>
                <a:gd name="connsiteX5" fmla="*/ 31763 w 35928"/>
                <a:gd name="connsiteY5" fmla="*/ 13911 h 20890"/>
                <a:gd name="connsiteX6" fmla="*/ 34144 w 35928"/>
                <a:gd name="connsiteY6" fmla="*/ 12482 h 20890"/>
                <a:gd name="connsiteX7" fmla="*/ 35402 w 35928"/>
                <a:gd name="connsiteY7" fmla="*/ 9358 h 20890"/>
                <a:gd name="connsiteX8" fmla="*/ 34144 w 35928"/>
                <a:gd name="connsiteY8" fmla="*/ 8101 h 20890"/>
                <a:gd name="connsiteX9" fmla="*/ 21476 w 35928"/>
                <a:gd name="connsiteY9" fmla="*/ 766 h 20890"/>
                <a:gd name="connsiteX10" fmla="*/ 13856 w 35928"/>
                <a:gd name="connsiteY10" fmla="*/ 766 h 20890"/>
                <a:gd name="connsiteX11" fmla="*/ 1188 w 35928"/>
                <a:gd name="connsiteY11" fmla="*/ 8101 h 20890"/>
                <a:gd name="connsiteX12" fmla="*/ -336 w 35928"/>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928" h="20890">
                  <a:moveTo>
                    <a:pt x="-336" y="10291"/>
                  </a:moveTo>
                  <a:cubicBezTo>
                    <a:pt x="-298" y="11253"/>
                    <a:pt x="292" y="12110"/>
                    <a:pt x="1188" y="12482"/>
                  </a:cubicBezTo>
                  <a:lnTo>
                    <a:pt x="3569" y="13911"/>
                  </a:lnTo>
                  <a:lnTo>
                    <a:pt x="13856" y="19721"/>
                  </a:lnTo>
                  <a:cubicBezTo>
                    <a:pt x="16218" y="21064"/>
                    <a:pt x="19114" y="21064"/>
                    <a:pt x="21476" y="19721"/>
                  </a:cubicBezTo>
                  <a:lnTo>
                    <a:pt x="31763" y="13911"/>
                  </a:lnTo>
                  <a:lnTo>
                    <a:pt x="34144" y="12482"/>
                  </a:lnTo>
                  <a:cubicBezTo>
                    <a:pt x="35354" y="11967"/>
                    <a:pt x="35916" y="10567"/>
                    <a:pt x="35402" y="9358"/>
                  </a:cubicBezTo>
                  <a:cubicBezTo>
                    <a:pt x="35164" y="8796"/>
                    <a:pt x="34706" y="8339"/>
                    <a:pt x="34144" y="8101"/>
                  </a:cubicBezTo>
                  <a:lnTo>
                    <a:pt x="21476" y="766"/>
                  </a:lnTo>
                  <a:cubicBezTo>
                    <a:pt x="19085" y="-472"/>
                    <a:pt x="16247" y="-472"/>
                    <a:pt x="13856" y="766"/>
                  </a:cubicBezTo>
                  <a:lnTo>
                    <a:pt x="1188" y="8101"/>
                  </a:lnTo>
                  <a:cubicBezTo>
                    <a:pt x="292" y="8472"/>
                    <a:pt x="-298"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649" name="îsḷíḓe">
              <a:extLst>
                <a:ext uri="{FF2B5EF4-FFF2-40B4-BE49-F238E27FC236}">
                  <a16:creationId xmlns:a16="http://schemas.microsoft.com/office/drawing/2014/main" id="{F2E462A9-0F7E-4F64-9A3E-520814826E2C}"/>
                </a:ext>
              </a:extLst>
            </p:cNvPr>
            <p:cNvSpPr/>
            <p:nvPr/>
          </p:nvSpPr>
          <p:spPr>
            <a:xfrm>
              <a:off x="5421370" y="4836924"/>
              <a:ext cx="105825" cy="61101"/>
            </a:xfrm>
            <a:custGeom>
              <a:avLst/>
              <a:gdLst>
                <a:gd name="connsiteX0" fmla="*/ 1235 w 34766"/>
                <a:gd name="connsiteY0" fmla="*/ 12006 h 20073"/>
                <a:gd name="connsiteX1" fmla="*/ 13332 w 34766"/>
                <a:gd name="connsiteY1" fmla="*/ 19054 h 20073"/>
                <a:gd name="connsiteX2" fmla="*/ 20762 w 34766"/>
                <a:gd name="connsiteY2" fmla="*/ 19054 h 20073"/>
                <a:gd name="connsiteX3" fmla="*/ 32858 w 34766"/>
                <a:gd name="connsiteY3" fmla="*/ 12006 h 20073"/>
                <a:gd name="connsiteX4" fmla="*/ 32858 w 34766"/>
                <a:gd name="connsiteY4" fmla="*/ 7719 h 20073"/>
                <a:gd name="connsiteX5" fmla="*/ 20762 w 34766"/>
                <a:gd name="connsiteY5" fmla="*/ 766 h 20073"/>
                <a:gd name="connsiteX6" fmla="*/ 13332 w 34766"/>
                <a:gd name="connsiteY6" fmla="*/ 766 h 20073"/>
                <a:gd name="connsiteX7" fmla="*/ 1235 w 34766"/>
                <a:gd name="connsiteY7" fmla="*/ 7719 h 20073"/>
                <a:gd name="connsiteX8" fmla="*/ 1235 w 34766"/>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6" h="20073">
                  <a:moveTo>
                    <a:pt x="1235" y="12006"/>
                  </a:moveTo>
                  <a:lnTo>
                    <a:pt x="13332" y="19054"/>
                  </a:lnTo>
                  <a:cubicBezTo>
                    <a:pt x="15675" y="20197"/>
                    <a:pt x="18419" y="20197"/>
                    <a:pt x="20762" y="19054"/>
                  </a:cubicBezTo>
                  <a:lnTo>
                    <a:pt x="32858" y="12006"/>
                  </a:lnTo>
                  <a:cubicBezTo>
                    <a:pt x="34954" y="10863"/>
                    <a:pt x="34954" y="8957"/>
                    <a:pt x="32858" y="7719"/>
                  </a:cubicBezTo>
                  <a:lnTo>
                    <a:pt x="20762" y="766"/>
                  </a:lnTo>
                  <a:cubicBezTo>
                    <a:pt x="18437" y="-472"/>
                    <a:pt x="15656" y="-472"/>
                    <a:pt x="13332" y="766"/>
                  </a:cubicBezTo>
                  <a:lnTo>
                    <a:pt x="1235" y="7719"/>
                  </a:lnTo>
                  <a:cubicBezTo>
                    <a:pt x="-860" y="8957"/>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650" name="isḷïďê">
              <a:extLst>
                <a:ext uri="{FF2B5EF4-FFF2-40B4-BE49-F238E27FC236}">
                  <a16:creationId xmlns:a16="http://schemas.microsoft.com/office/drawing/2014/main" id="{EDEE4D96-BA89-4F73-9AA3-6E38E95DFAA0}"/>
                </a:ext>
              </a:extLst>
            </p:cNvPr>
            <p:cNvSpPr/>
            <p:nvPr/>
          </p:nvSpPr>
          <p:spPr>
            <a:xfrm>
              <a:off x="5419486" y="4867586"/>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028 h 17597"/>
                <a:gd name="connsiteX9" fmla="*/ 31763 w 36004"/>
                <a:gd name="connsiteY9" fmla="*/ 3457 h 17597"/>
                <a:gd name="connsiteX10" fmla="*/ 21476 w 36004"/>
                <a:gd name="connsiteY10" fmla="*/ 9267 h 17597"/>
                <a:gd name="connsiteX11" fmla="*/ 13856 w 36004"/>
                <a:gd name="connsiteY11" fmla="*/ 9267 h 17597"/>
                <a:gd name="connsiteX12" fmla="*/ 3569 w 36004"/>
                <a:gd name="connsiteY12" fmla="*/ 3457 h 17597"/>
                <a:gd name="connsiteX13" fmla="*/ 1188 w 36004"/>
                <a:gd name="connsiteY13" fmla="*/ 2028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3" y="7953"/>
                    <a:pt x="35668" y="6981"/>
                  </a:cubicBezTo>
                  <a:lnTo>
                    <a:pt x="35668" y="-163"/>
                  </a:lnTo>
                  <a:cubicBezTo>
                    <a:pt x="35630" y="800"/>
                    <a:pt x="35040" y="1657"/>
                    <a:pt x="34144" y="2028"/>
                  </a:cubicBezTo>
                  <a:lnTo>
                    <a:pt x="31763" y="3457"/>
                  </a:lnTo>
                  <a:lnTo>
                    <a:pt x="21476" y="9267"/>
                  </a:lnTo>
                  <a:cubicBezTo>
                    <a:pt x="19114" y="10610"/>
                    <a:pt x="16218" y="10610"/>
                    <a:pt x="13856" y="9267"/>
                  </a:cubicBezTo>
                  <a:lnTo>
                    <a:pt x="3569" y="3457"/>
                  </a:lnTo>
                  <a:lnTo>
                    <a:pt x="1188" y="2028"/>
                  </a:lnTo>
                  <a:cubicBezTo>
                    <a:pt x="292" y="1657"/>
                    <a:pt x="-298" y="800"/>
                    <a:pt x="-336" y="-163"/>
                  </a:cubicBezTo>
                  <a:close/>
                </a:path>
              </a:pathLst>
            </a:custGeom>
            <a:solidFill>
              <a:srgbClr val="BF4200"/>
            </a:solidFill>
            <a:ln w="9525" cap="flat">
              <a:noFill/>
              <a:prstDash val="solid"/>
              <a:miter/>
            </a:ln>
          </p:spPr>
          <p:txBody>
            <a:bodyPr rtlCol="0" anchor="ctr"/>
            <a:lstStyle/>
            <a:p>
              <a:endParaRPr lang="zh-CN" altLang="en-US"/>
            </a:p>
          </p:txBody>
        </p:sp>
        <p:sp>
          <p:nvSpPr>
            <p:cNvPr id="651" name="ïṥļiḓe">
              <a:extLst>
                <a:ext uri="{FF2B5EF4-FFF2-40B4-BE49-F238E27FC236}">
                  <a16:creationId xmlns:a16="http://schemas.microsoft.com/office/drawing/2014/main" id="{FDBD5F0D-4AD6-49D8-BCE2-BD4968C67C91}"/>
                </a:ext>
              </a:extLst>
            </p:cNvPr>
            <p:cNvSpPr/>
            <p:nvPr/>
          </p:nvSpPr>
          <p:spPr>
            <a:xfrm>
              <a:off x="5496607" y="4880416"/>
              <a:ext cx="109883" cy="63588"/>
            </a:xfrm>
            <a:custGeom>
              <a:avLst/>
              <a:gdLst>
                <a:gd name="connsiteX0" fmla="*/ -336 w 36099"/>
                <a:gd name="connsiteY0" fmla="*/ 10196 h 20890"/>
                <a:gd name="connsiteX1" fmla="*/ 1283 w 36099"/>
                <a:gd name="connsiteY1" fmla="*/ 12482 h 20890"/>
                <a:gd name="connsiteX2" fmla="*/ 3569 w 36099"/>
                <a:gd name="connsiteY2" fmla="*/ 13815 h 20890"/>
                <a:gd name="connsiteX3" fmla="*/ 13856 w 36099"/>
                <a:gd name="connsiteY3" fmla="*/ 19721 h 20890"/>
                <a:gd name="connsiteX4" fmla="*/ 21571 w 36099"/>
                <a:gd name="connsiteY4" fmla="*/ 19721 h 20890"/>
                <a:gd name="connsiteX5" fmla="*/ 31858 w 36099"/>
                <a:gd name="connsiteY5" fmla="*/ 13815 h 20890"/>
                <a:gd name="connsiteX6" fmla="*/ 34144 w 36099"/>
                <a:gd name="connsiteY6" fmla="*/ 12482 h 20890"/>
                <a:gd name="connsiteX7" fmla="*/ 35764 w 36099"/>
                <a:gd name="connsiteY7" fmla="*/ 10196 h 20890"/>
                <a:gd name="connsiteX8" fmla="*/ 34144 w 36099"/>
                <a:gd name="connsiteY8" fmla="*/ 8005 h 20890"/>
                <a:gd name="connsiteX9" fmla="*/ 21571 w 36099"/>
                <a:gd name="connsiteY9" fmla="*/ 766 h 20890"/>
                <a:gd name="connsiteX10" fmla="*/ 13856 w 36099"/>
                <a:gd name="connsiteY10" fmla="*/ 766 h 20890"/>
                <a:gd name="connsiteX11" fmla="*/ 1283 w 36099"/>
                <a:gd name="connsiteY11" fmla="*/ 8005 h 20890"/>
                <a:gd name="connsiteX12" fmla="*/ -336 w 36099"/>
                <a:gd name="connsiteY12" fmla="*/ 10196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99" h="20890">
                  <a:moveTo>
                    <a:pt x="-336" y="10196"/>
                  </a:moveTo>
                  <a:cubicBezTo>
                    <a:pt x="-251" y="11196"/>
                    <a:pt x="369" y="12072"/>
                    <a:pt x="1283" y="12482"/>
                  </a:cubicBezTo>
                  <a:lnTo>
                    <a:pt x="3569" y="13815"/>
                  </a:lnTo>
                  <a:lnTo>
                    <a:pt x="13856" y="19721"/>
                  </a:lnTo>
                  <a:cubicBezTo>
                    <a:pt x="16256" y="21064"/>
                    <a:pt x="19171" y="21064"/>
                    <a:pt x="21571" y="19721"/>
                  </a:cubicBezTo>
                  <a:lnTo>
                    <a:pt x="31858" y="13815"/>
                  </a:lnTo>
                  <a:lnTo>
                    <a:pt x="34144" y="12482"/>
                  </a:lnTo>
                  <a:cubicBezTo>
                    <a:pt x="35059" y="12072"/>
                    <a:pt x="35678" y="11196"/>
                    <a:pt x="35764" y="10196"/>
                  </a:cubicBezTo>
                  <a:cubicBezTo>
                    <a:pt x="35630" y="9243"/>
                    <a:pt x="35021" y="8415"/>
                    <a:pt x="34144" y="8005"/>
                  </a:cubicBezTo>
                  <a:lnTo>
                    <a:pt x="21571" y="766"/>
                  </a:lnTo>
                  <a:cubicBezTo>
                    <a:pt x="19152" y="-472"/>
                    <a:pt x="16275" y="-472"/>
                    <a:pt x="13856" y="766"/>
                  </a:cubicBezTo>
                  <a:lnTo>
                    <a:pt x="1283" y="8005"/>
                  </a:lnTo>
                  <a:cubicBezTo>
                    <a:pt x="407" y="8415"/>
                    <a:pt x="-203" y="924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652" name="iṣḷíḍè">
              <a:extLst>
                <a:ext uri="{FF2B5EF4-FFF2-40B4-BE49-F238E27FC236}">
                  <a16:creationId xmlns:a16="http://schemas.microsoft.com/office/drawing/2014/main" id="{E86FD64F-15B9-435C-91B2-904E53EAA6C4}"/>
                </a:ext>
              </a:extLst>
            </p:cNvPr>
            <p:cNvSpPr/>
            <p:nvPr/>
          </p:nvSpPr>
          <p:spPr>
            <a:xfrm>
              <a:off x="5498710" y="4881575"/>
              <a:ext cx="105679" cy="61101"/>
            </a:xfrm>
            <a:custGeom>
              <a:avLst/>
              <a:gdLst>
                <a:gd name="connsiteX0" fmla="*/ 1164 w 34718"/>
                <a:gd name="connsiteY0" fmla="*/ 12006 h 20073"/>
                <a:gd name="connsiteX1" fmla="*/ 13260 w 34718"/>
                <a:gd name="connsiteY1" fmla="*/ 19054 h 20073"/>
                <a:gd name="connsiteX2" fmla="*/ 20785 w 34718"/>
                <a:gd name="connsiteY2" fmla="*/ 19054 h 20073"/>
                <a:gd name="connsiteX3" fmla="*/ 32882 w 34718"/>
                <a:gd name="connsiteY3" fmla="*/ 12006 h 20073"/>
                <a:gd name="connsiteX4" fmla="*/ 32882 w 34718"/>
                <a:gd name="connsiteY4" fmla="*/ 7719 h 20073"/>
                <a:gd name="connsiteX5" fmla="*/ 20785 w 34718"/>
                <a:gd name="connsiteY5" fmla="*/ 766 h 20073"/>
                <a:gd name="connsiteX6" fmla="*/ 13260 w 34718"/>
                <a:gd name="connsiteY6" fmla="*/ 766 h 20073"/>
                <a:gd name="connsiteX7" fmla="*/ 1164 w 34718"/>
                <a:gd name="connsiteY7" fmla="*/ 7719 h 20073"/>
                <a:gd name="connsiteX8" fmla="*/ 1164 w 34718"/>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18" h="20073">
                  <a:moveTo>
                    <a:pt x="1164" y="12006"/>
                  </a:moveTo>
                  <a:lnTo>
                    <a:pt x="13260" y="19054"/>
                  </a:lnTo>
                  <a:cubicBezTo>
                    <a:pt x="15642" y="20197"/>
                    <a:pt x="18404" y="20197"/>
                    <a:pt x="20785" y="19054"/>
                  </a:cubicBezTo>
                  <a:lnTo>
                    <a:pt x="32882" y="12006"/>
                  </a:lnTo>
                  <a:cubicBezTo>
                    <a:pt x="34882" y="10863"/>
                    <a:pt x="34882" y="8957"/>
                    <a:pt x="32882" y="7719"/>
                  </a:cubicBezTo>
                  <a:lnTo>
                    <a:pt x="20785" y="766"/>
                  </a:lnTo>
                  <a:cubicBezTo>
                    <a:pt x="18433" y="-472"/>
                    <a:pt x="15613" y="-472"/>
                    <a:pt x="13260" y="766"/>
                  </a:cubicBezTo>
                  <a:lnTo>
                    <a:pt x="1164" y="7719"/>
                  </a:lnTo>
                  <a:cubicBezTo>
                    <a:pt x="-836" y="8957"/>
                    <a:pt x="-836" y="10481"/>
                    <a:pt x="1164" y="12006"/>
                  </a:cubicBezTo>
                  <a:close/>
                </a:path>
              </a:pathLst>
            </a:custGeom>
            <a:solidFill>
              <a:srgbClr val="D1D9E8"/>
            </a:solidFill>
            <a:ln w="9525" cap="flat">
              <a:noFill/>
              <a:prstDash val="solid"/>
              <a:miter/>
            </a:ln>
          </p:spPr>
          <p:txBody>
            <a:bodyPr rtlCol="0" anchor="ctr"/>
            <a:lstStyle/>
            <a:p>
              <a:endParaRPr lang="zh-CN" altLang="en-US"/>
            </a:p>
          </p:txBody>
        </p:sp>
        <p:sp>
          <p:nvSpPr>
            <p:cNvPr id="653" name="ïṡļiḍè">
              <a:extLst>
                <a:ext uri="{FF2B5EF4-FFF2-40B4-BE49-F238E27FC236}">
                  <a16:creationId xmlns:a16="http://schemas.microsoft.com/office/drawing/2014/main" id="{1A8CD1FC-72C2-4F65-825F-4CCF48E49DDA}"/>
                </a:ext>
              </a:extLst>
            </p:cNvPr>
            <p:cNvSpPr/>
            <p:nvPr/>
          </p:nvSpPr>
          <p:spPr>
            <a:xfrm>
              <a:off x="5496607" y="4911945"/>
              <a:ext cx="109883" cy="53804"/>
            </a:xfrm>
            <a:custGeom>
              <a:avLst/>
              <a:gdLst>
                <a:gd name="connsiteX0" fmla="*/ -336 w 36099"/>
                <a:gd name="connsiteY0" fmla="*/ -163 h 17676"/>
                <a:gd name="connsiteX1" fmla="*/ -336 w 36099"/>
                <a:gd name="connsiteY1" fmla="*/ 7076 h 17676"/>
                <a:gd name="connsiteX2" fmla="*/ 1283 w 36099"/>
                <a:gd name="connsiteY2" fmla="*/ 9362 h 17676"/>
                <a:gd name="connsiteX3" fmla="*/ 13856 w 36099"/>
                <a:gd name="connsiteY3" fmla="*/ 16506 h 17676"/>
                <a:gd name="connsiteX4" fmla="*/ 21571 w 36099"/>
                <a:gd name="connsiteY4" fmla="*/ 16506 h 17676"/>
                <a:gd name="connsiteX5" fmla="*/ 34144 w 36099"/>
                <a:gd name="connsiteY5" fmla="*/ 9362 h 17676"/>
                <a:gd name="connsiteX6" fmla="*/ 35764 w 36099"/>
                <a:gd name="connsiteY6" fmla="*/ 7076 h 17676"/>
                <a:gd name="connsiteX7" fmla="*/ 35764 w 36099"/>
                <a:gd name="connsiteY7" fmla="*/ -163 h 17676"/>
                <a:gd name="connsiteX8" fmla="*/ 34144 w 36099"/>
                <a:gd name="connsiteY8" fmla="*/ 2124 h 17676"/>
                <a:gd name="connsiteX9" fmla="*/ 31858 w 36099"/>
                <a:gd name="connsiteY9" fmla="*/ 3457 h 17676"/>
                <a:gd name="connsiteX10" fmla="*/ 21571 w 36099"/>
                <a:gd name="connsiteY10" fmla="*/ 9362 h 17676"/>
                <a:gd name="connsiteX11" fmla="*/ 13856 w 36099"/>
                <a:gd name="connsiteY11" fmla="*/ 9362 h 17676"/>
                <a:gd name="connsiteX12" fmla="*/ 3569 w 36099"/>
                <a:gd name="connsiteY12" fmla="*/ 3457 h 17676"/>
                <a:gd name="connsiteX13" fmla="*/ 1283 w 36099"/>
                <a:gd name="connsiteY13" fmla="*/ 2124 h 17676"/>
                <a:gd name="connsiteX14" fmla="*/ -336 w 36099"/>
                <a:gd name="connsiteY14" fmla="*/ -163 h 17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676">
                  <a:moveTo>
                    <a:pt x="-336" y="-163"/>
                  </a:moveTo>
                  <a:lnTo>
                    <a:pt x="-336" y="7076"/>
                  </a:lnTo>
                  <a:cubicBezTo>
                    <a:pt x="-231" y="8067"/>
                    <a:pt x="378" y="8934"/>
                    <a:pt x="1283" y="9362"/>
                  </a:cubicBezTo>
                  <a:lnTo>
                    <a:pt x="13856" y="16506"/>
                  </a:lnTo>
                  <a:cubicBezTo>
                    <a:pt x="16256" y="17849"/>
                    <a:pt x="19171" y="17849"/>
                    <a:pt x="21571" y="16506"/>
                  </a:cubicBezTo>
                  <a:lnTo>
                    <a:pt x="34144" y="9362"/>
                  </a:lnTo>
                  <a:cubicBezTo>
                    <a:pt x="35030" y="8924"/>
                    <a:pt x="35640" y="8058"/>
                    <a:pt x="35764" y="7076"/>
                  </a:cubicBezTo>
                  <a:lnTo>
                    <a:pt x="35764" y="-163"/>
                  </a:lnTo>
                  <a:cubicBezTo>
                    <a:pt x="35678" y="838"/>
                    <a:pt x="35059" y="1714"/>
                    <a:pt x="34144" y="2124"/>
                  </a:cubicBezTo>
                  <a:lnTo>
                    <a:pt x="31858" y="3457"/>
                  </a:lnTo>
                  <a:lnTo>
                    <a:pt x="21571" y="9362"/>
                  </a:lnTo>
                  <a:cubicBezTo>
                    <a:pt x="19171" y="10706"/>
                    <a:pt x="16256" y="10706"/>
                    <a:pt x="13856" y="9362"/>
                  </a:cubicBezTo>
                  <a:lnTo>
                    <a:pt x="3569" y="3457"/>
                  </a:lnTo>
                  <a:lnTo>
                    <a:pt x="1283" y="2124"/>
                  </a:lnTo>
                  <a:cubicBezTo>
                    <a:pt x="369" y="1714"/>
                    <a:pt x="-251" y="83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54" name="ïşľiḋe">
              <a:extLst>
                <a:ext uri="{FF2B5EF4-FFF2-40B4-BE49-F238E27FC236}">
                  <a16:creationId xmlns:a16="http://schemas.microsoft.com/office/drawing/2014/main" id="{9DFCAFCB-A2AB-477E-A052-326F741B0EB4}"/>
                </a:ext>
              </a:extLst>
            </p:cNvPr>
            <p:cNvSpPr/>
            <p:nvPr/>
          </p:nvSpPr>
          <p:spPr>
            <a:xfrm>
              <a:off x="5574020" y="4925064"/>
              <a:ext cx="109594" cy="63588"/>
            </a:xfrm>
            <a:custGeom>
              <a:avLst/>
              <a:gdLst>
                <a:gd name="connsiteX0" fmla="*/ -336 w 36004"/>
                <a:gd name="connsiteY0" fmla="*/ 10196 h 20890"/>
                <a:gd name="connsiteX1" fmla="*/ 1188 w 36004"/>
                <a:gd name="connsiteY1" fmla="*/ 12482 h 20890"/>
                <a:gd name="connsiteX2" fmla="*/ 3569 w 36004"/>
                <a:gd name="connsiteY2" fmla="*/ 13815 h 20890"/>
                <a:gd name="connsiteX3" fmla="*/ 13856 w 36004"/>
                <a:gd name="connsiteY3" fmla="*/ 19721 h 20890"/>
                <a:gd name="connsiteX4" fmla="*/ 21476 w 36004"/>
                <a:gd name="connsiteY4" fmla="*/ 19721 h 20890"/>
                <a:gd name="connsiteX5" fmla="*/ 31763 w 36004"/>
                <a:gd name="connsiteY5" fmla="*/ 13815 h 20890"/>
                <a:gd name="connsiteX6" fmla="*/ 34144 w 36004"/>
                <a:gd name="connsiteY6" fmla="*/ 12482 h 20890"/>
                <a:gd name="connsiteX7" fmla="*/ 35668 w 36004"/>
                <a:gd name="connsiteY7" fmla="*/ 10196 h 20890"/>
                <a:gd name="connsiteX8" fmla="*/ 34144 w 36004"/>
                <a:gd name="connsiteY8" fmla="*/ 8005 h 20890"/>
                <a:gd name="connsiteX9" fmla="*/ 21476 w 36004"/>
                <a:gd name="connsiteY9" fmla="*/ 766 h 20890"/>
                <a:gd name="connsiteX10" fmla="*/ 13856 w 36004"/>
                <a:gd name="connsiteY10" fmla="*/ 766 h 20890"/>
                <a:gd name="connsiteX11" fmla="*/ 1188 w 36004"/>
                <a:gd name="connsiteY11" fmla="*/ 8005 h 20890"/>
                <a:gd name="connsiteX12" fmla="*/ -336 w 36004"/>
                <a:gd name="connsiteY12" fmla="*/ 10196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196"/>
                  </a:moveTo>
                  <a:cubicBezTo>
                    <a:pt x="-308" y="11186"/>
                    <a:pt x="283" y="12082"/>
                    <a:pt x="1188" y="12482"/>
                  </a:cubicBezTo>
                  <a:lnTo>
                    <a:pt x="3569" y="13815"/>
                  </a:lnTo>
                  <a:lnTo>
                    <a:pt x="13856" y="19721"/>
                  </a:lnTo>
                  <a:cubicBezTo>
                    <a:pt x="16218" y="21064"/>
                    <a:pt x="19114" y="21064"/>
                    <a:pt x="21476" y="19721"/>
                  </a:cubicBezTo>
                  <a:lnTo>
                    <a:pt x="31763" y="13815"/>
                  </a:lnTo>
                  <a:lnTo>
                    <a:pt x="34144" y="12482"/>
                  </a:lnTo>
                  <a:cubicBezTo>
                    <a:pt x="35049" y="12082"/>
                    <a:pt x="35640" y="11186"/>
                    <a:pt x="35668" y="10196"/>
                  </a:cubicBezTo>
                  <a:cubicBezTo>
                    <a:pt x="35573" y="9253"/>
                    <a:pt x="34992" y="8424"/>
                    <a:pt x="34144" y="8005"/>
                  </a:cubicBezTo>
                  <a:lnTo>
                    <a:pt x="21476" y="766"/>
                  </a:lnTo>
                  <a:cubicBezTo>
                    <a:pt x="19085" y="-472"/>
                    <a:pt x="16247" y="-472"/>
                    <a:pt x="13856" y="766"/>
                  </a:cubicBezTo>
                  <a:lnTo>
                    <a:pt x="1188" y="8005"/>
                  </a:lnTo>
                  <a:cubicBezTo>
                    <a:pt x="340" y="8424"/>
                    <a:pt x="-241" y="925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655" name="iṧļïḍe">
              <a:extLst>
                <a:ext uri="{FF2B5EF4-FFF2-40B4-BE49-F238E27FC236}">
                  <a16:creationId xmlns:a16="http://schemas.microsoft.com/office/drawing/2014/main" id="{4A3228A8-801D-42EA-8183-C649E0274FF3}"/>
                </a:ext>
              </a:extLst>
            </p:cNvPr>
            <p:cNvSpPr/>
            <p:nvPr/>
          </p:nvSpPr>
          <p:spPr>
            <a:xfrm>
              <a:off x="5576154" y="4926151"/>
              <a:ext cx="105329" cy="61174"/>
            </a:xfrm>
            <a:custGeom>
              <a:avLst/>
              <a:gdLst>
                <a:gd name="connsiteX0" fmla="*/ 1154 w 34603"/>
                <a:gd name="connsiteY0" fmla="*/ 12029 h 20097"/>
                <a:gd name="connsiteX1" fmla="*/ 13251 w 34603"/>
                <a:gd name="connsiteY1" fmla="*/ 19078 h 20097"/>
                <a:gd name="connsiteX2" fmla="*/ 20680 w 34603"/>
                <a:gd name="connsiteY2" fmla="*/ 19078 h 20097"/>
                <a:gd name="connsiteX3" fmla="*/ 32777 w 34603"/>
                <a:gd name="connsiteY3" fmla="*/ 12029 h 20097"/>
                <a:gd name="connsiteX4" fmla="*/ 34120 w 34603"/>
                <a:gd name="connsiteY4" fmla="*/ 9096 h 20097"/>
                <a:gd name="connsiteX5" fmla="*/ 32777 w 34603"/>
                <a:gd name="connsiteY5" fmla="*/ 7743 h 20097"/>
                <a:gd name="connsiteX6" fmla="*/ 20680 w 34603"/>
                <a:gd name="connsiteY6" fmla="*/ 695 h 20097"/>
                <a:gd name="connsiteX7" fmla="*/ 13251 w 34603"/>
                <a:gd name="connsiteY7" fmla="*/ 695 h 20097"/>
                <a:gd name="connsiteX8" fmla="*/ 1154 w 34603"/>
                <a:gd name="connsiteY8" fmla="*/ 7743 h 20097"/>
                <a:gd name="connsiteX9" fmla="*/ -189 w 34603"/>
                <a:gd name="connsiteY9" fmla="*/ 10686 h 20097"/>
                <a:gd name="connsiteX10" fmla="*/ 1154 w 34603"/>
                <a:gd name="connsiteY10" fmla="*/ 12029 h 20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603" h="20097">
                  <a:moveTo>
                    <a:pt x="1154" y="12029"/>
                  </a:moveTo>
                  <a:lnTo>
                    <a:pt x="13251" y="19078"/>
                  </a:lnTo>
                  <a:cubicBezTo>
                    <a:pt x="15594" y="20221"/>
                    <a:pt x="18337" y="20221"/>
                    <a:pt x="20680" y="19078"/>
                  </a:cubicBezTo>
                  <a:lnTo>
                    <a:pt x="32777" y="12029"/>
                  </a:lnTo>
                  <a:cubicBezTo>
                    <a:pt x="33958" y="11591"/>
                    <a:pt x="34568" y="10277"/>
                    <a:pt x="34120" y="9096"/>
                  </a:cubicBezTo>
                  <a:cubicBezTo>
                    <a:pt x="33891" y="8467"/>
                    <a:pt x="33396" y="7971"/>
                    <a:pt x="32777" y="7743"/>
                  </a:cubicBezTo>
                  <a:lnTo>
                    <a:pt x="20680" y="695"/>
                  </a:lnTo>
                  <a:cubicBezTo>
                    <a:pt x="18337" y="-448"/>
                    <a:pt x="15594" y="-448"/>
                    <a:pt x="13251" y="695"/>
                  </a:cubicBezTo>
                  <a:lnTo>
                    <a:pt x="1154" y="7743"/>
                  </a:lnTo>
                  <a:cubicBezTo>
                    <a:pt x="-27" y="8181"/>
                    <a:pt x="-637" y="9496"/>
                    <a:pt x="-189" y="10686"/>
                  </a:cubicBezTo>
                  <a:cubicBezTo>
                    <a:pt x="40" y="11305"/>
                    <a:pt x="535" y="11801"/>
                    <a:pt x="1154" y="12029"/>
                  </a:cubicBezTo>
                  <a:close/>
                </a:path>
              </a:pathLst>
            </a:custGeom>
            <a:solidFill>
              <a:srgbClr val="D1D9E8"/>
            </a:solidFill>
            <a:ln w="9525" cap="flat">
              <a:noFill/>
              <a:prstDash val="solid"/>
              <a:miter/>
            </a:ln>
          </p:spPr>
          <p:txBody>
            <a:bodyPr rtlCol="0" anchor="ctr"/>
            <a:lstStyle/>
            <a:p>
              <a:endParaRPr lang="zh-CN" altLang="en-US"/>
            </a:p>
          </p:txBody>
        </p:sp>
        <p:sp>
          <p:nvSpPr>
            <p:cNvPr id="656" name="ïṣḷîḓê">
              <a:extLst>
                <a:ext uri="{FF2B5EF4-FFF2-40B4-BE49-F238E27FC236}">
                  <a16:creationId xmlns:a16="http://schemas.microsoft.com/office/drawing/2014/main" id="{BA439B61-7F3F-4D9A-908C-F9CA5E484FE0}"/>
                </a:ext>
              </a:extLst>
            </p:cNvPr>
            <p:cNvSpPr/>
            <p:nvPr/>
          </p:nvSpPr>
          <p:spPr>
            <a:xfrm>
              <a:off x="5574020" y="4956596"/>
              <a:ext cx="109594" cy="53801"/>
            </a:xfrm>
            <a:custGeom>
              <a:avLst/>
              <a:gdLst>
                <a:gd name="connsiteX0" fmla="*/ -336 w 36004"/>
                <a:gd name="connsiteY0" fmla="*/ -163 h 17675"/>
                <a:gd name="connsiteX1" fmla="*/ -336 w 36004"/>
                <a:gd name="connsiteY1" fmla="*/ 7076 h 17675"/>
                <a:gd name="connsiteX2" fmla="*/ 1188 w 36004"/>
                <a:gd name="connsiteY2" fmla="*/ 9267 h 17675"/>
                <a:gd name="connsiteX3" fmla="*/ 13856 w 36004"/>
                <a:gd name="connsiteY3" fmla="*/ 16506 h 17675"/>
                <a:gd name="connsiteX4" fmla="*/ 21476 w 36004"/>
                <a:gd name="connsiteY4" fmla="*/ 16506 h 17675"/>
                <a:gd name="connsiteX5" fmla="*/ 34144 w 36004"/>
                <a:gd name="connsiteY5" fmla="*/ 9267 h 17675"/>
                <a:gd name="connsiteX6" fmla="*/ 35668 w 36004"/>
                <a:gd name="connsiteY6" fmla="*/ 7076 h 17675"/>
                <a:gd name="connsiteX7" fmla="*/ 35668 w 36004"/>
                <a:gd name="connsiteY7" fmla="*/ -163 h 17675"/>
                <a:gd name="connsiteX8" fmla="*/ 34144 w 36004"/>
                <a:gd name="connsiteY8" fmla="*/ 2123 h 17675"/>
                <a:gd name="connsiteX9" fmla="*/ 31763 w 36004"/>
                <a:gd name="connsiteY9" fmla="*/ 3457 h 17675"/>
                <a:gd name="connsiteX10" fmla="*/ 21476 w 36004"/>
                <a:gd name="connsiteY10" fmla="*/ 9362 h 17675"/>
                <a:gd name="connsiteX11" fmla="*/ 13856 w 36004"/>
                <a:gd name="connsiteY11" fmla="*/ 9362 h 17675"/>
                <a:gd name="connsiteX12" fmla="*/ 3569 w 36004"/>
                <a:gd name="connsiteY12" fmla="*/ 3457 h 17675"/>
                <a:gd name="connsiteX13" fmla="*/ 1188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98" y="8038"/>
                    <a:pt x="292" y="8896"/>
                    <a:pt x="1188" y="9267"/>
                  </a:cubicBezTo>
                  <a:lnTo>
                    <a:pt x="13856" y="16506"/>
                  </a:lnTo>
                  <a:cubicBezTo>
                    <a:pt x="16218" y="17849"/>
                    <a:pt x="19114" y="17849"/>
                    <a:pt x="21476" y="16506"/>
                  </a:cubicBezTo>
                  <a:lnTo>
                    <a:pt x="34144" y="9267"/>
                  </a:lnTo>
                  <a:cubicBezTo>
                    <a:pt x="35021" y="8877"/>
                    <a:pt x="35611" y="8038"/>
                    <a:pt x="35668" y="7076"/>
                  </a:cubicBezTo>
                  <a:lnTo>
                    <a:pt x="35668" y="-163"/>
                  </a:lnTo>
                  <a:cubicBezTo>
                    <a:pt x="35640" y="828"/>
                    <a:pt x="35049" y="1723"/>
                    <a:pt x="34144" y="2123"/>
                  </a:cubicBezTo>
                  <a:lnTo>
                    <a:pt x="31763" y="3457"/>
                  </a:lnTo>
                  <a:lnTo>
                    <a:pt x="21476" y="9362"/>
                  </a:lnTo>
                  <a:cubicBezTo>
                    <a:pt x="19114" y="10705"/>
                    <a:pt x="16218" y="10705"/>
                    <a:pt x="13856" y="9362"/>
                  </a:cubicBezTo>
                  <a:lnTo>
                    <a:pt x="3569" y="3457"/>
                  </a:lnTo>
                  <a:lnTo>
                    <a:pt x="1188" y="2123"/>
                  </a:lnTo>
                  <a:cubicBezTo>
                    <a:pt x="283" y="1723"/>
                    <a:pt x="-308"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57" name="í$1îḍê">
              <a:extLst>
                <a:ext uri="{FF2B5EF4-FFF2-40B4-BE49-F238E27FC236}">
                  <a16:creationId xmlns:a16="http://schemas.microsoft.com/office/drawing/2014/main" id="{44A90F4F-D014-4067-9638-028F0A54C08F}"/>
                </a:ext>
              </a:extLst>
            </p:cNvPr>
            <p:cNvSpPr/>
            <p:nvPr/>
          </p:nvSpPr>
          <p:spPr>
            <a:xfrm>
              <a:off x="5651433" y="4969481"/>
              <a:ext cx="109450" cy="63292"/>
            </a:xfrm>
            <a:custGeom>
              <a:avLst/>
              <a:gdLst>
                <a:gd name="connsiteX0" fmla="*/ -336 w 35957"/>
                <a:gd name="connsiteY0" fmla="*/ 10177 h 20793"/>
                <a:gd name="connsiteX1" fmla="*/ 1188 w 35957"/>
                <a:gd name="connsiteY1" fmla="*/ 12463 h 20793"/>
                <a:gd name="connsiteX2" fmla="*/ 3474 w 35957"/>
                <a:gd name="connsiteY2" fmla="*/ 13796 h 20793"/>
                <a:gd name="connsiteX3" fmla="*/ 13761 w 35957"/>
                <a:gd name="connsiteY3" fmla="*/ 19702 h 20793"/>
                <a:gd name="connsiteX4" fmla="*/ 21476 w 35957"/>
                <a:gd name="connsiteY4" fmla="*/ 19702 h 20793"/>
                <a:gd name="connsiteX5" fmla="*/ 31763 w 35957"/>
                <a:gd name="connsiteY5" fmla="*/ 13796 h 20793"/>
                <a:gd name="connsiteX6" fmla="*/ 34049 w 35957"/>
                <a:gd name="connsiteY6" fmla="*/ 12463 h 20793"/>
                <a:gd name="connsiteX7" fmla="*/ 35478 w 35957"/>
                <a:gd name="connsiteY7" fmla="*/ 9415 h 20793"/>
                <a:gd name="connsiteX8" fmla="*/ 34049 w 35957"/>
                <a:gd name="connsiteY8" fmla="*/ 7986 h 20793"/>
                <a:gd name="connsiteX9" fmla="*/ 21476 w 35957"/>
                <a:gd name="connsiteY9" fmla="*/ 652 h 20793"/>
                <a:gd name="connsiteX10" fmla="*/ 13761 w 35957"/>
                <a:gd name="connsiteY10" fmla="*/ 652 h 20793"/>
                <a:gd name="connsiteX11" fmla="*/ 1188 w 35957"/>
                <a:gd name="connsiteY11" fmla="*/ 7986 h 20793"/>
                <a:gd name="connsiteX12" fmla="*/ -336 w 35957"/>
                <a:gd name="connsiteY12" fmla="*/ 10177 h 20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957" h="20793">
                  <a:moveTo>
                    <a:pt x="-336" y="10177"/>
                  </a:moveTo>
                  <a:cubicBezTo>
                    <a:pt x="-269" y="11158"/>
                    <a:pt x="312" y="12025"/>
                    <a:pt x="1188" y="12463"/>
                  </a:cubicBezTo>
                  <a:lnTo>
                    <a:pt x="3474" y="13796"/>
                  </a:lnTo>
                  <a:lnTo>
                    <a:pt x="13761" y="19702"/>
                  </a:lnTo>
                  <a:cubicBezTo>
                    <a:pt x="16180" y="20940"/>
                    <a:pt x="19057" y="20940"/>
                    <a:pt x="21476" y="19702"/>
                  </a:cubicBezTo>
                  <a:lnTo>
                    <a:pt x="31763" y="13796"/>
                  </a:lnTo>
                  <a:lnTo>
                    <a:pt x="34049" y="12463"/>
                  </a:lnTo>
                  <a:cubicBezTo>
                    <a:pt x="35287" y="12015"/>
                    <a:pt x="35925" y="10644"/>
                    <a:pt x="35478" y="9415"/>
                  </a:cubicBezTo>
                  <a:cubicBezTo>
                    <a:pt x="35230" y="8748"/>
                    <a:pt x="34716" y="8224"/>
                    <a:pt x="34049" y="7986"/>
                  </a:cubicBezTo>
                  <a:lnTo>
                    <a:pt x="21476" y="652"/>
                  </a:lnTo>
                  <a:cubicBezTo>
                    <a:pt x="19019" y="-434"/>
                    <a:pt x="16218" y="-434"/>
                    <a:pt x="13761" y="652"/>
                  </a:cubicBezTo>
                  <a:lnTo>
                    <a:pt x="1188" y="7986"/>
                  </a:lnTo>
                  <a:cubicBezTo>
                    <a:pt x="340" y="8405"/>
                    <a:pt x="-241" y="9234"/>
                    <a:pt x="-336" y="10177"/>
                  </a:cubicBezTo>
                  <a:close/>
                </a:path>
              </a:pathLst>
            </a:custGeom>
            <a:solidFill>
              <a:srgbClr val="FFFFFF"/>
            </a:solidFill>
            <a:ln w="9525" cap="flat">
              <a:noFill/>
              <a:prstDash val="solid"/>
              <a:miter/>
            </a:ln>
          </p:spPr>
          <p:txBody>
            <a:bodyPr rtlCol="0" anchor="ctr"/>
            <a:lstStyle/>
            <a:p>
              <a:endParaRPr lang="zh-CN" altLang="en-US"/>
            </a:p>
          </p:txBody>
        </p:sp>
        <p:sp>
          <p:nvSpPr>
            <p:cNvPr id="658" name="ïsļîḑè">
              <a:extLst>
                <a:ext uri="{FF2B5EF4-FFF2-40B4-BE49-F238E27FC236}">
                  <a16:creationId xmlns:a16="http://schemas.microsoft.com/office/drawing/2014/main" id="{626CCB04-3878-4271-8E53-E03773F2F1F5}"/>
                </a:ext>
              </a:extLst>
            </p:cNvPr>
            <p:cNvSpPr/>
            <p:nvPr/>
          </p:nvSpPr>
          <p:spPr>
            <a:xfrm>
              <a:off x="5653275" y="4970802"/>
              <a:ext cx="105618" cy="61104"/>
            </a:xfrm>
            <a:custGeom>
              <a:avLst/>
              <a:gdLst>
                <a:gd name="connsiteX0" fmla="*/ 1154 w 34698"/>
                <a:gd name="connsiteY0" fmla="*/ 12029 h 20074"/>
                <a:gd name="connsiteX1" fmla="*/ 13346 w 34698"/>
                <a:gd name="connsiteY1" fmla="*/ 18983 h 20074"/>
                <a:gd name="connsiteX2" fmla="*/ 20776 w 34698"/>
                <a:gd name="connsiteY2" fmla="*/ 18983 h 20074"/>
                <a:gd name="connsiteX3" fmla="*/ 32872 w 34698"/>
                <a:gd name="connsiteY3" fmla="*/ 12029 h 20074"/>
                <a:gd name="connsiteX4" fmla="*/ 34215 w 34698"/>
                <a:gd name="connsiteY4" fmla="*/ 9086 h 20074"/>
                <a:gd name="connsiteX5" fmla="*/ 32872 w 34698"/>
                <a:gd name="connsiteY5" fmla="*/ 7743 h 20074"/>
                <a:gd name="connsiteX6" fmla="*/ 20776 w 34698"/>
                <a:gd name="connsiteY6" fmla="*/ 695 h 20074"/>
                <a:gd name="connsiteX7" fmla="*/ 13346 w 34698"/>
                <a:gd name="connsiteY7" fmla="*/ 695 h 20074"/>
                <a:gd name="connsiteX8" fmla="*/ 1154 w 34698"/>
                <a:gd name="connsiteY8" fmla="*/ 7743 h 20074"/>
                <a:gd name="connsiteX9" fmla="*/ -189 w 34698"/>
                <a:gd name="connsiteY9" fmla="*/ 10686 h 20074"/>
                <a:gd name="connsiteX10" fmla="*/ 1154 w 34698"/>
                <a:gd name="connsiteY10"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698" h="20074">
                  <a:moveTo>
                    <a:pt x="1154" y="12029"/>
                  </a:moveTo>
                  <a:lnTo>
                    <a:pt x="13346" y="18983"/>
                  </a:lnTo>
                  <a:cubicBezTo>
                    <a:pt x="15670" y="20221"/>
                    <a:pt x="18451" y="20221"/>
                    <a:pt x="20776" y="18983"/>
                  </a:cubicBezTo>
                  <a:lnTo>
                    <a:pt x="32872" y="12029"/>
                  </a:lnTo>
                  <a:cubicBezTo>
                    <a:pt x="34053" y="11591"/>
                    <a:pt x="34663" y="10277"/>
                    <a:pt x="34215" y="9086"/>
                  </a:cubicBezTo>
                  <a:cubicBezTo>
                    <a:pt x="33987" y="8467"/>
                    <a:pt x="33491" y="7972"/>
                    <a:pt x="32872" y="7743"/>
                  </a:cubicBezTo>
                  <a:lnTo>
                    <a:pt x="20776" y="695"/>
                  </a:lnTo>
                  <a:cubicBezTo>
                    <a:pt x="18432" y="-448"/>
                    <a:pt x="15689" y="-448"/>
                    <a:pt x="13346" y="695"/>
                  </a:cubicBezTo>
                  <a:lnTo>
                    <a:pt x="1154" y="7743"/>
                  </a:lnTo>
                  <a:cubicBezTo>
                    <a:pt x="-27" y="8181"/>
                    <a:pt x="-637" y="9496"/>
                    <a:pt x="-189" y="10686"/>
                  </a:cubicBezTo>
                  <a:cubicBezTo>
                    <a:pt x="40" y="11306"/>
                    <a:pt x="525" y="11801"/>
                    <a:pt x="1154" y="12029"/>
                  </a:cubicBezTo>
                  <a:close/>
                </a:path>
              </a:pathLst>
            </a:custGeom>
            <a:solidFill>
              <a:srgbClr val="D1D9E8"/>
            </a:solidFill>
            <a:ln w="9525" cap="flat">
              <a:noFill/>
              <a:prstDash val="solid"/>
              <a:miter/>
            </a:ln>
          </p:spPr>
          <p:txBody>
            <a:bodyPr rtlCol="0" anchor="ctr"/>
            <a:lstStyle/>
            <a:p>
              <a:endParaRPr lang="zh-CN" altLang="en-US"/>
            </a:p>
          </p:txBody>
        </p:sp>
        <p:sp>
          <p:nvSpPr>
            <p:cNvPr id="659" name="îşḷíďê">
              <a:extLst>
                <a:ext uri="{FF2B5EF4-FFF2-40B4-BE49-F238E27FC236}">
                  <a16:creationId xmlns:a16="http://schemas.microsoft.com/office/drawing/2014/main" id="{1FDECEB1-D88C-4EFA-B7B2-90984D19E57C}"/>
                </a:ext>
              </a:extLst>
            </p:cNvPr>
            <p:cNvSpPr/>
            <p:nvPr/>
          </p:nvSpPr>
          <p:spPr>
            <a:xfrm>
              <a:off x="5651433" y="5000955"/>
              <a:ext cx="109594" cy="53801"/>
            </a:xfrm>
            <a:custGeom>
              <a:avLst/>
              <a:gdLst>
                <a:gd name="connsiteX0" fmla="*/ -336 w 36004"/>
                <a:gd name="connsiteY0" fmla="*/ -163 h 17675"/>
                <a:gd name="connsiteX1" fmla="*/ -336 w 36004"/>
                <a:gd name="connsiteY1" fmla="*/ 7076 h 17675"/>
                <a:gd name="connsiteX2" fmla="*/ 1188 w 36004"/>
                <a:gd name="connsiteY2" fmla="*/ 9267 h 17675"/>
                <a:gd name="connsiteX3" fmla="*/ 13761 w 36004"/>
                <a:gd name="connsiteY3" fmla="*/ 16506 h 17675"/>
                <a:gd name="connsiteX4" fmla="*/ 21476 w 36004"/>
                <a:gd name="connsiteY4" fmla="*/ 16506 h 17675"/>
                <a:gd name="connsiteX5" fmla="*/ 34049 w 36004"/>
                <a:gd name="connsiteY5" fmla="*/ 9267 h 17675"/>
                <a:gd name="connsiteX6" fmla="*/ 35668 w 36004"/>
                <a:gd name="connsiteY6" fmla="*/ 6981 h 17675"/>
                <a:gd name="connsiteX7" fmla="*/ 35668 w 36004"/>
                <a:gd name="connsiteY7" fmla="*/ -163 h 17675"/>
                <a:gd name="connsiteX8" fmla="*/ 34049 w 36004"/>
                <a:gd name="connsiteY8" fmla="*/ 2123 h 17675"/>
                <a:gd name="connsiteX9" fmla="*/ 31763 w 36004"/>
                <a:gd name="connsiteY9" fmla="*/ 3457 h 17675"/>
                <a:gd name="connsiteX10" fmla="*/ 21476 w 36004"/>
                <a:gd name="connsiteY10" fmla="*/ 9362 h 17675"/>
                <a:gd name="connsiteX11" fmla="*/ 13761 w 36004"/>
                <a:gd name="connsiteY11" fmla="*/ 9362 h 17675"/>
                <a:gd name="connsiteX12" fmla="*/ 3474 w 36004"/>
                <a:gd name="connsiteY12" fmla="*/ 3457 h 17675"/>
                <a:gd name="connsiteX13" fmla="*/ 1188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79" y="8038"/>
                    <a:pt x="312" y="8877"/>
                    <a:pt x="1188" y="9267"/>
                  </a:cubicBezTo>
                  <a:lnTo>
                    <a:pt x="13761" y="16506"/>
                  </a:lnTo>
                  <a:cubicBezTo>
                    <a:pt x="16161" y="17849"/>
                    <a:pt x="19076" y="17849"/>
                    <a:pt x="21476" y="16506"/>
                  </a:cubicBezTo>
                  <a:lnTo>
                    <a:pt x="34049" y="9267"/>
                  </a:lnTo>
                  <a:cubicBezTo>
                    <a:pt x="34992" y="8896"/>
                    <a:pt x="35630" y="8000"/>
                    <a:pt x="35668" y="6981"/>
                  </a:cubicBezTo>
                  <a:lnTo>
                    <a:pt x="35668" y="-163"/>
                  </a:lnTo>
                  <a:cubicBezTo>
                    <a:pt x="35602" y="847"/>
                    <a:pt x="34982" y="1733"/>
                    <a:pt x="34049" y="2123"/>
                  </a:cubicBezTo>
                  <a:lnTo>
                    <a:pt x="31763" y="3457"/>
                  </a:lnTo>
                  <a:lnTo>
                    <a:pt x="21476" y="9362"/>
                  </a:lnTo>
                  <a:cubicBezTo>
                    <a:pt x="19057" y="10601"/>
                    <a:pt x="16180" y="10601"/>
                    <a:pt x="13761" y="9362"/>
                  </a:cubicBezTo>
                  <a:lnTo>
                    <a:pt x="3474" y="3457"/>
                  </a:lnTo>
                  <a:lnTo>
                    <a:pt x="1188" y="2123"/>
                  </a:lnTo>
                  <a:cubicBezTo>
                    <a:pt x="312"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60" name="íṣlíďê">
              <a:extLst>
                <a:ext uri="{FF2B5EF4-FFF2-40B4-BE49-F238E27FC236}">
                  <a16:creationId xmlns:a16="http://schemas.microsoft.com/office/drawing/2014/main" id="{E5329D14-67AB-4AED-84AB-82C45109985E}"/>
                </a:ext>
              </a:extLst>
            </p:cNvPr>
            <p:cNvSpPr/>
            <p:nvPr/>
          </p:nvSpPr>
          <p:spPr>
            <a:xfrm>
              <a:off x="5728554" y="5014269"/>
              <a:ext cx="109740" cy="63445"/>
            </a:xfrm>
            <a:custGeom>
              <a:avLst/>
              <a:gdLst>
                <a:gd name="connsiteX0" fmla="*/ -336 w 36052"/>
                <a:gd name="connsiteY0" fmla="*/ 10227 h 20843"/>
                <a:gd name="connsiteX1" fmla="*/ 1188 w 36052"/>
                <a:gd name="connsiteY1" fmla="*/ 12513 h 20843"/>
                <a:gd name="connsiteX2" fmla="*/ 3569 w 36052"/>
                <a:gd name="connsiteY2" fmla="*/ 13846 h 20843"/>
                <a:gd name="connsiteX3" fmla="*/ 13856 w 36052"/>
                <a:gd name="connsiteY3" fmla="*/ 19752 h 20843"/>
                <a:gd name="connsiteX4" fmla="*/ 21476 w 36052"/>
                <a:gd name="connsiteY4" fmla="*/ 19752 h 20843"/>
                <a:gd name="connsiteX5" fmla="*/ 31763 w 36052"/>
                <a:gd name="connsiteY5" fmla="*/ 13846 h 20843"/>
                <a:gd name="connsiteX6" fmla="*/ 34144 w 36052"/>
                <a:gd name="connsiteY6" fmla="*/ 12513 h 20843"/>
                <a:gd name="connsiteX7" fmla="*/ 35573 w 36052"/>
                <a:gd name="connsiteY7" fmla="*/ 9465 h 20843"/>
                <a:gd name="connsiteX8" fmla="*/ 34144 w 36052"/>
                <a:gd name="connsiteY8" fmla="*/ 8036 h 20843"/>
                <a:gd name="connsiteX9" fmla="*/ 21476 w 36052"/>
                <a:gd name="connsiteY9" fmla="*/ 702 h 20843"/>
                <a:gd name="connsiteX10" fmla="*/ 13856 w 36052"/>
                <a:gd name="connsiteY10" fmla="*/ 702 h 20843"/>
                <a:gd name="connsiteX11" fmla="*/ 1188 w 36052"/>
                <a:gd name="connsiteY11" fmla="*/ 8036 h 20843"/>
                <a:gd name="connsiteX12" fmla="*/ -336 w 36052"/>
                <a:gd name="connsiteY12" fmla="*/ 10227 h 20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3">
                  <a:moveTo>
                    <a:pt x="-336" y="10227"/>
                  </a:moveTo>
                  <a:cubicBezTo>
                    <a:pt x="-269" y="11208"/>
                    <a:pt x="312" y="12075"/>
                    <a:pt x="1188" y="12513"/>
                  </a:cubicBezTo>
                  <a:lnTo>
                    <a:pt x="3569" y="13846"/>
                  </a:lnTo>
                  <a:lnTo>
                    <a:pt x="13856" y="19752"/>
                  </a:lnTo>
                  <a:cubicBezTo>
                    <a:pt x="16247" y="20990"/>
                    <a:pt x="19085" y="20990"/>
                    <a:pt x="21476" y="19752"/>
                  </a:cubicBezTo>
                  <a:lnTo>
                    <a:pt x="31763" y="13846"/>
                  </a:lnTo>
                  <a:lnTo>
                    <a:pt x="34144" y="12513"/>
                  </a:lnTo>
                  <a:cubicBezTo>
                    <a:pt x="35382" y="12065"/>
                    <a:pt x="36021" y="10694"/>
                    <a:pt x="35573" y="9465"/>
                  </a:cubicBezTo>
                  <a:cubicBezTo>
                    <a:pt x="35325" y="8798"/>
                    <a:pt x="34811" y="8274"/>
                    <a:pt x="34144"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661" name="î$lïḓê">
              <a:extLst>
                <a:ext uri="{FF2B5EF4-FFF2-40B4-BE49-F238E27FC236}">
                  <a16:creationId xmlns:a16="http://schemas.microsoft.com/office/drawing/2014/main" id="{74E15D61-C4AC-4BF2-B973-A05FC1A2D2F7}"/>
                </a:ext>
              </a:extLst>
            </p:cNvPr>
            <p:cNvSpPr/>
            <p:nvPr/>
          </p:nvSpPr>
          <p:spPr>
            <a:xfrm>
              <a:off x="5730441" y="5015450"/>
              <a:ext cx="105898" cy="61104"/>
            </a:xfrm>
            <a:custGeom>
              <a:avLst/>
              <a:gdLst>
                <a:gd name="connsiteX0" fmla="*/ 1235 w 34790"/>
                <a:gd name="connsiteY0" fmla="*/ 12029 h 20074"/>
                <a:gd name="connsiteX1" fmla="*/ 13332 w 34790"/>
                <a:gd name="connsiteY1" fmla="*/ 18983 h 20074"/>
                <a:gd name="connsiteX2" fmla="*/ 20761 w 34790"/>
                <a:gd name="connsiteY2" fmla="*/ 18983 h 20074"/>
                <a:gd name="connsiteX3" fmla="*/ 32953 w 34790"/>
                <a:gd name="connsiteY3" fmla="*/ 12029 h 20074"/>
                <a:gd name="connsiteX4" fmla="*/ 32953 w 34790"/>
                <a:gd name="connsiteY4" fmla="*/ 7743 h 20074"/>
                <a:gd name="connsiteX5" fmla="*/ 20761 w 34790"/>
                <a:gd name="connsiteY5" fmla="*/ 695 h 20074"/>
                <a:gd name="connsiteX6" fmla="*/ 13332 w 34790"/>
                <a:gd name="connsiteY6" fmla="*/ 695 h 20074"/>
                <a:gd name="connsiteX7" fmla="*/ 1235 w 34790"/>
                <a:gd name="connsiteY7" fmla="*/ 7743 h 20074"/>
                <a:gd name="connsiteX8" fmla="*/ 1235 w 34790"/>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4">
                  <a:moveTo>
                    <a:pt x="1235" y="12029"/>
                  </a:moveTo>
                  <a:lnTo>
                    <a:pt x="13332" y="18983"/>
                  </a:lnTo>
                  <a:cubicBezTo>
                    <a:pt x="15656" y="20221"/>
                    <a:pt x="18437" y="20221"/>
                    <a:pt x="20761" y="18983"/>
                  </a:cubicBezTo>
                  <a:lnTo>
                    <a:pt x="32953" y="12029"/>
                  </a:lnTo>
                  <a:cubicBezTo>
                    <a:pt x="34954" y="10791"/>
                    <a:pt x="34954" y="8886"/>
                    <a:pt x="32953" y="7743"/>
                  </a:cubicBezTo>
                  <a:lnTo>
                    <a:pt x="20761" y="695"/>
                  </a:lnTo>
                  <a:cubicBezTo>
                    <a:pt x="18418" y="-448"/>
                    <a:pt x="15675" y="-448"/>
                    <a:pt x="13332" y="695"/>
                  </a:cubicBezTo>
                  <a:lnTo>
                    <a:pt x="1235" y="7743"/>
                  </a:lnTo>
                  <a:cubicBezTo>
                    <a:pt x="-860" y="8886"/>
                    <a:pt x="-860" y="10791"/>
                    <a:pt x="1235" y="12029"/>
                  </a:cubicBezTo>
                  <a:close/>
                </a:path>
              </a:pathLst>
            </a:custGeom>
            <a:solidFill>
              <a:srgbClr val="D1D9E8"/>
            </a:solidFill>
            <a:ln w="9525" cap="flat">
              <a:noFill/>
              <a:prstDash val="solid"/>
              <a:miter/>
            </a:ln>
          </p:spPr>
          <p:txBody>
            <a:bodyPr rtlCol="0" anchor="ctr"/>
            <a:lstStyle/>
            <a:p>
              <a:endParaRPr lang="zh-CN" altLang="en-US"/>
            </a:p>
          </p:txBody>
        </p:sp>
        <p:sp>
          <p:nvSpPr>
            <p:cNvPr id="662" name="îṩḷîḓe">
              <a:extLst>
                <a:ext uri="{FF2B5EF4-FFF2-40B4-BE49-F238E27FC236}">
                  <a16:creationId xmlns:a16="http://schemas.microsoft.com/office/drawing/2014/main" id="{0C1A9DF4-16AD-46B3-822A-B2396D4A45A4}"/>
                </a:ext>
              </a:extLst>
            </p:cNvPr>
            <p:cNvSpPr/>
            <p:nvPr/>
          </p:nvSpPr>
          <p:spPr>
            <a:xfrm>
              <a:off x="5728554" y="5045893"/>
              <a:ext cx="109594" cy="53804"/>
            </a:xfrm>
            <a:custGeom>
              <a:avLst/>
              <a:gdLst>
                <a:gd name="connsiteX0" fmla="*/ -336 w 36004"/>
                <a:gd name="connsiteY0" fmla="*/ -163 h 17676"/>
                <a:gd name="connsiteX1" fmla="*/ -336 w 36004"/>
                <a:gd name="connsiteY1" fmla="*/ 7076 h 17676"/>
                <a:gd name="connsiteX2" fmla="*/ 1188 w 36004"/>
                <a:gd name="connsiteY2" fmla="*/ 9267 h 17676"/>
                <a:gd name="connsiteX3" fmla="*/ 13856 w 36004"/>
                <a:gd name="connsiteY3" fmla="*/ 16506 h 17676"/>
                <a:gd name="connsiteX4" fmla="*/ 21476 w 36004"/>
                <a:gd name="connsiteY4" fmla="*/ 16506 h 17676"/>
                <a:gd name="connsiteX5" fmla="*/ 34144 w 36004"/>
                <a:gd name="connsiteY5" fmla="*/ 9267 h 17676"/>
                <a:gd name="connsiteX6" fmla="*/ 35668 w 36004"/>
                <a:gd name="connsiteY6" fmla="*/ 6981 h 17676"/>
                <a:gd name="connsiteX7" fmla="*/ 35668 w 36004"/>
                <a:gd name="connsiteY7" fmla="*/ -163 h 17676"/>
                <a:gd name="connsiteX8" fmla="*/ 34144 w 36004"/>
                <a:gd name="connsiteY8" fmla="*/ 2124 h 17676"/>
                <a:gd name="connsiteX9" fmla="*/ 31763 w 36004"/>
                <a:gd name="connsiteY9" fmla="*/ 3457 h 17676"/>
                <a:gd name="connsiteX10" fmla="*/ 21476 w 36004"/>
                <a:gd name="connsiteY10" fmla="*/ 9362 h 17676"/>
                <a:gd name="connsiteX11" fmla="*/ 13856 w 36004"/>
                <a:gd name="connsiteY11" fmla="*/ 9362 h 17676"/>
                <a:gd name="connsiteX12" fmla="*/ 3569 w 36004"/>
                <a:gd name="connsiteY12" fmla="*/ 3457 h 17676"/>
                <a:gd name="connsiteX13" fmla="*/ 1188 w 36004"/>
                <a:gd name="connsiteY13" fmla="*/ 2124 h 17676"/>
                <a:gd name="connsiteX14" fmla="*/ -336 w 36004"/>
                <a:gd name="connsiteY14" fmla="*/ -163 h 17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6">
                  <a:moveTo>
                    <a:pt x="-336" y="-163"/>
                  </a:moveTo>
                  <a:lnTo>
                    <a:pt x="-336" y="7076"/>
                  </a:lnTo>
                  <a:cubicBezTo>
                    <a:pt x="-279" y="8029"/>
                    <a:pt x="312" y="8877"/>
                    <a:pt x="1188" y="9267"/>
                  </a:cubicBezTo>
                  <a:lnTo>
                    <a:pt x="13856" y="16506"/>
                  </a:lnTo>
                  <a:cubicBezTo>
                    <a:pt x="16218" y="17849"/>
                    <a:pt x="19114" y="17849"/>
                    <a:pt x="21476" y="16506"/>
                  </a:cubicBezTo>
                  <a:lnTo>
                    <a:pt x="34144" y="9267"/>
                  </a:lnTo>
                  <a:cubicBezTo>
                    <a:pt x="35049" y="8867"/>
                    <a:pt x="35640" y="7972"/>
                    <a:pt x="35668" y="6981"/>
                  </a:cubicBezTo>
                  <a:lnTo>
                    <a:pt x="35668" y="-163"/>
                  </a:lnTo>
                  <a:cubicBezTo>
                    <a:pt x="35602" y="819"/>
                    <a:pt x="35021" y="1685"/>
                    <a:pt x="34144" y="2124"/>
                  </a:cubicBezTo>
                  <a:lnTo>
                    <a:pt x="31763" y="3457"/>
                  </a:lnTo>
                  <a:lnTo>
                    <a:pt x="21476" y="9362"/>
                  </a:lnTo>
                  <a:cubicBezTo>
                    <a:pt x="19085" y="10601"/>
                    <a:pt x="16247" y="10601"/>
                    <a:pt x="13856" y="9362"/>
                  </a:cubicBezTo>
                  <a:lnTo>
                    <a:pt x="3569" y="3457"/>
                  </a:lnTo>
                  <a:lnTo>
                    <a:pt x="1188" y="2124"/>
                  </a:lnTo>
                  <a:cubicBezTo>
                    <a:pt x="312" y="1685"/>
                    <a:pt x="-269" y="819"/>
                    <a:pt x="-336" y="-163"/>
                  </a:cubicBezTo>
                  <a:close/>
                </a:path>
              </a:pathLst>
            </a:custGeom>
            <a:solidFill>
              <a:srgbClr val="BF4200"/>
            </a:solidFill>
            <a:ln w="9525" cap="flat">
              <a:noFill/>
              <a:prstDash val="solid"/>
              <a:miter/>
            </a:ln>
          </p:spPr>
          <p:txBody>
            <a:bodyPr rtlCol="0" anchor="ctr"/>
            <a:lstStyle/>
            <a:p>
              <a:endParaRPr lang="zh-CN" altLang="en-US"/>
            </a:p>
          </p:txBody>
        </p:sp>
        <p:sp>
          <p:nvSpPr>
            <p:cNvPr id="663" name="íṡļíḋe">
              <a:extLst>
                <a:ext uri="{FF2B5EF4-FFF2-40B4-BE49-F238E27FC236}">
                  <a16:creationId xmlns:a16="http://schemas.microsoft.com/office/drawing/2014/main" id="{2CCCE401-C154-44EA-8C40-BDB98AC0155A}"/>
                </a:ext>
              </a:extLst>
            </p:cNvPr>
            <p:cNvSpPr/>
            <p:nvPr/>
          </p:nvSpPr>
          <p:spPr>
            <a:xfrm>
              <a:off x="5805967" y="5058921"/>
              <a:ext cx="109740" cy="63445"/>
            </a:xfrm>
            <a:custGeom>
              <a:avLst/>
              <a:gdLst>
                <a:gd name="connsiteX0" fmla="*/ -336 w 36052"/>
                <a:gd name="connsiteY0" fmla="*/ 10227 h 20843"/>
                <a:gd name="connsiteX1" fmla="*/ 1188 w 36052"/>
                <a:gd name="connsiteY1" fmla="*/ 12513 h 20843"/>
                <a:gd name="connsiteX2" fmla="*/ 3569 w 36052"/>
                <a:gd name="connsiteY2" fmla="*/ 13846 h 20843"/>
                <a:gd name="connsiteX3" fmla="*/ 13856 w 36052"/>
                <a:gd name="connsiteY3" fmla="*/ 19752 h 20843"/>
                <a:gd name="connsiteX4" fmla="*/ 21476 w 36052"/>
                <a:gd name="connsiteY4" fmla="*/ 19752 h 20843"/>
                <a:gd name="connsiteX5" fmla="*/ 31763 w 36052"/>
                <a:gd name="connsiteY5" fmla="*/ 13846 h 20843"/>
                <a:gd name="connsiteX6" fmla="*/ 34144 w 36052"/>
                <a:gd name="connsiteY6" fmla="*/ 12513 h 20843"/>
                <a:gd name="connsiteX7" fmla="*/ 35573 w 36052"/>
                <a:gd name="connsiteY7" fmla="*/ 9465 h 20843"/>
                <a:gd name="connsiteX8" fmla="*/ 34144 w 36052"/>
                <a:gd name="connsiteY8" fmla="*/ 8036 h 20843"/>
                <a:gd name="connsiteX9" fmla="*/ 21476 w 36052"/>
                <a:gd name="connsiteY9" fmla="*/ 702 h 20843"/>
                <a:gd name="connsiteX10" fmla="*/ 13856 w 36052"/>
                <a:gd name="connsiteY10" fmla="*/ 702 h 20843"/>
                <a:gd name="connsiteX11" fmla="*/ 1188 w 36052"/>
                <a:gd name="connsiteY11" fmla="*/ 8036 h 20843"/>
                <a:gd name="connsiteX12" fmla="*/ -336 w 36052"/>
                <a:gd name="connsiteY12" fmla="*/ 10227 h 20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3">
                  <a:moveTo>
                    <a:pt x="-336" y="10227"/>
                  </a:moveTo>
                  <a:cubicBezTo>
                    <a:pt x="-270" y="11208"/>
                    <a:pt x="311" y="12075"/>
                    <a:pt x="1188" y="12513"/>
                  </a:cubicBezTo>
                  <a:lnTo>
                    <a:pt x="3569" y="13846"/>
                  </a:lnTo>
                  <a:lnTo>
                    <a:pt x="13856" y="19752"/>
                  </a:lnTo>
                  <a:cubicBezTo>
                    <a:pt x="16247" y="20990"/>
                    <a:pt x="19085" y="20990"/>
                    <a:pt x="21476" y="19752"/>
                  </a:cubicBezTo>
                  <a:lnTo>
                    <a:pt x="31763" y="13846"/>
                  </a:lnTo>
                  <a:lnTo>
                    <a:pt x="34144" y="12513"/>
                  </a:lnTo>
                  <a:cubicBezTo>
                    <a:pt x="35382" y="12065"/>
                    <a:pt x="36020" y="10694"/>
                    <a:pt x="35573" y="9465"/>
                  </a:cubicBezTo>
                  <a:cubicBezTo>
                    <a:pt x="35325" y="8798"/>
                    <a:pt x="34811" y="8274"/>
                    <a:pt x="34144"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664" name="îṥliḋè">
              <a:extLst>
                <a:ext uri="{FF2B5EF4-FFF2-40B4-BE49-F238E27FC236}">
                  <a16:creationId xmlns:a16="http://schemas.microsoft.com/office/drawing/2014/main" id="{22695C9E-1F0D-4BD0-A71D-FD591A1A026A}"/>
                </a:ext>
              </a:extLst>
            </p:cNvPr>
            <p:cNvSpPr/>
            <p:nvPr/>
          </p:nvSpPr>
          <p:spPr>
            <a:xfrm>
              <a:off x="5807781" y="5060102"/>
              <a:ext cx="105895" cy="61101"/>
            </a:xfrm>
            <a:custGeom>
              <a:avLst/>
              <a:gdLst>
                <a:gd name="connsiteX0" fmla="*/ 1164 w 34789"/>
                <a:gd name="connsiteY0" fmla="*/ 12029 h 20073"/>
                <a:gd name="connsiteX1" fmla="*/ 13356 w 34789"/>
                <a:gd name="connsiteY1" fmla="*/ 18982 h 20073"/>
                <a:gd name="connsiteX2" fmla="*/ 20785 w 34789"/>
                <a:gd name="connsiteY2" fmla="*/ 18982 h 20073"/>
                <a:gd name="connsiteX3" fmla="*/ 32882 w 34789"/>
                <a:gd name="connsiteY3" fmla="*/ 12029 h 20073"/>
                <a:gd name="connsiteX4" fmla="*/ 32882 w 34789"/>
                <a:gd name="connsiteY4" fmla="*/ 7743 h 20073"/>
                <a:gd name="connsiteX5" fmla="*/ 20785 w 34789"/>
                <a:gd name="connsiteY5" fmla="*/ 695 h 20073"/>
                <a:gd name="connsiteX6" fmla="*/ 13356 w 34789"/>
                <a:gd name="connsiteY6" fmla="*/ 695 h 20073"/>
                <a:gd name="connsiteX7" fmla="*/ 1164 w 34789"/>
                <a:gd name="connsiteY7" fmla="*/ 7743 h 20073"/>
                <a:gd name="connsiteX8" fmla="*/ 1164 w 34789"/>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89" h="20073">
                  <a:moveTo>
                    <a:pt x="1164" y="12029"/>
                  </a:moveTo>
                  <a:lnTo>
                    <a:pt x="13356" y="18982"/>
                  </a:lnTo>
                  <a:cubicBezTo>
                    <a:pt x="15680" y="20221"/>
                    <a:pt x="18461" y="20221"/>
                    <a:pt x="20785" y="18982"/>
                  </a:cubicBezTo>
                  <a:lnTo>
                    <a:pt x="32882" y="12029"/>
                  </a:lnTo>
                  <a:cubicBezTo>
                    <a:pt x="34977" y="10791"/>
                    <a:pt x="34977" y="8886"/>
                    <a:pt x="32882" y="7743"/>
                  </a:cubicBezTo>
                  <a:lnTo>
                    <a:pt x="20785" y="695"/>
                  </a:lnTo>
                  <a:cubicBezTo>
                    <a:pt x="18442" y="-448"/>
                    <a:pt x="15699" y="-448"/>
                    <a:pt x="13356" y="695"/>
                  </a:cubicBezTo>
                  <a:lnTo>
                    <a:pt x="1164" y="7743"/>
                  </a:lnTo>
                  <a:cubicBezTo>
                    <a:pt x="-836" y="8981"/>
                    <a:pt x="-836" y="10791"/>
                    <a:pt x="1164" y="12029"/>
                  </a:cubicBezTo>
                  <a:close/>
                </a:path>
              </a:pathLst>
            </a:custGeom>
            <a:solidFill>
              <a:srgbClr val="D1D9E8"/>
            </a:solidFill>
            <a:ln w="9525" cap="flat">
              <a:noFill/>
              <a:prstDash val="solid"/>
              <a:miter/>
            </a:ln>
          </p:spPr>
          <p:txBody>
            <a:bodyPr rtlCol="0" anchor="ctr"/>
            <a:lstStyle/>
            <a:p>
              <a:endParaRPr lang="zh-CN" altLang="en-US"/>
            </a:p>
          </p:txBody>
        </p:sp>
        <p:sp>
          <p:nvSpPr>
            <p:cNvPr id="665" name="íṡḷïde">
              <a:extLst>
                <a:ext uri="{FF2B5EF4-FFF2-40B4-BE49-F238E27FC236}">
                  <a16:creationId xmlns:a16="http://schemas.microsoft.com/office/drawing/2014/main" id="{DC597F75-2CD6-4096-BF3E-BA3CB2001104}"/>
                </a:ext>
              </a:extLst>
            </p:cNvPr>
            <p:cNvSpPr/>
            <p:nvPr/>
          </p:nvSpPr>
          <p:spPr>
            <a:xfrm>
              <a:off x="5805967" y="5090544"/>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3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3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2" y="7953"/>
                    <a:pt x="35668" y="6981"/>
                  </a:cubicBezTo>
                  <a:lnTo>
                    <a:pt x="35668" y="-163"/>
                  </a:lnTo>
                  <a:cubicBezTo>
                    <a:pt x="35602" y="818"/>
                    <a:pt x="35021" y="1685"/>
                    <a:pt x="34144" y="2123"/>
                  </a:cubicBezTo>
                  <a:lnTo>
                    <a:pt x="31763" y="3457"/>
                  </a:lnTo>
                  <a:lnTo>
                    <a:pt x="21476" y="9362"/>
                  </a:lnTo>
                  <a:cubicBezTo>
                    <a:pt x="19085" y="10601"/>
                    <a:pt x="16247" y="10601"/>
                    <a:pt x="13856" y="9362"/>
                  </a:cubicBezTo>
                  <a:lnTo>
                    <a:pt x="3569" y="3457"/>
                  </a:lnTo>
                  <a:lnTo>
                    <a:pt x="1188"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66" name="îšliďe">
              <a:extLst>
                <a:ext uri="{FF2B5EF4-FFF2-40B4-BE49-F238E27FC236}">
                  <a16:creationId xmlns:a16="http://schemas.microsoft.com/office/drawing/2014/main" id="{D018562C-4818-4980-9C0B-3CCA69D26A11}"/>
                </a:ext>
              </a:extLst>
            </p:cNvPr>
            <p:cNvSpPr/>
            <p:nvPr/>
          </p:nvSpPr>
          <p:spPr>
            <a:xfrm>
              <a:off x="5883091" y="5103721"/>
              <a:ext cx="109740" cy="63292"/>
            </a:xfrm>
            <a:custGeom>
              <a:avLst/>
              <a:gdLst>
                <a:gd name="connsiteX0" fmla="*/ -336 w 36052"/>
                <a:gd name="connsiteY0" fmla="*/ 10177 h 20793"/>
                <a:gd name="connsiteX1" fmla="*/ 1283 w 36052"/>
                <a:gd name="connsiteY1" fmla="*/ 12463 h 20793"/>
                <a:gd name="connsiteX2" fmla="*/ 3569 w 36052"/>
                <a:gd name="connsiteY2" fmla="*/ 13796 h 20793"/>
                <a:gd name="connsiteX3" fmla="*/ 13856 w 36052"/>
                <a:gd name="connsiteY3" fmla="*/ 19702 h 20793"/>
                <a:gd name="connsiteX4" fmla="*/ 21571 w 36052"/>
                <a:gd name="connsiteY4" fmla="*/ 19702 h 20793"/>
                <a:gd name="connsiteX5" fmla="*/ 31858 w 36052"/>
                <a:gd name="connsiteY5" fmla="*/ 13796 h 20793"/>
                <a:gd name="connsiteX6" fmla="*/ 34144 w 36052"/>
                <a:gd name="connsiteY6" fmla="*/ 12463 h 20793"/>
                <a:gd name="connsiteX7" fmla="*/ 35573 w 36052"/>
                <a:gd name="connsiteY7" fmla="*/ 9415 h 20793"/>
                <a:gd name="connsiteX8" fmla="*/ 34144 w 36052"/>
                <a:gd name="connsiteY8" fmla="*/ 7986 h 20793"/>
                <a:gd name="connsiteX9" fmla="*/ 21571 w 36052"/>
                <a:gd name="connsiteY9" fmla="*/ 652 h 20793"/>
                <a:gd name="connsiteX10" fmla="*/ 13856 w 36052"/>
                <a:gd name="connsiteY10" fmla="*/ 652 h 20793"/>
                <a:gd name="connsiteX11" fmla="*/ 1283 w 36052"/>
                <a:gd name="connsiteY11" fmla="*/ 7986 h 20793"/>
                <a:gd name="connsiteX12" fmla="*/ -336 w 36052"/>
                <a:gd name="connsiteY12" fmla="*/ 10177 h 20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793">
                  <a:moveTo>
                    <a:pt x="-336" y="10177"/>
                  </a:moveTo>
                  <a:cubicBezTo>
                    <a:pt x="-270" y="11186"/>
                    <a:pt x="359" y="12072"/>
                    <a:pt x="1283" y="12463"/>
                  </a:cubicBezTo>
                  <a:lnTo>
                    <a:pt x="3569" y="13796"/>
                  </a:lnTo>
                  <a:lnTo>
                    <a:pt x="13856" y="19702"/>
                  </a:lnTo>
                  <a:cubicBezTo>
                    <a:pt x="16275" y="20940"/>
                    <a:pt x="19152" y="20940"/>
                    <a:pt x="21571" y="19702"/>
                  </a:cubicBezTo>
                  <a:lnTo>
                    <a:pt x="31858" y="13796"/>
                  </a:lnTo>
                  <a:lnTo>
                    <a:pt x="34144" y="12463"/>
                  </a:lnTo>
                  <a:cubicBezTo>
                    <a:pt x="35382" y="12015"/>
                    <a:pt x="36020" y="10643"/>
                    <a:pt x="35573" y="9415"/>
                  </a:cubicBezTo>
                  <a:cubicBezTo>
                    <a:pt x="35325" y="8748"/>
                    <a:pt x="34811" y="8224"/>
                    <a:pt x="34144" y="7986"/>
                  </a:cubicBezTo>
                  <a:lnTo>
                    <a:pt x="21571" y="652"/>
                  </a:lnTo>
                  <a:cubicBezTo>
                    <a:pt x="19114" y="-434"/>
                    <a:pt x="16313" y="-434"/>
                    <a:pt x="13856" y="652"/>
                  </a:cubicBezTo>
                  <a:lnTo>
                    <a:pt x="1283" y="7986"/>
                  </a:lnTo>
                  <a:cubicBezTo>
                    <a:pt x="378" y="8367"/>
                    <a:pt x="-241" y="9205"/>
                    <a:pt x="-336" y="10177"/>
                  </a:cubicBezTo>
                  <a:close/>
                </a:path>
              </a:pathLst>
            </a:custGeom>
            <a:solidFill>
              <a:srgbClr val="FFFFFF"/>
            </a:solidFill>
            <a:ln w="9525" cap="flat">
              <a:noFill/>
              <a:prstDash val="solid"/>
              <a:miter/>
            </a:ln>
          </p:spPr>
          <p:txBody>
            <a:bodyPr rtlCol="0" anchor="ctr"/>
            <a:lstStyle/>
            <a:p>
              <a:endParaRPr lang="zh-CN" altLang="en-US"/>
            </a:p>
          </p:txBody>
        </p:sp>
        <p:sp>
          <p:nvSpPr>
            <p:cNvPr id="667" name="î$ľïďe">
              <a:extLst>
                <a:ext uri="{FF2B5EF4-FFF2-40B4-BE49-F238E27FC236}">
                  <a16:creationId xmlns:a16="http://schemas.microsoft.com/office/drawing/2014/main" id="{6A2B2681-E49D-4696-AFF7-72BB55DD3CD5}"/>
                </a:ext>
              </a:extLst>
            </p:cNvPr>
            <p:cNvSpPr/>
            <p:nvPr/>
          </p:nvSpPr>
          <p:spPr>
            <a:xfrm>
              <a:off x="5884975" y="5104750"/>
              <a:ext cx="105898" cy="61101"/>
            </a:xfrm>
            <a:custGeom>
              <a:avLst/>
              <a:gdLst>
                <a:gd name="connsiteX0" fmla="*/ 1235 w 34790"/>
                <a:gd name="connsiteY0" fmla="*/ 12029 h 20073"/>
                <a:gd name="connsiteX1" fmla="*/ 13332 w 34790"/>
                <a:gd name="connsiteY1" fmla="*/ 18983 h 20073"/>
                <a:gd name="connsiteX2" fmla="*/ 20762 w 34790"/>
                <a:gd name="connsiteY2" fmla="*/ 18983 h 20073"/>
                <a:gd name="connsiteX3" fmla="*/ 32954 w 34790"/>
                <a:gd name="connsiteY3" fmla="*/ 12029 h 20073"/>
                <a:gd name="connsiteX4" fmla="*/ 32954 w 34790"/>
                <a:gd name="connsiteY4" fmla="*/ 7743 h 20073"/>
                <a:gd name="connsiteX5" fmla="*/ 20762 w 34790"/>
                <a:gd name="connsiteY5" fmla="*/ 695 h 20073"/>
                <a:gd name="connsiteX6" fmla="*/ 13332 w 34790"/>
                <a:gd name="connsiteY6" fmla="*/ 695 h 20073"/>
                <a:gd name="connsiteX7" fmla="*/ 1235 w 34790"/>
                <a:gd name="connsiteY7" fmla="*/ 7743 h 20073"/>
                <a:gd name="connsiteX8" fmla="*/ 1235 w 34790"/>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3">
                  <a:moveTo>
                    <a:pt x="1235" y="12029"/>
                  </a:moveTo>
                  <a:lnTo>
                    <a:pt x="13332" y="18983"/>
                  </a:lnTo>
                  <a:cubicBezTo>
                    <a:pt x="15656" y="20221"/>
                    <a:pt x="18437" y="20221"/>
                    <a:pt x="20762" y="18983"/>
                  </a:cubicBezTo>
                  <a:lnTo>
                    <a:pt x="32954" y="12029"/>
                  </a:lnTo>
                  <a:cubicBezTo>
                    <a:pt x="34954" y="10791"/>
                    <a:pt x="34954" y="8886"/>
                    <a:pt x="32954" y="7743"/>
                  </a:cubicBezTo>
                  <a:lnTo>
                    <a:pt x="20762" y="695"/>
                  </a:lnTo>
                  <a:cubicBezTo>
                    <a:pt x="18419" y="-448"/>
                    <a:pt x="15675" y="-448"/>
                    <a:pt x="13332" y="695"/>
                  </a:cubicBezTo>
                  <a:lnTo>
                    <a:pt x="1235" y="7743"/>
                  </a:lnTo>
                  <a:cubicBezTo>
                    <a:pt x="-860" y="8886"/>
                    <a:pt x="-860" y="10791"/>
                    <a:pt x="1235" y="12029"/>
                  </a:cubicBezTo>
                  <a:close/>
                </a:path>
              </a:pathLst>
            </a:custGeom>
            <a:solidFill>
              <a:srgbClr val="D1D9E8"/>
            </a:solidFill>
            <a:ln w="9525" cap="flat">
              <a:noFill/>
              <a:prstDash val="solid"/>
              <a:miter/>
            </a:ln>
          </p:spPr>
          <p:txBody>
            <a:bodyPr rtlCol="0" anchor="ctr"/>
            <a:lstStyle/>
            <a:p>
              <a:endParaRPr lang="zh-CN" altLang="en-US"/>
            </a:p>
          </p:txBody>
        </p:sp>
        <p:sp>
          <p:nvSpPr>
            <p:cNvPr id="668" name="îşlîďé">
              <a:extLst>
                <a:ext uri="{FF2B5EF4-FFF2-40B4-BE49-F238E27FC236}">
                  <a16:creationId xmlns:a16="http://schemas.microsoft.com/office/drawing/2014/main" id="{C6D203AF-485E-478E-9DE8-61F5ADA07333}"/>
                </a:ext>
              </a:extLst>
            </p:cNvPr>
            <p:cNvSpPr/>
            <p:nvPr/>
          </p:nvSpPr>
          <p:spPr>
            <a:xfrm>
              <a:off x="5883091" y="5135195"/>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4 w 36099"/>
                <a:gd name="connsiteY6" fmla="*/ 6981 h 17597"/>
                <a:gd name="connsiteX7" fmla="*/ 35764 w 36099"/>
                <a:gd name="connsiteY7" fmla="*/ -163 h 17597"/>
                <a:gd name="connsiteX8" fmla="*/ 34144 w 36099"/>
                <a:gd name="connsiteY8" fmla="*/ 2123 h 17597"/>
                <a:gd name="connsiteX9" fmla="*/ 31858 w 36099"/>
                <a:gd name="connsiteY9" fmla="*/ 3457 h 17597"/>
                <a:gd name="connsiteX10" fmla="*/ 21571 w 36099"/>
                <a:gd name="connsiteY10" fmla="*/ 9362 h 17597"/>
                <a:gd name="connsiteX11" fmla="*/ 13856 w 36099"/>
                <a:gd name="connsiteY11" fmla="*/ 9362 h 17597"/>
                <a:gd name="connsiteX12" fmla="*/ 3569 w 36099"/>
                <a:gd name="connsiteY12" fmla="*/ 3457 h 17597"/>
                <a:gd name="connsiteX13" fmla="*/ 1283 w 36099"/>
                <a:gd name="connsiteY13" fmla="*/ 2123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41" y="8048"/>
                    <a:pt x="387" y="8886"/>
                    <a:pt x="1283" y="9267"/>
                  </a:cubicBezTo>
                  <a:lnTo>
                    <a:pt x="13856" y="16506"/>
                  </a:lnTo>
                  <a:cubicBezTo>
                    <a:pt x="16275" y="17744"/>
                    <a:pt x="19152" y="17744"/>
                    <a:pt x="21571" y="16506"/>
                  </a:cubicBezTo>
                  <a:lnTo>
                    <a:pt x="34144" y="9267"/>
                  </a:lnTo>
                  <a:cubicBezTo>
                    <a:pt x="35030" y="8829"/>
                    <a:pt x="35640" y="7962"/>
                    <a:pt x="35764" y="6981"/>
                  </a:cubicBezTo>
                  <a:lnTo>
                    <a:pt x="35764" y="-163"/>
                  </a:lnTo>
                  <a:cubicBezTo>
                    <a:pt x="35659" y="828"/>
                    <a:pt x="35049" y="1695"/>
                    <a:pt x="34144" y="2123"/>
                  </a:cubicBezTo>
                  <a:lnTo>
                    <a:pt x="31858" y="3457"/>
                  </a:lnTo>
                  <a:lnTo>
                    <a:pt x="21571" y="9362"/>
                  </a:lnTo>
                  <a:cubicBezTo>
                    <a:pt x="19152" y="10601"/>
                    <a:pt x="16275" y="10601"/>
                    <a:pt x="13856" y="9362"/>
                  </a:cubicBezTo>
                  <a:lnTo>
                    <a:pt x="3569" y="3457"/>
                  </a:lnTo>
                  <a:lnTo>
                    <a:pt x="1283" y="2123"/>
                  </a:lnTo>
                  <a:cubicBezTo>
                    <a:pt x="349" y="1733"/>
                    <a:pt x="-270" y="847"/>
                    <a:pt x="-336" y="-163"/>
                  </a:cubicBezTo>
                  <a:close/>
                </a:path>
              </a:pathLst>
            </a:custGeom>
            <a:solidFill>
              <a:srgbClr val="BF4200"/>
            </a:solidFill>
            <a:ln w="9525" cap="flat">
              <a:noFill/>
              <a:prstDash val="solid"/>
              <a:miter/>
            </a:ln>
          </p:spPr>
          <p:txBody>
            <a:bodyPr rtlCol="0" anchor="ctr"/>
            <a:lstStyle/>
            <a:p>
              <a:endParaRPr lang="zh-CN" altLang="en-US"/>
            </a:p>
          </p:txBody>
        </p:sp>
        <p:sp>
          <p:nvSpPr>
            <p:cNvPr id="669" name="íşľiďè">
              <a:extLst>
                <a:ext uri="{FF2B5EF4-FFF2-40B4-BE49-F238E27FC236}">
                  <a16:creationId xmlns:a16="http://schemas.microsoft.com/office/drawing/2014/main" id="{AF2055F2-0EB7-4959-A7C9-F5F21E2F1214}"/>
                </a:ext>
              </a:extLst>
            </p:cNvPr>
            <p:cNvSpPr/>
            <p:nvPr/>
          </p:nvSpPr>
          <p:spPr>
            <a:xfrm>
              <a:off x="5960501" y="5148023"/>
              <a:ext cx="109594" cy="63639"/>
            </a:xfrm>
            <a:custGeom>
              <a:avLst/>
              <a:gdLst>
                <a:gd name="connsiteX0" fmla="*/ -336 w 36004"/>
                <a:gd name="connsiteY0" fmla="*/ 10291 h 20907"/>
                <a:gd name="connsiteX1" fmla="*/ 1188 w 36004"/>
                <a:gd name="connsiteY1" fmla="*/ 12577 h 20907"/>
                <a:gd name="connsiteX2" fmla="*/ 3569 w 36004"/>
                <a:gd name="connsiteY2" fmla="*/ 13910 h 20907"/>
                <a:gd name="connsiteX3" fmla="*/ 13856 w 36004"/>
                <a:gd name="connsiteY3" fmla="*/ 19816 h 20907"/>
                <a:gd name="connsiteX4" fmla="*/ 21476 w 36004"/>
                <a:gd name="connsiteY4" fmla="*/ 19816 h 20907"/>
                <a:gd name="connsiteX5" fmla="*/ 31763 w 36004"/>
                <a:gd name="connsiteY5" fmla="*/ 13910 h 20907"/>
                <a:gd name="connsiteX6" fmla="*/ 34144 w 36004"/>
                <a:gd name="connsiteY6" fmla="*/ 12577 h 20907"/>
                <a:gd name="connsiteX7" fmla="*/ 35668 w 36004"/>
                <a:gd name="connsiteY7" fmla="*/ 10291 h 20907"/>
                <a:gd name="connsiteX8" fmla="*/ 34144 w 36004"/>
                <a:gd name="connsiteY8" fmla="*/ 8100 h 20907"/>
                <a:gd name="connsiteX9" fmla="*/ 21476 w 36004"/>
                <a:gd name="connsiteY9" fmla="*/ 766 h 20907"/>
                <a:gd name="connsiteX10" fmla="*/ 13856 w 36004"/>
                <a:gd name="connsiteY10" fmla="*/ 766 h 20907"/>
                <a:gd name="connsiteX11" fmla="*/ 1188 w 36004"/>
                <a:gd name="connsiteY11" fmla="*/ 8100 h 20907"/>
                <a:gd name="connsiteX12" fmla="*/ -336 w 36004"/>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907">
                  <a:moveTo>
                    <a:pt x="-336" y="10291"/>
                  </a:moveTo>
                  <a:cubicBezTo>
                    <a:pt x="-269" y="11272"/>
                    <a:pt x="312" y="12139"/>
                    <a:pt x="1188" y="12577"/>
                  </a:cubicBezTo>
                  <a:lnTo>
                    <a:pt x="3569" y="13910"/>
                  </a:lnTo>
                  <a:lnTo>
                    <a:pt x="13856" y="19816"/>
                  </a:lnTo>
                  <a:cubicBezTo>
                    <a:pt x="16247" y="21054"/>
                    <a:pt x="19085" y="21054"/>
                    <a:pt x="21476" y="19816"/>
                  </a:cubicBezTo>
                  <a:lnTo>
                    <a:pt x="31763" y="13910"/>
                  </a:lnTo>
                  <a:lnTo>
                    <a:pt x="34144" y="12577"/>
                  </a:lnTo>
                  <a:cubicBezTo>
                    <a:pt x="35021" y="12139"/>
                    <a:pt x="35602" y="11272"/>
                    <a:pt x="35668" y="10291"/>
                  </a:cubicBezTo>
                  <a:cubicBezTo>
                    <a:pt x="35611" y="9339"/>
                    <a:pt x="35021" y="8491"/>
                    <a:pt x="34144" y="8100"/>
                  </a:cubicBezTo>
                  <a:lnTo>
                    <a:pt x="21476" y="766"/>
                  </a:lnTo>
                  <a:cubicBezTo>
                    <a:pt x="19085" y="-472"/>
                    <a:pt x="16247" y="-472"/>
                    <a:pt x="13856" y="766"/>
                  </a:cubicBezTo>
                  <a:lnTo>
                    <a:pt x="1188" y="8100"/>
                  </a:lnTo>
                  <a:cubicBezTo>
                    <a:pt x="312" y="8491"/>
                    <a:pt x="-279"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670" name="îṩḻïḍè">
              <a:extLst>
                <a:ext uri="{FF2B5EF4-FFF2-40B4-BE49-F238E27FC236}">
                  <a16:creationId xmlns:a16="http://schemas.microsoft.com/office/drawing/2014/main" id="{51C4106F-D0D8-4C42-8B3A-7D8503DDAE9B}"/>
                </a:ext>
              </a:extLst>
            </p:cNvPr>
            <p:cNvSpPr/>
            <p:nvPr/>
          </p:nvSpPr>
          <p:spPr>
            <a:xfrm>
              <a:off x="5962388" y="5149401"/>
              <a:ext cx="105825" cy="61104"/>
            </a:xfrm>
            <a:custGeom>
              <a:avLst/>
              <a:gdLst>
                <a:gd name="connsiteX0" fmla="*/ 1235 w 34766"/>
                <a:gd name="connsiteY0" fmla="*/ 12029 h 20074"/>
                <a:gd name="connsiteX1" fmla="*/ 13332 w 34766"/>
                <a:gd name="connsiteY1" fmla="*/ 18983 h 20074"/>
                <a:gd name="connsiteX2" fmla="*/ 20761 w 34766"/>
                <a:gd name="connsiteY2" fmla="*/ 18983 h 20074"/>
                <a:gd name="connsiteX3" fmla="*/ 32858 w 34766"/>
                <a:gd name="connsiteY3" fmla="*/ 12029 h 20074"/>
                <a:gd name="connsiteX4" fmla="*/ 32858 w 34766"/>
                <a:gd name="connsiteY4" fmla="*/ 7743 h 20074"/>
                <a:gd name="connsiteX5" fmla="*/ 20761 w 34766"/>
                <a:gd name="connsiteY5" fmla="*/ 695 h 20074"/>
                <a:gd name="connsiteX6" fmla="*/ 13332 w 34766"/>
                <a:gd name="connsiteY6" fmla="*/ 695 h 20074"/>
                <a:gd name="connsiteX7" fmla="*/ 1235 w 34766"/>
                <a:gd name="connsiteY7" fmla="*/ 8219 h 20074"/>
                <a:gd name="connsiteX8" fmla="*/ 1235 w 34766"/>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6" h="20074">
                  <a:moveTo>
                    <a:pt x="1235" y="12029"/>
                  </a:moveTo>
                  <a:lnTo>
                    <a:pt x="13332" y="18983"/>
                  </a:lnTo>
                  <a:cubicBezTo>
                    <a:pt x="15656" y="20221"/>
                    <a:pt x="18437" y="20221"/>
                    <a:pt x="20761" y="18983"/>
                  </a:cubicBezTo>
                  <a:lnTo>
                    <a:pt x="32858" y="12029"/>
                  </a:lnTo>
                  <a:cubicBezTo>
                    <a:pt x="34954" y="10791"/>
                    <a:pt x="34954" y="8886"/>
                    <a:pt x="32858" y="7743"/>
                  </a:cubicBezTo>
                  <a:lnTo>
                    <a:pt x="20761" y="695"/>
                  </a:lnTo>
                  <a:cubicBezTo>
                    <a:pt x="18418" y="-448"/>
                    <a:pt x="15675" y="-448"/>
                    <a:pt x="13332" y="695"/>
                  </a:cubicBezTo>
                  <a:lnTo>
                    <a:pt x="1235" y="8219"/>
                  </a:lnTo>
                  <a:cubicBezTo>
                    <a:pt x="-860" y="8886"/>
                    <a:pt x="-860" y="10791"/>
                    <a:pt x="1235" y="12029"/>
                  </a:cubicBezTo>
                  <a:close/>
                </a:path>
              </a:pathLst>
            </a:custGeom>
            <a:solidFill>
              <a:srgbClr val="D1D9E8"/>
            </a:solidFill>
            <a:ln w="9525" cap="flat">
              <a:noFill/>
              <a:prstDash val="solid"/>
              <a:miter/>
            </a:ln>
          </p:spPr>
          <p:txBody>
            <a:bodyPr rtlCol="0" anchor="ctr"/>
            <a:lstStyle/>
            <a:p>
              <a:endParaRPr lang="zh-CN" altLang="en-US"/>
            </a:p>
          </p:txBody>
        </p:sp>
        <p:sp>
          <p:nvSpPr>
            <p:cNvPr id="671" name="iṧlîdê">
              <a:extLst>
                <a:ext uri="{FF2B5EF4-FFF2-40B4-BE49-F238E27FC236}">
                  <a16:creationId xmlns:a16="http://schemas.microsoft.com/office/drawing/2014/main" id="{C7E544C9-1BAB-47B8-8CE7-7DB9F4C35D3D}"/>
                </a:ext>
              </a:extLst>
            </p:cNvPr>
            <p:cNvSpPr/>
            <p:nvPr/>
          </p:nvSpPr>
          <p:spPr>
            <a:xfrm>
              <a:off x="5960501" y="5179844"/>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3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3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2" y="7953"/>
                    <a:pt x="35668" y="6981"/>
                  </a:cubicBezTo>
                  <a:lnTo>
                    <a:pt x="35668" y="-163"/>
                  </a:lnTo>
                  <a:cubicBezTo>
                    <a:pt x="35602" y="818"/>
                    <a:pt x="35021" y="1685"/>
                    <a:pt x="34144" y="2123"/>
                  </a:cubicBezTo>
                  <a:lnTo>
                    <a:pt x="31763" y="3457"/>
                  </a:lnTo>
                  <a:lnTo>
                    <a:pt x="21476" y="9362"/>
                  </a:lnTo>
                  <a:cubicBezTo>
                    <a:pt x="19085" y="10600"/>
                    <a:pt x="16247" y="10600"/>
                    <a:pt x="13856" y="9362"/>
                  </a:cubicBezTo>
                  <a:lnTo>
                    <a:pt x="3569" y="3457"/>
                  </a:lnTo>
                  <a:lnTo>
                    <a:pt x="1188" y="2123"/>
                  </a:lnTo>
                  <a:cubicBezTo>
                    <a:pt x="312"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72" name="ïṡľíḓe">
              <a:extLst>
                <a:ext uri="{FF2B5EF4-FFF2-40B4-BE49-F238E27FC236}">
                  <a16:creationId xmlns:a16="http://schemas.microsoft.com/office/drawing/2014/main" id="{B7750526-DD03-4A46-AE84-88136F1A0B35}"/>
                </a:ext>
              </a:extLst>
            </p:cNvPr>
            <p:cNvSpPr/>
            <p:nvPr/>
          </p:nvSpPr>
          <p:spPr>
            <a:xfrm>
              <a:off x="6037625" y="5192674"/>
              <a:ext cx="109883" cy="63639"/>
            </a:xfrm>
            <a:custGeom>
              <a:avLst/>
              <a:gdLst>
                <a:gd name="connsiteX0" fmla="*/ -336 w 36099"/>
                <a:gd name="connsiteY0" fmla="*/ 10291 h 20907"/>
                <a:gd name="connsiteX1" fmla="*/ 1283 w 36099"/>
                <a:gd name="connsiteY1" fmla="*/ 12577 h 20907"/>
                <a:gd name="connsiteX2" fmla="*/ 3569 w 36099"/>
                <a:gd name="connsiteY2" fmla="*/ 13911 h 20907"/>
                <a:gd name="connsiteX3" fmla="*/ 13856 w 36099"/>
                <a:gd name="connsiteY3" fmla="*/ 19816 h 20907"/>
                <a:gd name="connsiteX4" fmla="*/ 21571 w 36099"/>
                <a:gd name="connsiteY4" fmla="*/ 19816 h 20907"/>
                <a:gd name="connsiteX5" fmla="*/ 31858 w 36099"/>
                <a:gd name="connsiteY5" fmla="*/ 13911 h 20907"/>
                <a:gd name="connsiteX6" fmla="*/ 34144 w 36099"/>
                <a:gd name="connsiteY6" fmla="*/ 12577 h 20907"/>
                <a:gd name="connsiteX7" fmla="*/ 35764 w 36099"/>
                <a:gd name="connsiteY7" fmla="*/ 10291 h 20907"/>
                <a:gd name="connsiteX8" fmla="*/ 34144 w 36099"/>
                <a:gd name="connsiteY8" fmla="*/ 8101 h 20907"/>
                <a:gd name="connsiteX9" fmla="*/ 21571 w 36099"/>
                <a:gd name="connsiteY9" fmla="*/ 766 h 20907"/>
                <a:gd name="connsiteX10" fmla="*/ 13856 w 36099"/>
                <a:gd name="connsiteY10" fmla="*/ 766 h 20907"/>
                <a:gd name="connsiteX11" fmla="*/ 1283 w 36099"/>
                <a:gd name="connsiteY11" fmla="*/ 8101 h 20907"/>
                <a:gd name="connsiteX12" fmla="*/ -336 w 36099"/>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99" h="20907">
                  <a:moveTo>
                    <a:pt x="-336" y="10291"/>
                  </a:moveTo>
                  <a:cubicBezTo>
                    <a:pt x="-231" y="11282"/>
                    <a:pt x="378" y="12149"/>
                    <a:pt x="1283" y="12577"/>
                  </a:cubicBezTo>
                  <a:lnTo>
                    <a:pt x="3569" y="13911"/>
                  </a:lnTo>
                  <a:lnTo>
                    <a:pt x="13856" y="19816"/>
                  </a:lnTo>
                  <a:cubicBezTo>
                    <a:pt x="16275" y="21054"/>
                    <a:pt x="19152" y="21054"/>
                    <a:pt x="21571" y="19816"/>
                  </a:cubicBezTo>
                  <a:lnTo>
                    <a:pt x="31858" y="13911"/>
                  </a:lnTo>
                  <a:lnTo>
                    <a:pt x="34144" y="12577"/>
                  </a:lnTo>
                  <a:cubicBezTo>
                    <a:pt x="35049" y="12149"/>
                    <a:pt x="35659" y="11282"/>
                    <a:pt x="35764" y="10291"/>
                  </a:cubicBezTo>
                  <a:cubicBezTo>
                    <a:pt x="35649" y="9329"/>
                    <a:pt x="35030" y="8491"/>
                    <a:pt x="34144" y="8101"/>
                  </a:cubicBezTo>
                  <a:lnTo>
                    <a:pt x="21571" y="766"/>
                  </a:lnTo>
                  <a:cubicBezTo>
                    <a:pt x="19152" y="-472"/>
                    <a:pt x="16275" y="-472"/>
                    <a:pt x="13856" y="766"/>
                  </a:cubicBezTo>
                  <a:lnTo>
                    <a:pt x="1283" y="8101"/>
                  </a:lnTo>
                  <a:cubicBezTo>
                    <a:pt x="397" y="8491"/>
                    <a:pt x="-222"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673" name="ïṧļiḑè">
              <a:extLst>
                <a:ext uri="{FF2B5EF4-FFF2-40B4-BE49-F238E27FC236}">
                  <a16:creationId xmlns:a16="http://schemas.microsoft.com/office/drawing/2014/main" id="{2601025A-5EBB-497B-9C89-F1E7AED59B3B}"/>
                </a:ext>
              </a:extLst>
            </p:cNvPr>
            <p:cNvSpPr/>
            <p:nvPr/>
          </p:nvSpPr>
          <p:spPr>
            <a:xfrm>
              <a:off x="6039729" y="5193834"/>
              <a:ext cx="105679" cy="61104"/>
            </a:xfrm>
            <a:custGeom>
              <a:avLst/>
              <a:gdLst>
                <a:gd name="connsiteX0" fmla="*/ 1164 w 34718"/>
                <a:gd name="connsiteY0" fmla="*/ 12006 h 20074"/>
                <a:gd name="connsiteX1" fmla="*/ 13260 w 34718"/>
                <a:gd name="connsiteY1" fmla="*/ 19054 h 20074"/>
                <a:gd name="connsiteX2" fmla="*/ 20690 w 34718"/>
                <a:gd name="connsiteY2" fmla="*/ 19054 h 20074"/>
                <a:gd name="connsiteX3" fmla="*/ 32882 w 34718"/>
                <a:gd name="connsiteY3" fmla="*/ 12006 h 20074"/>
                <a:gd name="connsiteX4" fmla="*/ 32882 w 34718"/>
                <a:gd name="connsiteY4" fmla="*/ 7719 h 20074"/>
                <a:gd name="connsiteX5" fmla="*/ 20690 w 34718"/>
                <a:gd name="connsiteY5" fmla="*/ 766 h 20074"/>
                <a:gd name="connsiteX6" fmla="*/ 13260 w 34718"/>
                <a:gd name="connsiteY6" fmla="*/ 766 h 20074"/>
                <a:gd name="connsiteX7" fmla="*/ 1164 w 34718"/>
                <a:gd name="connsiteY7" fmla="*/ 7719 h 20074"/>
                <a:gd name="connsiteX8" fmla="*/ 1164 w 34718"/>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18" h="20074">
                  <a:moveTo>
                    <a:pt x="1164" y="12006"/>
                  </a:moveTo>
                  <a:lnTo>
                    <a:pt x="13260" y="19054"/>
                  </a:lnTo>
                  <a:cubicBezTo>
                    <a:pt x="15604" y="20197"/>
                    <a:pt x="18347" y="20197"/>
                    <a:pt x="20690" y="19054"/>
                  </a:cubicBezTo>
                  <a:lnTo>
                    <a:pt x="32882" y="12006"/>
                  </a:lnTo>
                  <a:cubicBezTo>
                    <a:pt x="34882" y="10863"/>
                    <a:pt x="34882" y="8957"/>
                    <a:pt x="32882" y="7719"/>
                  </a:cubicBezTo>
                  <a:lnTo>
                    <a:pt x="20690" y="766"/>
                  </a:lnTo>
                  <a:cubicBezTo>
                    <a:pt x="18366" y="-472"/>
                    <a:pt x="15585" y="-472"/>
                    <a:pt x="13260" y="766"/>
                  </a:cubicBezTo>
                  <a:lnTo>
                    <a:pt x="1164" y="7719"/>
                  </a:lnTo>
                  <a:cubicBezTo>
                    <a:pt x="-836" y="8957"/>
                    <a:pt x="-836" y="10863"/>
                    <a:pt x="1164" y="12006"/>
                  </a:cubicBezTo>
                  <a:close/>
                </a:path>
              </a:pathLst>
            </a:custGeom>
            <a:solidFill>
              <a:srgbClr val="D1D9E8"/>
            </a:solidFill>
            <a:ln w="9525" cap="flat">
              <a:noFill/>
              <a:prstDash val="solid"/>
              <a:miter/>
            </a:ln>
          </p:spPr>
          <p:txBody>
            <a:bodyPr rtlCol="0" anchor="ctr"/>
            <a:lstStyle/>
            <a:p>
              <a:endParaRPr lang="zh-CN" altLang="en-US"/>
            </a:p>
          </p:txBody>
        </p:sp>
        <p:sp>
          <p:nvSpPr>
            <p:cNvPr id="674" name="íṧľiḍe">
              <a:extLst>
                <a:ext uri="{FF2B5EF4-FFF2-40B4-BE49-F238E27FC236}">
                  <a16:creationId xmlns:a16="http://schemas.microsoft.com/office/drawing/2014/main" id="{F054CE81-D558-407B-9AE3-7056834DF129}"/>
                </a:ext>
              </a:extLst>
            </p:cNvPr>
            <p:cNvSpPr/>
            <p:nvPr/>
          </p:nvSpPr>
          <p:spPr>
            <a:xfrm>
              <a:off x="6037625" y="5224492"/>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4 w 36099"/>
                <a:gd name="connsiteY6" fmla="*/ 6981 h 17597"/>
                <a:gd name="connsiteX7" fmla="*/ 35764 w 36099"/>
                <a:gd name="connsiteY7" fmla="*/ -163 h 17597"/>
                <a:gd name="connsiteX8" fmla="*/ 34144 w 36099"/>
                <a:gd name="connsiteY8" fmla="*/ 2124 h 17597"/>
                <a:gd name="connsiteX9" fmla="*/ 31858 w 36099"/>
                <a:gd name="connsiteY9" fmla="*/ 3457 h 17597"/>
                <a:gd name="connsiteX10" fmla="*/ 21571 w 36099"/>
                <a:gd name="connsiteY10" fmla="*/ 9362 h 17597"/>
                <a:gd name="connsiteX11" fmla="*/ 13856 w 36099"/>
                <a:gd name="connsiteY11" fmla="*/ 9362 h 17597"/>
                <a:gd name="connsiteX12" fmla="*/ 3569 w 36099"/>
                <a:gd name="connsiteY12" fmla="*/ 3457 h 17597"/>
                <a:gd name="connsiteX13" fmla="*/ 1283 w 36099"/>
                <a:gd name="connsiteY13" fmla="*/ 2124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03" y="8029"/>
                    <a:pt x="407" y="8858"/>
                    <a:pt x="1283" y="9267"/>
                  </a:cubicBezTo>
                  <a:lnTo>
                    <a:pt x="13856" y="16506"/>
                  </a:lnTo>
                  <a:cubicBezTo>
                    <a:pt x="16275" y="17744"/>
                    <a:pt x="19152" y="17744"/>
                    <a:pt x="21571" y="16506"/>
                  </a:cubicBezTo>
                  <a:lnTo>
                    <a:pt x="34144" y="9267"/>
                  </a:lnTo>
                  <a:cubicBezTo>
                    <a:pt x="35030" y="8829"/>
                    <a:pt x="35640" y="7972"/>
                    <a:pt x="35764" y="6981"/>
                  </a:cubicBezTo>
                  <a:lnTo>
                    <a:pt x="35764" y="-163"/>
                  </a:lnTo>
                  <a:cubicBezTo>
                    <a:pt x="35659" y="828"/>
                    <a:pt x="35049" y="1695"/>
                    <a:pt x="34144" y="2124"/>
                  </a:cubicBezTo>
                  <a:lnTo>
                    <a:pt x="31858" y="3457"/>
                  </a:lnTo>
                  <a:lnTo>
                    <a:pt x="21571" y="9362"/>
                  </a:lnTo>
                  <a:cubicBezTo>
                    <a:pt x="19152" y="10601"/>
                    <a:pt x="16275" y="10601"/>
                    <a:pt x="13856" y="9362"/>
                  </a:cubicBezTo>
                  <a:lnTo>
                    <a:pt x="3569" y="3457"/>
                  </a:lnTo>
                  <a:lnTo>
                    <a:pt x="1283" y="2124"/>
                  </a:lnTo>
                  <a:cubicBezTo>
                    <a:pt x="378" y="1695"/>
                    <a:pt x="-231"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75" name="îṣ1ïḍé">
              <a:extLst>
                <a:ext uri="{FF2B5EF4-FFF2-40B4-BE49-F238E27FC236}">
                  <a16:creationId xmlns:a16="http://schemas.microsoft.com/office/drawing/2014/main" id="{D8C151B5-9B97-401A-B8D4-A061285543E6}"/>
                </a:ext>
              </a:extLst>
            </p:cNvPr>
            <p:cNvSpPr/>
            <p:nvPr/>
          </p:nvSpPr>
          <p:spPr>
            <a:xfrm>
              <a:off x="6115038" y="5237322"/>
              <a:ext cx="109594" cy="63588"/>
            </a:xfrm>
            <a:custGeom>
              <a:avLst/>
              <a:gdLst>
                <a:gd name="connsiteX0" fmla="*/ -336 w 36004"/>
                <a:gd name="connsiteY0" fmla="*/ 10291 h 20890"/>
                <a:gd name="connsiteX1" fmla="*/ 1188 w 36004"/>
                <a:gd name="connsiteY1" fmla="*/ 12577 h 20890"/>
                <a:gd name="connsiteX2" fmla="*/ 3569 w 36004"/>
                <a:gd name="connsiteY2" fmla="*/ 13911 h 20890"/>
                <a:gd name="connsiteX3" fmla="*/ 13856 w 36004"/>
                <a:gd name="connsiteY3" fmla="*/ 19721 h 20890"/>
                <a:gd name="connsiteX4" fmla="*/ 21476 w 36004"/>
                <a:gd name="connsiteY4" fmla="*/ 19721 h 20890"/>
                <a:gd name="connsiteX5" fmla="*/ 31763 w 36004"/>
                <a:gd name="connsiteY5" fmla="*/ 13911 h 20890"/>
                <a:gd name="connsiteX6" fmla="*/ 34144 w 36004"/>
                <a:gd name="connsiteY6" fmla="*/ 12577 h 20890"/>
                <a:gd name="connsiteX7" fmla="*/ 35668 w 36004"/>
                <a:gd name="connsiteY7" fmla="*/ 10291 h 20890"/>
                <a:gd name="connsiteX8" fmla="*/ 34144 w 36004"/>
                <a:gd name="connsiteY8" fmla="*/ 8100 h 20890"/>
                <a:gd name="connsiteX9" fmla="*/ 21476 w 36004"/>
                <a:gd name="connsiteY9" fmla="*/ 766 h 20890"/>
                <a:gd name="connsiteX10" fmla="*/ 13856 w 36004"/>
                <a:gd name="connsiteY10" fmla="*/ 766 h 20890"/>
                <a:gd name="connsiteX11" fmla="*/ 1188 w 36004"/>
                <a:gd name="connsiteY11" fmla="*/ 8100 h 20890"/>
                <a:gd name="connsiteX12" fmla="*/ -336 w 36004"/>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291"/>
                  </a:moveTo>
                  <a:cubicBezTo>
                    <a:pt x="-270" y="11272"/>
                    <a:pt x="311" y="12139"/>
                    <a:pt x="1188" y="12577"/>
                  </a:cubicBezTo>
                  <a:lnTo>
                    <a:pt x="3569" y="13911"/>
                  </a:lnTo>
                  <a:lnTo>
                    <a:pt x="13856" y="19721"/>
                  </a:lnTo>
                  <a:cubicBezTo>
                    <a:pt x="16218" y="21064"/>
                    <a:pt x="19114" y="21064"/>
                    <a:pt x="21476" y="19721"/>
                  </a:cubicBezTo>
                  <a:lnTo>
                    <a:pt x="31763" y="13911"/>
                  </a:lnTo>
                  <a:lnTo>
                    <a:pt x="34144" y="12577"/>
                  </a:lnTo>
                  <a:cubicBezTo>
                    <a:pt x="35021" y="12139"/>
                    <a:pt x="35601" y="11272"/>
                    <a:pt x="35668" y="10291"/>
                  </a:cubicBezTo>
                  <a:cubicBezTo>
                    <a:pt x="35630" y="9329"/>
                    <a:pt x="35039" y="8472"/>
                    <a:pt x="34144" y="8100"/>
                  </a:cubicBezTo>
                  <a:lnTo>
                    <a:pt x="21476" y="766"/>
                  </a:lnTo>
                  <a:cubicBezTo>
                    <a:pt x="19085" y="-472"/>
                    <a:pt x="16247" y="-472"/>
                    <a:pt x="13856" y="766"/>
                  </a:cubicBezTo>
                  <a:lnTo>
                    <a:pt x="1188" y="8100"/>
                  </a:lnTo>
                  <a:cubicBezTo>
                    <a:pt x="292" y="8472"/>
                    <a:pt x="-298"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676" name="íšḷiḑe">
              <a:extLst>
                <a:ext uri="{FF2B5EF4-FFF2-40B4-BE49-F238E27FC236}">
                  <a16:creationId xmlns:a16="http://schemas.microsoft.com/office/drawing/2014/main" id="{1037291F-0716-424B-A57C-00E4980973B9}"/>
                </a:ext>
              </a:extLst>
            </p:cNvPr>
            <p:cNvSpPr/>
            <p:nvPr/>
          </p:nvSpPr>
          <p:spPr>
            <a:xfrm>
              <a:off x="6116923" y="5238482"/>
              <a:ext cx="105825" cy="61101"/>
            </a:xfrm>
            <a:custGeom>
              <a:avLst/>
              <a:gdLst>
                <a:gd name="connsiteX0" fmla="*/ 1235 w 34766"/>
                <a:gd name="connsiteY0" fmla="*/ 12006 h 20073"/>
                <a:gd name="connsiteX1" fmla="*/ 13332 w 34766"/>
                <a:gd name="connsiteY1" fmla="*/ 19054 h 20073"/>
                <a:gd name="connsiteX2" fmla="*/ 20762 w 34766"/>
                <a:gd name="connsiteY2" fmla="*/ 19054 h 20073"/>
                <a:gd name="connsiteX3" fmla="*/ 32858 w 34766"/>
                <a:gd name="connsiteY3" fmla="*/ 12006 h 20073"/>
                <a:gd name="connsiteX4" fmla="*/ 32858 w 34766"/>
                <a:gd name="connsiteY4" fmla="*/ 7719 h 20073"/>
                <a:gd name="connsiteX5" fmla="*/ 20762 w 34766"/>
                <a:gd name="connsiteY5" fmla="*/ 766 h 20073"/>
                <a:gd name="connsiteX6" fmla="*/ 13332 w 34766"/>
                <a:gd name="connsiteY6" fmla="*/ 766 h 20073"/>
                <a:gd name="connsiteX7" fmla="*/ 1235 w 34766"/>
                <a:gd name="connsiteY7" fmla="*/ 7719 h 20073"/>
                <a:gd name="connsiteX8" fmla="*/ 1235 w 34766"/>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6" h="20073">
                  <a:moveTo>
                    <a:pt x="1235" y="12006"/>
                  </a:moveTo>
                  <a:lnTo>
                    <a:pt x="13332" y="19054"/>
                  </a:lnTo>
                  <a:cubicBezTo>
                    <a:pt x="15675" y="20197"/>
                    <a:pt x="18419" y="20197"/>
                    <a:pt x="20762" y="19054"/>
                  </a:cubicBezTo>
                  <a:lnTo>
                    <a:pt x="32858" y="12006"/>
                  </a:lnTo>
                  <a:cubicBezTo>
                    <a:pt x="34954" y="10863"/>
                    <a:pt x="34954" y="8957"/>
                    <a:pt x="32858" y="7719"/>
                  </a:cubicBezTo>
                  <a:lnTo>
                    <a:pt x="20762" y="766"/>
                  </a:lnTo>
                  <a:cubicBezTo>
                    <a:pt x="18437" y="-472"/>
                    <a:pt x="15656" y="-472"/>
                    <a:pt x="13332" y="766"/>
                  </a:cubicBezTo>
                  <a:lnTo>
                    <a:pt x="1235" y="7719"/>
                  </a:lnTo>
                  <a:cubicBezTo>
                    <a:pt x="-860" y="8957"/>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677" name="îSḻíḑé">
              <a:extLst>
                <a:ext uri="{FF2B5EF4-FFF2-40B4-BE49-F238E27FC236}">
                  <a16:creationId xmlns:a16="http://schemas.microsoft.com/office/drawing/2014/main" id="{CDE79BD5-D885-4BA8-BD04-3A9194680DED}"/>
                </a:ext>
              </a:extLst>
            </p:cNvPr>
            <p:cNvSpPr/>
            <p:nvPr/>
          </p:nvSpPr>
          <p:spPr>
            <a:xfrm>
              <a:off x="6115038" y="5268854"/>
              <a:ext cx="109594" cy="53564"/>
            </a:xfrm>
            <a:custGeom>
              <a:avLst/>
              <a:gdLst>
                <a:gd name="connsiteX0" fmla="*/ -336 w 36004"/>
                <a:gd name="connsiteY0" fmla="*/ -67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4 h 17597"/>
                <a:gd name="connsiteX9" fmla="*/ 31763 w 36004"/>
                <a:gd name="connsiteY9" fmla="*/ 3457 h 17597"/>
                <a:gd name="connsiteX10" fmla="*/ 21476 w 36004"/>
                <a:gd name="connsiteY10" fmla="*/ 9267 h 17597"/>
                <a:gd name="connsiteX11" fmla="*/ 13856 w 36004"/>
                <a:gd name="connsiteY11" fmla="*/ 9267 h 17597"/>
                <a:gd name="connsiteX12" fmla="*/ 3569 w 36004"/>
                <a:gd name="connsiteY12" fmla="*/ 3457 h 17597"/>
                <a:gd name="connsiteX13" fmla="*/ 1188 w 36004"/>
                <a:gd name="connsiteY13" fmla="*/ 2124 h 17597"/>
                <a:gd name="connsiteX14" fmla="*/ -336 w 36004"/>
                <a:gd name="connsiteY14" fmla="*/ -67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67"/>
                  </a:moveTo>
                  <a:lnTo>
                    <a:pt x="-336" y="7076"/>
                  </a:lnTo>
                  <a:cubicBezTo>
                    <a:pt x="-241" y="8019"/>
                    <a:pt x="340" y="8848"/>
                    <a:pt x="1188" y="9267"/>
                  </a:cubicBezTo>
                  <a:lnTo>
                    <a:pt x="13856" y="16506"/>
                  </a:lnTo>
                  <a:cubicBezTo>
                    <a:pt x="16247" y="17744"/>
                    <a:pt x="19085" y="17744"/>
                    <a:pt x="21476" y="16506"/>
                  </a:cubicBezTo>
                  <a:lnTo>
                    <a:pt x="34144" y="9267"/>
                  </a:lnTo>
                  <a:cubicBezTo>
                    <a:pt x="35011" y="8820"/>
                    <a:pt x="35582" y="7953"/>
                    <a:pt x="35668" y="6981"/>
                  </a:cubicBezTo>
                  <a:lnTo>
                    <a:pt x="35668" y="-163"/>
                  </a:lnTo>
                  <a:cubicBezTo>
                    <a:pt x="35601" y="818"/>
                    <a:pt x="35021" y="1685"/>
                    <a:pt x="34144" y="2124"/>
                  </a:cubicBezTo>
                  <a:lnTo>
                    <a:pt x="31763" y="3457"/>
                  </a:lnTo>
                  <a:lnTo>
                    <a:pt x="21476" y="9267"/>
                  </a:lnTo>
                  <a:cubicBezTo>
                    <a:pt x="19114" y="10610"/>
                    <a:pt x="16218" y="10610"/>
                    <a:pt x="13856" y="9267"/>
                  </a:cubicBezTo>
                  <a:lnTo>
                    <a:pt x="3569" y="3457"/>
                  </a:lnTo>
                  <a:lnTo>
                    <a:pt x="1188" y="2124"/>
                  </a:lnTo>
                  <a:cubicBezTo>
                    <a:pt x="340" y="1704"/>
                    <a:pt x="-241" y="876"/>
                    <a:pt x="-336" y="-67"/>
                  </a:cubicBezTo>
                  <a:close/>
                </a:path>
              </a:pathLst>
            </a:custGeom>
            <a:solidFill>
              <a:srgbClr val="BF4200"/>
            </a:solidFill>
            <a:ln w="9525" cap="flat">
              <a:noFill/>
              <a:prstDash val="solid"/>
              <a:miter/>
            </a:ln>
          </p:spPr>
          <p:txBody>
            <a:bodyPr rtlCol="0" anchor="ctr"/>
            <a:lstStyle/>
            <a:p>
              <a:endParaRPr lang="zh-CN" altLang="en-US"/>
            </a:p>
          </p:txBody>
        </p:sp>
        <p:sp>
          <p:nvSpPr>
            <p:cNvPr id="678" name="iš1íḋe">
              <a:extLst>
                <a:ext uri="{FF2B5EF4-FFF2-40B4-BE49-F238E27FC236}">
                  <a16:creationId xmlns:a16="http://schemas.microsoft.com/office/drawing/2014/main" id="{DC56CF55-22A2-4E42-BA2B-9663F7CCB87B}"/>
                </a:ext>
              </a:extLst>
            </p:cNvPr>
            <p:cNvSpPr/>
            <p:nvPr/>
          </p:nvSpPr>
          <p:spPr>
            <a:xfrm>
              <a:off x="6193030" y="5281879"/>
              <a:ext cx="197152" cy="113892"/>
            </a:xfrm>
            <a:custGeom>
              <a:avLst/>
              <a:gdLst>
                <a:gd name="connsiteX0" fmla="*/ -336 w 64769"/>
                <a:gd name="connsiteY0" fmla="*/ 10227 h 37416"/>
                <a:gd name="connsiteX1" fmla="*/ 1188 w 64769"/>
                <a:gd name="connsiteY1" fmla="*/ 12513 h 37416"/>
                <a:gd name="connsiteX2" fmla="*/ 3569 w 64769"/>
                <a:gd name="connsiteY2" fmla="*/ 13846 h 37416"/>
                <a:gd name="connsiteX3" fmla="*/ 42431 w 64769"/>
                <a:gd name="connsiteY3" fmla="*/ 36325 h 37416"/>
                <a:gd name="connsiteX4" fmla="*/ 50241 w 64769"/>
                <a:gd name="connsiteY4" fmla="*/ 36325 h 37416"/>
                <a:gd name="connsiteX5" fmla="*/ 60433 w 64769"/>
                <a:gd name="connsiteY5" fmla="*/ 30420 h 37416"/>
                <a:gd name="connsiteX6" fmla="*/ 62814 w 64769"/>
                <a:gd name="connsiteY6" fmla="*/ 28991 h 37416"/>
                <a:gd name="connsiteX7" fmla="*/ 64434 w 64769"/>
                <a:gd name="connsiteY7" fmla="*/ 27372 h 37416"/>
                <a:gd name="connsiteX8" fmla="*/ 64434 w 64769"/>
                <a:gd name="connsiteY8" fmla="*/ 26229 h 37416"/>
                <a:gd name="connsiteX9" fmla="*/ 62814 w 64769"/>
                <a:gd name="connsiteY9" fmla="*/ 24514 h 37416"/>
                <a:gd name="connsiteX10" fmla="*/ 21476 w 64769"/>
                <a:gd name="connsiteY10" fmla="*/ 702 h 37416"/>
                <a:gd name="connsiteX11" fmla="*/ 13856 w 64769"/>
                <a:gd name="connsiteY11" fmla="*/ 702 h 37416"/>
                <a:gd name="connsiteX12" fmla="*/ 1188 w 64769"/>
                <a:gd name="connsiteY12" fmla="*/ 8036 h 37416"/>
                <a:gd name="connsiteX13" fmla="*/ -336 w 64769"/>
                <a:gd name="connsiteY13" fmla="*/ 10227 h 37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4769" h="37416">
                  <a:moveTo>
                    <a:pt x="-336" y="10227"/>
                  </a:moveTo>
                  <a:cubicBezTo>
                    <a:pt x="-270" y="11208"/>
                    <a:pt x="311" y="12075"/>
                    <a:pt x="1188" y="12513"/>
                  </a:cubicBezTo>
                  <a:lnTo>
                    <a:pt x="3569" y="13846"/>
                  </a:lnTo>
                  <a:lnTo>
                    <a:pt x="42431" y="36325"/>
                  </a:lnTo>
                  <a:cubicBezTo>
                    <a:pt x="44888" y="37563"/>
                    <a:pt x="47784" y="37563"/>
                    <a:pt x="50241" y="36325"/>
                  </a:cubicBezTo>
                  <a:lnTo>
                    <a:pt x="60433" y="30420"/>
                  </a:lnTo>
                  <a:lnTo>
                    <a:pt x="62814" y="28991"/>
                  </a:lnTo>
                  <a:cubicBezTo>
                    <a:pt x="63529" y="28658"/>
                    <a:pt x="64100" y="28086"/>
                    <a:pt x="64434" y="27372"/>
                  </a:cubicBezTo>
                  <a:lnTo>
                    <a:pt x="64434" y="26229"/>
                  </a:lnTo>
                  <a:cubicBezTo>
                    <a:pt x="64024" y="25543"/>
                    <a:pt x="63472" y="24962"/>
                    <a:pt x="62814" y="24514"/>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679" name="ïṡḷîḑé">
              <a:extLst>
                <a:ext uri="{FF2B5EF4-FFF2-40B4-BE49-F238E27FC236}">
                  <a16:creationId xmlns:a16="http://schemas.microsoft.com/office/drawing/2014/main" id="{78B57CDF-5E88-4107-997B-E4B49BD1AAAB}"/>
                </a:ext>
              </a:extLst>
            </p:cNvPr>
            <p:cNvSpPr/>
            <p:nvPr/>
          </p:nvSpPr>
          <p:spPr>
            <a:xfrm>
              <a:off x="6194336" y="5282771"/>
              <a:ext cx="193168" cy="111545"/>
            </a:xfrm>
            <a:custGeom>
              <a:avLst/>
              <a:gdLst>
                <a:gd name="connsiteX0" fmla="*/ 42193 w 63460"/>
                <a:gd name="connsiteY0" fmla="*/ 35651 h 36645"/>
                <a:gd name="connsiteX1" fmla="*/ 1235 w 63460"/>
                <a:gd name="connsiteY1" fmla="*/ 12029 h 36645"/>
                <a:gd name="connsiteX2" fmla="*/ 1235 w 63460"/>
                <a:gd name="connsiteY2" fmla="*/ 7743 h 36645"/>
                <a:gd name="connsiteX3" fmla="*/ 13332 w 63460"/>
                <a:gd name="connsiteY3" fmla="*/ 695 h 36645"/>
                <a:gd name="connsiteX4" fmla="*/ 20761 w 63460"/>
                <a:gd name="connsiteY4" fmla="*/ 695 h 36645"/>
                <a:gd name="connsiteX5" fmla="*/ 61624 w 63460"/>
                <a:gd name="connsiteY5" fmla="*/ 24317 h 36645"/>
                <a:gd name="connsiteX6" fmla="*/ 61624 w 63460"/>
                <a:gd name="connsiteY6" fmla="*/ 28603 h 36645"/>
                <a:gd name="connsiteX7" fmla="*/ 49432 w 63460"/>
                <a:gd name="connsiteY7" fmla="*/ 35556 h 36645"/>
                <a:gd name="connsiteX8" fmla="*/ 42193 w 63460"/>
                <a:gd name="connsiteY8" fmla="*/ 35651 h 36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3460" h="36645">
                  <a:moveTo>
                    <a:pt x="42193" y="35651"/>
                  </a:moveTo>
                  <a:lnTo>
                    <a:pt x="1235" y="12029"/>
                  </a:lnTo>
                  <a:cubicBezTo>
                    <a:pt x="-860" y="10791"/>
                    <a:pt x="-860" y="8886"/>
                    <a:pt x="1235" y="7743"/>
                  </a:cubicBezTo>
                  <a:lnTo>
                    <a:pt x="13332" y="695"/>
                  </a:lnTo>
                  <a:cubicBezTo>
                    <a:pt x="15675" y="-448"/>
                    <a:pt x="18418" y="-448"/>
                    <a:pt x="20761" y="695"/>
                  </a:cubicBezTo>
                  <a:lnTo>
                    <a:pt x="61624" y="24317"/>
                  </a:lnTo>
                  <a:cubicBezTo>
                    <a:pt x="63624" y="25460"/>
                    <a:pt x="63624" y="27364"/>
                    <a:pt x="61624" y="28603"/>
                  </a:cubicBezTo>
                  <a:lnTo>
                    <a:pt x="49432" y="35556"/>
                  </a:lnTo>
                  <a:cubicBezTo>
                    <a:pt x="47174" y="36756"/>
                    <a:pt x="44479" y="36794"/>
                    <a:pt x="42193" y="35651"/>
                  </a:cubicBezTo>
                  <a:close/>
                </a:path>
              </a:pathLst>
            </a:custGeom>
            <a:solidFill>
              <a:srgbClr val="D1D9E8"/>
            </a:solidFill>
            <a:ln w="9525" cap="flat">
              <a:noFill/>
              <a:prstDash val="solid"/>
              <a:miter/>
            </a:ln>
          </p:spPr>
          <p:txBody>
            <a:bodyPr rtlCol="0" anchor="ctr"/>
            <a:lstStyle/>
            <a:p>
              <a:endParaRPr lang="zh-CN" altLang="en-US"/>
            </a:p>
          </p:txBody>
        </p:sp>
        <p:sp>
          <p:nvSpPr>
            <p:cNvPr id="680" name="ïšľiďè">
              <a:extLst>
                <a:ext uri="{FF2B5EF4-FFF2-40B4-BE49-F238E27FC236}">
                  <a16:creationId xmlns:a16="http://schemas.microsoft.com/office/drawing/2014/main" id="{9E09C8D2-B3D1-40DC-8B3A-94E7720F6400}"/>
                </a:ext>
              </a:extLst>
            </p:cNvPr>
            <p:cNvSpPr/>
            <p:nvPr/>
          </p:nvSpPr>
          <p:spPr>
            <a:xfrm>
              <a:off x="6193030" y="5313503"/>
              <a:ext cx="197152" cy="104011"/>
            </a:xfrm>
            <a:custGeom>
              <a:avLst/>
              <a:gdLst>
                <a:gd name="connsiteX0" fmla="*/ -336 w 64769"/>
                <a:gd name="connsiteY0" fmla="*/ -163 h 34170"/>
                <a:gd name="connsiteX1" fmla="*/ -336 w 64769"/>
                <a:gd name="connsiteY1" fmla="*/ 6981 h 34170"/>
                <a:gd name="connsiteX2" fmla="*/ 1188 w 64769"/>
                <a:gd name="connsiteY2" fmla="*/ 9267 h 34170"/>
                <a:gd name="connsiteX3" fmla="*/ 42431 w 64769"/>
                <a:gd name="connsiteY3" fmla="*/ 33080 h 34170"/>
                <a:gd name="connsiteX4" fmla="*/ 50241 w 64769"/>
                <a:gd name="connsiteY4" fmla="*/ 33080 h 34170"/>
                <a:gd name="connsiteX5" fmla="*/ 62814 w 64769"/>
                <a:gd name="connsiteY5" fmla="*/ 25841 h 34170"/>
                <a:gd name="connsiteX6" fmla="*/ 64434 w 64769"/>
                <a:gd name="connsiteY6" fmla="*/ 24126 h 34170"/>
                <a:gd name="connsiteX7" fmla="*/ 64434 w 64769"/>
                <a:gd name="connsiteY7" fmla="*/ 16982 h 34170"/>
                <a:gd name="connsiteX8" fmla="*/ 62814 w 64769"/>
                <a:gd name="connsiteY8" fmla="*/ 18602 h 34170"/>
                <a:gd name="connsiteX9" fmla="*/ 60433 w 64769"/>
                <a:gd name="connsiteY9" fmla="*/ 20030 h 34170"/>
                <a:gd name="connsiteX10" fmla="*/ 50241 w 64769"/>
                <a:gd name="connsiteY10" fmla="*/ 25936 h 34170"/>
                <a:gd name="connsiteX11" fmla="*/ 42431 w 64769"/>
                <a:gd name="connsiteY11" fmla="*/ 25936 h 34170"/>
                <a:gd name="connsiteX12" fmla="*/ 3569 w 64769"/>
                <a:gd name="connsiteY12" fmla="*/ 3457 h 34170"/>
                <a:gd name="connsiteX13" fmla="*/ 1664 w 64769"/>
                <a:gd name="connsiteY13" fmla="*/ 1933 h 34170"/>
                <a:gd name="connsiteX14" fmla="*/ -336 w 64769"/>
                <a:gd name="connsiteY14" fmla="*/ -163 h 341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4769" h="34170">
                  <a:moveTo>
                    <a:pt x="-336" y="-163"/>
                  </a:moveTo>
                  <a:lnTo>
                    <a:pt x="-336" y="6981"/>
                  </a:lnTo>
                  <a:cubicBezTo>
                    <a:pt x="-251" y="7953"/>
                    <a:pt x="321" y="8819"/>
                    <a:pt x="1188" y="9267"/>
                  </a:cubicBezTo>
                  <a:lnTo>
                    <a:pt x="42431" y="33080"/>
                  </a:lnTo>
                  <a:cubicBezTo>
                    <a:pt x="44888" y="34318"/>
                    <a:pt x="47784" y="34318"/>
                    <a:pt x="50241" y="33080"/>
                  </a:cubicBezTo>
                  <a:lnTo>
                    <a:pt x="62814" y="25841"/>
                  </a:lnTo>
                  <a:cubicBezTo>
                    <a:pt x="63472" y="25393"/>
                    <a:pt x="64024" y="24812"/>
                    <a:pt x="64434" y="24126"/>
                  </a:cubicBezTo>
                  <a:lnTo>
                    <a:pt x="64434" y="16982"/>
                  </a:lnTo>
                  <a:cubicBezTo>
                    <a:pt x="64100" y="17697"/>
                    <a:pt x="63529" y="18268"/>
                    <a:pt x="62814" y="18602"/>
                  </a:cubicBezTo>
                  <a:lnTo>
                    <a:pt x="60433" y="20030"/>
                  </a:lnTo>
                  <a:lnTo>
                    <a:pt x="50241" y="25936"/>
                  </a:lnTo>
                  <a:cubicBezTo>
                    <a:pt x="47784" y="27174"/>
                    <a:pt x="44888" y="27174"/>
                    <a:pt x="42431" y="25936"/>
                  </a:cubicBezTo>
                  <a:lnTo>
                    <a:pt x="3569" y="3457"/>
                  </a:lnTo>
                  <a:lnTo>
                    <a:pt x="1664" y="1933"/>
                  </a:lnTo>
                  <a:cubicBezTo>
                    <a:pt x="654" y="1666"/>
                    <a:pt x="-117" y="856"/>
                    <a:pt x="-336" y="-163"/>
                  </a:cubicBezTo>
                  <a:close/>
                </a:path>
              </a:pathLst>
            </a:custGeom>
            <a:solidFill>
              <a:srgbClr val="BF4200"/>
            </a:solidFill>
            <a:ln w="9525" cap="flat">
              <a:noFill/>
              <a:prstDash val="solid"/>
              <a:miter/>
            </a:ln>
          </p:spPr>
          <p:txBody>
            <a:bodyPr rtlCol="0" anchor="ctr"/>
            <a:lstStyle/>
            <a:p>
              <a:endParaRPr lang="zh-CN" altLang="en-US"/>
            </a:p>
          </p:txBody>
        </p:sp>
        <p:sp>
          <p:nvSpPr>
            <p:cNvPr id="681" name="ïsḻïdê">
              <a:extLst>
                <a:ext uri="{FF2B5EF4-FFF2-40B4-BE49-F238E27FC236}">
                  <a16:creationId xmlns:a16="http://schemas.microsoft.com/office/drawing/2014/main" id="{C1B49851-FEA6-4150-9B6E-C504E9726A6E}"/>
                </a:ext>
              </a:extLst>
            </p:cNvPr>
            <p:cNvSpPr/>
            <p:nvPr/>
          </p:nvSpPr>
          <p:spPr>
            <a:xfrm>
              <a:off x="5077942" y="4728490"/>
              <a:ext cx="197155" cy="113803"/>
            </a:xfrm>
            <a:custGeom>
              <a:avLst/>
              <a:gdLst>
                <a:gd name="connsiteX0" fmla="*/ -336 w 64770"/>
                <a:gd name="connsiteY0" fmla="*/ 10291 h 37387"/>
                <a:gd name="connsiteX1" fmla="*/ 1188 w 64770"/>
                <a:gd name="connsiteY1" fmla="*/ 12577 h 37387"/>
                <a:gd name="connsiteX2" fmla="*/ 3569 w 64770"/>
                <a:gd name="connsiteY2" fmla="*/ 13910 h 37387"/>
                <a:gd name="connsiteX3" fmla="*/ 42431 w 64770"/>
                <a:gd name="connsiteY3" fmla="*/ 36390 h 37387"/>
                <a:gd name="connsiteX4" fmla="*/ 50242 w 64770"/>
                <a:gd name="connsiteY4" fmla="*/ 36390 h 37387"/>
                <a:gd name="connsiteX5" fmla="*/ 60433 w 64770"/>
                <a:gd name="connsiteY5" fmla="*/ 30389 h 37387"/>
                <a:gd name="connsiteX6" fmla="*/ 62814 w 64770"/>
                <a:gd name="connsiteY6" fmla="*/ 29055 h 37387"/>
                <a:gd name="connsiteX7" fmla="*/ 64434 w 64770"/>
                <a:gd name="connsiteY7" fmla="*/ 27436 h 37387"/>
                <a:gd name="connsiteX8" fmla="*/ 64434 w 64770"/>
                <a:gd name="connsiteY8" fmla="*/ 26293 h 37387"/>
                <a:gd name="connsiteX9" fmla="*/ 62814 w 64770"/>
                <a:gd name="connsiteY9" fmla="*/ 24579 h 37387"/>
                <a:gd name="connsiteX10" fmla="*/ 21476 w 64770"/>
                <a:gd name="connsiteY10" fmla="*/ 766 h 37387"/>
                <a:gd name="connsiteX11" fmla="*/ 13856 w 64770"/>
                <a:gd name="connsiteY11" fmla="*/ 766 h 37387"/>
                <a:gd name="connsiteX12" fmla="*/ 1188 w 64770"/>
                <a:gd name="connsiteY12" fmla="*/ 8100 h 37387"/>
                <a:gd name="connsiteX13" fmla="*/ -336 w 64770"/>
                <a:gd name="connsiteY13" fmla="*/ 10291 h 37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4770" h="37387">
                  <a:moveTo>
                    <a:pt x="-336" y="10291"/>
                  </a:moveTo>
                  <a:cubicBezTo>
                    <a:pt x="-269" y="11272"/>
                    <a:pt x="312" y="12139"/>
                    <a:pt x="1188" y="12577"/>
                  </a:cubicBezTo>
                  <a:lnTo>
                    <a:pt x="3569" y="13910"/>
                  </a:lnTo>
                  <a:lnTo>
                    <a:pt x="42431" y="36390"/>
                  </a:lnTo>
                  <a:cubicBezTo>
                    <a:pt x="44917" y="37504"/>
                    <a:pt x="47756" y="37504"/>
                    <a:pt x="50242" y="36390"/>
                  </a:cubicBezTo>
                  <a:lnTo>
                    <a:pt x="60433" y="30389"/>
                  </a:lnTo>
                  <a:lnTo>
                    <a:pt x="62814" y="29055"/>
                  </a:lnTo>
                  <a:cubicBezTo>
                    <a:pt x="63529" y="28722"/>
                    <a:pt x="64100" y="28150"/>
                    <a:pt x="64434" y="27436"/>
                  </a:cubicBezTo>
                  <a:lnTo>
                    <a:pt x="64434" y="26293"/>
                  </a:lnTo>
                  <a:cubicBezTo>
                    <a:pt x="64081" y="25569"/>
                    <a:pt x="63510" y="24979"/>
                    <a:pt x="62814" y="24579"/>
                  </a:cubicBezTo>
                  <a:lnTo>
                    <a:pt x="21476" y="766"/>
                  </a:lnTo>
                  <a:cubicBezTo>
                    <a:pt x="19085" y="-472"/>
                    <a:pt x="16247" y="-472"/>
                    <a:pt x="13856" y="766"/>
                  </a:cubicBezTo>
                  <a:lnTo>
                    <a:pt x="1188" y="8100"/>
                  </a:lnTo>
                  <a:cubicBezTo>
                    <a:pt x="292" y="8472"/>
                    <a:pt x="-298"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682" name="íṣ1íḑé">
              <a:extLst>
                <a:ext uri="{FF2B5EF4-FFF2-40B4-BE49-F238E27FC236}">
                  <a16:creationId xmlns:a16="http://schemas.microsoft.com/office/drawing/2014/main" id="{9B53E33C-2B14-4EBF-BD57-48DE1888EA20}"/>
                </a:ext>
              </a:extLst>
            </p:cNvPr>
            <p:cNvSpPr/>
            <p:nvPr/>
          </p:nvSpPr>
          <p:spPr>
            <a:xfrm>
              <a:off x="5079829" y="4729647"/>
              <a:ext cx="193168" cy="111551"/>
            </a:xfrm>
            <a:custGeom>
              <a:avLst/>
              <a:gdLst>
                <a:gd name="connsiteX0" fmla="*/ 42002 w 63460"/>
                <a:gd name="connsiteY0" fmla="*/ 35628 h 36647"/>
                <a:gd name="connsiteX1" fmla="*/ 1235 w 63460"/>
                <a:gd name="connsiteY1" fmla="*/ 12006 h 36647"/>
                <a:gd name="connsiteX2" fmla="*/ 1235 w 63460"/>
                <a:gd name="connsiteY2" fmla="*/ 7719 h 36647"/>
                <a:gd name="connsiteX3" fmla="*/ 13332 w 63460"/>
                <a:gd name="connsiteY3" fmla="*/ 766 h 36647"/>
                <a:gd name="connsiteX4" fmla="*/ 20761 w 63460"/>
                <a:gd name="connsiteY4" fmla="*/ 766 h 36647"/>
                <a:gd name="connsiteX5" fmla="*/ 61624 w 63460"/>
                <a:gd name="connsiteY5" fmla="*/ 24293 h 36647"/>
                <a:gd name="connsiteX6" fmla="*/ 61624 w 63460"/>
                <a:gd name="connsiteY6" fmla="*/ 28579 h 36647"/>
                <a:gd name="connsiteX7" fmla="*/ 49432 w 63460"/>
                <a:gd name="connsiteY7" fmla="*/ 35628 h 36647"/>
                <a:gd name="connsiteX8" fmla="*/ 42002 w 63460"/>
                <a:gd name="connsiteY8" fmla="*/ 35628 h 366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3460" h="36647">
                  <a:moveTo>
                    <a:pt x="42002" y="35628"/>
                  </a:moveTo>
                  <a:lnTo>
                    <a:pt x="1235" y="12006"/>
                  </a:lnTo>
                  <a:cubicBezTo>
                    <a:pt x="-860" y="10863"/>
                    <a:pt x="-860" y="8958"/>
                    <a:pt x="1235" y="7719"/>
                  </a:cubicBezTo>
                  <a:lnTo>
                    <a:pt x="13332" y="766"/>
                  </a:lnTo>
                  <a:cubicBezTo>
                    <a:pt x="15656" y="-472"/>
                    <a:pt x="18437" y="-472"/>
                    <a:pt x="20761" y="766"/>
                  </a:cubicBezTo>
                  <a:lnTo>
                    <a:pt x="61624" y="24293"/>
                  </a:lnTo>
                  <a:cubicBezTo>
                    <a:pt x="63624" y="25531"/>
                    <a:pt x="63624" y="27436"/>
                    <a:pt x="61624" y="28579"/>
                  </a:cubicBezTo>
                  <a:lnTo>
                    <a:pt x="49432" y="35628"/>
                  </a:lnTo>
                  <a:cubicBezTo>
                    <a:pt x="47089" y="36771"/>
                    <a:pt x="44345" y="36771"/>
                    <a:pt x="42002" y="35628"/>
                  </a:cubicBezTo>
                  <a:close/>
                </a:path>
              </a:pathLst>
            </a:custGeom>
            <a:solidFill>
              <a:srgbClr val="D1D9E8"/>
            </a:solidFill>
            <a:ln w="9525" cap="flat">
              <a:noFill/>
              <a:prstDash val="solid"/>
              <a:miter/>
            </a:ln>
          </p:spPr>
          <p:txBody>
            <a:bodyPr rtlCol="0" anchor="ctr"/>
            <a:lstStyle/>
            <a:p>
              <a:endParaRPr lang="zh-CN" altLang="en-US"/>
            </a:p>
          </p:txBody>
        </p:sp>
        <p:sp>
          <p:nvSpPr>
            <p:cNvPr id="683" name="íşlïdé">
              <a:extLst>
                <a:ext uri="{FF2B5EF4-FFF2-40B4-BE49-F238E27FC236}">
                  <a16:creationId xmlns:a16="http://schemas.microsoft.com/office/drawing/2014/main" id="{EA9BC7D7-1709-4AB1-8AE2-3512F967DFF1}"/>
                </a:ext>
              </a:extLst>
            </p:cNvPr>
            <p:cNvSpPr/>
            <p:nvPr/>
          </p:nvSpPr>
          <p:spPr>
            <a:xfrm>
              <a:off x="5077942" y="4760308"/>
              <a:ext cx="197155" cy="104011"/>
            </a:xfrm>
            <a:custGeom>
              <a:avLst/>
              <a:gdLst>
                <a:gd name="connsiteX0" fmla="*/ -336 w 64770"/>
                <a:gd name="connsiteY0" fmla="*/ -163 h 34170"/>
                <a:gd name="connsiteX1" fmla="*/ -336 w 64770"/>
                <a:gd name="connsiteY1" fmla="*/ 6981 h 34170"/>
                <a:gd name="connsiteX2" fmla="*/ 1188 w 64770"/>
                <a:gd name="connsiteY2" fmla="*/ 9267 h 34170"/>
                <a:gd name="connsiteX3" fmla="*/ 42431 w 64770"/>
                <a:gd name="connsiteY3" fmla="*/ 33080 h 34170"/>
                <a:gd name="connsiteX4" fmla="*/ 50242 w 64770"/>
                <a:gd name="connsiteY4" fmla="*/ 33080 h 34170"/>
                <a:gd name="connsiteX5" fmla="*/ 62814 w 64770"/>
                <a:gd name="connsiteY5" fmla="*/ 25745 h 34170"/>
                <a:gd name="connsiteX6" fmla="*/ 64434 w 64770"/>
                <a:gd name="connsiteY6" fmla="*/ 24126 h 34170"/>
                <a:gd name="connsiteX7" fmla="*/ 64434 w 64770"/>
                <a:gd name="connsiteY7" fmla="*/ 16982 h 34170"/>
                <a:gd name="connsiteX8" fmla="*/ 62814 w 64770"/>
                <a:gd name="connsiteY8" fmla="*/ 18602 h 34170"/>
                <a:gd name="connsiteX9" fmla="*/ 60433 w 64770"/>
                <a:gd name="connsiteY9" fmla="*/ 19935 h 34170"/>
                <a:gd name="connsiteX10" fmla="*/ 50242 w 64770"/>
                <a:gd name="connsiteY10" fmla="*/ 25936 h 34170"/>
                <a:gd name="connsiteX11" fmla="*/ 42431 w 64770"/>
                <a:gd name="connsiteY11" fmla="*/ 25936 h 34170"/>
                <a:gd name="connsiteX12" fmla="*/ 3569 w 64770"/>
                <a:gd name="connsiteY12" fmla="*/ 3457 h 34170"/>
                <a:gd name="connsiteX13" fmla="*/ 1188 w 64770"/>
                <a:gd name="connsiteY13" fmla="*/ 2123 h 34170"/>
                <a:gd name="connsiteX14" fmla="*/ -336 w 64770"/>
                <a:gd name="connsiteY14" fmla="*/ -163 h 341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4770" h="34170">
                  <a:moveTo>
                    <a:pt x="-336" y="-163"/>
                  </a:moveTo>
                  <a:lnTo>
                    <a:pt x="-336" y="6981"/>
                  </a:lnTo>
                  <a:cubicBezTo>
                    <a:pt x="-251" y="7953"/>
                    <a:pt x="321" y="8819"/>
                    <a:pt x="1188" y="9267"/>
                  </a:cubicBezTo>
                  <a:lnTo>
                    <a:pt x="42431" y="33080"/>
                  </a:lnTo>
                  <a:cubicBezTo>
                    <a:pt x="44889" y="34318"/>
                    <a:pt x="47784" y="34318"/>
                    <a:pt x="50242" y="33080"/>
                  </a:cubicBezTo>
                  <a:lnTo>
                    <a:pt x="62814" y="25745"/>
                  </a:lnTo>
                  <a:cubicBezTo>
                    <a:pt x="63491" y="25355"/>
                    <a:pt x="64043" y="24802"/>
                    <a:pt x="64434" y="24126"/>
                  </a:cubicBezTo>
                  <a:lnTo>
                    <a:pt x="64434" y="16982"/>
                  </a:lnTo>
                  <a:cubicBezTo>
                    <a:pt x="64100" y="17697"/>
                    <a:pt x="63529" y="18268"/>
                    <a:pt x="62814" y="18602"/>
                  </a:cubicBezTo>
                  <a:lnTo>
                    <a:pt x="60433" y="19935"/>
                  </a:lnTo>
                  <a:lnTo>
                    <a:pt x="50242" y="25936"/>
                  </a:lnTo>
                  <a:cubicBezTo>
                    <a:pt x="47756" y="27050"/>
                    <a:pt x="44917" y="27050"/>
                    <a:pt x="42431" y="25936"/>
                  </a:cubicBezTo>
                  <a:lnTo>
                    <a:pt x="3569" y="3457"/>
                  </a:lnTo>
                  <a:lnTo>
                    <a:pt x="1188" y="2123"/>
                  </a:lnTo>
                  <a:cubicBezTo>
                    <a:pt x="312"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84" name="iślïďê">
              <a:extLst>
                <a:ext uri="{FF2B5EF4-FFF2-40B4-BE49-F238E27FC236}">
                  <a16:creationId xmlns:a16="http://schemas.microsoft.com/office/drawing/2014/main" id="{3D1DC968-F4F3-416F-8BB7-C3430AEC4C14}"/>
                </a:ext>
              </a:extLst>
            </p:cNvPr>
            <p:cNvSpPr/>
            <p:nvPr/>
          </p:nvSpPr>
          <p:spPr>
            <a:xfrm>
              <a:off x="5242335" y="4824456"/>
              <a:ext cx="109594" cy="63588"/>
            </a:xfrm>
            <a:custGeom>
              <a:avLst/>
              <a:gdLst>
                <a:gd name="connsiteX0" fmla="*/ -336 w 36004"/>
                <a:gd name="connsiteY0" fmla="*/ 10196 h 20890"/>
                <a:gd name="connsiteX1" fmla="*/ 1188 w 36004"/>
                <a:gd name="connsiteY1" fmla="*/ 12482 h 20890"/>
                <a:gd name="connsiteX2" fmla="*/ 3569 w 36004"/>
                <a:gd name="connsiteY2" fmla="*/ 13815 h 20890"/>
                <a:gd name="connsiteX3" fmla="*/ 13761 w 36004"/>
                <a:gd name="connsiteY3" fmla="*/ 19721 h 20890"/>
                <a:gd name="connsiteX4" fmla="*/ 21476 w 36004"/>
                <a:gd name="connsiteY4" fmla="*/ 19721 h 20890"/>
                <a:gd name="connsiteX5" fmla="*/ 31763 w 36004"/>
                <a:gd name="connsiteY5" fmla="*/ 13815 h 20890"/>
                <a:gd name="connsiteX6" fmla="*/ 34049 w 36004"/>
                <a:gd name="connsiteY6" fmla="*/ 12482 h 20890"/>
                <a:gd name="connsiteX7" fmla="*/ 35668 w 36004"/>
                <a:gd name="connsiteY7" fmla="*/ 10196 h 20890"/>
                <a:gd name="connsiteX8" fmla="*/ 34049 w 36004"/>
                <a:gd name="connsiteY8" fmla="*/ 8005 h 20890"/>
                <a:gd name="connsiteX9" fmla="*/ 21476 w 36004"/>
                <a:gd name="connsiteY9" fmla="*/ 766 h 20890"/>
                <a:gd name="connsiteX10" fmla="*/ 13761 w 36004"/>
                <a:gd name="connsiteY10" fmla="*/ 766 h 20890"/>
                <a:gd name="connsiteX11" fmla="*/ 1188 w 36004"/>
                <a:gd name="connsiteY11" fmla="*/ 8005 h 20890"/>
                <a:gd name="connsiteX12" fmla="*/ -336 w 36004"/>
                <a:gd name="connsiteY12" fmla="*/ 10196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196"/>
                  </a:moveTo>
                  <a:cubicBezTo>
                    <a:pt x="-308" y="11186"/>
                    <a:pt x="283" y="12082"/>
                    <a:pt x="1188" y="12482"/>
                  </a:cubicBezTo>
                  <a:lnTo>
                    <a:pt x="3569" y="13815"/>
                  </a:lnTo>
                  <a:lnTo>
                    <a:pt x="13761" y="19721"/>
                  </a:lnTo>
                  <a:cubicBezTo>
                    <a:pt x="16161" y="21064"/>
                    <a:pt x="19076" y="21064"/>
                    <a:pt x="21476" y="19721"/>
                  </a:cubicBezTo>
                  <a:lnTo>
                    <a:pt x="31763" y="13815"/>
                  </a:lnTo>
                  <a:lnTo>
                    <a:pt x="34049" y="12482"/>
                  </a:lnTo>
                  <a:cubicBezTo>
                    <a:pt x="34992" y="12110"/>
                    <a:pt x="35630" y="11215"/>
                    <a:pt x="35668" y="10196"/>
                  </a:cubicBezTo>
                  <a:cubicBezTo>
                    <a:pt x="35573" y="9224"/>
                    <a:pt x="34944" y="8386"/>
                    <a:pt x="34049" y="8005"/>
                  </a:cubicBezTo>
                  <a:lnTo>
                    <a:pt x="21476" y="766"/>
                  </a:lnTo>
                  <a:cubicBezTo>
                    <a:pt x="19057" y="-472"/>
                    <a:pt x="16180" y="-472"/>
                    <a:pt x="13761" y="766"/>
                  </a:cubicBezTo>
                  <a:lnTo>
                    <a:pt x="1188" y="8005"/>
                  </a:lnTo>
                  <a:cubicBezTo>
                    <a:pt x="340" y="8424"/>
                    <a:pt x="-241" y="925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685" name="îŝľiḋê">
              <a:extLst>
                <a:ext uri="{FF2B5EF4-FFF2-40B4-BE49-F238E27FC236}">
                  <a16:creationId xmlns:a16="http://schemas.microsoft.com/office/drawing/2014/main" id="{2CD46AD2-BFFA-4AF0-A818-58D68D482447}"/>
                </a:ext>
              </a:extLst>
            </p:cNvPr>
            <p:cNvSpPr/>
            <p:nvPr/>
          </p:nvSpPr>
          <p:spPr>
            <a:xfrm>
              <a:off x="5245337" y="4825038"/>
              <a:ext cx="105618" cy="61104"/>
            </a:xfrm>
            <a:custGeom>
              <a:avLst/>
              <a:gdLst>
                <a:gd name="connsiteX0" fmla="*/ 1154 w 34698"/>
                <a:gd name="connsiteY0" fmla="*/ 12006 h 20074"/>
                <a:gd name="connsiteX1" fmla="*/ 13346 w 34698"/>
                <a:gd name="connsiteY1" fmla="*/ 19054 h 20074"/>
                <a:gd name="connsiteX2" fmla="*/ 20776 w 34698"/>
                <a:gd name="connsiteY2" fmla="*/ 19054 h 20074"/>
                <a:gd name="connsiteX3" fmla="*/ 32872 w 34698"/>
                <a:gd name="connsiteY3" fmla="*/ 12006 h 20074"/>
                <a:gd name="connsiteX4" fmla="*/ 34215 w 34698"/>
                <a:gd name="connsiteY4" fmla="*/ 9062 h 20074"/>
                <a:gd name="connsiteX5" fmla="*/ 32872 w 34698"/>
                <a:gd name="connsiteY5" fmla="*/ 7719 h 20074"/>
                <a:gd name="connsiteX6" fmla="*/ 20776 w 34698"/>
                <a:gd name="connsiteY6" fmla="*/ 766 h 20074"/>
                <a:gd name="connsiteX7" fmla="*/ 13346 w 34698"/>
                <a:gd name="connsiteY7" fmla="*/ 766 h 20074"/>
                <a:gd name="connsiteX8" fmla="*/ 1154 w 34698"/>
                <a:gd name="connsiteY8" fmla="*/ 7719 h 20074"/>
                <a:gd name="connsiteX9" fmla="*/ -189 w 34698"/>
                <a:gd name="connsiteY9" fmla="*/ 10663 h 20074"/>
                <a:gd name="connsiteX10" fmla="*/ 1154 w 34698"/>
                <a:gd name="connsiteY10"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698" h="20074">
                  <a:moveTo>
                    <a:pt x="1154" y="12006"/>
                  </a:moveTo>
                  <a:lnTo>
                    <a:pt x="13346" y="19054"/>
                  </a:lnTo>
                  <a:cubicBezTo>
                    <a:pt x="15689" y="20197"/>
                    <a:pt x="18432" y="20197"/>
                    <a:pt x="20776" y="19054"/>
                  </a:cubicBezTo>
                  <a:lnTo>
                    <a:pt x="32872" y="12006"/>
                  </a:lnTo>
                  <a:cubicBezTo>
                    <a:pt x="34053" y="11567"/>
                    <a:pt x="34663" y="10253"/>
                    <a:pt x="34215" y="9062"/>
                  </a:cubicBezTo>
                  <a:cubicBezTo>
                    <a:pt x="33987" y="8443"/>
                    <a:pt x="33491" y="7948"/>
                    <a:pt x="32872" y="7719"/>
                  </a:cubicBezTo>
                  <a:lnTo>
                    <a:pt x="20776" y="766"/>
                  </a:lnTo>
                  <a:cubicBezTo>
                    <a:pt x="18451" y="-472"/>
                    <a:pt x="15670" y="-472"/>
                    <a:pt x="13346" y="766"/>
                  </a:cubicBezTo>
                  <a:lnTo>
                    <a:pt x="1154" y="7719"/>
                  </a:lnTo>
                  <a:cubicBezTo>
                    <a:pt x="-27" y="8158"/>
                    <a:pt x="-637" y="9472"/>
                    <a:pt x="-189" y="10663"/>
                  </a:cubicBezTo>
                  <a:cubicBezTo>
                    <a:pt x="40" y="11282"/>
                    <a:pt x="535" y="11777"/>
                    <a:pt x="1154" y="12006"/>
                  </a:cubicBezTo>
                  <a:close/>
                </a:path>
              </a:pathLst>
            </a:custGeom>
            <a:solidFill>
              <a:srgbClr val="D1D9E8"/>
            </a:solidFill>
            <a:ln w="9525" cap="flat">
              <a:noFill/>
              <a:prstDash val="solid"/>
              <a:miter/>
            </a:ln>
          </p:spPr>
          <p:txBody>
            <a:bodyPr rtlCol="0" anchor="ctr"/>
            <a:lstStyle/>
            <a:p>
              <a:endParaRPr lang="zh-CN" altLang="en-US"/>
            </a:p>
          </p:txBody>
        </p:sp>
        <p:sp>
          <p:nvSpPr>
            <p:cNvPr id="686" name="ïṣ1îḍé">
              <a:extLst>
                <a:ext uri="{FF2B5EF4-FFF2-40B4-BE49-F238E27FC236}">
                  <a16:creationId xmlns:a16="http://schemas.microsoft.com/office/drawing/2014/main" id="{5104BFC3-0139-48FD-95C5-6EDB188634FE}"/>
                </a:ext>
              </a:extLst>
            </p:cNvPr>
            <p:cNvSpPr/>
            <p:nvPr/>
          </p:nvSpPr>
          <p:spPr>
            <a:xfrm>
              <a:off x="5242335" y="4855988"/>
              <a:ext cx="109594" cy="53801"/>
            </a:xfrm>
            <a:custGeom>
              <a:avLst/>
              <a:gdLst>
                <a:gd name="connsiteX0" fmla="*/ -336 w 36004"/>
                <a:gd name="connsiteY0" fmla="*/ -163 h 17675"/>
                <a:gd name="connsiteX1" fmla="*/ -336 w 36004"/>
                <a:gd name="connsiteY1" fmla="*/ 7076 h 17675"/>
                <a:gd name="connsiteX2" fmla="*/ 1188 w 36004"/>
                <a:gd name="connsiteY2" fmla="*/ 9267 h 17675"/>
                <a:gd name="connsiteX3" fmla="*/ 13761 w 36004"/>
                <a:gd name="connsiteY3" fmla="*/ 16506 h 17675"/>
                <a:gd name="connsiteX4" fmla="*/ 21476 w 36004"/>
                <a:gd name="connsiteY4" fmla="*/ 16506 h 17675"/>
                <a:gd name="connsiteX5" fmla="*/ 34049 w 36004"/>
                <a:gd name="connsiteY5" fmla="*/ 9267 h 17675"/>
                <a:gd name="connsiteX6" fmla="*/ 35668 w 36004"/>
                <a:gd name="connsiteY6" fmla="*/ 7076 h 17675"/>
                <a:gd name="connsiteX7" fmla="*/ 35668 w 36004"/>
                <a:gd name="connsiteY7" fmla="*/ -163 h 17675"/>
                <a:gd name="connsiteX8" fmla="*/ 34049 w 36004"/>
                <a:gd name="connsiteY8" fmla="*/ 2123 h 17675"/>
                <a:gd name="connsiteX9" fmla="*/ 31763 w 36004"/>
                <a:gd name="connsiteY9" fmla="*/ 3457 h 17675"/>
                <a:gd name="connsiteX10" fmla="*/ 21476 w 36004"/>
                <a:gd name="connsiteY10" fmla="*/ 9362 h 17675"/>
                <a:gd name="connsiteX11" fmla="*/ 13761 w 36004"/>
                <a:gd name="connsiteY11" fmla="*/ 9362 h 17675"/>
                <a:gd name="connsiteX12" fmla="*/ 3569 w 36004"/>
                <a:gd name="connsiteY12" fmla="*/ 3457 h 17675"/>
                <a:gd name="connsiteX13" fmla="*/ 1188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98" y="8038"/>
                    <a:pt x="292" y="8896"/>
                    <a:pt x="1188" y="9267"/>
                  </a:cubicBezTo>
                  <a:lnTo>
                    <a:pt x="13761" y="16506"/>
                  </a:lnTo>
                  <a:cubicBezTo>
                    <a:pt x="16161" y="17849"/>
                    <a:pt x="19076" y="17849"/>
                    <a:pt x="21476" y="16506"/>
                  </a:cubicBezTo>
                  <a:lnTo>
                    <a:pt x="34049" y="9267"/>
                  </a:lnTo>
                  <a:cubicBezTo>
                    <a:pt x="34963" y="8905"/>
                    <a:pt x="35592" y="8058"/>
                    <a:pt x="35668" y="7076"/>
                  </a:cubicBezTo>
                  <a:lnTo>
                    <a:pt x="35668" y="-163"/>
                  </a:lnTo>
                  <a:cubicBezTo>
                    <a:pt x="35630" y="856"/>
                    <a:pt x="34992" y="1752"/>
                    <a:pt x="34049" y="2123"/>
                  </a:cubicBezTo>
                  <a:lnTo>
                    <a:pt x="31763" y="3457"/>
                  </a:lnTo>
                  <a:lnTo>
                    <a:pt x="21476" y="9362"/>
                  </a:lnTo>
                  <a:cubicBezTo>
                    <a:pt x="19076" y="10705"/>
                    <a:pt x="16161" y="10705"/>
                    <a:pt x="13761" y="9362"/>
                  </a:cubicBezTo>
                  <a:lnTo>
                    <a:pt x="3569" y="3457"/>
                  </a:lnTo>
                  <a:lnTo>
                    <a:pt x="1188" y="2123"/>
                  </a:lnTo>
                  <a:cubicBezTo>
                    <a:pt x="283" y="1723"/>
                    <a:pt x="-308"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87" name="îśḷídé">
              <a:extLst>
                <a:ext uri="{FF2B5EF4-FFF2-40B4-BE49-F238E27FC236}">
                  <a16:creationId xmlns:a16="http://schemas.microsoft.com/office/drawing/2014/main" id="{6436A32B-0D02-4123-BFE8-6B33460164D2}"/>
                </a:ext>
              </a:extLst>
            </p:cNvPr>
            <p:cNvSpPr/>
            <p:nvPr/>
          </p:nvSpPr>
          <p:spPr>
            <a:xfrm>
              <a:off x="5320619" y="4868526"/>
              <a:ext cx="109740" cy="63588"/>
            </a:xfrm>
            <a:custGeom>
              <a:avLst/>
              <a:gdLst>
                <a:gd name="connsiteX0" fmla="*/ -336 w 36052"/>
                <a:gd name="connsiteY0" fmla="*/ 10196 h 20890"/>
                <a:gd name="connsiteX1" fmla="*/ 1187 w 36052"/>
                <a:gd name="connsiteY1" fmla="*/ 12482 h 20890"/>
                <a:gd name="connsiteX2" fmla="*/ 3569 w 36052"/>
                <a:gd name="connsiteY2" fmla="*/ 13815 h 20890"/>
                <a:gd name="connsiteX3" fmla="*/ 13856 w 36052"/>
                <a:gd name="connsiteY3" fmla="*/ 19721 h 20890"/>
                <a:gd name="connsiteX4" fmla="*/ 21476 w 36052"/>
                <a:gd name="connsiteY4" fmla="*/ 19721 h 20890"/>
                <a:gd name="connsiteX5" fmla="*/ 31763 w 36052"/>
                <a:gd name="connsiteY5" fmla="*/ 13815 h 20890"/>
                <a:gd name="connsiteX6" fmla="*/ 34144 w 36052"/>
                <a:gd name="connsiteY6" fmla="*/ 12482 h 20890"/>
                <a:gd name="connsiteX7" fmla="*/ 35573 w 36052"/>
                <a:gd name="connsiteY7" fmla="*/ 9434 h 20890"/>
                <a:gd name="connsiteX8" fmla="*/ 34144 w 36052"/>
                <a:gd name="connsiteY8" fmla="*/ 8005 h 20890"/>
                <a:gd name="connsiteX9" fmla="*/ 21476 w 36052"/>
                <a:gd name="connsiteY9" fmla="*/ 766 h 20890"/>
                <a:gd name="connsiteX10" fmla="*/ 13856 w 36052"/>
                <a:gd name="connsiteY10" fmla="*/ 766 h 20890"/>
                <a:gd name="connsiteX11" fmla="*/ 1187 w 36052"/>
                <a:gd name="connsiteY11" fmla="*/ 8005 h 20890"/>
                <a:gd name="connsiteX12" fmla="*/ -336 w 36052"/>
                <a:gd name="connsiteY12" fmla="*/ 10196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90">
                  <a:moveTo>
                    <a:pt x="-336" y="10196"/>
                  </a:moveTo>
                  <a:cubicBezTo>
                    <a:pt x="-270" y="11177"/>
                    <a:pt x="311" y="12044"/>
                    <a:pt x="1187" y="12482"/>
                  </a:cubicBezTo>
                  <a:lnTo>
                    <a:pt x="3569" y="13815"/>
                  </a:lnTo>
                  <a:lnTo>
                    <a:pt x="13856" y="19721"/>
                  </a:lnTo>
                  <a:cubicBezTo>
                    <a:pt x="16218" y="21064"/>
                    <a:pt x="19114" y="21064"/>
                    <a:pt x="21476" y="19721"/>
                  </a:cubicBezTo>
                  <a:lnTo>
                    <a:pt x="31763" y="13815"/>
                  </a:lnTo>
                  <a:lnTo>
                    <a:pt x="34144" y="12482"/>
                  </a:lnTo>
                  <a:cubicBezTo>
                    <a:pt x="35382" y="12034"/>
                    <a:pt x="36020" y="10663"/>
                    <a:pt x="35573" y="9434"/>
                  </a:cubicBezTo>
                  <a:cubicBezTo>
                    <a:pt x="35325" y="8767"/>
                    <a:pt x="34811" y="8243"/>
                    <a:pt x="34144" y="8005"/>
                  </a:cubicBezTo>
                  <a:lnTo>
                    <a:pt x="21476" y="766"/>
                  </a:lnTo>
                  <a:cubicBezTo>
                    <a:pt x="19085" y="-472"/>
                    <a:pt x="16247" y="-472"/>
                    <a:pt x="13856" y="766"/>
                  </a:cubicBezTo>
                  <a:lnTo>
                    <a:pt x="1187" y="8005"/>
                  </a:lnTo>
                  <a:cubicBezTo>
                    <a:pt x="340" y="8424"/>
                    <a:pt x="-241" y="925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688" name="ïṥḻiḋé">
              <a:extLst>
                <a:ext uri="{FF2B5EF4-FFF2-40B4-BE49-F238E27FC236}">
                  <a16:creationId xmlns:a16="http://schemas.microsoft.com/office/drawing/2014/main" id="{61085068-60E7-435A-89A5-08209D0F5E53}"/>
                </a:ext>
              </a:extLst>
            </p:cNvPr>
            <p:cNvSpPr/>
            <p:nvPr/>
          </p:nvSpPr>
          <p:spPr>
            <a:xfrm>
              <a:off x="5322750" y="4869616"/>
              <a:ext cx="105618" cy="61174"/>
            </a:xfrm>
            <a:custGeom>
              <a:avLst/>
              <a:gdLst>
                <a:gd name="connsiteX0" fmla="*/ 1154 w 34698"/>
                <a:gd name="connsiteY0" fmla="*/ 12029 h 20097"/>
                <a:gd name="connsiteX1" fmla="*/ 13251 w 34698"/>
                <a:gd name="connsiteY1" fmla="*/ 19078 h 20097"/>
                <a:gd name="connsiteX2" fmla="*/ 20680 w 34698"/>
                <a:gd name="connsiteY2" fmla="*/ 19078 h 20097"/>
                <a:gd name="connsiteX3" fmla="*/ 32872 w 34698"/>
                <a:gd name="connsiteY3" fmla="*/ 12029 h 20097"/>
                <a:gd name="connsiteX4" fmla="*/ 34215 w 34698"/>
                <a:gd name="connsiteY4" fmla="*/ 9086 h 20097"/>
                <a:gd name="connsiteX5" fmla="*/ 32872 w 34698"/>
                <a:gd name="connsiteY5" fmla="*/ 7743 h 20097"/>
                <a:gd name="connsiteX6" fmla="*/ 20680 w 34698"/>
                <a:gd name="connsiteY6" fmla="*/ 695 h 20097"/>
                <a:gd name="connsiteX7" fmla="*/ 13251 w 34698"/>
                <a:gd name="connsiteY7" fmla="*/ 695 h 20097"/>
                <a:gd name="connsiteX8" fmla="*/ 1154 w 34698"/>
                <a:gd name="connsiteY8" fmla="*/ 7743 h 20097"/>
                <a:gd name="connsiteX9" fmla="*/ -189 w 34698"/>
                <a:gd name="connsiteY9" fmla="*/ 10677 h 20097"/>
                <a:gd name="connsiteX10" fmla="*/ 1154 w 34698"/>
                <a:gd name="connsiteY10" fmla="*/ 12029 h 20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698" h="20097">
                  <a:moveTo>
                    <a:pt x="1154" y="12029"/>
                  </a:moveTo>
                  <a:lnTo>
                    <a:pt x="13251" y="19078"/>
                  </a:lnTo>
                  <a:cubicBezTo>
                    <a:pt x="15594" y="20221"/>
                    <a:pt x="18337" y="20221"/>
                    <a:pt x="20680" y="19078"/>
                  </a:cubicBezTo>
                  <a:lnTo>
                    <a:pt x="32872" y="12029"/>
                  </a:lnTo>
                  <a:cubicBezTo>
                    <a:pt x="34053" y="11591"/>
                    <a:pt x="34663" y="10277"/>
                    <a:pt x="34215" y="9086"/>
                  </a:cubicBezTo>
                  <a:cubicBezTo>
                    <a:pt x="33987" y="8467"/>
                    <a:pt x="33501" y="7972"/>
                    <a:pt x="32872" y="7743"/>
                  </a:cubicBezTo>
                  <a:lnTo>
                    <a:pt x="20680" y="695"/>
                  </a:lnTo>
                  <a:cubicBezTo>
                    <a:pt x="18337" y="-448"/>
                    <a:pt x="15594" y="-448"/>
                    <a:pt x="13251" y="695"/>
                  </a:cubicBezTo>
                  <a:lnTo>
                    <a:pt x="1154" y="7743"/>
                  </a:lnTo>
                  <a:cubicBezTo>
                    <a:pt x="-27" y="8181"/>
                    <a:pt x="-637" y="9496"/>
                    <a:pt x="-189" y="10677"/>
                  </a:cubicBezTo>
                  <a:cubicBezTo>
                    <a:pt x="39" y="11306"/>
                    <a:pt x="535" y="11801"/>
                    <a:pt x="1154" y="12029"/>
                  </a:cubicBezTo>
                  <a:close/>
                </a:path>
              </a:pathLst>
            </a:custGeom>
            <a:solidFill>
              <a:srgbClr val="D1D9E8"/>
            </a:solidFill>
            <a:ln w="9525" cap="flat">
              <a:noFill/>
              <a:prstDash val="solid"/>
              <a:miter/>
            </a:ln>
          </p:spPr>
          <p:txBody>
            <a:bodyPr rtlCol="0" anchor="ctr"/>
            <a:lstStyle/>
            <a:p>
              <a:endParaRPr lang="zh-CN" altLang="en-US"/>
            </a:p>
          </p:txBody>
        </p:sp>
        <p:sp>
          <p:nvSpPr>
            <p:cNvPr id="689" name="ísḷïdé">
              <a:extLst>
                <a:ext uri="{FF2B5EF4-FFF2-40B4-BE49-F238E27FC236}">
                  <a16:creationId xmlns:a16="http://schemas.microsoft.com/office/drawing/2014/main" id="{53144D4E-1884-4F2D-A03B-01E3343AB803}"/>
                </a:ext>
              </a:extLst>
            </p:cNvPr>
            <p:cNvSpPr/>
            <p:nvPr/>
          </p:nvSpPr>
          <p:spPr>
            <a:xfrm>
              <a:off x="5320619" y="4900058"/>
              <a:ext cx="109594" cy="53804"/>
            </a:xfrm>
            <a:custGeom>
              <a:avLst/>
              <a:gdLst>
                <a:gd name="connsiteX0" fmla="*/ -336 w 36004"/>
                <a:gd name="connsiteY0" fmla="*/ -163 h 17676"/>
                <a:gd name="connsiteX1" fmla="*/ -336 w 36004"/>
                <a:gd name="connsiteY1" fmla="*/ 7076 h 17676"/>
                <a:gd name="connsiteX2" fmla="*/ 1187 w 36004"/>
                <a:gd name="connsiteY2" fmla="*/ 9267 h 17676"/>
                <a:gd name="connsiteX3" fmla="*/ 13856 w 36004"/>
                <a:gd name="connsiteY3" fmla="*/ 16506 h 17676"/>
                <a:gd name="connsiteX4" fmla="*/ 21476 w 36004"/>
                <a:gd name="connsiteY4" fmla="*/ 16506 h 17676"/>
                <a:gd name="connsiteX5" fmla="*/ 34144 w 36004"/>
                <a:gd name="connsiteY5" fmla="*/ 9267 h 17676"/>
                <a:gd name="connsiteX6" fmla="*/ 35668 w 36004"/>
                <a:gd name="connsiteY6" fmla="*/ 7076 h 17676"/>
                <a:gd name="connsiteX7" fmla="*/ 35668 w 36004"/>
                <a:gd name="connsiteY7" fmla="*/ -163 h 17676"/>
                <a:gd name="connsiteX8" fmla="*/ 34144 w 36004"/>
                <a:gd name="connsiteY8" fmla="*/ 2124 h 17676"/>
                <a:gd name="connsiteX9" fmla="*/ 31763 w 36004"/>
                <a:gd name="connsiteY9" fmla="*/ 3457 h 17676"/>
                <a:gd name="connsiteX10" fmla="*/ 21476 w 36004"/>
                <a:gd name="connsiteY10" fmla="*/ 9362 h 17676"/>
                <a:gd name="connsiteX11" fmla="*/ 13856 w 36004"/>
                <a:gd name="connsiteY11" fmla="*/ 9362 h 17676"/>
                <a:gd name="connsiteX12" fmla="*/ 3569 w 36004"/>
                <a:gd name="connsiteY12" fmla="*/ 3457 h 17676"/>
                <a:gd name="connsiteX13" fmla="*/ 1187 w 36004"/>
                <a:gd name="connsiteY13" fmla="*/ 2124 h 17676"/>
                <a:gd name="connsiteX14" fmla="*/ -336 w 36004"/>
                <a:gd name="connsiteY14" fmla="*/ -163 h 17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6">
                  <a:moveTo>
                    <a:pt x="-336" y="-163"/>
                  </a:moveTo>
                  <a:lnTo>
                    <a:pt x="-336" y="7076"/>
                  </a:lnTo>
                  <a:cubicBezTo>
                    <a:pt x="-279" y="8029"/>
                    <a:pt x="311" y="8877"/>
                    <a:pt x="1187" y="9267"/>
                  </a:cubicBezTo>
                  <a:lnTo>
                    <a:pt x="13856" y="16506"/>
                  </a:lnTo>
                  <a:cubicBezTo>
                    <a:pt x="16218" y="17849"/>
                    <a:pt x="19114" y="17849"/>
                    <a:pt x="21476" y="16506"/>
                  </a:cubicBezTo>
                  <a:lnTo>
                    <a:pt x="34144" y="9267"/>
                  </a:lnTo>
                  <a:cubicBezTo>
                    <a:pt x="35020" y="8877"/>
                    <a:pt x="35611" y="8039"/>
                    <a:pt x="35668" y="7076"/>
                  </a:cubicBezTo>
                  <a:lnTo>
                    <a:pt x="35668" y="-163"/>
                  </a:lnTo>
                  <a:cubicBezTo>
                    <a:pt x="35601" y="818"/>
                    <a:pt x="35020" y="1685"/>
                    <a:pt x="34144" y="2124"/>
                  </a:cubicBezTo>
                  <a:lnTo>
                    <a:pt x="31763" y="3457"/>
                  </a:lnTo>
                  <a:lnTo>
                    <a:pt x="21476" y="9362"/>
                  </a:lnTo>
                  <a:cubicBezTo>
                    <a:pt x="19114" y="10706"/>
                    <a:pt x="16218" y="10706"/>
                    <a:pt x="13856" y="9362"/>
                  </a:cubicBezTo>
                  <a:lnTo>
                    <a:pt x="3569" y="3457"/>
                  </a:lnTo>
                  <a:lnTo>
                    <a:pt x="1187" y="2124"/>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90" name="išlïdè">
              <a:extLst>
                <a:ext uri="{FF2B5EF4-FFF2-40B4-BE49-F238E27FC236}">
                  <a16:creationId xmlns:a16="http://schemas.microsoft.com/office/drawing/2014/main" id="{4A128708-420C-4622-B4B8-E5D440F0D2A1}"/>
                </a:ext>
              </a:extLst>
            </p:cNvPr>
            <p:cNvSpPr/>
            <p:nvPr/>
          </p:nvSpPr>
          <p:spPr>
            <a:xfrm>
              <a:off x="5398029" y="4913083"/>
              <a:ext cx="109740" cy="63445"/>
            </a:xfrm>
            <a:custGeom>
              <a:avLst/>
              <a:gdLst>
                <a:gd name="connsiteX0" fmla="*/ -336 w 36052"/>
                <a:gd name="connsiteY0" fmla="*/ 10227 h 20843"/>
                <a:gd name="connsiteX1" fmla="*/ 1188 w 36052"/>
                <a:gd name="connsiteY1" fmla="*/ 12513 h 20843"/>
                <a:gd name="connsiteX2" fmla="*/ 3569 w 36052"/>
                <a:gd name="connsiteY2" fmla="*/ 13846 h 20843"/>
                <a:gd name="connsiteX3" fmla="*/ 13856 w 36052"/>
                <a:gd name="connsiteY3" fmla="*/ 19752 h 20843"/>
                <a:gd name="connsiteX4" fmla="*/ 21476 w 36052"/>
                <a:gd name="connsiteY4" fmla="*/ 19752 h 20843"/>
                <a:gd name="connsiteX5" fmla="*/ 31763 w 36052"/>
                <a:gd name="connsiteY5" fmla="*/ 13846 h 20843"/>
                <a:gd name="connsiteX6" fmla="*/ 34144 w 36052"/>
                <a:gd name="connsiteY6" fmla="*/ 12513 h 20843"/>
                <a:gd name="connsiteX7" fmla="*/ 35573 w 36052"/>
                <a:gd name="connsiteY7" fmla="*/ 9465 h 20843"/>
                <a:gd name="connsiteX8" fmla="*/ 34144 w 36052"/>
                <a:gd name="connsiteY8" fmla="*/ 8036 h 20843"/>
                <a:gd name="connsiteX9" fmla="*/ 21476 w 36052"/>
                <a:gd name="connsiteY9" fmla="*/ 702 h 20843"/>
                <a:gd name="connsiteX10" fmla="*/ 13856 w 36052"/>
                <a:gd name="connsiteY10" fmla="*/ 702 h 20843"/>
                <a:gd name="connsiteX11" fmla="*/ 1188 w 36052"/>
                <a:gd name="connsiteY11" fmla="*/ 8036 h 20843"/>
                <a:gd name="connsiteX12" fmla="*/ -336 w 36052"/>
                <a:gd name="connsiteY12" fmla="*/ 10227 h 20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3">
                  <a:moveTo>
                    <a:pt x="-336" y="10227"/>
                  </a:moveTo>
                  <a:cubicBezTo>
                    <a:pt x="-269" y="11208"/>
                    <a:pt x="311" y="12075"/>
                    <a:pt x="1188" y="12513"/>
                  </a:cubicBezTo>
                  <a:lnTo>
                    <a:pt x="3569" y="13846"/>
                  </a:lnTo>
                  <a:lnTo>
                    <a:pt x="13856" y="19752"/>
                  </a:lnTo>
                  <a:cubicBezTo>
                    <a:pt x="16247" y="20990"/>
                    <a:pt x="19085" y="20990"/>
                    <a:pt x="21476" y="19752"/>
                  </a:cubicBezTo>
                  <a:lnTo>
                    <a:pt x="31763" y="13846"/>
                  </a:lnTo>
                  <a:lnTo>
                    <a:pt x="34144" y="12513"/>
                  </a:lnTo>
                  <a:cubicBezTo>
                    <a:pt x="35382" y="12065"/>
                    <a:pt x="36021" y="10694"/>
                    <a:pt x="35573" y="9465"/>
                  </a:cubicBezTo>
                  <a:cubicBezTo>
                    <a:pt x="35325" y="8798"/>
                    <a:pt x="34811" y="8274"/>
                    <a:pt x="34144"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691" name="í$ľíḑê">
              <a:extLst>
                <a:ext uri="{FF2B5EF4-FFF2-40B4-BE49-F238E27FC236}">
                  <a16:creationId xmlns:a16="http://schemas.microsoft.com/office/drawing/2014/main" id="{EC4C8923-3078-4C79-B984-5AB592B55BAB}"/>
                </a:ext>
              </a:extLst>
            </p:cNvPr>
            <p:cNvSpPr/>
            <p:nvPr/>
          </p:nvSpPr>
          <p:spPr>
            <a:xfrm>
              <a:off x="5399843" y="4914264"/>
              <a:ext cx="105898" cy="61101"/>
            </a:xfrm>
            <a:custGeom>
              <a:avLst/>
              <a:gdLst>
                <a:gd name="connsiteX0" fmla="*/ 1164 w 34790"/>
                <a:gd name="connsiteY0" fmla="*/ 12029 h 20073"/>
                <a:gd name="connsiteX1" fmla="*/ 13356 w 34790"/>
                <a:gd name="connsiteY1" fmla="*/ 18982 h 20073"/>
                <a:gd name="connsiteX2" fmla="*/ 20785 w 34790"/>
                <a:gd name="connsiteY2" fmla="*/ 18982 h 20073"/>
                <a:gd name="connsiteX3" fmla="*/ 32882 w 34790"/>
                <a:gd name="connsiteY3" fmla="*/ 12029 h 20073"/>
                <a:gd name="connsiteX4" fmla="*/ 32882 w 34790"/>
                <a:gd name="connsiteY4" fmla="*/ 7743 h 20073"/>
                <a:gd name="connsiteX5" fmla="*/ 20785 w 34790"/>
                <a:gd name="connsiteY5" fmla="*/ 695 h 20073"/>
                <a:gd name="connsiteX6" fmla="*/ 13356 w 34790"/>
                <a:gd name="connsiteY6" fmla="*/ 695 h 20073"/>
                <a:gd name="connsiteX7" fmla="*/ 1164 w 34790"/>
                <a:gd name="connsiteY7" fmla="*/ 7743 h 20073"/>
                <a:gd name="connsiteX8" fmla="*/ 1164 w 34790"/>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3">
                  <a:moveTo>
                    <a:pt x="1164" y="12029"/>
                  </a:moveTo>
                  <a:lnTo>
                    <a:pt x="13356" y="18982"/>
                  </a:lnTo>
                  <a:cubicBezTo>
                    <a:pt x="15680" y="20221"/>
                    <a:pt x="18461" y="20221"/>
                    <a:pt x="20785" y="18982"/>
                  </a:cubicBezTo>
                  <a:lnTo>
                    <a:pt x="32882" y="12029"/>
                  </a:lnTo>
                  <a:cubicBezTo>
                    <a:pt x="34978" y="10791"/>
                    <a:pt x="34978" y="8886"/>
                    <a:pt x="32882" y="7743"/>
                  </a:cubicBezTo>
                  <a:lnTo>
                    <a:pt x="20785" y="695"/>
                  </a:lnTo>
                  <a:cubicBezTo>
                    <a:pt x="18442" y="-448"/>
                    <a:pt x="15699" y="-448"/>
                    <a:pt x="13356" y="695"/>
                  </a:cubicBezTo>
                  <a:lnTo>
                    <a:pt x="1164" y="7743"/>
                  </a:lnTo>
                  <a:cubicBezTo>
                    <a:pt x="-836" y="9267"/>
                    <a:pt x="-836" y="10791"/>
                    <a:pt x="1164" y="12029"/>
                  </a:cubicBezTo>
                  <a:close/>
                </a:path>
              </a:pathLst>
            </a:custGeom>
            <a:solidFill>
              <a:srgbClr val="D1D9E8"/>
            </a:solidFill>
            <a:ln w="9525" cap="flat">
              <a:noFill/>
              <a:prstDash val="solid"/>
              <a:miter/>
            </a:ln>
          </p:spPr>
          <p:txBody>
            <a:bodyPr rtlCol="0" anchor="ctr"/>
            <a:lstStyle/>
            <a:p>
              <a:endParaRPr lang="zh-CN" altLang="en-US"/>
            </a:p>
          </p:txBody>
        </p:sp>
        <p:sp>
          <p:nvSpPr>
            <p:cNvPr id="692" name="îšľîdê">
              <a:extLst>
                <a:ext uri="{FF2B5EF4-FFF2-40B4-BE49-F238E27FC236}">
                  <a16:creationId xmlns:a16="http://schemas.microsoft.com/office/drawing/2014/main" id="{0EBE916F-CBE6-4D8C-8396-1826B9917480}"/>
                </a:ext>
              </a:extLst>
            </p:cNvPr>
            <p:cNvSpPr/>
            <p:nvPr/>
          </p:nvSpPr>
          <p:spPr>
            <a:xfrm>
              <a:off x="5398029" y="4944707"/>
              <a:ext cx="109594" cy="53801"/>
            </a:xfrm>
            <a:custGeom>
              <a:avLst/>
              <a:gdLst>
                <a:gd name="connsiteX0" fmla="*/ -336 w 36004"/>
                <a:gd name="connsiteY0" fmla="*/ -163 h 17675"/>
                <a:gd name="connsiteX1" fmla="*/ -336 w 36004"/>
                <a:gd name="connsiteY1" fmla="*/ 7076 h 17675"/>
                <a:gd name="connsiteX2" fmla="*/ 1188 w 36004"/>
                <a:gd name="connsiteY2" fmla="*/ 9267 h 17675"/>
                <a:gd name="connsiteX3" fmla="*/ 13856 w 36004"/>
                <a:gd name="connsiteY3" fmla="*/ 16506 h 17675"/>
                <a:gd name="connsiteX4" fmla="*/ 21476 w 36004"/>
                <a:gd name="connsiteY4" fmla="*/ 16506 h 17675"/>
                <a:gd name="connsiteX5" fmla="*/ 34144 w 36004"/>
                <a:gd name="connsiteY5" fmla="*/ 9267 h 17675"/>
                <a:gd name="connsiteX6" fmla="*/ 35668 w 36004"/>
                <a:gd name="connsiteY6" fmla="*/ 6981 h 17675"/>
                <a:gd name="connsiteX7" fmla="*/ 35668 w 36004"/>
                <a:gd name="connsiteY7" fmla="*/ -163 h 17675"/>
                <a:gd name="connsiteX8" fmla="*/ 34144 w 36004"/>
                <a:gd name="connsiteY8" fmla="*/ 2123 h 17675"/>
                <a:gd name="connsiteX9" fmla="*/ 31763 w 36004"/>
                <a:gd name="connsiteY9" fmla="*/ 3457 h 17675"/>
                <a:gd name="connsiteX10" fmla="*/ 21476 w 36004"/>
                <a:gd name="connsiteY10" fmla="*/ 9362 h 17675"/>
                <a:gd name="connsiteX11" fmla="*/ 13856 w 36004"/>
                <a:gd name="connsiteY11" fmla="*/ 9362 h 17675"/>
                <a:gd name="connsiteX12" fmla="*/ 3569 w 36004"/>
                <a:gd name="connsiteY12" fmla="*/ 3457 h 17675"/>
                <a:gd name="connsiteX13" fmla="*/ 1188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79" y="8038"/>
                    <a:pt x="311" y="8877"/>
                    <a:pt x="1188" y="9267"/>
                  </a:cubicBezTo>
                  <a:lnTo>
                    <a:pt x="13856" y="16506"/>
                  </a:lnTo>
                  <a:cubicBezTo>
                    <a:pt x="16218" y="17849"/>
                    <a:pt x="19114" y="17849"/>
                    <a:pt x="21476" y="16506"/>
                  </a:cubicBezTo>
                  <a:lnTo>
                    <a:pt x="34144" y="9267"/>
                  </a:lnTo>
                  <a:cubicBezTo>
                    <a:pt x="35049" y="8867"/>
                    <a:pt x="35640" y="7972"/>
                    <a:pt x="35668" y="6981"/>
                  </a:cubicBezTo>
                  <a:lnTo>
                    <a:pt x="35668" y="-163"/>
                  </a:lnTo>
                  <a:cubicBezTo>
                    <a:pt x="35602" y="818"/>
                    <a:pt x="35021" y="1685"/>
                    <a:pt x="34144" y="2123"/>
                  </a:cubicBezTo>
                  <a:lnTo>
                    <a:pt x="31763" y="3457"/>
                  </a:lnTo>
                  <a:lnTo>
                    <a:pt x="21476" y="9362"/>
                  </a:lnTo>
                  <a:cubicBezTo>
                    <a:pt x="19085" y="10601"/>
                    <a:pt x="16247" y="10601"/>
                    <a:pt x="13856" y="9362"/>
                  </a:cubicBezTo>
                  <a:lnTo>
                    <a:pt x="3569" y="3457"/>
                  </a:lnTo>
                  <a:lnTo>
                    <a:pt x="1188" y="2123"/>
                  </a:lnTo>
                  <a:cubicBezTo>
                    <a:pt x="311"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93" name="îṧ1îdè">
              <a:extLst>
                <a:ext uri="{FF2B5EF4-FFF2-40B4-BE49-F238E27FC236}">
                  <a16:creationId xmlns:a16="http://schemas.microsoft.com/office/drawing/2014/main" id="{F5B38880-B596-4876-B564-E91B5B98F1F6}"/>
                </a:ext>
              </a:extLst>
            </p:cNvPr>
            <p:cNvSpPr/>
            <p:nvPr/>
          </p:nvSpPr>
          <p:spPr>
            <a:xfrm>
              <a:off x="5474282" y="4957884"/>
              <a:ext cx="109740" cy="63292"/>
            </a:xfrm>
            <a:custGeom>
              <a:avLst/>
              <a:gdLst>
                <a:gd name="connsiteX0" fmla="*/ -336 w 36052"/>
                <a:gd name="connsiteY0" fmla="*/ 10177 h 20793"/>
                <a:gd name="connsiteX1" fmla="*/ 1283 w 36052"/>
                <a:gd name="connsiteY1" fmla="*/ 12463 h 20793"/>
                <a:gd name="connsiteX2" fmla="*/ 3569 w 36052"/>
                <a:gd name="connsiteY2" fmla="*/ 13796 h 20793"/>
                <a:gd name="connsiteX3" fmla="*/ 13856 w 36052"/>
                <a:gd name="connsiteY3" fmla="*/ 19702 h 20793"/>
                <a:gd name="connsiteX4" fmla="*/ 21571 w 36052"/>
                <a:gd name="connsiteY4" fmla="*/ 19702 h 20793"/>
                <a:gd name="connsiteX5" fmla="*/ 31858 w 36052"/>
                <a:gd name="connsiteY5" fmla="*/ 13796 h 20793"/>
                <a:gd name="connsiteX6" fmla="*/ 34144 w 36052"/>
                <a:gd name="connsiteY6" fmla="*/ 12463 h 20793"/>
                <a:gd name="connsiteX7" fmla="*/ 35573 w 36052"/>
                <a:gd name="connsiteY7" fmla="*/ 9415 h 20793"/>
                <a:gd name="connsiteX8" fmla="*/ 34144 w 36052"/>
                <a:gd name="connsiteY8" fmla="*/ 7986 h 20793"/>
                <a:gd name="connsiteX9" fmla="*/ 21571 w 36052"/>
                <a:gd name="connsiteY9" fmla="*/ 652 h 20793"/>
                <a:gd name="connsiteX10" fmla="*/ 13856 w 36052"/>
                <a:gd name="connsiteY10" fmla="*/ 652 h 20793"/>
                <a:gd name="connsiteX11" fmla="*/ 1283 w 36052"/>
                <a:gd name="connsiteY11" fmla="*/ 7986 h 20793"/>
                <a:gd name="connsiteX12" fmla="*/ -336 w 36052"/>
                <a:gd name="connsiteY12" fmla="*/ 10177 h 20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793">
                  <a:moveTo>
                    <a:pt x="-336" y="10177"/>
                  </a:moveTo>
                  <a:cubicBezTo>
                    <a:pt x="-270" y="11186"/>
                    <a:pt x="359" y="12072"/>
                    <a:pt x="1283" y="12463"/>
                  </a:cubicBezTo>
                  <a:lnTo>
                    <a:pt x="3569" y="13796"/>
                  </a:lnTo>
                  <a:lnTo>
                    <a:pt x="13856" y="19702"/>
                  </a:lnTo>
                  <a:cubicBezTo>
                    <a:pt x="16275" y="20940"/>
                    <a:pt x="19152" y="20940"/>
                    <a:pt x="21571" y="19702"/>
                  </a:cubicBezTo>
                  <a:lnTo>
                    <a:pt x="31858" y="13796"/>
                  </a:lnTo>
                  <a:lnTo>
                    <a:pt x="34144" y="12463"/>
                  </a:lnTo>
                  <a:cubicBezTo>
                    <a:pt x="35382" y="12015"/>
                    <a:pt x="36020" y="10643"/>
                    <a:pt x="35573" y="9415"/>
                  </a:cubicBezTo>
                  <a:cubicBezTo>
                    <a:pt x="35325" y="8748"/>
                    <a:pt x="34811" y="8224"/>
                    <a:pt x="34144" y="7986"/>
                  </a:cubicBezTo>
                  <a:lnTo>
                    <a:pt x="21571" y="652"/>
                  </a:lnTo>
                  <a:cubicBezTo>
                    <a:pt x="19114" y="-434"/>
                    <a:pt x="16313" y="-434"/>
                    <a:pt x="13856" y="652"/>
                  </a:cubicBezTo>
                  <a:lnTo>
                    <a:pt x="1283" y="7986"/>
                  </a:lnTo>
                  <a:cubicBezTo>
                    <a:pt x="387" y="8367"/>
                    <a:pt x="-241" y="9205"/>
                    <a:pt x="-336" y="10177"/>
                  </a:cubicBezTo>
                  <a:close/>
                </a:path>
              </a:pathLst>
            </a:custGeom>
            <a:solidFill>
              <a:srgbClr val="FFFFFF"/>
            </a:solidFill>
            <a:ln w="9525" cap="flat">
              <a:noFill/>
              <a:prstDash val="solid"/>
              <a:miter/>
            </a:ln>
          </p:spPr>
          <p:txBody>
            <a:bodyPr rtlCol="0" anchor="ctr"/>
            <a:lstStyle/>
            <a:p>
              <a:endParaRPr lang="zh-CN" altLang="en-US"/>
            </a:p>
          </p:txBody>
        </p:sp>
        <p:sp>
          <p:nvSpPr>
            <p:cNvPr id="694" name="iṩľïḑe">
              <a:extLst>
                <a:ext uri="{FF2B5EF4-FFF2-40B4-BE49-F238E27FC236}">
                  <a16:creationId xmlns:a16="http://schemas.microsoft.com/office/drawing/2014/main" id="{4ADD2ACB-B330-443B-AE8E-5D8C2ECFE2B0}"/>
                </a:ext>
              </a:extLst>
            </p:cNvPr>
            <p:cNvSpPr/>
            <p:nvPr/>
          </p:nvSpPr>
          <p:spPr>
            <a:xfrm>
              <a:off x="5476167" y="4958913"/>
              <a:ext cx="106766" cy="61101"/>
            </a:xfrm>
            <a:custGeom>
              <a:avLst/>
              <a:gdLst>
                <a:gd name="connsiteX0" fmla="*/ 1521 w 35075"/>
                <a:gd name="connsiteY0" fmla="*/ 12029 h 20073"/>
                <a:gd name="connsiteX1" fmla="*/ 13618 w 35075"/>
                <a:gd name="connsiteY1" fmla="*/ 18983 h 20073"/>
                <a:gd name="connsiteX2" fmla="*/ 21047 w 35075"/>
                <a:gd name="connsiteY2" fmla="*/ 18983 h 20073"/>
                <a:gd name="connsiteX3" fmla="*/ 33239 w 35075"/>
                <a:gd name="connsiteY3" fmla="*/ 12029 h 20073"/>
                <a:gd name="connsiteX4" fmla="*/ 33239 w 35075"/>
                <a:gd name="connsiteY4" fmla="*/ 7743 h 20073"/>
                <a:gd name="connsiteX5" fmla="*/ 21047 w 35075"/>
                <a:gd name="connsiteY5" fmla="*/ 695 h 20073"/>
                <a:gd name="connsiteX6" fmla="*/ 13618 w 35075"/>
                <a:gd name="connsiteY6" fmla="*/ 695 h 20073"/>
                <a:gd name="connsiteX7" fmla="*/ 1521 w 35075"/>
                <a:gd name="connsiteY7" fmla="*/ 7743 h 20073"/>
                <a:gd name="connsiteX8" fmla="*/ 1521 w 35075"/>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075" h="20073">
                  <a:moveTo>
                    <a:pt x="1521" y="12029"/>
                  </a:moveTo>
                  <a:lnTo>
                    <a:pt x="13618" y="18983"/>
                  </a:lnTo>
                  <a:cubicBezTo>
                    <a:pt x="15942" y="20221"/>
                    <a:pt x="18723" y="20221"/>
                    <a:pt x="21047" y="18983"/>
                  </a:cubicBezTo>
                  <a:lnTo>
                    <a:pt x="33239" y="12029"/>
                  </a:lnTo>
                  <a:cubicBezTo>
                    <a:pt x="35239" y="10791"/>
                    <a:pt x="35239" y="8886"/>
                    <a:pt x="33239" y="7743"/>
                  </a:cubicBezTo>
                  <a:lnTo>
                    <a:pt x="21047" y="695"/>
                  </a:lnTo>
                  <a:cubicBezTo>
                    <a:pt x="18704" y="-448"/>
                    <a:pt x="15961" y="-448"/>
                    <a:pt x="13618" y="695"/>
                  </a:cubicBezTo>
                  <a:lnTo>
                    <a:pt x="1521" y="7743"/>
                  </a:lnTo>
                  <a:cubicBezTo>
                    <a:pt x="-955" y="8886"/>
                    <a:pt x="-955" y="10791"/>
                    <a:pt x="1521" y="12029"/>
                  </a:cubicBezTo>
                  <a:close/>
                </a:path>
              </a:pathLst>
            </a:custGeom>
            <a:solidFill>
              <a:srgbClr val="D1D9E8"/>
            </a:solidFill>
            <a:ln w="9525" cap="flat">
              <a:noFill/>
              <a:prstDash val="solid"/>
              <a:miter/>
            </a:ln>
          </p:spPr>
          <p:txBody>
            <a:bodyPr rtlCol="0" anchor="ctr"/>
            <a:lstStyle/>
            <a:p>
              <a:endParaRPr lang="zh-CN" altLang="en-US"/>
            </a:p>
          </p:txBody>
        </p:sp>
        <p:sp>
          <p:nvSpPr>
            <p:cNvPr id="695" name="ïšľíḍé">
              <a:extLst>
                <a:ext uri="{FF2B5EF4-FFF2-40B4-BE49-F238E27FC236}">
                  <a16:creationId xmlns:a16="http://schemas.microsoft.com/office/drawing/2014/main" id="{4B600CE1-1803-48E4-A7D2-C51D6A2F264E}"/>
                </a:ext>
              </a:extLst>
            </p:cNvPr>
            <p:cNvSpPr/>
            <p:nvPr/>
          </p:nvSpPr>
          <p:spPr>
            <a:xfrm>
              <a:off x="5474282" y="4989358"/>
              <a:ext cx="109883" cy="53801"/>
            </a:xfrm>
            <a:custGeom>
              <a:avLst/>
              <a:gdLst>
                <a:gd name="connsiteX0" fmla="*/ -336 w 36099"/>
                <a:gd name="connsiteY0" fmla="*/ -163 h 17675"/>
                <a:gd name="connsiteX1" fmla="*/ -336 w 36099"/>
                <a:gd name="connsiteY1" fmla="*/ 7076 h 17675"/>
                <a:gd name="connsiteX2" fmla="*/ 1283 w 36099"/>
                <a:gd name="connsiteY2" fmla="*/ 9267 h 17675"/>
                <a:gd name="connsiteX3" fmla="*/ 13856 w 36099"/>
                <a:gd name="connsiteY3" fmla="*/ 16506 h 17675"/>
                <a:gd name="connsiteX4" fmla="*/ 21571 w 36099"/>
                <a:gd name="connsiteY4" fmla="*/ 16506 h 17675"/>
                <a:gd name="connsiteX5" fmla="*/ 34144 w 36099"/>
                <a:gd name="connsiteY5" fmla="*/ 9267 h 17675"/>
                <a:gd name="connsiteX6" fmla="*/ 35764 w 36099"/>
                <a:gd name="connsiteY6" fmla="*/ 6981 h 17675"/>
                <a:gd name="connsiteX7" fmla="*/ 35764 w 36099"/>
                <a:gd name="connsiteY7" fmla="*/ -163 h 17675"/>
                <a:gd name="connsiteX8" fmla="*/ 34144 w 36099"/>
                <a:gd name="connsiteY8" fmla="*/ 2123 h 17675"/>
                <a:gd name="connsiteX9" fmla="*/ 31858 w 36099"/>
                <a:gd name="connsiteY9" fmla="*/ 3457 h 17675"/>
                <a:gd name="connsiteX10" fmla="*/ 21571 w 36099"/>
                <a:gd name="connsiteY10" fmla="*/ 9362 h 17675"/>
                <a:gd name="connsiteX11" fmla="*/ 13856 w 36099"/>
                <a:gd name="connsiteY11" fmla="*/ 9362 h 17675"/>
                <a:gd name="connsiteX12" fmla="*/ 3569 w 36099"/>
                <a:gd name="connsiteY12" fmla="*/ 3457 h 17675"/>
                <a:gd name="connsiteX13" fmla="*/ 1283 w 36099"/>
                <a:gd name="connsiteY13" fmla="*/ 2123 h 17675"/>
                <a:gd name="connsiteX14" fmla="*/ -336 w 36099"/>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675">
                  <a:moveTo>
                    <a:pt x="-336" y="-163"/>
                  </a:moveTo>
                  <a:lnTo>
                    <a:pt x="-336" y="7076"/>
                  </a:lnTo>
                  <a:cubicBezTo>
                    <a:pt x="-241" y="8048"/>
                    <a:pt x="387" y="8886"/>
                    <a:pt x="1283" y="9267"/>
                  </a:cubicBezTo>
                  <a:lnTo>
                    <a:pt x="13856" y="16506"/>
                  </a:lnTo>
                  <a:cubicBezTo>
                    <a:pt x="16256" y="17849"/>
                    <a:pt x="19171" y="17849"/>
                    <a:pt x="21571" y="16506"/>
                  </a:cubicBezTo>
                  <a:lnTo>
                    <a:pt x="34144" y="9267"/>
                  </a:lnTo>
                  <a:cubicBezTo>
                    <a:pt x="35049" y="8839"/>
                    <a:pt x="35659" y="7972"/>
                    <a:pt x="35764" y="6981"/>
                  </a:cubicBezTo>
                  <a:lnTo>
                    <a:pt x="35764" y="-163"/>
                  </a:lnTo>
                  <a:cubicBezTo>
                    <a:pt x="35659" y="828"/>
                    <a:pt x="35049" y="1695"/>
                    <a:pt x="34144" y="2123"/>
                  </a:cubicBezTo>
                  <a:lnTo>
                    <a:pt x="31858" y="3457"/>
                  </a:lnTo>
                  <a:lnTo>
                    <a:pt x="21571" y="9362"/>
                  </a:lnTo>
                  <a:cubicBezTo>
                    <a:pt x="19152" y="10601"/>
                    <a:pt x="16275" y="10601"/>
                    <a:pt x="13856" y="9362"/>
                  </a:cubicBezTo>
                  <a:lnTo>
                    <a:pt x="3569" y="3457"/>
                  </a:lnTo>
                  <a:lnTo>
                    <a:pt x="1283" y="2123"/>
                  </a:lnTo>
                  <a:cubicBezTo>
                    <a:pt x="359" y="1733"/>
                    <a:pt x="-270" y="847"/>
                    <a:pt x="-336" y="-163"/>
                  </a:cubicBezTo>
                  <a:close/>
                </a:path>
              </a:pathLst>
            </a:custGeom>
            <a:solidFill>
              <a:srgbClr val="BF4200"/>
            </a:solidFill>
            <a:ln w="9525" cap="flat">
              <a:noFill/>
              <a:prstDash val="solid"/>
              <a:miter/>
            </a:ln>
          </p:spPr>
          <p:txBody>
            <a:bodyPr rtlCol="0" anchor="ctr"/>
            <a:lstStyle/>
            <a:p>
              <a:endParaRPr lang="zh-CN" altLang="en-US"/>
            </a:p>
          </p:txBody>
        </p:sp>
        <p:sp>
          <p:nvSpPr>
            <p:cNvPr id="696" name="íṣ1íḓê">
              <a:extLst>
                <a:ext uri="{FF2B5EF4-FFF2-40B4-BE49-F238E27FC236}">
                  <a16:creationId xmlns:a16="http://schemas.microsoft.com/office/drawing/2014/main" id="{829E2809-2336-47A9-A924-26018F3E6733}"/>
                </a:ext>
              </a:extLst>
            </p:cNvPr>
            <p:cNvSpPr/>
            <p:nvPr/>
          </p:nvSpPr>
          <p:spPr>
            <a:xfrm>
              <a:off x="5552566" y="5002383"/>
              <a:ext cx="109740" cy="63442"/>
            </a:xfrm>
            <a:custGeom>
              <a:avLst/>
              <a:gdLst>
                <a:gd name="connsiteX0" fmla="*/ -336 w 36052"/>
                <a:gd name="connsiteY0" fmla="*/ 10227 h 20842"/>
                <a:gd name="connsiteX1" fmla="*/ 1187 w 36052"/>
                <a:gd name="connsiteY1" fmla="*/ 12513 h 20842"/>
                <a:gd name="connsiteX2" fmla="*/ 3569 w 36052"/>
                <a:gd name="connsiteY2" fmla="*/ 13846 h 20842"/>
                <a:gd name="connsiteX3" fmla="*/ 13856 w 36052"/>
                <a:gd name="connsiteY3" fmla="*/ 19752 h 20842"/>
                <a:gd name="connsiteX4" fmla="*/ 21476 w 36052"/>
                <a:gd name="connsiteY4" fmla="*/ 19752 h 20842"/>
                <a:gd name="connsiteX5" fmla="*/ 31763 w 36052"/>
                <a:gd name="connsiteY5" fmla="*/ 13846 h 20842"/>
                <a:gd name="connsiteX6" fmla="*/ 34144 w 36052"/>
                <a:gd name="connsiteY6" fmla="*/ 12513 h 20842"/>
                <a:gd name="connsiteX7" fmla="*/ 35573 w 36052"/>
                <a:gd name="connsiteY7" fmla="*/ 9465 h 20842"/>
                <a:gd name="connsiteX8" fmla="*/ 34144 w 36052"/>
                <a:gd name="connsiteY8" fmla="*/ 8036 h 20842"/>
                <a:gd name="connsiteX9" fmla="*/ 21476 w 36052"/>
                <a:gd name="connsiteY9" fmla="*/ 702 h 20842"/>
                <a:gd name="connsiteX10" fmla="*/ 13856 w 36052"/>
                <a:gd name="connsiteY10" fmla="*/ 702 h 20842"/>
                <a:gd name="connsiteX11" fmla="*/ 1187 w 36052"/>
                <a:gd name="connsiteY11" fmla="*/ 8036 h 20842"/>
                <a:gd name="connsiteX12" fmla="*/ -336 w 36052"/>
                <a:gd name="connsiteY12" fmla="*/ 10227 h 20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2">
                  <a:moveTo>
                    <a:pt x="-336" y="10227"/>
                  </a:moveTo>
                  <a:cubicBezTo>
                    <a:pt x="-270" y="11208"/>
                    <a:pt x="311" y="12075"/>
                    <a:pt x="1187" y="12513"/>
                  </a:cubicBezTo>
                  <a:lnTo>
                    <a:pt x="3569" y="13846"/>
                  </a:lnTo>
                  <a:lnTo>
                    <a:pt x="13856" y="19752"/>
                  </a:lnTo>
                  <a:cubicBezTo>
                    <a:pt x="16247" y="20990"/>
                    <a:pt x="19085" y="20990"/>
                    <a:pt x="21476" y="19752"/>
                  </a:cubicBezTo>
                  <a:lnTo>
                    <a:pt x="31763" y="13846"/>
                  </a:lnTo>
                  <a:lnTo>
                    <a:pt x="34144" y="12513"/>
                  </a:lnTo>
                  <a:cubicBezTo>
                    <a:pt x="35382" y="12065"/>
                    <a:pt x="36020" y="10693"/>
                    <a:pt x="35573" y="9465"/>
                  </a:cubicBezTo>
                  <a:cubicBezTo>
                    <a:pt x="35325" y="8798"/>
                    <a:pt x="34811" y="8274"/>
                    <a:pt x="34144" y="8036"/>
                  </a:cubicBezTo>
                  <a:lnTo>
                    <a:pt x="21476" y="702"/>
                  </a:lnTo>
                  <a:cubicBezTo>
                    <a:pt x="19066" y="-451"/>
                    <a:pt x="16266" y="-451"/>
                    <a:pt x="13856" y="702"/>
                  </a:cubicBezTo>
                  <a:lnTo>
                    <a:pt x="1187"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697" name="iṥḻïḓè">
              <a:extLst>
                <a:ext uri="{FF2B5EF4-FFF2-40B4-BE49-F238E27FC236}">
                  <a16:creationId xmlns:a16="http://schemas.microsoft.com/office/drawing/2014/main" id="{5E55F4F6-DA3B-442B-8E33-9C37EB5265CC}"/>
                </a:ext>
              </a:extLst>
            </p:cNvPr>
            <p:cNvSpPr/>
            <p:nvPr/>
          </p:nvSpPr>
          <p:spPr>
            <a:xfrm>
              <a:off x="5554450" y="5003564"/>
              <a:ext cx="105825" cy="61104"/>
            </a:xfrm>
            <a:custGeom>
              <a:avLst/>
              <a:gdLst>
                <a:gd name="connsiteX0" fmla="*/ 1235 w 34766"/>
                <a:gd name="connsiteY0" fmla="*/ 12029 h 20074"/>
                <a:gd name="connsiteX1" fmla="*/ 13332 w 34766"/>
                <a:gd name="connsiteY1" fmla="*/ 18983 h 20074"/>
                <a:gd name="connsiteX2" fmla="*/ 20762 w 34766"/>
                <a:gd name="connsiteY2" fmla="*/ 18983 h 20074"/>
                <a:gd name="connsiteX3" fmla="*/ 32858 w 34766"/>
                <a:gd name="connsiteY3" fmla="*/ 12029 h 20074"/>
                <a:gd name="connsiteX4" fmla="*/ 32858 w 34766"/>
                <a:gd name="connsiteY4" fmla="*/ 7743 h 20074"/>
                <a:gd name="connsiteX5" fmla="*/ 20762 w 34766"/>
                <a:gd name="connsiteY5" fmla="*/ 695 h 20074"/>
                <a:gd name="connsiteX6" fmla="*/ 13332 w 34766"/>
                <a:gd name="connsiteY6" fmla="*/ 695 h 20074"/>
                <a:gd name="connsiteX7" fmla="*/ 1235 w 34766"/>
                <a:gd name="connsiteY7" fmla="*/ 7743 h 20074"/>
                <a:gd name="connsiteX8" fmla="*/ 1235 w 34766"/>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6" h="20074">
                  <a:moveTo>
                    <a:pt x="1235" y="12029"/>
                  </a:moveTo>
                  <a:lnTo>
                    <a:pt x="13332" y="18983"/>
                  </a:lnTo>
                  <a:cubicBezTo>
                    <a:pt x="15656" y="20221"/>
                    <a:pt x="18437" y="20221"/>
                    <a:pt x="20762" y="18983"/>
                  </a:cubicBezTo>
                  <a:lnTo>
                    <a:pt x="32858" y="12029"/>
                  </a:lnTo>
                  <a:cubicBezTo>
                    <a:pt x="34954" y="10791"/>
                    <a:pt x="34954" y="8886"/>
                    <a:pt x="32858" y="7743"/>
                  </a:cubicBezTo>
                  <a:lnTo>
                    <a:pt x="20762" y="695"/>
                  </a:lnTo>
                  <a:cubicBezTo>
                    <a:pt x="18419" y="-448"/>
                    <a:pt x="15675" y="-448"/>
                    <a:pt x="13332" y="695"/>
                  </a:cubicBezTo>
                  <a:lnTo>
                    <a:pt x="1235" y="7743"/>
                  </a:lnTo>
                  <a:cubicBezTo>
                    <a:pt x="-860" y="8505"/>
                    <a:pt x="-860" y="10791"/>
                    <a:pt x="1235" y="12029"/>
                  </a:cubicBezTo>
                  <a:close/>
                </a:path>
              </a:pathLst>
            </a:custGeom>
            <a:solidFill>
              <a:srgbClr val="D1D9E8"/>
            </a:solidFill>
            <a:ln w="9525" cap="flat">
              <a:noFill/>
              <a:prstDash val="solid"/>
              <a:miter/>
            </a:ln>
          </p:spPr>
          <p:txBody>
            <a:bodyPr rtlCol="0" anchor="ctr"/>
            <a:lstStyle/>
            <a:p>
              <a:endParaRPr lang="zh-CN" altLang="en-US"/>
            </a:p>
          </p:txBody>
        </p:sp>
        <p:sp>
          <p:nvSpPr>
            <p:cNvPr id="698" name="iṧ1idè">
              <a:extLst>
                <a:ext uri="{FF2B5EF4-FFF2-40B4-BE49-F238E27FC236}">
                  <a16:creationId xmlns:a16="http://schemas.microsoft.com/office/drawing/2014/main" id="{DD6D111A-2534-4BDF-897E-49E58700A2A2}"/>
                </a:ext>
              </a:extLst>
            </p:cNvPr>
            <p:cNvSpPr/>
            <p:nvPr/>
          </p:nvSpPr>
          <p:spPr>
            <a:xfrm>
              <a:off x="5552566" y="5034006"/>
              <a:ext cx="109594" cy="53564"/>
            </a:xfrm>
            <a:custGeom>
              <a:avLst/>
              <a:gdLst>
                <a:gd name="connsiteX0" fmla="*/ -336 w 36004"/>
                <a:gd name="connsiteY0" fmla="*/ -163 h 17597"/>
                <a:gd name="connsiteX1" fmla="*/ -336 w 36004"/>
                <a:gd name="connsiteY1" fmla="*/ 7076 h 17597"/>
                <a:gd name="connsiteX2" fmla="*/ 1187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3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7 w 36004"/>
                <a:gd name="connsiteY13" fmla="*/ 2123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7" y="9267"/>
                  </a:cubicBezTo>
                  <a:lnTo>
                    <a:pt x="13856" y="16506"/>
                  </a:lnTo>
                  <a:cubicBezTo>
                    <a:pt x="16247" y="17744"/>
                    <a:pt x="19085" y="17744"/>
                    <a:pt x="21476" y="16506"/>
                  </a:cubicBezTo>
                  <a:lnTo>
                    <a:pt x="34144" y="9267"/>
                  </a:lnTo>
                  <a:cubicBezTo>
                    <a:pt x="35011" y="8819"/>
                    <a:pt x="35582" y="7953"/>
                    <a:pt x="35668" y="6981"/>
                  </a:cubicBezTo>
                  <a:lnTo>
                    <a:pt x="35668" y="-163"/>
                  </a:lnTo>
                  <a:cubicBezTo>
                    <a:pt x="35601" y="818"/>
                    <a:pt x="35020" y="1685"/>
                    <a:pt x="34144" y="2123"/>
                  </a:cubicBezTo>
                  <a:lnTo>
                    <a:pt x="31763" y="3457"/>
                  </a:lnTo>
                  <a:lnTo>
                    <a:pt x="21476" y="9362"/>
                  </a:lnTo>
                  <a:cubicBezTo>
                    <a:pt x="19085" y="10600"/>
                    <a:pt x="16247" y="10600"/>
                    <a:pt x="13856" y="9362"/>
                  </a:cubicBezTo>
                  <a:lnTo>
                    <a:pt x="3569" y="3457"/>
                  </a:lnTo>
                  <a:lnTo>
                    <a:pt x="1187"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99" name="îṩḷïďé">
              <a:extLst>
                <a:ext uri="{FF2B5EF4-FFF2-40B4-BE49-F238E27FC236}">
                  <a16:creationId xmlns:a16="http://schemas.microsoft.com/office/drawing/2014/main" id="{649061F3-B284-4E64-9A0C-F84B8CD2EC0E}"/>
                </a:ext>
              </a:extLst>
            </p:cNvPr>
            <p:cNvSpPr/>
            <p:nvPr/>
          </p:nvSpPr>
          <p:spPr>
            <a:xfrm>
              <a:off x="5629687" y="5046836"/>
              <a:ext cx="109740" cy="63639"/>
            </a:xfrm>
            <a:custGeom>
              <a:avLst/>
              <a:gdLst>
                <a:gd name="connsiteX0" fmla="*/ -336 w 36052"/>
                <a:gd name="connsiteY0" fmla="*/ 10291 h 20907"/>
                <a:gd name="connsiteX1" fmla="*/ 1283 w 36052"/>
                <a:gd name="connsiteY1" fmla="*/ 12577 h 20907"/>
                <a:gd name="connsiteX2" fmla="*/ 3569 w 36052"/>
                <a:gd name="connsiteY2" fmla="*/ 13911 h 20907"/>
                <a:gd name="connsiteX3" fmla="*/ 13856 w 36052"/>
                <a:gd name="connsiteY3" fmla="*/ 19816 h 20907"/>
                <a:gd name="connsiteX4" fmla="*/ 21571 w 36052"/>
                <a:gd name="connsiteY4" fmla="*/ 19816 h 20907"/>
                <a:gd name="connsiteX5" fmla="*/ 31858 w 36052"/>
                <a:gd name="connsiteY5" fmla="*/ 13911 h 20907"/>
                <a:gd name="connsiteX6" fmla="*/ 34144 w 36052"/>
                <a:gd name="connsiteY6" fmla="*/ 12577 h 20907"/>
                <a:gd name="connsiteX7" fmla="*/ 35573 w 36052"/>
                <a:gd name="connsiteY7" fmla="*/ 9529 h 20907"/>
                <a:gd name="connsiteX8" fmla="*/ 34144 w 36052"/>
                <a:gd name="connsiteY8" fmla="*/ 8101 h 20907"/>
                <a:gd name="connsiteX9" fmla="*/ 21571 w 36052"/>
                <a:gd name="connsiteY9" fmla="*/ 766 h 20907"/>
                <a:gd name="connsiteX10" fmla="*/ 13856 w 36052"/>
                <a:gd name="connsiteY10" fmla="*/ 766 h 20907"/>
                <a:gd name="connsiteX11" fmla="*/ 1283 w 36052"/>
                <a:gd name="connsiteY11" fmla="*/ 8101 h 20907"/>
                <a:gd name="connsiteX12" fmla="*/ -336 w 36052"/>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907">
                  <a:moveTo>
                    <a:pt x="-336" y="10291"/>
                  </a:moveTo>
                  <a:cubicBezTo>
                    <a:pt x="-231" y="11282"/>
                    <a:pt x="378" y="12149"/>
                    <a:pt x="1283" y="12577"/>
                  </a:cubicBezTo>
                  <a:lnTo>
                    <a:pt x="3569" y="13911"/>
                  </a:lnTo>
                  <a:lnTo>
                    <a:pt x="13856" y="19816"/>
                  </a:lnTo>
                  <a:cubicBezTo>
                    <a:pt x="16275" y="21054"/>
                    <a:pt x="19152" y="21054"/>
                    <a:pt x="21571" y="19816"/>
                  </a:cubicBezTo>
                  <a:lnTo>
                    <a:pt x="31858" y="13911"/>
                  </a:lnTo>
                  <a:lnTo>
                    <a:pt x="34144" y="12577"/>
                  </a:lnTo>
                  <a:cubicBezTo>
                    <a:pt x="35382" y="12129"/>
                    <a:pt x="36021" y="10758"/>
                    <a:pt x="35573" y="9529"/>
                  </a:cubicBezTo>
                  <a:cubicBezTo>
                    <a:pt x="35325" y="8862"/>
                    <a:pt x="34811" y="8339"/>
                    <a:pt x="34144" y="8101"/>
                  </a:cubicBezTo>
                  <a:lnTo>
                    <a:pt x="21571" y="766"/>
                  </a:lnTo>
                  <a:cubicBezTo>
                    <a:pt x="19152" y="-472"/>
                    <a:pt x="16275" y="-472"/>
                    <a:pt x="13856" y="766"/>
                  </a:cubicBezTo>
                  <a:lnTo>
                    <a:pt x="1283" y="8101"/>
                  </a:lnTo>
                  <a:cubicBezTo>
                    <a:pt x="407" y="8510"/>
                    <a:pt x="-203" y="933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700" name="iŝļíḍé">
              <a:extLst>
                <a:ext uri="{FF2B5EF4-FFF2-40B4-BE49-F238E27FC236}">
                  <a16:creationId xmlns:a16="http://schemas.microsoft.com/office/drawing/2014/main" id="{84D6CD58-E516-415C-96FC-2D75C5043732}"/>
                </a:ext>
              </a:extLst>
            </p:cNvPr>
            <p:cNvSpPr/>
            <p:nvPr/>
          </p:nvSpPr>
          <p:spPr>
            <a:xfrm>
              <a:off x="5631791" y="5048215"/>
              <a:ext cx="105679" cy="61101"/>
            </a:xfrm>
            <a:custGeom>
              <a:avLst/>
              <a:gdLst>
                <a:gd name="connsiteX0" fmla="*/ 1164 w 34718"/>
                <a:gd name="connsiteY0" fmla="*/ 12029 h 20073"/>
                <a:gd name="connsiteX1" fmla="*/ 13260 w 34718"/>
                <a:gd name="connsiteY1" fmla="*/ 18983 h 20073"/>
                <a:gd name="connsiteX2" fmla="*/ 20690 w 34718"/>
                <a:gd name="connsiteY2" fmla="*/ 18983 h 20073"/>
                <a:gd name="connsiteX3" fmla="*/ 32882 w 34718"/>
                <a:gd name="connsiteY3" fmla="*/ 12029 h 20073"/>
                <a:gd name="connsiteX4" fmla="*/ 32882 w 34718"/>
                <a:gd name="connsiteY4" fmla="*/ 7743 h 20073"/>
                <a:gd name="connsiteX5" fmla="*/ 20690 w 34718"/>
                <a:gd name="connsiteY5" fmla="*/ 695 h 20073"/>
                <a:gd name="connsiteX6" fmla="*/ 13260 w 34718"/>
                <a:gd name="connsiteY6" fmla="*/ 695 h 20073"/>
                <a:gd name="connsiteX7" fmla="*/ 1164 w 34718"/>
                <a:gd name="connsiteY7" fmla="*/ 7743 h 20073"/>
                <a:gd name="connsiteX8" fmla="*/ 1164 w 34718"/>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18" h="20073">
                  <a:moveTo>
                    <a:pt x="1164" y="12029"/>
                  </a:moveTo>
                  <a:lnTo>
                    <a:pt x="13260" y="18983"/>
                  </a:lnTo>
                  <a:cubicBezTo>
                    <a:pt x="15585" y="20221"/>
                    <a:pt x="18366" y="20221"/>
                    <a:pt x="20690" y="18983"/>
                  </a:cubicBezTo>
                  <a:lnTo>
                    <a:pt x="32882" y="12029"/>
                  </a:lnTo>
                  <a:cubicBezTo>
                    <a:pt x="34882" y="10791"/>
                    <a:pt x="34882" y="8886"/>
                    <a:pt x="32882" y="7743"/>
                  </a:cubicBezTo>
                  <a:lnTo>
                    <a:pt x="20690" y="695"/>
                  </a:lnTo>
                  <a:cubicBezTo>
                    <a:pt x="18347" y="-448"/>
                    <a:pt x="15604" y="-448"/>
                    <a:pt x="13260" y="695"/>
                  </a:cubicBezTo>
                  <a:lnTo>
                    <a:pt x="1164" y="7743"/>
                  </a:lnTo>
                  <a:cubicBezTo>
                    <a:pt x="-836" y="8886"/>
                    <a:pt x="-836" y="10791"/>
                    <a:pt x="1164" y="12029"/>
                  </a:cubicBezTo>
                  <a:close/>
                </a:path>
              </a:pathLst>
            </a:custGeom>
            <a:solidFill>
              <a:srgbClr val="D1D9E8"/>
            </a:solidFill>
            <a:ln w="9525" cap="flat">
              <a:noFill/>
              <a:prstDash val="solid"/>
              <a:miter/>
            </a:ln>
          </p:spPr>
          <p:txBody>
            <a:bodyPr rtlCol="0" anchor="ctr"/>
            <a:lstStyle/>
            <a:p>
              <a:endParaRPr lang="zh-CN" altLang="en-US"/>
            </a:p>
          </p:txBody>
        </p:sp>
        <p:sp>
          <p:nvSpPr>
            <p:cNvPr id="701" name="íśľïḍè">
              <a:extLst>
                <a:ext uri="{FF2B5EF4-FFF2-40B4-BE49-F238E27FC236}">
                  <a16:creationId xmlns:a16="http://schemas.microsoft.com/office/drawing/2014/main" id="{1FA15F51-98B4-44E8-84CC-9B5580DCA6D2}"/>
                </a:ext>
              </a:extLst>
            </p:cNvPr>
            <p:cNvSpPr/>
            <p:nvPr/>
          </p:nvSpPr>
          <p:spPr>
            <a:xfrm>
              <a:off x="5629687" y="5078658"/>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4 w 36099"/>
                <a:gd name="connsiteY6" fmla="*/ 6981 h 17597"/>
                <a:gd name="connsiteX7" fmla="*/ 35764 w 36099"/>
                <a:gd name="connsiteY7" fmla="*/ -163 h 17597"/>
                <a:gd name="connsiteX8" fmla="*/ 34144 w 36099"/>
                <a:gd name="connsiteY8" fmla="*/ 2124 h 17597"/>
                <a:gd name="connsiteX9" fmla="*/ 31858 w 36099"/>
                <a:gd name="connsiteY9" fmla="*/ 3457 h 17597"/>
                <a:gd name="connsiteX10" fmla="*/ 21571 w 36099"/>
                <a:gd name="connsiteY10" fmla="*/ 9362 h 17597"/>
                <a:gd name="connsiteX11" fmla="*/ 13856 w 36099"/>
                <a:gd name="connsiteY11" fmla="*/ 9362 h 17597"/>
                <a:gd name="connsiteX12" fmla="*/ 3569 w 36099"/>
                <a:gd name="connsiteY12" fmla="*/ 3457 h 17597"/>
                <a:gd name="connsiteX13" fmla="*/ 1283 w 36099"/>
                <a:gd name="connsiteY13" fmla="*/ 2124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03" y="8029"/>
                    <a:pt x="407" y="8858"/>
                    <a:pt x="1283" y="9267"/>
                  </a:cubicBezTo>
                  <a:lnTo>
                    <a:pt x="13856" y="16506"/>
                  </a:lnTo>
                  <a:cubicBezTo>
                    <a:pt x="16275" y="17744"/>
                    <a:pt x="19152" y="17744"/>
                    <a:pt x="21571" y="16506"/>
                  </a:cubicBezTo>
                  <a:lnTo>
                    <a:pt x="34144" y="9267"/>
                  </a:lnTo>
                  <a:cubicBezTo>
                    <a:pt x="35030" y="8829"/>
                    <a:pt x="35640" y="7972"/>
                    <a:pt x="35764" y="6981"/>
                  </a:cubicBezTo>
                  <a:lnTo>
                    <a:pt x="35764" y="-163"/>
                  </a:lnTo>
                  <a:cubicBezTo>
                    <a:pt x="35659" y="828"/>
                    <a:pt x="35049" y="1695"/>
                    <a:pt x="34144" y="2124"/>
                  </a:cubicBezTo>
                  <a:lnTo>
                    <a:pt x="31858" y="3457"/>
                  </a:lnTo>
                  <a:lnTo>
                    <a:pt x="21571" y="9362"/>
                  </a:lnTo>
                  <a:cubicBezTo>
                    <a:pt x="19152" y="10601"/>
                    <a:pt x="16275" y="10601"/>
                    <a:pt x="13856" y="9362"/>
                  </a:cubicBezTo>
                  <a:lnTo>
                    <a:pt x="3569" y="3457"/>
                  </a:lnTo>
                  <a:lnTo>
                    <a:pt x="1283" y="2124"/>
                  </a:lnTo>
                  <a:cubicBezTo>
                    <a:pt x="378" y="1695"/>
                    <a:pt x="-231"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02" name="îṡḻiḍè">
              <a:extLst>
                <a:ext uri="{FF2B5EF4-FFF2-40B4-BE49-F238E27FC236}">
                  <a16:creationId xmlns:a16="http://schemas.microsoft.com/office/drawing/2014/main" id="{38BF5413-1691-43E3-9BB7-047D417A7722}"/>
                </a:ext>
              </a:extLst>
            </p:cNvPr>
            <p:cNvSpPr/>
            <p:nvPr/>
          </p:nvSpPr>
          <p:spPr>
            <a:xfrm>
              <a:off x="5706230" y="5091488"/>
              <a:ext cx="109594" cy="63639"/>
            </a:xfrm>
            <a:custGeom>
              <a:avLst/>
              <a:gdLst>
                <a:gd name="connsiteX0" fmla="*/ -336 w 36004"/>
                <a:gd name="connsiteY0" fmla="*/ 10291 h 20907"/>
                <a:gd name="connsiteX1" fmla="*/ 1188 w 36004"/>
                <a:gd name="connsiteY1" fmla="*/ 12577 h 20907"/>
                <a:gd name="connsiteX2" fmla="*/ 3569 w 36004"/>
                <a:gd name="connsiteY2" fmla="*/ 13911 h 20907"/>
                <a:gd name="connsiteX3" fmla="*/ 13856 w 36004"/>
                <a:gd name="connsiteY3" fmla="*/ 19816 h 20907"/>
                <a:gd name="connsiteX4" fmla="*/ 21476 w 36004"/>
                <a:gd name="connsiteY4" fmla="*/ 19816 h 20907"/>
                <a:gd name="connsiteX5" fmla="*/ 31763 w 36004"/>
                <a:gd name="connsiteY5" fmla="*/ 13911 h 20907"/>
                <a:gd name="connsiteX6" fmla="*/ 34144 w 36004"/>
                <a:gd name="connsiteY6" fmla="*/ 12577 h 20907"/>
                <a:gd name="connsiteX7" fmla="*/ 35668 w 36004"/>
                <a:gd name="connsiteY7" fmla="*/ 10291 h 20907"/>
                <a:gd name="connsiteX8" fmla="*/ 34144 w 36004"/>
                <a:gd name="connsiteY8" fmla="*/ 8100 h 20907"/>
                <a:gd name="connsiteX9" fmla="*/ 21476 w 36004"/>
                <a:gd name="connsiteY9" fmla="*/ 766 h 20907"/>
                <a:gd name="connsiteX10" fmla="*/ 13856 w 36004"/>
                <a:gd name="connsiteY10" fmla="*/ 766 h 20907"/>
                <a:gd name="connsiteX11" fmla="*/ 1188 w 36004"/>
                <a:gd name="connsiteY11" fmla="*/ 8100 h 20907"/>
                <a:gd name="connsiteX12" fmla="*/ -336 w 36004"/>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907">
                  <a:moveTo>
                    <a:pt x="-336" y="10291"/>
                  </a:moveTo>
                  <a:cubicBezTo>
                    <a:pt x="-270" y="11272"/>
                    <a:pt x="311" y="12139"/>
                    <a:pt x="1188" y="12577"/>
                  </a:cubicBezTo>
                  <a:lnTo>
                    <a:pt x="3569" y="13911"/>
                  </a:lnTo>
                  <a:lnTo>
                    <a:pt x="13856" y="19816"/>
                  </a:lnTo>
                  <a:cubicBezTo>
                    <a:pt x="16247" y="21054"/>
                    <a:pt x="19085" y="21054"/>
                    <a:pt x="21476" y="19816"/>
                  </a:cubicBezTo>
                  <a:lnTo>
                    <a:pt x="31763" y="13911"/>
                  </a:lnTo>
                  <a:lnTo>
                    <a:pt x="34144" y="12577"/>
                  </a:lnTo>
                  <a:cubicBezTo>
                    <a:pt x="35021" y="12139"/>
                    <a:pt x="35602" y="11272"/>
                    <a:pt x="35668" y="10291"/>
                  </a:cubicBezTo>
                  <a:cubicBezTo>
                    <a:pt x="35611" y="9339"/>
                    <a:pt x="35021" y="8491"/>
                    <a:pt x="34144" y="8100"/>
                  </a:cubicBezTo>
                  <a:lnTo>
                    <a:pt x="21476" y="766"/>
                  </a:lnTo>
                  <a:cubicBezTo>
                    <a:pt x="19085" y="-472"/>
                    <a:pt x="16247" y="-472"/>
                    <a:pt x="13856" y="766"/>
                  </a:cubicBezTo>
                  <a:lnTo>
                    <a:pt x="1188" y="8100"/>
                  </a:lnTo>
                  <a:cubicBezTo>
                    <a:pt x="311" y="8491"/>
                    <a:pt x="-279"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703" name="ísḷiḑê">
              <a:extLst>
                <a:ext uri="{FF2B5EF4-FFF2-40B4-BE49-F238E27FC236}">
                  <a16:creationId xmlns:a16="http://schemas.microsoft.com/office/drawing/2014/main" id="{18557B00-E9C7-4D8C-A348-9AD6131757A5}"/>
                </a:ext>
              </a:extLst>
            </p:cNvPr>
            <p:cNvSpPr/>
            <p:nvPr/>
          </p:nvSpPr>
          <p:spPr>
            <a:xfrm>
              <a:off x="5708114" y="5092647"/>
              <a:ext cx="106693" cy="61101"/>
            </a:xfrm>
            <a:custGeom>
              <a:avLst/>
              <a:gdLst>
                <a:gd name="connsiteX0" fmla="*/ 1521 w 35051"/>
                <a:gd name="connsiteY0" fmla="*/ 12006 h 20073"/>
                <a:gd name="connsiteX1" fmla="*/ 13618 w 35051"/>
                <a:gd name="connsiteY1" fmla="*/ 19054 h 20073"/>
                <a:gd name="connsiteX2" fmla="*/ 21047 w 35051"/>
                <a:gd name="connsiteY2" fmla="*/ 19054 h 20073"/>
                <a:gd name="connsiteX3" fmla="*/ 33144 w 35051"/>
                <a:gd name="connsiteY3" fmla="*/ 12006 h 20073"/>
                <a:gd name="connsiteX4" fmla="*/ 33144 w 35051"/>
                <a:gd name="connsiteY4" fmla="*/ 7719 h 20073"/>
                <a:gd name="connsiteX5" fmla="*/ 21047 w 35051"/>
                <a:gd name="connsiteY5" fmla="*/ 766 h 20073"/>
                <a:gd name="connsiteX6" fmla="*/ 13618 w 35051"/>
                <a:gd name="connsiteY6" fmla="*/ 766 h 20073"/>
                <a:gd name="connsiteX7" fmla="*/ 1521 w 35051"/>
                <a:gd name="connsiteY7" fmla="*/ 7719 h 20073"/>
                <a:gd name="connsiteX8" fmla="*/ 1521 w 35051"/>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051" h="20073">
                  <a:moveTo>
                    <a:pt x="1521" y="12006"/>
                  </a:moveTo>
                  <a:lnTo>
                    <a:pt x="13618" y="19054"/>
                  </a:lnTo>
                  <a:cubicBezTo>
                    <a:pt x="15961" y="20197"/>
                    <a:pt x="18704" y="20197"/>
                    <a:pt x="21047" y="19054"/>
                  </a:cubicBezTo>
                  <a:lnTo>
                    <a:pt x="33144" y="12006"/>
                  </a:lnTo>
                  <a:cubicBezTo>
                    <a:pt x="35239" y="10863"/>
                    <a:pt x="35239" y="8957"/>
                    <a:pt x="33144" y="7719"/>
                  </a:cubicBezTo>
                  <a:lnTo>
                    <a:pt x="21047" y="766"/>
                  </a:lnTo>
                  <a:cubicBezTo>
                    <a:pt x="18723" y="-472"/>
                    <a:pt x="15942" y="-472"/>
                    <a:pt x="13618" y="766"/>
                  </a:cubicBezTo>
                  <a:lnTo>
                    <a:pt x="1521" y="7719"/>
                  </a:lnTo>
                  <a:cubicBezTo>
                    <a:pt x="-955" y="8957"/>
                    <a:pt x="-955" y="10863"/>
                    <a:pt x="1521" y="12006"/>
                  </a:cubicBezTo>
                  <a:close/>
                </a:path>
              </a:pathLst>
            </a:custGeom>
            <a:solidFill>
              <a:srgbClr val="D1D9E8"/>
            </a:solidFill>
            <a:ln w="9525" cap="flat">
              <a:noFill/>
              <a:prstDash val="solid"/>
              <a:miter/>
            </a:ln>
          </p:spPr>
          <p:txBody>
            <a:bodyPr rtlCol="0" anchor="ctr"/>
            <a:lstStyle/>
            <a:p>
              <a:endParaRPr lang="zh-CN" altLang="en-US"/>
            </a:p>
          </p:txBody>
        </p:sp>
        <p:sp>
          <p:nvSpPr>
            <p:cNvPr id="704" name="ïşḷiḓê">
              <a:extLst>
                <a:ext uri="{FF2B5EF4-FFF2-40B4-BE49-F238E27FC236}">
                  <a16:creationId xmlns:a16="http://schemas.microsoft.com/office/drawing/2014/main" id="{88E711A4-B166-45BB-AEB6-C435E71E7153}"/>
                </a:ext>
              </a:extLst>
            </p:cNvPr>
            <p:cNvSpPr/>
            <p:nvPr/>
          </p:nvSpPr>
          <p:spPr>
            <a:xfrm>
              <a:off x="5706230" y="5123306"/>
              <a:ext cx="109594" cy="54142"/>
            </a:xfrm>
            <a:custGeom>
              <a:avLst/>
              <a:gdLst>
                <a:gd name="connsiteX0" fmla="*/ -336 w 36004"/>
                <a:gd name="connsiteY0" fmla="*/ -163 h 17787"/>
                <a:gd name="connsiteX1" fmla="*/ -336 w 36004"/>
                <a:gd name="connsiteY1" fmla="*/ 7267 h 17787"/>
                <a:gd name="connsiteX2" fmla="*/ 1188 w 36004"/>
                <a:gd name="connsiteY2" fmla="*/ 9458 h 17787"/>
                <a:gd name="connsiteX3" fmla="*/ 13856 w 36004"/>
                <a:gd name="connsiteY3" fmla="*/ 16697 h 17787"/>
                <a:gd name="connsiteX4" fmla="*/ 21476 w 36004"/>
                <a:gd name="connsiteY4" fmla="*/ 16697 h 17787"/>
                <a:gd name="connsiteX5" fmla="*/ 34144 w 36004"/>
                <a:gd name="connsiteY5" fmla="*/ 9458 h 17787"/>
                <a:gd name="connsiteX6" fmla="*/ 35668 w 36004"/>
                <a:gd name="connsiteY6" fmla="*/ 7172 h 17787"/>
                <a:gd name="connsiteX7" fmla="*/ 35668 w 36004"/>
                <a:gd name="connsiteY7" fmla="*/ 28 h 17787"/>
                <a:gd name="connsiteX8" fmla="*/ 34144 w 36004"/>
                <a:gd name="connsiteY8" fmla="*/ 2314 h 17787"/>
                <a:gd name="connsiteX9" fmla="*/ 31763 w 36004"/>
                <a:gd name="connsiteY9" fmla="*/ 3647 h 17787"/>
                <a:gd name="connsiteX10" fmla="*/ 21476 w 36004"/>
                <a:gd name="connsiteY10" fmla="*/ 9553 h 17787"/>
                <a:gd name="connsiteX11" fmla="*/ 13856 w 36004"/>
                <a:gd name="connsiteY11" fmla="*/ 9553 h 17787"/>
                <a:gd name="connsiteX12" fmla="*/ 3569 w 36004"/>
                <a:gd name="connsiteY12" fmla="*/ 3647 h 17787"/>
                <a:gd name="connsiteX13" fmla="*/ 1188 w 36004"/>
                <a:gd name="connsiteY13" fmla="*/ 2314 h 17787"/>
                <a:gd name="connsiteX14" fmla="*/ -336 w 36004"/>
                <a:gd name="connsiteY14" fmla="*/ -163 h 17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787">
                  <a:moveTo>
                    <a:pt x="-336" y="-163"/>
                  </a:moveTo>
                  <a:lnTo>
                    <a:pt x="-336" y="7267"/>
                  </a:lnTo>
                  <a:cubicBezTo>
                    <a:pt x="-241" y="8210"/>
                    <a:pt x="340" y="9039"/>
                    <a:pt x="1188" y="9458"/>
                  </a:cubicBezTo>
                  <a:lnTo>
                    <a:pt x="13856" y="16697"/>
                  </a:lnTo>
                  <a:cubicBezTo>
                    <a:pt x="16247" y="17935"/>
                    <a:pt x="19085" y="17935"/>
                    <a:pt x="21476" y="16697"/>
                  </a:cubicBezTo>
                  <a:lnTo>
                    <a:pt x="34144" y="9458"/>
                  </a:lnTo>
                  <a:cubicBezTo>
                    <a:pt x="35011" y="9010"/>
                    <a:pt x="35582" y="8143"/>
                    <a:pt x="35668" y="7172"/>
                  </a:cubicBezTo>
                  <a:lnTo>
                    <a:pt x="35668" y="28"/>
                  </a:lnTo>
                  <a:cubicBezTo>
                    <a:pt x="35602" y="1009"/>
                    <a:pt x="35021" y="1876"/>
                    <a:pt x="34144" y="2314"/>
                  </a:cubicBezTo>
                  <a:lnTo>
                    <a:pt x="31763" y="3647"/>
                  </a:lnTo>
                  <a:lnTo>
                    <a:pt x="21476" y="9553"/>
                  </a:lnTo>
                  <a:cubicBezTo>
                    <a:pt x="19085" y="10791"/>
                    <a:pt x="16247" y="10791"/>
                    <a:pt x="13856" y="9553"/>
                  </a:cubicBezTo>
                  <a:lnTo>
                    <a:pt x="3569" y="3647"/>
                  </a:lnTo>
                  <a:lnTo>
                    <a:pt x="1188" y="2314"/>
                  </a:lnTo>
                  <a:cubicBezTo>
                    <a:pt x="254" y="1847"/>
                    <a:pt x="-336" y="885"/>
                    <a:pt x="-336" y="-163"/>
                  </a:cubicBezTo>
                  <a:close/>
                </a:path>
              </a:pathLst>
            </a:custGeom>
            <a:solidFill>
              <a:srgbClr val="BF4200"/>
            </a:solidFill>
            <a:ln w="9525" cap="flat">
              <a:noFill/>
              <a:prstDash val="solid"/>
              <a:miter/>
            </a:ln>
          </p:spPr>
          <p:txBody>
            <a:bodyPr rtlCol="0" anchor="ctr"/>
            <a:lstStyle/>
            <a:p>
              <a:endParaRPr lang="zh-CN" altLang="en-US"/>
            </a:p>
          </p:txBody>
        </p:sp>
        <p:sp>
          <p:nvSpPr>
            <p:cNvPr id="705" name="ïṩḷîḋe">
              <a:extLst>
                <a:ext uri="{FF2B5EF4-FFF2-40B4-BE49-F238E27FC236}">
                  <a16:creationId xmlns:a16="http://schemas.microsoft.com/office/drawing/2014/main" id="{CA04ECC8-0A7E-4661-86D6-300386EEE136}"/>
                </a:ext>
              </a:extLst>
            </p:cNvPr>
            <p:cNvSpPr/>
            <p:nvPr/>
          </p:nvSpPr>
          <p:spPr>
            <a:xfrm>
              <a:off x="5784224" y="5136136"/>
              <a:ext cx="109883" cy="63639"/>
            </a:xfrm>
            <a:custGeom>
              <a:avLst/>
              <a:gdLst>
                <a:gd name="connsiteX0" fmla="*/ -336 w 36099"/>
                <a:gd name="connsiteY0" fmla="*/ 10291 h 20907"/>
                <a:gd name="connsiteX1" fmla="*/ 1283 w 36099"/>
                <a:gd name="connsiteY1" fmla="*/ 12577 h 20907"/>
                <a:gd name="connsiteX2" fmla="*/ 3569 w 36099"/>
                <a:gd name="connsiteY2" fmla="*/ 13911 h 20907"/>
                <a:gd name="connsiteX3" fmla="*/ 13856 w 36099"/>
                <a:gd name="connsiteY3" fmla="*/ 19816 h 20907"/>
                <a:gd name="connsiteX4" fmla="*/ 21571 w 36099"/>
                <a:gd name="connsiteY4" fmla="*/ 19816 h 20907"/>
                <a:gd name="connsiteX5" fmla="*/ 31858 w 36099"/>
                <a:gd name="connsiteY5" fmla="*/ 13911 h 20907"/>
                <a:gd name="connsiteX6" fmla="*/ 34144 w 36099"/>
                <a:gd name="connsiteY6" fmla="*/ 12577 h 20907"/>
                <a:gd name="connsiteX7" fmla="*/ 35764 w 36099"/>
                <a:gd name="connsiteY7" fmla="*/ 10291 h 20907"/>
                <a:gd name="connsiteX8" fmla="*/ 34144 w 36099"/>
                <a:gd name="connsiteY8" fmla="*/ 8100 h 20907"/>
                <a:gd name="connsiteX9" fmla="*/ 21571 w 36099"/>
                <a:gd name="connsiteY9" fmla="*/ 766 h 20907"/>
                <a:gd name="connsiteX10" fmla="*/ 13856 w 36099"/>
                <a:gd name="connsiteY10" fmla="*/ 766 h 20907"/>
                <a:gd name="connsiteX11" fmla="*/ 1283 w 36099"/>
                <a:gd name="connsiteY11" fmla="*/ 8100 h 20907"/>
                <a:gd name="connsiteX12" fmla="*/ -336 w 36099"/>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99" h="20907">
                  <a:moveTo>
                    <a:pt x="-336" y="10291"/>
                  </a:moveTo>
                  <a:cubicBezTo>
                    <a:pt x="-232" y="11282"/>
                    <a:pt x="378" y="12148"/>
                    <a:pt x="1283" y="12577"/>
                  </a:cubicBezTo>
                  <a:lnTo>
                    <a:pt x="3569" y="13911"/>
                  </a:lnTo>
                  <a:lnTo>
                    <a:pt x="13856" y="19816"/>
                  </a:lnTo>
                  <a:cubicBezTo>
                    <a:pt x="16275" y="21054"/>
                    <a:pt x="19152" y="21054"/>
                    <a:pt x="21571" y="19816"/>
                  </a:cubicBezTo>
                  <a:lnTo>
                    <a:pt x="31858" y="13911"/>
                  </a:lnTo>
                  <a:lnTo>
                    <a:pt x="34144" y="12577"/>
                  </a:lnTo>
                  <a:cubicBezTo>
                    <a:pt x="35077" y="12187"/>
                    <a:pt x="35697" y="11301"/>
                    <a:pt x="35764" y="10291"/>
                  </a:cubicBezTo>
                  <a:cubicBezTo>
                    <a:pt x="35687" y="9310"/>
                    <a:pt x="35059" y="8462"/>
                    <a:pt x="34144" y="8100"/>
                  </a:cubicBezTo>
                  <a:lnTo>
                    <a:pt x="21571" y="766"/>
                  </a:lnTo>
                  <a:cubicBezTo>
                    <a:pt x="19152" y="-472"/>
                    <a:pt x="16275" y="-472"/>
                    <a:pt x="13856" y="766"/>
                  </a:cubicBezTo>
                  <a:lnTo>
                    <a:pt x="1283" y="8100"/>
                  </a:lnTo>
                  <a:cubicBezTo>
                    <a:pt x="397" y="8491"/>
                    <a:pt x="-222"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706" name="íṧ1iḑè">
              <a:extLst>
                <a:ext uri="{FF2B5EF4-FFF2-40B4-BE49-F238E27FC236}">
                  <a16:creationId xmlns:a16="http://schemas.microsoft.com/office/drawing/2014/main" id="{4A5EE799-FEDC-454A-B8F7-D23BCDB04B26}"/>
                </a:ext>
              </a:extLst>
            </p:cNvPr>
            <p:cNvSpPr/>
            <p:nvPr/>
          </p:nvSpPr>
          <p:spPr>
            <a:xfrm>
              <a:off x="5786395" y="5137296"/>
              <a:ext cx="105828" cy="61682"/>
            </a:xfrm>
            <a:custGeom>
              <a:avLst/>
              <a:gdLst>
                <a:gd name="connsiteX0" fmla="*/ 1141 w 34767"/>
                <a:gd name="connsiteY0" fmla="*/ 12196 h 20264"/>
                <a:gd name="connsiteX1" fmla="*/ 13333 w 34767"/>
                <a:gd name="connsiteY1" fmla="*/ 19244 h 20264"/>
                <a:gd name="connsiteX2" fmla="*/ 20763 w 34767"/>
                <a:gd name="connsiteY2" fmla="*/ 19244 h 20264"/>
                <a:gd name="connsiteX3" fmla="*/ 32859 w 34767"/>
                <a:gd name="connsiteY3" fmla="*/ 12196 h 20264"/>
                <a:gd name="connsiteX4" fmla="*/ 32859 w 34767"/>
                <a:gd name="connsiteY4" fmla="*/ 7910 h 20264"/>
                <a:gd name="connsiteX5" fmla="*/ 20953 w 34767"/>
                <a:gd name="connsiteY5" fmla="*/ 766 h 20264"/>
                <a:gd name="connsiteX6" fmla="*/ 13523 w 34767"/>
                <a:gd name="connsiteY6" fmla="*/ 766 h 20264"/>
                <a:gd name="connsiteX7" fmla="*/ 1331 w 34767"/>
                <a:gd name="connsiteY7" fmla="*/ 7719 h 20264"/>
                <a:gd name="connsiteX8" fmla="*/ 1141 w 34767"/>
                <a:gd name="connsiteY8" fmla="*/ 12196 h 20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7" h="20264">
                  <a:moveTo>
                    <a:pt x="1141" y="12196"/>
                  </a:moveTo>
                  <a:lnTo>
                    <a:pt x="13333" y="19244"/>
                  </a:lnTo>
                  <a:cubicBezTo>
                    <a:pt x="15676" y="20387"/>
                    <a:pt x="18419" y="20387"/>
                    <a:pt x="20763" y="19244"/>
                  </a:cubicBezTo>
                  <a:lnTo>
                    <a:pt x="32859" y="12196"/>
                  </a:lnTo>
                  <a:cubicBezTo>
                    <a:pt x="34955" y="11053"/>
                    <a:pt x="34955" y="9148"/>
                    <a:pt x="32859" y="7910"/>
                  </a:cubicBezTo>
                  <a:lnTo>
                    <a:pt x="20953" y="766"/>
                  </a:lnTo>
                  <a:cubicBezTo>
                    <a:pt x="18629" y="-472"/>
                    <a:pt x="15847" y="-472"/>
                    <a:pt x="13523" y="766"/>
                  </a:cubicBezTo>
                  <a:lnTo>
                    <a:pt x="1331" y="7719"/>
                  </a:lnTo>
                  <a:cubicBezTo>
                    <a:pt x="-859" y="8958"/>
                    <a:pt x="-859" y="10862"/>
                    <a:pt x="1141" y="12196"/>
                  </a:cubicBezTo>
                  <a:close/>
                </a:path>
              </a:pathLst>
            </a:custGeom>
            <a:solidFill>
              <a:srgbClr val="D1D9E8"/>
            </a:solidFill>
            <a:ln w="9525" cap="flat">
              <a:noFill/>
              <a:prstDash val="solid"/>
              <a:miter/>
            </a:ln>
          </p:spPr>
          <p:txBody>
            <a:bodyPr rtlCol="0" anchor="ctr"/>
            <a:lstStyle/>
            <a:p>
              <a:endParaRPr lang="zh-CN" altLang="en-US"/>
            </a:p>
          </p:txBody>
        </p:sp>
        <p:sp>
          <p:nvSpPr>
            <p:cNvPr id="707" name="ïṡľîḋé">
              <a:extLst>
                <a:ext uri="{FF2B5EF4-FFF2-40B4-BE49-F238E27FC236}">
                  <a16:creationId xmlns:a16="http://schemas.microsoft.com/office/drawing/2014/main" id="{7CC78594-D98B-42FD-844E-239DC8C7754A}"/>
                </a:ext>
              </a:extLst>
            </p:cNvPr>
            <p:cNvSpPr/>
            <p:nvPr/>
          </p:nvSpPr>
          <p:spPr>
            <a:xfrm>
              <a:off x="5784224" y="5167957"/>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4 w 36099"/>
                <a:gd name="connsiteY6" fmla="*/ 6981 h 17597"/>
                <a:gd name="connsiteX7" fmla="*/ 35764 w 36099"/>
                <a:gd name="connsiteY7" fmla="*/ -163 h 17597"/>
                <a:gd name="connsiteX8" fmla="*/ 34144 w 36099"/>
                <a:gd name="connsiteY8" fmla="*/ 2123 h 17597"/>
                <a:gd name="connsiteX9" fmla="*/ 31858 w 36099"/>
                <a:gd name="connsiteY9" fmla="*/ 3457 h 17597"/>
                <a:gd name="connsiteX10" fmla="*/ 21571 w 36099"/>
                <a:gd name="connsiteY10" fmla="*/ 9362 h 17597"/>
                <a:gd name="connsiteX11" fmla="*/ 13856 w 36099"/>
                <a:gd name="connsiteY11" fmla="*/ 9362 h 17597"/>
                <a:gd name="connsiteX12" fmla="*/ 3569 w 36099"/>
                <a:gd name="connsiteY12" fmla="*/ 3457 h 17597"/>
                <a:gd name="connsiteX13" fmla="*/ 1283 w 36099"/>
                <a:gd name="connsiteY13" fmla="*/ 2123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03" y="8029"/>
                    <a:pt x="407" y="8857"/>
                    <a:pt x="1283" y="9267"/>
                  </a:cubicBezTo>
                  <a:lnTo>
                    <a:pt x="13856" y="16506"/>
                  </a:lnTo>
                  <a:cubicBezTo>
                    <a:pt x="16275" y="17744"/>
                    <a:pt x="19152" y="17744"/>
                    <a:pt x="21571" y="16506"/>
                  </a:cubicBezTo>
                  <a:lnTo>
                    <a:pt x="34144" y="9267"/>
                  </a:lnTo>
                  <a:cubicBezTo>
                    <a:pt x="35059" y="8857"/>
                    <a:pt x="35678" y="7981"/>
                    <a:pt x="35764" y="6981"/>
                  </a:cubicBezTo>
                  <a:lnTo>
                    <a:pt x="35764" y="-163"/>
                  </a:lnTo>
                  <a:cubicBezTo>
                    <a:pt x="35697" y="847"/>
                    <a:pt x="35077" y="1733"/>
                    <a:pt x="34144" y="2123"/>
                  </a:cubicBezTo>
                  <a:lnTo>
                    <a:pt x="31858" y="3457"/>
                  </a:lnTo>
                  <a:lnTo>
                    <a:pt x="21571" y="9362"/>
                  </a:lnTo>
                  <a:cubicBezTo>
                    <a:pt x="19152" y="10601"/>
                    <a:pt x="16275" y="10601"/>
                    <a:pt x="13856" y="9362"/>
                  </a:cubicBezTo>
                  <a:lnTo>
                    <a:pt x="3569" y="3457"/>
                  </a:lnTo>
                  <a:lnTo>
                    <a:pt x="1283" y="2123"/>
                  </a:lnTo>
                  <a:cubicBezTo>
                    <a:pt x="378" y="1695"/>
                    <a:pt x="-232"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08" name="íṩ1íḍê">
              <a:extLst>
                <a:ext uri="{FF2B5EF4-FFF2-40B4-BE49-F238E27FC236}">
                  <a16:creationId xmlns:a16="http://schemas.microsoft.com/office/drawing/2014/main" id="{32DBC4E1-F499-4602-A8C0-21D91E071DC1}"/>
                </a:ext>
              </a:extLst>
            </p:cNvPr>
            <p:cNvSpPr/>
            <p:nvPr/>
          </p:nvSpPr>
          <p:spPr>
            <a:xfrm>
              <a:off x="5861634" y="5180787"/>
              <a:ext cx="109362" cy="63588"/>
            </a:xfrm>
            <a:custGeom>
              <a:avLst/>
              <a:gdLst>
                <a:gd name="connsiteX0" fmla="*/ -336 w 35928"/>
                <a:gd name="connsiteY0" fmla="*/ 10291 h 20890"/>
                <a:gd name="connsiteX1" fmla="*/ 1188 w 35928"/>
                <a:gd name="connsiteY1" fmla="*/ 12482 h 20890"/>
                <a:gd name="connsiteX2" fmla="*/ 3569 w 35928"/>
                <a:gd name="connsiteY2" fmla="*/ 13910 h 20890"/>
                <a:gd name="connsiteX3" fmla="*/ 13856 w 35928"/>
                <a:gd name="connsiteY3" fmla="*/ 19721 h 20890"/>
                <a:gd name="connsiteX4" fmla="*/ 21476 w 35928"/>
                <a:gd name="connsiteY4" fmla="*/ 19721 h 20890"/>
                <a:gd name="connsiteX5" fmla="*/ 31763 w 35928"/>
                <a:gd name="connsiteY5" fmla="*/ 13910 h 20890"/>
                <a:gd name="connsiteX6" fmla="*/ 34144 w 35928"/>
                <a:gd name="connsiteY6" fmla="*/ 12482 h 20890"/>
                <a:gd name="connsiteX7" fmla="*/ 35402 w 35928"/>
                <a:gd name="connsiteY7" fmla="*/ 9358 h 20890"/>
                <a:gd name="connsiteX8" fmla="*/ 34144 w 35928"/>
                <a:gd name="connsiteY8" fmla="*/ 8100 h 20890"/>
                <a:gd name="connsiteX9" fmla="*/ 21476 w 35928"/>
                <a:gd name="connsiteY9" fmla="*/ 766 h 20890"/>
                <a:gd name="connsiteX10" fmla="*/ 13856 w 35928"/>
                <a:gd name="connsiteY10" fmla="*/ 766 h 20890"/>
                <a:gd name="connsiteX11" fmla="*/ 1188 w 35928"/>
                <a:gd name="connsiteY11" fmla="*/ 8100 h 20890"/>
                <a:gd name="connsiteX12" fmla="*/ -336 w 35928"/>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928" h="20890">
                  <a:moveTo>
                    <a:pt x="-336" y="10291"/>
                  </a:moveTo>
                  <a:cubicBezTo>
                    <a:pt x="-298" y="11253"/>
                    <a:pt x="292" y="12110"/>
                    <a:pt x="1188" y="12482"/>
                  </a:cubicBezTo>
                  <a:lnTo>
                    <a:pt x="3569" y="13910"/>
                  </a:lnTo>
                  <a:lnTo>
                    <a:pt x="13856" y="19721"/>
                  </a:lnTo>
                  <a:cubicBezTo>
                    <a:pt x="16218" y="21064"/>
                    <a:pt x="19114" y="21064"/>
                    <a:pt x="21476" y="19721"/>
                  </a:cubicBezTo>
                  <a:lnTo>
                    <a:pt x="31763" y="13910"/>
                  </a:lnTo>
                  <a:lnTo>
                    <a:pt x="34144" y="12482"/>
                  </a:lnTo>
                  <a:cubicBezTo>
                    <a:pt x="35354" y="11968"/>
                    <a:pt x="35916" y="10567"/>
                    <a:pt x="35402" y="9358"/>
                  </a:cubicBezTo>
                  <a:cubicBezTo>
                    <a:pt x="35164" y="8796"/>
                    <a:pt x="34706" y="8338"/>
                    <a:pt x="34144" y="8100"/>
                  </a:cubicBezTo>
                  <a:lnTo>
                    <a:pt x="21476" y="766"/>
                  </a:lnTo>
                  <a:cubicBezTo>
                    <a:pt x="19085" y="-472"/>
                    <a:pt x="16247" y="-472"/>
                    <a:pt x="13856" y="766"/>
                  </a:cubicBezTo>
                  <a:lnTo>
                    <a:pt x="1188" y="8100"/>
                  </a:lnTo>
                  <a:cubicBezTo>
                    <a:pt x="292" y="8472"/>
                    <a:pt x="-298"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709" name="ïS1ïḍé">
              <a:extLst>
                <a:ext uri="{FF2B5EF4-FFF2-40B4-BE49-F238E27FC236}">
                  <a16:creationId xmlns:a16="http://schemas.microsoft.com/office/drawing/2014/main" id="{9D66241F-5565-4851-BC76-A89778898827}"/>
                </a:ext>
              </a:extLst>
            </p:cNvPr>
            <p:cNvSpPr/>
            <p:nvPr/>
          </p:nvSpPr>
          <p:spPr>
            <a:xfrm>
              <a:off x="5863519" y="5181944"/>
              <a:ext cx="105898" cy="61104"/>
            </a:xfrm>
            <a:custGeom>
              <a:avLst/>
              <a:gdLst>
                <a:gd name="connsiteX0" fmla="*/ 1235 w 34790"/>
                <a:gd name="connsiteY0" fmla="*/ 12006 h 20074"/>
                <a:gd name="connsiteX1" fmla="*/ 13332 w 34790"/>
                <a:gd name="connsiteY1" fmla="*/ 19054 h 20074"/>
                <a:gd name="connsiteX2" fmla="*/ 20762 w 34790"/>
                <a:gd name="connsiteY2" fmla="*/ 19054 h 20074"/>
                <a:gd name="connsiteX3" fmla="*/ 32954 w 34790"/>
                <a:gd name="connsiteY3" fmla="*/ 12006 h 20074"/>
                <a:gd name="connsiteX4" fmla="*/ 32954 w 34790"/>
                <a:gd name="connsiteY4" fmla="*/ 7719 h 20074"/>
                <a:gd name="connsiteX5" fmla="*/ 20762 w 34790"/>
                <a:gd name="connsiteY5" fmla="*/ 766 h 20074"/>
                <a:gd name="connsiteX6" fmla="*/ 13332 w 34790"/>
                <a:gd name="connsiteY6" fmla="*/ 766 h 20074"/>
                <a:gd name="connsiteX7" fmla="*/ 1235 w 34790"/>
                <a:gd name="connsiteY7" fmla="*/ 7719 h 20074"/>
                <a:gd name="connsiteX8" fmla="*/ 1235 w 34790"/>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4">
                  <a:moveTo>
                    <a:pt x="1235" y="12006"/>
                  </a:moveTo>
                  <a:lnTo>
                    <a:pt x="13332" y="19054"/>
                  </a:lnTo>
                  <a:cubicBezTo>
                    <a:pt x="15675" y="20197"/>
                    <a:pt x="18419" y="20197"/>
                    <a:pt x="20762" y="19054"/>
                  </a:cubicBezTo>
                  <a:lnTo>
                    <a:pt x="32954" y="12006"/>
                  </a:lnTo>
                  <a:cubicBezTo>
                    <a:pt x="34954" y="10863"/>
                    <a:pt x="34954" y="8958"/>
                    <a:pt x="32954" y="7719"/>
                  </a:cubicBezTo>
                  <a:lnTo>
                    <a:pt x="20762" y="766"/>
                  </a:lnTo>
                  <a:cubicBezTo>
                    <a:pt x="18437" y="-472"/>
                    <a:pt x="15656" y="-472"/>
                    <a:pt x="13332" y="766"/>
                  </a:cubicBezTo>
                  <a:lnTo>
                    <a:pt x="1235" y="7719"/>
                  </a:lnTo>
                  <a:cubicBezTo>
                    <a:pt x="-860" y="8958"/>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710" name="ïṡļîďê">
              <a:extLst>
                <a:ext uri="{FF2B5EF4-FFF2-40B4-BE49-F238E27FC236}">
                  <a16:creationId xmlns:a16="http://schemas.microsoft.com/office/drawing/2014/main" id="{0FAA26E7-5C15-4DD0-B9A3-032D8165BDF5}"/>
                </a:ext>
              </a:extLst>
            </p:cNvPr>
            <p:cNvSpPr/>
            <p:nvPr/>
          </p:nvSpPr>
          <p:spPr>
            <a:xfrm>
              <a:off x="5861634" y="5212606"/>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028 h 17597"/>
                <a:gd name="connsiteX9" fmla="*/ 31763 w 36004"/>
                <a:gd name="connsiteY9" fmla="*/ 3457 h 17597"/>
                <a:gd name="connsiteX10" fmla="*/ 21476 w 36004"/>
                <a:gd name="connsiteY10" fmla="*/ 9267 h 17597"/>
                <a:gd name="connsiteX11" fmla="*/ 13856 w 36004"/>
                <a:gd name="connsiteY11" fmla="*/ 9267 h 17597"/>
                <a:gd name="connsiteX12" fmla="*/ 3569 w 36004"/>
                <a:gd name="connsiteY12" fmla="*/ 3457 h 17597"/>
                <a:gd name="connsiteX13" fmla="*/ 1188 w 36004"/>
                <a:gd name="connsiteY13" fmla="*/ 2028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20"/>
                    <a:pt x="35583" y="7953"/>
                    <a:pt x="35668" y="6981"/>
                  </a:cubicBezTo>
                  <a:lnTo>
                    <a:pt x="35668" y="-163"/>
                  </a:lnTo>
                  <a:cubicBezTo>
                    <a:pt x="35630" y="800"/>
                    <a:pt x="35040" y="1657"/>
                    <a:pt x="34144" y="2028"/>
                  </a:cubicBezTo>
                  <a:lnTo>
                    <a:pt x="31763" y="3457"/>
                  </a:lnTo>
                  <a:lnTo>
                    <a:pt x="21476" y="9267"/>
                  </a:lnTo>
                  <a:cubicBezTo>
                    <a:pt x="19114" y="10610"/>
                    <a:pt x="16218" y="10610"/>
                    <a:pt x="13856" y="9267"/>
                  </a:cubicBezTo>
                  <a:lnTo>
                    <a:pt x="3569" y="3457"/>
                  </a:lnTo>
                  <a:lnTo>
                    <a:pt x="1188" y="2028"/>
                  </a:lnTo>
                  <a:cubicBezTo>
                    <a:pt x="292" y="1657"/>
                    <a:pt x="-298" y="800"/>
                    <a:pt x="-336" y="-163"/>
                  </a:cubicBezTo>
                  <a:close/>
                </a:path>
              </a:pathLst>
            </a:custGeom>
            <a:solidFill>
              <a:srgbClr val="BF4200"/>
            </a:solidFill>
            <a:ln w="9525" cap="flat">
              <a:noFill/>
              <a:prstDash val="solid"/>
              <a:miter/>
            </a:ln>
          </p:spPr>
          <p:txBody>
            <a:bodyPr rtlCol="0" anchor="ctr"/>
            <a:lstStyle/>
            <a:p>
              <a:endParaRPr lang="zh-CN" altLang="en-US"/>
            </a:p>
          </p:txBody>
        </p:sp>
        <p:sp>
          <p:nvSpPr>
            <p:cNvPr id="711" name="î$1ïḓé">
              <a:extLst>
                <a:ext uri="{FF2B5EF4-FFF2-40B4-BE49-F238E27FC236}">
                  <a16:creationId xmlns:a16="http://schemas.microsoft.com/office/drawing/2014/main" id="{36CC1510-06C2-4A52-91E8-9B6439EFC445}"/>
                </a:ext>
              </a:extLst>
            </p:cNvPr>
            <p:cNvSpPr/>
            <p:nvPr/>
          </p:nvSpPr>
          <p:spPr>
            <a:xfrm>
              <a:off x="5938177" y="5225436"/>
              <a:ext cx="109594" cy="63588"/>
            </a:xfrm>
            <a:custGeom>
              <a:avLst/>
              <a:gdLst>
                <a:gd name="connsiteX0" fmla="*/ -336 w 36004"/>
                <a:gd name="connsiteY0" fmla="*/ 10291 h 20890"/>
                <a:gd name="connsiteX1" fmla="*/ 1188 w 36004"/>
                <a:gd name="connsiteY1" fmla="*/ 12482 h 20890"/>
                <a:gd name="connsiteX2" fmla="*/ 3569 w 36004"/>
                <a:gd name="connsiteY2" fmla="*/ 13911 h 20890"/>
                <a:gd name="connsiteX3" fmla="*/ 13856 w 36004"/>
                <a:gd name="connsiteY3" fmla="*/ 19721 h 20890"/>
                <a:gd name="connsiteX4" fmla="*/ 21476 w 36004"/>
                <a:gd name="connsiteY4" fmla="*/ 19721 h 20890"/>
                <a:gd name="connsiteX5" fmla="*/ 31763 w 36004"/>
                <a:gd name="connsiteY5" fmla="*/ 13911 h 20890"/>
                <a:gd name="connsiteX6" fmla="*/ 34144 w 36004"/>
                <a:gd name="connsiteY6" fmla="*/ 12482 h 20890"/>
                <a:gd name="connsiteX7" fmla="*/ 35668 w 36004"/>
                <a:gd name="connsiteY7" fmla="*/ 10291 h 20890"/>
                <a:gd name="connsiteX8" fmla="*/ 34144 w 36004"/>
                <a:gd name="connsiteY8" fmla="*/ 8005 h 20890"/>
                <a:gd name="connsiteX9" fmla="*/ 21476 w 36004"/>
                <a:gd name="connsiteY9" fmla="*/ 766 h 20890"/>
                <a:gd name="connsiteX10" fmla="*/ 13856 w 36004"/>
                <a:gd name="connsiteY10" fmla="*/ 766 h 20890"/>
                <a:gd name="connsiteX11" fmla="*/ 1188 w 36004"/>
                <a:gd name="connsiteY11" fmla="*/ 8005 h 20890"/>
                <a:gd name="connsiteX12" fmla="*/ -336 w 36004"/>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291"/>
                  </a:moveTo>
                  <a:cubicBezTo>
                    <a:pt x="-279" y="11244"/>
                    <a:pt x="311" y="12091"/>
                    <a:pt x="1188" y="12482"/>
                  </a:cubicBezTo>
                  <a:lnTo>
                    <a:pt x="3569" y="13911"/>
                  </a:lnTo>
                  <a:lnTo>
                    <a:pt x="13856" y="19721"/>
                  </a:lnTo>
                  <a:cubicBezTo>
                    <a:pt x="16218" y="21064"/>
                    <a:pt x="19114" y="21064"/>
                    <a:pt x="21476" y="19721"/>
                  </a:cubicBezTo>
                  <a:lnTo>
                    <a:pt x="31763" y="13911"/>
                  </a:lnTo>
                  <a:lnTo>
                    <a:pt x="34144" y="12482"/>
                  </a:lnTo>
                  <a:cubicBezTo>
                    <a:pt x="35021" y="12091"/>
                    <a:pt x="35611" y="11253"/>
                    <a:pt x="35668" y="10291"/>
                  </a:cubicBezTo>
                  <a:cubicBezTo>
                    <a:pt x="35602" y="9310"/>
                    <a:pt x="35021" y="8443"/>
                    <a:pt x="34144" y="8005"/>
                  </a:cubicBezTo>
                  <a:lnTo>
                    <a:pt x="21476" y="766"/>
                  </a:lnTo>
                  <a:cubicBezTo>
                    <a:pt x="19085" y="-472"/>
                    <a:pt x="16247" y="-472"/>
                    <a:pt x="13856" y="766"/>
                  </a:cubicBezTo>
                  <a:lnTo>
                    <a:pt x="1188" y="8005"/>
                  </a:lnTo>
                  <a:cubicBezTo>
                    <a:pt x="311" y="8443"/>
                    <a:pt x="-270" y="9310"/>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712" name="íśļídè">
              <a:extLst>
                <a:ext uri="{FF2B5EF4-FFF2-40B4-BE49-F238E27FC236}">
                  <a16:creationId xmlns:a16="http://schemas.microsoft.com/office/drawing/2014/main" id="{E1AC06DC-F730-4EA8-B4CD-4F038A553FBD}"/>
                </a:ext>
              </a:extLst>
            </p:cNvPr>
            <p:cNvSpPr/>
            <p:nvPr/>
          </p:nvSpPr>
          <p:spPr>
            <a:xfrm>
              <a:off x="5939991" y="5226595"/>
              <a:ext cx="106766" cy="61101"/>
            </a:xfrm>
            <a:custGeom>
              <a:avLst/>
              <a:gdLst>
                <a:gd name="connsiteX0" fmla="*/ 1450 w 35075"/>
                <a:gd name="connsiteY0" fmla="*/ 12006 h 20073"/>
                <a:gd name="connsiteX1" fmla="*/ 13642 w 35075"/>
                <a:gd name="connsiteY1" fmla="*/ 19054 h 20073"/>
                <a:gd name="connsiteX2" fmla="*/ 21071 w 35075"/>
                <a:gd name="connsiteY2" fmla="*/ 19054 h 20073"/>
                <a:gd name="connsiteX3" fmla="*/ 33168 w 35075"/>
                <a:gd name="connsiteY3" fmla="*/ 12006 h 20073"/>
                <a:gd name="connsiteX4" fmla="*/ 33168 w 35075"/>
                <a:gd name="connsiteY4" fmla="*/ 7719 h 20073"/>
                <a:gd name="connsiteX5" fmla="*/ 21071 w 35075"/>
                <a:gd name="connsiteY5" fmla="*/ 766 h 20073"/>
                <a:gd name="connsiteX6" fmla="*/ 13642 w 35075"/>
                <a:gd name="connsiteY6" fmla="*/ 766 h 20073"/>
                <a:gd name="connsiteX7" fmla="*/ 1450 w 35075"/>
                <a:gd name="connsiteY7" fmla="*/ 7719 h 20073"/>
                <a:gd name="connsiteX8" fmla="*/ 1450 w 35075"/>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075" h="20073">
                  <a:moveTo>
                    <a:pt x="1450" y="12006"/>
                  </a:moveTo>
                  <a:lnTo>
                    <a:pt x="13642" y="19054"/>
                  </a:lnTo>
                  <a:cubicBezTo>
                    <a:pt x="15985" y="20197"/>
                    <a:pt x="18728" y="20197"/>
                    <a:pt x="21071" y="19054"/>
                  </a:cubicBezTo>
                  <a:lnTo>
                    <a:pt x="33168" y="12006"/>
                  </a:lnTo>
                  <a:cubicBezTo>
                    <a:pt x="35263" y="10863"/>
                    <a:pt x="35263" y="8957"/>
                    <a:pt x="33168" y="7719"/>
                  </a:cubicBezTo>
                  <a:lnTo>
                    <a:pt x="21071" y="766"/>
                  </a:lnTo>
                  <a:cubicBezTo>
                    <a:pt x="18747" y="-472"/>
                    <a:pt x="15966" y="-472"/>
                    <a:pt x="13642" y="766"/>
                  </a:cubicBezTo>
                  <a:lnTo>
                    <a:pt x="1450" y="7719"/>
                  </a:lnTo>
                  <a:cubicBezTo>
                    <a:pt x="-932" y="8957"/>
                    <a:pt x="-932" y="10863"/>
                    <a:pt x="1450" y="12006"/>
                  </a:cubicBezTo>
                  <a:close/>
                </a:path>
              </a:pathLst>
            </a:custGeom>
            <a:solidFill>
              <a:srgbClr val="D1D9E8"/>
            </a:solidFill>
            <a:ln w="9525" cap="flat">
              <a:noFill/>
              <a:prstDash val="solid"/>
              <a:miter/>
            </a:ln>
          </p:spPr>
          <p:txBody>
            <a:bodyPr rtlCol="0" anchor="ctr"/>
            <a:lstStyle/>
            <a:p>
              <a:endParaRPr lang="zh-CN" altLang="en-US"/>
            </a:p>
          </p:txBody>
        </p:sp>
        <p:sp>
          <p:nvSpPr>
            <p:cNvPr id="713" name="íṡļiḓe">
              <a:extLst>
                <a:ext uri="{FF2B5EF4-FFF2-40B4-BE49-F238E27FC236}">
                  <a16:creationId xmlns:a16="http://schemas.microsoft.com/office/drawing/2014/main" id="{ABCBD151-9D9E-46AB-9A37-DB31ACD09BDE}"/>
                </a:ext>
              </a:extLst>
            </p:cNvPr>
            <p:cNvSpPr/>
            <p:nvPr/>
          </p:nvSpPr>
          <p:spPr>
            <a:xfrm>
              <a:off x="5938177" y="5257257"/>
              <a:ext cx="109594" cy="53564"/>
            </a:xfrm>
            <a:custGeom>
              <a:avLst/>
              <a:gdLst>
                <a:gd name="connsiteX0" fmla="*/ -336 w 36004"/>
                <a:gd name="connsiteY0" fmla="*/ -163 h 17597"/>
                <a:gd name="connsiteX1" fmla="*/ -336 w 36004"/>
                <a:gd name="connsiteY1" fmla="*/ 6981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028 h 17597"/>
                <a:gd name="connsiteX9" fmla="*/ 31763 w 36004"/>
                <a:gd name="connsiteY9" fmla="*/ 3457 h 17597"/>
                <a:gd name="connsiteX10" fmla="*/ 21476 w 36004"/>
                <a:gd name="connsiteY10" fmla="*/ 9267 h 17597"/>
                <a:gd name="connsiteX11" fmla="*/ 13856 w 36004"/>
                <a:gd name="connsiteY11" fmla="*/ 9267 h 17597"/>
                <a:gd name="connsiteX12" fmla="*/ 3569 w 36004"/>
                <a:gd name="connsiteY12" fmla="*/ 3457 h 17597"/>
                <a:gd name="connsiteX13" fmla="*/ 1188 w 36004"/>
                <a:gd name="connsiteY13" fmla="*/ 2028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6981"/>
                  </a:lnTo>
                  <a:cubicBezTo>
                    <a:pt x="-270" y="7962"/>
                    <a:pt x="311" y="8829"/>
                    <a:pt x="1188" y="9267"/>
                  </a:cubicBezTo>
                  <a:lnTo>
                    <a:pt x="13856" y="16506"/>
                  </a:lnTo>
                  <a:cubicBezTo>
                    <a:pt x="16247" y="17744"/>
                    <a:pt x="19085" y="17744"/>
                    <a:pt x="21476" y="16506"/>
                  </a:cubicBezTo>
                  <a:lnTo>
                    <a:pt x="34144" y="9267"/>
                  </a:lnTo>
                  <a:cubicBezTo>
                    <a:pt x="35011" y="8819"/>
                    <a:pt x="35582" y="7953"/>
                    <a:pt x="35668" y="6981"/>
                  </a:cubicBezTo>
                  <a:lnTo>
                    <a:pt x="35668" y="-163"/>
                  </a:lnTo>
                  <a:cubicBezTo>
                    <a:pt x="35611" y="790"/>
                    <a:pt x="35021" y="1638"/>
                    <a:pt x="34144" y="2028"/>
                  </a:cubicBezTo>
                  <a:lnTo>
                    <a:pt x="31763" y="3457"/>
                  </a:lnTo>
                  <a:lnTo>
                    <a:pt x="21476" y="9267"/>
                  </a:lnTo>
                  <a:cubicBezTo>
                    <a:pt x="19114" y="10610"/>
                    <a:pt x="16218" y="10610"/>
                    <a:pt x="13856" y="9267"/>
                  </a:cubicBezTo>
                  <a:lnTo>
                    <a:pt x="3569" y="3457"/>
                  </a:lnTo>
                  <a:lnTo>
                    <a:pt x="1188" y="2028"/>
                  </a:lnTo>
                  <a:cubicBezTo>
                    <a:pt x="311" y="1638"/>
                    <a:pt x="-279" y="800"/>
                    <a:pt x="-336" y="-163"/>
                  </a:cubicBezTo>
                  <a:close/>
                </a:path>
              </a:pathLst>
            </a:custGeom>
            <a:solidFill>
              <a:srgbClr val="BF4200"/>
            </a:solidFill>
            <a:ln w="9525" cap="flat">
              <a:noFill/>
              <a:prstDash val="solid"/>
              <a:miter/>
            </a:ln>
          </p:spPr>
          <p:txBody>
            <a:bodyPr rtlCol="0" anchor="ctr"/>
            <a:lstStyle/>
            <a:p>
              <a:endParaRPr lang="zh-CN" altLang="en-US"/>
            </a:p>
          </p:txBody>
        </p:sp>
        <p:sp>
          <p:nvSpPr>
            <p:cNvPr id="714" name="ïṥ1iḓè">
              <a:extLst>
                <a:ext uri="{FF2B5EF4-FFF2-40B4-BE49-F238E27FC236}">
                  <a16:creationId xmlns:a16="http://schemas.microsoft.com/office/drawing/2014/main" id="{88DA513E-BD49-44D4-AAD5-CD6C1BA9C2EC}"/>
                </a:ext>
              </a:extLst>
            </p:cNvPr>
            <p:cNvSpPr/>
            <p:nvPr/>
          </p:nvSpPr>
          <p:spPr>
            <a:xfrm>
              <a:off x="6016172" y="5270087"/>
              <a:ext cx="109594" cy="63588"/>
            </a:xfrm>
            <a:custGeom>
              <a:avLst/>
              <a:gdLst>
                <a:gd name="connsiteX0" fmla="*/ -336 w 36004"/>
                <a:gd name="connsiteY0" fmla="*/ 10196 h 20890"/>
                <a:gd name="connsiteX1" fmla="*/ 1283 w 36004"/>
                <a:gd name="connsiteY1" fmla="*/ 12482 h 20890"/>
                <a:gd name="connsiteX2" fmla="*/ 3569 w 36004"/>
                <a:gd name="connsiteY2" fmla="*/ 13815 h 20890"/>
                <a:gd name="connsiteX3" fmla="*/ 13856 w 36004"/>
                <a:gd name="connsiteY3" fmla="*/ 19721 h 20890"/>
                <a:gd name="connsiteX4" fmla="*/ 21571 w 36004"/>
                <a:gd name="connsiteY4" fmla="*/ 19721 h 20890"/>
                <a:gd name="connsiteX5" fmla="*/ 31858 w 36004"/>
                <a:gd name="connsiteY5" fmla="*/ 13815 h 20890"/>
                <a:gd name="connsiteX6" fmla="*/ 34144 w 36004"/>
                <a:gd name="connsiteY6" fmla="*/ 12482 h 20890"/>
                <a:gd name="connsiteX7" fmla="*/ 35668 w 36004"/>
                <a:gd name="connsiteY7" fmla="*/ 10196 h 20890"/>
                <a:gd name="connsiteX8" fmla="*/ 34144 w 36004"/>
                <a:gd name="connsiteY8" fmla="*/ 8005 h 20890"/>
                <a:gd name="connsiteX9" fmla="*/ 21571 w 36004"/>
                <a:gd name="connsiteY9" fmla="*/ 766 h 20890"/>
                <a:gd name="connsiteX10" fmla="*/ 13856 w 36004"/>
                <a:gd name="connsiteY10" fmla="*/ 766 h 20890"/>
                <a:gd name="connsiteX11" fmla="*/ 1283 w 36004"/>
                <a:gd name="connsiteY11" fmla="*/ 8005 h 20890"/>
                <a:gd name="connsiteX12" fmla="*/ -336 w 36004"/>
                <a:gd name="connsiteY12" fmla="*/ 10196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196"/>
                  </a:moveTo>
                  <a:cubicBezTo>
                    <a:pt x="-298" y="11215"/>
                    <a:pt x="340" y="12110"/>
                    <a:pt x="1283" y="12482"/>
                  </a:cubicBezTo>
                  <a:lnTo>
                    <a:pt x="3569" y="13815"/>
                  </a:lnTo>
                  <a:lnTo>
                    <a:pt x="13856" y="19721"/>
                  </a:lnTo>
                  <a:cubicBezTo>
                    <a:pt x="16256" y="21064"/>
                    <a:pt x="19171" y="21064"/>
                    <a:pt x="21571" y="19721"/>
                  </a:cubicBezTo>
                  <a:lnTo>
                    <a:pt x="31858" y="13815"/>
                  </a:lnTo>
                  <a:lnTo>
                    <a:pt x="34144" y="12482"/>
                  </a:lnTo>
                  <a:cubicBezTo>
                    <a:pt x="35049" y="12082"/>
                    <a:pt x="35640" y="11186"/>
                    <a:pt x="35668" y="10196"/>
                  </a:cubicBezTo>
                  <a:cubicBezTo>
                    <a:pt x="35573" y="9253"/>
                    <a:pt x="34992" y="8424"/>
                    <a:pt x="34144" y="8005"/>
                  </a:cubicBezTo>
                  <a:lnTo>
                    <a:pt x="21571" y="766"/>
                  </a:lnTo>
                  <a:cubicBezTo>
                    <a:pt x="19152" y="-472"/>
                    <a:pt x="16275" y="-472"/>
                    <a:pt x="13856" y="766"/>
                  </a:cubicBezTo>
                  <a:lnTo>
                    <a:pt x="1283" y="8005"/>
                  </a:lnTo>
                  <a:cubicBezTo>
                    <a:pt x="378" y="8386"/>
                    <a:pt x="-241" y="9224"/>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715" name="ïṣľîḋe">
              <a:extLst>
                <a:ext uri="{FF2B5EF4-FFF2-40B4-BE49-F238E27FC236}">
                  <a16:creationId xmlns:a16="http://schemas.microsoft.com/office/drawing/2014/main" id="{FDB4F631-4094-441E-8CCA-6713AA610FCE}"/>
                </a:ext>
              </a:extLst>
            </p:cNvPr>
            <p:cNvSpPr/>
            <p:nvPr/>
          </p:nvSpPr>
          <p:spPr>
            <a:xfrm>
              <a:off x="6018302" y="5271247"/>
              <a:ext cx="105618" cy="61101"/>
            </a:xfrm>
            <a:custGeom>
              <a:avLst/>
              <a:gdLst>
                <a:gd name="connsiteX0" fmla="*/ 1154 w 34698"/>
                <a:gd name="connsiteY0" fmla="*/ 12006 h 20073"/>
                <a:gd name="connsiteX1" fmla="*/ 13251 w 34698"/>
                <a:gd name="connsiteY1" fmla="*/ 19054 h 20073"/>
                <a:gd name="connsiteX2" fmla="*/ 20680 w 34698"/>
                <a:gd name="connsiteY2" fmla="*/ 19054 h 20073"/>
                <a:gd name="connsiteX3" fmla="*/ 32872 w 34698"/>
                <a:gd name="connsiteY3" fmla="*/ 12006 h 20073"/>
                <a:gd name="connsiteX4" fmla="*/ 34215 w 34698"/>
                <a:gd name="connsiteY4" fmla="*/ 9072 h 20073"/>
                <a:gd name="connsiteX5" fmla="*/ 32872 w 34698"/>
                <a:gd name="connsiteY5" fmla="*/ 7719 h 20073"/>
                <a:gd name="connsiteX6" fmla="*/ 20680 w 34698"/>
                <a:gd name="connsiteY6" fmla="*/ 766 h 20073"/>
                <a:gd name="connsiteX7" fmla="*/ 13251 w 34698"/>
                <a:gd name="connsiteY7" fmla="*/ 766 h 20073"/>
                <a:gd name="connsiteX8" fmla="*/ 1154 w 34698"/>
                <a:gd name="connsiteY8" fmla="*/ 7719 h 20073"/>
                <a:gd name="connsiteX9" fmla="*/ -189 w 34698"/>
                <a:gd name="connsiteY9" fmla="*/ 10653 h 20073"/>
                <a:gd name="connsiteX10" fmla="*/ 1154 w 34698"/>
                <a:gd name="connsiteY10"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698" h="20073">
                  <a:moveTo>
                    <a:pt x="1154" y="12006"/>
                  </a:moveTo>
                  <a:lnTo>
                    <a:pt x="13251" y="19054"/>
                  </a:lnTo>
                  <a:cubicBezTo>
                    <a:pt x="15594" y="20197"/>
                    <a:pt x="18337" y="20197"/>
                    <a:pt x="20680" y="19054"/>
                  </a:cubicBezTo>
                  <a:lnTo>
                    <a:pt x="32872" y="12006"/>
                  </a:lnTo>
                  <a:cubicBezTo>
                    <a:pt x="34053" y="11567"/>
                    <a:pt x="34663" y="10253"/>
                    <a:pt x="34215" y="9072"/>
                  </a:cubicBezTo>
                  <a:cubicBezTo>
                    <a:pt x="33987" y="8443"/>
                    <a:pt x="33491" y="7948"/>
                    <a:pt x="32872" y="7719"/>
                  </a:cubicBezTo>
                  <a:lnTo>
                    <a:pt x="20680" y="766"/>
                  </a:lnTo>
                  <a:cubicBezTo>
                    <a:pt x="18356" y="-472"/>
                    <a:pt x="15575" y="-472"/>
                    <a:pt x="13251" y="766"/>
                  </a:cubicBezTo>
                  <a:lnTo>
                    <a:pt x="1154" y="7719"/>
                  </a:lnTo>
                  <a:cubicBezTo>
                    <a:pt x="-27" y="8158"/>
                    <a:pt x="-637" y="9472"/>
                    <a:pt x="-189" y="10653"/>
                  </a:cubicBezTo>
                  <a:cubicBezTo>
                    <a:pt x="40" y="11281"/>
                    <a:pt x="535" y="11777"/>
                    <a:pt x="1154" y="12006"/>
                  </a:cubicBezTo>
                  <a:close/>
                </a:path>
              </a:pathLst>
            </a:custGeom>
            <a:solidFill>
              <a:srgbClr val="D1D9E8"/>
            </a:solidFill>
            <a:ln w="9525" cap="flat">
              <a:noFill/>
              <a:prstDash val="solid"/>
              <a:miter/>
            </a:ln>
          </p:spPr>
          <p:txBody>
            <a:bodyPr rtlCol="0" anchor="ctr"/>
            <a:lstStyle/>
            <a:p>
              <a:endParaRPr lang="zh-CN" altLang="en-US"/>
            </a:p>
          </p:txBody>
        </p:sp>
        <p:sp>
          <p:nvSpPr>
            <p:cNvPr id="716" name="ïṡľíďe">
              <a:extLst>
                <a:ext uri="{FF2B5EF4-FFF2-40B4-BE49-F238E27FC236}">
                  <a16:creationId xmlns:a16="http://schemas.microsoft.com/office/drawing/2014/main" id="{9BAFDF80-C007-4444-8CA6-988D5E1FE504}"/>
                </a:ext>
              </a:extLst>
            </p:cNvPr>
            <p:cNvSpPr/>
            <p:nvPr/>
          </p:nvSpPr>
          <p:spPr>
            <a:xfrm>
              <a:off x="6016172" y="5301616"/>
              <a:ext cx="109594" cy="53801"/>
            </a:xfrm>
            <a:custGeom>
              <a:avLst/>
              <a:gdLst>
                <a:gd name="connsiteX0" fmla="*/ -336 w 36004"/>
                <a:gd name="connsiteY0" fmla="*/ -163 h 17675"/>
                <a:gd name="connsiteX1" fmla="*/ -336 w 36004"/>
                <a:gd name="connsiteY1" fmla="*/ 7076 h 17675"/>
                <a:gd name="connsiteX2" fmla="*/ 1283 w 36004"/>
                <a:gd name="connsiteY2" fmla="*/ 9267 h 17675"/>
                <a:gd name="connsiteX3" fmla="*/ 13856 w 36004"/>
                <a:gd name="connsiteY3" fmla="*/ 16506 h 17675"/>
                <a:gd name="connsiteX4" fmla="*/ 21571 w 36004"/>
                <a:gd name="connsiteY4" fmla="*/ 16506 h 17675"/>
                <a:gd name="connsiteX5" fmla="*/ 34144 w 36004"/>
                <a:gd name="connsiteY5" fmla="*/ 9267 h 17675"/>
                <a:gd name="connsiteX6" fmla="*/ 35668 w 36004"/>
                <a:gd name="connsiteY6" fmla="*/ 7076 h 17675"/>
                <a:gd name="connsiteX7" fmla="*/ 35668 w 36004"/>
                <a:gd name="connsiteY7" fmla="*/ -163 h 17675"/>
                <a:gd name="connsiteX8" fmla="*/ 34144 w 36004"/>
                <a:gd name="connsiteY8" fmla="*/ 2123 h 17675"/>
                <a:gd name="connsiteX9" fmla="*/ 31858 w 36004"/>
                <a:gd name="connsiteY9" fmla="*/ 3457 h 17675"/>
                <a:gd name="connsiteX10" fmla="*/ 21571 w 36004"/>
                <a:gd name="connsiteY10" fmla="*/ 9362 h 17675"/>
                <a:gd name="connsiteX11" fmla="*/ 13856 w 36004"/>
                <a:gd name="connsiteY11" fmla="*/ 9362 h 17675"/>
                <a:gd name="connsiteX12" fmla="*/ 3569 w 36004"/>
                <a:gd name="connsiteY12" fmla="*/ 3457 h 17675"/>
                <a:gd name="connsiteX13" fmla="*/ 1283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79" y="8067"/>
                    <a:pt x="349" y="8924"/>
                    <a:pt x="1283" y="9267"/>
                  </a:cubicBezTo>
                  <a:lnTo>
                    <a:pt x="13856" y="16506"/>
                  </a:lnTo>
                  <a:cubicBezTo>
                    <a:pt x="16256" y="17849"/>
                    <a:pt x="19171" y="17849"/>
                    <a:pt x="21571" y="16506"/>
                  </a:cubicBezTo>
                  <a:lnTo>
                    <a:pt x="34144" y="9267"/>
                  </a:lnTo>
                  <a:cubicBezTo>
                    <a:pt x="35021" y="8877"/>
                    <a:pt x="35611" y="8029"/>
                    <a:pt x="35668" y="7076"/>
                  </a:cubicBezTo>
                  <a:lnTo>
                    <a:pt x="35668" y="-163"/>
                  </a:lnTo>
                  <a:cubicBezTo>
                    <a:pt x="35640" y="828"/>
                    <a:pt x="35049" y="1723"/>
                    <a:pt x="34144" y="2123"/>
                  </a:cubicBezTo>
                  <a:lnTo>
                    <a:pt x="31858" y="3457"/>
                  </a:lnTo>
                  <a:lnTo>
                    <a:pt x="21571" y="9362"/>
                  </a:lnTo>
                  <a:cubicBezTo>
                    <a:pt x="19171" y="10705"/>
                    <a:pt x="16256" y="10705"/>
                    <a:pt x="13856" y="9362"/>
                  </a:cubicBezTo>
                  <a:lnTo>
                    <a:pt x="3569" y="3457"/>
                  </a:lnTo>
                  <a:lnTo>
                    <a:pt x="1283" y="2123"/>
                  </a:lnTo>
                  <a:cubicBezTo>
                    <a:pt x="340" y="1752"/>
                    <a:pt x="-298" y="856"/>
                    <a:pt x="-336" y="-163"/>
                  </a:cubicBezTo>
                  <a:close/>
                </a:path>
              </a:pathLst>
            </a:custGeom>
            <a:solidFill>
              <a:srgbClr val="BF4200"/>
            </a:solidFill>
            <a:ln w="9525" cap="flat">
              <a:noFill/>
              <a:prstDash val="solid"/>
              <a:miter/>
            </a:ln>
          </p:spPr>
          <p:txBody>
            <a:bodyPr rtlCol="0" anchor="ctr"/>
            <a:lstStyle/>
            <a:p>
              <a:endParaRPr lang="zh-CN" altLang="en-US"/>
            </a:p>
          </p:txBody>
        </p:sp>
        <p:sp>
          <p:nvSpPr>
            <p:cNvPr id="717" name="îṩḷíďe">
              <a:extLst>
                <a:ext uri="{FF2B5EF4-FFF2-40B4-BE49-F238E27FC236}">
                  <a16:creationId xmlns:a16="http://schemas.microsoft.com/office/drawing/2014/main" id="{A16F4784-E2F8-4468-BD19-2E135638C365}"/>
                </a:ext>
              </a:extLst>
            </p:cNvPr>
            <p:cNvSpPr/>
            <p:nvPr/>
          </p:nvSpPr>
          <p:spPr>
            <a:xfrm>
              <a:off x="6093582" y="5314735"/>
              <a:ext cx="109740" cy="63588"/>
            </a:xfrm>
            <a:custGeom>
              <a:avLst/>
              <a:gdLst>
                <a:gd name="connsiteX0" fmla="*/ -336 w 36052"/>
                <a:gd name="connsiteY0" fmla="*/ 10196 h 20890"/>
                <a:gd name="connsiteX1" fmla="*/ 1188 w 36052"/>
                <a:gd name="connsiteY1" fmla="*/ 12482 h 20890"/>
                <a:gd name="connsiteX2" fmla="*/ 3569 w 36052"/>
                <a:gd name="connsiteY2" fmla="*/ 13815 h 20890"/>
                <a:gd name="connsiteX3" fmla="*/ 13856 w 36052"/>
                <a:gd name="connsiteY3" fmla="*/ 19721 h 20890"/>
                <a:gd name="connsiteX4" fmla="*/ 21476 w 36052"/>
                <a:gd name="connsiteY4" fmla="*/ 19721 h 20890"/>
                <a:gd name="connsiteX5" fmla="*/ 31763 w 36052"/>
                <a:gd name="connsiteY5" fmla="*/ 13815 h 20890"/>
                <a:gd name="connsiteX6" fmla="*/ 34144 w 36052"/>
                <a:gd name="connsiteY6" fmla="*/ 12482 h 20890"/>
                <a:gd name="connsiteX7" fmla="*/ 35573 w 36052"/>
                <a:gd name="connsiteY7" fmla="*/ 9434 h 20890"/>
                <a:gd name="connsiteX8" fmla="*/ 34144 w 36052"/>
                <a:gd name="connsiteY8" fmla="*/ 8005 h 20890"/>
                <a:gd name="connsiteX9" fmla="*/ 21476 w 36052"/>
                <a:gd name="connsiteY9" fmla="*/ 766 h 20890"/>
                <a:gd name="connsiteX10" fmla="*/ 13856 w 36052"/>
                <a:gd name="connsiteY10" fmla="*/ 766 h 20890"/>
                <a:gd name="connsiteX11" fmla="*/ 1188 w 36052"/>
                <a:gd name="connsiteY11" fmla="*/ 8005 h 20890"/>
                <a:gd name="connsiteX12" fmla="*/ -336 w 36052"/>
                <a:gd name="connsiteY12" fmla="*/ 10196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90">
                  <a:moveTo>
                    <a:pt x="-336" y="10196"/>
                  </a:moveTo>
                  <a:cubicBezTo>
                    <a:pt x="-269" y="11177"/>
                    <a:pt x="312" y="12044"/>
                    <a:pt x="1188" y="12482"/>
                  </a:cubicBezTo>
                  <a:lnTo>
                    <a:pt x="3569" y="13815"/>
                  </a:lnTo>
                  <a:lnTo>
                    <a:pt x="13856" y="19721"/>
                  </a:lnTo>
                  <a:cubicBezTo>
                    <a:pt x="16218" y="21064"/>
                    <a:pt x="19114" y="21064"/>
                    <a:pt x="21476" y="19721"/>
                  </a:cubicBezTo>
                  <a:lnTo>
                    <a:pt x="31763" y="13815"/>
                  </a:lnTo>
                  <a:lnTo>
                    <a:pt x="34144" y="12482"/>
                  </a:lnTo>
                  <a:cubicBezTo>
                    <a:pt x="35382" y="12034"/>
                    <a:pt x="36021" y="10663"/>
                    <a:pt x="35573" y="9434"/>
                  </a:cubicBezTo>
                  <a:cubicBezTo>
                    <a:pt x="35325" y="8767"/>
                    <a:pt x="34811" y="8243"/>
                    <a:pt x="34144" y="8005"/>
                  </a:cubicBezTo>
                  <a:lnTo>
                    <a:pt x="21476" y="766"/>
                  </a:lnTo>
                  <a:cubicBezTo>
                    <a:pt x="19085" y="-472"/>
                    <a:pt x="16247" y="-472"/>
                    <a:pt x="13856" y="766"/>
                  </a:cubicBezTo>
                  <a:lnTo>
                    <a:pt x="1188" y="8005"/>
                  </a:lnTo>
                  <a:cubicBezTo>
                    <a:pt x="340" y="8424"/>
                    <a:pt x="-241" y="925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718" name="iṡḻïḍe">
              <a:extLst>
                <a:ext uri="{FF2B5EF4-FFF2-40B4-BE49-F238E27FC236}">
                  <a16:creationId xmlns:a16="http://schemas.microsoft.com/office/drawing/2014/main" id="{C4177F47-5A50-47EE-AD7D-DDCB2E3BE2F5}"/>
                </a:ext>
              </a:extLst>
            </p:cNvPr>
            <p:cNvSpPr/>
            <p:nvPr/>
          </p:nvSpPr>
          <p:spPr>
            <a:xfrm>
              <a:off x="6095426" y="5315822"/>
              <a:ext cx="105618" cy="61174"/>
            </a:xfrm>
            <a:custGeom>
              <a:avLst/>
              <a:gdLst>
                <a:gd name="connsiteX0" fmla="*/ 1154 w 34698"/>
                <a:gd name="connsiteY0" fmla="*/ 12030 h 20097"/>
                <a:gd name="connsiteX1" fmla="*/ 13346 w 34698"/>
                <a:gd name="connsiteY1" fmla="*/ 19078 h 20097"/>
                <a:gd name="connsiteX2" fmla="*/ 20776 w 34698"/>
                <a:gd name="connsiteY2" fmla="*/ 19078 h 20097"/>
                <a:gd name="connsiteX3" fmla="*/ 32872 w 34698"/>
                <a:gd name="connsiteY3" fmla="*/ 12030 h 20097"/>
                <a:gd name="connsiteX4" fmla="*/ 34215 w 34698"/>
                <a:gd name="connsiteY4" fmla="*/ 9096 h 20097"/>
                <a:gd name="connsiteX5" fmla="*/ 32872 w 34698"/>
                <a:gd name="connsiteY5" fmla="*/ 7743 h 20097"/>
                <a:gd name="connsiteX6" fmla="*/ 20776 w 34698"/>
                <a:gd name="connsiteY6" fmla="*/ 695 h 20097"/>
                <a:gd name="connsiteX7" fmla="*/ 13346 w 34698"/>
                <a:gd name="connsiteY7" fmla="*/ 695 h 20097"/>
                <a:gd name="connsiteX8" fmla="*/ 1154 w 34698"/>
                <a:gd name="connsiteY8" fmla="*/ 7743 h 20097"/>
                <a:gd name="connsiteX9" fmla="*/ -189 w 34698"/>
                <a:gd name="connsiteY9" fmla="*/ 10686 h 20097"/>
                <a:gd name="connsiteX10" fmla="*/ 1154 w 34698"/>
                <a:gd name="connsiteY10" fmla="*/ 12030 h 20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698" h="20097">
                  <a:moveTo>
                    <a:pt x="1154" y="12030"/>
                  </a:moveTo>
                  <a:lnTo>
                    <a:pt x="13346" y="19078"/>
                  </a:lnTo>
                  <a:cubicBezTo>
                    <a:pt x="15689" y="20221"/>
                    <a:pt x="18432" y="20221"/>
                    <a:pt x="20776" y="19078"/>
                  </a:cubicBezTo>
                  <a:lnTo>
                    <a:pt x="32872" y="12030"/>
                  </a:lnTo>
                  <a:cubicBezTo>
                    <a:pt x="34053" y="11591"/>
                    <a:pt x="34663" y="10277"/>
                    <a:pt x="34215" y="9096"/>
                  </a:cubicBezTo>
                  <a:cubicBezTo>
                    <a:pt x="33987" y="8467"/>
                    <a:pt x="33491" y="7972"/>
                    <a:pt x="32872" y="7743"/>
                  </a:cubicBezTo>
                  <a:lnTo>
                    <a:pt x="20776" y="695"/>
                  </a:lnTo>
                  <a:cubicBezTo>
                    <a:pt x="18432" y="-448"/>
                    <a:pt x="15689" y="-448"/>
                    <a:pt x="13346" y="695"/>
                  </a:cubicBezTo>
                  <a:lnTo>
                    <a:pt x="1154" y="7743"/>
                  </a:lnTo>
                  <a:cubicBezTo>
                    <a:pt x="-27" y="8181"/>
                    <a:pt x="-637" y="9496"/>
                    <a:pt x="-189" y="10686"/>
                  </a:cubicBezTo>
                  <a:cubicBezTo>
                    <a:pt x="40" y="11305"/>
                    <a:pt x="525" y="11801"/>
                    <a:pt x="1154" y="12030"/>
                  </a:cubicBezTo>
                  <a:close/>
                </a:path>
              </a:pathLst>
            </a:custGeom>
            <a:solidFill>
              <a:srgbClr val="D1D9E8"/>
            </a:solidFill>
            <a:ln w="9525" cap="flat">
              <a:noFill/>
              <a:prstDash val="solid"/>
              <a:miter/>
            </a:ln>
          </p:spPr>
          <p:txBody>
            <a:bodyPr rtlCol="0" anchor="ctr"/>
            <a:lstStyle/>
            <a:p>
              <a:endParaRPr lang="zh-CN" altLang="en-US"/>
            </a:p>
          </p:txBody>
        </p:sp>
        <p:sp>
          <p:nvSpPr>
            <p:cNvPr id="719" name="ïšḷíḓè">
              <a:extLst>
                <a:ext uri="{FF2B5EF4-FFF2-40B4-BE49-F238E27FC236}">
                  <a16:creationId xmlns:a16="http://schemas.microsoft.com/office/drawing/2014/main" id="{AE9A3FCB-D92D-4FE3-B558-873297612735}"/>
                </a:ext>
              </a:extLst>
            </p:cNvPr>
            <p:cNvSpPr/>
            <p:nvPr/>
          </p:nvSpPr>
          <p:spPr>
            <a:xfrm>
              <a:off x="6093582" y="5346267"/>
              <a:ext cx="109594" cy="53801"/>
            </a:xfrm>
            <a:custGeom>
              <a:avLst/>
              <a:gdLst>
                <a:gd name="connsiteX0" fmla="*/ -336 w 36004"/>
                <a:gd name="connsiteY0" fmla="*/ -163 h 17675"/>
                <a:gd name="connsiteX1" fmla="*/ -336 w 36004"/>
                <a:gd name="connsiteY1" fmla="*/ 7076 h 17675"/>
                <a:gd name="connsiteX2" fmla="*/ 1188 w 36004"/>
                <a:gd name="connsiteY2" fmla="*/ 9267 h 17675"/>
                <a:gd name="connsiteX3" fmla="*/ 13856 w 36004"/>
                <a:gd name="connsiteY3" fmla="*/ 16506 h 17675"/>
                <a:gd name="connsiteX4" fmla="*/ 21476 w 36004"/>
                <a:gd name="connsiteY4" fmla="*/ 16506 h 17675"/>
                <a:gd name="connsiteX5" fmla="*/ 34144 w 36004"/>
                <a:gd name="connsiteY5" fmla="*/ 9267 h 17675"/>
                <a:gd name="connsiteX6" fmla="*/ 35668 w 36004"/>
                <a:gd name="connsiteY6" fmla="*/ 7076 h 17675"/>
                <a:gd name="connsiteX7" fmla="*/ 35668 w 36004"/>
                <a:gd name="connsiteY7" fmla="*/ -163 h 17675"/>
                <a:gd name="connsiteX8" fmla="*/ 34144 w 36004"/>
                <a:gd name="connsiteY8" fmla="*/ 2123 h 17675"/>
                <a:gd name="connsiteX9" fmla="*/ 31763 w 36004"/>
                <a:gd name="connsiteY9" fmla="*/ 3457 h 17675"/>
                <a:gd name="connsiteX10" fmla="*/ 21476 w 36004"/>
                <a:gd name="connsiteY10" fmla="*/ 9362 h 17675"/>
                <a:gd name="connsiteX11" fmla="*/ 13856 w 36004"/>
                <a:gd name="connsiteY11" fmla="*/ 9362 h 17675"/>
                <a:gd name="connsiteX12" fmla="*/ 3569 w 36004"/>
                <a:gd name="connsiteY12" fmla="*/ 3457 h 17675"/>
                <a:gd name="connsiteX13" fmla="*/ 1188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79" y="8038"/>
                    <a:pt x="312" y="8877"/>
                    <a:pt x="1188" y="9267"/>
                  </a:cubicBezTo>
                  <a:lnTo>
                    <a:pt x="13856" y="16506"/>
                  </a:lnTo>
                  <a:cubicBezTo>
                    <a:pt x="16218" y="17849"/>
                    <a:pt x="19114" y="17849"/>
                    <a:pt x="21476" y="16506"/>
                  </a:cubicBezTo>
                  <a:lnTo>
                    <a:pt x="34144" y="9267"/>
                  </a:lnTo>
                  <a:cubicBezTo>
                    <a:pt x="35021" y="8877"/>
                    <a:pt x="35611" y="8038"/>
                    <a:pt x="35668" y="7076"/>
                  </a:cubicBezTo>
                  <a:lnTo>
                    <a:pt x="35668" y="-163"/>
                  </a:lnTo>
                  <a:cubicBezTo>
                    <a:pt x="35602" y="818"/>
                    <a:pt x="35021" y="1685"/>
                    <a:pt x="34144" y="2123"/>
                  </a:cubicBezTo>
                  <a:lnTo>
                    <a:pt x="31763" y="3457"/>
                  </a:lnTo>
                  <a:lnTo>
                    <a:pt x="21476" y="9362"/>
                  </a:lnTo>
                  <a:cubicBezTo>
                    <a:pt x="19114" y="10705"/>
                    <a:pt x="16218" y="10705"/>
                    <a:pt x="13856" y="9362"/>
                  </a:cubicBezTo>
                  <a:lnTo>
                    <a:pt x="3569" y="3457"/>
                  </a:lnTo>
                  <a:lnTo>
                    <a:pt x="1188" y="2123"/>
                  </a:lnTo>
                  <a:cubicBezTo>
                    <a:pt x="312"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20" name="ïṣľïďe">
              <a:extLst>
                <a:ext uri="{FF2B5EF4-FFF2-40B4-BE49-F238E27FC236}">
                  <a16:creationId xmlns:a16="http://schemas.microsoft.com/office/drawing/2014/main" id="{2327C3B3-EC49-4358-AEF6-30541FC1F3CB}"/>
                </a:ext>
              </a:extLst>
            </p:cNvPr>
            <p:cNvSpPr/>
            <p:nvPr/>
          </p:nvSpPr>
          <p:spPr>
            <a:xfrm>
              <a:off x="6170124" y="5359384"/>
              <a:ext cx="140036" cy="80688"/>
            </a:xfrm>
            <a:custGeom>
              <a:avLst/>
              <a:gdLst>
                <a:gd name="connsiteX0" fmla="*/ -336 w 46005"/>
                <a:gd name="connsiteY0" fmla="*/ 10196 h 26508"/>
                <a:gd name="connsiteX1" fmla="*/ 1283 w 46005"/>
                <a:gd name="connsiteY1" fmla="*/ 12482 h 26508"/>
                <a:gd name="connsiteX2" fmla="*/ 3569 w 46005"/>
                <a:gd name="connsiteY2" fmla="*/ 13815 h 26508"/>
                <a:gd name="connsiteX3" fmla="*/ 23762 w 46005"/>
                <a:gd name="connsiteY3" fmla="*/ 25531 h 26508"/>
                <a:gd name="connsiteX4" fmla="*/ 31477 w 46005"/>
                <a:gd name="connsiteY4" fmla="*/ 25531 h 26508"/>
                <a:gd name="connsiteX5" fmla="*/ 41764 w 46005"/>
                <a:gd name="connsiteY5" fmla="*/ 19530 h 26508"/>
                <a:gd name="connsiteX6" fmla="*/ 44146 w 46005"/>
                <a:gd name="connsiteY6" fmla="*/ 18197 h 26508"/>
                <a:gd name="connsiteX7" fmla="*/ 45669 w 46005"/>
                <a:gd name="connsiteY7" fmla="*/ 16578 h 26508"/>
                <a:gd name="connsiteX8" fmla="*/ 45669 w 46005"/>
                <a:gd name="connsiteY8" fmla="*/ 15435 h 26508"/>
                <a:gd name="connsiteX9" fmla="*/ 44146 w 46005"/>
                <a:gd name="connsiteY9" fmla="*/ 13720 h 26508"/>
                <a:gd name="connsiteX10" fmla="*/ 21571 w 46005"/>
                <a:gd name="connsiteY10" fmla="*/ 766 h 26508"/>
                <a:gd name="connsiteX11" fmla="*/ 13856 w 46005"/>
                <a:gd name="connsiteY11" fmla="*/ 766 h 26508"/>
                <a:gd name="connsiteX12" fmla="*/ 1283 w 46005"/>
                <a:gd name="connsiteY12" fmla="*/ 8005 h 26508"/>
                <a:gd name="connsiteX13" fmla="*/ -336 w 46005"/>
                <a:gd name="connsiteY13" fmla="*/ 10196 h 26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005" h="26508">
                  <a:moveTo>
                    <a:pt x="-336" y="10196"/>
                  </a:moveTo>
                  <a:cubicBezTo>
                    <a:pt x="-270" y="11206"/>
                    <a:pt x="359" y="12091"/>
                    <a:pt x="1283" y="12482"/>
                  </a:cubicBezTo>
                  <a:lnTo>
                    <a:pt x="3569" y="13815"/>
                  </a:lnTo>
                  <a:lnTo>
                    <a:pt x="23762" y="25531"/>
                  </a:lnTo>
                  <a:cubicBezTo>
                    <a:pt x="26219" y="26617"/>
                    <a:pt x="29020" y="26617"/>
                    <a:pt x="31477" y="25531"/>
                  </a:cubicBezTo>
                  <a:lnTo>
                    <a:pt x="41764" y="19530"/>
                  </a:lnTo>
                  <a:lnTo>
                    <a:pt x="44146" y="18197"/>
                  </a:lnTo>
                  <a:cubicBezTo>
                    <a:pt x="44860" y="17892"/>
                    <a:pt x="45412" y="17311"/>
                    <a:pt x="45669" y="16578"/>
                  </a:cubicBezTo>
                  <a:lnTo>
                    <a:pt x="45669" y="15435"/>
                  </a:lnTo>
                  <a:cubicBezTo>
                    <a:pt x="45384" y="14692"/>
                    <a:pt x="44841" y="14082"/>
                    <a:pt x="44146" y="13720"/>
                  </a:cubicBezTo>
                  <a:lnTo>
                    <a:pt x="21571" y="766"/>
                  </a:lnTo>
                  <a:cubicBezTo>
                    <a:pt x="19152" y="-472"/>
                    <a:pt x="16275" y="-472"/>
                    <a:pt x="13856" y="766"/>
                  </a:cubicBezTo>
                  <a:lnTo>
                    <a:pt x="1283" y="8005"/>
                  </a:lnTo>
                  <a:cubicBezTo>
                    <a:pt x="387" y="8386"/>
                    <a:pt x="-241" y="9224"/>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721" name="iṧ1íḑé">
              <a:extLst>
                <a:ext uri="{FF2B5EF4-FFF2-40B4-BE49-F238E27FC236}">
                  <a16:creationId xmlns:a16="http://schemas.microsoft.com/office/drawing/2014/main" id="{2B4EA32B-C625-4A74-9EB3-91D7A807A7E0}"/>
                </a:ext>
              </a:extLst>
            </p:cNvPr>
            <p:cNvSpPr/>
            <p:nvPr/>
          </p:nvSpPr>
          <p:spPr>
            <a:xfrm>
              <a:off x="6172836" y="5359892"/>
              <a:ext cx="136018" cy="78570"/>
            </a:xfrm>
            <a:custGeom>
              <a:avLst/>
              <a:gdLst>
                <a:gd name="connsiteX0" fmla="*/ 23252 w 44685"/>
                <a:gd name="connsiteY0" fmla="*/ 24793 h 25812"/>
                <a:gd name="connsiteX1" fmla="*/ 1154 w 44685"/>
                <a:gd name="connsiteY1" fmla="*/ 12029 h 25812"/>
                <a:gd name="connsiteX2" fmla="*/ -189 w 44685"/>
                <a:gd name="connsiteY2" fmla="*/ 9096 h 25812"/>
                <a:gd name="connsiteX3" fmla="*/ 1154 w 44685"/>
                <a:gd name="connsiteY3" fmla="*/ 7743 h 25812"/>
                <a:gd name="connsiteX4" fmla="*/ 13250 w 44685"/>
                <a:gd name="connsiteY4" fmla="*/ 695 h 25812"/>
                <a:gd name="connsiteX5" fmla="*/ 20680 w 44685"/>
                <a:gd name="connsiteY5" fmla="*/ 695 h 25812"/>
                <a:gd name="connsiteX6" fmla="*/ 42778 w 44685"/>
                <a:gd name="connsiteY6" fmla="*/ 13458 h 25812"/>
                <a:gd name="connsiteX7" fmla="*/ 42778 w 44685"/>
                <a:gd name="connsiteY7" fmla="*/ 17744 h 25812"/>
                <a:gd name="connsiteX8" fmla="*/ 30681 w 44685"/>
                <a:gd name="connsiteY8" fmla="*/ 24793 h 25812"/>
                <a:gd name="connsiteX9" fmla="*/ 23252 w 44685"/>
                <a:gd name="connsiteY9" fmla="*/ 24793 h 25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4685" h="25812">
                  <a:moveTo>
                    <a:pt x="23252" y="24793"/>
                  </a:moveTo>
                  <a:lnTo>
                    <a:pt x="1154" y="12029"/>
                  </a:lnTo>
                  <a:cubicBezTo>
                    <a:pt x="-27" y="11591"/>
                    <a:pt x="-637" y="10277"/>
                    <a:pt x="-189" y="9096"/>
                  </a:cubicBezTo>
                  <a:cubicBezTo>
                    <a:pt x="39" y="8467"/>
                    <a:pt x="535" y="7972"/>
                    <a:pt x="1154" y="7743"/>
                  </a:cubicBezTo>
                  <a:lnTo>
                    <a:pt x="13250" y="695"/>
                  </a:lnTo>
                  <a:cubicBezTo>
                    <a:pt x="15594" y="-448"/>
                    <a:pt x="18337" y="-448"/>
                    <a:pt x="20680" y="695"/>
                  </a:cubicBezTo>
                  <a:lnTo>
                    <a:pt x="42778" y="13458"/>
                  </a:lnTo>
                  <a:cubicBezTo>
                    <a:pt x="44873" y="14696"/>
                    <a:pt x="44873" y="16601"/>
                    <a:pt x="42778" y="17744"/>
                  </a:cubicBezTo>
                  <a:lnTo>
                    <a:pt x="30681" y="24793"/>
                  </a:lnTo>
                  <a:cubicBezTo>
                    <a:pt x="28338" y="25936"/>
                    <a:pt x="25595" y="25936"/>
                    <a:pt x="23252" y="24793"/>
                  </a:cubicBezTo>
                  <a:close/>
                </a:path>
              </a:pathLst>
            </a:custGeom>
            <a:solidFill>
              <a:srgbClr val="D1D9E8"/>
            </a:solidFill>
            <a:ln w="9525" cap="flat">
              <a:noFill/>
              <a:prstDash val="solid"/>
              <a:miter/>
            </a:ln>
          </p:spPr>
          <p:txBody>
            <a:bodyPr rtlCol="0" anchor="ctr"/>
            <a:lstStyle/>
            <a:p>
              <a:endParaRPr lang="zh-CN" altLang="en-US"/>
            </a:p>
          </p:txBody>
        </p:sp>
        <p:sp>
          <p:nvSpPr>
            <p:cNvPr id="722" name="ïšľíḍe">
              <a:extLst>
                <a:ext uri="{FF2B5EF4-FFF2-40B4-BE49-F238E27FC236}">
                  <a16:creationId xmlns:a16="http://schemas.microsoft.com/office/drawing/2014/main" id="{3C6EFFCF-C920-4B79-9C79-BED7046010F3}"/>
                </a:ext>
              </a:extLst>
            </p:cNvPr>
            <p:cNvSpPr/>
            <p:nvPr/>
          </p:nvSpPr>
          <p:spPr>
            <a:xfrm>
              <a:off x="6170124" y="5390916"/>
              <a:ext cx="140036" cy="71249"/>
            </a:xfrm>
            <a:custGeom>
              <a:avLst/>
              <a:gdLst>
                <a:gd name="connsiteX0" fmla="*/ -336 w 46005"/>
                <a:gd name="connsiteY0" fmla="*/ -163 h 23407"/>
                <a:gd name="connsiteX1" fmla="*/ -336 w 46005"/>
                <a:gd name="connsiteY1" fmla="*/ 7076 h 23407"/>
                <a:gd name="connsiteX2" fmla="*/ 1283 w 46005"/>
                <a:gd name="connsiteY2" fmla="*/ 9267 h 23407"/>
                <a:gd name="connsiteX3" fmla="*/ 23762 w 46005"/>
                <a:gd name="connsiteY3" fmla="*/ 22316 h 23407"/>
                <a:gd name="connsiteX4" fmla="*/ 31477 w 46005"/>
                <a:gd name="connsiteY4" fmla="*/ 22316 h 23407"/>
                <a:gd name="connsiteX5" fmla="*/ 44146 w 46005"/>
                <a:gd name="connsiteY5" fmla="*/ 14982 h 23407"/>
                <a:gd name="connsiteX6" fmla="*/ 45669 w 46005"/>
                <a:gd name="connsiteY6" fmla="*/ 13363 h 23407"/>
                <a:gd name="connsiteX7" fmla="*/ 45669 w 46005"/>
                <a:gd name="connsiteY7" fmla="*/ 6219 h 23407"/>
                <a:gd name="connsiteX8" fmla="*/ 44146 w 46005"/>
                <a:gd name="connsiteY8" fmla="*/ 7838 h 23407"/>
                <a:gd name="connsiteX9" fmla="*/ 41764 w 46005"/>
                <a:gd name="connsiteY9" fmla="*/ 9172 h 23407"/>
                <a:gd name="connsiteX10" fmla="*/ 31477 w 46005"/>
                <a:gd name="connsiteY10" fmla="*/ 15172 h 23407"/>
                <a:gd name="connsiteX11" fmla="*/ 23762 w 46005"/>
                <a:gd name="connsiteY11" fmla="*/ 15172 h 23407"/>
                <a:gd name="connsiteX12" fmla="*/ 3569 w 46005"/>
                <a:gd name="connsiteY12" fmla="*/ 3457 h 23407"/>
                <a:gd name="connsiteX13" fmla="*/ 1283 w 46005"/>
                <a:gd name="connsiteY13" fmla="*/ 2123 h 23407"/>
                <a:gd name="connsiteX14" fmla="*/ -336 w 46005"/>
                <a:gd name="connsiteY14" fmla="*/ -163 h 234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6005" h="23407">
                  <a:moveTo>
                    <a:pt x="-336" y="-163"/>
                  </a:moveTo>
                  <a:lnTo>
                    <a:pt x="-336" y="7076"/>
                  </a:lnTo>
                  <a:cubicBezTo>
                    <a:pt x="-260" y="8057"/>
                    <a:pt x="369" y="8905"/>
                    <a:pt x="1283" y="9267"/>
                  </a:cubicBezTo>
                  <a:lnTo>
                    <a:pt x="23762" y="22316"/>
                  </a:lnTo>
                  <a:cubicBezTo>
                    <a:pt x="26181" y="23555"/>
                    <a:pt x="29058" y="23555"/>
                    <a:pt x="31477" y="22316"/>
                  </a:cubicBezTo>
                  <a:lnTo>
                    <a:pt x="44146" y="14982"/>
                  </a:lnTo>
                  <a:cubicBezTo>
                    <a:pt x="44822" y="14629"/>
                    <a:pt x="45355" y="14058"/>
                    <a:pt x="45669" y="13363"/>
                  </a:cubicBezTo>
                  <a:lnTo>
                    <a:pt x="45669" y="6219"/>
                  </a:lnTo>
                  <a:cubicBezTo>
                    <a:pt x="45412" y="6952"/>
                    <a:pt x="44860" y="7533"/>
                    <a:pt x="44146" y="7838"/>
                  </a:cubicBezTo>
                  <a:lnTo>
                    <a:pt x="41764" y="9172"/>
                  </a:lnTo>
                  <a:lnTo>
                    <a:pt x="31477" y="15172"/>
                  </a:lnTo>
                  <a:cubicBezTo>
                    <a:pt x="29020" y="16258"/>
                    <a:pt x="26219" y="16258"/>
                    <a:pt x="23762" y="15172"/>
                  </a:cubicBezTo>
                  <a:lnTo>
                    <a:pt x="3569" y="3457"/>
                  </a:lnTo>
                  <a:lnTo>
                    <a:pt x="1283" y="2123"/>
                  </a:lnTo>
                  <a:cubicBezTo>
                    <a:pt x="359" y="1733"/>
                    <a:pt x="-270" y="847"/>
                    <a:pt x="-336" y="-163"/>
                  </a:cubicBezTo>
                  <a:close/>
                </a:path>
              </a:pathLst>
            </a:custGeom>
            <a:solidFill>
              <a:srgbClr val="BF4200"/>
            </a:solidFill>
            <a:ln w="9525" cap="flat">
              <a:noFill/>
              <a:prstDash val="solid"/>
              <a:miter/>
            </a:ln>
          </p:spPr>
          <p:txBody>
            <a:bodyPr rtlCol="0" anchor="ctr"/>
            <a:lstStyle/>
            <a:p>
              <a:endParaRPr lang="zh-CN" altLang="en-US"/>
            </a:p>
          </p:txBody>
        </p:sp>
        <p:sp>
          <p:nvSpPr>
            <p:cNvPr id="723" name="îṩļïďè">
              <a:extLst>
                <a:ext uri="{FF2B5EF4-FFF2-40B4-BE49-F238E27FC236}">
                  <a16:creationId xmlns:a16="http://schemas.microsoft.com/office/drawing/2014/main" id="{BFD1DF04-B970-4585-B02D-9EE43FC8FBFC}"/>
                </a:ext>
              </a:extLst>
            </p:cNvPr>
            <p:cNvSpPr/>
            <p:nvPr/>
          </p:nvSpPr>
          <p:spPr>
            <a:xfrm>
              <a:off x="4999080" y="4774588"/>
              <a:ext cx="140036" cy="81035"/>
            </a:xfrm>
            <a:custGeom>
              <a:avLst/>
              <a:gdLst>
                <a:gd name="connsiteX0" fmla="*/ -336 w 46005"/>
                <a:gd name="connsiteY0" fmla="*/ 10291 h 26622"/>
                <a:gd name="connsiteX1" fmla="*/ 1283 w 46005"/>
                <a:gd name="connsiteY1" fmla="*/ 12577 h 26622"/>
                <a:gd name="connsiteX2" fmla="*/ 3569 w 46005"/>
                <a:gd name="connsiteY2" fmla="*/ 13911 h 26622"/>
                <a:gd name="connsiteX3" fmla="*/ 23762 w 46005"/>
                <a:gd name="connsiteY3" fmla="*/ 25531 h 26622"/>
                <a:gd name="connsiteX4" fmla="*/ 31572 w 46005"/>
                <a:gd name="connsiteY4" fmla="*/ 25531 h 26622"/>
                <a:gd name="connsiteX5" fmla="*/ 41764 w 46005"/>
                <a:gd name="connsiteY5" fmla="*/ 19625 h 26622"/>
                <a:gd name="connsiteX6" fmla="*/ 44146 w 46005"/>
                <a:gd name="connsiteY6" fmla="*/ 18292 h 26622"/>
                <a:gd name="connsiteX7" fmla="*/ 45670 w 46005"/>
                <a:gd name="connsiteY7" fmla="*/ 16578 h 26622"/>
                <a:gd name="connsiteX8" fmla="*/ 45670 w 46005"/>
                <a:gd name="connsiteY8" fmla="*/ 15530 h 26622"/>
                <a:gd name="connsiteX9" fmla="*/ 44146 w 46005"/>
                <a:gd name="connsiteY9" fmla="*/ 13815 h 26622"/>
                <a:gd name="connsiteX10" fmla="*/ 21571 w 46005"/>
                <a:gd name="connsiteY10" fmla="*/ 766 h 26622"/>
                <a:gd name="connsiteX11" fmla="*/ 13856 w 46005"/>
                <a:gd name="connsiteY11" fmla="*/ 766 h 26622"/>
                <a:gd name="connsiteX12" fmla="*/ 1283 w 46005"/>
                <a:gd name="connsiteY12" fmla="*/ 8100 h 26622"/>
                <a:gd name="connsiteX13" fmla="*/ -336 w 46005"/>
                <a:gd name="connsiteY13" fmla="*/ 10291 h 26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005" h="26622">
                  <a:moveTo>
                    <a:pt x="-336" y="10291"/>
                  </a:moveTo>
                  <a:cubicBezTo>
                    <a:pt x="-231" y="11282"/>
                    <a:pt x="378" y="12148"/>
                    <a:pt x="1283" y="12577"/>
                  </a:cubicBezTo>
                  <a:lnTo>
                    <a:pt x="3569" y="13911"/>
                  </a:lnTo>
                  <a:lnTo>
                    <a:pt x="23762" y="25531"/>
                  </a:lnTo>
                  <a:cubicBezTo>
                    <a:pt x="26220" y="26769"/>
                    <a:pt x="29115" y="26769"/>
                    <a:pt x="31572" y="25531"/>
                  </a:cubicBezTo>
                  <a:lnTo>
                    <a:pt x="41764" y="19625"/>
                  </a:lnTo>
                  <a:lnTo>
                    <a:pt x="44146" y="18292"/>
                  </a:lnTo>
                  <a:cubicBezTo>
                    <a:pt x="44850" y="17930"/>
                    <a:pt x="45384" y="17321"/>
                    <a:pt x="45670" y="16578"/>
                  </a:cubicBezTo>
                  <a:lnTo>
                    <a:pt x="45670" y="15530"/>
                  </a:lnTo>
                  <a:cubicBezTo>
                    <a:pt x="45384" y="14787"/>
                    <a:pt x="44850" y="14177"/>
                    <a:pt x="44146" y="13815"/>
                  </a:cubicBezTo>
                  <a:lnTo>
                    <a:pt x="21571" y="766"/>
                  </a:lnTo>
                  <a:cubicBezTo>
                    <a:pt x="19152" y="-472"/>
                    <a:pt x="16275" y="-472"/>
                    <a:pt x="13856" y="766"/>
                  </a:cubicBezTo>
                  <a:lnTo>
                    <a:pt x="1283" y="8100"/>
                  </a:lnTo>
                  <a:cubicBezTo>
                    <a:pt x="397" y="8491"/>
                    <a:pt x="-222"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724" name="í$líḓè">
              <a:extLst>
                <a:ext uri="{FF2B5EF4-FFF2-40B4-BE49-F238E27FC236}">
                  <a16:creationId xmlns:a16="http://schemas.microsoft.com/office/drawing/2014/main" id="{42BB5702-613B-4259-BD74-D0CA2FFDF602}"/>
                </a:ext>
              </a:extLst>
            </p:cNvPr>
            <p:cNvSpPr/>
            <p:nvPr/>
          </p:nvSpPr>
          <p:spPr>
            <a:xfrm>
              <a:off x="5001183" y="4775747"/>
              <a:ext cx="136121" cy="78716"/>
            </a:xfrm>
            <a:custGeom>
              <a:avLst/>
              <a:gdLst>
                <a:gd name="connsiteX0" fmla="*/ 23262 w 44719"/>
                <a:gd name="connsiteY0" fmla="*/ 24769 h 25860"/>
                <a:gd name="connsiteX1" fmla="*/ 1164 w 44719"/>
                <a:gd name="connsiteY1" fmla="*/ 12006 h 25860"/>
                <a:gd name="connsiteX2" fmla="*/ 1164 w 44719"/>
                <a:gd name="connsiteY2" fmla="*/ 7719 h 25860"/>
                <a:gd name="connsiteX3" fmla="*/ 13356 w 44719"/>
                <a:gd name="connsiteY3" fmla="*/ 766 h 25860"/>
                <a:gd name="connsiteX4" fmla="*/ 20785 w 44719"/>
                <a:gd name="connsiteY4" fmla="*/ 766 h 25860"/>
                <a:gd name="connsiteX5" fmla="*/ 42883 w 44719"/>
                <a:gd name="connsiteY5" fmla="*/ 13530 h 25860"/>
                <a:gd name="connsiteX6" fmla="*/ 42883 w 44719"/>
                <a:gd name="connsiteY6" fmla="*/ 17816 h 25860"/>
                <a:gd name="connsiteX7" fmla="*/ 30691 w 44719"/>
                <a:gd name="connsiteY7" fmla="*/ 24769 h 25860"/>
                <a:gd name="connsiteX8" fmla="*/ 23262 w 44719"/>
                <a:gd name="connsiteY8" fmla="*/ 24769 h 25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719" h="25860">
                  <a:moveTo>
                    <a:pt x="23262" y="24769"/>
                  </a:moveTo>
                  <a:lnTo>
                    <a:pt x="1164" y="12006"/>
                  </a:lnTo>
                  <a:cubicBezTo>
                    <a:pt x="-836" y="10863"/>
                    <a:pt x="-836" y="8958"/>
                    <a:pt x="1164" y="7719"/>
                  </a:cubicBezTo>
                  <a:lnTo>
                    <a:pt x="13356" y="766"/>
                  </a:lnTo>
                  <a:cubicBezTo>
                    <a:pt x="15680" y="-472"/>
                    <a:pt x="18461" y="-472"/>
                    <a:pt x="20785" y="766"/>
                  </a:cubicBezTo>
                  <a:lnTo>
                    <a:pt x="42883" y="13530"/>
                  </a:lnTo>
                  <a:cubicBezTo>
                    <a:pt x="44884" y="14673"/>
                    <a:pt x="44884" y="16577"/>
                    <a:pt x="42883" y="17816"/>
                  </a:cubicBezTo>
                  <a:lnTo>
                    <a:pt x="30691" y="24769"/>
                  </a:lnTo>
                  <a:cubicBezTo>
                    <a:pt x="28367" y="26007"/>
                    <a:pt x="25586" y="26007"/>
                    <a:pt x="23262" y="24769"/>
                  </a:cubicBezTo>
                  <a:close/>
                </a:path>
              </a:pathLst>
            </a:custGeom>
            <a:solidFill>
              <a:srgbClr val="D1D9E8"/>
            </a:solidFill>
            <a:ln w="9525" cap="flat">
              <a:noFill/>
              <a:prstDash val="solid"/>
              <a:miter/>
            </a:ln>
          </p:spPr>
          <p:txBody>
            <a:bodyPr rtlCol="0" anchor="ctr"/>
            <a:lstStyle/>
            <a:p>
              <a:endParaRPr lang="zh-CN" altLang="en-US"/>
            </a:p>
          </p:txBody>
        </p:sp>
        <p:sp>
          <p:nvSpPr>
            <p:cNvPr id="725" name="íṥḷïḑè">
              <a:extLst>
                <a:ext uri="{FF2B5EF4-FFF2-40B4-BE49-F238E27FC236}">
                  <a16:creationId xmlns:a16="http://schemas.microsoft.com/office/drawing/2014/main" id="{F932B142-4D32-465F-8D6B-35AEC0A91430}"/>
                </a:ext>
              </a:extLst>
            </p:cNvPr>
            <p:cNvSpPr/>
            <p:nvPr/>
          </p:nvSpPr>
          <p:spPr>
            <a:xfrm>
              <a:off x="4999080" y="4806409"/>
              <a:ext cx="140036" cy="69806"/>
            </a:xfrm>
            <a:custGeom>
              <a:avLst/>
              <a:gdLst>
                <a:gd name="connsiteX0" fmla="*/ -336 w 46005"/>
                <a:gd name="connsiteY0" fmla="*/ -163 h 22933"/>
                <a:gd name="connsiteX1" fmla="*/ -336 w 46005"/>
                <a:gd name="connsiteY1" fmla="*/ 6600 h 22933"/>
                <a:gd name="connsiteX2" fmla="*/ 1283 w 46005"/>
                <a:gd name="connsiteY2" fmla="*/ 8886 h 22933"/>
                <a:gd name="connsiteX3" fmla="*/ 23762 w 46005"/>
                <a:gd name="connsiteY3" fmla="*/ 21935 h 22933"/>
                <a:gd name="connsiteX4" fmla="*/ 31572 w 46005"/>
                <a:gd name="connsiteY4" fmla="*/ 21935 h 22933"/>
                <a:gd name="connsiteX5" fmla="*/ 44146 w 46005"/>
                <a:gd name="connsiteY5" fmla="*/ 14601 h 22933"/>
                <a:gd name="connsiteX6" fmla="*/ 45670 w 46005"/>
                <a:gd name="connsiteY6" fmla="*/ 12982 h 22933"/>
                <a:gd name="connsiteX7" fmla="*/ 45670 w 46005"/>
                <a:gd name="connsiteY7" fmla="*/ 6600 h 22933"/>
                <a:gd name="connsiteX8" fmla="*/ 44146 w 46005"/>
                <a:gd name="connsiteY8" fmla="*/ 8314 h 22933"/>
                <a:gd name="connsiteX9" fmla="*/ 41764 w 46005"/>
                <a:gd name="connsiteY9" fmla="*/ 9648 h 22933"/>
                <a:gd name="connsiteX10" fmla="*/ 31572 w 46005"/>
                <a:gd name="connsiteY10" fmla="*/ 15554 h 22933"/>
                <a:gd name="connsiteX11" fmla="*/ 23762 w 46005"/>
                <a:gd name="connsiteY11" fmla="*/ 15554 h 22933"/>
                <a:gd name="connsiteX12" fmla="*/ 3379 w 46005"/>
                <a:gd name="connsiteY12" fmla="*/ 3457 h 22933"/>
                <a:gd name="connsiteX13" fmla="*/ 1093 w 46005"/>
                <a:gd name="connsiteY13" fmla="*/ 2123 h 22933"/>
                <a:gd name="connsiteX14" fmla="*/ -336 w 46005"/>
                <a:gd name="connsiteY14" fmla="*/ -163 h 229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6005" h="22933">
                  <a:moveTo>
                    <a:pt x="-336" y="-163"/>
                  </a:moveTo>
                  <a:lnTo>
                    <a:pt x="-336" y="6600"/>
                  </a:lnTo>
                  <a:cubicBezTo>
                    <a:pt x="-213" y="7581"/>
                    <a:pt x="397" y="8448"/>
                    <a:pt x="1283" y="8886"/>
                  </a:cubicBezTo>
                  <a:lnTo>
                    <a:pt x="23762" y="21935"/>
                  </a:lnTo>
                  <a:cubicBezTo>
                    <a:pt x="26248" y="23050"/>
                    <a:pt x="29087" y="23050"/>
                    <a:pt x="31572" y="21935"/>
                  </a:cubicBezTo>
                  <a:lnTo>
                    <a:pt x="44146" y="14601"/>
                  </a:lnTo>
                  <a:cubicBezTo>
                    <a:pt x="44822" y="14249"/>
                    <a:pt x="45355" y="13677"/>
                    <a:pt x="45670" y="12982"/>
                  </a:cubicBezTo>
                  <a:lnTo>
                    <a:pt x="45670" y="6600"/>
                  </a:lnTo>
                  <a:cubicBezTo>
                    <a:pt x="45384" y="7343"/>
                    <a:pt x="44850" y="7953"/>
                    <a:pt x="44146" y="8314"/>
                  </a:cubicBezTo>
                  <a:lnTo>
                    <a:pt x="41764" y="9648"/>
                  </a:lnTo>
                  <a:lnTo>
                    <a:pt x="31572" y="15554"/>
                  </a:lnTo>
                  <a:cubicBezTo>
                    <a:pt x="29115" y="16792"/>
                    <a:pt x="26220" y="16792"/>
                    <a:pt x="23762" y="15554"/>
                  </a:cubicBezTo>
                  <a:lnTo>
                    <a:pt x="3379" y="3457"/>
                  </a:lnTo>
                  <a:lnTo>
                    <a:pt x="1093" y="2123"/>
                  </a:lnTo>
                  <a:cubicBezTo>
                    <a:pt x="264" y="1647"/>
                    <a:pt x="-269" y="790"/>
                    <a:pt x="-336" y="-163"/>
                  </a:cubicBezTo>
                  <a:close/>
                </a:path>
              </a:pathLst>
            </a:custGeom>
            <a:solidFill>
              <a:srgbClr val="BF4200"/>
            </a:solidFill>
            <a:ln w="9525" cap="flat">
              <a:noFill/>
              <a:prstDash val="solid"/>
              <a:miter/>
            </a:ln>
          </p:spPr>
          <p:txBody>
            <a:bodyPr rtlCol="0" anchor="ctr"/>
            <a:lstStyle/>
            <a:p>
              <a:endParaRPr lang="zh-CN" altLang="en-US"/>
            </a:p>
          </p:txBody>
        </p:sp>
        <p:sp>
          <p:nvSpPr>
            <p:cNvPr id="726" name="îšļîde">
              <a:extLst>
                <a:ext uri="{FF2B5EF4-FFF2-40B4-BE49-F238E27FC236}">
                  <a16:creationId xmlns:a16="http://schemas.microsoft.com/office/drawing/2014/main" id="{E682B62B-E71D-4ED0-85D1-5DB3ECBA7565}"/>
                </a:ext>
              </a:extLst>
            </p:cNvPr>
            <p:cNvSpPr/>
            <p:nvPr/>
          </p:nvSpPr>
          <p:spPr>
            <a:xfrm>
              <a:off x="5107806" y="4836635"/>
              <a:ext cx="109594" cy="63639"/>
            </a:xfrm>
            <a:custGeom>
              <a:avLst/>
              <a:gdLst>
                <a:gd name="connsiteX0" fmla="*/ -336 w 36004"/>
                <a:gd name="connsiteY0" fmla="*/ 10291 h 20907"/>
                <a:gd name="connsiteX1" fmla="*/ 1188 w 36004"/>
                <a:gd name="connsiteY1" fmla="*/ 12577 h 20907"/>
                <a:gd name="connsiteX2" fmla="*/ 3569 w 36004"/>
                <a:gd name="connsiteY2" fmla="*/ 13911 h 20907"/>
                <a:gd name="connsiteX3" fmla="*/ 13856 w 36004"/>
                <a:gd name="connsiteY3" fmla="*/ 19816 h 20907"/>
                <a:gd name="connsiteX4" fmla="*/ 21476 w 36004"/>
                <a:gd name="connsiteY4" fmla="*/ 19816 h 20907"/>
                <a:gd name="connsiteX5" fmla="*/ 31763 w 36004"/>
                <a:gd name="connsiteY5" fmla="*/ 13911 h 20907"/>
                <a:gd name="connsiteX6" fmla="*/ 34144 w 36004"/>
                <a:gd name="connsiteY6" fmla="*/ 12577 h 20907"/>
                <a:gd name="connsiteX7" fmla="*/ 35668 w 36004"/>
                <a:gd name="connsiteY7" fmla="*/ 10291 h 20907"/>
                <a:gd name="connsiteX8" fmla="*/ 34144 w 36004"/>
                <a:gd name="connsiteY8" fmla="*/ 8101 h 20907"/>
                <a:gd name="connsiteX9" fmla="*/ 21476 w 36004"/>
                <a:gd name="connsiteY9" fmla="*/ 766 h 20907"/>
                <a:gd name="connsiteX10" fmla="*/ 13856 w 36004"/>
                <a:gd name="connsiteY10" fmla="*/ 766 h 20907"/>
                <a:gd name="connsiteX11" fmla="*/ 1188 w 36004"/>
                <a:gd name="connsiteY11" fmla="*/ 8101 h 20907"/>
                <a:gd name="connsiteX12" fmla="*/ -336 w 36004"/>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907">
                  <a:moveTo>
                    <a:pt x="-336" y="10291"/>
                  </a:moveTo>
                  <a:cubicBezTo>
                    <a:pt x="-269" y="11272"/>
                    <a:pt x="312" y="12139"/>
                    <a:pt x="1188" y="12577"/>
                  </a:cubicBezTo>
                  <a:lnTo>
                    <a:pt x="3569" y="13911"/>
                  </a:lnTo>
                  <a:lnTo>
                    <a:pt x="13856" y="19816"/>
                  </a:lnTo>
                  <a:cubicBezTo>
                    <a:pt x="16247" y="21054"/>
                    <a:pt x="19085" y="21054"/>
                    <a:pt x="21476" y="19816"/>
                  </a:cubicBezTo>
                  <a:lnTo>
                    <a:pt x="31763" y="13911"/>
                  </a:lnTo>
                  <a:lnTo>
                    <a:pt x="34144" y="12577"/>
                  </a:lnTo>
                  <a:cubicBezTo>
                    <a:pt x="35021" y="12139"/>
                    <a:pt x="35602" y="11272"/>
                    <a:pt x="35668" y="10291"/>
                  </a:cubicBezTo>
                  <a:cubicBezTo>
                    <a:pt x="35611" y="9339"/>
                    <a:pt x="35021" y="8491"/>
                    <a:pt x="34144" y="8101"/>
                  </a:cubicBezTo>
                  <a:lnTo>
                    <a:pt x="21476" y="766"/>
                  </a:lnTo>
                  <a:cubicBezTo>
                    <a:pt x="19085" y="-472"/>
                    <a:pt x="16247" y="-472"/>
                    <a:pt x="13856" y="766"/>
                  </a:cubicBezTo>
                  <a:lnTo>
                    <a:pt x="1188" y="8101"/>
                  </a:lnTo>
                  <a:cubicBezTo>
                    <a:pt x="312" y="8491"/>
                    <a:pt x="-279"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727" name="iŝḻíḓé">
              <a:extLst>
                <a:ext uri="{FF2B5EF4-FFF2-40B4-BE49-F238E27FC236}">
                  <a16:creationId xmlns:a16="http://schemas.microsoft.com/office/drawing/2014/main" id="{00958AEB-AB5F-43DE-AA7E-849008BF07A8}"/>
                </a:ext>
              </a:extLst>
            </p:cNvPr>
            <p:cNvSpPr/>
            <p:nvPr/>
          </p:nvSpPr>
          <p:spPr>
            <a:xfrm>
              <a:off x="5109690" y="4837795"/>
              <a:ext cx="105898" cy="61104"/>
            </a:xfrm>
            <a:custGeom>
              <a:avLst/>
              <a:gdLst>
                <a:gd name="connsiteX0" fmla="*/ 1235 w 34790"/>
                <a:gd name="connsiteY0" fmla="*/ 12006 h 20074"/>
                <a:gd name="connsiteX1" fmla="*/ 13332 w 34790"/>
                <a:gd name="connsiteY1" fmla="*/ 19054 h 20074"/>
                <a:gd name="connsiteX2" fmla="*/ 20762 w 34790"/>
                <a:gd name="connsiteY2" fmla="*/ 19054 h 20074"/>
                <a:gd name="connsiteX3" fmla="*/ 32954 w 34790"/>
                <a:gd name="connsiteY3" fmla="*/ 12006 h 20074"/>
                <a:gd name="connsiteX4" fmla="*/ 32954 w 34790"/>
                <a:gd name="connsiteY4" fmla="*/ 7719 h 20074"/>
                <a:gd name="connsiteX5" fmla="*/ 20762 w 34790"/>
                <a:gd name="connsiteY5" fmla="*/ 766 h 20074"/>
                <a:gd name="connsiteX6" fmla="*/ 13332 w 34790"/>
                <a:gd name="connsiteY6" fmla="*/ 766 h 20074"/>
                <a:gd name="connsiteX7" fmla="*/ 1235 w 34790"/>
                <a:gd name="connsiteY7" fmla="*/ 7719 h 20074"/>
                <a:gd name="connsiteX8" fmla="*/ 1235 w 34790"/>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4">
                  <a:moveTo>
                    <a:pt x="1235" y="12006"/>
                  </a:moveTo>
                  <a:lnTo>
                    <a:pt x="13332" y="19054"/>
                  </a:lnTo>
                  <a:cubicBezTo>
                    <a:pt x="15675" y="20197"/>
                    <a:pt x="18419" y="20197"/>
                    <a:pt x="20762" y="19054"/>
                  </a:cubicBezTo>
                  <a:lnTo>
                    <a:pt x="32954" y="12006"/>
                  </a:lnTo>
                  <a:cubicBezTo>
                    <a:pt x="34954" y="10863"/>
                    <a:pt x="34954" y="8957"/>
                    <a:pt x="32954" y="7719"/>
                  </a:cubicBezTo>
                  <a:lnTo>
                    <a:pt x="20762" y="766"/>
                  </a:lnTo>
                  <a:cubicBezTo>
                    <a:pt x="18437" y="-472"/>
                    <a:pt x="15656" y="-472"/>
                    <a:pt x="13332" y="766"/>
                  </a:cubicBezTo>
                  <a:lnTo>
                    <a:pt x="1235" y="7719"/>
                  </a:lnTo>
                  <a:cubicBezTo>
                    <a:pt x="-860" y="8957"/>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728" name="îṡľíḓe">
              <a:extLst>
                <a:ext uri="{FF2B5EF4-FFF2-40B4-BE49-F238E27FC236}">
                  <a16:creationId xmlns:a16="http://schemas.microsoft.com/office/drawing/2014/main" id="{CE218FC2-88ED-4F75-A550-5B1D498B5BC5}"/>
                </a:ext>
              </a:extLst>
            </p:cNvPr>
            <p:cNvSpPr/>
            <p:nvPr/>
          </p:nvSpPr>
          <p:spPr>
            <a:xfrm>
              <a:off x="5107806" y="4868453"/>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4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4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3" y="7953"/>
                    <a:pt x="35668" y="6981"/>
                  </a:cubicBezTo>
                  <a:lnTo>
                    <a:pt x="35668" y="-163"/>
                  </a:lnTo>
                  <a:cubicBezTo>
                    <a:pt x="35602" y="818"/>
                    <a:pt x="35021" y="1685"/>
                    <a:pt x="34144" y="2124"/>
                  </a:cubicBezTo>
                  <a:lnTo>
                    <a:pt x="31763" y="3457"/>
                  </a:lnTo>
                  <a:lnTo>
                    <a:pt x="21476" y="9362"/>
                  </a:lnTo>
                  <a:cubicBezTo>
                    <a:pt x="19085" y="10601"/>
                    <a:pt x="16247" y="10601"/>
                    <a:pt x="13856" y="9362"/>
                  </a:cubicBezTo>
                  <a:lnTo>
                    <a:pt x="3569" y="3457"/>
                  </a:lnTo>
                  <a:lnTo>
                    <a:pt x="1188" y="2124"/>
                  </a:lnTo>
                  <a:cubicBezTo>
                    <a:pt x="312"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29" name="ïšḷiḍé">
              <a:extLst>
                <a:ext uri="{FF2B5EF4-FFF2-40B4-BE49-F238E27FC236}">
                  <a16:creationId xmlns:a16="http://schemas.microsoft.com/office/drawing/2014/main" id="{45ECB459-51E0-4AFE-85A9-1DFDD17DDBC3}"/>
                </a:ext>
              </a:extLst>
            </p:cNvPr>
            <p:cNvSpPr/>
            <p:nvPr/>
          </p:nvSpPr>
          <p:spPr>
            <a:xfrm>
              <a:off x="5184348" y="4882154"/>
              <a:ext cx="109594" cy="63639"/>
            </a:xfrm>
            <a:custGeom>
              <a:avLst/>
              <a:gdLst>
                <a:gd name="connsiteX0" fmla="*/ -336 w 36004"/>
                <a:gd name="connsiteY0" fmla="*/ 10291 h 20907"/>
                <a:gd name="connsiteX1" fmla="*/ 1188 w 36004"/>
                <a:gd name="connsiteY1" fmla="*/ 12577 h 20907"/>
                <a:gd name="connsiteX2" fmla="*/ 3569 w 36004"/>
                <a:gd name="connsiteY2" fmla="*/ 13911 h 20907"/>
                <a:gd name="connsiteX3" fmla="*/ 13856 w 36004"/>
                <a:gd name="connsiteY3" fmla="*/ 19816 h 20907"/>
                <a:gd name="connsiteX4" fmla="*/ 21476 w 36004"/>
                <a:gd name="connsiteY4" fmla="*/ 19816 h 20907"/>
                <a:gd name="connsiteX5" fmla="*/ 31763 w 36004"/>
                <a:gd name="connsiteY5" fmla="*/ 13911 h 20907"/>
                <a:gd name="connsiteX6" fmla="*/ 34049 w 36004"/>
                <a:gd name="connsiteY6" fmla="*/ 12577 h 20907"/>
                <a:gd name="connsiteX7" fmla="*/ 35668 w 36004"/>
                <a:gd name="connsiteY7" fmla="*/ 10291 h 20907"/>
                <a:gd name="connsiteX8" fmla="*/ 34049 w 36004"/>
                <a:gd name="connsiteY8" fmla="*/ 8100 h 20907"/>
                <a:gd name="connsiteX9" fmla="*/ 21476 w 36004"/>
                <a:gd name="connsiteY9" fmla="*/ 766 h 20907"/>
                <a:gd name="connsiteX10" fmla="*/ 13856 w 36004"/>
                <a:gd name="connsiteY10" fmla="*/ 766 h 20907"/>
                <a:gd name="connsiteX11" fmla="*/ 1188 w 36004"/>
                <a:gd name="connsiteY11" fmla="*/ 8100 h 20907"/>
                <a:gd name="connsiteX12" fmla="*/ -336 w 36004"/>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907">
                  <a:moveTo>
                    <a:pt x="-336" y="10291"/>
                  </a:moveTo>
                  <a:cubicBezTo>
                    <a:pt x="-270" y="11272"/>
                    <a:pt x="311" y="12139"/>
                    <a:pt x="1188" y="12577"/>
                  </a:cubicBezTo>
                  <a:lnTo>
                    <a:pt x="3569" y="13911"/>
                  </a:lnTo>
                  <a:lnTo>
                    <a:pt x="13856" y="19816"/>
                  </a:lnTo>
                  <a:cubicBezTo>
                    <a:pt x="16247" y="21054"/>
                    <a:pt x="19085" y="21054"/>
                    <a:pt x="21476" y="19816"/>
                  </a:cubicBezTo>
                  <a:lnTo>
                    <a:pt x="31763" y="13911"/>
                  </a:lnTo>
                  <a:lnTo>
                    <a:pt x="34049" y="12577"/>
                  </a:lnTo>
                  <a:cubicBezTo>
                    <a:pt x="34973" y="12187"/>
                    <a:pt x="35602" y="11301"/>
                    <a:pt x="35668" y="10291"/>
                  </a:cubicBezTo>
                  <a:cubicBezTo>
                    <a:pt x="35592" y="9310"/>
                    <a:pt x="34963" y="8462"/>
                    <a:pt x="34049" y="8100"/>
                  </a:cubicBezTo>
                  <a:lnTo>
                    <a:pt x="21476" y="766"/>
                  </a:lnTo>
                  <a:cubicBezTo>
                    <a:pt x="19085" y="-472"/>
                    <a:pt x="16247" y="-472"/>
                    <a:pt x="13856" y="766"/>
                  </a:cubicBezTo>
                  <a:lnTo>
                    <a:pt x="1188" y="8100"/>
                  </a:lnTo>
                  <a:cubicBezTo>
                    <a:pt x="311" y="8491"/>
                    <a:pt x="-279"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730" name="ïš1îde">
              <a:extLst>
                <a:ext uri="{FF2B5EF4-FFF2-40B4-BE49-F238E27FC236}">
                  <a16:creationId xmlns:a16="http://schemas.microsoft.com/office/drawing/2014/main" id="{7ACA539A-A8E4-4295-973C-02E72437392C}"/>
                </a:ext>
              </a:extLst>
            </p:cNvPr>
            <p:cNvSpPr/>
            <p:nvPr/>
          </p:nvSpPr>
          <p:spPr>
            <a:xfrm>
              <a:off x="5186163" y="4882443"/>
              <a:ext cx="106766" cy="61101"/>
            </a:xfrm>
            <a:custGeom>
              <a:avLst/>
              <a:gdLst>
                <a:gd name="connsiteX0" fmla="*/ 1450 w 35075"/>
                <a:gd name="connsiteY0" fmla="*/ 12006 h 20073"/>
                <a:gd name="connsiteX1" fmla="*/ 13642 w 35075"/>
                <a:gd name="connsiteY1" fmla="*/ 19054 h 20073"/>
                <a:gd name="connsiteX2" fmla="*/ 21071 w 35075"/>
                <a:gd name="connsiteY2" fmla="*/ 19054 h 20073"/>
                <a:gd name="connsiteX3" fmla="*/ 33168 w 35075"/>
                <a:gd name="connsiteY3" fmla="*/ 12006 h 20073"/>
                <a:gd name="connsiteX4" fmla="*/ 33168 w 35075"/>
                <a:gd name="connsiteY4" fmla="*/ 7719 h 20073"/>
                <a:gd name="connsiteX5" fmla="*/ 21071 w 35075"/>
                <a:gd name="connsiteY5" fmla="*/ 766 h 20073"/>
                <a:gd name="connsiteX6" fmla="*/ 13642 w 35075"/>
                <a:gd name="connsiteY6" fmla="*/ 766 h 20073"/>
                <a:gd name="connsiteX7" fmla="*/ 1450 w 35075"/>
                <a:gd name="connsiteY7" fmla="*/ 7719 h 20073"/>
                <a:gd name="connsiteX8" fmla="*/ 1450 w 35075"/>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075" h="20073">
                  <a:moveTo>
                    <a:pt x="1450" y="12006"/>
                  </a:moveTo>
                  <a:lnTo>
                    <a:pt x="13642" y="19054"/>
                  </a:lnTo>
                  <a:cubicBezTo>
                    <a:pt x="15985" y="20197"/>
                    <a:pt x="18728" y="20197"/>
                    <a:pt x="21071" y="19054"/>
                  </a:cubicBezTo>
                  <a:lnTo>
                    <a:pt x="33168" y="12006"/>
                  </a:lnTo>
                  <a:cubicBezTo>
                    <a:pt x="35263" y="10863"/>
                    <a:pt x="35263" y="8957"/>
                    <a:pt x="33168" y="7719"/>
                  </a:cubicBezTo>
                  <a:lnTo>
                    <a:pt x="21071" y="766"/>
                  </a:lnTo>
                  <a:cubicBezTo>
                    <a:pt x="18747" y="-472"/>
                    <a:pt x="15966" y="-472"/>
                    <a:pt x="13642" y="766"/>
                  </a:cubicBezTo>
                  <a:lnTo>
                    <a:pt x="1450" y="7719"/>
                  </a:lnTo>
                  <a:cubicBezTo>
                    <a:pt x="-932" y="8957"/>
                    <a:pt x="-932" y="10863"/>
                    <a:pt x="1450" y="12006"/>
                  </a:cubicBezTo>
                  <a:close/>
                </a:path>
              </a:pathLst>
            </a:custGeom>
            <a:solidFill>
              <a:srgbClr val="D1D9E8"/>
            </a:solidFill>
            <a:ln w="9525" cap="flat">
              <a:noFill/>
              <a:prstDash val="solid"/>
              <a:miter/>
            </a:ln>
          </p:spPr>
          <p:txBody>
            <a:bodyPr rtlCol="0" anchor="ctr"/>
            <a:lstStyle/>
            <a:p>
              <a:endParaRPr lang="zh-CN" altLang="en-US"/>
            </a:p>
          </p:txBody>
        </p:sp>
        <p:sp>
          <p:nvSpPr>
            <p:cNvPr id="731" name="ïSliḓé">
              <a:extLst>
                <a:ext uri="{FF2B5EF4-FFF2-40B4-BE49-F238E27FC236}">
                  <a16:creationId xmlns:a16="http://schemas.microsoft.com/office/drawing/2014/main" id="{37FF4F82-FF48-4170-866A-D5DCE5352208}"/>
                </a:ext>
              </a:extLst>
            </p:cNvPr>
            <p:cNvSpPr/>
            <p:nvPr/>
          </p:nvSpPr>
          <p:spPr>
            <a:xfrm>
              <a:off x="5184348" y="4913975"/>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049 w 36004"/>
                <a:gd name="connsiteY5" fmla="*/ 9267 h 17597"/>
                <a:gd name="connsiteX6" fmla="*/ 35668 w 36004"/>
                <a:gd name="connsiteY6" fmla="*/ 6981 h 17597"/>
                <a:gd name="connsiteX7" fmla="*/ 35668 w 36004"/>
                <a:gd name="connsiteY7" fmla="*/ -163 h 17597"/>
                <a:gd name="connsiteX8" fmla="*/ 34049 w 36004"/>
                <a:gd name="connsiteY8" fmla="*/ 2123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3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049" y="9267"/>
                  </a:lnTo>
                  <a:cubicBezTo>
                    <a:pt x="34963" y="8857"/>
                    <a:pt x="35582" y="7981"/>
                    <a:pt x="35668" y="6981"/>
                  </a:cubicBezTo>
                  <a:lnTo>
                    <a:pt x="35668" y="-163"/>
                  </a:lnTo>
                  <a:cubicBezTo>
                    <a:pt x="35602" y="847"/>
                    <a:pt x="34973" y="1733"/>
                    <a:pt x="34049" y="2123"/>
                  </a:cubicBezTo>
                  <a:lnTo>
                    <a:pt x="31763" y="3457"/>
                  </a:lnTo>
                  <a:lnTo>
                    <a:pt x="21476" y="9362"/>
                  </a:lnTo>
                  <a:cubicBezTo>
                    <a:pt x="19085" y="10601"/>
                    <a:pt x="16247" y="10601"/>
                    <a:pt x="13856" y="9362"/>
                  </a:cubicBezTo>
                  <a:lnTo>
                    <a:pt x="3569" y="3457"/>
                  </a:lnTo>
                  <a:lnTo>
                    <a:pt x="1188"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32" name="îşlíďe">
              <a:extLst>
                <a:ext uri="{FF2B5EF4-FFF2-40B4-BE49-F238E27FC236}">
                  <a16:creationId xmlns:a16="http://schemas.microsoft.com/office/drawing/2014/main" id="{3EB3ED79-19CA-45E7-942A-9D88B0E92A9C}"/>
                </a:ext>
              </a:extLst>
            </p:cNvPr>
            <p:cNvSpPr/>
            <p:nvPr/>
          </p:nvSpPr>
          <p:spPr>
            <a:xfrm>
              <a:off x="5262343" y="4925935"/>
              <a:ext cx="109362" cy="63588"/>
            </a:xfrm>
            <a:custGeom>
              <a:avLst/>
              <a:gdLst>
                <a:gd name="connsiteX0" fmla="*/ -336 w 35928"/>
                <a:gd name="connsiteY0" fmla="*/ 10291 h 20890"/>
                <a:gd name="connsiteX1" fmla="*/ 1188 w 35928"/>
                <a:gd name="connsiteY1" fmla="*/ 12482 h 20890"/>
                <a:gd name="connsiteX2" fmla="*/ 3569 w 35928"/>
                <a:gd name="connsiteY2" fmla="*/ 13911 h 20890"/>
                <a:gd name="connsiteX3" fmla="*/ 13856 w 35928"/>
                <a:gd name="connsiteY3" fmla="*/ 19721 h 20890"/>
                <a:gd name="connsiteX4" fmla="*/ 21476 w 35928"/>
                <a:gd name="connsiteY4" fmla="*/ 19721 h 20890"/>
                <a:gd name="connsiteX5" fmla="*/ 31763 w 35928"/>
                <a:gd name="connsiteY5" fmla="*/ 13911 h 20890"/>
                <a:gd name="connsiteX6" fmla="*/ 34144 w 35928"/>
                <a:gd name="connsiteY6" fmla="*/ 12482 h 20890"/>
                <a:gd name="connsiteX7" fmla="*/ 35401 w 35928"/>
                <a:gd name="connsiteY7" fmla="*/ 9357 h 20890"/>
                <a:gd name="connsiteX8" fmla="*/ 34144 w 35928"/>
                <a:gd name="connsiteY8" fmla="*/ 8100 h 20890"/>
                <a:gd name="connsiteX9" fmla="*/ 21476 w 35928"/>
                <a:gd name="connsiteY9" fmla="*/ 766 h 20890"/>
                <a:gd name="connsiteX10" fmla="*/ 13856 w 35928"/>
                <a:gd name="connsiteY10" fmla="*/ 766 h 20890"/>
                <a:gd name="connsiteX11" fmla="*/ 1188 w 35928"/>
                <a:gd name="connsiteY11" fmla="*/ 8100 h 20890"/>
                <a:gd name="connsiteX12" fmla="*/ -336 w 35928"/>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928" h="20890">
                  <a:moveTo>
                    <a:pt x="-336" y="10291"/>
                  </a:moveTo>
                  <a:cubicBezTo>
                    <a:pt x="-298" y="11253"/>
                    <a:pt x="292" y="12110"/>
                    <a:pt x="1188" y="12482"/>
                  </a:cubicBezTo>
                  <a:lnTo>
                    <a:pt x="3569" y="13911"/>
                  </a:lnTo>
                  <a:lnTo>
                    <a:pt x="13856" y="19721"/>
                  </a:lnTo>
                  <a:cubicBezTo>
                    <a:pt x="16218" y="21064"/>
                    <a:pt x="19114" y="21064"/>
                    <a:pt x="21476" y="19721"/>
                  </a:cubicBezTo>
                  <a:lnTo>
                    <a:pt x="31763" y="13911"/>
                  </a:lnTo>
                  <a:lnTo>
                    <a:pt x="34144" y="12482"/>
                  </a:lnTo>
                  <a:cubicBezTo>
                    <a:pt x="35354" y="11967"/>
                    <a:pt x="35916" y="10567"/>
                    <a:pt x="35401" y="9357"/>
                  </a:cubicBezTo>
                  <a:cubicBezTo>
                    <a:pt x="35163" y="8796"/>
                    <a:pt x="34706" y="8338"/>
                    <a:pt x="34144" y="8100"/>
                  </a:cubicBezTo>
                  <a:lnTo>
                    <a:pt x="21476" y="766"/>
                  </a:lnTo>
                  <a:cubicBezTo>
                    <a:pt x="19085" y="-472"/>
                    <a:pt x="16247" y="-472"/>
                    <a:pt x="13856" y="766"/>
                  </a:cubicBezTo>
                  <a:lnTo>
                    <a:pt x="1188" y="8100"/>
                  </a:lnTo>
                  <a:cubicBezTo>
                    <a:pt x="292" y="8472"/>
                    <a:pt x="-298"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733" name="ísľîḓè">
              <a:extLst>
                <a:ext uri="{FF2B5EF4-FFF2-40B4-BE49-F238E27FC236}">
                  <a16:creationId xmlns:a16="http://schemas.microsoft.com/office/drawing/2014/main" id="{3FB93348-B9D5-40E4-8F2D-BA40A8E211D0}"/>
                </a:ext>
              </a:extLst>
            </p:cNvPr>
            <p:cNvSpPr/>
            <p:nvPr/>
          </p:nvSpPr>
          <p:spPr>
            <a:xfrm>
              <a:off x="5264154" y="4927094"/>
              <a:ext cx="105895" cy="61101"/>
            </a:xfrm>
            <a:custGeom>
              <a:avLst/>
              <a:gdLst>
                <a:gd name="connsiteX0" fmla="*/ 1164 w 34789"/>
                <a:gd name="connsiteY0" fmla="*/ 12006 h 20073"/>
                <a:gd name="connsiteX1" fmla="*/ 13356 w 34789"/>
                <a:gd name="connsiteY1" fmla="*/ 19054 h 20073"/>
                <a:gd name="connsiteX2" fmla="*/ 20785 w 34789"/>
                <a:gd name="connsiteY2" fmla="*/ 19054 h 20073"/>
                <a:gd name="connsiteX3" fmla="*/ 32882 w 34789"/>
                <a:gd name="connsiteY3" fmla="*/ 12006 h 20073"/>
                <a:gd name="connsiteX4" fmla="*/ 32882 w 34789"/>
                <a:gd name="connsiteY4" fmla="*/ 7719 h 20073"/>
                <a:gd name="connsiteX5" fmla="*/ 20785 w 34789"/>
                <a:gd name="connsiteY5" fmla="*/ 766 h 20073"/>
                <a:gd name="connsiteX6" fmla="*/ 13356 w 34789"/>
                <a:gd name="connsiteY6" fmla="*/ 766 h 20073"/>
                <a:gd name="connsiteX7" fmla="*/ 1164 w 34789"/>
                <a:gd name="connsiteY7" fmla="*/ 7719 h 20073"/>
                <a:gd name="connsiteX8" fmla="*/ 1164 w 34789"/>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89" h="20073">
                  <a:moveTo>
                    <a:pt x="1164" y="12006"/>
                  </a:moveTo>
                  <a:lnTo>
                    <a:pt x="13356" y="19054"/>
                  </a:lnTo>
                  <a:cubicBezTo>
                    <a:pt x="15699" y="20197"/>
                    <a:pt x="18442" y="20197"/>
                    <a:pt x="20785" y="19054"/>
                  </a:cubicBezTo>
                  <a:lnTo>
                    <a:pt x="32882" y="12006"/>
                  </a:lnTo>
                  <a:cubicBezTo>
                    <a:pt x="34977" y="10862"/>
                    <a:pt x="34977" y="8958"/>
                    <a:pt x="32882" y="7719"/>
                  </a:cubicBezTo>
                  <a:lnTo>
                    <a:pt x="20785" y="766"/>
                  </a:lnTo>
                  <a:cubicBezTo>
                    <a:pt x="18461" y="-472"/>
                    <a:pt x="15680" y="-472"/>
                    <a:pt x="13356" y="766"/>
                  </a:cubicBezTo>
                  <a:lnTo>
                    <a:pt x="1164" y="7719"/>
                  </a:lnTo>
                  <a:cubicBezTo>
                    <a:pt x="-836" y="8958"/>
                    <a:pt x="-836" y="10862"/>
                    <a:pt x="1164" y="12006"/>
                  </a:cubicBezTo>
                  <a:close/>
                </a:path>
              </a:pathLst>
            </a:custGeom>
            <a:solidFill>
              <a:srgbClr val="D1D9E8"/>
            </a:solidFill>
            <a:ln w="9525" cap="flat">
              <a:noFill/>
              <a:prstDash val="solid"/>
              <a:miter/>
            </a:ln>
          </p:spPr>
          <p:txBody>
            <a:bodyPr rtlCol="0" anchor="ctr"/>
            <a:lstStyle/>
            <a:p>
              <a:endParaRPr lang="zh-CN" altLang="en-US"/>
            </a:p>
          </p:txBody>
        </p:sp>
        <p:sp>
          <p:nvSpPr>
            <p:cNvPr id="734" name="ïşḷíďé">
              <a:extLst>
                <a:ext uri="{FF2B5EF4-FFF2-40B4-BE49-F238E27FC236}">
                  <a16:creationId xmlns:a16="http://schemas.microsoft.com/office/drawing/2014/main" id="{551F6F8C-7868-40C9-A4E1-F87D00AD81F3}"/>
                </a:ext>
              </a:extLst>
            </p:cNvPr>
            <p:cNvSpPr/>
            <p:nvPr/>
          </p:nvSpPr>
          <p:spPr>
            <a:xfrm>
              <a:off x="5262343" y="4957756"/>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028 h 17597"/>
                <a:gd name="connsiteX9" fmla="*/ 31763 w 36004"/>
                <a:gd name="connsiteY9" fmla="*/ 3457 h 17597"/>
                <a:gd name="connsiteX10" fmla="*/ 21476 w 36004"/>
                <a:gd name="connsiteY10" fmla="*/ 9267 h 17597"/>
                <a:gd name="connsiteX11" fmla="*/ 13856 w 36004"/>
                <a:gd name="connsiteY11" fmla="*/ 9267 h 17597"/>
                <a:gd name="connsiteX12" fmla="*/ 3569 w 36004"/>
                <a:gd name="connsiteY12" fmla="*/ 3457 h 17597"/>
                <a:gd name="connsiteX13" fmla="*/ 1188 w 36004"/>
                <a:gd name="connsiteY13" fmla="*/ 2028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2" y="7953"/>
                    <a:pt x="35668" y="6981"/>
                  </a:cubicBezTo>
                  <a:lnTo>
                    <a:pt x="35668" y="-163"/>
                  </a:lnTo>
                  <a:cubicBezTo>
                    <a:pt x="35630" y="799"/>
                    <a:pt x="35039" y="1656"/>
                    <a:pt x="34144" y="2028"/>
                  </a:cubicBezTo>
                  <a:lnTo>
                    <a:pt x="31763" y="3457"/>
                  </a:lnTo>
                  <a:lnTo>
                    <a:pt x="21476" y="9267"/>
                  </a:lnTo>
                  <a:cubicBezTo>
                    <a:pt x="19114" y="10610"/>
                    <a:pt x="16218" y="10610"/>
                    <a:pt x="13856" y="9267"/>
                  </a:cubicBezTo>
                  <a:lnTo>
                    <a:pt x="3569" y="3457"/>
                  </a:lnTo>
                  <a:lnTo>
                    <a:pt x="1188" y="2028"/>
                  </a:lnTo>
                  <a:cubicBezTo>
                    <a:pt x="292" y="1656"/>
                    <a:pt x="-298" y="799"/>
                    <a:pt x="-336" y="-163"/>
                  </a:cubicBezTo>
                  <a:close/>
                </a:path>
              </a:pathLst>
            </a:custGeom>
            <a:solidFill>
              <a:srgbClr val="BF4200"/>
            </a:solidFill>
            <a:ln w="9525" cap="flat">
              <a:noFill/>
              <a:prstDash val="solid"/>
              <a:miter/>
            </a:ln>
          </p:spPr>
          <p:txBody>
            <a:bodyPr rtlCol="0" anchor="ctr"/>
            <a:lstStyle/>
            <a:p>
              <a:endParaRPr lang="zh-CN" altLang="en-US"/>
            </a:p>
          </p:txBody>
        </p:sp>
        <p:sp>
          <p:nvSpPr>
            <p:cNvPr id="735" name="îṩľïḑè">
              <a:extLst>
                <a:ext uri="{FF2B5EF4-FFF2-40B4-BE49-F238E27FC236}">
                  <a16:creationId xmlns:a16="http://schemas.microsoft.com/office/drawing/2014/main" id="{41680ECD-4712-48AA-9682-CDCF19CAA5C2}"/>
                </a:ext>
              </a:extLst>
            </p:cNvPr>
            <p:cNvSpPr/>
            <p:nvPr/>
          </p:nvSpPr>
          <p:spPr>
            <a:xfrm>
              <a:off x="5339464" y="4970583"/>
              <a:ext cx="109594" cy="63588"/>
            </a:xfrm>
            <a:custGeom>
              <a:avLst/>
              <a:gdLst>
                <a:gd name="connsiteX0" fmla="*/ -336 w 36004"/>
                <a:gd name="connsiteY0" fmla="*/ 10291 h 20890"/>
                <a:gd name="connsiteX1" fmla="*/ 1283 w 36004"/>
                <a:gd name="connsiteY1" fmla="*/ 12482 h 20890"/>
                <a:gd name="connsiteX2" fmla="*/ 3569 w 36004"/>
                <a:gd name="connsiteY2" fmla="*/ 13815 h 20890"/>
                <a:gd name="connsiteX3" fmla="*/ 13856 w 36004"/>
                <a:gd name="connsiteY3" fmla="*/ 19721 h 20890"/>
                <a:gd name="connsiteX4" fmla="*/ 21571 w 36004"/>
                <a:gd name="connsiteY4" fmla="*/ 19721 h 20890"/>
                <a:gd name="connsiteX5" fmla="*/ 31858 w 36004"/>
                <a:gd name="connsiteY5" fmla="*/ 13815 h 20890"/>
                <a:gd name="connsiteX6" fmla="*/ 34144 w 36004"/>
                <a:gd name="connsiteY6" fmla="*/ 12482 h 20890"/>
                <a:gd name="connsiteX7" fmla="*/ 35668 w 36004"/>
                <a:gd name="connsiteY7" fmla="*/ 10291 h 20890"/>
                <a:gd name="connsiteX8" fmla="*/ 34144 w 36004"/>
                <a:gd name="connsiteY8" fmla="*/ 8005 h 20890"/>
                <a:gd name="connsiteX9" fmla="*/ 21571 w 36004"/>
                <a:gd name="connsiteY9" fmla="*/ 766 h 20890"/>
                <a:gd name="connsiteX10" fmla="*/ 13856 w 36004"/>
                <a:gd name="connsiteY10" fmla="*/ 766 h 20890"/>
                <a:gd name="connsiteX11" fmla="*/ 1283 w 36004"/>
                <a:gd name="connsiteY11" fmla="*/ 8005 h 20890"/>
                <a:gd name="connsiteX12" fmla="*/ -336 w 36004"/>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291"/>
                  </a:moveTo>
                  <a:cubicBezTo>
                    <a:pt x="-260" y="11272"/>
                    <a:pt x="369" y="12120"/>
                    <a:pt x="1283" y="12482"/>
                  </a:cubicBezTo>
                  <a:lnTo>
                    <a:pt x="3569" y="13815"/>
                  </a:lnTo>
                  <a:lnTo>
                    <a:pt x="13856" y="19721"/>
                  </a:lnTo>
                  <a:cubicBezTo>
                    <a:pt x="16256" y="21064"/>
                    <a:pt x="19171" y="21064"/>
                    <a:pt x="21571" y="19721"/>
                  </a:cubicBezTo>
                  <a:lnTo>
                    <a:pt x="31858" y="13815"/>
                  </a:lnTo>
                  <a:lnTo>
                    <a:pt x="34144" y="12482"/>
                  </a:lnTo>
                  <a:cubicBezTo>
                    <a:pt x="35021" y="12091"/>
                    <a:pt x="35611" y="11253"/>
                    <a:pt x="35668" y="10291"/>
                  </a:cubicBezTo>
                  <a:cubicBezTo>
                    <a:pt x="35601" y="9310"/>
                    <a:pt x="35021" y="8443"/>
                    <a:pt x="34144" y="8005"/>
                  </a:cubicBezTo>
                  <a:lnTo>
                    <a:pt x="21571" y="766"/>
                  </a:lnTo>
                  <a:cubicBezTo>
                    <a:pt x="19152" y="-472"/>
                    <a:pt x="16275" y="-472"/>
                    <a:pt x="13856" y="766"/>
                  </a:cubicBezTo>
                  <a:lnTo>
                    <a:pt x="1283" y="8005"/>
                  </a:lnTo>
                  <a:cubicBezTo>
                    <a:pt x="349" y="8396"/>
                    <a:pt x="-270" y="9281"/>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736" name="iṡḷïḋê">
              <a:extLst>
                <a:ext uri="{FF2B5EF4-FFF2-40B4-BE49-F238E27FC236}">
                  <a16:creationId xmlns:a16="http://schemas.microsoft.com/office/drawing/2014/main" id="{869809BB-92F1-4986-80AD-A9069C3F36E1}"/>
                </a:ext>
              </a:extLst>
            </p:cNvPr>
            <p:cNvSpPr/>
            <p:nvPr/>
          </p:nvSpPr>
          <p:spPr>
            <a:xfrm>
              <a:off x="5341348" y="4971743"/>
              <a:ext cx="105898" cy="61104"/>
            </a:xfrm>
            <a:custGeom>
              <a:avLst/>
              <a:gdLst>
                <a:gd name="connsiteX0" fmla="*/ 1235 w 34790"/>
                <a:gd name="connsiteY0" fmla="*/ 12006 h 20074"/>
                <a:gd name="connsiteX1" fmla="*/ 13332 w 34790"/>
                <a:gd name="connsiteY1" fmla="*/ 19054 h 20074"/>
                <a:gd name="connsiteX2" fmla="*/ 20762 w 34790"/>
                <a:gd name="connsiteY2" fmla="*/ 19054 h 20074"/>
                <a:gd name="connsiteX3" fmla="*/ 32954 w 34790"/>
                <a:gd name="connsiteY3" fmla="*/ 12006 h 20074"/>
                <a:gd name="connsiteX4" fmla="*/ 32954 w 34790"/>
                <a:gd name="connsiteY4" fmla="*/ 7719 h 20074"/>
                <a:gd name="connsiteX5" fmla="*/ 20762 w 34790"/>
                <a:gd name="connsiteY5" fmla="*/ 766 h 20074"/>
                <a:gd name="connsiteX6" fmla="*/ 13332 w 34790"/>
                <a:gd name="connsiteY6" fmla="*/ 766 h 20074"/>
                <a:gd name="connsiteX7" fmla="*/ 1235 w 34790"/>
                <a:gd name="connsiteY7" fmla="*/ 7719 h 20074"/>
                <a:gd name="connsiteX8" fmla="*/ 1235 w 34790"/>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4">
                  <a:moveTo>
                    <a:pt x="1235" y="12006"/>
                  </a:moveTo>
                  <a:lnTo>
                    <a:pt x="13332" y="19054"/>
                  </a:lnTo>
                  <a:cubicBezTo>
                    <a:pt x="15675" y="20197"/>
                    <a:pt x="18419" y="20197"/>
                    <a:pt x="20762" y="19054"/>
                  </a:cubicBezTo>
                  <a:lnTo>
                    <a:pt x="32954" y="12006"/>
                  </a:lnTo>
                  <a:cubicBezTo>
                    <a:pt x="34954" y="10863"/>
                    <a:pt x="34954" y="8958"/>
                    <a:pt x="32954" y="7719"/>
                  </a:cubicBezTo>
                  <a:lnTo>
                    <a:pt x="20762" y="766"/>
                  </a:lnTo>
                  <a:cubicBezTo>
                    <a:pt x="18437" y="-472"/>
                    <a:pt x="15656" y="-472"/>
                    <a:pt x="13332" y="766"/>
                  </a:cubicBezTo>
                  <a:lnTo>
                    <a:pt x="1235" y="7719"/>
                  </a:lnTo>
                  <a:cubicBezTo>
                    <a:pt x="-860" y="9434"/>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737" name="iṡļïḓê">
              <a:extLst>
                <a:ext uri="{FF2B5EF4-FFF2-40B4-BE49-F238E27FC236}">
                  <a16:creationId xmlns:a16="http://schemas.microsoft.com/office/drawing/2014/main" id="{DDA5E6AA-F7BC-41D7-B5FC-EB19B596CA59}"/>
                </a:ext>
              </a:extLst>
            </p:cNvPr>
            <p:cNvSpPr/>
            <p:nvPr/>
          </p:nvSpPr>
          <p:spPr>
            <a:xfrm>
              <a:off x="5339464" y="5001244"/>
              <a:ext cx="110464" cy="54724"/>
            </a:xfrm>
            <a:custGeom>
              <a:avLst/>
              <a:gdLst>
                <a:gd name="connsiteX0" fmla="*/ -336 w 36290"/>
                <a:gd name="connsiteY0" fmla="*/ 218 h 17978"/>
                <a:gd name="connsiteX1" fmla="*/ -336 w 36290"/>
                <a:gd name="connsiteY1" fmla="*/ 7362 h 17978"/>
                <a:gd name="connsiteX2" fmla="*/ 1283 w 36290"/>
                <a:gd name="connsiteY2" fmla="*/ 9648 h 17978"/>
                <a:gd name="connsiteX3" fmla="*/ 13856 w 36290"/>
                <a:gd name="connsiteY3" fmla="*/ 16887 h 17978"/>
                <a:gd name="connsiteX4" fmla="*/ 21571 w 36290"/>
                <a:gd name="connsiteY4" fmla="*/ 16887 h 17978"/>
                <a:gd name="connsiteX5" fmla="*/ 34430 w 36290"/>
                <a:gd name="connsiteY5" fmla="*/ 9267 h 17978"/>
                <a:gd name="connsiteX6" fmla="*/ 35954 w 36290"/>
                <a:gd name="connsiteY6" fmla="*/ 6981 h 17978"/>
                <a:gd name="connsiteX7" fmla="*/ 35954 w 36290"/>
                <a:gd name="connsiteY7" fmla="*/ -163 h 17978"/>
                <a:gd name="connsiteX8" fmla="*/ 34430 w 36290"/>
                <a:gd name="connsiteY8" fmla="*/ 2028 h 17978"/>
                <a:gd name="connsiteX9" fmla="*/ 32144 w 36290"/>
                <a:gd name="connsiteY9" fmla="*/ 3362 h 17978"/>
                <a:gd name="connsiteX10" fmla="*/ 21857 w 36290"/>
                <a:gd name="connsiteY10" fmla="*/ 9267 h 17978"/>
                <a:gd name="connsiteX11" fmla="*/ 14142 w 36290"/>
                <a:gd name="connsiteY11" fmla="*/ 9267 h 17978"/>
                <a:gd name="connsiteX12" fmla="*/ 3855 w 36290"/>
                <a:gd name="connsiteY12" fmla="*/ 3362 h 17978"/>
                <a:gd name="connsiteX13" fmla="*/ 1568 w 36290"/>
                <a:gd name="connsiteY13" fmla="*/ 2028 h 17978"/>
                <a:gd name="connsiteX14" fmla="*/ -336 w 36290"/>
                <a:gd name="connsiteY14" fmla="*/ 218 h 17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290" h="17978">
                  <a:moveTo>
                    <a:pt x="-336" y="218"/>
                  </a:moveTo>
                  <a:lnTo>
                    <a:pt x="-336" y="7362"/>
                  </a:lnTo>
                  <a:cubicBezTo>
                    <a:pt x="-270" y="8372"/>
                    <a:pt x="359" y="9257"/>
                    <a:pt x="1283" y="9648"/>
                  </a:cubicBezTo>
                  <a:lnTo>
                    <a:pt x="13856" y="16887"/>
                  </a:lnTo>
                  <a:cubicBezTo>
                    <a:pt x="16275" y="18125"/>
                    <a:pt x="19152" y="18125"/>
                    <a:pt x="21571" y="16887"/>
                  </a:cubicBezTo>
                  <a:lnTo>
                    <a:pt x="34430" y="9267"/>
                  </a:lnTo>
                  <a:cubicBezTo>
                    <a:pt x="35297" y="8819"/>
                    <a:pt x="35868" y="7953"/>
                    <a:pt x="35954" y="6981"/>
                  </a:cubicBezTo>
                  <a:lnTo>
                    <a:pt x="35954" y="-163"/>
                  </a:lnTo>
                  <a:cubicBezTo>
                    <a:pt x="35897" y="799"/>
                    <a:pt x="35306" y="1638"/>
                    <a:pt x="34430" y="2028"/>
                  </a:cubicBezTo>
                  <a:lnTo>
                    <a:pt x="32144" y="3362"/>
                  </a:lnTo>
                  <a:lnTo>
                    <a:pt x="21857" y="9267"/>
                  </a:lnTo>
                  <a:cubicBezTo>
                    <a:pt x="19457" y="10610"/>
                    <a:pt x="16542" y="10610"/>
                    <a:pt x="14142" y="9267"/>
                  </a:cubicBezTo>
                  <a:lnTo>
                    <a:pt x="3855" y="3362"/>
                  </a:lnTo>
                  <a:lnTo>
                    <a:pt x="1568" y="2028"/>
                  </a:lnTo>
                  <a:cubicBezTo>
                    <a:pt x="654" y="1818"/>
                    <a:pt x="-79" y="1123"/>
                    <a:pt x="-336" y="218"/>
                  </a:cubicBezTo>
                  <a:close/>
                </a:path>
              </a:pathLst>
            </a:custGeom>
            <a:solidFill>
              <a:srgbClr val="BF4200"/>
            </a:solidFill>
            <a:ln w="9525" cap="flat">
              <a:noFill/>
              <a:prstDash val="solid"/>
              <a:miter/>
            </a:ln>
          </p:spPr>
          <p:txBody>
            <a:bodyPr rtlCol="0" anchor="ctr"/>
            <a:lstStyle/>
            <a:p>
              <a:endParaRPr lang="zh-CN" altLang="en-US"/>
            </a:p>
          </p:txBody>
        </p:sp>
        <p:sp>
          <p:nvSpPr>
            <p:cNvPr id="738" name="ïṩḻîḓè">
              <a:extLst>
                <a:ext uri="{FF2B5EF4-FFF2-40B4-BE49-F238E27FC236}">
                  <a16:creationId xmlns:a16="http://schemas.microsoft.com/office/drawing/2014/main" id="{11AB723C-F5EC-4166-922C-18B6637B5766}"/>
                </a:ext>
              </a:extLst>
            </p:cNvPr>
            <p:cNvSpPr/>
            <p:nvPr/>
          </p:nvSpPr>
          <p:spPr>
            <a:xfrm>
              <a:off x="5416296" y="5015234"/>
              <a:ext cx="109594" cy="63588"/>
            </a:xfrm>
            <a:custGeom>
              <a:avLst/>
              <a:gdLst>
                <a:gd name="connsiteX0" fmla="*/ -336 w 36004"/>
                <a:gd name="connsiteY0" fmla="*/ 10196 h 20890"/>
                <a:gd name="connsiteX1" fmla="*/ 1188 w 36004"/>
                <a:gd name="connsiteY1" fmla="*/ 12482 h 20890"/>
                <a:gd name="connsiteX2" fmla="*/ 3569 w 36004"/>
                <a:gd name="connsiteY2" fmla="*/ 13815 h 20890"/>
                <a:gd name="connsiteX3" fmla="*/ 13856 w 36004"/>
                <a:gd name="connsiteY3" fmla="*/ 19721 h 20890"/>
                <a:gd name="connsiteX4" fmla="*/ 21476 w 36004"/>
                <a:gd name="connsiteY4" fmla="*/ 19721 h 20890"/>
                <a:gd name="connsiteX5" fmla="*/ 31763 w 36004"/>
                <a:gd name="connsiteY5" fmla="*/ 13815 h 20890"/>
                <a:gd name="connsiteX6" fmla="*/ 34144 w 36004"/>
                <a:gd name="connsiteY6" fmla="*/ 12482 h 20890"/>
                <a:gd name="connsiteX7" fmla="*/ 35668 w 36004"/>
                <a:gd name="connsiteY7" fmla="*/ 10196 h 20890"/>
                <a:gd name="connsiteX8" fmla="*/ 34144 w 36004"/>
                <a:gd name="connsiteY8" fmla="*/ 8005 h 20890"/>
                <a:gd name="connsiteX9" fmla="*/ 21476 w 36004"/>
                <a:gd name="connsiteY9" fmla="*/ 766 h 20890"/>
                <a:gd name="connsiteX10" fmla="*/ 13856 w 36004"/>
                <a:gd name="connsiteY10" fmla="*/ 766 h 20890"/>
                <a:gd name="connsiteX11" fmla="*/ 1188 w 36004"/>
                <a:gd name="connsiteY11" fmla="*/ 8005 h 20890"/>
                <a:gd name="connsiteX12" fmla="*/ -336 w 36004"/>
                <a:gd name="connsiteY12" fmla="*/ 10196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196"/>
                  </a:moveTo>
                  <a:cubicBezTo>
                    <a:pt x="-308" y="11186"/>
                    <a:pt x="283" y="12082"/>
                    <a:pt x="1188" y="12482"/>
                  </a:cubicBezTo>
                  <a:lnTo>
                    <a:pt x="3569" y="13815"/>
                  </a:lnTo>
                  <a:lnTo>
                    <a:pt x="13856" y="19721"/>
                  </a:lnTo>
                  <a:cubicBezTo>
                    <a:pt x="16218" y="21064"/>
                    <a:pt x="19114" y="21064"/>
                    <a:pt x="21476" y="19721"/>
                  </a:cubicBezTo>
                  <a:lnTo>
                    <a:pt x="31763" y="13815"/>
                  </a:lnTo>
                  <a:lnTo>
                    <a:pt x="34144" y="12482"/>
                  </a:lnTo>
                  <a:cubicBezTo>
                    <a:pt x="35049" y="12082"/>
                    <a:pt x="35640" y="11186"/>
                    <a:pt x="35668" y="10196"/>
                  </a:cubicBezTo>
                  <a:cubicBezTo>
                    <a:pt x="35573" y="9253"/>
                    <a:pt x="34992" y="8424"/>
                    <a:pt x="34144" y="8005"/>
                  </a:cubicBezTo>
                  <a:lnTo>
                    <a:pt x="21476" y="766"/>
                  </a:lnTo>
                  <a:cubicBezTo>
                    <a:pt x="19085" y="-472"/>
                    <a:pt x="16247" y="-472"/>
                    <a:pt x="13856" y="766"/>
                  </a:cubicBezTo>
                  <a:lnTo>
                    <a:pt x="1188" y="8005"/>
                  </a:lnTo>
                  <a:cubicBezTo>
                    <a:pt x="340" y="8424"/>
                    <a:pt x="-241" y="925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739" name="í$1ïḓe">
              <a:extLst>
                <a:ext uri="{FF2B5EF4-FFF2-40B4-BE49-F238E27FC236}">
                  <a16:creationId xmlns:a16="http://schemas.microsoft.com/office/drawing/2014/main" id="{63A36A64-1E52-4B38-BCDE-2B245F301AEF}"/>
                </a:ext>
              </a:extLst>
            </p:cNvPr>
            <p:cNvSpPr/>
            <p:nvPr/>
          </p:nvSpPr>
          <p:spPr>
            <a:xfrm>
              <a:off x="5419008" y="5016394"/>
              <a:ext cx="105329" cy="61101"/>
            </a:xfrm>
            <a:custGeom>
              <a:avLst/>
              <a:gdLst>
                <a:gd name="connsiteX0" fmla="*/ 1154 w 34603"/>
                <a:gd name="connsiteY0" fmla="*/ 12006 h 20073"/>
                <a:gd name="connsiteX1" fmla="*/ 13250 w 34603"/>
                <a:gd name="connsiteY1" fmla="*/ 19054 h 20073"/>
                <a:gd name="connsiteX2" fmla="*/ 20680 w 34603"/>
                <a:gd name="connsiteY2" fmla="*/ 19054 h 20073"/>
                <a:gd name="connsiteX3" fmla="*/ 32777 w 34603"/>
                <a:gd name="connsiteY3" fmla="*/ 12006 h 20073"/>
                <a:gd name="connsiteX4" fmla="*/ 34120 w 34603"/>
                <a:gd name="connsiteY4" fmla="*/ 9062 h 20073"/>
                <a:gd name="connsiteX5" fmla="*/ 32777 w 34603"/>
                <a:gd name="connsiteY5" fmla="*/ 7719 h 20073"/>
                <a:gd name="connsiteX6" fmla="*/ 20680 w 34603"/>
                <a:gd name="connsiteY6" fmla="*/ 766 h 20073"/>
                <a:gd name="connsiteX7" fmla="*/ 13250 w 34603"/>
                <a:gd name="connsiteY7" fmla="*/ 766 h 20073"/>
                <a:gd name="connsiteX8" fmla="*/ 1154 w 34603"/>
                <a:gd name="connsiteY8" fmla="*/ 7719 h 20073"/>
                <a:gd name="connsiteX9" fmla="*/ -189 w 34603"/>
                <a:gd name="connsiteY9" fmla="*/ 10653 h 20073"/>
                <a:gd name="connsiteX10" fmla="*/ 1154 w 34603"/>
                <a:gd name="connsiteY10"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603" h="20073">
                  <a:moveTo>
                    <a:pt x="1154" y="12006"/>
                  </a:moveTo>
                  <a:lnTo>
                    <a:pt x="13250" y="19054"/>
                  </a:lnTo>
                  <a:cubicBezTo>
                    <a:pt x="15594" y="20197"/>
                    <a:pt x="18337" y="20197"/>
                    <a:pt x="20680" y="19054"/>
                  </a:cubicBezTo>
                  <a:lnTo>
                    <a:pt x="32777" y="12006"/>
                  </a:lnTo>
                  <a:cubicBezTo>
                    <a:pt x="33958" y="11567"/>
                    <a:pt x="34567" y="10253"/>
                    <a:pt x="34120" y="9062"/>
                  </a:cubicBezTo>
                  <a:cubicBezTo>
                    <a:pt x="33891" y="8443"/>
                    <a:pt x="33396" y="7948"/>
                    <a:pt x="32777" y="7719"/>
                  </a:cubicBezTo>
                  <a:lnTo>
                    <a:pt x="20680" y="766"/>
                  </a:lnTo>
                  <a:cubicBezTo>
                    <a:pt x="18356" y="-472"/>
                    <a:pt x="15575" y="-472"/>
                    <a:pt x="13250" y="766"/>
                  </a:cubicBezTo>
                  <a:lnTo>
                    <a:pt x="1154" y="7719"/>
                  </a:lnTo>
                  <a:cubicBezTo>
                    <a:pt x="-27" y="8158"/>
                    <a:pt x="-637" y="9472"/>
                    <a:pt x="-189" y="10653"/>
                  </a:cubicBezTo>
                  <a:cubicBezTo>
                    <a:pt x="39" y="11282"/>
                    <a:pt x="535" y="11777"/>
                    <a:pt x="1154" y="12006"/>
                  </a:cubicBezTo>
                  <a:close/>
                </a:path>
              </a:pathLst>
            </a:custGeom>
            <a:solidFill>
              <a:srgbClr val="D1D9E8"/>
            </a:solidFill>
            <a:ln w="9525" cap="flat">
              <a:noFill/>
              <a:prstDash val="solid"/>
              <a:miter/>
            </a:ln>
          </p:spPr>
          <p:txBody>
            <a:bodyPr rtlCol="0" anchor="ctr"/>
            <a:lstStyle/>
            <a:p>
              <a:endParaRPr lang="zh-CN" altLang="en-US"/>
            </a:p>
          </p:txBody>
        </p:sp>
        <p:sp>
          <p:nvSpPr>
            <p:cNvPr id="740" name="iṥ1îḓè">
              <a:extLst>
                <a:ext uri="{FF2B5EF4-FFF2-40B4-BE49-F238E27FC236}">
                  <a16:creationId xmlns:a16="http://schemas.microsoft.com/office/drawing/2014/main" id="{90DB9E14-DBEB-45D1-914D-0A4BA3F412DB}"/>
                </a:ext>
              </a:extLst>
            </p:cNvPr>
            <p:cNvSpPr/>
            <p:nvPr/>
          </p:nvSpPr>
          <p:spPr>
            <a:xfrm>
              <a:off x="5416296" y="5046763"/>
              <a:ext cx="109594" cy="53804"/>
            </a:xfrm>
            <a:custGeom>
              <a:avLst/>
              <a:gdLst>
                <a:gd name="connsiteX0" fmla="*/ -336 w 36004"/>
                <a:gd name="connsiteY0" fmla="*/ -163 h 17676"/>
                <a:gd name="connsiteX1" fmla="*/ -336 w 36004"/>
                <a:gd name="connsiteY1" fmla="*/ 7076 h 17676"/>
                <a:gd name="connsiteX2" fmla="*/ 1188 w 36004"/>
                <a:gd name="connsiteY2" fmla="*/ 9267 h 17676"/>
                <a:gd name="connsiteX3" fmla="*/ 13856 w 36004"/>
                <a:gd name="connsiteY3" fmla="*/ 16506 h 17676"/>
                <a:gd name="connsiteX4" fmla="*/ 21476 w 36004"/>
                <a:gd name="connsiteY4" fmla="*/ 16506 h 17676"/>
                <a:gd name="connsiteX5" fmla="*/ 34144 w 36004"/>
                <a:gd name="connsiteY5" fmla="*/ 9267 h 17676"/>
                <a:gd name="connsiteX6" fmla="*/ 35668 w 36004"/>
                <a:gd name="connsiteY6" fmla="*/ 7076 h 17676"/>
                <a:gd name="connsiteX7" fmla="*/ 35668 w 36004"/>
                <a:gd name="connsiteY7" fmla="*/ -163 h 17676"/>
                <a:gd name="connsiteX8" fmla="*/ 34144 w 36004"/>
                <a:gd name="connsiteY8" fmla="*/ 2124 h 17676"/>
                <a:gd name="connsiteX9" fmla="*/ 31763 w 36004"/>
                <a:gd name="connsiteY9" fmla="*/ 3457 h 17676"/>
                <a:gd name="connsiteX10" fmla="*/ 21476 w 36004"/>
                <a:gd name="connsiteY10" fmla="*/ 9362 h 17676"/>
                <a:gd name="connsiteX11" fmla="*/ 13856 w 36004"/>
                <a:gd name="connsiteY11" fmla="*/ 9362 h 17676"/>
                <a:gd name="connsiteX12" fmla="*/ 3569 w 36004"/>
                <a:gd name="connsiteY12" fmla="*/ 3457 h 17676"/>
                <a:gd name="connsiteX13" fmla="*/ 1188 w 36004"/>
                <a:gd name="connsiteY13" fmla="*/ 2124 h 17676"/>
                <a:gd name="connsiteX14" fmla="*/ -336 w 36004"/>
                <a:gd name="connsiteY14" fmla="*/ -163 h 17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6">
                  <a:moveTo>
                    <a:pt x="-336" y="-163"/>
                  </a:moveTo>
                  <a:lnTo>
                    <a:pt x="-336" y="7076"/>
                  </a:lnTo>
                  <a:cubicBezTo>
                    <a:pt x="-298" y="8039"/>
                    <a:pt x="292" y="8896"/>
                    <a:pt x="1188" y="9267"/>
                  </a:cubicBezTo>
                  <a:lnTo>
                    <a:pt x="13856" y="16506"/>
                  </a:lnTo>
                  <a:cubicBezTo>
                    <a:pt x="16218" y="17849"/>
                    <a:pt x="19114" y="17849"/>
                    <a:pt x="21476" y="16506"/>
                  </a:cubicBezTo>
                  <a:lnTo>
                    <a:pt x="34144" y="9267"/>
                  </a:lnTo>
                  <a:cubicBezTo>
                    <a:pt x="35021" y="8877"/>
                    <a:pt x="35611" y="8039"/>
                    <a:pt x="35668" y="7076"/>
                  </a:cubicBezTo>
                  <a:lnTo>
                    <a:pt x="35668" y="-163"/>
                  </a:lnTo>
                  <a:cubicBezTo>
                    <a:pt x="35640" y="828"/>
                    <a:pt x="35049" y="1724"/>
                    <a:pt x="34144" y="2124"/>
                  </a:cubicBezTo>
                  <a:lnTo>
                    <a:pt x="31763" y="3457"/>
                  </a:lnTo>
                  <a:lnTo>
                    <a:pt x="21476" y="9362"/>
                  </a:lnTo>
                  <a:cubicBezTo>
                    <a:pt x="19114" y="10706"/>
                    <a:pt x="16218" y="10706"/>
                    <a:pt x="13856" y="9362"/>
                  </a:cubicBezTo>
                  <a:lnTo>
                    <a:pt x="3569" y="3457"/>
                  </a:lnTo>
                  <a:lnTo>
                    <a:pt x="1188" y="2124"/>
                  </a:lnTo>
                  <a:cubicBezTo>
                    <a:pt x="283" y="1724"/>
                    <a:pt x="-308"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41" name="iṧľiḍé">
              <a:extLst>
                <a:ext uri="{FF2B5EF4-FFF2-40B4-BE49-F238E27FC236}">
                  <a16:creationId xmlns:a16="http://schemas.microsoft.com/office/drawing/2014/main" id="{59696EA9-896D-400D-B028-03E79E259CDE}"/>
                </a:ext>
              </a:extLst>
            </p:cNvPr>
            <p:cNvSpPr/>
            <p:nvPr/>
          </p:nvSpPr>
          <p:spPr>
            <a:xfrm>
              <a:off x="5493998" y="5059883"/>
              <a:ext cx="109740" cy="63350"/>
            </a:xfrm>
            <a:custGeom>
              <a:avLst/>
              <a:gdLst>
                <a:gd name="connsiteX0" fmla="*/ -336 w 36052"/>
                <a:gd name="connsiteY0" fmla="*/ 10196 h 20812"/>
                <a:gd name="connsiteX1" fmla="*/ 1283 w 36052"/>
                <a:gd name="connsiteY1" fmla="*/ 12482 h 20812"/>
                <a:gd name="connsiteX2" fmla="*/ 3569 w 36052"/>
                <a:gd name="connsiteY2" fmla="*/ 13815 h 20812"/>
                <a:gd name="connsiteX3" fmla="*/ 13856 w 36052"/>
                <a:gd name="connsiteY3" fmla="*/ 19721 h 20812"/>
                <a:gd name="connsiteX4" fmla="*/ 21571 w 36052"/>
                <a:gd name="connsiteY4" fmla="*/ 19721 h 20812"/>
                <a:gd name="connsiteX5" fmla="*/ 31858 w 36052"/>
                <a:gd name="connsiteY5" fmla="*/ 13815 h 20812"/>
                <a:gd name="connsiteX6" fmla="*/ 34144 w 36052"/>
                <a:gd name="connsiteY6" fmla="*/ 12482 h 20812"/>
                <a:gd name="connsiteX7" fmla="*/ 35573 w 36052"/>
                <a:gd name="connsiteY7" fmla="*/ 9434 h 20812"/>
                <a:gd name="connsiteX8" fmla="*/ 34144 w 36052"/>
                <a:gd name="connsiteY8" fmla="*/ 8005 h 20812"/>
                <a:gd name="connsiteX9" fmla="*/ 21571 w 36052"/>
                <a:gd name="connsiteY9" fmla="*/ 766 h 20812"/>
                <a:gd name="connsiteX10" fmla="*/ 13856 w 36052"/>
                <a:gd name="connsiteY10" fmla="*/ 766 h 20812"/>
                <a:gd name="connsiteX11" fmla="*/ 1283 w 36052"/>
                <a:gd name="connsiteY11" fmla="*/ 8005 h 20812"/>
                <a:gd name="connsiteX12" fmla="*/ -336 w 36052"/>
                <a:gd name="connsiteY12" fmla="*/ 10196 h 20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12">
                  <a:moveTo>
                    <a:pt x="-336" y="10196"/>
                  </a:moveTo>
                  <a:cubicBezTo>
                    <a:pt x="-231" y="11186"/>
                    <a:pt x="378" y="12053"/>
                    <a:pt x="1283" y="12482"/>
                  </a:cubicBezTo>
                  <a:lnTo>
                    <a:pt x="3569" y="13815"/>
                  </a:lnTo>
                  <a:lnTo>
                    <a:pt x="13856" y="19721"/>
                  </a:lnTo>
                  <a:cubicBezTo>
                    <a:pt x="16275" y="20959"/>
                    <a:pt x="19152" y="20959"/>
                    <a:pt x="21571" y="19721"/>
                  </a:cubicBezTo>
                  <a:lnTo>
                    <a:pt x="31858" y="13815"/>
                  </a:lnTo>
                  <a:lnTo>
                    <a:pt x="34144" y="12482"/>
                  </a:lnTo>
                  <a:cubicBezTo>
                    <a:pt x="35382" y="12034"/>
                    <a:pt x="36021" y="10663"/>
                    <a:pt x="35573" y="9434"/>
                  </a:cubicBezTo>
                  <a:cubicBezTo>
                    <a:pt x="35325" y="8767"/>
                    <a:pt x="34811" y="8243"/>
                    <a:pt x="34144" y="8005"/>
                  </a:cubicBezTo>
                  <a:lnTo>
                    <a:pt x="21571" y="766"/>
                  </a:lnTo>
                  <a:cubicBezTo>
                    <a:pt x="19152" y="-472"/>
                    <a:pt x="16275" y="-472"/>
                    <a:pt x="13856" y="766"/>
                  </a:cubicBezTo>
                  <a:lnTo>
                    <a:pt x="1283" y="8005"/>
                  </a:lnTo>
                  <a:cubicBezTo>
                    <a:pt x="407" y="8415"/>
                    <a:pt x="-203" y="924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742" name="íṣḷîḑè">
              <a:extLst>
                <a:ext uri="{FF2B5EF4-FFF2-40B4-BE49-F238E27FC236}">
                  <a16:creationId xmlns:a16="http://schemas.microsoft.com/office/drawing/2014/main" id="{927C74EA-7C9A-470A-B6EA-1CF334DABAE0}"/>
                </a:ext>
              </a:extLst>
            </p:cNvPr>
            <p:cNvSpPr/>
            <p:nvPr/>
          </p:nvSpPr>
          <p:spPr>
            <a:xfrm>
              <a:off x="5496132" y="5060972"/>
              <a:ext cx="105618" cy="61174"/>
            </a:xfrm>
            <a:custGeom>
              <a:avLst/>
              <a:gdLst>
                <a:gd name="connsiteX0" fmla="*/ 1154 w 34698"/>
                <a:gd name="connsiteY0" fmla="*/ 12029 h 20097"/>
                <a:gd name="connsiteX1" fmla="*/ 13251 w 34698"/>
                <a:gd name="connsiteY1" fmla="*/ 19078 h 20097"/>
                <a:gd name="connsiteX2" fmla="*/ 20680 w 34698"/>
                <a:gd name="connsiteY2" fmla="*/ 19078 h 20097"/>
                <a:gd name="connsiteX3" fmla="*/ 32872 w 34698"/>
                <a:gd name="connsiteY3" fmla="*/ 12029 h 20097"/>
                <a:gd name="connsiteX4" fmla="*/ 34215 w 34698"/>
                <a:gd name="connsiteY4" fmla="*/ 9096 h 20097"/>
                <a:gd name="connsiteX5" fmla="*/ 32872 w 34698"/>
                <a:gd name="connsiteY5" fmla="*/ 7743 h 20097"/>
                <a:gd name="connsiteX6" fmla="*/ 20680 w 34698"/>
                <a:gd name="connsiteY6" fmla="*/ 695 h 20097"/>
                <a:gd name="connsiteX7" fmla="*/ 13251 w 34698"/>
                <a:gd name="connsiteY7" fmla="*/ 695 h 20097"/>
                <a:gd name="connsiteX8" fmla="*/ 1154 w 34698"/>
                <a:gd name="connsiteY8" fmla="*/ 7743 h 20097"/>
                <a:gd name="connsiteX9" fmla="*/ -189 w 34698"/>
                <a:gd name="connsiteY9" fmla="*/ 10677 h 20097"/>
                <a:gd name="connsiteX10" fmla="*/ 1154 w 34698"/>
                <a:gd name="connsiteY10" fmla="*/ 12029 h 20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698" h="20097">
                  <a:moveTo>
                    <a:pt x="1154" y="12029"/>
                  </a:moveTo>
                  <a:lnTo>
                    <a:pt x="13251" y="19078"/>
                  </a:lnTo>
                  <a:cubicBezTo>
                    <a:pt x="15594" y="20221"/>
                    <a:pt x="18337" y="20221"/>
                    <a:pt x="20680" y="19078"/>
                  </a:cubicBezTo>
                  <a:lnTo>
                    <a:pt x="32872" y="12029"/>
                  </a:lnTo>
                  <a:cubicBezTo>
                    <a:pt x="34053" y="11591"/>
                    <a:pt x="34663" y="10277"/>
                    <a:pt x="34215" y="9096"/>
                  </a:cubicBezTo>
                  <a:cubicBezTo>
                    <a:pt x="33986" y="8467"/>
                    <a:pt x="33491" y="7972"/>
                    <a:pt x="32872" y="7743"/>
                  </a:cubicBezTo>
                  <a:lnTo>
                    <a:pt x="20680" y="695"/>
                  </a:lnTo>
                  <a:cubicBezTo>
                    <a:pt x="18337" y="-448"/>
                    <a:pt x="15594" y="-448"/>
                    <a:pt x="13251" y="695"/>
                  </a:cubicBezTo>
                  <a:lnTo>
                    <a:pt x="1154" y="7743"/>
                  </a:lnTo>
                  <a:cubicBezTo>
                    <a:pt x="-27" y="8181"/>
                    <a:pt x="-637" y="9496"/>
                    <a:pt x="-189" y="10677"/>
                  </a:cubicBezTo>
                  <a:cubicBezTo>
                    <a:pt x="39" y="11305"/>
                    <a:pt x="535" y="11801"/>
                    <a:pt x="1154" y="12029"/>
                  </a:cubicBezTo>
                  <a:close/>
                </a:path>
              </a:pathLst>
            </a:custGeom>
            <a:solidFill>
              <a:srgbClr val="D1D9E8"/>
            </a:solidFill>
            <a:ln w="9525" cap="flat">
              <a:noFill/>
              <a:prstDash val="solid"/>
              <a:miter/>
            </a:ln>
          </p:spPr>
          <p:txBody>
            <a:bodyPr rtlCol="0" anchor="ctr"/>
            <a:lstStyle/>
            <a:p>
              <a:endParaRPr lang="zh-CN" altLang="en-US"/>
            </a:p>
          </p:txBody>
        </p:sp>
        <p:sp>
          <p:nvSpPr>
            <p:cNvPr id="743" name="îSlïḑé">
              <a:extLst>
                <a:ext uri="{FF2B5EF4-FFF2-40B4-BE49-F238E27FC236}">
                  <a16:creationId xmlns:a16="http://schemas.microsoft.com/office/drawing/2014/main" id="{42468E60-4921-4E25-88E4-BD2224C94268}"/>
                </a:ext>
              </a:extLst>
            </p:cNvPr>
            <p:cNvSpPr/>
            <p:nvPr/>
          </p:nvSpPr>
          <p:spPr>
            <a:xfrm>
              <a:off x="5493998" y="5091415"/>
              <a:ext cx="109883" cy="53801"/>
            </a:xfrm>
            <a:custGeom>
              <a:avLst/>
              <a:gdLst>
                <a:gd name="connsiteX0" fmla="*/ -336 w 36099"/>
                <a:gd name="connsiteY0" fmla="*/ -163 h 17675"/>
                <a:gd name="connsiteX1" fmla="*/ -336 w 36099"/>
                <a:gd name="connsiteY1" fmla="*/ 7076 h 17675"/>
                <a:gd name="connsiteX2" fmla="*/ 1283 w 36099"/>
                <a:gd name="connsiteY2" fmla="*/ 9267 h 17675"/>
                <a:gd name="connsiteX3" fmla="*/ 13856 w 36099"/>
                <a:gd name="connsiteY3" fmla="*/ 16506 h 17675"/>
                <a:gd name="connsiteX4" fmla="*/ 21571 w 36099"/>
                <a:gd name="connsiteY4" fmla="*/ 16506 h 17675"/>
                <a:gd name="connsiteX5" fmla="*/ 34144 w 36099"/>
                <a:gd name="connsiteY5" fmla="*/ 9267 h 17675"/>
                <a:gd name="connsiteX6" fmla="*/ 35764 w 36099"/>
                <a:gd name="connsiteY6" fmla="*/ 7076 h 17675"/>
                <a:gd name="connsiteX7" fmla="*/ 35764 w 36099"/>
                <a:gd name="connsiteY7" fmla="*/ -163 h 17675"/>
                <a:gd name="connsiteX8" fmla="*/ 34144 w 36099"/>
                <a:gd name="connsiteY8" fmla="*/ 2123 h 17675"/>
                <a:gd name="connsiteX9" fmla="*/ 31858 w 36099"/>
                <a:gd name="connsiteY9" fmla="*/ 3457 h 17675"/>
                <a:gd name="connsiteX10" fmla="*/ 21571 w 36099"/>
                <a:gd name="connsiteY10" fmla="*/ 9362 h 17675"/>
                <a:gd name="connsiteX11" fmla="*/ 13856 w 36099"/>
                <a:gd name="connsiteY11" fmla="*/ 9362 h 17675"/>
                <a:gd name="connsiteX12" fmla="*/ 3569 w 36099"/>
                <a:gd name="connsiteY12" fmla="*/ 3457 h 17675"/>
                <a:gd name="connsiteX13" fmla="*/ 1283 w 36099"/>
                <a:gd name="connsiteY13" fmla="*/ 2123 h 17675"/>
                <a:gd name="connsiteX14" fmla="*/ -336 w 36099"/>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675">
                  <a:moveTo>
                    <a:pt x="-336" y="-163"/>
                  </a:moveTo>
                  <a:lnTo>
                    <a:pt x="-336" y="7076"/>
                  </a:lnTo>
                  <a:cubicBezTo>
                    <a:pt x="-222" y="8038"/>
                    <a:pt x="397" y="8877"/>
                    <a:pt x="1283" y="9267"/>
                  </a:cubicBezTo>
                  <a:lnTo>
                    <a:pt x="13856" y="16506"/>
                  </a:lnTo>
                  <a:cubicBezTo>
                    <a:pt x="16256" y="17849"/>
                    <a:pt x="19171" y="17849"/>
                    <a:pt x="21571" y="16506"/>
                  </a:cubicBezTo>
                  <a:lnTo>
                    <a:pt x="34144" y="9267"/>
                  </a:lnTo>
                  <a:cubicBezTo>
                    <a:pt x="35030" y="8877"/>
                    <a:pt x="35649" y="8038"/>
                    <a:pt x="35764" y="7076"/>
                  </a:cubicBezTo>
                  <a:lnTo>
                    <a:pt x="35764" y="-163"/>
                  </a:lnTo>
                  <a:cubicBezTo>
                    <a:pt x="35659" y="828"/>
                    <a:pt x="35049" y="1695"/>
                    <a:pt x="34144" y="2123"/>
                  </a:cubicBezTo>
                  <a:lnTo>
                    <a:pt x="31858" y="3457"/>
                  </a:lnTo>
                  <a:lnTo>
                    <a:pt x="21571" y="9362"/>
                  </a:lnTo>
                  <a:cubicBezTo>
                    <a:pt x="19152" y="10601"/>
                    <a:pt x="16275" y="10601"/>
                    <a:pt x="13856" y="9362"/>
                  </a:cubicBezTo>
                  <a:lnTo>
                    <a:pt x="3569" y="3457"/>
                  </a:lnTo>
                  <a:lnTo>
                    <a:pt x="1283" y="2123"/>
                  </a:lnTo>
                  <a:cubicBezTo>
                    <a:pt x="378" y="1695"/>
                    <a:pt x="-231"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44" name="îšḷiḑè">
              <a:extLst>
                <a:ext uri="{FF2B5EF4-FFF2-40B4-BE49-F238E27FC236}">
                  <a16:creationId xmlns:a16="http://schemas.microsoft.com/office/drawing/2014/main" id="{DDFB7903-C374-4223-9C70-10657E43A362}"/>
                </a:ext>
              </a:extLst>
            </p:cNvPr>
            <p:cNvSpPr/>
            <p:nvPr/>
          </p:nvSpPr>
          <p:spPr>
            <a:xfrm>
              <a:off x="5571411" y="5104440"/>
              <a:ext cx="109740" cy="63445"/>
            </a:xfrm>
            <a:custGeom>
              <a:avLst/>
              <a:gdLst>
                <a:gd name="connsiteX0" fmla="*/ -336 w 36052"/>
                <a:gd name="connsiteY0" fmla="*/ 10227 h 20843"/>
                <a:gd name="connsiteX1" fmla="*/ 1188 w 36052"/>
                <a:gd name="connsiteY1" fmla="*/ 12513 h 20843"/>
                <a:gd name="connsiteX2" fmla="*/ 3569 w 36052"/>
                <a:gd name="connsiteY2" fmla="*/ 13846 h 20843"/>
                <a:gd name="connsiteX3" fmla="*/ 13856 w 36052"/>
                <a:gd name="connsiteY3" fmla="*/ 19752 h 20843"/>
                <a:gd name="connsiteX4" fmla="*/ 21476 w 36052"/>
                <a:gd name="connsiteY4" fmla="*/ 19752 h 20843"/>
                <a:gd name="connsiteX5" fmla="*/ 31763 w 36052"/>
                <a:gd name="connsiteY5" fmla="*/ 13846 h 20843"/>
                <a:gd name="connsiteX6" fmla="*/ 34144 w 36052"/>
                <a:gd name="connsiteY6" fmla="*/ 12513 h 20843"/>
                <a:gd name="connsiteX7" fmla="*/ 35573 w 36052"/>
                <a:gd name="connsiteY7" fmla="*/ 9465 h 20843"/>
                <a:gd name="connsiteX8" fmla="*/ 34144 w 36052"/>
                <a:gd name="connsiteY8" fmla="*/ 8036 h 20843"/>
                <a:gd name="connsiteX9" fmla="*/ 21476 w 36052"/>
                <a:gd name="connsiteY9" fmla="*/ 702 h 20843"/>
                <a:gd name="connsiteX10" fmla="*/ 13856 w 36052"/>
                <a:gd name="connsiteY10" fmla="*/ 702 h 20843"/>
                <a:gd name="connsiteX11" fmla="*/ 1188 w 36052"/>
                <a:gd name="connsiteY11" fmla="*/ 8036 h 20843"/>
                <a:gd name="connsiteX12" fmla="*/ -336 w 36052"/>
                <a:gd name="connsiteY12" fmla="*/ 10227 h 20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3">
                  <a:moveTo>
                    <a:pt x="-336" y="10227"/>
                  </a:moveTo>
                  <a:cubicBezTo>
                    <a:pt x="-270" y="11208"/>
                    <a:pt x="311" y="12075"/>
                    <a:pt x="1188" y="12513"/>
                  </a:cubicBezTo>
                  <a:lnTo>
                    <a:pt x="3569" y="13846"/>
                  </a:lnTo>
                  <a:lnTo>
                    <a:pt x="13856" y="19752"/>
                  </a:lnTo>
                  <a:cubicBezTo>
                    <a:pt x="16247" y="20990"/>
                    <a:pt x="19085" y="20990"/>
                    <a:pt x="21476" y="19752"/>
                  </a:cubicBezTo>
                  <a:lnTo>
                    <a:pt x="31763" y="13846"/>
                  </a:lnTo>
                  <a:lnTo>
                    <a:pt x="34144" y="12513"/>
                  </a:lnTo>
                  <a:cubicBezTo>
                    <a:pt x="35382" y="12065"/>
                    <a:pt x="36020" y="10694"/>
                    <a:pt x="35573" y="9465"/>
                  </a:cubicBezTo>
                  <a:cubicBezTo>
                    <a:pt x="35325" y="8798"/>
                    <a:pt x="34811" y="8274"/>
                    <a:pt x="34144"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745" name="i$ļîḑê">
              <a:extLst>
                <a:ext uri="{FF2B5EF4-FFF2-40B4-BE49-F238E27FC236}">
                  <a16:creationId xmlns:a16="http://schemas.microsoft.com/office/drawing/2014/main" id="{CC5B2D39-3831-48B7-9CEA-D3914233B968}"/>
                </a:ext>
              </a:extLst>
            </p:cNvPr>
            <p:cNvSpPr/>
            <p:nvPr/>
          </p:nvSpPr>
          <p:spPr>
            <a:xfrm>
              <a:off x="5573295" y="5105621"/>
              <a:ext cx="105825" cy="61101"/>
            </a:xfrm>
            <a:custGeom>
              <a:avLst/>
              <a:gdLst>
                <a:gd name="connsiteX0" fmla="*/ 1235 w 34766"/>
                <a:gd name="connsiteY0" fmla="*/ 12030 h 20073"/>
                <a:gd name="connsiteX1" fmla="*/ 13332 w 34766"/>
                <a:gd name="connsiteY1" fmla="*/ 18983 h 20073"/>
                <a:gd name="connsiteX2" fmla="*/ 20762 w 34766"/>
                <a:gd name="connsiteY2" fmla="*/ 18983 h 20073"/>
                <a:gd name="connsiteX3" fmla="*/ 32858 w 34766"/>
                <a:gd name="connsiteY3" fmla="*/ 12030 h 20073"/>
                <a:gd name="connsiteX4" fmla="*/ 32858 w 34766"/>
                <a:gd name="connsiteY4" fmla="*/ 7743 h 20073"/>
                <a:gd name="connsiteX5" fmla="*/ 20762 w 34766"/>
                <a:gd name="connsiteY5" fmla="*/ 695 h 20073"/>
                <a:gd name="connsiteX6" fmla="*/ 13332 w 34766"/>
                <a:gd name="connsiteY6" fmla="*/ 695 h 20073"/>
                <a:gd name="connsiteX7" fmla="*/ 1235 w 34766"/>
                <a:gd name="connsiteY7" fmla="*/ 7743 h 20073"/>
                <a:gd name="connsiteX8" fmla="*/ 1235 w 34766"/>
                <a:gd name="connsiteY8" fmla="*/ 12030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6" h="20073">
                  <a:moveTo>
                    <a:pt x="1235" y="12030"/>
                  </a:moveTo>
                  <a:lnTo>
                    <a:pt x="13332" y="18983"/>
                  </a:lnTo>
                  <a:cubicBezTo>
                    <a:pt x="15656" y="20221"/>
                    <a:pt x="18437" y="20221"/>
                    <a:pt x="20762" y="18983"/>
                  </a:cubicBezTo>
                  <a:lnTo>
                    <a:pt x="32858" y="12030"/>
                  </a:lnTo>
                  <a:cubicBezTo>
                    <a:pt x="34954" y="10791"/>
                    <a:pt x="34954" y="8886"/>
                    <a:pt x="32858" y="7743"/>
                  </a:cubicBezTo>
                  <a:lnTo>
                    <a:pt x="20762" y="695"/>
                  </a:lnTo>
                  <a:cubicBezTo>
                    <a:pt x="18419" y="-448"/>
                    <a:pt x="15675" y="-448"/>
                    <a:pt x="13332" y="695"/>
                  </a:cubicBezTo>
                  <a:lnTo>
                    <a:pt x="1235" y="7743"/>
                  </a:lnTo>
                  <a:cubicBezTo>
                    <a:pt x="-860" y="8886"/>
                    <a:pt x="-860" y="10791"/>
                    <a:pt x="1235" y="12030"/>
                  </a:cubicBezTo>
                  <a:close/>
                </a:path>
              </a:pathLst>
            </a:custGeom>
            <a:solidFill>
              <a:srgbClr val="D1D9E8"/>
            </a:solidFill>
            <a:ln w="9525" cap="flat">
              <a:noFill/>
              <a:prstDash val="solid"/>
              <a:miter/>
            </a:ln>
          </p:spPr>
          <p:txBody>
            <a:bodyPr rtlCol="0" anchor="ctr"/>
            <a:lstStyle/>
            <a:p>
              <a:endParaRPr lang="zh-CN" altLang="en-US"/>
            </a:p>
          </p:txBody>
        </p:sp>
        <p:sp>
          <p:nvSpPr>
            <p:cNvPr id="746" name="îṥḷiḓe">
              <a:extLst>
                <a:ext uri="{FF2B5EF4-FFF2-40B4-BE49-F238E27FC236}">
                  <a16:creationId xmlns:a16="http://schemas.microsoft.com/office/drawing/2014/main" id="{D82267E0-1868-4E72-A8F4-1E8C98462757}"/>
                </a:ext>
              </a:extLst>
            </p:cNvPr>
            <p:cNvSpPr/>
            <p:nvPr/>
          </p:nvSpPr>
          <p:spPr>
            <a:xfrm>
              <a:off x="5571411" y="5136063"/>
              <a:ext cx="109594" cy="53801"/>
            </a:xfrm>
            <a:custGeom>
              <a:avLst/>
              <a:gdLst>
                <a:gd name="connsiteX0" fmla="*/ -336 w 36004"/>
                <a:gd name="connsiteY0" fmla="*/ -163 h 17675"/>
                <a:gd name="connsiteX1" fmla="*/ -336 w 36004"/>
                <a:gd name="connsiteY1" fmla="*/ 7076 h 17675"/>
                <a:gd name="connsiteX2" fmla="*/ 1188 w 36004"/>
                <a:gd name="connsiteY2" fmla="*/ 9267 h 17675"/>
                <a:gd name="connsiteX3" fmla="*/ 13856 w 36004"/>
                <a:gd name="connsiteY3" fmla="*/ 16506 h 17675"/>
                <a:gd name="connsiteX4" fmla="*/ 21476 w 36004"/>
                <a:gd name="connsiteY4" fmla="*/ 16506 h 17675"/>
                <a:gd name="connsiteX5" fmla="*/ 34144 w 36004"/>
                <a:gd name="connsiteY5" fmla="*/ 9267 h 17675"/>
                <a:gd name="connsiteX6" fmla="*/ 35668 w 36004"/>
                <a:gd name="connsiteY6" fmla="*/ 6981 h 17675"/>
                <a:gd name="connsiteX7" fmla="*/ 35668 w 36004"/>
                <a:gd name="connsiteY7" fmla="*/ -163 h 17675"/>
                <a:gd name="connsiteX8" fmla="*/ 34144 w 36004"/>
                <a:gd name="connsiteY8" fmla="*/ 2123 h 17675"/>
                <a:gd name="connsiteX9" fmla="*/ 31763 w 36004"/>
                <a:gd name="connsiteY9" fmla="*/ 3457 h 17675"/>
                <a:gd name="connsiteX10" fmla="*/ 21476 w 36004"/>
                <a:gd name="connsiteY10" fmla="*/ 9362 h 17675"/>
                <a:gd name="connsiteX11" fmla="*/ 13856 w 36004"/>
                <a:gd name="connsiteY11" fmla="*/ 9362 h 17675"/>
                <a:gd name="connsiteX12" fmla="*/ 3569 w 36004"/>
                <a:gd name="connsiteY12" fmla="*/ 3457 h 17675"/>
                <a:gd name="connsiteX13" fmla="*/ 1188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79" y="8038"/>
                    <a:pt x="311" y="8877"/>
                    <a:pt x="1188" y="9267"/>
                  </a:cubicBezTo>
                  <a:lnTo>
                    <a:pt x="13856" y="16506"/>
                  </a:lnTo>
                  <a:cubicBezTo>
                    <a:pt x="16218" y="17849"/>
                    <a:pt x="19114" y="17849"/>
                    <a:pt x="21476" y="16506"/>
                  </a:cubicBezTo>
                  <a:lnTo>
                    <a:pt x="34144" y="9267"/>
                  </a:lnTo>
                  <a:cubicBezTo>
                    <a:pt x="35049" y="8867"/>
                    <a:pt x="35640" y="7972"/>
                    <a:pt x="35668" y="6981"/>
                  </a:cubicBezTo>
                  <a:lnTo>
                    <a:pt x="35668" y="-163"/>
                  </a:lnTo>
                  <a:cubicBezTo>
                    <a:pt x="35601" y="818"/>
                    <a:pt x="35021" y="1685"/>
                    <a:pt x="34144" y="2123"/>
                  </a:cubicBezTo>
                  <a:lnTo>
                    <a:pt x="31763" y="3457"/>
                  </a:lnTo>
                  <a:lnTo>
                    <a:pt x="21476" y="9362"/>
                  </a:lnTo>
                  <a:cubicBezTo>
                    <a:pt x="19085" y="10601"/>
                    <a:pt x="16247" y="10601"/>
                    <a:pt x="13856" y="9362"/>
                  </a:cubicBezTo>
                  <a:lnTo>
                    <a:pt x="3569" y="3457"/>
                  </a:lnTo>
                  <a:lnTo>
                    <a:pt x="1188"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47" name="íşḻíde">
              <a:extLst>
                <a:ext uri="{FF2B5EF4-FFF2-40B4-BE49-F238E27FC236}">
                  <a16:creationId xmlns:a16="http://schemas.microsoft.com/office/drawing/2014/main" id="{688CA885-4697-4E1E-BDEC-6258328FC44B}"/>
                </a:ext>
              </a:extLst>
            </p:cNvPr>
            <p:cNvSpPr/>
            <p:nvPr/>
          </p:nvSpPr>
          <p:spPr>
            <a:xfrm>
              <a:off x="5648243" y="5149240"/>
              <a:ext cx="109740" cy="63289"/>
            </a:xfrm>
            <a:custGeom>
              <a:avLst/>
              <a:gdLst>
                <a:gd name="connsiteX0" fmla="*/ -336 w 36052"/>
                <a:gd name="connsiteY0" fmla="*/ 10177 h 20792"/>
                <a:gd name="connsiteX1" fmla="*/ 1283 w 36052"/>
                <a:gd name="connsiteY1" fmla="*/ 12463 h 20792"/>
                <a:gd name="connsiteX2" fmla="*/ 3569 w 36052"/>
                <a:gd name="connsiteY2" fmla="*/ 13796 h 20792"/>
                <a:gd name="connsiteX3" fmla="*/ 13856 w 36052"/>
                <a:gd name="connsiteY3" fmla="*/ 19702 h 20792"/>
                <a:gd name="connsiteX4" fmla="*/ 21571 w 36052"/>
                <a:gd name="connsiteY4" fmla="*/ 19702 h 20792"/>
                <a:gd name="connsiteX5" fmla="*/ 31858 w 36052"/>
                <a:gd name="connsiteY5" fmla="*/ 13796 h 20792"/>
                <a:gd name="connsiteX6" fmla="*/ 34144 w 36052"/>
                <a:gd name="connsiteY6" fmla="*/ 12463 h 20792"/>
                <a:gd name="connsiteX7" fmla="*/ 35573 w 36052"/>
                <a:gd name="connsiteY7" fmla="*/ 9415 h 20792"/>
                <a:gd name="connsiteX8" fmla="*/ 34144 w 36052"/>
                <a:gd name="connsiteY8" fmla="*/ 7986 h 20792"/>
                <a:gd name="connsiteX9" fmla="*/ 21571 w 36052"/>
                <a:gd name="connsiteY9" fmla="*/ 652 h 20792"/>
                <a:gd name="connsiteX10" fmla="*/ 13856 w 36052"/>
                <a:gd name="connsiteY10" fmla="*/ 652 h 20792"/>
                <a:gd name="connsiteX11" fmla="*/ 1283 w 36052"/>
                <a:gd name="connsiteY11" fmla="*/ 7986 h 20792"/>
                <a:gd name="connsiteX12" fmla="*/ -336 w 36052"/>
                <a:gd name="connsiteY12" fmla="*/ 10177 h 20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792">
                  <a:moveTo>
                    <a:pt x="-336" y="10177"/>
                  </a:moveTo>
                  <a:cubicBezTo>
                    <a:pt x="-232" y="11167"/>
                    <a:pt x="378" y="12034"/>
                    <a:pt x="1283" y="12463"/>
                  </a:cubicBezTo>
                  <a:lnTo>
                    <a:pt x="3569" y="13796"/>
                  </a:lnTo>
                  <a:lnTo>
                    <a:pt x="13856" y="19702"/>
                  </a:lnTo>
                  <a:cubicBezTo>
                    <a:pt x="16275" y="20940"/>
                    <a:pt x="19152" y="20940"/>
                    <a:pt x="21571" y="19702"/>
                  </a:cubicBezTo>
                  <a:lnTo>
                    <a:pt x="31858" y="13796"/>
                  </a:lnTo>
                  <a:lnTo>
                    <a:pt x="34144" y="12463"/>
                  </a:lnTo>
                  <a:cubicBezTo>
                    <a:pt x="35382" y="12015"/>
                    <a:pt x="36020" y="10643"/>
                    <a:pt x="35573" y="9415"/>
                  </a:cubicBezTo>
                  <a:cubicBezTo>
                    <a:pt x="35325" y="8748"/>
                    <a:pt x="34811" y="8224"/>
                    <a:pt x="34144" y="7986"/>
                  </a:cubicBezTo>
                  <a:lnTo>
                    <a:pt x="21571" y="652"/>
                  </a:lnTo>
                  <a:cubicBezTo>
                    <a:pt x="19114" y="-434"/>
                    <a:pt x="16313" y="-434"/>
                    <a:pt x="13856" y="652"/>
                  </a:cubicBezTo>
                  <a:lnTo>
                    <a:pt x="1283" y="7986"/>
                  </a:lnTo>
                  <a:cubicBezTo>
                    <a:pt x="407" y="8396"/>
                    <a:pt x="-203" y="9224"/>
                    <a:pt x="-336" y="10177"/>
                  </a:cubicBezTo>
                  <a:close/>
                </a:path>
              </a:pathLst>
            </a:custGeom>
            <a:solidFill>
              <a:srgbClr val="FFFFFF"/>
            </a:solidFill>
            <a:ln w="9525" cap="flat">
              <a:noFill/>
              <a:prstDash val="solid"/>
              <a:miter/>
            </a:ln>
          </p:spPr>
          <p:txBody>
            <a:bodyPr rtlCol="0" anchor="ctr"/>
            <a:lstStyle/>
            <a:p>
              <a:endParaRPr lang="zh-CN" altLang="en-US"/>
            </a:p>
          </p:txBody>
        </p:sp>
        <p:sp>
          <p:nvSpPr>
            <p:cNvPr id="748" name="îŝḷîdé">
              <a:extLst>
                <a:ext uri="{FF2B5EF4-FFF2-40B4-BE49-F238E27FC236}">
                  <a16:creationId xmlns:a16="http://schemas.microsoft.com/office/drawing/2014/main" id="{EBE0AC25-5AF7-4E92-91C4-516BDBCFC911}"/>
                </a:ext>
              </a:extLst>
            </p:cNvPr>
            <p:cNvSpPr/>
            <p:nvPr/>
          </p:nvSpPr>
          <p:spPr>
            <a:xfrm>
              <a:off x="5649984" y="5150269"/>
              <a:ext cx="106330" cy="61104"/>
            </a:xfrm>
            <a:custGeom>
              <a:avLst/>
              <a:gdLst>
                <a:gd name="connsiteX0" fmla="*/ 1378 w 34932"/>
                <a:gd name="connsiteY0" fmla="*/ 12029 h 20074"/>
                <a:gd name="connsiteX1" fmla="*/ 13570 w 34932"/>
                <a:gd name="connsiteY1" fmla="*/ 18983 h 20074"/>
                <a:gd name="connsiteX2" fmla="*/ 21000 w 34932"/>
                <a:gd name="connsiteY2" fmla="*/ 18983 h 20074"/>
                <a:gd name="connsiteX3" fmla="*/ 33097 w 34932"/>
                <a:gd name="connsiteY3" fmla="*/ 12029 h 20074"/>
                <a:gd name="connsiteX4" fmla="*/ 33097 w 34932"/>
                <a:gd name="connsiteY4" fmla="*/ 7743 h 20074"/>
                <a:gd name="connsiteX5" fmla="*/ 21000 w 34932"/>
                <a:gd name="connsiteY5" fmla="*/ 695 h 20074"/>
                <a:gd name="connsiteX6" fmla="*/ 13570 w 34932"/>
                <a:gd name="connsiteY6" fmla="*/ 695 h 20074"/>
                <a:gd name="connsiteX7" fmla="*/ 1378 w 34932"/>
                <a:gd name="connsiteY7" fmla="*/ 7743 h 20074"/>
                <a:gd name="connsiteX8" fmla="*/ 1378 w 34932"/>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932" h="20074">
                  <a:moveTo>
                    <a:pt x="1378" y="12029"/>
                  </a:moveTo>
                  <a:lnTo>
                    <a:pt x="13570" y="18983"/>
                  </a:lnTo>
                  <a:cubicBezTo>
                    <a:pt x="15894" y="20221"/>
                    <a:pt x="18676" y="20221"/>
                    <a:pt x="21000" y="18983"/>
                  </a:cubicBezTo>
                  <a:lnTo>
                    <a:pt x="33097" y="12029"/>
                  </a:lnTo>
                  <a:cubicBezTo>
                    <a:pt x="35097" y="10791"/>
                    <a:pt x="35097" y="8886"/>
                    <a:pt x="33097" y="7743"/>
                  </a:cubicBezTo>
                  <a:lnTo>
                    <a:pt x="21000" y="695"/>
                  </a:lnTo>
                  <a:cubicBezTo>
                    <a:pt x="18656" y="-448"/>
                    <a:pt x="15913" y="-448"/>
                    <a:pt x="13570" y="695"/>
                  </a:cubicBezTo>
                  <a:lnTo>
                    <a:pt x="1378" y="7743"/>
                  </a:lnTo>
                  <a:cubicBezTo>
                    <a:pt x="-908" y="8886"/>
                    <a:pt x="-908" y="10791"/>
                    <a:pt x="1378" y="12029"/>
                  </a:cubicBezTo>
                  <a:close/>
                </a:path>
              </a:pathLst>
            </a:custGeom>
            <a:solidFill>
              <a:srgbClr val="D1D9E8"/>
            </a:solidFill>
            <a:ln w="9525" cap="flat">
              <a:noFill/>
              <a:prstDash val="solid"/>
              <a:miter/>
            </a:ln>
          </p:spPr>
          <p:txBody>
            <a:bodyPr rtlCol="0" anchor="ctr"/>
            <a:lstStyle/>
            <a:p>
              <a:endParaRPr lang="zh-CN" altLang="en-US"/>
            </a:p>
          </p:txBody>
        </p:sp>
        <p:sp>
          <p:nvSpPr>
            <p:cNvPr id="749" name="ïś1îďê">
              <a:extLst>
                <a:ext uri="{FF2B5EF4-FFF2-40B4-BE49-F238E27FC236}">
                  <a16:creationId xmlns:a16="http://schemas.microsoft.com/office/drawing/2014/main" id="{0D7796B6-D7C8-4F91-84EC-33815DAAA207}"/>
                </a:ext>
              </a:extLst>
            </p:cNvPr>
            <p:cNvSpPr/>
            <p:nvPr/>
          </p:nvSpPr>
          <p:spPr>
            <a:xfrm>
              <a:off x="5648240" y="5180714"/>
              <a:ext cx="109889" cy="54961"/>
            </a:xfrm>
            <a:custGeom>
              <a:avLst/>
              <a:gdLst>
                <a:gd name="connsiteX0" fmla="*/ -335 w 36101"/>
                <a:gd name="connsiteY0" fmla="*/ -163 h 18056"/>
                <a:gd name="connsiteX1" fmla="*/ -335 w 36101"/>
                <a:gd name="connsiteY1" fmla="*/ 7457 h 18056"/>
                <a:gd name="connsiteX2" fmla="*/ 1285 w 36101"/>
                <a:gd name="connsiteY2" fmla="*/ 9648 h 18056"/>
                <a:gd name="connsiteX3" fmla="*/ 13857 w 36101"/>
                <a:gd name="connsiteY3" fmla="*/ 16887 h 18056"/>
                <a:gd name="connsiteX4" fmla="*/ 21573 w 36101"/>
                <a:gd name="connsiteY4" fmla="*/ 16887 h 18056"/>
                <a:gd name="connsiteX5" fmla="*/ 34146 w 36101"/>
                <a:gd name="connsiteY5" fmla="*/ 9648 h 18056"/>
                <a:gd name="connsiteX6" fmla="*/ 35765 w 36101"/>
                <a:gd name="connsiteY6" fmla="*/ 7362 h 18056"/>
                <a:gd name="connsiteX7" fmla="*/ 35765 w 36101"/>
                <a:gd name="connsiteY7" fmla="*/ 218 h 18056"/>
                <a:gd name="connsiteX8" fmla="*/ 34146 w 36101"/>
                <a:gd name="connsiteY8" fmla="*/ 2504 h 18056"/>
                <a:gd name="connsiteX9" fmla="*/ 31860 w 36101"/>
                <a:gd name="connsiteY9" fmla="*/ 3838 h 18056"/>
                <a:gd name="connsiteX10" fmla="*/ 21573 w 36101"/>
                <a:gd name="connsiteY10" fmla="*/ 9743 h 18056"/>
                <a:gd name="connsiteX11" fmla="*/ 13857 w 36101"/>
                <a:gd name="connsiteY11" fmla="*/ 9743 h 18056"/>
                <a:gd name="connsiteX12" fmla="*/ 3571 w 36101"/>
                <a:gd name="connsiteY12" fmla="*/ 3838 h 18056"/>
                <a:gd name="connsiteX13" fmla="*/ 1285 w 36101"/>
                <a:gd name="connsiteY13" fmla="*/ 2504 h 18056"/>
                <a:gd name="connsiteX14" fmla="*/ -335 w 36101"/>
                <a:gd name="connsiteY14" fmla="*/ -163 h 18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101" h="18056">
                  <a:moveTo>
                    <a:pt x="-335" y="-163"/>
                  </a:moveTo>
                  <a:lnTo>
                    <a:pt x="-335" y="7457"/>
                  </a:lnTo>
                  <a:cubicBezTo>
                    <a:pt x="-201" y="8410"/>
                    <a:pt x="408" y="9239"/>
                    <a:pt x="1285" y="9648"/>
                  </a:cubicBezTo>
                  <a:lnTo>
                    <a:pt x="13857" y="16887"/>
                  </a:lnTo>
                  <a:cubicBezTo>
                    <a:pt x="16258" y="18230"/>
                    <a:pt x="19173" y="18230"/>
                    <a:pt x="21573" y="16887"/>
                  </a:cubicBezTo>
                  <a:lnTo>
                    <a:pt x="34146" y="9648"/>
                  </a:lnTo>
                  <a:cubicBezTo>
                    <a:pt x="35070" y="9257"/>
                    <a:pt x="35698" y="8372"/>
                    <a:pt x="35765" y="7362"/>
                  </a:cubicBezTo>
                  <a:lnTo>
                    <a:pt x="35765" y="218"/>
                  </a:lnTo>
                  <a:cubicBezTo>
                    <a:pt x="35698" y="1228"/>
                    <a:pt x="35070" y="2114"/>
                    <a:pt x="34146" y="2504"/>
                  </a:cubicBezTo>
                  <a:lnTo>
                    <a:pt x="31860" y="3838"/>
                  </a:lnTo>
                  <a:lnTo>
                    <a:pt x="21573" y="9743"/>
                  </a:lnTo>
                  <a:cubicBezTo>
                    <a:pt x="19153" y="10981"/>
                    <a:pt x="16277" y="10981"/>
                    <a:pt x="13857" y="9743"/>
                  </a:cubicBezTo>
                  <a:lnTo>
                    <a:pt x="3571" y="3838"/>
                  </a:lnTo>
                  <a:lnTo>
                    <a:pt x="1285" y="2504"/>
                  </a:lnTo>
                  <a:cubicBezTo>
                    <a:pt x="265" y="2018"/>
                    <a:pt x="-373" y="971"/>
                    <a:pt x="-335" y="-163"/>
                  </a:cubicBezTo>
                  <a:close/>
                </a:path>
              </a:pathLst>
            </a:custGeom>
            <a:solidFill>
              <a:srgbClr val="BF4200"/>
            </a:solidFill>
            <a:ln w="9525" cap="flat">
              <a:noFill/>
              <a:prstDash val="solid"/>
              <a:miter/>
            </a:ln>
          </p:spPr>
          <p:txBody>
            <a:bodyPr rtlCol="0" anchor="ctr"/>
            <a:lstStyle/>
            <a:p>
              <a:endParaRPr lang="zh-CN" altLang="en-US"/>
            </a:p>
          </p:txBody>
        </p:sp>
        <p:sp>
          <p:nvSpPr>
            <p:cNvPr id="750" name="îslïḓè">
              <a:extLst>
                <a:ext uri="{FF2B5EF4-FFF2-40B4-BE49-F238E27FC236}">
                  <a16:creationId xmlns:a16="http://schemas.microsoft.com/office/drawing/2014/main" id="{E3DEC783-FAC2-4F35-9CB8-20D881237EF0}"/>
                </a:ext>
              </a:extLst>
            </p:cNvPr>
            <p:cNvSpPr/>
            <p:nvPr/>
          </p:nvSpPr>
          <p:spPr>
            <a:xfrm>
              <a:off x="5725945" y="5193739"/>
              <a:ext cx="109740" cy="63445"/>
            </a:xfrm>
            <a:custGeom>
              <a:avLst/>
              <a:gdLst>
                <a:gd name="connsiteX0" fmla="*/ -336 w 36052"/>
                <a:gd name="connsiteY0" fmla="*/ 10227 h 20843"/>
                <a:gd name="connsiteX1" fmla="*/ 1188 w 36052"/>
                <a:gd name="connsiteY1" fmla="*/ 12513 h 20843"/>
                <a:gd name="connsiteX2" fmla="*/ 3569 w 36052"/>
                <a:gd name="connsiteY2" fmla="*/ 13846 h 20843"/>
                <a:gd name="connsiteX3" fmla="*/ 13856 w 36052"/>
                <a:gd name="connsiteY3" fmla="*/ 19752 h 20843"/>
                <a:gd name="connsiteX4" fmla="*/ 21476 w 36052"/>
                <a:gd name="connsiteY4" fmla="*/ 19752 h 20843"/>
                <a:gd name="connsiteX5" fmla="*/ 31763 w 36052"/>
                <a:gd name="connsiteY5" fmla="*/ 13846 h 20843"/>
                <a:gd name="connsiteX6" fmla="*/ 34144 w 36052"/>
                <a:gd name="connsiteY6" fmla="*/ 12513 h 20843"/>
                <a:gd name="connsiteX7" fmla="*/ 35573 w 36052"/>
                <a:gd name="connsiteY7" fmla="*/ 9465 h 20843"/>
                <a:gd name="connsiteX8" fmla="*/ 34144 w 36052"/>
                <a:gd name="connsiteY8" fmla="*/ 8036 h 20843"/>
                <a:gd name="connsiteX9" fmla="*/ 21476 w 36052"/>
                <a:gd name="connsiteY9" fmla="*/ 702 h 20843"/>
                <a:gd name="connsiteX10" fmla="*/ 13856 w 36052"/>
                <a:gd name="connsiteY10" fmla="*/ 702 h 20843"/>
                <a:gd name="connsiteX11" fmla="*/ 1188 w 36052"/>
                <a:gd name="connsiteY11" fmla="*/ 8036 h 20843"/>
                <a:gd name="connsiteX12" fmla="*/ -336 w 36052"/>
                <a:gd name="connsiteY12" fmla="*/ 10227 h 20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3">
                  <a:moveTo>
                    <a:pt x="-336" y="10227"/>
                  </a:moveTo>
                  <a:cubicBezTo>
                    <a:pt x="-269" y="11208"/>
                    <a:pt x="311" y="12075"/>
                    <a:pt x="1188" y="12513"/>
                  </a:cubicBezTo>
                  <a:lnTo>
                    <a:pt x="3569" y="13846"/>
                  </a:lnTo>
                  <a:lnTo>
                    <a:pt x="13856" y="19752"/>
                  </a:lnTo>
                  <a:cubicBezTo>
                    <a:pt x="16247" y="20990"/>
                    <a:pt x="19085" y="20990"/>
                    <a:pt x="21476" y="19752"/>
                  </a:cubicBezTo>
                  <a:lnTo>
                    <a:pt x="31763" y="13846"/>
                  </a:lnTo>
                  <a:lnTo>
                    <a:pt x="34144" y="12513"/>
                  </a:lnTo>
                  <a:cubicBezTo>
                    <a:pt x="35382" y="12065"/>
                    <a:pt x="36021" y="10694"/>
                    <a:pt x="35573" y="9465"/>
                  </a:cubicBezTo>
                  <a:cubicBezTo>
                    <a:pt x="35325" y="8798"/>
                    <a:pt x="34811" y="8274"/>
                    <a:pt x="34144"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751" name="ïṧ1iďê">
              <a:extLst>
                <a:ext uri="{FF2B5EF4-FFF2-40B4-BE49-F238E27FC236}">
                  <a16:creationId xmlns:a16="http://schemas.microsoft.com/office/drawing/2014/main" id="{196062B8-5CC3-414E-BB3D-236296D19742}"/>
                </a:ext>
              </a:extLst>
            </p:cNvPr>
            <p:cNvSpPr/>
            <p:nvPr/>
          </p:nvSpPr>
          <p:spPr>
            <a:xfrm>
              <a:off x="5727829" y="5195791"/>
              <a:ext cx="105898" cy="61101"/>
            </a:xfrm>
            <a:custGeom>
              <a:avLst/>
              <a:gdLst>
                <a:gd name="connsiteX0" fmla="*/ 1235 w 34790"/>
                <a:gd name="connsiteY0" fmla="*/ 12029 h 20073"/>
                <a:gd name="connsiteX1" fmla="*/ 13332 w 34790"/>
                <a:gd name="connsiteY1" fmla="*/ 18983 h 20073"/>
                <a:gd name="connsiteX2" fmla="*/ 20761 w 34790"/>
                <a:gd name="connsiteY2" fmla="*/ 18983 h 20073"/>
                <a:gd name="connsiteX3" fmla="*/ 32953 w 34790"/>
                <a:gd name="connsiteY3" fmla="*/ 12029 h 20073"/>
                <a:gd name="connsiteX4" fmla="*/ 32953 w 34790"/>
                <a:gd name="connsiteY4" fmla="*/ 7743 h 20073"/>
                <a:gd name="connsiteX5" fmla="*/ 20761 w 34790"/>
                <a:gd name="connsiteY5" fmla="*/ 695 h 20073"/>
                <a:gd name="connsiteX6" fmla="*/ 13332 w 34790"/>
                <a:gd name="connsiteY6" fmla="*/ 695 h 20073"/>
                <a:gd name="connsiteX7" fmla="*/ 1235 w 34790"/>
                <a:gd name="connsiteY7" fmla="*/ 7743 h 20073"/>
                <a:gd name="connsiteX8" fmla="*/ 1235 w 34790"/>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3">
                  <a:moveTo>
                    <a:pt x="1235" y="12029"/>
                  </a:moveTo>
                  <a:lnTo>
                    <a:pt x="13332" y="18983"/>
                  </a:lnTo>
                  <a:cubicBezTo>
                    <a:pt x="15656" y="20221"/>
                    <a:pt x="18437" y="20221"/>
                    <a:pt x="20761" y="18983"/>
                  </a:cubicBezTo>
                  <a:lnTo>
                    <a:pt x="32953" y="12029"/>
                  </a:lnTo>
                  <a:cubicBezTo>
                    <a:pt x="34954" y="10791"/>
                    <a:pt x="34954" y="8886"/>
                    <a:pt x="32953" y="7743"/>
                  </a:cubicBezTo>
                  <a:lnTo>
                    <a:pt x="20761" y="695"/>
                  </a:lnTo>
                  <a:cubicBezTo>
                    <a:pt x="18418" y="-448"/>
                    <a:pt x="15675" y="-448"/>
                    <a:pt x="13332" y="695"/>
                  </a:cubicBezTo>
                  <a:lnTo>
                    <a:pt x="1235" y="7743"/>
                  </a:lnTo>
                  <a:cubicBezTo>
                    <a:pt x="-860" y="8600"/>
                    <a:pt x="-860" y="10505"/>
                    <a:pt x="1235" y="12029"/>
                  </a:cubicBezTo>
                  <a:close/>
                </a:path>
              </a:pathLst>
            </a:custGeom>
            <a:solidFill>
              <a:srgbClr val="D1D9E8"/>
            </a:solidFill>
            <a:ln w="9525" cap="flat">
              <a:noFill/>
              <a:prstDash val="solid"/>
              <a:miter/>
            </a:ln>
          </p:spPr>
          <p:txBody>
            <a:bodyPr rtlCol="0" anchor="ctr"/>
            <a:lstStyle/>
            <a:p>
              <a:endParaRPr lang="zh-CN" altLang="en-US"/>
            </a:p>
          </p:txBody>
        </p:sp>
        <p:sp>
          <p:nvSpPr>
            <p:cNvPr id="752" name="îṩľiḑé">
              <a:extLst>
                <a:ext uri="{FF2B5EF4-FFF2-40B4-BE49-F238E27FC236}">
                  <a16:creationId xmlns:a16="http://schemas.microsoft.com/office/drawing/2014/main" id="{D84F20E0-0431-4D53-8BD4-8134669C4253}"/>
                </a:ext>
              </a:extLst>
            </p:cNvPr>
            <p:cNvSpPr/>
            <p:nvPr/>
          </p:nvSpPr>
          <p:spPr>
            <a:xfrm>
              <a:off x="5725945" y="5225363"/>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4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4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20"/>
                    <a:pt x="35582" y="7953"/>
                    <a:pt x="35668" y="6981"/>
                  </a:cubicBezTo>
                  <a:lnTo>
                    <a:pt x="35668" y="-163"/>
                  </a:lnTo>
                  <a:cubicBezTo>
                    <a:pt x="35602" y="818"/>
                    <a:pt x="35021" y="1685"/>
                    <a:pt x="34144" y="2124"/>
                  </a:cubicBezTo>
                  <a:lnTo>
                    <a:pt x="31763" y="3457"/>
                  </a:lnTo>
                  <a:lnTo>
                    <a:pt x="21476" y="9362"/>
                  </a:lnTo>
                  <a:cubicBezTo>
                    <a:pt x="19085" y="10601"/>
                    <a:pt x="16247" y="10601"/>
                    <a:pt x="13856" y="9362"/>
                  </a:cubicBezTo>
                  <a:lnTo>
                    <a:pt x="3569" y="3457"/>
                  </a:lnTo>
                  <a:lnTo>
                    <a:pt x="1188" y="2124"/>
                  </a:lnTo>
                  <a:cubicBezTo>
                    <a:pt x="311"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53" name="îṡḷîḍê">
              <a:extLst>
                <a:ext uri="{FF2B5EF4-FFF2-40B4-BE49-F238E27FC236}">
                  <a16:creationId xmlns:a16="http://schemas.microsoft.com/office/drawing/2014/main" id="{39B618A4-1EBC-4C34-8A77-911134B0F03A}"/>
                </a:ext>
              </a:extLst>
            </p:cNvPr>
            <p:cNvSpPr/>
            <p:nvPr/>
          </p:nvSpPr>
          <p:spPr>
            <a:xfrm>
              <a:off x="5803358" y="5238388"/>
              <a:ext cx="109447" cy="63445"/>
            </a:xfrm>
            <a:custGeom>
              <a:avLst/>
              <a:gdLst>
                <a:gd name="connsiteX0" fmla="*/ -336 w 35956"/>
                <a:gd name="connsiteY0" fmla="*/ 10227 h 20843"/>
                <a:gd name="connsiteX1" fmla="*/ 1188 w 35956"/>
                <a:gd name="connsiteY1" fmla="*/ 12513 h 20843"/>
                <a:gd name="connsiteX2" fmla="*/ 3569 w 35956"/>
                <a:gd name="connsiteY2" fmla="*/ 13846 h 20843"/>
                <a:gd name="connsiteX3" fmla="*/ 13856 w 35956"/>
                <a:gd name="connsiteY3" fmla="*/ 19752 h 20843"/>
                <a:gd name="connsiteX4" fmla="*/ 21476 w 35956"/>
                <a:gd name="connsiteY4" fmla="*/ 19752 h 20843"/>
                <a:gd name="connsiteX5" fmla="*/ 31763 w 35956"/>
                <a:gd name="connsiteY5" fmla="*/ 13846 h 20843"/>
                <a:gd name="connsiteX6" fmla="*/ 34049 w 35956"/>
                <a:gd name="connsiteY6" fmla="*/ 12513 h 20843"/>
                <a:gd name="connsiteX7" fmla="*/ 35477 w 35956"/>
                <a:gd name="connsiteY7" fmla="*/ 9465 h 20843"/>
                <a:gd name="connsiteX8" fmla="*/ 34049 w 35956"/>
                <a:gd name="connsiteY8" fmla="*/ 8036 h 20843"/>
                <a:gd name="connsiteX9" fmla="*/ 21476 w 35956"/>
                <a:gd name="connsiteY9" fmla="*/ 702 h 20843"/>
                <a:gd name="connsiteX10" fmla="*/ 13856 w 35956"/>
                <a:gd name="connsiteY10" fmla="*/ 702 h 20843"/>
                <a:gd name="connsiteX11" fmla="*/ 1188 w 35956"/>
                <a:gd name="connsiteY11" fmla="*/ 8036 h 20843"/>
                <a:gd name="connsiteX12" fmla="*/ -336 w 35956"/>
                <a:gd name="connsiteY12" fmla="*/ 10227 h 20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956" h="20843">
                  <a:moveTo>
                    <a:pt x="-336" y="10227"/>
                  </a:moveTo>
                  <a:cubicBezTo>
                    <a:pt x="-270" y="11208"/>
                    <a:pt x="311" y="12075"/>
                    <a:pt x="1188" y="12513"/>
                  </a:cubicBezTo>
                  <a:lnTo>
                    <a:pt x="3569" y="13846"/>
                  </a:lnTo>
                  <a:lnTo>
                    <a:pt x="13856" y="19752"/>
                  </a:lnTo>
                  <a:cubicBezTo>
                    <a:pt x="16247" y="20990"/>
                    <a:pt x="19085" y="20990"/>
                    <a:pt x="21476" y="19752"/>
                  </a:cubicBezTo>
                  <a:lnTo>
                    <a:pt x="31763" y="13846"/>
                  </a:lnTo>
                  <a:lnTo>
                    <a:pt x="34049" y="12513"/>
                  </a:lnTo>
                  <a:cubicBezTo>
                    <a:pt x="35287" y="12065"/>
                    <a:pt x="35925" y="10694"/>
                    <a:pt x="35477" y="9465"/>
                  </a:cubicBezTo>
                  <a:cubicBezTo>
                    <a:pt x="35230" y="8798"/>
                    <a:pt x="34716" y="8274"/>
                    <a:pt x="34049"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754" name="ïṥ1ïďè">
              <a:extLst>
                <a:ext uri="{FF2B5EF4-FFF2-40B4-BE49-F238E27FC236}">
                  <a16:creationId xmlns:a16="http://schemas.microsoft.com/office/drawing/2014/main" id="{66E77DE4-7691-4EC9-AAFB-FFC6EFB852B2}"/>
                </a:ext>
              </a:extLst>
            </p:cNvPr>
            <p:cNvSpPr/>
            <p:nvPr/>
          </p:nvSpPr>
          <p:spPr>
            <a:xfrm>
              <a:off x="5805170" y="5239572"/>
              <a:ext cx="105898" cy="61101"/>
            </a:xfrm>
            <a:custGeom>
              <a:avLst/>
              <a:gdLst>
                <a:gd name="connsiteX0" fmla="*/ 1164 w 34790"/>
                <a:gd name="connsiteY0" fmla="*/ 12029 h 20073"/>
                <a:gd name="connsiteX1" fmla="*/ 13356 w 34790"/>
                <a:gd name="connsiteY1" fmla="*/ 18982 h 20073"/>
                <a:gd name="connsiteX2" fmla="*/ 20785 w 34790"/>
                <a:gd name="connsiteY2" fmla="*/ 18982 h 20073"/>
                <a:gd name="connsiteX3" fmla="*/ 32882 w 34790"/>
                <a:gd name="connsiteY3" fmla="*/ 12029 h 20073"/>
                <a:gd name="connsiteX4" fmla="*/ 32882 w 34790"/>
                <a:gd name="connsiteY4" fmla="*/ 7743 h 20073"/>
                <a:gd name="connsiteX5" fmla="*/ 20785 w 34790"/>
                <a:gd name="connsiteY5" fmla="*/ 695 h 20073"/>
                <a:gd name="connsiteX6" fmla="*/ 13356 w 34790"/>
                <a:gd name="connsiteY6" fmla="*/ 695 h 20073"/>
                <a:gd name="connsiteX7" fmla="*/ 1164 w 34790"/>
                <a:gd name="connsiteY7" fmla="*/ 7743 h 20073"/>
                <a:gd name="connsiteX8" fmla="*/ 1164 w 34790"/>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3">
                  <a:moveTo>
                    <a:pt x="1164" y="12029"/>
                  </a:moveTo>
                  <a:lnTo>
                    <a:pt x="13356" y="18982"/>
                  </a:lnTo>
                  <a:cubicBezTo>
                    <a:pt x="15680" y="20221"/>
                    <a:pt x="18461" y="20221"/>
                    <a:pt x="20785" y="18982"/>
                  </a:cubicBezTo>
                  <a:lnTo>
                    <a:pt x="32882" y="12029"/>
                  </a:lnTo>
                  <a:cubicBezTo>
                    <a:pt x="34978" y="10791"/>
                    <a:pt x="34978" y="8886"/>
                    <a:pt x="32882" y="7743"/>
                  </a:cubicBezTo>
                  <a:lnTo>
                    <a:pt x="20785" y="695"/>
                  </a:lnTo>
                  <a:cubicBezTo>
                    <a:pt x="18442" y="-448"/>
                    <a:pt x="15699" y="-448"/>
                    <a:pt x="13356" y="695"/>
                  </a:cubicBezTo>
                  <a:lnTo>
                    <a:pt x="1164" y="7743"/>
                  </a:lnTo>
                  <a:cubicBezTo>
                    <a:pt x="-836" y="8886"/>
                    <a:pt x="-836" y="10791"/>
                    <a:pt x="1164" y="12029"/>
                  </a:cubicBezTo>
                  <a:close/>
                </a:path>
              </a:pathLst>
            </a:custGeom>
            <a:solidFill>
              <a:srgbClr val="D1D9E8"/>
            </a:solidFill>
            <a:ln w="9525" cap="flat">
              <a:noFill/>
              <a:prstDash val="solid"/>
              <a:miter/>
            </a:ln>
          </p:spPr>
          <p:txBody>
            <a:bodyPr rtlCol="0" anchor="ctr"/>
            <a:lstStyle/>
            <a:p>
              <a:endParaRPr lang="zh-CN" altLang="en-US"/>
            </a:p>
          </p:txBody>
        </p:sp>
        <p:sp>
          <p:nvSpPr>
            <p:cNvPr id="755" name="îsļïḑé">
              <a:extLst>
                <a:ext uri="{FF2B5EF4-FFF2-40B4-BE49-F238E27FC236}">
                  <a16:creationId xmlns:a16="http://schemas.microsoft.com/office/drawing/2014/main" id="{CD9273CC-D65A-40AC-A298-37CB0AC1F338}"/>
                </a:ext>
              </a:extLst>
            </p:cNvPr>
            <p:cNvSpPr/>
            <p:nvPr/>
          </p:nvSpPr>
          <p:spPr>
            <a:xfrm>
              <a:off x="5803358" y="5268854"/>
              <a:ext cx="109594" cy="53804"/>
            </a:xfrm>
            <a:custGeom>
              <a:avLst/>
              <a:gdLst>
                <a:gd name="connsiteX0" fmla="*/ -336 w 36004"/>
                <a:gd name="connsiteY0" fmla="*/ 218 h 17676"/>
                <a:gd name="connsiteX1" fmla="*/ -336 w 36004"/>
                <a:gd name="connsiteY1" fmla="*/ 7076 h 17676"/>
                <a:gd name="connsiteX2" fmla="*/ 1188 w 36004"/>
                <a:gd name="connsiteY2" fmla="*/ 9267 h 17676"/>
                <a:gd name="connsiteX3" fmla="*/ 13856 w 36004"/>
                <a:gd name="connsiteY3" fmla="*/ 16506 h 17676"/>
                <a:gd name="connsiteX4" fmla="*/ 21476 w 36004"/>
                <a:gd name="connsiteY4" fmla="*/ 16506 h 17676"/>
                <a:gd name="connsiteX5" fmla="*/ 34049 w 36004"/>
                <a:gd name="connsiteY5" fmla="*/ 9267 h 17676"/>
                <a:gd name="connsiteX6" fmla="*/ 35668 w 36004"/>
                <a:gd name="connsiteY6" fmla="*/ 6981 h 17676"/>
                <a:gd name="connsiteX7" fmla="*/ 35668 w 36004"/>
                <a:gd name="connsiteY7" fmla="*/ -163 h 17676"/>
                <a:gd name="connsiteX8" fmla="*/ 34049 w 36004"/>
                <a:gd name="connsiteY8" fmla="*/ 2124 h 17676"/>
                <a:gd name="connsiteX9" fmla="*/ 31763 w 36004"/>
                <a:gd name="connsiteY9" fmla="*/ 3457 h 17676"/>
                <a:gd name="connsiteX10" fmla="*/ 21476 w 36004"/>
                <a:gd name="connsiteY10" fmla="*/ 9362 h 17676"/>
                <a:gd name="connsiteX11" fmla="*/ 13856 w 36004"/>
                <a:gd name="connsiteY11" fmla="*/ 9362 h 17676"/>
                <a:gd name="connsiteX12" fmla="*/ 3569 w 36004"/>
                <a:gd name="connsiteY12" fmla="*/ 3457 h 17676"/>
                <a:gd name="connsiteX13" fmla="*/ 1188 w 36004"/>
                <a:gd name="connsiteY13" fmla="*/ 2124 h 17676"/>
                <a:gd name="connsiteX14" fmla="*/ -336 w 36004"/>
                <a:gd name="connsiteY14" fmla="*/ 218 h 17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6">
                  <a:moveTo>
                    <a:pt x="-336" y="218"/>
                  </a:moveTo>
                  <a:lnTo>
                    <a:pt x="-336" y="7076"/>
                  </a:lnTo>
                  <a:cubicBezTo>
                    <a:pt x="-279" y="8029"/>
                    <a:pt x="311" y="8877"/>
                    <a:pt x="1188" y="9267"/>
                  </a:cubicBezTo>
                  <a:lnTo>
                    <a:pt x="13856" y="16506"/>
                  </a:lnTo>
                  <a:cubicBezTo>
                    <a:pt x="16218" y="17849"/>
                    <a:pt x="19114" y="17849"/>
                    <a:pt x="21476" y="16506"/>
                  </a:cubicBezTo>
                  <a:lnTo>
                    <a:pt x="34049" y="9267"/>
                  </a:lnTo>
                  <a:cubicBezTo>
                    <a:pt x="34992" y="8896"/>
                    <a:pt x="35630" y="8000"/>
                    <a:pt x="35668" y="6981"/>
                  </a:cubicBezTo>
                  <a:lnTo>
                    <a:pt x="35668" y="-163"/>
                  </a:lnTo>
                  <a:cubicBezTo>
                    <a:pt x="35601" y="847"/>
                    <a:pt x="34973" y="1733"/>
                    <a:pt x="34049" y="2124"/>
                  </a:cubicBezTo>
                  <a:lnTo>
                    <a:pt x="31763" y="3457"/>
                  </a:lnTo>
                  <a:lnTo>
                    <a:pt x="21476" y="9362"/>
                  </a:lnTo>
                  <a:cubicBezTo>
                    <a:pt x="19085" y="10601"/>
                    <a:pt x="16247" y="10601"/>
                    <a:pt x="13856" y="9362"/>
                  </a:cubicBezTo>
                  <a:lnTo>
                    <a:pt x="3569" y="3457"/>
                  </a:lnTo>
                  <a:lnTo>
                    <a:pt x="1188" y="2124"/>
                  </a:lnTo>
                  <a:cubicBezTo>
                    <a:pt x="416" y="1761"/>
                    <a:pt x="-156" y="1057"/>
                    <a:pt x="-336" y="218"/>
                  </a:cubicBezTo>
                  <a:close/>
                </a:path>
              </a:pathLst>
            </a:custGeom>
            <a:solidFill>
              <a:srgbClr val="BF4200"/>
            </a:solidFill>
            <a:ln w="9525" cap="flat">
              <a:noFill/>
              <a:prstDash val="solid"/>
              <a:miter/>
            </a:ln>
          </p:spPr>
          <p:txBody>
            <a:bodyPr rtlCol="0" anchor="ctr"/>
            <a:lstStyle/>
            <a:p>
              <a:endParaRPr lang="zh-CN" altLang="en-US"/>
            </a:p>
          </p:txBody>
        </p:sp>
        <p:sp>
          <p:nvSpPr>
            <p:cNvPr id="756" name="ïṥ1îḍè">
              <a:extLst>
                <a:ext uri="{FF2B5EF4-FFF2-40B4-BE49-F238E27FC236}">
                  <a16:creationId xmlns:a16="http://schemas.microsoft.com/office/drawing/2014/main" id="{292D7253-DAD1-4D7B-9FBA-5238B7AAB45A}"/>
                </a:ext>
              </a:extLst>
            </p:cNvPr>
            <p:cNvSpPr/>
            <p:nvPr/>
          </p:nvSpPr>
          <p:spPr>
            <a:xfrm>
              <a:off x="5880190" y="5283039"/>
              <a:ext cx="109740" cy="63445"/>
            </a:xfrm>
            <a:custGeom>
              <a:avLst/>
              <a:gdLst>
                <a:gd name="connsiteX0" fmla="*/ -336 w 36052"/>
                <a:gd name="connsiteY0" fmla="*/ 10227 h 20843"/>
                <a:gd name="connsiteX1" fmla="*/ 1188 w 36052"/>
                <a:gd name="connsiteY1" fmla="*/ 12513 h 20843"/>
                <a:gd name="connsiteX2" fmla="*/ 3569 w 36052"/>
                <a:gd name="connsiteY2" fmla="*/ 13846 h 20843"/>
                <a:gd name="connsiteX3" fmla="*/ 13856 w 36052"/>
                <a:gd name="connsiteY3" fmla="*/ 19752 h 20843"/>
                <a:gd name="connsiteX4" fmla="*/ 21476 w 36052"/>
                <a:gd name="connsiteY4" fmla="*/ 19752 h 20843"/>
                <a:gd name="connsiteX5" fmla="*/ 31763 w 36052"/>
                <a:gd name="connsiteY5" fmla="*/ 13846 h 20843"/>
                <a:gd name="connsiteX6" fmla="*/ 34144 w 36052"/>
                <a:gd name="connsiteY6" fmla="*/ 12513 h 20843"/>
                <a:gd name="connsiteX7" fmla="*/ 35573 w 36052"/>
                <a:gd name="connsiteY7" fmla="*/ 9465 h 20843"/>
                <a:gd name="connsiteX8" fmla="*/ 34144 w 36052"/>
                <a:gd name="connsiteY8" fmla="*/ 8036 h 20843"/>
                <a:gd name="connsiteX9" fmla="*/ 21476 w 36052"/>
                <a:gd name="connsiteY9" fmla="*/ 702 h 20843"/>
                <a:gd name="connsiteX10" fmla="*/ 13856 w 36052"/>
                <a:gd name="connsiteY10" fmla="*/ 702 h 20843"/>
                <a:gd name="connsiteX11" fmla="*/ 1188 w 36052"/>
                <a:gd name="connsiteY11" fmla="*/ 8036 h 20843"/>
                <a:gd name="connsiteX12" fmla="*/ -336 w 36052"/>
                <a:gd name="connsiteY12" fmla="*/ 10227 h 20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3">
                  <a:moveTo>
                    <a:pt x="-336" y="10227"/>
                  </a:moveTo>
                  <a:cubicBezTo>
                    <a:pt x="-270" y="11208"/>
                    <a:pt x="311" y="12075"/>
                    <a:pt x="1188" y="12513"/>
                  </a:cubicBezTo>
                  <a:lnTo>
                    <a:pt x="3569" y="13846"/>
                  </a:lnTo>
                  <a:lnTo>
                    <a:pt x="13856" y="19752"/>
                  </a:lnTo>
                  <a:cubicBezTo>
                    <a:pt x="16247" y="20990"/>
                    <a:pt x="19085" y="20990"/>
                    <a:pt x="21476" y="19752"/>
                  </a:cubicBezTo>
                  <a:lnTo>
                    <a:pt x="31763" y="13846"/>
                  </a:lnTo>
                  <a:lnTo>
                    <a:pt x="34144" y="12513"/>
                  </a:lnTo>
                  <a:cubicBezTo>
                    <a:pt x="35382" y="12065"/>
                    <a:pt x="36020" y="10693"/>
                    <a:pt x="35573" y="9465"/>
                  </a:cubicBezTo>
                  <a:cubicBezTo>
                    <a:pt x="35325" y="8798"/>
                    <a:pt x="34811" y="8274"/>
                    <a:pt x="34144"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757" name="iṩḷîďé">
              <a:extLst>
                <a:ext uri="{FF2B5EF4-FFF2-40B4-BE49-F238E27FC236}">
                  <a16:creationId xmlns:a16="http://schemas.microsoft.com/office/drawing/2014/main" id="{2BDA689A-97F4-4FBB-9FC6-1F359020D99D}"/>
                </a:ext>
              </a:extLst>
            </p:cNvPr>
            <p:cNvSpPr/>
            <p:nvPr/>
          </p:nvSpPr>
          <p:spPr>
            <a:xfrm>
              <a:off x="5881931" y="5284220"/>
              <a:ext cx="106550" cy="61104"/>
            </a:xfrm>
            <a:custGeom>
              <a:avLst/>
              <a:gdLst>
                <a:gd name="connsiteX0" fmla="*/ 1378 w 35004"/>
                <a:gd name="connsiteY0" fmla="*/ 12029 h 20074"/>
                <a:gd name="connsiteX1" fmla="*/ 13570 w 35004"/>
                <a:gd name="connsiteY1" fmla="*/ 18983 h 20074"/>
                <a:gd name="connsiteX2" fmla="*/ 21000 w 35004"/>
                <a:gd name="connsiteY2" fmla="*/ 18983 h 20074"/>
                <a:gd name="connsiteX3" fmla="*/ 33097 w 35004"/>
                <a:gd name="connsiteY3" fmla="*/ 12029 h 20074"/>
                <a:gd name="connsiteX4" fmla="*/ 33097 w 35004"/>
                <a:gd name="connsiteY4" fmla="*/ 7743 h 20074"/>
                <a:gd name="connsiteX5" fmla="*/ 21000 w 35004"/>
                <a:gd name="connsiteY5" fmla="*/ 695 h 20074"/>
                <a:gd name="connsiteX6" fmla="*/ 13570 w 35004"/>
                <a:gd name="connsiteY6" fmla="*/ 695 h 20074"/>
                <a:gd name="connsiteX7" fmla="*/ 1378 w 35004"/>
                <a:gd name="connsiteY7" fmla="*/ 7743 h 20074"/>
                <a:gd name="connsiteX8" fmla="*/ 1378 w 35004"/>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004" h="20074">
                  <a:moveTo>
                    <a:pt x="1378" y="12029"/>
                  </a:moveTo>
                  <a:lnTo>
                    <a:pt x="13570" y="18983"/>
                  </a:lnTo>
                  <a:cubicBezTo>
                    <a:pt x="15894" y="20221"/>
                    <a:pt x="18676" y="20221"/>
                    <a:pt x="21000" y="18983"/>
                  </a:cubicBezTo>
                  <a:lnTo>
                    <a:pt x="33097" y="12029"/>
                  </a:lnTo>
                  <a:cubicBezTo>
                    <a:pt x="35192" y="10791"/>
                    <a:pt x="35192" y="8886"/>
                    <a:pt x="33097" y="7743"/>
                  </a:cubicBezTo>
                  <a:lnTo>
                    <a:pt x="21000" y="695"/>
                  </a:lnTo>
                  <a:cubicBezTo>
                    <a:pt x="18656" y="-448"/>
                    <a:pt x="15913" y="-448"/>
                    <a:pt x="13570" y="695"/>
                  </a:cubicBezTo>
                  <a:lnTo>
                    <a:pt x="1378" y="7743"/>
                  </a:lnTo>
                  <a:cubicBezTo>
                    <a:pt x="-908" y="8886"/>
                    <a:pt x="-908" y="10791"/>
                    <a:pt x="1378" y="12029"/>
                  </a:cubicBezTo>
                  <a:close/>
                </a:path>
              </a:pathLst>
            </a:custGeom>
            <a:solidFill>
              <a:srgbClr val="D1D9E8"/>
            </a:solidFill>
            <a:ln w="9525" cap="flat">
              <a:noFill/>
              <a:prstDash val="solid"/>
              <a:miter/>
            </a:ln>
          </p:spPr>
          <p:txBody>
            <a:bodyPr rtlCol="0" anchor="ctr"/>
            <a:lstStyle/>
            <a:p>
              <a:endParaRPr lang="zh-CN" altLang="en-US"/>
            </a:p>
          </p:txBody>
        </p:sp>
        <p:sp>
          <p:nvSpPr>
            <p:cNvPr id="758" name="íŝḷíďé">
              <a:extLst>
                <a:ext uri="{FF2B5EF4-FFF2-40B4-BE49-F238E27FC236}">
                  <a16:creationId xmlns:a16="http://schemas.microsoft.com/office/drawing/2014/main" id="{0672DC44-DFB5-4EE6-A7DC-62CEDDA27E7A}"/>
                </a:ext>
              </a:extLst>
            </p:cNvPr>
            <p:cNvSpPr/>
            <p:nvPr/>
          </p:nvSpPr>
          <p:spPr>
            <a:xfrm>
              <a:off x="5880190" y="5314662"/>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3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3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2" y="7953"/>
                    <a:pt x="35668" y="6981"/>
                  </a:cubicBezTo>
                  <a:lnTo>
                    <a:pt x="35668" y="-163"/>
                  </a:lnTo>
                  <a:cubicBezTo>
                    <a:pt x="35602" y="818"/>
                    <a:pt x="35021" y="1685"/>
                    <a:pt x="34144" y="2123"/>
                  </a:cubicBezTo>
                  <a:lnTo>
                    <a:pt x="31763" y="3457"/>
                  </a:lnTo>
                  <a:lnTo>
                    <a:pt x="21476" y="9362"/>
                  </a:lnTo>
                  <a:cubicBezTo>
                    <a:pt x="19085" y="10601"/>
                    <a:pt x="16247" y="10601"/>
                    <a:pt x="13856" y="9362"/>
                  </a:cubicBezTo>
                  <a:lnTo>
                    <a:pt x="3569" y="3457"/>
                  </a:lnTo>
                  <a:lnTo>
                    <a:pt x="1188"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59" name="ïsḷíde">
              <a:extLst>
                <a:ext uri="{FF2B5EF4-FFF2-40B4-BE49-F238E27FC236}">
                  <a16:creationId xmlns:a16="http://schemas.microsoft.com/office/drawing/2014/main" id="{ED7A2CB4-55DE-4FA9-B8AB-57A3CF3AEC20}"/>
                </a:ext>
              </a:extLst>
            </p:cNvPr>
            <p:cNvSpPr/>
            <p:nvPr/>
          </p:nvSpPr>
          <p:spPr>
            <a:xfrm>
              <a:off x="5957893" y="5327492"/>
              <a:ext cx="109594" cy="63639"/>
            </a:xfrm>
            <a:custGeom>
              <a:avLst/>
              <a:gdLst>
                <a:gd name="connsiteX0" fmla="*/ -336 w 36004"/>
                <a:gd name="connsiteY0" fmla="*/ 10291 h 20907"/>
                <a:gd name="connsiteX1" fmla="*/ 1188 w 36004"/>
                <a:gd name="connsiteY1" fmla="*/ 12577 h 20907"/>
                <a:gd name="connsiteX2" fmla="*/ 3569 w 36004"/>
                <a:gd name="connsiteY2" fmla="*/ 13910 h 20907"/>
                <a:gd name="connsiteX3" fmla="*/ 13856 w 36004"/>
                <a:gd name="connsiteY3" fmla="*/ 19816 h 20907"/>
                <a:gd name="connsiteX4" fmla="*/ 21476 w 36004"/>
                <a:gd name="connsiteY4" fmla="*/ 19816 h 20907"/>
                <a:gd name="connsiteX5" fmla="*/ 31763 w 36004"/>
                <a:gd name="connsiteY5" fmla="*/ 13910 h 20907"/>
                <a:gd name="connsiteX6" fmla="*/ 34144 w 36004"/>
                <a:gd name="connsiteY6" fmla="*/ 12577 h 20907"/>
                <a:gd name="connsiteX7" fmla="*/ 35668 w 36004"/>
                <a:gd name="connsiteY7" fmla="*/ 10291 h 20907"/>
                <a:gd name="connsiteX8" fmla="*/ 34144 w 36004"/>
                <a:gd name="connsiteY8" fmla="*/ 8100 h 20907"/>
                <a:gd name="connsiteX9" fmla="*/ 21476 w 36004"/>
                <a:gd name="connsiteY9" fmla="*/ 766 h 20907"/>
                <a:gd name="connsiteX10" fmla="*/ 13856 w 36004"/>
                <a:gd name="connsiteY10" fmla="*/ 766 h 20907"/>
                <a:gd name="connsiteX11" fmla="*/ 1188 w 36004"/>
                <a:gd name="connsiteY11" fmla="*/ 8100 h 20907"/>
                <a:gd name="connsiteX12" fmla="*/ -336 w 36004"/>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907">
                  <a:moveTo>
                    <a:pt x="-336" y="10291"/>
                  </a:moveTo>
                  <a:cubicBezTo>
                    <a:pt x="-269" y="11272"/>
                    <a:pt x="311" y="12139"/>
                    <a:pt x="1188" y="12577"/>
                  </a:cubicBezTo>
                  <a:lnTo>
                    <a:pt x="3569" y="13910"/>
                  </a:lnTo>
                  <a:lnTo>
                    <a:pt x="13856" y="19816"/>
                  </a:lnTo>
                  <a:cubicBezTo>
                    <a:pt x="16247" y="21054"/>
                    <a:pt x="19085" y="21054"/>
                    <a:pt x="21476" y="19816"/>
                  </a:cubicBezTo>
                  <a:lnTo>
                    <a:pt x="31763" y="13910"/>
                  </a:lnTo>
                  <a:lnTo>
                    <a:pt x="34144" y="12577"/>
                  </a:lnTo>
                  <a:cubicBezTo>
                    <a:pt x="35021" y="12139"/>
                    <a:pt x="35602" y="11272"/>
                    <a:pt x="35668" y="10291"/>
                  </a:cubicBezTo>
                  <a:cubicBezTo>
                    <a:pt x="35611" y="9339"/>
                    <a:pt x="35021" y="8491"/>
                    <a:pt x="34144" y="8100"/>
                  </a:cubicBezTo>
                  <a:lnTo>
                    <a:pt x="21476" y="766"/>
                  </a:lnTo>
                  <a:cubicBezTo>
                    <a:pt x="19085" y="-472"/>
                    <a:pt x="16247" y="-472"/>
                    <a:pt x="13856" y="766"/>
                  </a:cubicBezTo>
                  <a:lnTo>
                    <a:pt x="1188" y="8100"/>
                  </a:lnTo>
                  <a:cubicBezTo>
                    <a:pt x="311" y="8491"/>
                    <a:pt x="-279"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760" name="işḻîḋê">
              <a:extLst>
                <a:ext uri="{FF2B5EF4-FFF2-40B4-BE49-F238E27FC236}">
                  <a16:creationId xmlns:a16="http://schemas.microsoft.com/office/drawing/2014/main" id="{AEC3B2BC-6010-466F-9AEA-3F316BC7528C}"/>
                </a:ext>
              </a:extLst>
            </p:cNvPr>
            <p:cNvSpPr/>
            <p:nvPr/>
          </p:nvSpPr>
          <p:spPr>
            <a:xfrm>
              <a:off x="5959841" y="5328868"/>
              <a:ext cx="105761" cy="61104"/>
            </a:xfrm>
            <a:custGeom>
              <a:avLst/>
              <a:gdLst>
                <a:gd name="connsiteX0" fmla="*/ 1119 w 34745"/>
                <a:gd name="connsiteY0" fmla="*/ 12029 h 20074"/>
                <a:gd name="connsiteX1" fmla="*/ 13311 w 34745"/>
                <a:gd name="connsiteY1" fmla="*/ 18983 h 20074"/>
                <a:gd name="connsiteX2" fmla="*/ 20741 w 34745"/>
                <a:gd name="connsiteY2" fmla="*/ 18983 h 20074"/>
                <a:gd name="connsiteX3" fmla="*/ 32838 w 34745"/>
                <a:gd name="connsiteY3" fmla="*/ 12029 h 20074"/>
                <a:gd name="connsiteX4" fmla="*/ 32838 w 34745"/>
                <a:gd name="connsiteY4" fmla="*/ 7743 h 20074"/>
                <a:gd name="connsiteX5" fmla="*/ 21122 w 34745"/>
                <a:gd name="connsiteY5" fmla="*/ 695 h 20074"/>
                <a:gd name="connsiteX6" fmla="*/ 13692 w 34745"/>
                <a:gd name="connsiteY6" fmla="*/ 695 h 20074"/>
                <a:gd name="connsiteX7" fmla="*/ 1500 w 34745"/>
                <a:gd name="connsiteY7" fmla="*/ 7743 h 20074"/>
                <a:gd name="connsiteX8" fmla="*/ 1119 w 34745"/>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45" h="20074">
                  <a:moveTo>
                    <a:pt x="1119" y="12029"/>
                  </a:moveTo>
                  <a:lnTo>
                    <a:pt x="13311" y="18983"/>
                  </a:lnTo>
                  <a:cubicBezTo>
                    <a:pt x="15636" y="20221"/>
                    <a:pt x="18417" y="20221"/>
                    <a:pt x="20741" y="18983"/>
                  </a:cubicBezTo>
                  <a:lnTo>
                    <a:pt x="32838" y="12029"/>
                  </a:lnTo>
                  <a:cubicBezTo>
                    <a:pt x="34933" y="10791"/>
                    <a:pt x="34933" y="8886"/>
                    <a:pt x="32838" y="7743"/>
                  </a:cubicBezTo>
                  <a:lnTo>
                    <a:pt x="21122" y="695"/>
                  </a:lnTo>
                  <a:cubicBezTo>
                    <a:pt x="18779" y="-448"/>
                    <a:pt x="16036" y="-448"/>
                    <a:pt x="13692" y="695"/>
                  </a:cubicBezTo>
                  <a:lnTo>
                    <a:pt x="1500" y="7743"/>
                  </a:lnTo>
                  <a:cubicBezTo>
                    <a:pt x="-881" y="8886"/>
                    <a:pt x="-881" y="10791"/>
                    <a:pt x="1119" y="12029"/>
                  </a:cubicBezTo>
                  <a:close/>
                </a:path>
              </a:pathLst>
            </a:custGeom>
            <a:solidFill>
              <a:srgbClr val="D1D9E8"/>
            </a:solidFill>
            <a:ln w="9525" cap="flat">
              <a:noFill/>
              <a:prstDash val="solid"/>
              <a:miter/>
            </a:ln>
          </p:spPr>
          <p:txBody>
            <a:bodyPr rtlCol="0" anchor="ctr"/>
            <a:lstStyle/>
            <a:p>
              <a:endParaRPr lang="zh-CN" altLang="en-US"/>
            </a:p>
          </p:txBody>
        </p:sp>
        <p:sp>
          <p:nvSpPr>
            <p:cNvPr id="761" name="íṧḻïḍê">
              <a:extLst>
                <a:ext uri="{FF2B5EF4-FFF2-40B4-BE49-F238E27FC236}">
                  <a16:creationId xmlns:a16="http://schemas.microsoft.com/office/drawing/2014/main" id="{54C459E8-DDFA-43D9-A6BA-4F95DBF1A99A}"/>
                </a:ext>
              </a:extLst>
            </p:cNvPr>
            <p:cNvSpPr/>
            <p:nvPr/>
          </p:nvSpPr>
          <p:spPr>
            <a:xfrm>
              <a:off x="5957893" y="5359314"/>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4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4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20"/>
                    <a:pt x="35582" y="7953"/>
                    <a:pt x="35668" y="6981"/>
                  </a:cubicBezTo>
                  <a:lnTo>
                    <a:pt x="35668" y="-163"/>
                  </a:lnTo>
                  <a:cubicBezTo>
                    <a:pt x="35602" y="819"/>
                    <a:pt x="35021" y="1685"/>
                    <a:pt x="34144" y="2124"/>
                  </a:cubicBezTo>
                  <a:lnTo>
                    <a:pt x="31763" y="3457"/>
                  </a:lnTo>
                  <a:lnTo>
                    <a:pt x="21476" y="9362"/>
                  </a:lnTo>
                  <a:cubicBezTo>
                    <a:pt x="19085" y="10601"/>
                    <a:pt x="16247" y="10601"/>
                    <a:pt x="13856" y="9362"/>
                  </a:cubicBezTo>
                  <a:lnTo>
                    <a:pt x="3569" y="3457"/>
                  </a:lnTo>
                  <a:lnTo>
                    <a:pt x="1188" y="2124"/>
                  </a:lnTo>
                  <a:cubicBezTo>
                    <a:pt x="311" y="1685"/>
                    <a:pt x="-269" y="819"/>
                    <a:pt x="-336" y="-163"/>
                  </a:cubicBezTo>
                  <a:close/>
                </a:path>
              </a:pathLst>
            </a:custGeom>
            <a:solidFill>
              <a:srgbClr val="BF4200"/>
            </a:solidFill>
            <a:ln w="9525" cap="flat">
              <a:noFill/>
              <a:prstDash val="solid"/>
              <a:miter/>
            </a:ln>
          </p:spPr>
          <p:txBody>
            <a:bodyPr rtlCol="0" anchor="ctr"/>
            <a:lstStyle/>
            <a:p>
              <a:endParaRPr lang="zh-CN" altLang="en-US"/>
            </a:p>
          </p:txBody>
        </p:sp>
        <p:sp>
          <p:nvSpPr>
            <p:cNvPr id="762" name="íşḻîḍê">
              <a:extLst>
                <a:ext uri="{FF2B5EF4-FFF2-40B4-BE49-F238E27FC236}">
                  <a16:creationId xmlns:a16="http://schemas.microsoft.com/office/drawing/2014/main" id="{51A328CD-D0DB-4693-A594-CD23A1F004A9}"/>
                </a:ext>
              </a:extLst>
            </p:cNvPr>
            <p:cNvSpPr/>
            <p:nvPr/>
          </p:nvSpPr>
          <p:spPr>
            <a:xfrm>
              <a:off x="6035595" y="5373498"/>
              <a:ext cx="197155" cy="113892"/>
            </a:xfrm>
            <a:custGeom>
              <a:avLst/>
              <a:gdLst>
                <a:gd name="connsiteX0" fmla="*/ -336 w 64770"/>
                <a:gd name="connsiteY0" fmla="*/ 10227 h 37416"/>
                <a:gd name="connsiteX1" fmla="*/ 1188 w 64770"/>
                <a:gd name="connsiteY1" fmla="*/ 12513 h 37416"/>
                <a:gd name="connsiteX2" fmla="*/ 3569 w 64770"/>
                <a:gd name="connsiteY2" fmla="*/ 13846 h 37416"/>
                <a:gd name="connsiteX3" fmla="*/ 42526 w 64770"/>
                <a:gd name="connsiteY3" fmla="*/ 36325 h 37416"/>
                <a:gd name="connsiteX4" fmla="*/ 50242 w 64770"/>
                <a:gd name="connsiteY4" fmla="*/ 36325 h 37416"/>
                <a:gd name="connsiteX5" fmla="*/ 60433 w 64770"/>
                <a:gd name="connsiteY5" fmla="*/ 30420 h 37416"/>
                <a:gd name="connsiteX6" fmla="*/ 62814 w 64770"/>
                <a:gd name="connsiteY6" fmla="*/ 28991 h 37416"/>
                <a:gd name="connsiteX7" fmla="*/ 64434 w 64770"/>
                <a:gd name="connsiteY7" fmla="*/ 27372 h 37416"/>
                <a:gd name="connsiteX8" fmla="*/ 64434 w 64770"/>
                <a:gd name="connsiteY8" fmla="*/ 26229 h 37416"/>
                <a:gd name="connsiteX9" fmla="*/ 62814 w 64770"/>
                <a:gd name="connsiteY9" fmla="*/ 24610 h 37416"/>
                <a:gd name="connsiteX10" fmla="*/ 21476 w 64770"/>
                <a:gd name="connsiteY10" fmla="*/ 702 h 37416"/>
                <a:gd name="connsiteX11" fmla="*/ 13856 w 64770"/>
                <a:gd name="connsiteY11" fmla="*/ 702 h 37416"/>
                <a:gd name="connsiteX12" fmla="*/ 1188 w 64770"/>
                <a:gd name="connsiteY12" fmla="*/ 8036 h 37416"/>
                <a:gd name="connsiteX13" fmla="*/ -336 w 64770"/>
                <a:gd name="connsiteY13" fmla="*/ 10227 h 37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4770" h="37416">
                  <a:moveTo>
                    <a:pt x="-336" y="10227"/>
                  </a:moveTo>
                  <a:cubicBezTo>
                    <a:pt x="-269" y="11208"/>
                    <a:pt x="312" y="12075"/>
                    <a:pt x="1188" y="12513"/>
                  </a:cubicBezTo>
                  <a:lnTo>
                    <a:pt x="3569" y="13846"/>
                  </a:lnTo>
                  <a:lnTo>
                    <a:pt x="42526" y="36325"/>
                  </a:lnTo>
                  <a:cubicBezTo>
                    <a:pt x="44946" y="37563"/>
                    <a:pt x="47822" y="37563"/>
                    <a:pt x="50242" y="36325"/>
                  </a:cubicBezTo>
                  <a:lnTo>
                    <a:pt x="60433" y="30420"/>
                  </a:lnTo>
                  <a:lnTo>
                    <a:pt x="62814" y="28991"/>
                  </a:lnTo>
                  <a:cubicBezTo>
                    <a:pt x="63529" y="28658"/>
                    <a:pt x="64100" y="28086"/>
                    <a:pt x="64434" y="27372"/>
                  </a:cubicBezTo>
                  <a:lnTo>
                    <a:pt x="64434" y="26229"/>
                  </a:lnTo>
                  <a:cubicBezTo>
                    <a:pt x="64043" y="25553"/>
                    <a:pt x="63491" y="25000"/>
                    <a:pt x="62814" y="24610"/>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763" name="isḷíḓe">
              <a:extLst>
                <a:ext uri="{FF2B5EF4-FFF2-40B4-BE49-F238E27FC236}">
                  <a16:creationId xmlns:a16="http://schemas.microsoft.com/office/drawing/2014/main" id="{071DD57A-0C44-4039-8C6D-74CCE1CD3299}"/>
                </a:ext>
              </a:extLst>
            </p:cNvPr>
            <p:cNvSpPr/>
            <p:nvPr/>
          </p:nvSpPr>
          <p:spPr>
            <a:xfrm>
              <a:off x="6037479" y="5374679"/>
              <a:ext cx="193168" cy="111551"/>
            </a:xfrm>
            <a:custGeom>
              <a:avLst/>
              <a:gdLst>
                <a:gd name="connsiteX0" fmla="*/ 42002 w 63460"/>
                <a:gd name="connsiteY0" fmla="*/ 35556 h 36647"/>
                <a:gd name="connsiteX1" fmla="*/ 1235 w 63460"/>
                <a:gd name="connsiteY1" fmla="*/ 12030 h 36647"/>
                <a:gd name="connsiteX2" fmla="*/ 1235 w 63460"/>
                <a:gd name="connsiteY2" fmla="*/ 7743 h 36647"/>
                <a:gd name="connsiteX3" fmla="*/ 13332 w 63460"/>
                <a:gd name="connsiteY3" fmla="*/ 695 h 36647"/>
                <a:gd name="connsiteX4" fmla="*/ 20762 w 63460"/>
                <a:gd name="connsiteY4" fmla="*/ 695 h 36647"/>
                <a:gd name="connsiteX5" fmla="*/ 61624 w 63460"/>
                <a:gd name="connsiteY5" fmla="*/ 24317 h 36647"/>
                <a:gd name="connsiteX6" fmla="*/ 61624 w 63460"/>
                <a:gd name="connsiteY6" fmla="*/ 28603 h 36647"/>
                <a:gd name="connsiteX7" fmla="*/ 49432 w 63460"/>
                <a:gd name="connsiteY7" fmla="*/ 35556 h 36647"/>
                <a:gd name="connsiteX8" fmla="*/ 42002 w 63460"/>
                <a:gd name="connsiteY8" fmla="*/ 35556 h 366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3460" h="36647">
                  <a:moveTo>
                    <a:pt x="42002" y="35556"/>
                  </a:moveTo>
                  <a:lnTo>
                    <a:pt x="1235" y="12030"/>
                  </a:lnTo>
                  <a:cubicBezTo>
                    <a:pt x="-860" y="10791"/>
                    <a:pt x="-860" y="8886"/>
                    <a:pt x="1235" y="7743"/>
                  </a:cubicBezTo>
                  <a:lnTo>
                    <a:pt x="13332" y="695"/>
                  </a:lnTo>
                  <a:cubicBezTo>
                    <a:pt x="15675" y="-448"/>
                    <a:pt x="18419" y="-448"/>
                    <a:pt x="20762" y="695"/>
                  </a:cubicBezTo>
                  <a:lnTo>
                    <a:pt x="61624" y="24317"/>
                  </a:lnTo>
                  <a:cubicBezTo>
                    <a:pt x="63624" y="25460"/>
                    <a:pt x="63624" y="27365"/>
                    <a:pt x="61624" y="28603"/>
                  </a:cubicBezTo>
                  <a:lnTo>
                    <a:pt x="49432" y="35556"/>
                  </a:lnTo>
                  <a:cubicBezTo>
                    <a:pt x="47108" y="36794"/>
                    <a:pt x="44327" y="36794"/>
                    <a:pt x="42002" y="35556"/>
                  </a:cubicBezTo>
                  <a:close/>
                </a:path>
              </a:pathLst>
            </a:custGeom>
            <a:solidFill>
              <a:srgbClr val="D1D9E8"/>
            </a:solidFill>
            <a:ln w="9525" cap="flat">
              <a:noFill/>
              <a:prstDash val="solid"/>
              <a:miter/>
            </a:ln>
          </p:spPr>
          <p:txBody>
            <a:bodyPr rtlCol="0" anchor="ctr"/>
            <a:lstStyle/>
            <a:p>
              <a:endParaRPr lang="zh-CN" altLang="en-US"/>
            </a:p>
          </p:txBody>
        </p:sp>
        <p:sp>
          <p:nvSpPr>
            <p:cNvPr id="764" name="îś1iďè">
              <a:extLst>
                <a:ext uri="{FF2B5EF4-FFF2-40B4-BE49-F238E27FC236}">
                  <a16:creationId xmlns:a16="http://schemas.microsoft.com/office/drawing/2014/main" id="{7D9D27D9-6748-4614-A112-2C98BE28EC17}"/>
                </a:ext>
              </a:extLst>
            </p:cNvPr>
            <p:cNvSpPr/>
            <p:nvPr/>
          </p:nvSpPr>
          <p:spPr>
            <a:xfrm>
              <a:off x="6035595" y="5405122"/>
              <a:ext cx="197155" cy="104011"/>
            </a:xfrm>
            <a:custGeom>
              <a:avLst/>
              <a:gdLst>
                <a:gd name="connsiteX0" fmla="*/ -336 w 64770"/>
                <a:gd name="connsiteY0" fmla="*/ -163 h 34170"/>
                <a:gd name="connsiteX1" fmla="*/ -336 w 64770"/>
                <a:gd name="connsiteY1" fmla="*/ 6981 h 34170"/>
                <a:gd name="connsiteX2" fmla="*/ 1188 w 64770"/>
                <a:gd name="connsiteY2" fmla="*/ 9267 h 34170"/>
                <a:gd name="connsiteX3" fmla="*/ 42526 w 64770"/>
                <a:gd name="connsiteY3" fmla="*/ 33080 h 34170"/>
                <a:gd name="connsiteX4" fmla="*/ 50242 w 64770"/>
                <a:gd name="connsiteY4" fmla="*/ 33080 h 34170"/>
                <a:gd name="connsiteX5" fmla="*/ 62814 w 64770"/>
                <a:gd name="connsiteY5" fmla="*/ 25841 h 34170"/>
                <a:gd name="connsiteX6" fmla="*/ 64434 w 64770"/>
                <a:gd name="connsiteY6" fmla="*/ 24221 h 34170"/>
                <a:gd name="connsiteX7" fmla="*/ 64434 w 64770"/>
                <a:gd name="connsiteY7" fmla="*/ 16982 h 34170"/>
                <a:gd name="connsiteX8" fmla="*/ 62814 w 64770"/>
                <a:gd name="connsiteY8" fmla="*/ 18602 h 34170"/>
                <a:gd name="connsiteX9" fmla="*/ 60433 w 64770"/>
                <a:gd name="connsiteY9" fmla="*/ 20030 h 34170"/>
                <a:gd name="connsiteX10" fmla="*/ 50242 w 64770"/>
                <a:gd name="connsiteY10" fmla="*/ 25936 h 34170"/>
                <a:gd name="connsiteX11" fmla="*/ 42526 w 64770"/>
                <a:gd name="connsiteY11" fmla="*/ 25936 h 34170"/>
                <a:gd name="connsiteX12" fmla="*/ 3569 w 64770"/>
                <a:gd name="connsiteY12" fmla="*/ 3457 h 34170"/>
                <a:gd name="connsiteX13" fmla="*/ 1188 w 64770"/>
                <a:gd name="connsiteY13" fmla="*/ 2123 h 34170"/>
                <a:gd name="connsiteX14" fmla="*/ -336 w 64770"/>
                <a:gd name="connsiteY14" fmla="*/ -163 h 341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4770" h="34170">
                  <a:moveTo>
                    <a:pt x="-336" y="-163"/>
                  </a:moveTo>
                  <a:lnTo>
                    <a:pt x="-336" y="6981"/>
                  </a:lnTo>
                  <a:cubicBezTo>
                    <a:pt x="-269" y="7962"/>
                    <a:pt x="312" y="8829"/>
                    <a:pt x="1188" y="9267"/>
                  </a:cubicBezTo>
                  <a:lnTo>
                    <a:pt x="42526" y="33080"/>
                  </a:lnTo>
                  <a:cubicBezTo>
                    <a:pt x="44946" y="34318"/>
                    <a:pt x="47822" y="34318"/>
                    <a:pt x="50242" y="33080"/>
                  </a:cubicBezTo>
                  <a:lnTo>
                    <a:pt x="62814" y="25841"/>
                  </a:lnTo>
                  <a:cubicBezTo>
                    <a:pt x="63443" y="25402"/>
                    <a:pt x="63996" y="24850"/>
                    <a:pt x="64434" y="24221"/>
                  </a:cubicBezTo>
                  <a:lnTo>
                    <a:pt x="64434" y="16982"/>
                  </a:lnTo>
                  <a:cubicBezTo>
                    <a:pt x="64100" y="17697"/>
                    <a:pt x="63529" y="18268"/>
                    <a:pt x="62814" y="18602"/>
                  </a:cubicBezTo>
                  <a:lnTo>
                    <a:pt x="60433" y="20030"/>
                  </a:lnTo>
                  <a:lnTo>
                    <a:pt x="50242" y="25936"/>
                  </a:lnTo>
                  <a:cubicBezTo>
                    <a:pt x="47822" y="27174"/>
                    <a:pt x="44946" y="27174"/>
                    <a:pt x="42526" y="25936"/>
                  </a:cubicBezTo>
                  <a:lnTo>
                    <a:pt x="3569" y="3457"/>
                  </a:lnTo>
                  <a:lnTo>
                    <a:pt x="1188" y="2123"/>
                  </a:lnTo>
                  <a:cubicBezTo>
                    <a:pt x="312"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65" name="ïṩľïḍè">
              <a:extLst>
                <a:ext uri="{FF2B5EF4-FFF2-40B4-BE49-F238E27FC236}">
                  <a16:creationId xmlns:a16="http://schemas.microsoft.com/office/drawing/2014/main" id="{04B388A3-46D6-45E3-9172-A529AA2E238C}"/>
                </a:ext>
              </a:extLst>
            </p:cNvPr>
            <p:cNvSpPr/>
            <p:nvPr/>
          </p:nvSpPr>
          <p:spPr>
            <a:xfrm>
              <a:off x="4920799" y="4820746"/>
              <a:ext cx="109740" cy="63289"/>
            </a:xfrm>
            <a:custGeom>
              <a:avLst/>
              <a:gdLst>
                <a:gd name="connsiteX0" fmla="*/ -336 w 36052"/>
                <a:gd name="connsiteY0" fmla="*/ 10177 h 20792"/>
                <a:gd name="connsiteX1" fmla="*/ 1283 w 36052"/>
                <a:gd name="connsiteY1" fmla="*/ 12463 h 20792"/>
                <a:gd name="connsiteX2" fmla="*/ 3569 w 36052"/>
                <a:gd name="connsiteY2" fmla="*/ 13796 h 20792"/>
                <a:gd name="connsiteX3" fmla="*/ 13856 w 36052"/>
                <a:gd name="connsiteY3" fmla="*/ 19702 h 20792"/>
                <a:gd name="connsiteX4" fmla="*/ 21571 w 36052"/>
                <a:gd name="connsiteY4" fmla="*/ 19702 h 20792"/>
                <a:gd name="connsiteX5" fmla="*/ 31858 w 36052"/>
                <a:gd name="connsiteY5" fmla="*/ 13796 h 20792"/>
                <a:gd name="connsiteX6" fmla="*/ 34144 w 36052"/>
                <a:gd name="connsiteY6" fmla="*/ 12463 h 20792"/>
                <a:gd name="connsiteX7" fmla="*/ 35573 w 36052"/>
                <a:gd name="connsiteY7" fmla="*/ 9415 h 20792"/>
                <a:gd name="connsiteX8" fmla="*/ 34144 w 36052"/>
                <a:gd name="connsiteY8" fmla="*/ 7986 h 20792"/>
                <a:gd name="connsiteX9" fmla="*/ 21571 w 36052"/>
                <a:gd name="connsiteY9" fmla="*/ 652 h 20792"/>
                <a:gd name="connsiteX10" fmla="*/ 13856 w 36052"/>
                <a:gd name="connsiteY10" fmla="*/ 652 h 20792"/>
                <a:gd name="connsiteX11" fmla="*/ 1283 w 36052"/>
                <a:gd name="connsiteY11" fmla="*/ 7986 h 20792"/>
                <a:gd name="connsiteX12" fmla="*/ -336 w 36052"/>
                <a:gd name="connsiteY12" fmla="*/ 10177 h 20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792">
                  <a:moveTo>
                    <a:pt x="-336" y="10177"/>
                  </a:moveTo>
                  <a:cubicBezTo>
                    <a:pt x="-232" y="11167"/>
                    <a:pt x="378" y="12034"/>
                    <a:pt x="1283" y="12463"/>
                  </a:cubicBezTo>
                  <a:lnTo>
                    <a:pt x="3569" y="13796"/>
                  </a:lnTo>
                  <a:lnTo>
                    <a:pt x="13856" y="19702"/>
                  </a:lnTo>
                  <a:cubicBezTo>
                    <a:pt x="16275" y="20940"/>
                    <a:pt x="19152" y="20940"/>
                    <a:pt x="21571" y="19702"/>
                  </a:cubicBezTo>
                  <a:lnTo>
                    <a:pt x="31858" y="13796"/>
                  </a:lnTo>
                  <a:lnTo>
                    <a:pt x="34144" y="12463"/>
                  </a:lnTo>
                  <a:cubicBezTo>
                    <a:pt x="35382" y="12015"/>
                    <a:pt x="36020" y="10643"/>
                    <a:pt x="35573" y="9415"/>
                  </a:cubicBezTo>
                  <a:cubicBezTo>
                    <a:pt x="35325" y="8748"/>
                    <a:pt x="34811" y="8224"/>
                    <a:pt x="34144" y="7986"/>
                  </a:cubicBezTo>
                  <a:lnTo>
                    <a:pt x="21571" y="652"/>
                  </a:lnTo>
                  <a:cubicBezTo>
                    <a:pt x="19114" y="-434"/>
                    <a:pt x="16313" y="-434"/>
                    <a:pt x="13856" y="652"/>
                  </a:cubicBezTo>
                  <a:lnTo>
                    <a:pt x="1283" y="7986"/>
                  </a:lnTo>
                  <a:cubicBezTo>
                    <a:pt x="407" y="8396"/>
                    <a:pt x="-203" y="9224"/>
                    <a:pt x="-336" y="10177"/>
                  </a:cubicBezTo>
                  <a:close/>
                </a:path>
              </a:pathLst>
            </a:custGeom>
            <a:solidFill>
              <a:srgbClr val="FFFFFF"/>
            </a:solidFill>
            <a:ln w="9525" cap="flat">
              <a:noFill/>
              <a:prstDash val="solid"/>
              <a:miter/>
            </a:ln>
          </p:spPr>
          <p:txBody>
            <a:bodyPr rtlCol="0" anchor="ctr"/>
            <a:lstStyle/>
            <a:p>
              <a:endParaRPr lang="zh-CN" altLang="en-US"/>
            </a:p>
          </p:txBody>
        </p:sp>
        <p:sp>
          <p:nvSpPr>
            <p:cNvPr id="766" name="íṩlïḋe">
              <a:extLst>
                <a:ext uri="{FF2B5EF4-FFF2-40B4-BE49-F238E27FC236}">
                  <a16:creationId xmlns:a16="http://schemas.microsoft.com/office/drawing/2014/main" id="{7539D7A0-EB84-49B5-93C0-DED68F7C194B}"/>
                </a:ext>
              </a:extLst>
            </p:cNvPr>
            <p:cNvSpPr/>
            <p:nvPr/>
          </p:nvSpPr>
          <p:spPr>
            <a:xfrm>
              <a:off x="4922902" y="4821774"/>
              <a:ext cx="105679" cy="61101"/>
            </a:xfrm>
            <a:custGeom>
              <a:avLst/>
              <a:gdLst>
                <a:gd name="connsiteX0" fmla="*/ 1164 w 34718"/>
                <a:gd name="connsiteY0" fmla="*/ 12029 h 20073"/>
                <a:gd name="connsiteX1" fmla="*/ 13261 w 34718"/>
                <a:gd name="connsiteY1" fmla="*/ 18982 h 20073"/>
                <a:gd name="connsiteX2" fmla="*/ 20690 w 34718"/>
                <a:gd name="connsiteY2" fmla="*/ 18982 h 20073"/>
                <a:gd name="connsiteX3" fmla="*/ 32882 w 34718"/>
                <a:gd name="connsiteY3" fmla="*/ 12029 h 20073"/>
                <a:gd name="connsiteX4" fmla="*/ 32882 w 34718"/>
                <a:gd name="connsiteY4" fmla="*/ 7743 h 20073"/>
                <a:gd name="connsiteX5" fmla="*/ 20690 w 34718"/>
                <a:gd name="connsiteY5" fmla="*/ 695 h 20073"/>
                <a:gd name="connsiteX6" fmla="*/ 13261 w 34718"/>
                <a:gd name="connsiteY6" fmla="*/ 695 h 20073"/>
                <a:gd name="connsiteX7" fmla="*/ 1164 w 34718"/>
                <a:gd name="connsiteY7" fmla="*/ 7743 h 20073"/>
                <a:gd name="connsiteX8" fmla="*/ 1164 w 34718"/>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18" h="20073">
                  <a:moveTo>
                    <a:pt x="1164" y="12029"/>
                  </a:moveTo>
                  <a:lnTo>
                    <a:pt x="13261" y="18982"/>
                  </a:lnTo>
                  <a:cubicBezTo>
                    <a:pt x="15585" y="20221"/>
                    <a:pt x="18366" y="20221"/>
                    <a:pt x="20690" y="18982"/>
                  </a:cubicBezTo>
                  <a:lnTo>
                    <a:pt x="32882" y="12029"/>
                  </a:lnTo>
                  <a:cubicBezTo>
                    <a:pt x="34882" y="10791"/>
                    <a:pt x="34882" y="8886"/>
                    <a:pt x="32882" y="7743"/>
                  </a:cubicBezTo>
                  <a:lnTo>
                    <a:pt x="20690" y="695"/>
                  </a:lnTo>
                  <a:cubicBezTo>
                    <a:pt x="18347" y="-448"/>
                    <a:pt x="15604" y="-448"/>
                    <a:pt x="13261" y="695"/>
                  </a:cubicBezTo>
                  <a:lnTo>
                    <a:pt x="1164" y="7743"/>
                  </a:lnTo>
                  <a:cubicBezTo>
                    <a:pt x="-836" y="8886"/>
                    <a:pt x="-836" y="11077"/>
                    <a:pt x="1164" y="12029"/>
                  </a:cubicBezTo>
                  <a:close/>
                </a:path>
              </a:pathLst>
            </a:custGeom>
            <a:solidFill>
              <a:srgbClr val="D1D9E8"/>
            </a:solidFill>
            <a:ln w="9525" cap="flat">
              <a:noFill/>
              <a:prstDash val="solid"/>
              <a:miter/>
            </a:ln>
          </p:spPr>
          <p:txBody>
            <a:bodyPr rtlCol="0" anchor="ctr"/>
            <a:lstStyle/>
            <a:p>
              <a:endParaRPr lang="zh-CN" altLang="en-US"/>
            </a:p>
          </p:txBody>
        </p:sp>
        <p:sp>
          <p:nvSpPr>
            <p:cNvPr id="767" name="îṩlïďe">
              <a:extLst>
                <a:ext uri="{FF2B5EF4-FFF2-40B4-BE49-F238E27FC236}">
                  <a16:creationId xmlns:a16="http://schemas.microsoft.com/office/drawing/2014/main" id="{1D5F43EE-1618-49B2-AA2A-0D77F4E30E8F}"/>
                </a:ext>
              </a:extLst>
            </p:cNvPr>
            <p:cNvSpPr/>
            <p:nvPr/>
          </p:nvSpPr>
          <p:spPr>
            <a:xfrm>
              <a:off x="4920799" y="4852217"/>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4 w 36099"/>
                <a:gd name="connsiteY6" fmla="*/ 6981 h 17597"/>
                <a:gd name="connsiteX7" fmla="*/ 35764 w 36099"/>
                <a:gd name="connsiteY7" fmla="*/ -163 h 17597"/>
                <a:gd name="connsiteX8" fmla="*/ 34144 w 36099"/>
                <a:gd name="connsiteY8" fmla="*/ 2123 h 17597"/>
                <a:gd name="connsiteX9" fmla="*/ 31858 w 36099"/>
                <a:gd name="connsiteY9" fmla="*/ 3457 h 17597"/>
                <a:gd name="connsiteX10" fmla="*/ 21571 w 36099"/>
                <a:gd name="connsiteY10" fmla="*/ 9362 h 17597"/>
                <a:gd name="connsiteX11" fmla="*/ 13856 w 36099"/>
                <a:gd name="connsiteY11" fmla="*/ 9362 h 17597"/>
                <a:gd name="connsiteX12" fmla="*/ 3569 w 36099"/>
                <a:gd name="connsiteY12" fmla="*/ 3457 h 17597"/>
                <a:gd name="connsiteX13" fmla="*/ 1283 w 36099"/>
                <a:gd name="connsiteY13" fmla="*/ 2123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03" y="8029"/>
                    <a:pt x="407" y="8857"/>
                    <a:pt x="1283" y="9267"/>
                  </a:cubicBezTo>
                  <a:lnTo>
                    <a:pt x="13856" y="16506"/>
                  </a:lnTo>
                  <a:cubicBezTo>
                    <a:pt x="16275" y="17744"/>
                    <a:pt x="19152" y="17744"/>
                    <a:pt x="21571" y="16506"/>
                  </a:cubicBezTo>
                  <a:lnTo>
                    <a:pt x="34144" y="9267"/>
                  </a:lnTo>
                  <a:cubicBezTo>
                    <a:pt x="35030" y="8829"/>
                    <a:pt x="35640" y="7962"/>
                    <a:pt x="35764" y="6981"/>
                  </a:cubicBezTo>
                  <a:lnTo>
                    <a:pt x="35764" y="-163"/>
                  </a:lnTo>
                  <a:cubicBezTo>
                    <a:pt x="35659" y="828"/>
                    <a:pt x="35049" y="1695"/>
                    <a:pt x="34144" y="2123"/>
                  </a:cubicBezTo>
                  <a:lnTo>
                    <a:pt x="31858" y="3457"/>
                  </a:lnTo>
                  <a:lnTo>
                    <a:pt x="21571" y="9362"/>
                  </a:lnTo>
                  <a:cubicBezTo>
                    <a:pt x="19152" y="10601"/>
                    <a:pt x="16275" y="10601"/>
                    <a:pt x="13856" y="9362"/>
                  </a:cubicBezTo>
                  <a:lnTo>
                    <a:pt x="3569" y="3457"/>
                  </a:lnTo>
                  <a:lnTo>
                    <a:pt x="1283" y="2123"/>
                  </a:lnTo>
                  <a:cubicBezTo>
                    <a:pt x="378" y="1695"/>
                    <a:pt x="-232"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68" name="îṩḷîḋe">
              <a:extLst>
                <a:ext uri="{FF2B5EF4-FFF2-40B4-BE49-F238E27FC236}">
                  <a16:creationId xmlns:a16="http://schemas.microsoft.com/office/drawing/2014/main" id="{720027C5-90CE-437D-9089-D36A073C7668}"/>
                </a:ext>
              </a:extLst>
            </p:cNvPr>
            <p:cNvSpPr/>
            <p:nvPr/>
          </p:nvSpPr>
          <p:spPr>
            <a:xfrm>
              <a:off x="4998212" y="4865047"/>
              <a:ext cx="109740" cy="63639"/>
            </a:xfrm>
            <a:custGeom>
              <a:avLst/>
              <a:gdLst>
                <a:gd name="connsiteX0" fmla="*/ -336 w 36052"/>
                <a:gd name="connsiteY0" fmla="*/ 10291 h 20907"/>
                <a:gd name="connsiteX1" fmla="*/ 1188 w 36052"/>
                <a:gd name="connsiteY1" fmla="*/ 12577 h 20907"/>
                <a:gd name="connsiteX2" fmla="*/ 3569 w 36052"/>
                <a:gd name="connsiteY2" fmla="*/ 13911 h 20907"/>
                <a:gd name="connsiteX3" fmla="*/ 13856 w 36052"/>
                <a:gd name="connsiteY3" fmla="*/ 19816 h 20907"/>
                <a:gd name="connsiteX4" fmla="*/ 21476 w 36052"/>
                <a:gd name="connsiteY4" fmla="*/ 19816 h 20907"/>
                <a:gd name="connsiteX5" fmla="*/ 31763 w 36052"/>
                <a:gd name="connsiteY5" fmla="*/ 13911 h 20907"/>
                <a:gd name="connsiteX6" fmla="*/ 34144 w 36052"/>
                <a:gd name="connsiteY6" fmla="*/ 12577 h 20907"/>
                <a:gd name="connsiteX7" fmla="*/ 35573 w 36052"/>
                <a:gd name="connsiteY7" fmla="*/ 9529 h 20907"/>
                <a:gd name="connsiteX8" fmla="*/ 34144 w 36052"/>
                <a:gd name="connsiteY8" fmla="*/ 8100 h 20907"/>
                <a:gd name="connsiteX9" fmla="*/ 21476 w 36052"/>
                <a:gd name="connsiteY9" fmla="*/ 766 h 20907"/>
                <a:gd name="connsiteX10" fmla="*/ 13856 w 36052"/>
                <a:gd name="connsiteY10" fmla="*/ 766 h 20907"/>
                <a:gd name="connsiteX11" fmla="*/ 1188 w 36052"/>
                <a:gd name="connsiteY11" fmla="*/ 8100 h 20907"/>
                <a:gd name="connsiteX12" fmla="*/ -336 w 36052"/>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907">
                  <a:moveTo>
                    <a:pt x="-336" y="10291"/>
                  </a:moveTo>
                  <a:cubicBezTo>
                    <a:pt x="-269" y="11272"/>
                    <a:pt x="312" y="12139"/>
                    <a:pt x="1188" y="12577"/>
                  </a:cubicBezTo>
                  <a:lnTo>
                    <a:pt x="3569" y="13911"/>
                  </a:lnTo>
                  <a:lnTo>
                    <a:pt x="13856" y="19816"/>
                  </a:lnTo>
                  <a:cubicBezTo>
                    <a:pt x="16247" y="21054"/>
                    <a:pt x="19085" y="21054"/>
                    <a:pt x="21476" y="19816"/>
                  </a:cubicBezTo>
                  <a:lnTo>
                    <a:pt x="31763" y="13911"/>
                  </a:lnTo>
                  <a:lnTo>
                    <a:pt x="34144" y="12577"/>
                  </a:lnTo>
                  <a:cubicBezTo>
                    <a:pt x="35382" y="12129"/>
                    <a:pt x="36021" y="10758"/>
                    <a:pt x="35573" y="9529"/>
                  </a:cubicBezTo>
                  <a:cubicBezTo>
                    <a:pt x="35325" y="8862"/>
                    <a:pt x="34811" y="8338"/>
                    <a:pt x="34144" y="8100"/>
                  </a:cubicBezTo>
                  <a:lnTo>
                    <a:pt x="21476" y="766"/>
                  </a:lnTo>
                  <a:cubicBezTo>
                    <a:pt x="19085" y="-472"/>
                    <a:pt x="16247" y="-472"/>
                    <a:pt x="13856" y="766"/>
                  </a:cubicBezTo>
                  <a:lnTo>
                    <a:pt x="1188" y="8100"/>
                  </a:lnTo>
                  <a:cubicBezTo>
                    <a:pt x="340" y="8519"/>
                    <a:pt x="-241" y="9348"/>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769" name="îṧlïdê">
              <a:extLst>
                <a:ext uri="{FF2B5EF4-FFF2-40B4-BE49-F238E27FC236}">
                  <a16:creationId xmlns:a16="http://schemas.microsoft.com/office/drawing/2014/main" id="{D296E0A0-D5E7-4207-9A7F-EFCE78822F3D}"/>
                </a:ext>
              </a:extLst>
            </p:cNvPr>
            <p:cNvSpPr/>
            <p:nvPr/>
          </p:nvSpPr>
          <p:spPr>
            <a:xfrm>
              <a:off x="5000096" y="4866426"/>
              <a:ext cx="105825" cy="61101"/>
            </a:xfrm>
            <a:custGeom>
              <a:avLst/>
              <a:gdLst>
                <a:gd name="connsiteX0" fmla="*/ 1235 w 34766"/>
                <a:gd name="connsiteY0" fmla="*/ 12030 h 20073"/>
                <a:gd name="connsiteX1" fmla="*/ 13332 w 34766"/>
                <a:gd name="connsiteY1" fmla="*/ 18983 h 20073"/>
                <a:gd name="connsiteX2" fmla="*/ 20761 w 34766"/>
                <a:gd name="connsiteY2" fmla="*/ 18983 h 20073"/>
                <a:gd name="connsiteX3" fmla="*/ 32858 w 34766"/>
                <a:gd name="connsiteY3" fmla="*/ 12030 h 20073"/>
                <a:gd name="connsiteX4" fmla="*/ 32858 w 34766"/>
                <a:gd name="connsiteY4" fmla="*/ 7743 h 20073"/>
                <a:gd name="connsiteX5" fmla="*/ 20761 w 34766"/>
                <a:gd name="connsiteY5" fmla="*/ 695 h 20073"/>
                <a:gd name="connsiteX6" fmla="*/ 13332 w 34766"/>
                <a:gd name="connsiteY6" fmla="*/ 695 h 20073"/>
                <a:gd name="connsiteX7" fmla="*/ 1235 w 34766"/>
                <a:gd name="connsiteY7" fmla="*/ 7743 h 20073"/>
                <a:gd name="connsiteX8" fmla="*/ 1235 w 34766"/>
                <a:gd name="connsiteY8" fmla="*/ 12030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6" h="20073">
                  <a:moveTo>
                    <a:pt x="1235" y="12030"/>
                  </a:moveTo>
                  <a:lnTo>
                    <a:pt x="13332" y="18983"/>
                  </a:lnTo>
                  <a:cubicBezTo>
                    <a:pt x="15656" y="20221"/>
                    <a:pt x="18437" y="20221"/>
                    <a:pt x="20761" y="18983"/>
                  </a:cubicBezTo>
                  <a:lnTo>
                    <a:pt x="32858" y="12030"/>
                  </a:lnTo>
                  <a:cubicBezTo>
                    <a:pt x="34954" y="10791"/>
                    <a:pt x="34954" y="8886"/>
                    <a:pt x="32858" y="7743"/>
                  </a:cubicBezTo>
                  <a:lnTo>
                    <a:pt x="20761" y="695"/>
                  </a:lnTo>
                  <a:cubicBezTo>
                    <a:pt x="18419" y="-448"/>
                    <a:pt x="15675" y="-448"/>
                    <a:pt x="13332" y="695"/>
                  </a:cubicBezTo>
                  <a:lnTo>
                    <a:pt x="1235" y="7743"/>
                  </a:lnTo>
                  <a:cubicBezTo>
                    <a:pt x="-860" y="8886"/>
                    <a:pt x="-860" y="10791"/>
                    <a:pt x="1235" y="12030"/>
                  </a:cubicBezTo>
                  <a:close/>
                </a:path>
              </a:pathLst>
            </a:custGeom>
            <a:solidFill>
              <a:srgbClr val="D1D9E8"/>
            </a:solidFill>
            <a:ln w="9525" cap="flat">
              <a:noFill/>
              <a:prstDash val="solid"/>
              <a:miter/>
            </a:ln>
          </p:spPr>
          <p:txBody>
            <a:bodyPr rtlCol="0" anchor="ctr"/>
            <a:lstStyle/>
            <a:p>
              <a:endParaRPr lang="zh-CN" altLang="en-US"/>
            </a:p>
          </p:txBody>
        </p:sp>
        <p:sp>
          <p:nvSpPr>
            <p:cNvPr id="770" name="î$ḻíďê">
              <a:extLst>
                <a:ext uri="{FF2B5EF4-FFF2-40B4-BE49-F238E27FC236}">
                  <a16:creationId xmlns:a16="http://schemas.microsoft.com/office/drawing/2014/main" id="{A5EA3187-8D26-44EB-A0BF-8BFA9FA1CFE6}"/>
                </a:ext>
              </a:extLst>
            </p:cNvPr>
            <p:cNvSpPr/>
            <p:nvPr/>
          </p:nvSpPr>
          <p:spPr>
            <a:xfrm>
              <a:off x="4998212" y="4896868"/>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3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3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3" y="7953"/>
                    <a:pt x="35668" y="6981"/>
                  </a:cubicBezTo>
                  <a:lnTo>
                    <a:pt x="35668" y="-163"/>
                  </a:lnTo>
                  <a:cubicBezTo>
                    <a:pt x="35602" y="818"/>
                    <a:pt x="35021" y="1685"/>
                    <a:pt x="34144" y="2123"/>
                  </a:cubicBezTo>
                  <a:lnTo>
                    <a:pt x="31763" y="3457"/>
                  </a:lnTo>
                  <a:lnTo>
                    <a:pt x="21476" y="9362"/>
                  </a:lnTo>
                  <a:cubicBezTo>
                    <a:pt x="19085" y="10601"/>
                    <a:pt x="16247" y="10601"/>
                    <a:pt x="13856" y="9362"/>
                  </a:cubicBezTo>
                  <a:lnTo>
                    <a:pt x="3569" y="3457"/>
                  </a:lnTo>
                  <a:lnTo>
                    <a:pt x="1188" y="2123"/>
                  </a:lnTo>
                  <a:cubicBezTo>
                    <a:pt x="312"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71" name="îṥľîḋê">
              <a:extLst>
                <a:ext uri="{FF2B5EF4-FFF2-40B4-BE49-F238E27FC236}">
                  <a16:creationId xmlns:a16="http://schemas.microsoft.com/office/drawing/2014/main" id="{E3F1E167-18E3-4513-AC3F-490566F5DE83}"/>
                </a:ext>
              </a:extLst>
            </p:cNvPr>
            <p:cNvSpPr/>
            <p:nvPr/>
          </p:nvSpPr>
          <p:spPr>
            <a:xfrm>
              <a:off x="5075333" y="4911147"/>
              <a:ext cx="109015" cy="63639"/>
            </a:xfrm>
            <a:custGeom>
              <a:avLst/>
              <a:gdLst>
                <a:gd name="connsiteX0" fmla="*/ -336 w 35814"/>
                <a:gd name="connsiteY0" fmla="*/ 10291 h 20907"/>
                <a:gd name="connsiteX1" fmla="*/ 1283 w 35814"/>
                <a:gd name="connsiteY1" fmla="*/ 12577 h 20907"/>
                <a:gd name="connsiteX2" fmla="*/ 3569 w 35814"/>
                <a:gd name="connsiteY2" fmla="*/ 13911 h 20907"/>
                <a:gd name="connsiteX3" fmla="*/ 13856 w 35814"/>
                <a:gd name="connsiteY3" fmla="*/ 19816 h 20907"/>
                <a:gd name="connsiteX4" fmla="*/ 21571 w 35814"/>
                <a:gd name="connsiteY4" fmla="*/ 19816 h 20907"/>
                <a:gd name="connsiteX5" fmla="*/ 31858 w 35814"/>
                <a:gd name="connsiteY5" fmla="*/ 13911 h 20907"/>
                <a:gd name="connsiteX6" fmla="*/ 34144 w 35814"/>
                <a:gd name="connsiteY6" fmla="*/ 12577 h 20907"/>
                <a:gd name="connsiteX7" fmla="*/ 35478 w 35814"/>
                <a:gd name="connsiteY7" fmla="*/ 10291 h 20907"/>
                <a:gd name="connsiteX8" fmla="*/ 33858 w 35814"/>
                <a:gd name="connsiteY8" fmla="*/ 8100 h 20907"/>
                <a:gd name="connsiteX9" fmla="*/ 21286 w 35814"/>
                <a:gd name="connsiteY9" fmla="*/ 766 h 20907"/>
                <a:gd name="connsiteX10" fmla="*/ 13570 w 35814"/>
                <a:gd name="connsiteY10" fmla="*/ 766 h 20907"/>
                <a:gd name="connsiteX11" fmla="*/ 997 w 35814"/>
                <a:gd name="connsiteY11" fmla="*/ 8100 h 20907"/>
                <a:gd name="connsiteX12" fmla="*/ -336 w 35814"/>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814" h="20907">
                  <a:moveTo>
                    <a:pt x="-336" y="10291"/>
                  </a:moveTo>
                  <a:cubicBezTo>
                    <a:pt x="-231" y="11282"/>
                    <a:pt x="378" y="12149"/>
                    <a:pt x="1283" y="12577"/>
                  </a:cubicBezTo>
                  <a:lnTo>
                    <a:pt x="3569" y="13911"/>
                  </a:lnTo>
                  <a:lnTo>
                    <a:pt x="13856" y="19816"/>
                  </a:lnTo>
                  <a:cubicBezTo>
                    <a:pt x="16275" y="21054"/>
                    <a:pt x="19152" y="21054"/>
                    <a:pt x="21571" y="19816"/>
                  </a:cubicBezTo>
                  <a:lnTo>
                    <a:pt x="31858" y="13911"/>
                  </a:lnTo>
                  <a:lnTo>
                    <a:pt x="34144" y="12577"/>
                  </a:lnTo>
                  <a:cubicBezTo>
                    <a:pt x="34964" y="12101"/>
                    <a:pt x="35468" y="11234"/>
                    <a:pt x="35478" y="10291"/>
                  </a:cubicBezTo>
                  <a:cubicBezTo>
                    <a:pt x="35402" y="9310"/>
                    <a:pt x="34773" y="8462"/>
                    <a:pt x="33858" y="8100"/>
                  </a:cubicBezTo>
                  <a:lnTo>
                    <a:pt x="21286" y="766"/>
                  </a:lnTo>
                  <a:cubicBezTo>
                    <a:pt x="18866" y="-472"/>
                    <a:pt x="15990" y="-472"/>
                    <a:pt x="13570" y="766"/>
                  </a:cubicBezTo>
                  <a:lnTo>
                    <a:pt x="997" y="8100"/>
                  </a:lnTo>
                  <a:cubicBezTo>
                    <a:pt x="216" y="8567"/>
                    <a:pt x="-279" y="9386"/>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772" name="ïṡḷîḑè">
              <a:extLst>
                <a:ext uri="{FF2B5EF4-FFF2-40B4-BE49-F238E27FC236}">
                  <a16:creationId xmlns:a16="http://schemas.microsoft.com/office/drawing/2014/main" id="{8897BE13-B5A0-46CE-9E47-8D566C462FEC}"/>
                </a:ext>
              </a:extLst>
            </p:cNvPr>
            <p:cNvSpPr/>
            <p:nvPr/>
          </p:nvSpPr>
          <p:spPr>
            <a:xfrm>
              <a:off x="5077437" y="4910858"/>
              <a:ext cx="105679" cy="61104"/>
            </a:xfrm>
            <a:custGeom>
              <a:avLst/>
              <a:gdLst>
                <a:gd name="connsiteX0" fmla="*/ 1164 w 34718"/>
                <a:gd name="connsiteY0" fmla="*/ 12006 h 20074"/>
                <a:gd name="connsiteX1" fmla="*/ 13356 w 34718"/>
                <a:gd name="connsiteY1" fmla="*/ 19054 h 20074"/>
                <a:gd name="connsiteX2" fmla="*/ 20785 w 34718"/>
                <a:gd name="connsiteY2" fmla="*/ 19054 h 20074"/>
                <a:gd name="connsiteX3" fmla="*/ 32882 w 34718"/>
                <a:gd name="connsiteY3" fmla="*/ 12006 h 20074"/>
                <a:gd name="connsiteX4" fmla="*/ 32882 w 34718"/>
                <a:gd name="connsiteY4" fmla="*/ 7719 h 20074"/>
                <a:gd name="connsiteX5" fmla="*/ 20785 w 34718"/>
                <a:gd name="connsiteY5" fmla="*/ 766 h 20074"/>
                <a:gd name="connsiteX6" fmla="*/ 13356 w 34718"/>
                <a:gd name="connsiteY6" fmla="*/ 766 h 20074"/>
                <a:gd name="connsiteX7" fmla="*/ 1164 w 34718"/>
                <a:gd name="connsiteY7" fmla="*/ 7719 h 20074"/>
                <a:gd name="connsiteX8" fmla="*/ 1164 w 34718"/>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18" h="20074">
                  <a:moveTo>
                    <a:pt x="1164" y="12006"/>
                  </a:moveTo>
                  <a:lnTo>
                    <a:pt x="13356" y="19054"/>
                  </a:lnTo>
                  <a:cubicBezTo>
                    <a:pt x="15699" y="20197"/>
                    <a:pt x="18442" y="20197"/>
                    <a:pt x="20785" y="19054"/>
                  </a:cubicBezTo>
                  <a:lnTo>
                    <a:pt x="32882" y="12006"/>
                  </a:lnTo>
                  <a:cubicBezTo>
                    <a:pt x="34882" y="10863"/>
                    <a:pt x="34882" y="8958"/>
                    <a:pt x="32882" y="7719"/>
                  </a:cubicBezTo>
                  <a:lnTo>
                    <a:pt x="20785" y="766"/>
                  </a:lnTo>
                  <a:cubicBezTo>
                    <a:pt x="18461" y="-472"/>
                    <a:pt x="15680" y="-472"/>
                    <a:pt x="13356" y="766"/>
                  </a:cubicBezTo>
                  <a:lnTo>
                    <a:pt x="1164" y="7719"/>
                  </a:lnTo>
                  <a:cubicBezTo>
                    <a:pt x="-836" y="8958"/>
                    <a:pt x="-836" y="10863"/>
                    <a:pt x="1164" y="12006"/>
                  </a:cubicBezTo>
                  <a:close/>
                </a:path>
              </a:pathLst>
            </a:custGeom>
            <a:solidFill>
              <a:srgbClr val="D1D9E8"/>
            </a:solidFill>
            <a:ln w="9525" cap="flat">
              <a:noFill/>
              <a:prstDash val="solid"/>
              <a:miter/>
            </a:ln>
          </p:spPr>
          <p:txBody>
            <a:bodyPr rtlCol="0" anchor="ctr"/>
            <a:lstStyle/>
            <a:p>
              <a:endParaRPr lang="zh-CN" altLang="en-US"/>
            </a:p>
          </p:txBody>
        </p:sp>
        <p:sp>
          <p:nvSpPr>
            <p:cNvPr id="773" name="ïŝľiḑé">
              <a:extLst>
                <a:ext uri="{FF2B5EF4-FFF2-40B4-BE49-F238E27FC236}">
                  <a16:creationId xmlns:a16="http://schemas.microsoft.com/office/drawing/2014/main" id="{B392D23A-7B7B-4934-960E-4E73E80226E8}"/>
                </a:ext>
              </a:extLst>
            </p:cNvPr>
            <p:cNvSpPr/>
            <p:nvPr/>
          </p:nvSpPr>
          <p:spPr>
            <a:xfrm>
              <a:off x="5075333" y="4942968"/>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4 w 36099"/>
                <a:gd name="connsiteY6" fmla="*/ 6981 h 17597"/>
                <a:gd name="connsiteX7" fmla="*/ 35764 w 36099"/>
                <a:gd name="connsiteY7" fmla="*/ -163 h 17597"/>
                <a:gd name="connsiteX8" fmla="*/ 34144 w 36099"/>
                <a:gd name="connsiteY8" fmla="*/ 2123 h 17597"/>
                <a:gd name="connsiteX9" fmla="*/ 31858 w 36099"/>
                <a:gd name="connsiteY9" fmla="*/ 3457 h 17597"/>
                <a:gd name="connsiteX10" fmla="*/ 21571 w 36099"/>
                <a:gd name="connsiteY10" fmla="*/ 9362 h 17597"/>
                <a:gd name="connsiteX11" fmla="*/ 13856 w 36099"/>
                <a:gd name="connsiteY11" fmla="*/ 9362 h 17597"/>
                <a:gd name="connsiteX12" fmla="*/ 3569 w 36099"/>
                <a:gd name="connsiteY12" fmla="*/ 3457 h 17597"/>
                <a:gd name="connsiteX13" fmla="*/ 1283 w 36099"/>
                <a:gd name="connsiteY13" fmla="*/ 2123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03" y="8038"/>
                    <a:pt x="407" y="8857"/>
                    <a:pt x="1283" y="9267"/>
                  </a:cubicBezTo>
                  <a:lnTo>
                    <a:pt x="13856" y="16506"/>
                  </a:lnTo>
                  <a:cubicBezTo>
                    <a:pt x="16275" y="17744"/>
                    <a:pt x="19152" y="17744"/>
                    <a:pt x="21571" y="16506"/>
                  </a:cubicBezTo>
                  <a:lnTo>
                    <a:pt x="34144" y="9267"/>
                  </a:lnTo>
                  <a:cubicBezTo>
                    <a:pt x="35059" y="8857"/>
                    <a:pt x="35678" y="7981"/>
                    <a:pt x="35764" y="6981"/>
                  </a:cubicBezTo>
                  <a:lnTo>
                    <a:pt x="35764" y="-163"/>
                  </a:lnTo>
                  <a:cubicBezTo>
                    <a:pt x="35697" y="847"/>
                    <a:pt x="35068" y="1733"/>
                    <a:pt x="34144" y="2123"/>
                  </a:cubicBezTo>
                  <a:lnTo>
                    <a:pt x="31858" y="3457"/>
                  </a:lnTo>
                  <a:lnTo>
                    <a:pt x="21571" y="9362"/>
                  </a:lnTo>
                  <a:cubicBezTo>
                    <a:pt x="19152" y="10601"/>
                    <a:pt x="16275" y="10601"/>
                    <a:pt x="13856" y="9362"/>
                  </a:cubicBezTo>
                  <a:lnTo>
                    <a:pt x="3569" y="3457"/>
                  </a:lnTo>
                  <a:lnTo>
                    <a:pt x="1283" y="2123"/>
                  </a:lnTo>
                  <a:cubicBezTo>
                    <a:pt x="378" y="1695"/>
                    <a:pt x="-231"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74" name="ïslíḋé">
              <a:extLst>
                <a:ext uri="{FF2B5EF4-FFF2-40B4-BE49-F238E27FC236}">
                  <a16:creationId xmlns:a16="http://schemas.microsoft.com/office/drawing/2014/main" id="{71B060B7-65A2-47F6-8352-3D76221B386F}"/>
                </a:ext>
              </a:extLst>
            </p:cNvPr>
            <p:cNvSpPr/>
            <p:nvPr/>
          </p:nvSpPr>
          <p:spPr>
            <a:xfrm>
              <a:off x="5152746" y="4953476"/>
              <a:ext cx="140036" cy="81035"/>
            </a:xfrm>
            <a:custGeom>
              <a:avLst/>
              <a:gdLst>
                <a:gd name="connsiteX0" fmla="*/ -336 w 46005"/>
                <a:gd name="connsiteY0" fmla="*/ 10196 h 26622"/>
                <a:gd name="connsiteX1" fmla="*/ 1283 w 46005"/>
                <a:gd name="connsiteY1" fmla="*/ 12482 h 26622"/>
                <a:gd name="connsiteX2" fmla="*/ 3569 w 46005"/>
                <a:gd name="connsiteY2" fmla="*/ 13815 h 26622"/>
                <a:gd name="connsiteX3" fmla="*/ 23762 w 46005"/>
                <a:gd name="connsiteY3" fmla="*/ 25531 h 26622"/>
                <a:gd name="connsiteX4" fmla="*/ 31477 w 46005"/>
                <a:gd name="connsiteY4" fmla="*/ 25531 h 26622"/>
                <a:gd name="connsiteX5" fmla="*/ 41764 w 46005"/>
                <a:gd name="connsiteY5" fmla="*/ 19530 h 26622"/>
                <a:gd name="connsiteX6" fmla="*/ 44145 w 46005"/>
                <a:gd name="connsiteY6" fmla="*/ 18197 h 26622"/>
                <a:gd name="connsiteX7" fmla="*/ 45669 w 46005"/>
                <a:gd name="connsiteY7" fmla="*/ 16578 h 26622"/>
                <a:gd name="connsiteX8" fmla="*/ 45669 w 46005"/>
                <a:gd name="connsiteY8" fmla="*/ 15435 h 26622"/>
                <a:gd name="connsiteX9" fmla="*/ 44145 w 46005"/>
                <a:gd name="connsiteY9" fmla="*/ 13720 h 26622"/>
                <a:gd name="connsiteX10" fmla="*/ 21571 w 46005"/>
                <a:gd name="connsiteY10" fmla="*/ 766 h 26622"/>
                <a:gd name="connsiteX11" fmla="*/ 13856 w 46005"/>
                <a:gd name="connsiteY11" fmla="*/ 766 h 26622"/>
                <a:gd name="connsiteX12" fmla="*/ 1283 w 46005"/>
                <a:gd name="connsiteY12" fmla="*/ 8005 h 26622"/>
                <a:gd name="connsiteX13" fmla="*/ -336 w 46005"/>
                <a:gd name="connsiteY13" fmla="*/ 10196 h 26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005" h="26622">
                  <a:moveTo>
                    <a:pt x="-336" y="10196"/>
                  </a:moveTo>
                  <a:cubicBezTo>
                    <a:pt x="-298" y="11215"/>
                    <a:pt x="340" y="12110"/>
                    <a:pt x="1283" y="12482"/>
                  </a:cubicBezTo>
                  <a:lnTo>
                    <a:pt x="3569" y="13815"/>
                  </a:lnTo>
                  <a:lnTo>
                    <a:pt x="23762" y="25531"/>
                  </a:lnTo>
                  <a:cubicBezTo>
                    <a:pt x="26181" y="26769"/>
                    <a:pt x="29058" y="26769"/>
                    <a:pt x="31477" y="25531"/>
                  </a:cubicBezTo>
                  <a:lnTo>
                    <a:pt x="41764" y="19530"/>
                  </a:lnTo>
                  <a:lnTo>
                    <a:pt x="44145" y="18197"/>
                  </a:lnTo>
                  <a:cubicBezTo>
                    <a:pt x="44860" y="17892"/>
                    <a:pt x="45412" y="17311"/>
                    <a:pt x="45669" y="16578"/>
                  </a:cubicBezTo>
                  <a:lnTo>
                    <a:pt x="45669" y="15435"/>
                  </a:lnTo>
                  <a:cubicBezTo>
                    <a:pt x="45384" y="14692"/>
                    <a:pt x="44850" y="14082"/>
                    <a:pt x="44145" y="13720"/>
                  </a:cubicBezTo>
                  <a:lnTo>
                    <a:pt x="21571" y="766"/>
                  </a:lnTo>
                  <a:cubicBezTo>
                    <a:pt x="19152" y="-472"/>
                    <a:pt x="16275" y="-472"/>
                    <a:pt x="13856" y="766"/>
                  </a:cubicBezTo>
                  <a:lnTo>
                    <a:pt x="1283" y="8005"/>
                  </a:lnTo>
                  <a:cubicBezTo>
                    <a:pt x="378" y="8386"/>
                    <a:pt x="-241" y="9224"/>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775" name="iṩľide">
              <a:extLst>
                <a:ext uri="{FF2B5EF4-FFF2-40B4-BE49-F238E27FC236}">
                  <a16:creationId xmlns:a16="http://schemas.microsoft.com/office/drawing/2014/main" id="{3CF7866E-A5F9-4F76-893F-B9D584EDAC8D}"/>
                </a:ext>
              </a:extLst>
            </p:cNvPr>
            <p:cNvSpPr/>
            <p:nvPr/>
          </p:nvSpPr>
          <p:spPr>
            <a:xfrm>
              <a:off x="5154880" y="4953984"/>
              <a:ext cx="136021" cy="78570"/>
            </a:xfrm>
            <a:custGeom>
              <a:avLst/>
              <a:gdLst>
                <a:gd name="connsiteX0" fmla="*/ 23252 w 44686"/>
                <a:gd name="connsiteY0" fmla="*/ 24793 h 25812"/>
                <a:gd name="connsiteX1" fmla="*/ 1154 w 44686"/>
                <a:gd name="connsiteY1" fmla="*/ 12029 h 25812"/>
                <a:gd name="connsiteX2" fmla="*/ -189 w 44686"/>
                <a:gd name="connsiteY2" fmla="*/ 9096 h 25812"/>
                <a:gd name="connsiteX3" fmla="*/ 1154 w 44686"/>
                <a:gd name="connsiteY3" fmla="*/ 7743 h 25812"/>
                <a:gd name="connsiteX4" fmla="*/ 13251 w 44686"/>
                <a:gd name="connsiteY4" fmla="*/ 695 h 25812"/>
                <a:gd name="connsiteX5" fmla="*/ 20680 w 44686"/>
                <a:gd name="connsiteY5" fmla="*/ 695 h 25812"/>
                <a:gd name="connsiteX6" fmla="*/ 42778 w 44686"/>
                <a:gd name="connsiteY6" fmla="*/ 13458 h 25812"/>
                <a:gd name="connsiteX7" fmla="*/ 42778 w 44686"/>
                <a:gd name="connsiteY7" fmla="*/ 17744 h 25812"/>
                <a:gd name="connsiteX8" fmla="*/ 30681 w 44686"/>
                <a:gd name="connsiteY8" fmla="*/ 24793 h 25812"/>
                <a:gd name="connsiteX9" fmla="*/ 23252 w 44686"/>
                <a:gd name="connsiteY9" fmla="*/ 24793 h 25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4686" h="25812">
                  <a:moveTo>
                    <a:pt x="23252" y="24793"/>
                  </a:moveTo>
                  <a:lnTo>
                    <a:pt x="1154" y="12029"/>
                  </a:lnTo>
                  <a:cubicBezTo>
                    <a:pt x="-27" y="11591"/>
                    <a:pt x="-637" y="10277"/>
                    <a:pt x="-189" y="9096"/>
                  </a:cubicBezTo>
                  <a:cubicBezTo>
                    <a:pt x="40" y="8467"/>
                    <a:pt x="535" y="7972"/>
                    <a:pt x="1154" y="7743"/>
                  </a:cubicBezTo>
                  <a:lnTo>
                    <a:pt x="13251" y="695"/>
                  </a:lnTo>
                  <a:cubicBezTo>
                    <a:pt x="15594" y="-448"/>
                    <a:pt x="18337" y="-448"/>
                    <a:pt x="20680" y="695"/>
                  </a:cubicBezTo>
                  <a:lnTo>
                    <a:pt x="42778" y="13458"/>
                  </a:lnTo>
                  <a:cubicBezTo>
                    <a:pt x="44874" y="14696"/>
                    <a:pt x="44874" y="16601"/>
                    <a:pt x="42778" y="17744"/>
                  </a:cubicBezTo>
                  <a:lnTo>
                    <a:pt x="30681" y="24793"/>
                  </a:lnTo>
                  <a:cubicBezTo>
                    <a:pt x="28338" y="25936"/>
                    <a:pt x="25595" y="25936"/>
                    <a:pt x="23252" y="24793"/>
                  </a:cubicBezTo>
                  <a:close/>
                </a:path>
              </a:pathLst>
            </a:custGeom>
            <a:solidFill>
              <a:srgbClr val="D1D9E8"/>
            </a:solidFill>
            <a:ln w="9525" cap="flat">
              <a:noFill/>
              <a:prstDash val="solid"/>
              <a:miter/>
            </a:ln>
          </p:spPr>
          <p:txBody>
            <a:bodyPr rtlCol="0" anchor="ctr"/>
            <a:lstStyle/>
            <a:p>
              <a:endParaRPr lang="zh-CN" altLang="en-US"/>
            </a:p>
          </p:txBody>
        </p:sp>
        <p:sp>
          <p:nvSpPr>
            <p:cNvPr id="776" name="iśľíḋè">
              <a:extLst>
                <a:ext uri="{FF2B5EF4-FFF2-40B4-BE49-F238E27FC236}">
                  <a16:creationId xmlns:a16="http://schemas.microsoft.com/office/drawing/2014/main" id="{3E9E979B-266C-49FC-AC2E-809C258F0A99}"/>
                </a:ext>
              </a:extLst>
            </p:cNvPr>
            <p:cNvSpPr/>
            <p:nvPr/>
          </p:nvSpPr>
          <p:spPr>
            <a:xfrm>
              <a:off x="5152746" y="4985008"/>
              <a:ext cx="140036" cy="71249"/>
            </a:xfrm>
            <a:custGeom>
              <a:avLst/>
              <a:gdLst>
                <a:gd name="connsiteX0" fmla="*/ -336 w 46005"/>
                <a:gd name="connsiteY0" fmla="*/ -163 h 23407"/>
                <a:gd name="connsiteX1" fmla="*/ -336 w 46005"/>
                <a:gd name="connsiteY1" fmla="*/ 7076 h 23407"/>
                <a:gd name="connsiteX2" fmla="*/ 1283 w 46005"/>
                <a:gd name="connsiteY2" fmla="*/ 9267 h 23407"/>
                <a:gd name="connsiteX3" fmla="*/ 23762 w 46005"/>
                <a:gd name="connsiteY3" fmla="*/ 22316 h 23407"/>
                <a:gd name="connsiteX4" fmla="*/ 31477 w 46005"/>
                <a:gd name="connsiteY4" fmla="*/ 22316 h 23407"/>
                <a:gd name="connsiteX5" fmla="*/ 44145 w 46005"/>
                <a:gd name="connsiteY5" fmla="*/ 14982 h 23407"/>
                <a:gd name="connsiteX6" fmla="*/ 45669 w 46005"/>
                <a:gd name="connsiteY6" fmla="*/ 13363 h 23407"/>
                <a:gd name="connsiteX7" fmla="*/ 45669 w 46005"/>
                <a:gd name="connsiteY7" fmla="*/ 6219 h 23407"/>
                <a:gd name="connsiteX8" fmla="*/ 44145 w 46005"/>
                <a:gd name="connsiteY8" fmla="*/ 7838 h 23407"/>
                <a:gd name="connsiteX9" fmla="*/ 41764 w 46005"/>
                <a:gd name="connsiteY9" fmla="*/ 9172 h 23407"/>
                <a:gd name="connsiteX10" fmla="*/ 31477 w 46005"/>
                <a:gd name="connsiteY10" fmla="*/ 15172 h 23407"/>
                <a:gd name="connsiteX11" fmla="*/ 23762 w 46005"/>
                <a:gd name="connsiteY11" fmla="*/ 15172 h 23407"/>
                <a:gd name="connsiteX12" fmla="*/ 3569 w 46005"/>
                <a:gd name="connsiteY12" fmla="*/ 3457 h 23407"/>
                <a:gd name="connsiteX13" fmla="*/ 1283 w 46005"/>
                <a:gd name="connsiteY13" fmla="*/ 2123 h 23407"/>
                <a:gd name="connsiteX14" fmla="*/ -336 w 46005"/>
                <a:gd name="connsiteY14" fmla="*/ -163 h 234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6005" h="23407">
                  <a:moveTo>
                    <a:pt x="-336" y="-163"/>
                  </a:moveTo>
                  <a:lnTo>
                    <a:pt x="-336" y="7076"/>
                  </a:lnTo>
                  <a:cubicBezTo>
                    <a:pt x="-260" y="8057"/>
                    <a:pt x="369" y="8905"/>
                    <a:pt x="1283" y="9267"/>
                  </a:cubicBezTo>
                  <a:lnTo>
                    <a:pt x="23762" y="22316"/>
                  </a:lnTo>
                  <a:cubicBezTo>
                    <a:pt x="26181" y="23555"/>
                    <a:pt x="29058" y="23555"/>
                    <a:pt x="31477" y="22316"/>
                  </a:cubicBezTo>
                  <a:lnTo>
                    <a:pt x="44145" y="14982"/>
                  </a:lnTo>
                  <a:cubicBezTo>
                    <a:pt x="44822" y="14629"/>
                    <a:pt x="45355" y="14058"/>
                    <a:pt x="45669" y="13363"/>
                  </a:cubicBezTo>
                  <a:lnTo>
                    <a:pt x="45669" y="6219"/>
                  </a:lnTo>
                  <a:cubicBezTo>
                    <a:pt x="45412" y="6952"/>
                    <a:pt x="44860" y="7533"/>
                    <a:pt x="44145" y="7838"/>
                  </a:cubicBezTo>
                  <a:lnTo>
                    <a:pt x="41764" y="9172"/>
                  </a:lnTo>
                  <a:lnTo>
                    <a:pt x="31477" y="15172"/>
                  </a:lnTo>
                  <a:cubicBezTo>
                    <a:pt x="29058" y="16411"/>
                    <a:pt x="26181" y="16411"/>
                    <a:pt x="23762" y="15172"/>
                  </a:cubicBezTo>
                  <a:lnTo>
                    <a:pt x="3569" y="3457"/>
                  </a:lnTo>
                  <a:lnTo>
                    <a:pt x="1283" y="2123"/>
                  </a:lnTo>
                  <a:cubicBezTo>
                    <a:pt x="340" y="1752"/>
                    <a:pt x="-298" y="856"/>
                    <a:pt x="-336" y="-163"/>
                  </a:cubicBezTo>
                  <a:close/>
                </a:path>
              </a:pathLst>
            </a:custGeom>
            <a:solidFill>
              <a:srgbClr val="BF4200"/>
            </a:solidFill>
            <a:ln w="9525" cap="flat">
              <a:noFill/>
              <a:prstDash val="solid"/>
              <a:miter/>
            </a:ln>
          </p:spPr>
          <p:txBody>
            <a:bodyPr rtlCol="0" anchor="ctr"/>
            <a:lstStyle/>
            <a:p>
              <a:endParaRPr lang="zh-CN" altLang="en-US"/>
            </a:p>
          </p:txBody>
        </p:sp>
        <p:sp>
          <p:nvSpPr>
            <p:cNvPr id="777" name="îşlïďê">
              <a:extLst>
                <a:ext uri="{FF2B5EF4-FFF2-40B4-BE49-F238E27FC236}">
                  <a16:creationId xmlns:a16="http://schemas.microsoft.com/office/drawing/2014/main" id="{ADCC4F74-B715-4A72-B74F-8D0A24CE443D}"/>
                </a:ext>
              </a:extLst>
            </p:cNvPr>
            <p:cNvSpPr/>
            <p:nvPr/>
          </p:nvSpPr>
          <p:spPr>
            <a:xfrm>
              <a:off x="5261180" y="5016300"/>
              <a:ext cx="505645" cy="291913"/>
            </a:xfrm>
            <a:custGeom>
              <a:avLst/>
              <a:gdLst>
                <a:gd name="connsiteX0" fmla="*/ -336 w 166116"/>
                <a:gd name="connsiteY0" fmla="*/ 10227 h 95900"/>
                <a:gd name="connsiteX1" fmla="*/ 1188 w 166116"/>
                <a:gd name="connsiteY1" fmla="*/ 12513 h 95900"/>
                <a:gd name="connsiteX2" fmla="*/ 3569 w 166116"/>
                <a:gd name="connsiteY2" fmla="*/ 13846 h 95900"/>
                <a:gd name="connsiteX3" fmla="*/ 143872 w 166116"/>
                <a:gd name="connsiteY3" fmla="*/ 94809 h 95900"/>
                <a:gd name="connsiteX4" fmla="*/ 151588 w 166116"/>
                <a:gd name="connsiteY4" fmla="*/ 94809 h 95900"/>
                <a:gd name="connsiteX5" fmla="*/ 161779 w 166116"/>
                <a:gd name="connsiteY5" fmla="*/ 88903 h 95900"/>
                <a:gd name="connsiteX6" fmla="*/ 164161 w 166116"/>
                <a:gd name="connsiteY6" fmla="*/ 87570 h 95900"/>
                <a:gd name="connsiteX7" fmla="*/ 165780 w 166116"/>
                <a:gd name="connsiteY7" fmla="*/ 85951 h 95900"/>
                <a:gd name="connsiteX8" fmla="*/ 165780 w 166116"/>
                <a:gd name="connsiteY8" fmla="*/ 84808 h 95900"/>
                <a:gd name="connsiteX9" fmla="*/ 164161 w 166116"/>
                <a:gd name="connsiteY9" fmla="*/ 83093 h 95900"/>
                <a:gd name="connsiteX10" fmla="*/ 21286 w 166116"/>
                <a:gd name="connsiteY10" fmla="*/ 702 h 95900"/>
                <a:gd name="connsiteX11" fmla="*/ 13665 w 166116"/>
                <a:gd name="connsiteY11" fmla="*/ 702 h 95900"/>
                <a:gd name="connsiteX12" fmla="*/ 997 w 166116"/>
                <a:gd name="connsiteY12" fmla="*/ 8036 h 95900"/>
                <a:gd name="connsiteX13" fmla="*/ -336 w 166116"/>
                <a:gd name="connsiteY13" fmla="*/ 10227 h 95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6116" h="95900">
                  <a:moveTo>
                    <a:pt x="-336" y="10227"/>
                  </a:moveTo>
                  <a:cubicBezTo>
                    <a:pt x="-269" y="11208"/>
                    <a:pt x="311" y="12075"/>
                    <a:pt x="1188" y="12513"/>
                  </a:cubicBezTo>
                  <a:lnTo>
                    <a:pt x="3569" y="13846"/>
                  </a:lnTo>
                  <a:lnTo>
                    <a:pt x="143872" y="94809"/>
                  </a:lnTo>
                  <a:cubicBezTo>
                    <a:pt x="146292" y="96047"/>
                    <a:pt x="149168" y="96047"/>
                    <a:pt x="151588" y="94809"/>
                  </a:cubicBezTo>
                  <a:lnTo>
                    <a:pt x="161779" y="88903"/>
                  </a:lnTo>
                  <a:lnTo>
                    <a:pt x="164161" y="87570"/>
                  </a:lnTo>
                  <a:cubicBezTo>
                    <a:pt x="164875" y="87236"/>
                    <a:pt x="165446" y="86665"/>
                    <a:pt x="165780" y="85951"/>
                  </a:cubicBezTo>
                  <a:lnTo>
                    <a:pt x="165780" y="84808"/>
                  </a:lnTo>
                  <a:cubicBezTo>
                    <a:pt x="165484" y="84046"/>
                    <a:pt x="164903" y="83436"/>
                    <a:pt x="164161" y="83093"/>
                  </a:cubicBezTo>
                  <a:lnTo>
                    <a:pt x="21286" y="702"/>
                  </a:lnTo>
                  <a:cubicBezTo>
                    <a:pt x="18876" y="-451"/>
                    <a:pt x="16075" y="-451"/>
                    <a:pt x="13665" y="702"/>
                  </a:cubicBezTo>
                  <a:lnTo>
                    <a:pt x="997" y="8036"/>
                  </a:lnTo>
                  <a:cubicBezTo>
                    <a:pt x="216" y="8503"/>
                    <a:pt x="-279" y="9322"/>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778" name="íşlïďè">
              <a:extLst>
                <a:ext uri="{FF2B5EF4-FFF2-40B4-BE49-F238E27FC236}">
                  <a16:creationId xmlns:a16="http://schemas.microsoft.com/office/drawing/2014/main" id="{70B64131-23E6-4B1F-B036-7D7B5362AEE3}"/>
                </a:ext>
              </a:extLst>
            </p:cNvPr>
            <p:cNvSpPr/>
            <p:nvPr/>
          </p:nvSpPr>
          <p:spPr>
            <a:xfrm>
              <a:off x="5263067" y="5017481"/>
              <a:ext cx="501657" cy="289569"/>
            </a:xfrm>
            <a:custGeom>
              <a:avLst/>
              <a:gdLst>
                <a:gd name="connsiteX0" fmla="*/ 143348 w 164806"/>
                <a:gd name="connsiteY0" fmla="*/ 94039 h 95130"/>
                <a:gd name="connsiteX1" fmla="*/ 1235 w 164806"/>
                <a:gd name="connsiteY1" fmla="*/ 12029 h 95130"/>
                <a:gd name="connsiteX2" fmla="*/ 1235 w 164806"/>
                <a:gd name="connsiteY2" fmla="*/ 7743 h 95130"/>
                <a:gd name="connsiteX3" fmla="*/ 13332 w 164806"/>
                <a:gd name="connsiteY3" fmla="*/ 695 h 95130"/>
                <a:gd name="connsiteX4" fmla="*/ 20761 w 164806"/>
                <a:gd name="connsiteY4" fmla="*/ 695 h 95130"/>
                <a:gd name="connsiteX5" fmla="*/ 162970 w 164806"/>
                <a:gd name="connsiteY5" fmla="*/ 82800 h 95130"/>
                <a:gd name="connsiteX6" fmla="*/ 162970 w 164806"/>
                <a:gd name="connsiteY6" fmla="*/ 87086 h 95130"/>
                <a:gd name="connsiteX7" fmla="*/ 150778 w 164806"/>
                <a:gd name="connsiteY7" fmla="*/ 94039 h 95130"/>
                <a:gd name="connsiteX8" fmla="*/ 143348 w 164806"/>
                <a:gd name="connsiteY8" fmla="*/ 94039 h 95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4806" h="95130">
                  <a:moveTo>
                    <a:pt x="143348" y="94039"/>
                  </a:moveTo>
                  <a:lnTo>
                    <a:pt x="1235" y="12029"/>
                  </a:lnTo>
                  <a:cubicBezTo>
                    <a:pt x="-860" y="10791"/>
                    <a:pt x="-860" y="8886"/>
                    <a:pt x="1235" y="7743"/>
                  </a:cubicBezTo>
                  <a:lnTo>
                    <a:pt x="13332" y="695"/>
                  </a:lnTo>
                  <a:cubicBezTo>
                    <a:pt x="15675" y="-448"/>
                    <a:pt x="18418" y="-448"/>
                    <a:pt x="20761" y="695"/>
                  </a:cubicBezTo>
                  <a:lnTo>
                    <a:pt x="162970" y="82800"/>
                  </a:lnTo>
                  <a:cubicBezTo>
                    <a:pt x="164970" y="83943"/>
                    <a:pt x="164970" y="85848"/>
                    <a:pt x="162970" y="87086"/>
                  </a:cubicBezTo>
                  <a:lnTo>
                    <a:pt x="150778" y="94039"/>
                  </a:lnTo>
                  <a:cubicBezTo>
                    <a:pt x="148454" y="95278"/>
                    <a:pt x="145672" y="95278"/>
                    <a:pt x="143348" y="94039"/>
                  </a:cubicBezTo>
                  <a:close/>
                </a:path>
              </a:pathLst>
            </a:custGeom>
            <a:solidFill>
              <a:srgbClr val="D1D9E8"/>
            </a:solidFill>
            <a:ln w="9525" cap="flat">
              <a:noFill/>
              <a:prstDash val="solid"/>
              <a:miter/>
            </a:ln>
          </p:spPr>
          <p:txBody>
            <a:bodyPr rtlCol="0" anchor="ctr"/>
            <a:lstStyle/>
            <a:p>
              <a:endParaRPr lang="zh-CN" altLang="en-US"/>
            </a:p>
          </p:txBody>
        </p:sp>
        <p:sp>
          <p:nvSpPr>
            <p:cNvPr id="779" name="îṥļíḓê">
              <a:extLst>
                <a:ext uri="{FF2B5EF4-FFF2-40B4-BE49-F238E27FC236}">
                  <a16:creationId xmlns:a16="http://schemas.microsoft.com/office/drawing/2014/main" id="{ECED8C06-AB4B-4A49-91EB-B07AAC223F6A}"/>
                </a:ext>
              </a:extLst>
            </p:cNvPr>
            <p:cNvSpPr/>
            <p:nvPr/>
          </p:nvSpPr>
          <p:spPr>
            <a:xfrm>
              <a:off x="5261180" y="5047923"/>
              <a:ext cx="506223" cy="281974"/>
            </a:xfrm>
            <a:custGeom>
              <a:avLst/>
              <a:gdLst>
                <a:gd name="connsiteX0" fmla="*/ -336 w 166306"/>
                <a:gd name="connsiteY0" fmla="*/ -163 h 92635"/>
                <a:gd name="connsiteX1" fmla="*/ -336 w 166306"/>
                <a:gd name="connsiteY1" fmla="*/ 6981 h 92635"/>
                <a:gd name="connsiteX2" fmla="*/ 1188 w 166306"/>
                <a:gd name="connsiteY2" fmla="*/ 9267 h 92635"/>
                <a:gd name="connsiteX3" fmla="*/ 144063 w 166306"/>
                <a:gd name="connsiteY3" fmla="*/ 91659 h 92635"/>
                <a:gd name="connsiteX4" fmla="*/ 151778 w 166306"/>
                <a:gd name="connsiteY4" fmla="*/ 91659 h 92635"/>
                <a:gd name="connsiteX5" fmla="*/ 164351 w 166306"/>
                <a:gd name="connsiteY5" fmla="*/ 84324 h 92635"/>
                <a:gd name="connsiteX6" fmla="*/ 165970 w 166306"/>
                <a:gd name="connsiteY6" fmla="*/ 82705 h 92635"/>
                <a:gd name="connsiteX7" fmla="*/ 165970 w 166306"/>
                <a:gd name="connsiteY7" fmla="*/ 75561 h 92635"/>
                <a:gd name="connsiteX8" fmla="*/ 164351 w 166306"/>
                <a:gd name="connsiteY8" fmla="*/ 77180 h 92635"/>
                <a:gd name="connsiteX9" fmla="*/ 161970 w 166306"/>
                <a:gd name="connsiteY9" fmla="*/ 78514 h 92635"/>
                <a:gd name="connsiteX10" fmla="*/ 151778 w 166306"/>
                <a:gd name="connsiteY10" fmla="*/ 84419 h 92635"/>
                <a:gd name="connsiteX11" fmla="*/ 144063 w 166306"/>
                <a:gd name="connsiteY11" fmla="*/ 84419 h 92635"/>
                <a:gd name="connsiteX12" fmla="*/ 3569 w 166306"/>
                <a:gd name="connsiteY12" fmla="*/ 3457 h 92635"/>
                <a:gd name="connsiteX13" fmla="*/ 1188 w 166306"/>
                <a:gd name="connsiteY13" fmla="*/ 2123 h 92635"/>
                <a:gd name="connsiteX14" fmla="*/ -336 w 166306"/>
                <a:gd name="connsiteY14" fmla="*/ -163 h 92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66306" h="92635">
                  <a:moveTo>
                    <a:pt x="-336" y="-163"/>
                  </a:moveTo>
                  <a:lnTo>
                    <a:pt x="-336" y="6981"/>
                  </a:lnTo>
                  <a:cubicBezTo>
                    <a:pt x="-251" y="7953"/>
                    <a:pt x="321" y="8819"/>
                    <a:pt x="1188" y="9267"/>
                  </a:cubicBezTo>
                  <a:lnTo>
                    <a:pt x="144063" y="91659"/>
                  </a:lnTo>
                  <a:cubicBezTo>
                    <a:pt x="146520" y="92744"/>
                    <a:pt x="149321" y="92744"/>
                    <a:pt x="151778" y="91659"/>
                  </a:cubicBezTo>
                  <a:lnTo>
                    <a:pt x="164351" y="84324"/>
                  </a:lnTo>
                  <a:cubicBezTo>
                    <a:pt x="165066" y="83991"/>
                    <a:pt x="165637" y="83419"/>
                    <a:pt x="165970" y="82705"/>
                  </a:cubicBezTo>
                  <a:lnTo>
                    <a:pt x="165970" y="75561"/>
                  </a:lnTo>
                  <a:cubicBezTo>
                    <a:pt x="165637" y="76275"/>
                    <a:pt x="165066" y="76847"/>
                    <a:pt x="164351" y="77180"/>
                  </a:cubicBezTo>
                  <a:lnTo>
                    <a:pt x="161970" y="78514"/>
                  </a:lnTo>
                  <a:lnTo>
                    <a:pt x="151778" y="84419"/>
                  </a:lnTo>
                  <a:cubicBezTo>
                    <a:pt x="149359" y="85658"/>
                    <a:pt x="146482" y="85658"/>
                    <a:pt x="144063" y="84419"/>
                  </a:cubicBezTo>
                  <a:lnTo>
                    <a:pt x="3569" y="3457"/>
                  </a:lnTo>
                  <a:lnTo>
                    <a:pt x="1188" y="2123"/>
                  </a:lnTo>
                  <a:cubicBezTo>
                    <a:pt x="311"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80" name="îslïḍé">
              <a:extLst>
                <a:ext uri="{FF2B5EF4-FFF2-40B4-BE49-F238E27FC236}">
                  <a16:creationId xmlns:a16="http://schemas.microsoft.com/office/drawing/2014/main" id="{27F7D28B-2636-47A5-BC3F-FD044A2AB783}"/>
                </a:ext>
              </a:extLst>
            </p:cNvPr>
            <p:cNvSpPr/>
            <p:nvPr/>
          </p:nvSpPr>
          <p:spPr>
            <a:xfrm>
              <a:off x="5735223" y="5289705"/>
              <a:ext cx="109740" cy="63445"/>
            </a:xfrm>
            <a:custGeom>
              <a:avLst/>
              <a:gdLst>
                <a:gd name="connsiteX0" fmla="*/ -336 w 36052"/>
                <a:gd name="connsiteY0" fmla="*/ 10227 h 20843"/>
                <a:gd name="connsiteX1" fmla="*/ 1188 w 36052"/>
                <a:gd name="connsiteY1" fmla="*/ 12513 h 20843"/>
                <a:gd name="connsiteX2" fmla="*/ 3569 w 36052"/>
                <a:gd name="connsiteY2" fmla="*/ 13846 h 20843"/>
                <a:gd name="connsiteX3" fmla="*/ 13856 w 36052"/>
                <a:gd name="connsiteY3" fmla="*/ 19752 h 20843"/>
                <a:gd name="connsiteX4" fmla="*/ 21476 w 36052"/>
                <a:gd name="connsiteY4" fmla="*/ 19752 h 20843"/>
                <a:gd name="connsiteX5" fmla="*/ 31763 w 36052"/>
                <a:gd name="connsiteY5" fmla="*/ 13846 h 20843"/>
                <a:gd name="connsiteX6" fmla="*/ 34144 w 36052"/>
                <a:gd name="connsiteY6" fmla="*/ 12513 h 20843"/>
                <a:gd name="connsiteX7" fmla="*/ 35573 w 36052"/>
                <a:gd name="connsiteY7" fmla="*/ 9465 h 20843"/>
                <a:gd name="connsiteX8" fmla="*/ 34144 w 36052"/>
                <a:gd name="connsiteY8" fmla="*/ 8036 h 20843"/>
                <a:gd name="connsiteX9" fmla="*/ 21476 w 36052"/>
                <a:gd name="connsiteY9" fmla="*/ 702 h 20843"/>
                <a:gd name="connsiteX10" fmla="*/ 13856 w 36052"/>
                <a:gd name="connsiteY10" fmla="*/ 702 h 20843"/>
                <a:gd name="connsiteX11" fmla="*/ 1188 w 36052"/>
                <a:gd name="connsiteY11" fmla="*/ 8036 h 20843"/>
                <a:gd name="connsiteX12" fmla="*/ -336 w 36052"/>
                <a:gd name="connsiteY12" fmla="*/ 10227 h 20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3">
                  <a:moveTo>
                    <a:pt x="-336" y="10227"/>
                  </a:moveTo>
                  <a:cubicBezTo>
                    <a:pt x="-270" y="11208"/>
                    <a:pt x="311" y="12075"/>
                    <a:pt x="1188" y="12513"/>
                  </a:cubicBezTo>
                  <a:lnTo>
                    <a:pt x="3569" y="13846"/>
                  </a:lnTo>
                  <a:lnTo>
                    <a:pt x="13856" y="19752"/>
                  </a:lnTo>
                  <a:cubicBezTo>
                    <a:pt x="16247" y="20990"/>
                    <a:pt x="19085" y="20990"/>
                    <a:pt x="21476" y="19752"/>
                  </a:cubicBezTo>
                  <a:lnTo>
                    <a:pt x="31763" y="13846"/>
                  </a:lnTo>
                  <a:lnTo>
                    <a:pt x="34144" y="12513"/>
                  </a:lnTo>
                  <a:cubicBezTo>
                    <a:pt x="35382" y="12065"/>
                    <a:pt x="36020" y="10694"/>
                    <a:pt x="35573" y="9465"/>
                  </a:cubicBezTo>
                  <a:cubicBezTo>
                    <a:pt x="35325" y="8798"/>
                    <a:pt x="34811" y="8274"/>
                    <a:pt x="34144"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781" name="îṣlîḍè">
              <a:extLst>
                <a:ext uri="{FF2B5EF4-FFF2-40B4-BE49-F238E27FC236}">
                  <a16:creationId xmlns:a16="http://schemas.microsoft.com/office/drawing/2014/main" id="{A419EBA3-666B-4FE5-B4D0-839476ED0445}"/>
                </a:ext>
              </a:extLst>
            </p:cNvPr>
            <p:cNvSpPr/>
            <p:nvPr/>
          </p:nvSpPr>
          <p:spPr>
            <a:xfrm>
              <a:off x="5736818" y="5290889"/>
              <a:ext cx="105898" cy="61104"/>
            </a:xfrm>
            <a:custGeom>
              <a:avLst/>
              <a:gdLst>
                <a:gd name="connsiteX0" fmla="*/ 1235 w 34790"/>
                <a:gd name="connsiteY0" fmla="*/ 12029 h 20074"/>
                <a:gd name="connsiteX1" fmla="*/ 13332 w 34790"/>
                <a:gd name="connsiteY1" fmla="*/ 18983 h 20074"/>
                <a:gd name="connsiteX2" fmla="*/ 20761 w 34790"/>
                <a:gd name="connsiteY2" fmla="*/ 18983 h 20074"/>
                <a:gd name="connsiteX3" fmla="*/ 32953 w 34790"/>
                <a:gd name="connsiteY3" fmla="*/ 12029 h 20074"/>
                <a:gd name="connsiteX4" fmla="*/ 32953 w 34790"/>
                <a:gd name="connsiteY4" fmla="*/ 7743 h 20074"/>
                <a:gd name="connsiteX5" fmla="*/ 20761 w 34790"/>
                <a:gd name="connsiteY5" fmla="*/ 695 h 20074"/>
                <a:gd name="connsiteX6" fmla="*/ 13332 w 34790"/>
                <a:gd name="connsiteY6" fmla="*/ 695 h 20074"/>
                <a:gd name="connsiteX7" fmla="*/ 1235 w 34790"/>
                <a:gd name="connsiteY7" fmla="*/ 7743 h 20074"/>
                <a:gd name="connsiteX8" fmla="*/ 1235 w 34790"/>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4">
                  <a:moveTo>
                    <a:pt x="1235" y="12029"/>
                  </a:moveTo>
                  <a:lnTo>
                    <a:pt x="13332" y="18983"/>
                  </a:lnTo>
                  <a:cubicBezTo>
                    <a:pt x="15656" y="20221"/>
                    <a:pt x="18437" y="20221"/>
                    <a:pt x="20761" y="18983"/>
                  </a:cubicBezTo>
                  <a:lnTo>
                    <a:pt x="32953" y="12029"/>
                  </a:lnTo>
                  <a:cubicBezTo>
                    <a:pt x="34954" y="10791"/>
                    <a:pt x="34954" y="8886"/>
                    <a:pt x="32953" y="7743"/>
                  </a:cubicBezTo>
                  <a:lnTo>
                    <a:pt x="20761" y="695"/>
                  </a:lnTo>
                  <a:cubicBezTo>
                    <a:pt x="18418" y="-448"/>
                    <a:pt x="15675" y="-448"/>
                    <a:pt x="13332" y="695"/>
                  </a:cubicBezTo>
                  <a:lnTo>
                    <a:pt x="1235" y="7743"/>
                  </a:lnTo>
                  <a:cubicBezTo>
                    <a:pt x="-860" y="9362"/>
                    <a:pt x="-860" y="10791"/>
                    <a:pt x="1235" y="12029"/>
                  </a:cubicBezTo>
                  <a:close/>
                </a:path>
              </a:pathLst>
            </a:custGeom>
            <a:solidFill>
              <a:srgbClr val="D1D9E8"/>
            </a:solidFill>
            <a:ln w="9525" cap="flat">
              <a:noFill/>
              <a:prstDash val="solid"/>
              <a:miter/>
            </a:ln>
          </p:spPr>
          <p:txBody>
            <a:bodyPr rtlCol="0" anchor="ctr"/>
            <a:lstStyle/>
            <a:p>
              <a:endParaRPr lang="zh-CN" altLang="en-US"/>
            </a:p>
          </p:txBody>
        </p:sp>
        <p:sp>
          <p:nvSpPr>
            <p:cNvPr id="782" name="ïṩľïḑé">
              <a:extLst>
                <a:ext uri="{FF2B5EF4-FFF2-40B4-BE49-F238E27FC236}">
                  <a16:creationId xmlns:a16="http://schemas.microsoft.com/office/drawing/2014/main" id="{2FA2C075-7330-4BD4-AFA1-C4A750A28101}"/>
                </a:ext>
              </a:extLst>
            </p:cNvPr>
            <p:cNvSpPr/>
            <p:nvPr/>
          </p:nvSpPr>
          <p:spPr>
            <a:xfrm>
              <a:off x="5735223" y="5321332"/>
              <a:ext cx="109594" cy="53804"/>
            </a:xfrm>
            <a:custGeom>
              <a:avLst/>
              <a:gdLst>
                <a:gd name="connsiteX0" fmla="*/ -336 w 36004"/>
                <a:gd name="connsiteY0" fmla="*/ -163 h 17676"/>
                <a:gd name="connsiteX1" fmla="*/ -336 w 36004"/>
                <a:gd name="connsiteY1" fmla="*/ 7076 h 17676"/>
                <a:gd name="connsiteX2" fmla="*/ 1188 w 36004"/>
                <a:gd name="connsiteY2" fmla="*/ 9267 h 17676"/>
                <a:gd name="connsiteX3" fmla="*/ 13856 w 36004"/>
                <a:gd name="connsiteY3" fmla="*/ 16506 h 17676"/>
                <a:gd name="connsiteX4" fmla="*/ 21476 w 36004"/>
                <a:gd name="connsiteY4" fmla="*/ 16506 h 17676"/>
                <a:gd name="connsiteX5" fmla="*/ 34144 w 36004"/>
                <a:gd name="connsiteY5" fmla="*/ 9267 h 17676"/>
                <a:gd name="connsiteX6" fmla="*/ 35668 w 36004"/>
                <a:gd name="connsiteY6" fmla="*/ 6981 h 17676"/>
                <a:gd name="connsiteX7" fmla="*/ 35668 w 36004"/>
                <a:gd name="connsiteY7" fmla="*/ -163 h 17676"/>
                <a:gd name="connsiteX8" fmla="*/ 34144 w 36004"/>
                <a:gd name="connsiteY8" fmla="*/ 2124 h 17676"/>
                <a:gd name="connsiteX9" fmla="*/ 31763 w 36004"/>
                <a:gd name="connsiteY9" fmla="*/ 3457 h 17676"/>
                <a:gd name="connsiteX10" fmla="*/ 21476 w 36004"/>
                <a:gd name="connsiteY10" fmla="*/ 9362 h 17676"/>
                <a:gd name="connsiteX11" fmla="*/ 13856 w 36004"/>
                <a:gd name="connsiteY11" fmla="*/ 9362 h 17676"/>
                <a:gd name="connsiteX12" fmla="*/ 3569 w 36004"/>
                <a:gd name="connsiteY12" fmla="*/ 3457 h 17676"/>
                <a:gd name="connsiteX13" fmla="*/ 1188 w 36004"/>
                <a:gd name="connsiteY13" fmla="*/ 2124 h 17676"/>
                <a:gd name="connsiteX14" fmla="*/ -336 w 36004"/>
                <a:gd name="connsiteY14" fmla="*/ -163 h 17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6">
                  <a:moveTo>
                    <a:pt x="-336" y="-163"/>
                  </a:moveTo>
                  <a:lnTo>
                    <a:pt x="-336" y="7076"/>
                  </a:lnTo>
                  <a:cubicBezTo>
                    <a:pt x="-279" y="8029"/>
                    <a:pt x="311" y="8877"/>
                    <a:pt x="1188" y="9267"/>
                  </a:cubicBezTo>
                  <a:lnTo>
                    <a:pt x="13856" y="16506"/>
                  </a:lnTo>
                  <a:cubicBezTo>
                    <a:pt x="16218" y="17849"/>
                    <a:pt x="19114" y="17849"/>
                    <a:pt x="21476" y="16506"/>
                  </a:cubicBezTo>
                  <a:lnTo>
                    <a:pt x="34144" y="9267"/>
                  </a:lnTo>
                  <a:cubicBezTo>
                    <a:pt x="35049" y="8867"/>
                    <a:pt x="35640" y="7972"/>
                    <a:pt x="35668" y="6981"/>
                  </a:cubicBezTo>
                  <a:lnTo>
                    <a:pt x="35668" y="-163"/>
                  </a:lnTo>
                  <a:cubicBezTo>
                    <a:pt x="35602" y="819"/>
                    <a:pt x="35021" y="1685"/>
                    <a:pt x="34144" y="2124"/>
                  </a:cubicBezTo>
                  <a:lnTo>
                    <a:pt x="31763" y="3457"/>
                  </a:lnTo>
                  <a:lnTo>
                    <a:pt x="21476" y="9362"/>
                  </a:lnTo>
                  <a:cubicBezTo>
                    <a:pt x="19085" y="10601"/>
                    <a:pt x="16247" y="10601"/>
                    <a:pt x="13856" y="9362"/>
                  </a:cubicBezTo>
                  <a:lnTo>
                    <a:pt x="3569" y="3457"/>
                  </a:lnTo>
                  <a:lnTo>
                    <a:pt x="1188" y="2124"/>
                  </a:lnTo>
                  <a:cubicBezTo>
                    <a:pt x="311" y="1685"/>
                    <a:pt x="-270" y="819"/>
                    <a:pt x="-336" y="-163"/>
                  </a:cubicBezTo>
                  <a:close/>
                </a:path>
              </a:pathLst>
            </a:custGeom>
            <a:solidFill>
              <a:srgbClr val="BF4200"/>
            </a:solidFill>
            <a:ln w="9525" cap="flat">
              <a:noFill/>
              <a:prstDash val="solid"/>
              <a:miter/>
            </a:ln>
          </p:spPr>
          <p:txBody>
            <a:bodyPr rtlCol="0" anchor="ctr"/>
            <a:lstStyle/>
            <a:p>
              <a:endParaRPr lang="zh-CN" altLang="en-US"/>
            </a:p>
          </p:txBody>
        </p:sp>
        <p:sp>
          <p:nvSpPr>
            <p:cNvPr id="783" name="íşlídè">
              <a:extLst>
                <a:ext uri="{FF2B5EF4-FFF2-40B4-BE49-F238E27FC236}">
                  <a16:creationId xmlns:a16="http://schemas.microsoft.com/office/drawing/2014/main" id="{E3A65BA0-C3E1-4C3A-8966-C537DC70B9D7}"/>
                </a:ext>
              </a:extLst>
            </p:cNvPr>
            <p:cNvSpPr/>
            <p:nvPr/>
          </p:nvSpPr>
          <p:spPr>
            <a:xfrm>
              <a:off x="5812636" y="5334451"/>
              <a:ext cx="108202" cy="63588"/>
            </a:xfrm>
            <a:custGeom>
              <a:avLst/>
              <a:gdLst>
                <a:gd name="connsiteX0" fmla="*/ -336 w 35547"/>
                <a:gd name="connsiteY0" fmla="*/ 10291 h 20890"/>
                <a:gd name="connsiteX1" fmla="*/ 1187 w 35547"/>
                <a:gd name="connsiteY1" fmla="*/ 12482 h 20890"/>
                <a:gd name="connsiteX2" fmla="*/ 3569 w 35547"/>
                <a:gd name="connsiteY2" fmla="*/ 13911 h 20890"/>
                <a:gd name="connsiteX3" fmla="*/ 13856 w 35547"/>
                <a:gd name="connsiteY3" fmla="*/ 19721 h 20890"/>
                <a:gd name="connsiteX4" fmla="*/ 21476 w 35547"/>
                <a:gd name="connsiteY4" fmla="*/ 19721 h 20890"/>
                <a:gd name="connsiteX5" fmla="*/ 31382 w 35547"/>
                <a:gd name="connsiteY5" fmla="*/ 14101 h 20890"/>
                <a:gd name="connsiteX6" fmla="*/ 33763 w 35547"/>
                <a:gd name="connsiteY6" fmla="*/ 12672 h 20890"/>
                <a:gd name="connsiteX7" fmla="*/ 35020 w 35547"/>
                <a:gd name="connsiteY7" fmla="*/ 9548 h 20890"/>
                <a:gd name="connsiteX8" fmla="*/ 33763 w 35547"/>
                <a:gd name="connsiteY8" fmla="*/ 8291 h 20890"/>
                <a:gd name="connsiteX9" fmla="*/ 21857 w 35547"/>
                <a:gd name="connsiteY9" fmla="*/ 766 h 20890"/>
                <a:gd name="connsiteX10" fmla="*/ 14237 w 35547"/>
                <a:gd name="connsiteY10" fmla="*/ 766 h 20890"/>
                <a:gd name="connsiteX11" fmla="*/ 1568 w 35547"/>
                <a:gd name="connsiteY11" fmla="*/ 8100 h 20890"/>
                <a:gd name="connsiteX12" fmla="*/ -336 w 35547"/>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547" h="20890">
                  <a:moveTo>
                    <a:pt x="-336" y="10291"/>
                  </a:moveTo>
                  <a:cubicBezTo>
                    <a:pt x="-298" y="11253"/>
                    <a:pt x="292" y="12110"/>
                    <a:pt x="1187" y="12482"/>
                  </a:cubicBezTo>
                  <a:lnTo>
                    <a:pt x="3569" y="13911"/>
                  </a:lnTo>
                  <a:lnTo>
                    <a:pt x="13856" y="19721"/>
                  </a:lnTo>
                  <a:cubicBezTo>
                    <a:pt x="16218" y="21064"/>
                    <a:pt x="19114" y="21064"/>
                    <a:pt x="21476" y="19721"/>
                  </a:cubicBezTo>
                  <a:lnTo>
                    <a:pt x="31382" y="14101"/>
                  </a:lnTo>
                  <a:lnTo>
                    <a:pt x="33763" y="12672"/>
                  </a:lnTo>
                  <a:cubicBezTo>
                    <a:pt x="34973" y="12158"/>
                    <a:pt x="35535" y="10758"/>
                    <a:pt x="35020" y="9548"/>
                  </a:cubicBezTo>
                  <a:cubicBezTo>
                    <a:pt x="34782" y="8986"/>
                    <a:pt x="34325" y="8529"/>
                    <a:pt x="33763" y="8291"/>
                  </a:cubicBezTo>
                  <a:lnTo>
                    <a:pt x="21857" y="766"/>
                  </a:lnTo>
                  <a:cubicBezTo>
                    <a:pt x="19466" y="-472"/>
                    <a:pt x="16627" y="-472"/>
                    <a:pt x="14237" y="766"/>
                  </a:cubicBezTo>
                  <a:lnTo>
                    <a:pt x="1568" y="8100"/>
                  </a:lnTo>
                  <a:cubicBezTo>
                    <a:pt x="530" y="8338"/>
                    <a:pt x="-241" y="9224"/>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784" name="í$ľiḑé">
              <a:extLst>
                <a:ext uri="{FF2B5EF4-FFF2-40B4-BE49-F238E27FC236}">
                  <a16:creationId xmlns:a16="http://schemas.microsoft.com/office/drawing/2014/main" id="{11DBEB68-2D0A-42DB-8E1B-E47D7A5160E3}"/>
                </a:ext>
              </a:extLst>
            </p:cNvPr>
            <p:cNvSpPr/>
            <p:nvPr/>
          </p:nvSpPr>
          <p:spPr>
            <a:xfrm>
              <a:off x="5814521" y="5335611"/>
              <a:ext cx="105825" cy="61101"/>
            </a:xfrm>
            <a:custGeom>
              <a:avLst/>
              <a:gdLst>
                <a:gd name="connsiteX0" fmla="*/ 1235 w 34766"/>
                <a:gd name="connsiteY0" fmla="*/ 12006 h 20073"/>
                <a:gd name="connsiteX1" fmla="*/ 13332 w 34766"/>
                <a:gd name="connsiteY1" fmla="*/ 19054 h 20073"/>
                <a:gd name="connsiteX2" fmla="*/ 20762 w 34766"/>
                <a:gd name="connsiteY2" fmla="*/ 19054 h 20073"/>
                <a:gd name="connsiteX3" fmla="*/ 32858 w 34766"/>
                <a:gd name="connsiteY3" fmla="*/ 12006 h 20073"/>
                <a:gd name="connsiteX4" fmla="*/ 32858 w 34766"/>
                <a:gd name="connsiteY4" fmla="*/ 7719 h 20073"/>
                <a:gd name="connsiteX5" fmla="*/ 20762 w 34766"/>
                <a:gd name="connsiteY5" fmla="*/ 766 h 20073"/>
                <a:gd name="connsiteX6" fmla="*/ 13332 w 34766"/>
                <a:gd name="connsiteY6" fmla="*/ 766 h 20073"/>
                <a:gd name="connsiteX7" fmla="*/ 1235 w 34766"/>
                <a:gd name="connsiteY7" fmla="*/ 7719 h 20073"/>
                <a:gd name="connsiteX8" fmla="*/ 1235 w 34766"/>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6" h="20073">
                  <a:moveTo>
                    <a:pt x="1235" y="12006"/>
                  </a:moveTo>
                  <a:lnTo>
                    <a:pt x="13332" y="19054"/>
                  </a:lnTo>
                  <a:cubicBezTo>
                    <a:pt x="15675" y="20197"/>
                    <a:pt x="18419" y="20197"/>
                    <a:pt x="20762" y="19054"/>
                  </a:cubicBezTo>
                  <a:lnTo>
                    <a:pt x="32858" y="12006"/>
                  </a:lnTo>
                  <a:cubicBezTo>
                    <a:pt x="34954" y="10863"/>
                    <a:pt x="34954" y="8957"/>
                    <a:pt x="32858" y="7719"/>
                  </a:cubicBezTo>
                  <a:lnTo>
                    <a:pt x="20762" y="766"/>
                  </a:lnTo>
                  <a:cubicBezTo>
                    <a:pt x="18437" y="-472"/>
                    <a:pt x="15656" y="-472"/>
                    <a:pt x="13332" y="766"/>
                  </a:cubicBezTo>
                  <a:lnTo>
                    <a:pt x="1235" y="7719"/>
                  </a:lnTo>
                  <a:cubicBezTo>
                    <a:pt x="-860" y="8957"/>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785" name="îṧļîḑe">
              <a:extLst>
                <a:ext uri="{FF2B5EF4-FFF2-40B4-BE49-F238E27FC236}">
                  <a16:creationId xmlns:a16="http://schemas.microsoft.com/office/drawing/2014/main" id="{C5537C90-9E55-421D-BA35-C043D68A67DB}"/>
                </a:ext>
              </a:extLst>
            </p:cNvPr>
            <p:cNvSpPr/>
            <p:nvPr/>
          </p:nvSpPr>
          <p:spPr>
            <a:xfrm>
              <a:off x="5812591" y="5366272"/>
              <a:ext cx="109639" cy="53564"/>
            </a:xfrm>
            <a:custGeom>
              <a:avLst/>
              <a:gdLst>
                <a:gd name="connsiteX0" fmla="*/ -321 w 36019"/>
                <a:gd name="connsiteY0" fmla="*/ -163 h 17597"/>
                <a:gd name="connsiteX1" fmla="*/ -321 w 36019"/>
                <a:gd name="connsiteY1" fmla="*/ 7076 h 17597"/>
                <a:gd name="connsiteX2" fmla="*/ 1203 w 36019"/>
                <a:gd name="connsiteY2" fmla="*/ 9267 h 17597"/>
                <a:gd name="connsiteX3" fmla="*/ 13871 w 36019"/>
                <a:gd name="connsiteY3" fmla="*/ 16506 h 17597"/>
                <a:gd name="connsiteX4" fmla="*/ 21491 w 36019"/>
                <a:gd name="connsiteY4" fmla="*/ 16506 h 17597"/>
                <a:gd name="connsiteX5" fmla="*/ 34159 w 36019"/>
                <a:gd name="connsiteY5" fmla="*/ 9267 h 17597"/>
                <a:gd name="connsiteX6" fmla="*/ 35684 w 36019"/>
                <a:gd name="connsiteY6" fmla="*/ 6981 h 17597"/>
                <a:gd name="connsiteX7" fmla="*/ 35684 w 36019"/>
                <a:gd name="connsiteY7" fmla="*/ -163 h 17597"/>
                <a:gd name="connsiteX8" fmla="*/ 34159 w 36019"/>
                <a:gd name="connsiteY8" fmla="*/ 2028 h 17597"/>
                <a:gd name="connsiteX9" fmla="*/ 31397 w 36019"/>
                <a:gd name="connsiteY9" fmla="*/ 3647 h 17597"/>
                <a:gd name="connsiteX10" fmla="*/ 21110 w 36019"/>
                <a:gd name="connsiteY10" fmla="*/ 9457 h 17597"/>
                <a:gd name="connsiteX11" fmla="*/ 13490 w 36019"/>
                <a:gd name="connsiteY11" fmla="*/ 9457 h 17597"/>
                <a:gd name="connsiteX12" fmla="*/ 3203 w 36019"/>
                <a:gd name="connsiteY12" fmla="*/ 3647 h 17597"/>
                <a:gd name="connsiteX13" fmla="*/ 822 w 36019"/>
                <a:gd name="connsiteY13" fmla="*/ 2219 h 17597"/>
                <a:gd name="connsiteX14" fmla="*/ -321 w 3601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19" h="17597">
                  <a:moveTo>
                    <a:pt x="-321" y="-163"/>
                  </a:moveTo>
                  <a:lnTo>
                    <a:pt x="-321" y="7076"/>
                  </a:lnTo>
                  <a:cubicBezTo>
                    <a:pt x="-226" y="8019"/>
                    <a:pt x="355" y="8848"/>
                    <a:pt x="1203" y="9267"/>
                  </a:cubicBezTo>
                  <a:lnTo>
                    <a:pt x="13871" y="16506"/>
                  </a:lnTo>
                  <a:cubicBezTo>
                    <a:pt x="16262" y="17744"/>
                    <a:pt x="19101" y="17744"/>
                    <a:pt x="21491" y="16506"/>
                  </a:cubicBezTo>
                  <a:lnTo>
                    <a:pt x="34159" y="9267"/>
                  </a:lnTo>
                  <a:cubicBezTo>
                    <a:pt x="35026" y="8819"/>
                    <a:pt x="35598" y="7953"/>
                    <a:pt x="35684" y="6981"/>
                  </a:cubicBezTo>
                  <a:lnTo>
                    <a:pt x="35684" y="-163"/>
                  </a:lnTo>
                  <a:cubicBezTo>
                    <a:pt x="35645" y="799"/>
                    <a:pt x="35055" y="1656"/>
                    <a:pt x="34159" y="2028"/>
                  </a:cubicBezTo>
                  <a:lnTo>
                    <a:pt x="31397" y="3647"/>
                  </a:lnTo>
                  <a:lnTo>
                    <a:pt x="21110" y="9457"/>
                  </a:lnTo>
                  <a:cubicBezTo>
                    <a:pt x="18748" y="10801"/>
                    <a:pt x="15852" y="10801"/>
                    <a:pt x="13490" y="9457"/>
                  </a:cubicBezTo>
                  <a:lnTo>
                    <a:pt x="3203" y="3647"/>
                  </a:lnTo>
                  <a:lnTo>
                    <a:pt x="822" y="2219"/>
                  </a:lnTo>
                  <a:cubicBezTo>
                    <a:pt x="12" y="1714"/>
                    <a:pt x="-426" y="780"/>
                    <a:pt x="-321" y="-163"/>
                  </a:cubicBezTo>
                  <a:close/>
                </a:path>
              </a:pathLst>
            </a:custGeom>
            <a:solidFill>
              <a:srgbClr val="BF4200"/>
            </a:solidFill>
            <a:ln w="9525" cap="flat">
              <a:noFill/>
              <a:prstDash val="solid"/>
              <a:miter/>
            </a:ln>
          </p:spPr>
          <p:txBody>
            <a:bodyPr rtlCol="0" anchor="ctr"/>
            <a:lstStyle/>
            <a:p>
              <a:endParaRPr lang="zh-CN" altLang="en-US"/>
            </a:p>
          </p:txBody>
        </p:sp>
        <p:sp>
          <p:nvSpPr>
            <p:cNvPr id="786" name="iṣļîḋè">
              <a:extLst>
                <a:ext uri="{FF2B5EF4-FFF2-40B4-BE49-F238E27FC236}">
                  <a16:creationId xmlns:a16="http://schemas.microsoft.com/office/drawing/2014/main" id="{63566C68-D1FD-4277-A6E3-EF17EFE1B74B}"/>
                </a:ext>
              </a:extLst>
            </p:cNvPr>
            <p:cNvSpPr/>
            <p:nvPr/>
          </p:nvSpPr>
          <p:spPr>
            <a:xfrm>
              <a:off x="5889757" y="5379102"/>
              <a:ext cx="109450" cy="63350"/>
            </a:xfrm>
            <a:custGeom>
              <a:avLst/>
              <a:gdLst>
                <a:gd name="connsiteX0" fmla="*/ -336 w 35957"/>
                <a:gd name="connsiteY0" fmla="*/ 10196 h 20812"/>
                <a:gd name="connsiteX1" fmla="*/ 1188 w 35957"/>
                <a:gd name="connsiteY1" fmla="*/ 12482 h 20812"/>
                <a:gd name="connsiteX2" fmla="*/ 3569 w 35957"/>
                <a:gd name="connsiteY2" fmla="*/ 13815 h 20812"/>
                <a:gd name="connsiteX3" fmla="*/ 13761 w 35957"/>
                <a:gd name="connsiteY3" fmla="*/ 19721 h 20812"/>
                <a:gd name="connsiteX4" fmla="*/ 21476 w 35957"/>
                <a:gd name="connsiteY4" fmla="*/ 19721 h 20812"/>
                <a:gd name="connsiteX5" fmla="*/ 31763 w 35957"/>
                <a:gd name="connsiteY5" fmla="*/ 13815 h 20812"/>
                <a:gd name="connsiteX6" fmla="*/ 34049 w 35957"/>
                <a:gd name="connsiteY6" fmla="*/ 12482 h 20812"/>
                <a:gd name="connsiteX7" fmla="*/ 35478 w 35957"/>
                <a:gd name="connsiteY7" fmla="*/ 9434 h 20812"/>
                <a:gd name="connsiteX8" fmla="*/ 34049 w 35957"/>
                <a:gd name="connsiteY8" fmla="*/ 8005 h 20812"/>
                <a:gd name="connsiteX9" fmla="*/ 21476 w 35957"/>
                <a:gd name="connsiteY9" fmla="*/ 766 h 20812"/>
                <a:gd name="connsiteX10" fmla="*/ 13761 w 35957"/>
                <a:gd name="connsiteY10" fmla="*/ 766 h 20812"/>
                <a:gd name="connsiteX11" fmla="*/ 1188 w 35957"/>
                <a:gd name="connsiteY11" fmla="*/ 8005 h 20812"/>
                <a:gd name="connsiteX12" fmla="*/ -336 w 35957"/>
                <a:gd name="connsiteY12" fmla="*/ 10196 h 20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957" h="20812">
                  <a:moveTo>
                    <a:pt x="-336" y="10196"/>
                  </a:moveTo>
                  <a:cubicBezTo>
                    <a:pt x="-269" y="11177"/>
                    <a:pt x="312" y="12044"/>
                    <a:pt x="1188" y="12482"/>
                  </a:cubicBezTo>
                  <a:lnTo>
                    <a:pt x="3569" y="13815"/>
                  </a:lnTo>
                  <a:lnTo>
                    <a:pt x="13761" y="19721"/>
                  </a:lnTo>
                  <a:cubicBezTo>
                    <a:pt x="16180" y="20959"/>
                    <a:pt x="19057" y="20959"/>
                    <a:pt x="21476" y="19721"/>
                  </a:cubicBezTo>
                  <a:lnTo>
                    <a:pt x="31763" y="13815"/>
                  </a:lnTo>
                  <a:lnTo>
                    <a:pt x="34049" y="12482"/>
                  </a:lnTo>
                  <a:cubicBezTo>
                    <a:pt x="35287" y="12034"/>
                    <a:pt x="35925" y="10662"/>
                    <a:pt x="35478" y="9434"/>
                  </a:cubicBezTo>
                  <a:cubicBezTo>
                    <a:pt x="35230" y="8767"/>
                    <a:pt x="34716" y="8243"/>
                    <a:pt x="34049" y="8005"/>
                  </a:cubicBezTo>
                  <a:lnTo>
                    <a:pt x="21476" y="766"/>
                  </a:lnTo>
                  <a:cubicBezTo>
                    <a:pt x="19057" y="-472"/>
                    <a:pt x="16180" y="-472"/>
                    <a:pt x="13761" y="766"/>
                  </a:cubicBezTo>
                  <a:lnTo>
                    <a:pt x="1188" y="8005"/>
                  </a:lnTo>
                  <a:cubicBezTo>
                    <a:pt x="340" y="8424"/>
                    <a:pt x="-241" y="925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787" name="îŝļïdé">
              <a:extLst>
                <a:ext uri="{FF2B5EF4-FFF2-40B4-BE49-F238E27FC236}">
                  <a16:creationId xmlns:a16="http://schemas.microsoft.com/office/drawing/2014/main" id="{EFFC3D8F-9F4D-4ED2-99EE-199335A81C1E}"/>
                </a:ext>
              </a:extLst>
            </p:cNvPr>
            <p:cNvSpPr/>
            <p:nvPr/>
          </p:nvSpPr>
          <p:spPr>
            <a:xfrm>
              <a:off x="5891602" y="5380189"/>
              <a:ext cx="105618" cy="61174"/>
            </a:xfrm>
            <a:custGeom>
              <a:avLst/>
              <a:gdLst>
                <a:gd name="connsiteX0" fmla="*/ 1154 w 34698"/>
                <a:gd name="connsiteY0" fmla="*/ 12029 h 20097"/>
                <a:gd name="connsiteX1" fmla="*/ 13346 w 34698"/>
                <a:gd name="connsiteY1" fmla="*/ 19078 h 20097"/>
                <a:gd name="connsiteX2" fmla="*/ 20775 w 34698"/>
                <a:gd name="connsiteY2" fmla="*/ 19078 h 20097"/>
                <a:gd name="connsiteX3" fmla="*/ 32872 w 34698"/>
                <a:gd name="connsiteY3" fmla="*/ 12029 h 20097"/>
                <a:gd name="connsiteX4" fmla="*/ 34215 w 34698"/>
                <a:gd name="connsiteY4" fmla="*/ 9086 h 20097"/>
                <a:gd name="connsiteX5" fmla="*/ 32872 w 34698"/>
                <a:gd name="connsiteY5" fmla="*/ 7743 h 20097"/>
                <a:gd name="connsiteX6" fmla="*/ 20775 w 34698"/>
                <a:gd name="connsiteY6" fmla="*/ 695 h 20097"/>
                <a:gd name="connsiteX7" fmla="*/ 13346 w 34698"/>
                <a:gd name="connsiteY7" fmla="*/ 695 h 20097"/>
                <a:gd name="connsiteX8" fmla="*/ 1154 w 34698"/>
                <a:gd name="connsiteY8" fmla="*/ 7743 h 20097"/>
                <a:gd name="connsiteX9" fmla="*/ -189 w 34698"/>
                <a:gd name="connsiteY9" fmla="*/ 10686 h 20097"/>
                <a:gd name="connsiteX10" fmla="*/ 1154 w 34698"/>
                <a:gd name="connsiteY10" fmla="*/ 12029 h 20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698" h="20097">
                  <a:moveTo>
                    <a:pt x="1154" y="12029"/>
                  </a:moveTo>
                  <a:lnTo>
                    <a:pt x="13346" y="19078"/>
                  </a:lnTo>
                  <a:cubicBezTo>
                    <a:pt x="15689" y="20221"/>
                    <a:pt x="18432" y="20221"/>
                    <a:pt x="20775" y="19078"/>
                  </a:cubicBezTo>
                  <a:lnTo>
                    <a:pt x="32872" y="12029"/>
                  </a:lnTo>
                  <a:cubicBezTo>
                    <a:pt x="34053" y="11591"/>
                    <a:pt x="34663" y="10277"/>
                    <a:pt x="34215" y="9086"/>
                  </a:cubicBezTo>
                  <a:cubicBezTo>
                    <a:pt x="33987" y="8467"/>
                    <a:pt x="33491" y="7972"/>
                    <a:pt x="32872" y="7743"/>
                  </a:cubicBezTo>
                  <a:lnTo>
                    <a:pt x="20775" y="695"/>
                  </a:lnTo>
                  <a:cubicBezTo>
                    <a:pt x="18432" y="-448"/>
                    <a:pt x="15689" y="-448"/>
                    <a:pt x="13346" y="695"/>
                  </a:cubicBezTo>
                  <a:lnTo>
                    <a:pt x="1154" y="7743"/>
                  </a:lnTo>
                  <a:cubicBezTo>
                    <a:pt x="-27" y="8181"/>
                    <a:pt x="-637" y="9496"/>
                    <a:pt x="-189" y="10686"/>
                  </a:cubicBezTo>
                  <a:cubicBezTo>
                    <a:pt x="40" y="11305"/>
                    <a:pt x="525" y="11801"/>
                    <a:pt x="1154" y="12029"/>
                  </a:cubicBezTo>
                  <a:close/>
                </a:path>
              </a:pathLst>
            </a:custGeom>
            <a:solidFill>
              <a:srgbClr val="D1D9E8"/>
            </a:solidFill>
            <a:ln w="9525" cap="flat">
              <a:noFill/>
              <a:prstDash val="solid"/>
              <a:miter/>
            </a:ln>
          </p:spPr>
          <p:txBody>
            <a:bodyPr rtlCol="0" anchor="ctr"/>
            <a:lstStyle/>
            <a:p>
              <a:endParaRPr lang="zh-CN" altLang="en-US"/>
            </a:p>
          </p:txBody>
        </p:sp>
        <p:sp>
          <p:nvSpPr>
            <p:cNvPr id="788" name="ïṣḻïdé">
              <a:extLst>
                <a:ext uri="{FF2B5EF4-FFF2-40B4-BE49-F238E27FC236}">
                  <a16:creationId xmlns:a16="http://schemas.microsoft.com/office/drawing/2014/main" id="{5C282766-58CD-4819-880B-9FFB23DE5FC5}"/>
                </a:ext>
              </a:extLst>
            </p:cNvPr>
            <p:cNvSpPr/>
            <p:nvPr/>
          </p:nvSpPr>
          <p:spPr>
            <a:xfrm>
              <a:off x="5889757" y="5410631"/>
              <a:ext cx="109594" cy="53801"/>
            </a:xfrm>
            <a:custGeom>
              <a:avLst/>
              <a:gdLst>
                <a:gd name="connsiteX0" fmla="*/ -336 w 36004"/>
                <a:gd name="connsiteY0" fmla="*/ -163 h 17675"/>
                <a:gd name="connsiteX1" fmla="*/ -336 w 36004"/>
                <a:gd name="connsiteY1" fmla="*/ 7076 h 17675"/>
                <a:gd name="connsiteX2" fmla="*/ 1188 w 36004"/>
                <a:gd name="connsiteY2" fmla="*/ 9267 h 17675"/>
                <a:gd name="connsiteX3" fmla="*/ 13761 w 36004"/>
                <a:gd name="connsiteY3" fmla="*/ 16506 h 17675"/>
                <a:gd name="connsiteX4" fmla="*/ 21476 w 36004"/>
                <a:gd name="connsiteY4" fmla="*/ 16506 h 17675"/>
                <a:gd name="connsiteX5" fmla="*/ 34049 w 36004"/>
                <a:gd name="connsiteY5" fmla="*/ 9267 h 17675"/>
                <a:gd name="connsiteX6" fmla="*/ 35668 w 36004"/>
                <a:gd name="connsiteY6" fmla="*/ 7076 h 17675"/>
                <a:gd name="connsiteX7" fmla="*/ 35668 w 36004"/>
                <a:gd name="connsiteY7" fmla="*/ -163 h 17675"/>
                <a:gd name="connsiteX8" fmla="*/ 34049 w 36004"/>
                <a:gd name="connsiteY8" fmla="*/ 2123 h 17675"/>
                <a:gd name="connsiteX9" fmla="*/ 31763 w 36004"/>
                <a:gd name="connsiteY9" fmla="*/ 3457 h 17675"/>
                <a:gd name="connsiteX10" fmla="*/ 21476 w 36004"/>
                <a:gd name="connsiteY10" fmla="*/ 9362 h 17675"/>
                <a:gd name="connsiteX11" fmla="*/ 13761 w 36004"/>
                <a:gd name="connsiteY11" fmla="*/ 9362 h 17675"/>
                <a:gd name="connsiteX12" fmla="*/ 3569 w 36004"/>
                <a:gd name="connsiteY12" fmla="*/ 3457 h 17675"/>
                <a:gd name="connsiteX13" fmla="*/ 1188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79" y="8038"/>
                    <a:pt x="312" y="8877"/>
                    <a:pt x="1188" y="9267"/>
                  </a:cubicBezTo>
                  <a:lnTo>
                    <a:pt x="13761" y="16506"/>
                  </a:lnTo>
                  <a:cubicBezTo>
                    <a:pt x="16161" y="17849"/>
                    <a:pt x="19076" y="17849"/>
                    <a:pt x="21476" y="16506"/>
                  </a:cubicBezTo>
                  <a:lnTo>
                    <a:pt x="34049" y="9267"/>
                  </a:lnTo>
                  <a:cubicBezTo>
                    <a:pt x="34964" y="8905"/>
                    <a:pt x="35592" y="8058"/>
                    <a:pt x="35668" y="7076"/>
                  </a:cubicBezTo>
                  <a:lnTo>
                    <a:pt x="35668" y="-163"/>
                  </a:lnTo>
                  <a:cubicBezTo>
                    <a:pt x="35602" y="847"/>
                    <a:pt x="34973" y="1733"/>
                    <a:pt x="34049" y="2123"/>
                  </a:cubicBezTo>
                  <a:lnTo>
                    <a:pt x="31763" y="3457"/>
                  </a:lnTo>
                  <a:lnTo>
                    <a:pt x="21476" y="9362"/>
                  </a:lnTo>
                  <a:cubicBezTo>
                    <a:pt x="19057" y="10601"/>
                    <a:pt x="16180" y="10601"/>
                    <a:pt x="13761" y="9362"/>
                  </a:cubicBezTo>
                  <a:lnTo>
                    <a:pt x="3569" y="3457"/>
                  </a:lnTo>
                  <a:lnTo>
                    <a:pt x="1188" y="2123"/>
                  </a:lnTo>
                  <a:cubicBezTo>
                    <a:pt x="312"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89" name="îś1ïḍe">
              <a:extLst>
                <a:ext uri="{FF2B5EF4-FFF2-40B4-BE49-F238E27FC236}">
                  <a16:creationId xmlns:a16="http://schemas.microsoft.com/office/drawing/2014/main" id="{DE082C42-174D-4580-ACD5-0752B0C76AFA}"/>
                </a:ext>
              </a:extLst>
            </p:cNvPr>
            <p:cNvSpPr/>
            <p:nvPr/>
          </p:nvSpPr>
          <p:spPr>
            <a:xfrm>
              <a:off x="5997905" y="5423656"/>
              <a:ext cx="78716" cy="45467"/>
            </a:xfrm>
            <a:custGeom>
              <a:avLst/>
              <a:gdLst>
                <a:gd name="connsiteX0" fmla="*/ -336 w 25860"/>
                <a:gd name="connsiteY0" fmla="*/ 4321 h 14937"/>
                <a:gd name="connsiteX1" fmla="*/ 1283 w 25860"/>
                <a:gd name="connsiteY1" fmla="*/ 6607 h 14937"/>
                <a:gd name="connsiteX2" fmla="*/ 3569 w 25860"/>
                <a:gd name="connsiteY2" fmla="*/ 7941 h 14937"/>
                <a:gd name="connsiteX3" fmla="*/ 13856 w 25860"/>
                <a:gd name="connsiteY3" fmla="*/ 13846 h 14937"/>
                <a:gd name="connsiteX4" fmla="*/ 21571 w 25860"/>
                <a:gd name="connsiteY4" fmla="*/ 13846 h 14937"/>
                <a:gd name="connsiteX5" fmla="*/ 21571 w 25860"/>
                <a:gd name="connsiteY5" fmla="*/ 13846 h 14937"/>
                <a:gd name="connsiteX6" fmla="*/ 23952 w 25860"/>
                <a:gd name="connsiteY6" fmla="*/ 12513 h 14937"/>
                <a:gd name="connsiteX7" fmla="*/ 25381 w 25860"/>
                <a:gd name="connsiteY7" fmla="*/ 9465 h 14937"/>
                <a:gd name="connsiteX8" fmla="*/ 23952 w 25860"/>
                <a:gd name="connsiteY8" fmla="*/ 8036 h 14937"/>
                <a:gd name="connsiteX9" fmla="*/ 11284 w 25860"/>
                <a:gd name="connsiteY9" fmla="*/ 702 h 14937"/>
                <a:gd name="connsiteX10" fmla="*/ 3664 w 25860"/>
                <a:gd name="connsiteY10" fmla="*/ 702 h 14937"/>
                <a:gd name="connsiteX11" fmla="*/ 1283 w 25860"/>
                <a:gd name="connsiteY11" fmla="*/ 2130 h 14937"/>
                <a:gd name="connsiteX12" fmla="*/ -336 w 25860"/>
                <a:gd name="connsiteY12" fmla="*/ 4321 h 149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5860" h="14937">
                  <a:moveTo>
                    <a:pt x="-336" y="4321"/>
                  </a:moveTo>
                  <a:cubicBezTo>
                    <a:pt x="-231" y="5312"/>
                    <a:pt x="378" y="6178"/>
                    <a:pt x="1283" y="6607"/>
                  </a:cubicBezTo>
                  <a:lnTo>
                    <a:pt x="3569" y="7941"/>
                  </a:lnTo>
                  <a:lnTo>
                    <a:pt x="13856" y="13846"/>
                  </a:lnTo>
                  <a:cubicBezTo>
                    <a:pt x="16275" y="15084"/>
                    <a:pt x="19152" y="15084"/>
                    <a:pt x="21571" y="13846"/>
                  </a:cubicBezTo>
                  <a:lnTo>
                    <a:pt x="21571" y="13846"/>
                  </a:lnTo>
                  <a:lnTo>
                    <a:pt x="23952" y="12513"/>
                  </a:lnTo>
                  <a:cubicBezTo>
                    <a:pt x="25191" y="12065"/>
                    <a:pt x="25829" y="10693"/>
                    <a:pt x="25381" y="9465"/>
                  </a:cubicBezTo>
                  <a:cubicBezTo>
                    <a:pt x="25134" y="8798"/>
                    <a:pt x="24619" y="8274"/>
                    <a:pt x="23952" y="8036"/>
                  </a:cubicBezTo>
                  <a:lnTo>
                    <a:pt x="11284" y="702"/>
                  </a:lnTo>
                  <a:cubicBezTo>
                    <a:pt x="8874" y="-451"/>
                    <a:pt x="6074" y="-451"/>
                    <a:pt x="3664" y="702"/>
                  </a:cubicBezTo>
                  <a:lnTo>
                    <a:pt x="1283" y="2130"/>
                  </a:lnTo>
                  <a:cubicBezTo>
                    <a:pt x="397" y="2521"/>
                    <a:pt x="-222" y="3359"/>
                    <a:pt x="-336" y="4321"/>
                  </a:cubicBezTo>
                  <a:close/>
                </a:path>
              </a:pathLst>
            </a:custGeom>
            <a:solidFill>
              <a:srgbClr val="FFFFFF"/>
            </a:solidFill>
            <a:ln w="9525" cap="flat">
              <a:noFill/>
              <a:prstDash val="solid"/>
              <a:miter/>
            </a:ln>
          </p:spPr>
          <p:txBody>
            <a:bodyPr rtlCol="0" anchor="ctr"/>
            <a:lstStyle/>
            <a:p>
              <a:endParaRPr lang="zh-CN" altLang="en-US"/>
            </a:p>
          </p:txBody>
        </p:sp>
        <p:sp>
          <p:nvSpPr>
            <p:cNvPr id="790" name="iṥ1îdé">
              <a:extLst>
                <a:ext uri="{FF2B5EF4-FFF2-40B4-BE49-F238E27FC236}">
                  <a16:creationId xmlns:a16="http://schemas.microsoft.com/office/drawing/2014/main" id="{36FA47B0-500F-4D49-980E-6E2BA962E36C}"/>
                </a:ext>
              </a:extLst>
            </p:cNvPr>
            <p:cNvSpPr/>
            <p:nvPr/>
          </p:nvSpPr>
          <p:spPr>
            <a:xfrm>
              <a:off x="6000005" y="5424837"/>
              <a:ext cx="74585" cy="42910"/>
            </a:xfrm>
            <a:custGeom>
              <a:avLst/>
              <a:gdLst>
                <a:gd name="connsiteX0" fmla="*/ 1164 w 24503"/>
                <a:gd name="connsiteY0" fmla="*/ 6029 h 14097"/>
                <a:gd name="connsiteX1" fmla="*/ 13261 w 24503"/>
                <a:gd name="connsiteY1" fmla="*/ 13077 h 14097"/>
                <a:gd name="connsiteX2" fmla="*/ 20690 w 24503"/>
                <a:gd name="connsiteY2" fmla="*/ 13077 h 14097"/>
                <a:gd name="connsiteX3" fmla="*/ 22595 w 24503"/>
                <a:gd name="connsiteY3" fmla="*/ 12029 h 14097"/>
                <a:gd name="connsiteX4" fmla="*/ 22595 w 24503"/>
                <a:gd name="connsiteY4" fmla="*/ 7743 h 14097"/>
                <a:gd name="connsiteX5" fmla="*/ 10498 w 24503"/>
                <a:gd name="connsiteY5" fmla="*/ 695 h 14097"/>
                <a:gd name="connsiteX6" fmla="*/ 3069 w 24503"/>
                <a:gd name="connsiteY6" fmla="*/ 695 h 14097"/>
                <a:gd name="connsiteX7" fmla="*/ 1164 w 24503"/>
                <a:gd name="connsiteY7" fmla="*/ 1742 h 14097"/>
                <a:gd name="connsiteX8" fmla="*/ 1164 w 24503"/>
                <a:gd name="connsiteY8" fmla="*/ 6029 h 14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503" h="14097">
                  <a:moveTo>
                    <a:pt x="1164" y="6029"/>
                  </a:moveTo>
                  <a:lnTo>
                    <a:pt x="13261" y="13077"/>
                  </a:lnTo>
                  <a:cubicBezTo>
                    <a:pt x="15604" y="14220"/>
                    <a:pt x="18347" y="14220"/>
                    <a:pt x="20690" y="13077"/>
                  </a:cubicBezTo>
                  <a:lnTo>
                    <a:pt x="22595" y="12029"/>
                  </a:lnTo>
                  <a:cubicBezTo>
                    <a:pt x="24691" y="10791"/>
                    <a:pt x="24691" y="8886"/>
                    <a:pt x="22595" y="7743"/>
                  </a:cubicBezTo>
                  <a:lnTo>
                    <a:pt x="10498" y="695"/>
                  </a:lnTo>
                  <a:cubicBezTo>
                    <a:pt x="8155" y="-448"/>
                    <a:pt x="5412" y="-448"/>
                    <a:pt x="3069" y="695"/>
                  </a:cubicBezTo>
                  <a:lnTo>
                    <a:pt x="1164" y="1742"/>
                  </a:lnTo>
                  <a:cubicBezTo>
                    <a:pt x="-836" y="3457"/>
                    <a:pt x="-836" y="4886"/>
                    <a:pt x="1164" y="6029"/>
                  </a:cubicBezTo>
                  <a:close/>
                </a:path>
              </a:pathLst>
            </a:custGeom>
            <a:solidFill>
              <a:srgbClr val="D1D9E8"/>
            </a:solidFill>
            <a:ln w="9525" cap="flat">
              <a:noFill/>
              <a:prstDash val="solid"/>
              <a:miter/>
            </a:ln>
          </p:spPr>
          <p:txBody>
            <a:bodyPr rtlCol="0" anchor="ctr"/>
            <a:lstStyle/>
            <a:p>
              <a:endParaRPr lang="zh-CN" altLang="en-US"/>
            </a:p>
          </p:txBody>
        </p:sp>
        <p:sp>
          <p:nvSpPr>
            <p:cNvPr id="791" name="î$ḷíďê">
              <a:extLst>
                <a:ext uri="{FF2B5EF4-FFF2-40B4-BE49-F238E27FC236}">
                  <a16:creationId xmlns:a16="http://schemas.microsoft.com/office/drawing/2014/main" id="{CCC638CA-300F-42BE-9FF5-B85462D88B9A}"/>
                </a:ext>
              </a:extLst>
            </p:cNvPr>
            <p:cNvSpPr/>
            <p:nvPr/>
          </p:nvSpPr>
          <p:spPr>
            <a:xfrm>
              <a:off x="5997905" y="5437305"/>
              <a:ext cx="78570" cy="53564"/>
            </a:xfrm>
            <a:custGeom>
              <a:avLst/>
              <a:gdLst>
                <a:gd name="connsiteX0" fmla="*/ -336 w 25812"/>
                <a:gd name="connsiteY0" fmla="*/ -163 h 17597"/>
                <a:gd name="connsiteX1" fmla="*/ -336 w 25812"/>
                <a:gd name="connsiteY1" fmla="*/ 7076 h 17597"/>
                <a:gd name="connsiteX2" fmla="*/ 1283 w 25812"/>
                <a:gd name="connsiteY2" fmla="*/ 9267 h 17597"/>
                <a:gd name="connsiteX3" fmla="*/ 13856 w 25812"/>
                <a:gd name="connsiteY3" fmla="*/ 16506 h 17597"/>
                <a:gd name="connsiteX4" fmla="*/ 21571 w 25812"/>
                <a:gd name="connsiteY4" fmla="*/ 16506 h 17597"/>
                <a:gd name="connsiteX5" fmla="*/ 23952 w 25812"/>
                <a:gd name="connsiteY5" fmla="*/ 15173 h 17597"/>
                <a:gd name="connsiteX6" fmla="*/ 25476 w 25812"/>
                <a:gd name="connsiteY6" fmla="*/ 12887 h 17597"/>
                <a:gd name="connsiteX7" fmla="*/ 25476 w 25812"/>
                <a:gd name="connsiteY7" fmla="*/ 5743 h 17597"/>
                <a:gd name="connsiteX8" fmla="*/ 23952 w 25812"/>
                <a:gd name="connsiteY8" fmla="*/ 8029 h 17597"/>
                <a:gd name="connsiteX9" fmla="*/ 21571 w 25812"/>
                <a:gd name="connsiteY9" fmla="*/ 9362 h 17597"/>
                <a:gd name="connsiteX10" fmla="*/ 21571 w 25812"/>
                <a:gd name="connsiteY10" fmla="*/ 9362 h 17597"/>
                <a:gd name="connsiteX11" fmla="*/ 13856 w 25812"/>
                <a:gd name="connsiteY11" fmla="*/ 9362 h 17597"/>
                <a:gd name="connsiteX12" fmla="*/ 3569 w 25812"/>
                <a:gd name="connsiteY12" fmla="*/ 3457 h 17597"/>
                <a:gd name="connsiteX13" fmla="*/ 1283 w 25812"/>
                <a:gd name="connsiteY13" fmla="*/ 2124 h 17597"/>
                <a:gd name="connsiteX14" fmla="*/ -336 w 25812"/>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5812" h="17597">
                  <a:moveTo>
                    <a:pt x="-336" y="-163"/>
                  </a:moveTo>
                  <a:lnTo>
                    <a:pt x="-336" y="7076"/>
                  </a:lnTo>
                  <a:cubicBezTo>
                    <a:pt x="-203" y="8029"/>
                    <a:pt x="407" y="8858"/>
                    <a:pt x="1283" y="9267"/>
                  </a:cubicBezTo>
                  <a:lnTo>
                    <a:pt x="13856" y="16506"/>
                  </a:lnTo>
                  <a:cubicBezTo>
                    <a:pt x="16275" y="17744"/>
                    <a:pt x="19152" y="17744"/>
                    <a:pt x="21571" y="16506"/>
                  </a:cubicBezTo>
                  <a:lnTo>
                    <a:pt x="23952" y="15173"/>
                  </a:lnTo>
                  <a:cubicBezTo>
                    <a:pt x="24819" y="14725"/>
                    <a:pt x="25391" y="13858"/>
                    <a:pt x="25476" y="12887"/>
                  </a:cubicBezTo>
                  <a:lnTo>
                    <a:pt x="25476" y="5743"/>
                  </a:lnTo>
                  <a:cubicBezTo>
                    <a:pt x="25410" y="6724"/>
                    <a:pt x="24829" y="7591"/>
                    <a:pt x="23952" y="8029"/>
                  </a:cubicBezTo>
                  <a:lnTo>
                    <a:pt x="21571" y="9362"/>
                  </a:lnTo>
                  <a:lnTo>
                    <a:pt x="21571" y="9362"/>
                  </a:lnTo>
                  <a:cubicBezTo>
                    <a:pt x="19152" y="10601"/>
                    <a:pt x="16275" y="10601"/>
                    <a:pt x="13856" y="9362"/>
                  </a:cubicBezTo>
                  <a:lnTo>
                    <a:pt x="3569" y="3457"/>
                  </a:lnTo>
                  <a:lnTo>
                    <a:pt x="1283" y="2124"/>
                  </a:lnTo>
                  <a:cubicBezTo>
                    <a:pt x="378" y="1695"/>
                    <a:pt x="-231"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92" name="iṧḷïḓè">
              <a:extLst>
                <a:ext uri="{FF2B5EF4-FFF2-40B4-BE49-F238E27FC236}">
                  <a16:creationId xmlns:a16="http://schemas.microsoft.com/office/drawing/2014/main" id="{F5E83523-9450-49B7-91EB-01D2E70E1E39}"/>
                </a:ext>
              </a:extLst>
            </p:cNvPr>
            <p:cNvSpPr/>
            <p:nvPr/>
          </p:nvSpPr>
          <p:spPr>
            <a:xfrm>
              <a:off x="5967170" y="5441436"/>
              <a:ext cx="78603" cy="45902"/>
            </a:xfrm>
            <a:custGeom>
              <a:avLst/>
              <a:gdLst>
                <a:gd name="connsiteX0" fmla="*/ -336 w 25823"/>
                <a:gd name="connsiteY0" fmla="*/ 4386 h 15080"/>
                <a:gd name="connsiteX1" fmla="*/ 1283 w 25823"/>
                <a:gd name="connsiteY1" fmla="*/ 6672 h 15080"/>
                <a:gd name="connsiteX2" fmla="*/ 3569 w 25823"/>
                <a:gd name="connsiteY2" fmla="*/ 8005 h 15080"/>
                <a:gd name="connsiteX3" fmla="*/ 13856 w 25823"/>
                <a:gd name="connsiteY3" fmla="*/ 13911 h 15080"/>
                <a:gd name="connsiteX4" fmla="*/ 21571 w 25823"/>
                <a:gd name="connsiteY4" fmla="*/ 13911 h 15080"/>
                <a:gd name="connsiteX5" fmla="*/ 21571 w 25823"/>
                <a:gd name="connsiteY5" fmla="*/ 13911 h 15080"/>
                <a:gd name="connsiteX6" fmla="*/ 23857 w 25823"/>
                <a:gd name="connsiteY6" fmla="*/ 12482 h 15080"/>
                <a:gd name="connsiteX7" fmla="*/ 25391 w 25823"/>
                <a:gd name="connsiteY7" fmla="*/ 9634 h 15080"/>
                <a:gd name="connsiteX8" fmla="*/ 23857 w 25823"/>
                <a:gd name="connsiteY8" fmla="*/ 8100 h 15080"/>
                <a:gd name="connsiteX9" fmla="*/ 11284 w 25823"/>
                <a:gd name="connsiteY9" fmla="*/ 766 h 15080"/>
                <a:gd name="connsiteX10" fmla="*/ 3569 w 25823"/>
                <a:gd name="connsiteY10" fmla="*/ 766 h 15080"/>
                <a:gd name="connsiteX11" fmla="*/ 1283 w 25823"/>
                <a:gd name="connsiteY11" fmla="*/ 2099 h 15080"/>
                <a:gd name="connsiteX12" fmla="*/ -336 w 25823"/>
                <a:gd name="connsiteY12" fmla="*/ 4386 h 15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5823" h="15080">
                  <a:moveTo>
                    <a:pt x="-336" y="4386"/>
                  </a:moveTo>
                  <a:cubicBezTo>
                    <a:pt x="-298" y="5405"/>
                    <a:pt x="340" y="6300"/>
                    <a:pt x="1283" y="6672"/>
                  </a:cubicBezTo>
                  <a:lnTo>
                    <a:pt x="3569" y="8005"/>
                  </a:lnTo>
                  <a:lnTo>
                    <a:pt x="13856" y="13911"/>
                  </a:lnTo>
                  <a:cubicBezTo>
                    <a:pt x="16256" y="15254"/>
                    <a:pt x="19171" y="15254"/>
                    <a:pt x="21571" y="13911"/>
                  </a:cubicBezTo>
                  <a:lnTo>
                    <a:pt x="21571" y="13911"/>
                  </a:lnTo>
                  <a:lnTo>
                    <a:pt x="23857" y="12482"/>
                  </a:lnTo>
                  <a:cubicBezTo>
                    <a:pt x="25067" y="12120"/>
                    <a:pt x="25753" y="10843"/>
                    <a:pt x="25391" y="9634"/>
                  </a:cubicBezTo>
                  <a:cubicBezTo>
                    <a:pt x="25172" y="8900"/>
                    <a:pt x="24600" y="8319"/>
                    <a:pt x="23857" y="8100"/>
                  </a:cubicBezTo>
                  <a:lnTo>
                    <a:pt x="11284" y="766"/>
                  </a:lnTo>
                  <a:cubicBezTo>
                    <a:pt x="8865" y="-472"/>
                    <a:pt x="5988" y="-472"/>
                    <a:pt x="3569" y="766"/>
                  </a:cubicBezTo>
                  <a:lnTo>
                    <a:pt x="1283" y="2099"/>
                  </a:lnTo>
                  <a:cubicBezTo>
                    <a:pt x="359" y="2490"/>
                    <a:pt x="-270" y="3376"/>
                    <a:pt x="-336" y="4386"/>
                  </a:cubicBezTo>
                  <a:close/>
                </a:path>
              </a:pathLst>
            </a:custGeom>
            <a:solidFill>
              <a:srgbClr val="FFFFFF"/>
            </a:solidFill>
            <a:ln w="9525" cap="flat">
              <a:noFill/>
              <a:prstDash val="solid"/>
              <a:miter/>
            </a:ln>
          </p:spPr>
          <p:txBody>
            <a:bodyPr rtlCol="0" anchor="ctr"/>
            <a:lstStyle/>
            <a:p>
              <a:endParaRPr lang="zh-CN" altLang="en-US"/>
            </a:p>
          </p:txBody>
        </p:sp>
        <p:sp>
          <p:nvSpPr>
            <p:cNvPr id="793" name="ïṣ1ïdê">
              <a:extLst>
                <a:ext uri="{FF2B5EF4-FFF2-40B4-BE49-F238E27FC236}">
                  <a16:creationId xmlns:a16="http://schemas.microsoft.com/office/drawing/2014/main" id="{B6893468-5703-4826-B42C-C3CC0145243B}"/>
                </a:ext>
              </a:extLst>
            </p:cNvPr>
            <p:cNvSpPr/>
            <p:nvPr/>
          </p:nvSpPr>
          <p:spPr>
            <a:xfrm>
              <a:off x="5968692" y="5442885"/>
              <a:ext cx="74585" cy="43126"/>
            </a:xfrm>
            <a:custGeom>
              <a:avLst/>
              <a:gdLst>
                <a:gd name="connsiteX0" fmla="*/ 1164 w 24503"/>
                <a:gd name="connsiteY0" fmla="*/ 6100 h 14168"/>
                <a:gd name="connsiteX1" fmla="*/ 13261 w 24503"/>
                <a:gd name="connsiteY1" fmla="*/ 13149 h 14168"/>
                <a:gd name="connsiteX2" fmla="*/ 20690 w 24503"/>
                <a:gd name="connsiteY2" fmla="*/ 13149 h 14168"/>
                <a:gd name="connsiteX3" fmla="*/ 22595 w 24503"/>
                <a:gd name="connsiteY3" fmla="*/ 12006 h 14168"/>
                <a:gd name="connsiteX4" fmla="*/ 22595 w 24503"/>
                <a:gd name="connsiteY4" fmla="*/ 7719 h 14168"/>
                <a:gd name="connsiteX5" fmla="*/ 10498 w 24503"/>
                <a:gd name="connsiteY5" fmla="*/ 766 h 14168"/>
                <a:gd name="connsiteX6" fmla="*/ 3069 w 24503"/>
                <a:gd name="connsiteY6" fmla="*/ 766 h 14168"/>
                <a:gd name="connsiteX7" fmla="*/ 1164 w 24503"/>
                <a:gd name="connsiteY7" fmla="*/ 1814 h 14168"/>
                <a:gd name="connsiteX8" fmla="*/ 1164 w 24503"/>
                <a:gd name="connsiteY8" fmla="*/ 6100 h 14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503" h="14168">
                  <a:moveTo>
                    <a:pt x="1164" y="6100"/>
                  </a:moveTo>
                  <a:lnTo>
                    <a:pt x="13261" y="13149"/>
                  </a:lnTo>
                  <a:cubicBezTo>
                    <a:pt x="15604" y="14292"/>
                    <a:pt x="18347" y="14292"/>
                    <a:pt x="20690" y="13149"/>
                  </a:cubicBezTo>
                  <a:lnTo>
                    <a:pt x="22595" y="12006"/>
                  </a:lnTo>
                  <a:cubicBezTo>
                    <a:pt x="24691" y="10863"/>
                    <a:pt x="24691" y="8958"/>
                    <a:pt x="22595" y="7719"/>
                  </a:cubicBezTo>
                  <a:lnTo>
                    <a:pt x="10498" y="766"/>
                  </a:lnTo>
                  <a:cubicBezTo>
                    <a:pt x="8174" y="-472"/>
                    <a:pt x="5393" y="-472"/>
                    <a:pt x="3069" y="766"/>
                  </a:cubicBezTo>
                  <a:lnTo>
                    <a:pt x="1164" y="1814"/>
                  </a:lnTo>
                  <a:cubicBezTo>
                    <a:pt x="-836" y="3052"/>
                    <a:pt x="-836" y="4957"/>
                    <a:pt x="1164" y="6100"/>
                  </a:cubicBezTo>
                  <a:close/>
                </a:path>
              </a:pathLst>
            </a:custGeom>
            <a:solidFill>
              <a:srgbClr val="D1D9E8"/>
            </a:solidFill>
            <a:ln w="9525" cap="flat">
              <a:noFill/>
              <a:prstDash val="solid"/>
              <a:miter/>
            </a:ln>
          </p:spPr>
          <p:txBody>
            <a:bodyPr rtlCol="0" anchor="ctr"/>
            <a:lstStyle/>
            <a:p>
              <a:endParaRPr lang="zh-CN" altLang="en-US"/>
            </a:p>
          </p:txBody>
        </p:sp>
        <p:sp>
          <p:nvSpPr>
            <p:cNvPr id="794" name="îŝḷïďè">
              <a:extLst>
                <a:ext uri="{FF2B5EF4-FFF2-40B4-BE49-F238E27FC236}">
                  <a16:creationId xmlns:a16="http://schemas.microsoft.com/office/drawing/2014/main" id="{624DE2D7-5E3D-47EE-AB25-A7DFCCE78D52}"/>
                </a:ext>
              </a:extLst>
            </p:cNvPr>
            <p:cNvSpPr/>
            <p:nvPr/>
          </p:nvSpPr>
          <p:spPr>
            <a:xfrm>
              <a:off x="5967170" y="5455283"/>
              <a:ext cx="78570" cy="53801"/>
            </a:xfrm>
            <a:custGeom>
              <a:avLst/>
              <a:gdLst>
                <a:gd name="connsiteX0" fmla="*/ -336 w 25812"/>
                <a:gd name="connsiteY0" fmla="*/ -163 h 17675"/>
                <a:gd name="connsiteX1" fmla="*/ -336 w 25812"/>
                <a:gd name="connsiteY1" fmla="*/ 7076 h 17675"/>
                <a:gd name="connsiteX2" fmla="*/ 1283 w 25812"/>
                <a:gd name="connsiteY2" fmla="*/ 9267 h 17675"/>
                <a:gd name="connsiteX3" fmla="*/ 13856 w 25812"/>
                <a:gd name="connsiteY3" fmla="*/ 16506 h 17675"/>
                <a:gd name="connsiteX4" fmla="*/ 21571 w 25812"/>
                <a:gd name="connsiteY4" fmla="*/ 16506 h 17675"/>
                <a:gd name="connsiteX5" fmla="*/ 23857 w 25812"/>
                <a:gd name="connsiteY5" fmla="*/ 15268 h 17675"/>
                <a:gd name="connsiteX6" fmla="*/ 25476 w 25812"/>
                <a:gd name="connsiteY6" fmla="*/ 12982 h 17675"/>
                <a:gd name="connsiteX7" fmla="*/ 25476 w 25812"/>
                <a:gd name="connsiteY7" fmla="*/ 5838 h 17675"/>
                <a:gd name="connsiteX8" fmla="*/ 23857 w 25812"/>
                <a:gd name="connsiteY8" fmla="*/ 8029 h 17675"/>
                <a:gd name="connsiteX9" fmla="*/ 21571 w 25812"/>
                <a:gd name="connsiteY9" fmla="*/ 9457 h 17675"/>
                <a:gd name="connsiteX10" fmla="*/ 21571 w 25812"/>
                <a:gd name="connsiteY10" fmla="*/ 9457 h 17675"/>
                <a:gd name="connsiteX11" fmla="*/ 13856 w 25812"/>
                <a:gd name="connsiteY11" fmla="*/ 9457 h 17675"/>
                <a:gd name="connsiteX12" fmla="*/ 3569 w 25812"/>
                <a:gd name="connsiteY12" fmla="*/ 3552 h 17675"/>
                <a:gd name="connsiteX13" fmla="*/ 1283 w 25812"/>
                <a:gd name="connsiteY13" fmla="*/ 2219 h 17675"/>
                <a:gd name="connsiteX14" fmla="*/ -336 w 25812"/>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5812" h="17675">
                  <a:moveTo>
                    <a:pt x="-336" y="-163"/>
                  </a:moveTo>
                  <a:lnTo>
                    <a:pt x="-336" y="7076"/>
                  </a:lnTo>
                  <a:cubicBezTo>
                    <a:pt x="-279" y="8067"/>
                    <a:pt x="349" y="8924"/>
                    <a:pt x="1283" y="9267"/>
                  </a:cubicBezTo>
                  <a:lnTo>
                    <a:pt x="13856" y="16506"/>
                  </a:lnTo>
                  <a:cubicBezTo>
                    <a:pt x="16256" y="17849"/>
                    <a:pt x="19171" y="17849"/>
                    <a:pt x="21571" y="16506"/>
                  </a:cubicBezTo>
                  <a:lnTo>
                    <a:pt x="23857" y="15268"/>
                  </a:lnTo>
                  <a:cubicBezTo>
                    <a:pt x="24771" y="14858"/>
                    <a:pt x="25391" y="13982"/>
                    <a:pt x="25476" y="12982"/>
                  </a:cubicBezTo>
                  <a:lnTo>
                    <a:pt x="25476" y="5838"/>
                  </a:lnTo>
                  <a:cubicBezTo>
                    <a:pt x="25419" y="6829"/>
                    <a:pt x="24791" y="7686"/>
                    <a:pt x="23857" y="8029"/>
                  </a:cubicBezTo>
                  <a:lnTo>
                    <a:pt x="21571" y="9457"/>
                  </a:lnTo>
                  <a:lnTo>
                    <a:pt x="21571" y="9457"/>
                  </a:lnTo>
                  <a:cubicBezTo>
                    <a:pt x="19171" y="10801"/>
                    <a:pt x="16256" y="10801"/>
                    <a:pt x="13856" y="9457"/>
                  </a:cubicBezTo>
                  <a:lnTo>
                    <a:pt x="3569" y="3552"/>
                  </a:lnTo>
                  <a:lnTo>
                    <a:pt x="1283" y="2219"/>
                  </a:lnTo>
                  <a:cubicBezTo>
                    <a:pt x="311" y="1828"/>
                    <a:pt x="-336" y="885"/>
                    <a:pt x="-336" y="-163"/>
                  </a:cubicBezTo>
                  <a:close/>
                </a:path>
              </a:pathLst>
            </a:custGeom>
            <a:solidFill>
              <a:srgbClr val="BF4200"/>
            </a:solidFill>
            <a:ln w="9525" cap="flat">
              <a:noFill/>
              <a:prstDash val="solid"/>
              <a:miter/>
            </a:ln>
          </p:spPr>
          <p:txBody>
            <a:bodyPr rtlCol="0" anchor="ctr"/>
            <a:lstStyle/>
            <a:p>
              <a:endParaRPr lang="zh-CN" altLang="en-US"/>
            </a:p>
          </p:txBody>
        </p:sp>
        <p:sp>
          <p:nvSpPr>
            <p:cNvPr id="795" name="islíḋé">
              <a:extLst>
                <a:ext uri="{FF2B5EF4-FFF2-40B4-BE49-F238E27FC236}">
                  <a16:creationId xmlns:a16="http://schemas.microsoft.com/office/drawing/2014/main" id="{B15E2F62-4A7C-48F9-BBB5-624B381CE9E7}"/>
                </a:ext>
              </a:extLst>
            </p:cNvPr>
            <p:cNvSpPr/>
            <p:nvPr/>
          </p:nvSpPr>
          <p:spPr>
            <a:xfrm>
              <a:off x="6044294" y="5468110"/>
              <a:ext cx="109594" cy="63588"/>
            </a:xfrm>
            <a:custGeom>
              <a:avLst/>
              <a:gdLst>
                <a:gd name="connsiteX0" fmla="*/ -336 w 36004"/>
                <a:gd name="connsiteY0" fmla="*/ 10291 h 20890"/>
                <a:gd name="connsiteX1" fmla="*/ 1188 w 36004"/>
                <a:gd name="connsiteY1" fmla="*/ 12577 h 20890"/>
                <a:gd name="connsiteX2" fmla="*/ 3569 w 36004"/>
                <a:gd name="connsiteY2" fmla="*/ 13911 h 20890"/>
                <a:gd name="connsiteX3" fmla="*/ 13856 w 36004"/>
                <a:gd name="connsiteY3" fmla="*/ 19721 h 20890"/>
                <a:gd name="connsiteX4" fmla="*/ 21476 w 36004"/>
                <a:gd name="connsiteY4" fmla="*/ 19721 h 20890"/>
                <a:gd name="connsiteX5" fmla="*/ 31763 w 36004"/>
                <a:gd name="connsiteY5" fmla="*/ 13911 h 20890"/>
                <a:gd name="connsiteX6" fmla="*/ 34144 w 36004"/>
                <a:gd name="connsiteY6" fmla="*/ 12577 h 20890"/>
                <a:gd name="connsiteX7" fmla="*/ 35668 w 36004"/>
                <a:gd name="connsiteY7" fmla="*/ 10291 h 20890"/>
                <a:gd name="connsiteX8" fmla="*/ 34144 w 36004"/>
                <a:gd name="connsiteY8" fmla="*/ 8101 h 20890"/>
                <a:gd name="connsiteX9" fmla="*/ 21476 w 36004"/>
                <a:gd name="connsiteY9" fmla="*/ 766 h 20890"/>
                <a:gd name="connsiteX10" fmla="*/ 13856 w 36004"/>
                <a:gd name="connsiteY10" fmla="*/ 766 h 20890"/>
                <a:gd name="connsiteX11" fmla="*/ 1188 w 36004"/>
                <a:gd name="connsiteY11" fmla="*/ 8101 h 20890"/>
                <a:gd name="connsiteX12" fmla="*/ -336 w 36004"/>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291"/>
                  </a:moveTo>
                  <a:cubicBezTo>
                    <a:pt x="-270" y="11272"/>
                    <a:pt x="311" y="12139"/>
                    <a:pt x="1188" y="12577"/>
                  </a:cubicBezTo>
                  <a:lnTo>
                    <a:pt x="3569" y="13911"/>
                  </a:lnTo>
                  <a:lnTo>
                    <a:pt x="13856" y="19721"/>
                  </a:lnTo>
                  <a:cubicBezTo>
                    <a:pt x="16218" y="21064"/>
                    <a:pt x="19114" y="21064"/>
                    <a:pt x="21476" y="19721"/>
                  </a:cubicBezTo>
                  <a:lnTo>
                    <a:pt x="31763" y="13911"/>
                  </a:lnTo>
                  <a:lnTo>
                    <a:pt x="34144" y="12577"/>
                  </a:lnTo>
                  <a:cubicBezTo>
                    <a:pt x="35021" y="12139"/>
                    <a:pt x="35602" y="11272"/>
                    <a:pt x="35668" y="10291"/>
                  </a:cubicBezTo>
                  <a:cubicBezTo>
                    <a:pt x="35611" y="9339"/>
                    <a:pt x="35021" y="8491"/>
                    <a:pt x="34144" y="8101"/>
                  </a:cubicBezTo>
                  <a:lnTo>
                    <a:pt x="21476" y="766"/>
                  </a:lnTo>
                  <a:cubicBezTo>
                    <a:pt x="19085" y="-472"/>
                    <a:pt x="16247" y="-472"/>
                    <a:pt x="13856" y="766"/>
                  </a:cubicBezTo>
                  <a:lnTo>
                    <a:pt x="1188" y="8101"/>
                  </a:lnTo>
                  <a:cubicBezTo>
                    <a:pt x="311" y="8491"/>
                    <a:pt x="-279"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796" name="íşļïdê">
              <a:extLst>
                <a:ext uri="{FF2B5EF4-FFF2-40B4-BE49-F238E27FC236}">
                  <a16:creationId xmlns:a16="http://schemas.microsoft.com/office/drawing/2014/main" id="{EA1DC5C8-3296-475C-AA25-5F9B59ED2ABC}"/>
                </a:ext>
              </a:extLst>
            </p:cNvPr>
            <p:cNvSpPr/>
            <p:nvPr/>
          </p:nvSpPr>
          <p:spPr>
            <a:xfrm>
              <a:off x="6046179" y="5469269"/>
              <a:ext cx="105825" cy="61104"/>
            </a:xfrm>
            <a:custGeom>
              <a:avLst/>
              <a:gdLst>
                <a:gd name="connsiteX0" fmla="*/ 1235 w 34766"/>
                <a:gd name="connsiteY0" fmla="*/ 12006 h 20074"/>
                <a:gd name="connsiteX1" fmla="*/ 13332 w 34766"/>
                <a:gd name="connsiteY1" fmla="*/ 19054 h 20074"/>
                <a:gd name="connsiteX2" fmla="*/ 20761 w 34766"/>
                <a:gd name="connsiteY2" fmla="*/ 19054 h 20074"/>
                <a:gd name="connsiteX3" fmla="*/ 32858 w 34766"/>
                <a:gd name="connsiteY3" fmla="*/ 12006 h 20074"/>
                <a:gd name="connsiteX4" fmla="*/ 32858 w 34766"/>
                <a:gd name="connsiteY4" fmla="*/ 7719 h 20074"/>
                <a:gd name="connsiteX5" fmla="*/ 20761 w 34766"/>
                <a:gd name="connsiteY5" fmla="*/ 766 h 20074"/>
                <a:gd name="connsiteX6" fmla="*/ 13332 w 34766"/>
                <a:gd name="connsiteY6" fmla="*/ 766 h 20074"/>
                <a:gd name="connsiteX7" fmla="*/ 1235 w 34766"/>
                <a:gd name="connsiteY7" fmla="*/ 7719 h 20074"/>
                <a:gd name="connsiteX8" fmla="*/ 1235 w 34766"/>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6" h="20074">
                  <a:moveTo>
                    <a:pt x="1235" y="12006"/>
                  </a:moveTo>
                  <a:lnTo>
                    <a:pt x="13332" y="19054"/>
                  </a:lnTo>
                  <a:cubicBezTo>
                    <a:pt x="15675" y="20197"/>
                    <a:pt x="18418" y="20197"/>
                    <a:pt x="20761" y="19054"/>
                  </a:cubicBezTo>
                  <a:lnTo>
                    <a:pt x="32858" y="12006"/>
                  </a:lnTo>
                  <a:cubicBezTo>
                    <a:pt x="34954" y="10863"/>
                    <a:pt x="34954" y="8957"/>
                    <a:pt x="32858" y="7719"/>
                  </a:cubicBezTo>
                  <a:lnTo>
                    <a:pt x="20761" y="766"/>
                  </a:lnTo>
                  <a:cubicBezTo>
                    <a:pt x="18437" y="-472"/>
                    <a:pt x="15656" y="-472"/>
                    <a:pt x="13332" y="766"/>
                  </a:cubicBezTo>
                  <a:lnTo>
                    <a:pt x="1235" y="7719"/>
                  </a:lnTo>
                  <a:cubicBezTo>
                    <a:pt x="-860" y="8957"/>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797" name="îṣḷïḓè">
              <a:extLst>
                <a:ext uri="{FF2B5EF4-FFF2-40B4-BE49-F238E27FC236}">
                  <a16:creationId xmlns:a16="http://schemas.microsoft.com/office/drawing/2014/main" id="{324F7CB5-ED1E-4C42-94F3-222683A99F0B}"/>
                </a:ext>
              </a:extLst>
            </p:cNvPr>
            <p:cNvSpPr/>
            <p:nvPr/>
          </p:nvSpPr>
          <p:spPr>
            <a:xfrm>
              <a:off x="6044288" y="5499931"/>
              <a:ext cx="109600" cy="54435"/>
            </a:xfrm>
            <a:custGeom>
              <a:avLst/>
              <a:gdLst>
                <a:gd name="connsiteX0" fmla="*/ -335 w 36006"/>
                <a:gd name="connsiteY0" fmla="*/ -163 h 17883"/>
                <a:gd name="connsiteX1" fmla="*/ -335 w 36006"/>
                <a:gd name="connsiteY1" fmla="*/ 7362 h 17883"/>
                <a:gd name="connsiteX2" fmla="*/ 1189 w 36006"/>
                <a:gd name="connsiteY2" fmla="*/ 9553 h 17883"/>
                <a:gd name="connsiteX3" fmla="*/ 13858 w 36006"/>
                <a:gd name="connsiteY3" fmla="*/ 16792 h 17883"/>
                <a:gd name="connsiteX4" fmla="*/ 21478 w 36006"/>
                <a:gd name="connsiteY4" fmla="*/ 16792 h 17883"/>
                <a:gd name="connsiteX5" fmla="*/ 34146 w 36006"/>
                <a:gd name="connsiteY5" fmla="*/ 9553 h 17883"/>
                <a:gd name="connsiteX6" fmla="*/ 35670 w 36006"/>
                <a:gd name="connsiteY6" fmla="*/ 7267 h 17883"/>
                <a:gd name="connsiteX7" fmla="*/ 35670 w 36006"/>
                <a:gd name="connsiteY7" fmla="*/ 123 h 17883"/>
                <a:gd name="connsiteX8" fmla="*/ 34146 w 36006"/>
                <a:gd name="connsiteY8" fmla="*/ 2409 h 17883"/>
                <a:gd name="connsiteX9" fmla="*/ 31765 w 36006"/>
                <a:gd name="connsiteY9" fmla="*/ 3743 h 17883"/>
                <a:gd name="connsiteX10" fmla="*/ 21478 w 36006"/>
                <a:gd name="connsiteY10" fmla="*/ 9553 h 17883"/>
                <a:gd name="connsiteX11" fmla="*/ 13858 w 36006"/>
                <a:gd name="connsiteY11" fmla="*/ 9553 h 17883"/>
                <a:gd name="connsiteX12" fmla="*/ 3571 w 36006"/>
                <a:gd name="connsiteY12" fmla="*/ 3743 h 17883"/>
                <a:gd name="connsiteX13" fmla="*/ 1189 w 36006"/>
                <a:gd name="connsiteY13" fmla="*/ 2409 h 17883"/>
                <a:gd name="connsiteX14" fmla="*/ -335 w 36006"/>
                <a:gd name="connsiteY14" fmla="*/ -163 h 17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6" h="17883">
                  <a:moveTo>
                    <a:pt x="-335" y="-163"/>
                  </a:moveTo>
                  <a:lnTo>
                    <a:pt x="-335" y="7362"/>
                  </a:lnTo>
                  <a:cubicBezTo>
                    <a:pt x="-239" y="8305"/>
                    <a:pt x="342" y="9134"/>
                    <a:pt x="1189" y="9553"/>
                  </a:cubicBezTo>
                  <a:lnTo>
                    <a:pt x="13858" y="16792"/>
                  </a:lnTo>
                  <a:cubicBezTo>
                    <a:pt x="16248" y="18030"/>
                    <a:pt x="19087" y="18030"/>
                    <a:pt x="21478" y="16792"/>
                  </a:cubicBezTo>
                  <a:lnTo>
                    <a:pt x="34146" y="9553"/>
                  </a:lnTo>
                  <a:cubicBezTo>
                    <a:pt x="35013" y="9105"/>
                    <a:pt x="35584" y="8239"/>
                    <a:pt x="35670" y="7267"/>
                  </a:cubicBezTo>
                  <a:lnTo>
                    <a:pt x="35670" y="123"/>
                  </a:lnTo>
                  <a:cubicBezTo>
                    <a:pt x="35603" y="1104"/>
                    <a:pt x="35022" y="1971"/>
                    <a:pt x="34146" y="2409"/>
                  </a:cubicBezTo>
                  <a:lnTo>
                    <a:pt x="31765" y="3743"/>
                  </a:lnTo>
                  <a:lnTo>
                    <a:pt x="21478" y="9553"/>
                  </a:lnTo>
                  <a:cubicBezTo>
                    <a:pt x="19115" y="10896"/>
                    <a:pt x="16220" y="10896"/>
                    <a:pt x="13858" y="9553"/>
                  </a:cubicBezTo>
                  <a:lnTo>
                    <a:pt x="3571" y="3743"/>
                  </a:lnTo>
                  <a:lnTo>
                    <a:pt x="1189" y="2409"/>
                  </a:lnTo>
                  <a:cubicBezTo>
                    <a:pt x="218" y="1923"/>
                    <a:pt x="-373" y="923"/>
                    <a:pt x="-335" y="-163"/>
                  </a:cubicBezTo>
                  <a:close/>
                </a:path>
              </a:pathLst>
            </a:custGeom>
            <a:solidFill>
              <a:srgbClr val="BF4200"/>
            </a:solidFill>
            <a:ln w="9525" cap="flat">
              <a:noFill/>
              <a:prstDash val="solid"/>
              <a:miter/>
            </a:ln>
          </p:spPr>
          <p:txBody>
            <a:bodyPr rtlCol="0" anchor="ctr"/>
            <a:lstStyle/>
            <a:p>
              <a:endParaRPr lang="zh-CN" altLang="en-US"/>
            </a:p>
          </p:txBody>
        </p:sp>
        <p:sp>
          <p:nvSpPr>
            <p:cNvPr id="798" name="ïŝľîdê">
              <a:extLst>
                <a:ext uri="{FF2B5EF4-FFF2-40B4-BE49-F238E27FC236}">
                  <a16:creationId xmlns:a16="http://schemas.microsoft.com/office/drawing/2014/main" id="{34CA68B2-58AC-49D4-8884-C13252F074A8}"/>
                </a:ext>
              </a:extLst>
            </p:cNvPr>
            <p:cNvSpPr/>
            <p:nvPr/>
          </p:nvSpPr>
          <p:spPr>
            <a:xfrm>
              <a:off x="5927812" y="4346502"/>
              <a:ext cx="1038326" cy="599437"/>
            </a:xfrm>
            <a:custGeom>
              <a:avLst/>
              <a:gdLst>
                <a:gd name="connsiteX0" fmla="*/ 126894 w 341114"/>
                <a:gd name="connsiteY0" fmla="*/ 182551 h 196929"/>
                <a:gd name="connsiteX1" fmla="*/ 24310 w 341114"/>
                <a:gd name="connsiteY1" fmla="*/ 123305 h 196929"/>
                <a:gd name="connsiteX2" fmla="*/ 24310 w 341114"/>
                <a:gd name="connsiteY2" fmla="*/ 54630 h 196929"/>
                <a:gd name="connsiteX3" fmla="*/ 94509 w 341114"/>
                <a:gd name="connsiteY3" fmla="*/ 14053 h 196929"/>
                <a:gd name="connsiteX4" fmla="*/ 213571 w 341114"/>
                <a:gd name="connsiteY4" fmla="*/ 14053 h 196929"/>
                <a:gd name="connsiteX5" fmla="*/ 316060 w 341114"/>
                <a:gd name="connsiteY5" fmla="*/ 73299 h 196929"/>
                <a:gd name="connsiteX6" fmla="*/ 316060 w 341114"/>
                <a:gd name="connsiteY6" fmla="*/ 141974 h 196929"/>
                <a:gd name="connsiteX7" fmla="*/ 245861 w 341114"/>
                <a:gd name="connsiteY7" fmla="*/ 182551 h 196929"/>
                <a:gd name="connsiteX8" fmla="*/ 126894 w 341114"/>
                <a:gd name="connsiteY8" fmla="*/ 182551 h 196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1114" h="196929">
                  <a:moveTo>
                    <a:pt x="126894" y="182551"/>
                  </a:moveTo>
                  <a:lnTo>
                    <a:pt x="24310" y="123305"/>
                  </a:lnTo>
                  <a:cubicBezTo>
                    <a:pt x="-8552" y="104255"/>
                    <a:pt x="-8552" y="73585"/>
                    <a:pt x="24310" y="54630"/>
                  </a:cubicBezTo>
                  <a:lnTo>
                    <a:pt x="94509" y="14053"/>
                  </a:lnTo>
                  <a:cubicBezTo>
                    <a:pt x="131932" y="-4901"/>
                    <a:pt x="176148" y="-4901"/>
                    <a:pt x="213571" y="14053"/>
                  </a:cubicBezTo>
                  <a:lnTo>
                    <a:pt x="316060" y="73299"/>
                  </a:lnTo>
                  <a:cubicBezTo>
                    <a:pt x="349017" y="92349"/>
                    <a:pt x="349017" y="123019"/>
                    <a:pt x="316060" y="141974"/>
                  </a:cubicBezTo>
                  <a:lnTo>
                    <a:pt x="245861" y="182551"/>
                  </a:lnTo>
                  <a:cubicBezTo>
                    <a:pt x="208475" y="201506"/>
                    <a:pt x="164279" y="201506"/>
                    <a:pt x="126894" y="182551"/>
                  </a:cubicBezTo>
                  <a:close/>
                </a:path>
              </a:pathLst>
            </a:custGeom>
            <a:solidFill>
              <a:srgbClr val="BF4200"/>
            </a:solidFill>
            <a:ln w="9525" cap="flat">
              <a:noFill/>
              <a:prstDash val="solid"/>
              <a:miter/>
            </a:ln>
          </p:spPr>
          <p:txBody>
            <a:bodyPr rtlCol="0" anchor="ctr"/>
            <a:lstStyle/>
            <a:p>
              <a:endParaRPr lang="zh-CN" altLang="en-US"/>
            </a:p>
          </p:txBody>
        </p:sp>
        <p:sp>
          <p:nvSpPr>
            <p:cNvPr id="799" name="iśľidè">
              <a:extLst>
                <a:ext uri="{FF2B5EF4-FFF2-40B4-BE49-F238E27FC236}">
                  <a16:creationId xmlns:a16="http://schemas.microsoft.com/office/drawing/2014/main" id="{65E867A8-5334-46AE-B99E-C3A6429353C4}"/>
                </a:ext>
              </a:extLst>
            </p:cNvPr>
            <p:cNvSpPr/>
            <p:nvPr/>
          </p:nvSpPr>
          <p:spPr>
            <a:xfrm>
              <a:off x="5927812" y="4311710"/>
              <a:ext cx="1038326" cy="599437"/>
            </a:xfrm>
            <a:custGeom>
              <a:avLst/>
              <a:gdLst>
                <a:gd name="connsiteX0" fmla="*/ 126894 w 341114"/>
                <a:gd name="connsiteY0" fmla="*/ 182551 h 196929"/>
                <a:gd name="connsiteX1" fmla="*/ 24310 w 341114"/>
                <a:gd name="connsiteY1" fmla="*/ 123305 h 196929"/>
                <a:gd name="connsiteX2" fmla="*/ 24310 w 341114"/>
                <a:gd name="connsiteY2" fmla="*/ 54630 h 196929"/>
                <a:gd name="connsiteX3" fmla="*/ 94509 w 341114"/>
                <a:gd name="connsiteY3" fmla="*/ 14053 h 196929"/>
                <a:gd name="connsiteX4" fmla="*/ 213571 w 341114"/>
                <a:gd name="connsiteY4" fmla="*/ 14053 h 196929"/>
                <a:gd name="connsiteX5" fmla="*/ 316060 w 341114"/>
                <a:gd name="connsiteY5" fmla="*/ 73299 h 196929"/>
                <a:gd name="connsiteX6" fmla="*/ 316060 w 341114"/>
                <a:gd name="connsiteY6" fmla="*/ 141974 h 196929"/>
                <a:gd name="connsiteX7" fmla="*/ 245861 w 341114"/>
                <a:gd name="connsiteY7" fmla="*/ 182551 h 196929"/>
                <a:gd name="connsiteX8" fmla="*/ 126894 w 341114"/>
                <a:gd name="connsiteY8" fmla="*/ 182551 h 196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1114" h="196929">
                  <a:moveTo>
                    <a:pt x="126894" y="182551"/>
                  </a:moveTo>
                  <a:lnTo>
                    <a:pt x="24310" y="123305"/>
                  </a:lnTo>
                  <a:cubicBezTo>
                    <a:pt x="-8552" y="104255"/>
                    <a:pt x="-8552" y="73585"/>
                    <a:pt x="24310" y="54630"/>
                  </a:cubicBezTo>
                  <a:lnTo>
                    <a:pt x="94509" y="14053"/>
                  </a:lnTo>
                  <a:cubicBezTo>
                    <a:pt x="131932" y="-4901"/>
                    <a:pt x="176148" y="-4901"/>
                    <a:pt x="213571" y="14053"/>
                  </a:cubicBezTo>
                  <a:lnTo>
                    <a:pt x="316060" y="73299"/>
                  </a:lnTo>
                  <a:cubicBezTo>
                    <a:pt x="349017" y="92349"/>
                    <a:pt x="349017" y="123019"/>
                    <a:pt x="316060" y="141974"/>
                  </a:cubicBezTo>
                  <a:lnTo>
                    <a:pt x="245861" y="182551"/>
                  </a:lnTo>
                  <a:cubicBezTo>
                    <a:pt x="208475" y="201505"/>
                    <a:pt x="164279" y="201505"/>
                    <a:pt x="126894" y="182551"/>
                  </a:cubicBezTo>
                  <a:close/>
                </a:path>
              </a:pathLst>
            </a:custGeom>
            <a:solidFill>
              <a:srgbClr val="FF7D33"/>
            </a:solidFill>
            <a:ln w="9525" cap="flat">
              <a:noFill/>
              <a:prstDash val="solid"/>
              <a:miter/>
            </a:ln>
          </p:spPr>
          <p:txBody>
            <a:bodyPr rtlCol="0" anchor="ctr"/>
            <a:lstStyle/>
            <a:p>
              <a:endParaRPr lang="zh-CN" altLang="en-US"/>
            </a:p>
          </p:txBody>
        </p:sp>
        <p:sp>
          <p:nvSpPr>
            <p:cNvPr id="800" name="ïšlídé">
              <a:extLst>
                <a:ext uri="{FF2B5EF4-FFF2-40B4-BE49-F238E27FC236}">
                  <a16:creationId xmlns:a16="http://schemas.microsoft.com/office/drawing/2014/main" id="{07929FBF-E6DA-45B1-8304-362A633089AB}"/>
                </a:ext>
              </a:extLst>
            </p:cNvPr>
            <p:cNvSpPr/>
            <p:nvPr/>
          </p:nvSpPr>
          <p:spPr>
            <a:xfrm>
              <a:off x="6375915" y="4006641"/>
              <a:ext cx="260198" cy="150440"/>
            </a:xfrm>
            <a:custGeom>
              <a:avLst/>
              <a:gdLst>
                <a:gd name="connsiteX0" fmla="*/ 71979 w 85481"/>
                <a:gd name="connsiteY0" fmla="*/ 6737 h 49423"/>
                <a:gd name="connsiteX1" fmla="*/ 73218 w 85481"/>
                <a:gd name="connsiteY1" fmla="*/ 41694 h 49423"/>
                <a:gd name="connsiteX2" fmla="*/ 12829 w 85481"/>
                <a:gd name="connsiteY2" fmla="*/ 42361 h 49423"/>
                <a:gd name="connsiteX3" fmla="*/ 11591 w 85481"/>
                <a:gd name="connsiteY3" fmla="*/ 7404 h 49423"/>
                <a:gd name="connsiteX4" fmla="*/ 71979 w 85481"/>
                <a:gd name="connsiteY4" fmla="*/ 6737 h 49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481" h="49423">
                  <a:moveTo>
                    <a:pt x="71979" y="6737"/>
                  </a:moveTo>
                  <a:cubicBezTo>
                    <a:pt x="89029" y="16262"/>
                    <a:pt x="89601" y="31884"/>
                    <a:pt x="73218" y="41694"/>
                  </a:cubicBezTo>
                  <a:cubicBezTo>
                    <a:pt x="54349" y="51543"/>
                    <a:pt x="31908" y="51791"/>
                    <a:pt x="12829" y="42361"/>
                  </a:cubicBezTo>
                  <a:cubicBezTo>
                    <a:pt x="-4221" y="32836"/>
                    <a:pt x="-4792" y="17215"/>
                    <a:pt x="11591" y="7404"/>
                  </a:cubicBezTo>
                  <a:cubicBezTo>
                    <a:pt x="30460" y="-2445"/>
                    <a:pt x="52901" y="-2692"/>
                    <a:pt x="71979" y="6737"/>
                  </a:cubicBezTo>
                  <a:close/>
                </a:path>
              </a:pathLst>
            </a:custGeom>
            <a:solidFill>
              <a:srgbClr val="E73E1E"/>
            </a:solidFill>
            <a:ln w="9525" cap="flat">
              <a:noFill/>
              <a:prstDash val="solid"/>
              <a:miter/>
            </a:ln>
          </p:spPr>
          <p:txBody>
            <a:bodyPr rtlCol="0" anchor="ctr"/>
            <a:lstStyle/>
            <a:p>
              <a:endParaRPr lang="zh-CN" altLang="en-US"/>
            </a:p>
          </p:txBody>
        </p:sp>
        <p:sp>
          <p:nvSpPr>
            <p:cNvPr id="801" name="ïŝľiḑê">
              <a:extLst>
                <a:ext uri="{FF2B5EF4-FFF2-40B4-BE49-F238E27FC236}">
                  <a16:creationId xmlns:a16="http://schemas.microsoft.com/office/drawing/2014/main" id="{37C44FC7-80DB-4517-87F8-EE1F2D1C7CAE}"/>
                </a:ext>
              </a:extLst>
            </p:cNvPr>
            <p:cNvSpPr/>
            <p:nvPr/>
          </p:nvSpPr>
          <p:spPr>
            <a:xfrm>
              <a:off x="6375398" y="4081863"/>
              <a:ext cx="260070" cy="535488"/>
            </a:xfrm>
            <a:custGeom>
              <a:avLst/>
              <a:gdLst>
                <a:gd name="connsiteX0" fmla="*/ 85103 w 85439"/>
                <a:gd name="connsiteY0" fmla="*/ 151190 h 175920"/>
                <a:gd name="connsiteX1" fmla="*/ 85103 w 85439"/>
                <a:gd name="connsiteY1" fmla="*/ 123 h 175920"/>
                <a:gd name="connsiteX2" fmla="*/ 73197 w 85439"/>
                <a:gd name="connsiteY2" fmla="*/ 17173 h 175920"/>
                <a:gd name="connsiteX3" fmla="*/ 12808 w 85439"/>
                <a:gd name="connsiteY3" fmla="*/ 17744 h 175920"/>
                <a:gd name="connsiteX4" fmla="*/ -336 w 85439"/>
                <a:gd name="connsiteY4" fmla="*/ -163 h 175920"/>
                <a:gd name="connsiteX5" fmla="*/ -336 w 85439"/>
                <a:gd name="connsiteY5" fmla="*/ 150904 h 175920"/>
                <a:gd name="connsiteX6" fmla="*/ 12808 w 85439"/>
                <a:gd name="connsiteY6" fmla="*/ 168811 h 175920"/>
                <a:gd name="connsiteX7" fmla="*/ 73197 w 85439"/>
                <a:gd name="connsiteY7" fmla="*/ 168239 h 175920"/>
                <a:gd name="connsiteX8" fmla="*/ 85103 w 85439"/>
                <a:gd name="connsiteY8" fmla="*/ 151190 h 175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5439" h="175920">
                  <a:moveTo>
                    <a:pt x="85103" y="151190"/>
                  </a:moveTo>
                  <a:lnTo>
                    <a:pt x="85103" y="123"/>
                  </a:lnTo>
                  <a:cubicBezTo>
                    <a:pt x="84436" y="7515"/>
                    <a:pt x="79902" y="14001"/>
                    <a:pt x="73197" y="17173"/>
                  </a:cubicBezTo>
                  <a:cubicBezTo>
                    <a:pt x="54309" y="26993"/>
                    <a:pt x="31877" y="27203"/>
                    <a:pt x="12808" y="17744"/>
                  </a:cubicBezTo>
                  <a:cubicBezTo>
                    <a:pt x="5474" y="14639"/>
                    <a:pt x="426" y="7762"/>
                    <a:pt x="-336" y="-163"/>
                  </a:cubicBezTo>
                  <a:lnTo>
                    <a:pt x="-336" y="150904"/>
                  </a:lnTo>
                  <a:cubicBezTo>
                    <a:pt x="426" y="158829"/>
                    <a:pt x="5474" y="165706"/>
                    <a:pt x="12808" y="168811"/>
                  </a:cubicBezTo>
                  <a:cubicBezTo>
                    <a:pt x="31877" y="178269"/>
                    <a:pt x="54309" y="178059"/>
                    <a:pt x="73197" y="168239"/>
                  </a:cubicBezTo>
                  <a:cubicBezTo>
                    <a:pt x="79902" y="165068"/>
                    <a:pt x="84436" y="158581"/>
                    <a:pt x="85103" y="151190"/>
                  </a:cubicBezTo>
                  <a:close/>
                </a:path>
              </a:pathLst>
            </a:custGeom>
            <a:solidFill>
              <a:srgbClr val="BF4200"/>
            </a:solidFill>
            <a:ln w="9525" cap="flat">
              <a:noFill/>
              <a:prstDash val="solid"/>
              <a:miter/>
            </a:ln>
          </p:spPr>
          <p:txBody>
            <a:bodyPr rtlCol="0" anchor="ctr"/>
            <a:lstStyle/>
            <a:p>
              <a:endParaRPr lang="zh-CN" altLang="en-US"/>
            </a:p>
          </p:txBody>
        </p:sp>
        <p:sp>
          <p:nvSpPr>
            <p:cNvPr id="802" name="ïšļiḋè">
              <a:extLst>
                <a:ext uri="{FF2B5EF4-FFF2-40B4-BE49-F238E27FC236}">
                  <a16:creationId xmlns:a16="http://schemas.microsoft.com/office/drawing/2014/main" id="{62B5AA3F-B058-4E45-991D-FCF2CB2B88D6}"/>
                </a:ext>
              </a:extLst>
            </p:cNvPr>
            <p:cNvSpPr/>
            <p:nvPr/>
          </p:nvSpPr>
          <p:spPr>
            <a:xfrm>
              <a:off x="7368421" y="4755091"/>
              <a:ext cx="168451" cy="100264"/>
            </a:xfrm>
            <a:custGeom>
              <a:avLst/>
              <a:gdLst>
                <a:gd name="connsiteX0" fmla="*/ 32811 w 55340"/>
                <a:gd name="connsiteY0" fmla="*/ 27746 h 32939"/>
                <a:gd name="connsiteX1" fmla="*/ 32811 w 55340"/>
                <a:gd name="connsiteY1" fmla="*/ 27746 h 32939"/>
                <a:gd name="connsiteX2" fmla="*/ 36335 w 55340"/>
                <a:gd name="connsiteY2" fmla="*/ 25650 h 32939"/>
                <a:gd name="connsiteX3" fmla="*/ 44146 w 55340"/>
                <a:gd name="connsiteY3" fmla="*/ 20221 h 32939"/>
                <a:gd name="connsiteX4" fmla="*/ 50432 w 55340"/>
                <a:gd name="connsiteY4" fmla="*/ 13553 h 32939"/>
                <a:gd name="connsiteX5" fmla="*/ 53575 w 55340"/>
                <a:gd name="connsiteY5" fmla="*/ 7362 h 32939"/>
                <a:gd name="connsiteX6" fmla="*/ 55004 w 55340"/>
                <a:gd name="connsiteY6" fmla="*/ -163 h 32939"/>
                <a:gd name="connsiteX7" fmla="*/ 55004 w 55340"/>
                <a:gd name="connsiteY7" fmla="*/ -163 h 32939"/>
                <a:gd name="connsiteX8" fmla="*/ 53671 w 55340"/>
                <a:gd name="connsiteY8" fmla="*/ 2219 h 32939"/>
                <a:gd name="connsiteX9" fmla="*/ 53671 w 55340"/>
                <a:gd name="connsiteY9" fmla="*/ 2219 h 32939"/>
                <a:gd name="connsiteX10" fmla="*/ 53194 w 55340"/>
                <a:gd name="connsiteY10" fmla="*/ 2695 h 32939"/>
                <a:gd name="connsiteX11" fmla="*/ 53194 w 55340"/>
                <a:gd name="connsiteY11" fmla="*/ 2695 h 32939"/>
                <a:gd name="connsiteX12" fmla="*/ 52528 w 55340"/>
                <a:gd name="connsiteY12" fmla="*/ 3362 h 32939"/>
                <a:gd name="connsiteX13" fmla="*/ 51861 w 55340"/>
                <a:gd name="connsiteY13" fmla="*/ 3933 h 32939"/>
                <a:gd name="connsiteX14" fmla="*/ 49480 w 55340"/>
                <a:gd name="connsiteY14" fmla="*/ 5743 h 32939"/>
                <a:gd name="connsiteX15" fmla="*/ 48813 w 55340"/>
                <a:gd name="connsiteY15" fmla="*/ 6315 h 32939"/>
                <a:gd name="connsiteX16" fmla="*/ 48813 w 55340"/>
                <a:gd name="connsiteY16" fmla="*/ 6315 h 32939"/>
                <a:gd name="connsiteX17" fmla="*/ 48051 w 55340"/>
                <a:gd name="connsiteY17" fmla="*/ 6886 h 32939"/>
                <a:gd name="connsiteX18" fmla="*/ 45098 w 55340"/>
                <a:gd name="connsiteY18" fmla="*/ 8696 h 32939"/>
                <a:gd name="connsiteX19" fmla="*/ 41574 w 55340"/>
                <a:gd name="connsiteY19" fmla="*/ 10696 h 32939"/>
                <a:gd name="connsiteX20" fmla="*/ 23476 w 55340"/>
                <a:gd name="connsiteY20" fmla="*/ 16030 h 32939"/>
                <a:gd name="connsiteX21" fmla="*/ 23476 w 55340"/>
                <a:gd name="connsiteY21" fmla="*/ 16030 h 32939"/>
                <a:gd name="connsiteX22" fmla="*/ 22619 w 55340"/>
                <a:gd name="connsiteY22" fmla="*/ 21269 h 32939"/>
                <a:gd name="connsiteX23" fmla="*/ 22143 w 55340"/>
                <a:gd name="connsiteY23" fmla="*/ 22793 h 32939"/>
                <a:gd name="connsiteX24" fmla="*/ 22143 w 55340"/>
                <a:gd name="connsiteY24" fmla="*/ 22793 h 32939"/>
                <a:gd name="connsiteX25" fmla="*/ 21476 w 55340"/>
                <a:gd name="connsiteY25" fmla="*/ 24317 h 32939"/>
                <a:gd name="connsiteX26" fmla="*/ 21476 w 55340"/>
                <a:gd name="connsiteY26" fmla="*/ 24317 h 32939"/>
                <a:gd name="connsiteX27" fmla="*/ 16523 w 55340"/>
                <a:gd name="connsiteY27" fmla="*/ 29651 h 32939"/>
                <a:gd name="connsiteX28" fmla="*/ 9189 w 55340"/>
                <a:gd name="connsiteY28" fmla="*/ 31175 h 32939"/>
                <a:gd name="connsiteX29" fmla="*/ -336 w 55340"/>
                <a:gd name="connsiteY29" fmla="*/ 28222 h 32939"/>
                <a:gd name="connsiteX30" fmla="*/ 10903 w 55340"/>
                <a:gd name="connsiteY30" fmla="*/ 32699 h 32939"/>
                <a:gd name="connsiteX31" fmla="*/ 14142 w 55340"/>
                <a:gd name="connsiteY31" fmla="*/ 32699 h 32939"/>
                <a:gd name="connsiteX32" fmla="*/ 18333 w 55340"/>
                <a:gd name="connsiteY32" fmla="*/ 32223 h 32939"/>
                <a:gd name="connsiteX33" fmla="*/ 18333 w 55340"/>
                <a:gd name="connsiteY33" fmla="*/ 32223 h 32939"/>
                <a:gd name="connsiteX34" fmla="*/ 31858 w 55340"/>
                <a:gd name="connsiteY34" fmla="*/ 27269 h 32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55340" h="32939">
                  <a:moveTo>
                    <a:pt x="32811" y="27746"/>
                  </a:moveTo>
                  <a:lnTo>
                    <a:pt x="32811" y="27746"/>
                  </a:lnTo>
                  <a:lnTo>
                    <a:pt x="36335" y="25650"/>
                  </a:lnTo>
                  <a:cubicBezTo>
                    <a:pt x="39088" y="24069"/>
                    <a:pt x="41707" y="22259"/>
                    <a:pt x="44146" y="20221"/>
                  </a:cubicBezTo>
                  <a:cubicBezTo>
                    <a:pt x="46498" y="18259"/>
                    <a:pt x="48613" y="16020"/>
                    <a:pt x="50432" y="13553"/>
                  </a:cubicBezTo>
                  <a:cubicBezTo>
                    <a:pt x="51737" y="11629"/>
                    <a:pt x="52794" y="9553"/>
                    <a:pt x="53575" y="7362"/>
                  </a:cubicBezTo>
                  <a:cubicBezTo>
                    <a:pt x="54423" y="4933"/>
                    <a:pt x="54899" y="2400"/>
                    <a:pt x="55004" y="-163"/>
                  </a:cubicBezTo>
                  <a:lnTo>
                    <a:pt x="55004" y="-163"/>
                  </a:lnTo>
                  <a:cubicBezTo>
                    <a:pt x="54785" y="742"/>
                    <a:pt x="54328" y="1561"/>
                    <a:pt x="53671" y="2219"/>
                  </a:cubicBezTo>
                  <a:lnTo>
                    <a:pt x="53671" y="2219"/>
                  </a:lnTo>
                  <a:cubicBezTo>
                    <a:pt x="53671" y="2219"/>
                    <a:pt x="53671" y="2219"/>
                    <a:pt x="53194" y="2695"/>
                  </a:cubicBezTo>
                  <a:lnTo>
                    <a:pt x="53194" y="2695"/>
                  </a:lnTo>
                  <a:lnTo>
                    <a:pt x="52528" y="3362"/>
                  </a:lnTo>
                  <a:lnTo>
                    <a:pt x="51861" y="3933"/>
                  </a:lnTo>
                  <a:lnTo>
                    <a:pt x="49480" y="5743"/>
                  </a:lnTo>
                  <a:lnTo>
                    <a:pt x="48813" y="6315"/>
                  </a:lnTo>
                  <a:lnTo>
                    <a:pt x="48813" y="6315"/>
                  </a:lnTo>
                  <a:lnTo>
                    <a:pt x="48051" y="6886"/>
                  </a:lnTo>
                  <a:lnTo>
                    <a:pt x="45098" y="8696"/>
                  </a:lnTo>
                  <a:lnTo>
                    <a:pt x="41574" y="10696"/>
                  </a:lnTo>
                  <a:cubicBezTo>
                    <a:pt x="33954" y="15173"/>
                    <a:pt x="25762" y="17554"/>
                    <a:pt x="23476" y="16030"/>
                  </a:cubicBezTo>
                  <a:lnTo>
                    <a:pt x="23476" y="16030"/>
                  </a:lnTo>
                  <a:cubicBezTo>
                    <a:pt x="23305" y="17792"/>
                    <a:pt x="23019" y="19545"/>
                    <a:pt x="22619" y="21269"/>
                  </a:cubicBezTo>
                  <a:cubicBezTo>
                    <a:pt x="22619" y="21840"/>
                    <a:pt x="22619" y="22317"/>
                    <a:pt x="22143" y="22793"/>
                  </a:cubicBezTo>
                  <a:lnTo>
                    <a:pt x="22143" y="22793"/>
                  </a:lnTo>
                  <a:cubicBezTo>
                    <a:pt x="21981" y="23326"/>
                    <a:pt x="21752" y="23831"/>
                    <a:pt x="21476" y="24317"/>
                  </a:cubicBezTo>
                  <a:lnTo>
                    <a:pt x="21476" y="24317"/>
                  </a:lnTo>
                  <a:cubicBezTo>
                    <a:pt x="20352" y="26517"/>
                    <a:pt x="18638" y="28365"/>
                    <a:pt x="16523" y="29651"/>
                  </a:cubicBezTo>
                  <a:cubicBezTo>
                    <a:pt x="14275" y="30851"/>
                    <a:pt x="11732" y="31384"/>
                    <a:pt x="9189" y="31175"/>
                  </a:cubicBezTo>
                  <a:cubicBezTo>
                    <a:pt x="5826" y="30946"/>
                    <a:pt x="2569" y="29936"/>
                    <a:pt x="-336" y="28222"/>
                  </a:cubicBezTo>
                  <a:cubicBezTo>
                    <a:pt x="3159" y="30279"/>
                    <a:pt x="6950" y="31784"/>
                    <a:pt x="10903" y="32699"/>
                  </a:cubicBezTo>
                  <a:cubicBezTo>
                    <a:pt x="11979" y="32803"/>
                    <a:pt x="13065" y="32803"/>
                    <a:pt x="14142" y="32699"/>
                  </a:cubicBezTo>
                  <a:cubicBezTo>
                    <a:pt x="15551" y="32651"/>
                    <a:pt x="16952" y="32489"/>
                    <a:pt x="18333" y="32223"/>
                  </a:cubicBezTo>
                  <a:lnTo>
                    <a:pt x="18333" y="32223"/>
                  </a:lnTo>
                  <a:cubicBezTo>
                    <a:pt x="23076" y="31289"/>
                    <a:pt x="27639" y="29622"/>
                    <a:pt x="31858" y="27269"/>
                  </a:cubicBezTo>
                  <a:close/>
                </a:path>
              </a:pathLst>
            </a:custGeom>
            <a:solidFill>
              <a:srgbClr val="BF4200"/>
            </a:solidFill>
            <a:ln w="9525" cap="flat">
              <a:noFill/>
              <a:prstDash val="solid"/>
              <a:miter/>
            </a:ln>
          </p:spPr>
          <p:txBody>
            <a:bodyPr rtlCol="0" anchor="ctr"/>
            <a:lstStyle/>
            <a:p>
              <a:endParaRPr lang="zh-CN" altLang="en-US"/>
            </a:p>
          </p:txBody>
        </p:sp>
        <p:sp>
          <p:nvSpPr>
            <p:cNvPr id="803" name="iṣḻíďè">
              <a:extLst>
                <a:ext uri="{FF2B5EF4-FFF2-40B4-BE49-F238E27FC236}">
                  <a16:creationId xmlns:a16="http://schemas.microsoft.com/office/drawing/2014/main" id="{4E8CD3CF-EACD-428B-BC70-93E7F1F02D45}"/>
                </a:ext>
              </a:extLst>
            </p:cNvPr>
            <p:cNvSpPr/>
            <p:nvPr/>
          </p:nvSpPr>
          <p:spPr>
            <a:xfrm>
              <a:off x="5454710" y="1859559"/>
              <a:ext cx="166278" cy="110425"/>
            </a:xfrm>
            <a:custGeom>
              <a:avLst/>
              <a:gdLst>
                <a:gd name="connsiteX0" fmla="*/ 37621 w 54626"/>
                <a:gd name="connsiteY0" fmla="*/ 9826 h 36277"/>
                <a:gd name="connsiteX1" fmla="*/ 41050 w 54626"/>
                <a:gd name="connsiteY1" fmla="*/ 7825 h 36277"/>
                <a:gd name="connsiteX2" fmla="*/ 43622 w 54626"/>
                <a:gd name="connsiteY2" fmla="*/ 6492 h 36277"/>
                <a:gd name="connsiteX3" fmla="*/ 45241 w 54626"/>
                <a:gd name="connsiteY3" fmla="*/ 5635 h 36277"/>
                <a:gd name="connsiteX4" fmla="*/ 50671 w 54626"/>
                <a:gd name="connsiteY4" fmla="*/ 3634 h 36277"/>
                <a:gd name="connsiteX5" fmla="*/ 51147 w 54626"/>
                <a:gd name="connsiteY5" fmla="*/ 3634 h 36277"/>
                <a:gd name="connsiteX6" fmla="*/ 54290 w 54626"/>
                <a:gd name="connsiteY6" fmla="*/ 3634 h 36277"/>
                <a:gd name="connsiteX7" fmla="*/ 46099 w 54626"/>
                <a:gd name="connsiteY7" fmla="*/ 491 h 36277"/>
                <a:gd name="connsiteX8" fmla="*/ 38574 w 54626"/>
                <a:gd name="connsiteY8" fmla="*/ -80 h 36277"/>
                <a:gd name="connsiteX9" fmla="*/ 21238 w 54626"/>
                <a:gd name="connsiteY9" fmla="*/ 5730 h 36277"/>
                <a:gd name="connsiteX10" fmla="*/ 21238 w 54626"/>
                <a:gd name="connsiteY10" fmla="*/ 5730 h 36277"/>
                <a:gd name="connsiteX11" fmla="*/ 17809 w 54626"/>
                <a:gd name="connsiteY11" fmla="*/ 7730 h 36277"/>
                <a:gd name="connsiteX12" fmla="*/ 9522 w 54626"/>
                <a:gd name="connsiteY12" fmla="*/ 13540 h 36277"/>
                <a:gd name="connsiteX13" fmla="*/ 3141 w 54626"/>
                <a:gd name="connsiteY13" fmla="*/ 20684 h 36277"/>
                <a:gd name="connsiteX14" fmla="*/ 379 w 54626"/>
                <a:gd name="connsiteY14" fmla="*/ 27256 h 36277"/>
                <a:gd name="connsiteX15" fmla="*/ -288 w 54626"/>
                <a:gd name="connsiteY15" fmla="*/ 36115 h 36277"/>
                <a:gd name="connsiteX16" fmla="*/ 6855 w 54626"/>
                <a:gd name="connsiteY16" fmla="*/ 20970 h 36277"/>
                <a:gd name="connsiteX17" fmla="*/ 12380 w 54626"/>
                <a:gd name="connsiteY17" fmla="*/ 19446 h 36277"/>
                <a:gd name="connsiteX18" fmla="*/ 13047 w 54626"/>
                <a:gd name="connsiteY18" fmla="*/ 19446 h 36277"/>
                <a:gd name="connsiteX19" fmla="*/ 15428 w 54626"/>
                <a:gd name="connsiteY19" fmla="*/ 19446 h 36277"/>
                <a:gd name="connsiteX20" fmla="*/ 16666 w 54626"/>
                <a:gd name="connsiteY20" fmla="*/ 19446 h 36277"/>
                <a:gd name="connsiteX21" fmla="*/ 17428 w 54626"/>
                <a:gd name="connsiteY21" fmla="*/ 19446 h 36277"/>
                <a:gd name="connsiteX22" fmla="*/ 18095 w 54626"/>
                <a:gd name="connsiteY22" fmla="*/ 19446 h 36277"/>
                <a:gd name="connsiteX23" fmla="*/ 18857 w 54626"/>
                <a:gd name="connsiteY23" fmla="*/ 19446 h 36277"/>
                <a:gd name="connsiteX24" fmla="*/ 19619 w 54626"/>
                <a:gd name="connsiteY24" fmla="*/ 19446 h 36277"/>
                <a:gd name="connsiteX25" fmla="*/ 20571 w 54626"/>
                <a:gd name="connsiteY25" fmla="*/ 19446 h 36277"/>
                <a:gd name="connsiteX26" fmla="*/ 21524 w 54626"/>
                <a:gd name="connsiteY26" fmla="*/ 19446 h 36277"/>
                <a:gd name="connsiteX27" fmla="*/ 22191 w 54626"/>
                <a:gd name="connsiteY27" fmla="*/ 19446 h 36277"/>
                <a:gd name="connsiteX28" fmla="*/ 23905 w 54626"/>
                <a:gd name="connsiteY28" fmla="*/ 20303 h 36277"/>
                <a:gd name="connsiteX29" fmla="*/ 23905 w 54626"/>
                <a:gd name="connsiteY29" fmla="*/ 20303 h 36277"/>
                <a:gd name="connsiteX30" fmla="*/ 37621 w 54626"/>
                <a:gd name="connsiteY30" fmla="*/ 9826 h 36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54626" h="36277">
                  <a:moveTo>
                    <a:pt x="37621" y="9826"/>
                  </a:moveTo>
                  <a:lnTo>
                    <a:pt x="41050" y="7825"/>
                  </a:lnTo>
                  <a:lnTo>
                    <a:pt x="43622" y="6492"/>
                  </a:lnTo>
                  <a:cubicBezTo>
                    <a:pt x="44117" y="6130"/>
                    <a:pt x="44660" y="5844"/>
                    <a:pt x="45241" y="5635"/>
                  </a:cubicBezTo>
                  <a:cubicBezTo>
                    <a:pt x="46984" y="4806"/>
                    <a:pt x="48804" y="4139"/>
                    <a:pt x="50671" y="3634"/>
                  </a:cubicBezTo>
                  <a:lnTo>
                    <a:pt x="51147" y="3634"/>
                  </a:lnTo>
                  <a:lnTo>
                    <a:pt x="54290" y="3634"/>
                  </a:lnTo>
                  <a:cubicBezTo>
                    <a:pt x="51699" y="2244"/>
                    <a:pt x="48946" y="1196"/>
                    <a:pt x="46099" y="491"/>
                  </a:cubicBezTo>
                  <a:cubicBezTo>
                    <a:pt x="43641" y="-99"/>
                    <a:pt x="41098" y="-290"/>
                    <a:pt x="38574" y="-80"/>
                  </a:cubicBezTo>
                  <a:cubicBezTo>
                    <a:pt x="32440" y="567"/>
                    <a:pt x="26525" y="2549"/>
                    <a:pt x="21238" y="5730"/>
                  </a:cubicBezTo>
                  <a:lnTo>
                    <a:pt x="21238" y="5730"/>
                  </a:lnTo>
                  <a:lnTo>
                    <a:pt x="17809" y="7730"/>
                  </a:lnTo>
                  <a:cubicBezTo>
                    <a:pt x="14866" y="9397"/>
                    <a:pt x="12094" y="11340"/>
                    <a:pt x="9522" y="13540"/>
                  </a:cubicBezTo>
                  <a:cubicBezTo>
                    <a:pt x="7084" y="15626"/>
                    <a:pt x="4941" y="18027"/>
                    <a:pt x="3141" y="20684"/>
                  </a:cubicBezTo>
                  <a:cubicBezTo>
                    <a:pt x="1950" y="22751"/>
                    <a:pt x="1017" y="24961"/>
                    <a:pt x="379" y="27256"/>
                  </a:cubicBezTo>
                  <a:cubicBezTo>
                    <a:pt x="-117" y="30181"/>
                    <a:pt x="-345" y="33143"/>
                    <a:pt x="-288" y="36115"/>
                  </a:cubicBezTo>
                  <a:cubicBezTo>
                    <a:pt x="-736" y="30162"/>
                    <a:pt x="1969" y="24408"/>
                    <a:pt x="6855" y="20970"/>
                  </a:cubicBezTo>
                  <a:cubicBezTo>
                    <a:pt x="8551" y="20027"/>
                    <a:pt x="10447" y="19503"/>
                    <a:pt x="12380" y="19446"/>
                  </a:cubicBezTo>
                  <a:lnTo>
                    <a:pt x="13047" y="19446"/>
                  </a:lnTo>
                  <a:cubicBezTo>
                    <a:pt x="13837" y="19360"/>
                    <a:pt x="14638" y="19360"/>
                    <a:pt x="15428" y="19446"/>
                  </a:cubicBezTo>
                  <a:lnTo>
                    <a:pt x="16666" y="19446"/>
                  </a:lnTo>
                  <a:lnTo>
                    <a:pt x="17428" y="19446"/>
                  </a:lnTo>
                  <a:lnTo>
                    <a:pt x="18095" y="19446"/>
                  </a:lnTo>
                  <a:lnTo>
                    <a:pt x="18857" y="19446"/>
                  </a:lnTo>
                  <a:cubicBezTo>
                    <a:pt x="18857" y="19446"/>
                    <a:pt x="18857" y="19446"/>
                    <a:pt x="19619" y="19446"/>
                  </a:cubicBezTo>
                  <a:lnTo>
                    <a:pt x="20571" y="19446"/>
                  </a:lnTo>
                  <a:lnTo>
                    <a:pt x="21524" y="19446"/>
                  </a:lnTo>
                  <a:lnTo>
                    <a:pt x="22191" y="19446"/>
                  </a:lnTo>
                  <a:lnTo>
                    <a:pt x="23905" y="20303"/>
                  </a:lnTo>
                  <a:lnTo>
                    <a:pt x="23905" y="20303"/>
                  </a:lnTo>
                  <a:cubicBezTo>
                    <a:pt x="23620" y="20113"/>
                    <a:pt x="29906" y="14302"/>
                    <a:pt x="37621" y="9826"/>
                  </a:cubicBezTo>
                  <a:close/>
                </a:path>
              </a:pathLst>
            </a:custGeom>
            <a:solidFill>
              <a:srgbClr val="D9530B"/>
            </a:solidFill>
            <a:ln w="9525" cap="flat">
              <a:noFill/>
              <a:prstDash val="solid"/>
              <a:miter/>
            </a:ln>
          </p:spPr>
          <p:txBody>
            <a:bodyPr rtlCol="0" anchor="ctr"/>
            <a:lstStyle/>
            <a:p>
              <a:endParaRPr lang="zh-CN" altLang="en-US"/>
            </a:p>
          </p:txBody>
        </p:sp>
        <p:sp>
          <p:nvSpPr>
            <p:cNvPr id="804" name="ïṩ1íḋe">
              <a:extLst>
                <a:ext uri="{FF2B5EF4-FFF2-40B4-BE49-F238E27FC236}">
                  <a16:creationId xmlns:a16="http://schemas.microsoft.com/office/drawing/2014/main" id="{89BBFA73-B929-434E-8DAB-D73E5A956ADA}"/>
                </a:ext>
              </a:extLst>
            </p:cNvPr>
            <p:cNvSpPr/>
            <p:nvPr/>
          </p:nvSpPr>
          <p:spPr>
            <a:xfrm>
              <a:off x="5527630" y="1869668"/>
              <a:ext cx="1931250" cy="1119145"/>
            </a:xfrm>
            <a:custGeom>
              <a:avLst/>
              <a:gdLst>
                <a:gd name="connsiteX0" fmla="*/ 617265 w 634460"/>
                <a:gd name="connsiteY0" fmla="*/ 355025 h 367665"/>
                <a:gd name="connsiteX1" fmla="*/ 620694 w 634460"/>
                <a:gd name="connsiteY1" fmla="*/ 353024 h 367665"/>
                <a:gd name="connsiteX2" fmla="*/ 634124 w 634460"/>
                <a:gd name="connsiteY2" fmla="*/ 348738 h 367665"/>
                <a:gd name="connsiteX3" fmla="*/ 30525 w 634460"/>
                <a:gd name="connsiteY3" fmla="*/ -163 h 367665"/>
                <a:gd name="connsiteX4" fmla="*/ 27191 w 634460"/>
                <a:gd name="connsiteY4" fmla="*/ -163 h 367665"/>
                <a:gd name="connsiteX5" fmla="*/ 26715 w 634460"/>
                <a:gd name="connsiteY5" fmla="*/ -163 h 367665"/>
                <a:gd name="connsiteX6" fmla="*/ 21285 w 634460"/>
                <a:gd name="connsiteY6" fmla="*/ 1838 h 367665"/>
                <a:gd name="connsiteX7" fmla="*/ 19666 w 634460"/>
                <a:gd name="connsiteY7" fmla="*/ 2695 h 367665"/>
                <a:gd name="connsiteX8" fmla="*/ 17095 w 634460"/>
                <a:gd name="connsiteY8" fmla="*/ 4028 h 367665"/>
                <a:gd name="connsiteX9" fmla="*/ 13665 w 634460"/>
                <a:gd name="connsiteY9" fmla="*/ 6029 h 367665"/>
                <a:gd name="connsiteX10" fmla="*/ -336 w 634460"/>
                <a:gd name="connsiteY10" fmla="*/ 18983 h 367665"/>
                <a:gd name="connsiteX11" fmla="*/ 603263 w 634460"/>
                <a:gd name="connsiteY11" fmla="*/ 367502 h 367665"/>
                <a:gd name="connsiteX12" fmla="*/ 617265 w 634460"/>
                <a:gd name="connsiteY12" fmla="*/ 355025 h 3676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34460" h="367665">
                  <a:moveTo>
                    <a:pt x="617265" y="355025"/>
                  </a:moveTo>
                  <a:lnTo>
                    <a:pt x="620694" y="353024"/>
                  </a:lnTo>
                  <a:cubicBezTo>
                    <a:pt x="627075" y="349405"/>
                    <a:pt x="632409" y="347786"/>
                    <a:pt x="634124" y="348738"/>
                  </a:cubicBezTo>
                  <a:lnTo>
                    <a:pt x="30525" y="-163"/>
                  </a:lnTo>
                  <a:lnTo>
                    <a:pt x="27191" y="-163"/>
                  </a:lnTo>
                  <a:lnTo>
                    <a:pt x="26715" y="-163"/>
                  </a:lnTo>
                  <a:cubicBezTo>
                    <a:pt x="24848" y="342"/>
                    <a:pt x="23029" y="1009"/>
                    <a:pt x="21285" y="1838"/>
                  </a:cubicBezTo>
                  <a:cubicBezTo>
                    <a:pt x="20705" y="2047"/>
                    <a:pt x="20162" y="2333"/>
                    <a:pt x="19666" y="2695"/>
                  </a:cubicBezTo>
                  <a:lnTo>
                    <a:pt x="17095" y="4028"/>
                  </a:lnTo>
                  <a:lnTo>
                    <a:pt x="13665" y="6029"/>
                  </a:lnTo>
                  <a:cubicBezTo>
                    <a:pt x="5950" y="10505"/>
                    <a:pt x="-336" y="16316"/>
                    <a:pt x="-336" y="18983"/>
                  </a:cubicBezTo>
                  <a:lnTo>
                    <a:pt x="603263" y="367502"/>
                  </a:lnTo>
                  <a:cubicBezTo>
                    <a:pt x="603263" y="365312"/>
                    <a:pt x="609549" y="359501"/>
                    <a:pt x="617265" y="355025"/>
                  </a:cubicBezTo>
                  <a:close/>
                </a:path>
              </a:pathLst>
            </a:custGeom>
            <a:solidFill>
              <a:srgbClr val="FF7D33"/>
            </a:solidFill>
            <a:ln w="9525" cap="flat">
              <a:noFill/>
              <a:prstDash val="solid"/>
              <a:miter/>
            </a:ln>
          </p:spPr>
          <p:txBody>
            <a:bodyPr rtlCol="0" anchor="ctr"/>
            <a:lstStyle/>
            <a:p>
              <a:endParaRPr lang="zh-CN" altLang="en-US"/>
            </a:p>
          </p:txBody>
        </p:sp>
        <p:sp>
          <p:nvSpPr>
            <p:cNvPr id="805" name="i$ḻiďe">
              <a:extLst>
                <a:ext uri="{FF2B5EF4-FFF2-40B4-BE49-F238E27FC236}">
                  <a16:creationId xmlns:a16="http://schemas.microsoft.com/office/drawing/2014/main" id="{B21D6CF6-FFBE-41BF-9E8C-474C6E6F3B92}"/>
                </a:ext>
              </a:extLst>
            </p:cNvPr>
            <p:cNvSpPr/>
            <p:nvPr/>
          </p:nvSpPr>
          <p:spPr>
            <a:xfrm>
              <a:off x="7437716" y="3069702"/>
              <a:ext cx="97707" cy="1739361"/>
            </a:xfrm>
            <a:custGeom>
              <a:avLst/>
              <a:gdLst>
                <a:gd name="connsiteX0" fmla="*/ 18333 w 32099"/>
                <a:gd name="connsiteY0" fmla="*/ 564956 h 571420"/>
                <a:gd name="connsiteX1" fmla="*/ 21857 w 32099"/>
                <a:gd name="connsiteY1" fmla="*/ 562956 h 571420"/>
                <a:gd name="connsiteX2" fmla="*/ 24810 w 32099"/>
                <a:gd name="connsiteY2" fmla="*/ 561146 h 571420"/>
                <a:gd name="connsiteX3" fmla="*/ 25572 w 32099"/>
                <a:gd name="connsiteY3" fmla="*/ 560574 h 571420"/>
                <a:gd name="connsiteX4" fmla="*/ 25572 w 32099"/>
                <a:gd name="connsiteY4" fmla="*/ 560574 h 571420"/>
                <a:gd name="connsiteX5" fmla="*/ 26239 w 32099"/>
                <a:gd name="connsiteY5" fmla="*/ 560003 h 571420"/>
                <a:gd name="connsiteX6" fmla="*/ 28620 w 32099"/>
                <a:gd name="connsiteY6" fmla="*/ 558193 h 571420"/>
                <a:gd name="connsiteX7" fmla="*/ 29286 w 32099"/>
                <a:gd name="connsiteY7" fmla="*/ 557622 h 571420"/>
                <a:gd name="connsiteX8" fmla="*/ 29953 w 32099"/>
                <a:gd name="connsiteY8" fmla="*/ 556955 h 571420"/>
                <a:gd name="connsiteX9" fmla="*/ 29953 w 32099"/>
                <a:gd name="connsiteY9" fmla="*/ 556955 h 571420"/>
                <a:gd name="connsiteX10" fmla="*/ 30430 w 32099"/>
                <a:gd name="connsiteY10" fmla="*/ 556478 h 571420"/>
                <a:gd name="connsiteX11" fmla="*/ 30430 w 32099"/>
                <a:gd name="connsiteY11" fmla="*/ 556478 h 571420"/>
                <a:gd name="connsiteX12" fmla="*/ 31763 w 32099"/>
                <a:gd name="connsiteY12" fmla="*/ 554097 h 571420"/>
                <a:gd name="connsiteX13" fmla="*/ 31763 w 32099"/>
                <a:gd name="connsiteY13" fmla="*/ 554097 h 571420"/>
                <a:gd name="connsiteX14" fmla="*/ 31763 w 32099"/>
                <a:gd name="connsiteY14" fmla="*/ -163 h 571420"/>
                <a:gd name="connsiteX15" fmla="*/ 21285 w 32099"/>
                <a:gd name="connsiteY15" fmla="*/ 9362 h 571420"/>
                <a:gd name="connsiteX16" fmla="*/ 17856 w 32099"/>
                <a:gd name="connsiteY16" fmla="*/ 11363 h 571420"/>
                <a:gd name="connsiteX17" fmla="*/ -336 w 32099"/>
                <a:gd name="connsiteY17" fmla="*/ 16982 h 571420"/>
                <a:gd name="connsiteX18" fmla="*/ -336 w 32099"/>
                <a:gd name="connsiteY18" fmla="*/ 571147 h 571420"/>
                <a:gd name="connsiteX19" fmla="*/ -336 w 32099"/>
                <a:gd name="connsiteY19" fmla="*/ 571147 h 571420"/>
                <a:gd name="connsiteX20" fmla="*/ 18333 w 32099"/>
                <a:gd name="connsiteY20" fmla="*/ 564956 h 571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2099" h="571420">
                  <a:moveTo>
                    <a:pt x="18333" y="564956"/>
                  </a:moveTo>
                  <a:lnTo>
                    <a:pt x="21857" y="562956"/>
                  </a:lnTo>
                  <a:lnTo>
                    <a:pt x="24810" y="561146"/>
                  </a:lnTo>
                  <a:lnTo>
                    <a:pt x="25572" y="560574"/>
                  </a:lnTo>
                  <a:lnTo>
                    <a:pt x="25572" y="560574"/>
                  </a:lnTo>
                  <a:lnTo>
                    <a:pt x="26239" y="560003"/>
                  </a:lnTo>
                  <a:lnTo>
                    <a:pt x="28620" y="558193"/>
                  </a:lnTo>
                  <a:lnTo>
                    <a:pt x="29286" y="557622"/>
                  </a:lnTo>
                  <a:lnTo>
                    <a:pt x="29953" y="556955"/>
                  </a:lnTo>
                  <a:lnTo>
                    <a:pt x="29953" y="556955"/>
                  </a:lnTo>
                  <a:cubicBezTo>
                    <a:pt x="29953" y="556955"/>
                    <a:pt x="29953" y="556955"/>
                    <a:pt x="30430" y="556478"/>
                  </a:cubicBezTo>
                  <a:lnTo>
                    <a:pt x="30430" y="556478"/>
                  </a:lnTo>
                  <a:cubicBezTo>
                    <a:pt x="31087" y="555821"/>
                    <a:pt x="31544" y="555002"/>
                    <a:pt x="31763" y="554097"/>
                  </a:cubicBezTo>
                  <a:lnTo>
                    <a:pt x="31763" y="554097"/>
                  </a:lnTo>
                  <a:cubicBezTo>
                    <a:pt x="31763" y="321116"/>
                    <a:pt x="31763" y="232819"/>
                    <a:pt x="31763" y="-163"/>
                  </a:cubicBezTo>
                  <a:cubicBezTo>
                    <a:pt x="31763" y="1838"/>
                    <a:pt x="27667" y="5648"/>
                    <a:pt x="21285" y="9362"/>
                  </a:cubicBezTo>
                  <a:lnTo>
                    <a:pt x="17856" y="11363"/>
                  </a:lnTo>
                  <a:cubicBezTo>
                    <a:pt x="10046" y="15744"/>
                    <a:pt x="1950" y="18316"/>
                    <a:pt x="-336" y="16982"/>
                  </a:cubicBezTo>
                  <a:cubicBezTo>
                    <a:pt x="-336" y="249869"/>
                    <a:pt x="-336" y="338261"/>
                    <a:pt x="-336" y="571147"/>
                  </a:cubicBezTo>
                  <a:lnTo>
                    <a:pt x="-336" y="571147"/>
                  </a:lnTo>
                  <a:cubicBezTo>
                    <a:pt x="2331" y="571814"/>
                    <a:pt x="10713" y="569432"/>
                    <a:pt x="18333" y="564956"/>
                  </a:cubicBezTo>
                  <a:close/>
                </a:path>
              </a:pathLst>
            </a:custGeom>
            <a:solidFill>
              <a:srgbClr val="BF4200"/>
            </a:solidFill>
            <a:ln w="9525" cap="flat">
              <a:noFill/>
              <a:prstDash val="solid"/>
              <a:miter/>
            </a:ln>
          </p:spPr>
          <p:txBody>
            <a:bodyPr rtlCol="0" anchor="ctr"/>
            <a:lstStyle/>
            <a:p>
              <a:endParaRPr lang="zh-CN" altLang="en-US"/>
            </a:p>
          </p:txBody>
        </p:sp>
        <p:sp>
          <p:nvSpPr>
            <p:cNvPr id="806" name="îśľiḋe">
              <a:extLst>
                <a:ext uri="{FF2B5EF4-FFF2-40B4-BE49-F238E27FC236}">
                  <a16:creationId xmlns:a16="http://schemas.microsoft.com/office/drawing/2014/main" id="{9F780B28-95DD-4F56-8488-283BE4711079}"/>
                </a:ext>
              </a:extLst>
            </p:cNvPr>
            <p:cNvSpPr/>
            <p:nvPr/>
          </p:nvSpPr>
          <p:spPr>
            <a:xfrm>
              <a:off x="5452829" y="1919241"/>
              <a:ext cx="1985758" cy="2934488"/>
            </a:xfrm>
            <a:custGeom>
              <a:avLst/>
              <a:gdLst>
                <a:gd name="connsiteX0" fmla="*/ 6712 w 652367"/>
                <a:gd name="connsiteY0" fmla="*/ 593818 h 964047"/>
                <a:gd name="connsiteX1" fmla="*/ 22428 w 652367"/>
                <a:gd name="connsiteY1" fmla="*/ 611153 h 964047"/>
                <a:gd name="connsiteX2" fmla="*/ 24048 w 652367"/>
                <a:gd name="connsiteY2" fmla="*/ 612106 h 964047"/>
                <a:gd name="connsiteX3" fmla="*/ 627552 w 652367"/>
                <a:gd name="connsiteY3" fmla="*/ 960530 h 964047"/>
                <a:gd name="connsiteX4" fmla="*/ 652031 w 652367"/>
                <a:gd name="connsiteY4" fmla="*/ 946433 h 964047"/>
                <a:gd name="connsiteX5" fmla="*/ 652031 w 652367"/>
                <a:gd name="connsiteY5" fmla="*/ 393983 h 964047"/>
                <a:gd name="connsiteX6" fmla="*/ 652031 w 652367"/>
                <a:gd name="connsiteY6" fmla="*/ 392174 h 964047"/>
                <a:gd name="connsiteX7" fmla="*/ 644887 w 652367"/>
                <a:gd name="connsiteY7" fmla="*/ 369885 h 964047"/>
                <a:gd name="connsiteX8" fmla="*/ 627647 w 652367"/>
                <a:gd name="connsiteY8" fmla="*/ 351597 h 964047"/>
                <a:gd name="connsiteX9" fmla="*/ 24143 w 652367"/>
                <a:gd name="connsiteY9" fmla="*/ 3173 h 964047"/>
                <a:gd name="connsiteX10" fmla="*/ -336 w 652367"/>
                <a:gd name="connsiteY10" fmla="*/ 17365 h 964047"/>
                <a:gd name="connsiteX11" fmla="*/ -336 w 652367"/>
                <a:gd name="connsiteY11" fmla="*/ 569815 h 964047"/>
                <a:gd name="connsiteX12" fmla="*/ 6712 w 652367"/>
                <a:gd name="connsiteY12" fmla="*/ 593818 h 9640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2367" h="964047">
                  <a:moveTo>
                    <a:pt x="6712" y="593818"/>
                  </a:moveTo>
                  <a:cubicBezTo>
                    <a:pt x="10570" y="600714"/>
                    <a:pt x="15951" y="606639"/>
                    <a:pt x="22428" y="611153"/>
                  </a:cubicBezTo>
                  <a:lnTo>
                    <a:pt x="24048" y="612106"/>
                  </a:lnTo>
                  <a:lnTo>
                    <a:pt x="627552" y="960530"/>
                  </a:lnTo>
                  <a:cubicBezTo>
                    <a:pt x="641077" y="968341"/>
                    <a:pt x="652031" y="962054"/>
                    <a:pt x="652031" y="946433"/>
                  </a:cubicBezTo>
                  <a:lnTo>
                    <a:pt x="652031" y="393983"/>
                  </a:lnTo>
                  <a:cubicBezTo>
                    <a:pt x="651983" y="393383"/>
                    <a:pt x="651983" y="392774"/>
                    <a:pt x="652031" y="392174"/>
                  </a:cubicBezTo>
                  <a:cubicBezTo>
                    <a:pt x="651412" y="384287"/>
                    <a:pt x="648964" y="376657"/>
                    <a:pt x="644887" y="369885"/>
                  </a:cubicBezTo>
                  <a:cubicBezTo>
                    <a:pt x="640791" y="362418"/>
                    <a:pt x="634857" y="356122"/>
                    <a:pt x="627647" y="351597"/>
                  </a:cubicBezTo>
                  <a:lnTo>
                    <a:pt x="24143" y="3173"/>
                  </a:lnTo>
                  <a:cubicBezTo>
                    <a:pt x="10617" y="-4638"/>
                    <a:pt x="-336" y="1744"/>
                    <a:pt x="-336" y="17365"/>
                  </a:cubicBezTo>
                  <a:lnTo>
                    <a:pt x="-336" y="569815"/>
                  </a:lnTo>
                  <a:cubicBezTo>
                    <a:pt x="-89" y="578292"/>
                    <a:pt x="2340" y="586560"/>
                    <a:pt x="6712" y="593818"/>
                  </a:cubicBezTo>
                  <a:close/>
                </a:path>
              </a:pathLst>
            </a:custGeom>
            <a:solidFill>
              <a:srgbClr val="D9530B"/>
            </a:solidFill>
            <a:ln w="9525" cap="flat">
              <a:noFill/>
              <a:prstDash val="solid"/>
              <a:miter/>
            </a:ln>
          </p:spPr>
          <p:txBody>
            <a:bodyPr rtlCol="0" anchor="ctr"/>
            <a:lstStyle/>
            <a:p>
              <a:endParaRPr lang="zh-CN" altLang="en-US"/>
            </a:p>
          </p:txBody>
        </p:sp>
        <p:sp>
          <p:nvSpPr>
            <p:cNvPr id="807" name="ïš1îďe">
              <a:extLst>
                <a:ext uri="{FF2B5EF4-FFF2-40B4-BE49-F238E27FC236}">
                  <a16:creationId xmlns:a16="http://schemas.microsoft.com/office/drawing/2014/main" id="{8DCB870C-63AE-40BF-A678-4A1F4AF144D8}"/>
                </a:ext>
              </a:extLst>
            </p:cNvPr>
            <p:cNvSpPr/>
            <p:nvPr/>
          </p:nvSpPr>
          <p:spPr>
            <a:xfrm>
              <a:off x="5540969" y="2067691"/>
              <a:ext cx="1810348" cy="2427035"/>
            </a:xfrm>
            <a:custGeom>
              <a:avLst/>
              <a:gdLst>
                <a:gd name="connsiteX0" fmla="*/ 594741 w 594741"/>
                <a:gd name="connsiteY0" fmla="*/ 797338 h 797337"/>
                <a:gd name="connsiteX1" fmla="*/ 594741 w 594741"/>
                <a:gd name="connsiteY1" fmla="*/ 343376 h 797337"/>
                <a:gd name="connsiteX2" fmla="*/ 0 w 594741"/>
                <a:gd name="connsiteY2" fmla="*/ 0 h 797337"/>
                <a:gd name="connsiteX3" fmla="*/ 0 w 594741"/>
                <a:gd name="connsiteY3" fmla="*/ 453962 h 797337"/>
                <a:gd name="connsiteX4" fmla="*/ 594741 w 594741"/>
                <a:gd name="connsiteY4" fmla="*/ 797338 h 7973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4741" h="797337">
                  <a:moveTo>
                    <a:pt x="594741" y="797338"/>
                  </a:moveTo>
                  <a:lnTo>
                    <a:pt x="594741" y="343376"/>
                  </a:lnTo>
                  <a:lnTo>
                    <a:pt x="0" y="0"/>
                  </a:lnTo>
                  <a:lnTo>
                    <a:pt x="0" y="453962"/>
                  </a:lnTo>
                  <a:lnTo>
                    <a:pt x="594741" y="797338"/>
                  </a:lnTo>
                  <a:close/>
                </a:path>
              </a:pathLst>
            </a:custGeom>
            <a:solidFill>
              <a:srgbClr val="73A1FF"/>
            </a:solidFill>
            <a:ln w="9525" cap="flat">
              <a:noFill/>
              <a:prstDash val="solid"/>
              <a:miter/>
            </a:ln>
          </p:spPr>
          <p:txBody>
            <a:bodyPr rtlCol="0" anchor="ctr"/>
            <a:lstStyle/>
            <a:p>
              <a:endParaRPr lang="zh-CN" altLang="en-US"/>
            </a:p>
          </p:txBody>
        </p:sp>
        <p:sp>
          <p:nvSpPr>
            <p:cNvPr id="808" name="íş1iďè">
              <a:extLst>
                <a:ext uri="{FF2B5EF4-FFF2-40B4-BE49-F238E27FC236}">
                  <a16:creationId xmlns:a16="http://schemas.microsoft.com/office/drawing/2014/main" id="{CD7F518F-52F7-4056-8576-9F82939D0A0C}"/>
                </a:ext>
              </a:extLst>
            </p:cNvPr>
            <p:cNvSpPr/>
            <p:nvPr/>
          </p:nvSpPr>
          <p:spPr>
            <a:xfrm>
              <a:off x="6426426" y="2495140"/>
              <a:ext cx="39720" cy="50864"/>
            </a:xfrm>
            <a:custGeom>
              <a:avLst/>
              <a:gdLst>
                <a:gd name="connsiteX0" fmla="*/ 6236 w 13049"/>
                <a:gd name="connsiteY0" fmla="*/ 15716 h 16710"/>
                <a:gd name="connsiteX1" fmla="*/ 12713 w 13049"/>
                <a:gd name="connsiteY1" fmla="*/ 12002 h 16710"/>
                <a:gd name="connsiteX2" fmla="*/ 6236 w 13049"/>
                <a:gd name="connsiteY2" fmla="*/ 667 h 16710"/>
                <a:gd name="connsiteX3" fmla="*/ -336 w 13049"/>
                <a:gd name="connsiteY3" fmla="*/ 4477 h 16710"/>
                <a:gd name="connsiteX4" fmla="*/ 6236 w 13049"/>
                <a:gd name="connsiteY4" fmla="*/ 15716 h 167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49" h="16710">
                  <a:moveTo>
                    <a:pt x="6236" y="15716"/>
                  </a:moveTo>
                  <a:cubicBezTo>
                    <a:pt x="9760" y="17812"/>
                    <a:pt x="12713" y="15716"/>
                    <a:pt x="12713" y="12002"/>
                  </a:cubicBezTo>
                  <a:cubicBezTo>
                    <a:pt x="12446" y="7420"/>
                    <a:pt x="10046" y="3220"/>
                    <a:pt x="6236" y="667"/>
                  </a:cubicBezTo>
                  <a:cubicBezTo>
                    <a:pt x="2616" y="-1429"/>
                    <a:pt x="-336" y="667"/>
                    <a:pt x="-336" y="4477"/>
                  </a:cubicBezTo>
                  <a:cubicBezTo>
                    <a:pt x="-51" y="9049"/>
                    <a:pt x="2388" y="13221"/>
                    <a:pt x="6236" y="15716"/>
                  </a:cubicBezTo>
                  <a:close/>
                </a:path>
              </a:pathLst>
            </a:custGeom>
            <a:solidFill>
              <a:srgbClr val="BF4200"/>
            </a:solidFill>
            <a:ln w="9525" cap="flat">
              <a:noFill/>
              <a:prstDash val="solid"/>
              <a:miter/>
            </a:ln>
          </p:spPr>
          <p:txBody>
            <a:bodyPr rtlCol="0" anchor="ctr"/>
            <a:lstStyle/>
            <a:p>
              <a:endParaRPr lang="zh-CN" altLang="en-US"/>
            </a:p>
          </p:txBody>
        </p:sp>
        <p:sp>
          <p:nvSpPr>
            <p:cNvPr id="809" name="íṣḻïḑé">
              <a:extLst>
                <a:ext uri="{FF2B5EF4-FFF2-40B4-BE49-F238E27FC236}">
                  <a16:creationId xmlns:a16="http://schemas.microsoft.com/office/drawing/2014/main" id="{94F9CDCC-7441-4F07-9AE0-41224977642F}"/>
                </a:ext>
              </a:extLst>
            </p:cNvPr>
            <p:cNvSpPr/>
            <p:nvPr/>
          </p:nvSpPr>
          <p:spPr>
            <a:xfrm>
              <a:off x="6433966" y="2504747"/>
              <a:ext cx="24644" cy="31642"/>
            </a:xfrm>
            <a:custGeom>
              <a:avLst/>
              <a:gdLst>
                <a:gd name="connsiteX0" fmla="*/ 3759 w 8096"/>
                <a:gd name="connsiteY0" fmla="*/ 9703 h 10395"/>
                <a:gd name="connsiteX1" fmla="*/ 7760 w 8096"/>
                <a:gd name="connsiteY1" fmla="*/ 7416 h 10395"/>
                <a:gd name="connsiteX2" fmla="*/ 3759 w 8096"/>
                <a:gd name="connsiteY2" fmla="*/ 368 h 10395"/>
                <a:gd name="connsiteX3" fmla="*/ -336 w 8096"/>
                <a:gd name="connsiteY3" fmla="*/ 2654 h 10395"/>
                <a:gd name="connsiteX4" fmla="*/ 3759 w 8096"/>
                <a:gd name="connsiteY4" fmla="*/ 9703 h 103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96" h="10395">
                  <a:moveTo>
                    <a:pt x="3759" y="9703"/>
                  </a:moveTo>
                  <a:cubicBezTo>
                    <a:pt x="5950" y="11036"/>
                    <a:pt x="7760" y="9703"/>
                    <a:pt x="7760" y="7416"/>
                  </a:cubicBezTo>
                  <a:cubicBezTo>
                    <a:pt x="7645" y="4559"/>
                    <a:pt x="6150" y="1930"/>
                    <a:pt x="3759" y="368"/>
                  </a:cubicBezTo>
                  <a:cubicBezTo>
                    <a:pt x="1473" y="-965"/>
                    <a:pt x="-336" y="368"/>
                    <a:pt x="-336" y="2654"/>
                  </a:cubicBezTo>
                  <a:cubicBezTo>
                    <a:pt x="-213" y="5531"/>
                    <a:pt x="1321" y="8169"/>
                    <a:pt x="3759" y="9703"/>
                  </a:cubicBezTo>
                  <a:close/>
                </a:path>
              </a:pathLst>
            </a:custGeom>
            <a:solidFill>
              <a:srgbClr val="171A42"/>
            </a:solidFill>
            <a:ln w="9525" cap="flat">
              <a:noFill/>
              <a:prstDash val="solid"/>
              <a:miter/>
            </a:ln>
          </p:spPr>
          <p:txBody>
            <a:bodyPr rtlCol="0" anchor="ctr"/>
            <a:lstStyle/>
            <a:p>
              <a:endParaRPr lang="zh-CN" altLang="en-US"/>
            </a:p>
          </p:txBody>
        </p:sp>
        <p:sp>
          <p:nvSpPr>
            <p:cNvPr id="810" name="îṩľíďè">
              <a:extLst>
                <a:ext uri="{FF2B5EF4-FFF2-40B4-BE49-F238E27FC236}">
                  <a16:creationId xmlns:a16="http://schemas.microsoft.com/office/drawing/2014/main" id="{D0AD837C-F765-4C26-9E57-9EBF73F4055D}"/>
                </a:ext>
              </a:extLst>
            </p:cNvPr>
            <p:cNvSpPr/>
            <p:nvPr/>
          </p:nvSpPr>
          <p:spPr>
            <a:xfrm>
              <a:off x="5453100" y="1919957"/>
              <a:ext cx="1987164" cy="2935252"/>
            </a:xfrm>
            <a:custGeom>
              <a:avLst/>
              <a:gdLst>
                <a:gd name="connsiteX0" fmla="*/ 9005 w 652829"/>
                <a:gd name="connsiteY0" fmla="*/ 4938 h 964298"/>
                <a:gd name="connsiteX1" fmla="*/ 25388 w 652829"/>
                <a:gd name="connsiteY1" fmla="*/ 6557 h 964298"/>
                <a:gd name="connsiteX2" fmla="*/ 628891 w 652829"/>
                <a:gd name="connsiteY2" fmla="*/ 354791 h 964298"/>
                <a:gd name="connsiteX3" fmla="*/ 643846 w 652829"/>
                <a:gd name="connsiteY3" fmla="*/ 370222 h 964298"/>
                <a:gd name="connsiteX4" fmla="*/ 649751 w 652829"/>
                <a:gd name="connsiteY4" fmla="*/ 389272 h 964298"/>
                <a:gd name="connsiteX5" fmla="*/ 649751 w 652829"/>
                <a:gd name="connsiteY5" fmla="*/ 943246 h 964298"/>
                <a:gd name="connsiteX6" fmla="*/ 642893 w 652829"/>
                <a:gd name="connsiteY6" fmla="*/ 958295 h 964298"/>
                <a:gd name="connsiteX7" fmla="*/ 626510 w 652829"/>
                <a:gd name="connsiteY7" fmla="*/ 956676 h 964298"/>
                <a:gd name="connsiteX8" fmla="*/ 23006 w 652829"/>
                <a:gd name="connsiteY8" fmla="*/ 608251 h 964298"/>
                <a:gd name="connsiteX9" fmla="*/ 21578 w 652829"/>
                <a:gd name="connsiteY9" fmla="*/ 607394 h 964298"/>
                <a:gd name="connsiteX10" fmla="*/ 8147 w 652829"/>
                <a:gd name="connsiteY10" fmla="*/ 592821 h 964298"/>
                <a:gd name="connsiteX11" fmla="*/ 2147 w 652829"/>
                <a:gd name="connsiteY11" fmla="*/ 572152 h 964298"/>
                <a:gd name="connsiteX12" fmla="*/ 2147 w 652829"/>
                <a:gd name="connsiteY12" fmla="*/ 19702 h 964298"/>
                <a:gd name="connsiteX13" fmla="*/ 9005 w 652829"/>
                <a:gd name="connsiteY13" fmla="*/ 4652 h 964298"/>
                <a:gd name="connsiteX14" fmla="*/ 6909 w 652829"/>
                <a:gd name="connsiteY14" fmla="*/ 1318 h 964298"/>
                <a:gd name="connsiteX15" fmla="*/ -235 w 652829"/>
                <a:gd name="connsiteY15" fmla="*/ 17225 h 964298"/>
                <a:gd name="connsiteX16" fmla="*/ -235 w 652829"/>
                <a:gd name="connsiteY16" fmla="*/ 569675 h 964298"/>
                <a:gd name="connsiteX17" fmla="*/ 6909 w 652829"/>
                <a:gd name="connsiteY17" fmla="*/ 593773 h 964298"/>
                <a:gd name="connsiteX18" fmla="*/ 22625 w 652829"/>
                <a:gd name="connsiteY18" fmla="*/ 611109 h 964298"/>
                <a:gd name="connsiteX19" fmla="*/ 24245 w 652829"/>
                <a:gd name="connsiteY19" fmla="*/ 612061 h 964298"/>
                <a:gd name="connsiteX20" fmla="*/ 627748 w 652829"/>
                <a:gd name="connsiteY20" fmla="*/ 960486 h 964298"/>
                <a:gd name="connsiteX21" fmla="*/ 648846 w 652829"/>
                <a:gd name="connsiteY21" fmla="*/ 958971 h 964298"/>
                <a:gd name="connsiteX22" fmla="*/ 652228 w 652829"/>
                <a:gd name="connsiteY22" fmla="*/ 946389 h 964298"/>
                <a:gd name="connsiteX23" fmla="*/ 652228 w 652829"/>
                <a:gd name="connsiteY23" fmla="*/ 393939 h 964298"/>
                <a:gd name="connsiteX24" fmla="*/ 652228 w 652829"/>
                <a:gd name="connsiteY24" fmla="*/ 392129 h 964298"/>
                <a:gd name="connsiteX25" fmla="*/ 645084 w 652829"/>
                <a:gd name="connsiteY25" fmla="*/ 369841 h 964298"/>
                <a:gd name="connsiteX26" fmla="*/ 627844 w 652829"/>
                <a:gd name="connsiteY26" fmla="*/ 351553 h 964298"/>
                <a:gd name="connsiteX27" fmla="*/ 24340 w 652829"/>
                <a:gd name="connsiteY27" fmla="*/ 3128 h 964298"/>
                <a:gd name="connsiteX28" fmla="*/ 7004 w 652829"/>
                <a:gd name="connsiteY28" fmla="*/ 1414 h 964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652829" h="964298">
                  <a:moveTo>
                    <a:pt x="9005" y="4938"/>
                  </a:moveTo>
                  <a:cubicBezTo>
                    <a:pt x="14367" y="2519"/>
                    <a:pt x="20606" y="3128"/>
                    <a:pt x="25388" y="6557"/>
                  </a:cubicBezTo>
                  <a:lnTo>
                    <a:pt x="628891" y="354791"/>
                  </a:lnTo>
                  <a:cubicBezTo>
                    <a:pt x="635102" y="358592"/>
                    <a:pt x="640245" y="363897"/>
                    <a:pt x="643846" y="370222"/>
                  </a:cubicBezTo>
                  <a:cubicBezTo>
                    <a:pt x="647208" y="376051"/>
                    <a:pt x="649227" y="382566"/>
                    <a:pt x="649751" y="389272"/>
                  </a:cubicBezTo>
                  <a:lnTo>
                    <a:pt x="649751" y="943246"/>
                  </a:lnTo>
                  <a:cubicBezTo>
                    <a:pt x="650370" y="949132"/>
                    <a:pt x="647741" y="954895"/>
                    <a:pt x="642893" y="958295"/>
                  </a:cubicBezTo>
                  <a:cubicBezTo>
                    <a:pt x="637550" y="960800"/>
                    <a:pt x="631263" y="960181"/>
                    <a:pt x="626510" y="956676"/>
                  </a:cubicBezTo>
                  <a:lnTo>
                    <a:pt x="23006" y="608251"/>
                  </a:lnTo>
                  <a:lnTo>
                    <a:pt x="21578" y="607394"/>
                  </a:lnTo>
                  <a:cubicBezTo>
                    <a:pt x="16034" y="603641"/>
                    <a:pt x="11433" y="598650"/>
                    <a:pt x="8147" y="592821"/>
                  </a:cubicBezTo>
                  <a:cubicBezTo>
                    <a:pt x="4375" y="586573"/>
                    <a:pt x="2308" y="579448"/>
                    <a:pt x="2147" y="572152"/>
                  </a:cubicBezTo>
                  <a:lnTo>
                    <a:pt x="2147" y="19702"/>
                  </a:lnTo>
                  <a:cubicBezTo>
                    <a:pt x="1565" y="13815"/>
                    <a:pt x="4185" y="8072"/>
                    <a:pt x="9005" y="4652"/>
                  </a:cubicBezTo>
                  <a:close/>
                  <a:moveTo>
                    <a:pt x="6909" y="1318"/>
                  </a:moveTo>
                  <a:cubicBezTo>
                    <a:pt x="1823" y="4938"/>
                    <a:pt x="-911" y="11024"/>
                    <a:pt x="-235" y="17225"/>
                  </a:cubicBezTo>
                  <a:lnTo>
                    <a:pt x="-235" y="569675"/>
                  </a:lnTo>
                  <a:cubicBezTo>
                    <a:pt x="23" y="578191"/>
                    <a:pt x="2480" y="586496"/>
                    <a:pt x="6909" y="593773"/>
                  </a:cubicBezTo>
                  <a:cubicBezTo>
                    <a:pt x="10767" y="600670"/>
                    <a:pt x="16148" y="606594"/>
                    <a:pt x="22625" y="611109"/>
                  </a:cubicBezTo>
                  <a:lnTo>
                    <a:pt x="24245" y="612061"/>
                  </a:lnTo>
                  <a:lnTo>
                    <a:pt x="627748" y="960486"/>
                  </a:lnTo>
                  <a:cubicBezTo>
                    <a:pt x="633997" y="965896"/>
                    <a:pt x="643436" y="965210"/>
                    <a:pt x="648846" y="958971"/>
                  </a:cubicBezTo>
                  <a:cubicBezTo>
                    <a:pt x="651837" y="955514"/>
                    <a:pt x="653085" y="950875"/>
                    <a:pt x="652228" y="946389"/>
                  </a:cubicBezTo>
                  <a:lnTo>
                    <a:pt x="652228" y="393939"/>
                  </a:lnTo>
                  <a:cubicBezTo>
                    <a:pt x="652180" y="393339"/>
                    <a:pt x="652180" y="392729"/>
                    <a:pt x="652228" y="392129"/>
                  </a:cubicBezTo>
                  <a:cubicBezTo>
                    <a:pt x="651609" y="384242"/>
                    <a:pt x="649161" y="376613"/>
                    <a:pt x="645084" y="369841"/>
                  </a:cubicBezTo>
                  <a:cubicBezTo>
                    <a:pt x="640988" y="362373"/>
                    <a:pt x="635054" y="356077"/>
                    <a:pt x="627844" y="351553"/>
                  </a:cubicBezTo>
                  <a:lnTo>
                    <a:pt x="24340" y="3128"/>
                  </a:lnTo>
                  <a:cubicBezTo>
                    <a:pt x="19291" y="-539"/>
                    <a:pt x="12672" y="-1187"/>
                    <a:pt x="7004" y="1414"/>
                  </a:cubicBezTo>
                  <a:close/>
                </a:path>
              </a:pathLst>
            </a:custGeom>
            <a:solidFill>
              <a:srgbClr val="D1D9E8"/>
            </a:solidFill>
            <a:ln w="9525" cap="flat">
              <a:noFill/>
              <a:prstDash val="solid"/>
              <a:miter/>
            </a:ln>
          </p:spPr>
          <p:txBody>
            <a:bodyPr rtlCol="0" anchor="ctr"/>
            <a:lstStyle/>
            <a:p>
              <a:endParaRPr lang="zh-CN" altLang="en-US"/>
            </a:p>
          </p:txBody>
        </p:sp>
        <p:sp>
          <p:nvSpPr>
            <p:cNvPr id="811" name="ïṥḻíḍê">
              <a:extLst>
                <a:ext uri="{FF2B5EF4-FFF2-40B4-BE49-F238E27FC236}">
                  <a16:creationId xmlns:a16="http://schemas.microsoft.com/office/drawing/2014/main" id="{E579A483-10B4-42DB-9C39-A74477E3BE2E}"/>
                </a:ext>
              </a:extLst>
            </p:cNvPr>
            <p:cNvSpPr/>
            <p:nvPr/>
          </p:nvSpPr>
          <p:spPr>
            <a:xfrm>
              <a:off x="5541258" y="2067694"/>
              <a:ext cx="1810348" cy="2425586"/>
            </a:xfrm>
            <a:custGeom>
              <a:avLst/>
              <a:gdLst>
                <a:gd name="connsiteX0" fmla="*/ 2045 w 594741"/>
                <a:gd name="connsiteY0" fmla="*/ 4028 h 796861"/>
                <a:gd name="connsiteX1" fmla="*/ 591928 w 594741"/>
                <a:gd name="connsiteY1" fmla="*/ 344357 h 796861"/>
                <a:gd name="connsiteX2" fmla="*/ 591928 w 594741"/>
                <a:gd name="connsiteY2" fmla="*/ 792984 h 796861"/>
                <a:gd name="connsiteX3" fmla="*/ 2045 w 594741"/>
                <a:gd name="connsiteY3" fmla="*/ 452370 h 796861"/>
                <a:gd name="connsiteX4" fmla="*/ 2045 w 594741"/>
                <a:gd name="connsiteY4" fmla="*/ 4028 h 796861"/>
                <a:gd name="connsiteX5" fmla="*/ -336 w 594741"/>
                <a:gd name="connsiteY5" fmla="*/ -163 h 796861"/>
                <a:gd name="connsiteX6" fmla="*/ -336 w 594741"/>
                <a:gd name="connsiteY6" fmla="*/ 453799 h 796861"/>
                <a:gd name="connsiteX7" fmla="*/ 594405 w 594741"/>
                <a:gd name="connsiteY7" fmla="*/ 796699 h 796861"/>
                <a:gd name="connsiteX8" fmla="*/ 594405 w 594741"/>
                <a:gd name="connsiteY8" fmla="*/ 343214 h 796861"/>
                <a:gd name="connsiteX9" fmla="*/ -336 w 594741"/>
                <a:gd name="connsiteY9" fmla="*/ 314 h 796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94741" h="796861">
                  <a:moveTo>
                    <a:pt x="2045" y="4028"/>
                  </a:moveTo>
                  <a:lnTo>
                    <a:pt x="591928" y="344357"/>
                  </a:lnTo>
                  <a:lnTo>
                    <a:pt x="591928" y="792984"/>
                  </a:lnTo>
                  <a:lnTo>
                    <a:pt x="2045" y="452370"/>
                  </a:lnTo>
                  <a:lnTo>
                    <a:pt x="2045" y="4028"/>
                  </a:lnTo>
                  <a:close/>
                  <a:moveTo>
                    <a:pt x="-336" y="-163"/>
                  </a:moveTo>
                  <a:lnTo>
                    <a:pt x="-336" y="453799"/>
                  </a:lnTo>
                  <a:lnTo>
                    <a:pt x="594405" y="796699"/>
                  </a:lnTo>
                  <a:lnTo>
                    <a:pt x="594405" y="343214"/>
                  </a:lnTo>
                  <a:lnTo>
                    <a:pt x="-336" y="314"/>
                  </a:lnTo>
                  <a:close/>
                </a:path>
              </a:pathLst>
            </a:custGeom>
            <a:solidFill>
              <a:srgbClr val="316DE6"/>
            </a:solidFill>
            <a:ln w="9525" cap="flat">
              <a:noFill/>
              <a:prstDash val="solid"/>
              <a:miter/>
            </a:ln>
          </p:spPr>
          <p:txBody>
            <a:bodyPr rtlCol="0" anchor="ctr"/>
            <a:lstStyle/>
            <a:p>
              <a:endParaRPr lang="zh-CN" altLang="en-US"/>
            </a:p>
          </p:txBody>
        </p:sp>
        <p:sp>
          <p:nvSpPr>
            <p:cNvPr id="812" name="ïsľïḍe">
              <a:extLst>
                <a:ext uri="{FF2B5EF4-FFF2-40B4-BE49-F238E27FC236}">
                  <a16:creationId xmlns:a16="http://schemas.microsoft.com/office/drawing/2014/main" id="{F6936D73-B50B-46E0-9433-3B94B076AC93}"/>
                </a:ext>
              </a:extLst>
            </p:cNvPr>
            <p:cNvSpPr/>
            <p:nvPr/>
          </p:nvSpPr>
          <p:spPr>
            <a:xfrm>
              <a:off x="6693165" y="2844613"/>
              <a:ext cx="510479" cy="888747"/>
            </a:xfrm>
            <a:custGeom>
              <a:avLst/>
              <a:gdLst>
                <a:gd name="connsiteX0" fmla="*/ 167304 w 167704"/>
                <a:gd name="connsiteY0" fmla="*/ 111504 h 291974"/>
                <a:gd name="connsiteX1" fmla="*/ 167304 w 167704"/>
                <a:gd name="connsiteY1" fmla="*/ 268380 h 291974"/>
                <a:gd name="connsiteX2" fmla="*/ 160636 w 167704"/>
                <a:gd name="connsiteY2" fmla="*/ 284478 h 291974"/>
                <a:gd name="connsiteX3" fmla="*/ 158636 w 167704"/>
                <a:gd name="connsiteY3" fmla="*/ 285621 h 291974"/>
                <a:gd name="connsiteX4" fmla="*/ 147873 w 167704"/>
                <a:gd name="connsiteY4" fmla="*/ 291812 h 291974"/>
                <a:gd name="connsiteX5" fmla="*/ 152159 w 167704"/>
                <a:gd name="connsiteY5" fmla="*/ 286668 h 291974"/>
                <a:gd name="connsiteX6" fmla="*/ 154445 w 167704"/>
                <a:gd name="connsiteY6" fmla="*/ 275810 h 291974"/>
                <a:gd name="connsiteX7" fmla="*/ 154445 w 167704"/>
                <a:gd name="connsiteY7" fmla="*/ 118933 h 291974"/>
                <a:gd name="connsiteX8" fmla="*/ 152254 w 167704"/>
                <a:gd name="connsiteY8" fmla="*/ 105693 h 291974"/>
                <a:gd name="connsiteX9" fmla="*/ 128823 w 167704"/>
                <a:gd name="connsiteY9" fmla="*/ 74451 h 291974"/>
                <a:gd name="connsiteX10" fmla="*/ 17761 w 167704"/>
                <a:gd name="connsiteY10" fmla="*/ 10443 h 291974"/>
                <a:gd name="connsiteX11" fmla="*/ 7188 w 167704"/>
                <a:gd name="connsiteY11" fmla="*/ 6919 h 291974"/>
                <a:gd name="connsiteX12" fmla="*/ -336 w 167704"/>
                <a:gd name="connsiteY12" fmla="*/ 8634 h 291974"/>
                <a:gd name="connsiteX13" fmla="*/ 12046 w 167704"/>
                <a:gd name="connsiteY13" fmla="*/ 1490 h 291974"/>
                <a:gd name="connsiteX14" fmla="*/ 12046 w 167704"/>
                <a:gd name="connsiteY14" fmla="*/ 1490 h 291974"/>
                <a:gd name="connsiteX15" fmla="*/ 30239 w 167704"/>
                <a:gd name="connsiteY15" fmla="*/ 3300 h 291974"/>
                <a:gd name="connsiteX16" fmla="*/ 141205 w 167704"/>
                <a:gd name="connsiteY16" fmla="*/ 67403 h 291974"/>
                <a:gd name="connsiteX17" fmla="*/ 167304 w 167704"/>
                <a:gd name="connsiteY17" fmla="*/ 111504 h 2919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67704" h="291974">
                  <a:moveTo>
                    <a:pt x="167304" y="111504"/>
                  </a:moveTo>
                  <a:lnTo>
                    <a:pt x="167304" y="268380"/>
                  </a:lnTo>
                  <a:cubicBezTo>
                    <a:pt x="167808" y="274505"/>
                    <a:pt x="165322" y="280506"/>
                    <a:pt x="160636" y="284478"/>
                  </a:cubicBezTo>
                  <a:lnTo>
                    <a:pt x="158636" y="285621"/>
                  </a:lnTo>
                  <a:lnTo>
                    <a:pt x="147873" y="291812"/>
                  </a:lnTo>
                  <a:cubicBezTo>
                    <a:pt x="149711" y="290488"/>
                    <a:pt x="151187" y="288716"/>
                    <a:pt x="152159" y="286668"/>
                  </a:cubicBezTo>
                  <a:cubicBezTo>
                    <a:pt x="153797" y="283287"/>
                    <a:pt x="154578" y="279563"/>
                    <a:pt x="154445" y="275810"/>
                  </a:cubicBezTo>
                  <a:lnTo>
                    <a:pt x="154445" y="118933"/>
                  </a:lnTo>
                  <a:cubicBezTo>
                    <a:pt x="154397" y="114437"/>
                    <a:pt x="153664" y="109970"/>
                    <a:pt x="152254" y="105693"/>
                  </a:cubicBezTo>
                  <a:cubicBezTo>
                    <a:pt x="148358" y="92854"/>
                    <a:pt x="140062" y="81795"/>
                    <a:pt x="128823" y="74451"/>
                  </a:cubicBezTo>
                  <a:lnTo>
                    <a:pt x="17761" y="10443"/>
                  </a:lnTo>
                  <a:cubicBezTo>
                    <a:pt x="14561" y="8453"/>
                    <a:pt x="10941" y="7243"/>
                    <a:pt x="7188" y="6919"/>
                  </a:cubicBezTo>
                  <a:cubicBezTo>
                    <a:pt x="4569" y="6776"/>
                    <a:pt x="1959" y="7367"/>
                    <a:pt x="-336" y="8634"/>
                  </a:cubicBezTo>
                  <a:lnTo>
                    <a:pt x="12046" y="1490"/>
                  </a:lnTo>
                  <a:lnTo>
                    <a:pt x="12046" y="1490"/>
                  </a:lnTo>
                  <a:cubicBezTo>
                    <a:pt x="17990" y="-1244"/>
                    <a:pt x="24943" y="-549"/>
                    <a:pt x="30239" y="3300"/>
                  </a:cubicBezTo>
                  <a:lnTo>
                    <a:pt x="141205" y="67403"/>
                  </a:lnTo>
                  <a:cubicBezTo>
                    <a:pt x="156455" y="77080"/>
                    <a:pt x="166160" y="93473"/>
                    <a:pt x="167304" y="111504"/>
                  </a:cubicBezTo>
                  <a:close/>
                </a:path>
              </a:pathLst>
            </a:custGeom>
            <a:solidFill>
              <a:srgbClr val="D9530B"/>
            </a:solidFill>
            <a:ln w="9525" cap="flat">
              <a:noFill/>
              <a:prstDash val="solid"/>
              <a:miter/>
            </a:ln>
          </p:spPr>
          <p:txBody>
            <a:bodyPr rtlCol="0" anchor="ctr"/>
            <a:lstStyle/>
            <a:p>
              <a:endParaRPr lang="zh-CN" altLang="en-US"/>
            </a:p>
          </p:txBody>
        </p:sp>
        <p:sp>
          <p:nvSpPr>
            <p:cNvPr id="813" name="i$ļïďè">
              <a:extLst>
                <a:ext uri="{FF2B5EF4-FFF2-40B4-BE49-F238E27FC236}">
                  <a16:creationId xmlns:a16="http://schemas.microsoft.com/office/drawing/2014/main" id="{C4EB154B-4ED8-49ED-9D91-578475FE1BE5}"/>
                </a:ext>
              </a:extLst>
            </p:cNvPr>
            <p:cNvSpPr/>
            <p:nvPr/>
          </p:nvSpPr>
          <p:spPr>
            <a:xfrm>
              <a:off x="6669977" y="2868426"/>
              <a:ext cx="494331" cy="347114"/>
            </a:xfrm>
            <a:custGeom>
              <a:avLst/>
              <a:gdLst>
                <a:gd name="connsiteX0" fmla="*/ 162063 w 162399"/>
                <a:gd name="connsiteY0" fmla="*/ 111110 h 114035"/>
                <a:gd name="connsiteX1" fmla="*/ 162063 w 162399"/>
                <a:gd name="connsiteY1" fmla="*/ 113873 h 114035"/>
                <a:gd name="connsiteX2" fmla="*/ 12616 w 162399"/>
                <a:gd name="connsiteY2" fmla="*/ 28148 h 114035"/>
                <a:gd name="connsiteX3" fmla="*/ -243 w 162399"/>
                <a:gd name="connsiteY3" fmla="*/ 20718 h 114035"/>
                <a:gd name="connsiteX4" fmla="*/ -243 w 162399"/>
                <a:gd name="connsiteY4" fmla="*/ 17861 h 114035"/>
                <a:gd name="connsiteX5" fmla="*/ 6805 w 162399"/>
                <a:gd name="connsiteY5" fmla="*/ 1573 h 114035"/>
                <a:gd name="connsiteX6" fmla="*/ 7282 w 162399"/>
                <a:gd name="connsiteY6" fmla="*/ 1573 h 114035"/>
                <a:gd name="connsiteX7" fmla="*/ 14806 w 162399"/>
                <a:gd name="connsiteY7" fmla="*/ -142 h 114035"/>
                <a:gd name="connsiteX8" fmla="*/ 25379 w 162399"/>
                <a:gd name="connsiteY8" fmla="*/ 3383 h 114035"/>
                <a:gd name="connsiteX9" fmla="*/ 136441 w 162399"/>
                <a:gd name="connsiteY9" fmla="*/ 67391 h 114035"/>
                <a:gd name="connsiteX10" fmla="*/ 159872 w 162399"/>
                <a:gd name="connsiteY10" fmla="*/ 98633 h 114035"/>
                <a:gd name="connsiteX11" fmla="*/ 162063 w 162399"/>
                <a:gd name="connsiteY11" fmla="*/ 111110 h 1140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2399" h="114035">
                  <a:moveTo>
                    <a:pt x="162063" y="111110"/>
                  </a:moveTo>
                  <a:lnTo>
                    <a:pt x="162063" y="113873"/>
                  </a:lnTo>
                  <a:lnTo>
                    <a:pt x="12616" y="28148"/>
                  </a:lnTo>
                  <a:lnTo>
                    <a:pt x="-243" y="20718"/>
                  </a:lnTo>
                  <a:lnTo>
                    <a:pt x="-243" y="17861"/>
                  </a:lnTo>
                  <a:cubicBezTo>
                    <a:pt x="-881" y="11574"/>
                    <a:pt x="1786" y="5411"/>
                    <a:pt x="6805" y="1573"/>
                  </a:cubicBezTo>
                  <a:lnTo>
                    <a:pt x="7282" y="1573"/>
                  </a:lnTo>
                  <a:cubicBezTo>
                    <a:pt x="9577" y="306"/>
                    <a:pt x="12187" y="-285"/>
                    <a:pt x="14806" y="-142"/>
                  </a:cubicBezTo>
                  <a:cubicBezTo>
                    <a:pt x="18559" y="182"/>
                    <a:pt x="22179" y="1392"/>
                    <a:pt x="25379" y="3383"/>
                  </a:cubicBezTo>
                  <a:lnTo>
                    <a:pt x="136441" y="67391"/>
                  </a:lnTo>
                  <a:cubicBezTo>
                    <a:pt x="147680" y="74734"/>
                    <a:pt x="155976" y="85793"/>
                    <a:pt x="159872" y="98633"/>
                  </a:cubicBezTo>
                  <a:cubicBezTo>
                    <a:pt x="161206" y="102662"/>
                    <a:pt x="161939" y="106862"/>
                    <a:pt x="162063" y="111110"/>
                  </a:cubicBezTo>
                  <a:close/>
                </a:path>
              </a:pathLst>
            </a:custGeom>
            <a:solidFill>
              <a:srgbClr val="FF7D33"/>
            </a:solidFill>
            <a:ln w="9525" cap="flat">
              <a:noFill/>
              <a:prstDash val="solid"/>
              <a:miter/>
            </a:ln>
          </p:spPr>
          <p:txBody>
            <a:bodyPr rtlCol="0" anchor="ctr"/>
            <a:lstStyle/>
            <a:p>
              <a:endParaRPr lang="zh-CN" altLang="en-US"/>
            </a:p>
          </p:txBody>
        </p:sp>
        <p:sp>
          <p:nvSpPr>
            <p:cNvPr id="814" name="ïslíḓè">
              <a:extLst>
                <a:ext uri="{FF2B5EF4-FFF2-40B4-BE49-F238E27FC236}">
                  <a16:creationId xmlns:a16="http://schemas.microsoft.com/office/drawing/2014/main" id="{97F203B2-2BA3-44AA-816F-65A9CEF2DF4F}"/>
                </a:ext>
              </a:extLst>
            </p:cNvPr>
            <p:cNvSpPr/>
            <p:nvPr/>
          </p:nvSpPr>
          <p:spPr>
            <a:xfrm>
              <a:off x="6670263" y="3390952"/>
              <a:ext cx="494090" cy="349053"/>
            </a:xfrm>
            <a:custGeom>
              <a:avLst/>
              <a:gdLst>
                <a:gd name="connsiteX0" fmla="*/ 161970 w 162320"/>
                <a:gd name="connsiteY0" fmla="*/ 93468 h 114672"/>
                <a:gd name="connsiteX1" fmla="*/ 161970 w 162320"/>
                <a:gd name="connsiteY1" fmla="*/ 96326 h 114672"/>
                <a:gd name="connsiteX2" fmla="*/ 159684 w 162320"/>
                <a:gd name="connsiteY2" fmla="*/ 107184 h 114672"/>
                <a:gd name="connsiteX3" fmla="*/ 155397 w 162320"/>
                <a:gd name="connsiteY3" fmla="*/ 112328 h 114672"/>
                <a:gd name="connsiteX4" fmla="*/ 153302 w 162320"/>
                <a:gd name="connsiteY4" fmla="*/ 113471 h 114672"/>
                <a:gd name="connsiteX5" fmla="*/ 136347 w 162320"/>
                <a:gd name="connsiteY5" fmla="*/ 111185 h 114672"/>
                <a:gd name="connsiteX6" fmla="*/ 25286 w 162320"/>
                <a:gd name="connsiteY6" fmla="*/ 47081 h 114672"/>
                <a:gd name="connsiteX7" fmla="*/ -336 w 162320"/>
                <a:gd name="connsiteY7" fmla="*/ 2600 h 114672"/>
                <a:gd name="connsiteX8" fmla="*/ -336 w 162320"/>
                <a:gd name="connsiteY8" fmla="*/ -163 h 114672"/>
                <a:gd name="connsiteX9" fmla="*/ 14713 w 162320"/>
                <a:gd name="connsiteY9" fmla="*/ 8505 h 114672"/>
                <a:gd name="connsiteX10" fmla="*/ 25762 w 162320"/>
                <a:gd name="connsiteY10" fmla="*/ 14887 h 114672"/>
                <a:gd name="connsiteX11" fmla="*/ 37002 w 162320"/>
                <a:gd name="connsiteY11" fmla="*/ 21364 h 114672"/>
                <a:gd name="connsiteX12" fmla="*/ 128823 w 162320"/>
                <a:gd name="connsiteY12" fmla="*/ 74418 h 114672"/>
                <a:gd name="connsiteX13" fmla="*/ 141491 w 162320"/>
                <a:gd name="connsiteY13" fmla="*/ 81752 h 114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2320" h="114672">
                  <a:moveTo>
                    <a:pt x="161970" y="93468"/>
                  </a:moveTo>
                  <a:lnTo>
                    <a:pt x="161970" y="96326"/>
                  </a:lnTo>
                  <a:cubicBezTo>
                    <a:pt x="162103" y="100078"/>
                    <a:pt x="161322" y="103803"/>
                    <a:pt x="159684" y="107184"/>
                  </a:cubicBezTo>
                  <a:cubicBezTo>
                    <a:pt x="158712" y="109232"/>
                    <a:pt x="157236" y="111004"/>
                    <a:pt x="155397" y="112328"/>
                  </a:cubicBezTo>
                  <a:lnTo>
                    <a:pt x="153302" y="113471"/>
                  </a:lnTo>
                  <a:cubicBezTo>
                    <a:pt x="147606" y="115433"/>
                    <a:pt x="141320" y="114585"/>
                    <a:pt x="136347" y="111185"/>
                  </a:cubicBezTo>
                  <a:lnTo>
                    <a:pt x="25286" y="47081"/>
                  </a:lnTo>
                  <a:cubicBezTo>
                    <a:pt x="10189" y="37137"/>
                    <a:pt x="692" y="20640"/>
                    <a:pt x="-336" y="2600"/>
                  </a:cubicBezTo>
                  <a:lnTo>
                    <a:pt x="-336" y="-163"/>
                  </a:lnTo>
                  <a:lnTo>
                    <a:pt x="14713" y="8505"/>
                  </a:lnTo>
                  <a:lnTo>
                    <a:pt x="25762" y="14887"/>
                  </a:lnTo>
                  <a:lnTo>
                    <a:pt x="37002" y="21364"/>
                  </a:lnTo>
                  <a:lnTo>
                    <a:pt x="128823" y="74418"/>
                  </a:lnTo>
                  <a:lnTo>
                    <a:pt x="141491" y="81752"/>
                  </a:lnTo>
                  <a:close/>
                </a:path>
              </a:pathLst>
            </a:custGeom>
            <a:solidFill>
              <a:srgbClr val="FF7D33"/>
            </a:solidFill>
            <a:ln w="9525" cap="flat">
              <a:noFill/>
              <a:prstDash val="solid"/>
              <a:miter/>
            </a:ln>
          </p:spPr>
          <p:txBody>
            <a:bodyPr rtlCol="0" anchor="ctr"/>
            <a:lstStyle/>
            <a:p>
              <a:endParaRPr lang="zh-CN" altLang="en-US"/>
            </a:p>
          </p:txBody>
        </p:sp>
        <p:sp>
          <p:nvSpPr>
            <p:cNvPr id="815" name="íŝḷïḍé">
              <a:extLst>
                <a:ext uri="{FF2B5EF4-FFF2-40B4-BE49-F238E27FC236}">
                  <a16:creationId xmlns:a16="http://schemas.microsoft.com/office/drawing/2014/main" id="{6AFEC9CC-894A-47C0-985B-FD3C9BC1FC42}"/>
                </a:ext>
              </a:extLst>
            </p:cNvPr>
            <p:cNvSpPr/>
            <p:nvPr/>
          </p:nvSpPr>
          <p:spPr>
            <a:xfrm>
              <a:off x="6669971" y="2930245"/>
              <a:ext cx="494337" cy="745707"/>
            </a:xfrm>
            <a:custGeom>
              <a:avLst/>
              <a:gdLst>
                <a:gd name="connsiteX0" fmla="*/ 162401 w 162401"/>
                <a:gd name="connsiteY0" fmla="*/ 93726 h 244982"/>
                <a:gd name="connsiteX1" fmla="*/ 162401 w 162401"/>
                <a:gd name="connsiteY1" fmla="*/ 244983 h 244982"/>
                <a:gd name="connsiteX2" fmla="*/ 141922 w 162401"/>
                <a:gd name="connsiteY2" fmla="*/ 233172 h 244982"/>
                <a:gd name="connsiteX3" fmla="*/ 129254 w 162401"/>
                <a:gd name="connsiteY3" fmla="*/ 225838 h 244982"/>
                <a:gd name="connsiteX4" fmla="*/ 37433 w 162401"/>
                <a:gd name="connsiteY4" fmla="*/ 172879 h 244982"/>
                <a:gd name="connsiteX5" fmla="*/ 26194 w 162401"/>
                <a:gd name="connsiteY5" fmla="*/ 166306 h 244982"/>
                <a:gd name="connsiteX6" fmla="*/ 15050 w 162401"/>
                <a:gd name="connsiteY6" fmla="*/ 159925 h 244982"/>
                <a:gd name="connsiteX7" fmla="*/ 0 w 162401"/>
                <a:gd name="connsiteY7" fmla="*/ 151257 h 244982"/>
                <a:gd name="connsiteX8" fmla="*/ 0 w 162401"/>
                <a:gd name="connsiteY8" fmla="*/ 0 h 244982"/>
                <a:gd name="connsiteX9" fmla="*/ 12859 w 162401"/>
                <a:gd name="connsiteY9" fmla="*/ 7429 h 244982"/>
                <a:gd name="connsiteX10" fmla="*/ 162401 w 162401"/>
                <a:gd name="connsiteY10" fmla="*/ 93726 h 244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2401" h="244982">
                  <a:moveTo>
                    <a:pt x="162401" y="93726"/>
                  </a:moveTo>
                  <a:lnTo>
                    <a:pt x="162401" y="244983"/>
                  </a:lnTo>
                  <a:lnTo>
                    <a:pt x="141922" y="233172"/>
                  </a:lnTo>
                  <a:lnTo>
                    <a:pt x="129254" y="225838"/>
                  </a:lnTo>
                  <a:lnTo>
                    <a:pt x="37433" y="172879"/>
                  </a:lnTo>
                  <a:lnTo>
                    <a:pt x="26194" y="166306"/>
                  </a:lnTo>
                  <a:lnTo>
                    <a:pt x="15050" y="159925"/>
                  </a:lnTo>
                  <a:lnTo>
                    <a:pt x="0" y="151257"/>
                  </a:lnTo>
                  <a:lnTo>
                    <a:pt x="0" y="0"/>
                  </a:lnTo>
                  <a:lnTo>
                    <a:pt x="12859" y="7429"/>
                  </a:lnTo>
                  <a:lnTo>
                    <a:pt x="162401" y="93726"/>
                  </a:lnTo>
                  <a:close/>
                </a:path>
              </a:pathLst>
            </a:custGeom>
            <a:solidFill>
              <a:srgbClr val="EDF4FF"/>
            </a:solidFill>
            <a:ln w="9525" cap="flat">
              <a:noFill/>
              <a:prstDash val="solid"/>
              <a:miter/>
            </a:ln>
          </p:spPr>
          <p:txBody>
            <a:bodyPr rtlCol="0" anchor="ctr"/>
            <a:lstStyle/>
            <a:p>
              <a:endParaRPr lang="zh-CN" altLang="en-US"/>
            </a:p>
          </p:txBody>
        </p:sp>
        <p:sp>
          <p:nvSpPr>
            <p:cNvPr id="816" name="îṡḻîḓè">
              <a:extLst>
                <a:ext uri="{FF2B5EF4-FFF2-40B4-BE49-F238E27FC236}">
                  <a16:creationId xmlns:a16="http://schemas.microsoft.com/office/drawing/2014/main" id="{D5F2D606-37C9-46BD-9EF7-160DAF41903B}"/>
                </a:ext>
              </a:extLst>
            </p:cNvPr>
            <p:cNvSpPr/>
            <p:nvPr/>
          </p:nvSpPr>
          <p:spPr>
            <a:xfrm>
              <a:off x="6809955" y="3127117"/>
              <a:ext cx="227363" cy="241797"/>
            </a:xfrm>
            <a:custGeom>
              <a:avLst/>
              <a:gdLst>
                <a:gd name="connsiteX0" fmla="*/ 74358 w 74694"/>
                <a:gd name="connsiteY0" fmla="*/ 69749 h 79436"/>
                <a:gd name="connsiteX1" fmla="*/ 73215 w 74694"/>
                <a:gd name="connsiteY1" fmla="*/ 79274 h 79436"/>
                <a:gd name="connsiteX2" fmla="*/ 65595 w 74694"/>
                <a:gd name="connsiteY2" fmla="*/ 74988 h 79436"/>
                <a:gd name="connsiteX3" fmla="*/ 67119 w 74694"/>
                <a:gd name="connsiteY3" fmla="*/ 65463 h 79436"/>
                <a:gd name="connsiteX4" fmla="*/ 62261 w 74694"/>
                <a:gd name="connsiteY4" fmla="*/ 43841 h 79436"/>
                <a:gd name="connsiteX5" fmla="*/ 11779 w 74694"/>
                <a:gd name="connsiteY5" fmla="*/ 14599 h 79436"/>
                <a:gd name="connsiteX6" fmla="*/ 6921 w 74694"/>
                <a:gd name="connsiteY6" fmla="*/ 30697 h 79436"/>
                <a:gd name="connsiteX7" fmla="*/ 8350 w 74694"/>
                <a:gd name="connsiteY7" fmla="*/ 42222 h 79436"/>
                <a:gd name="connsiteX8" fmla="*/ 825 w 74694"/>
                <a:gd name="connsiteY8" fmla="*/ 37840 h 79436"/>
                <a:gd name="connsiteX9" fmla="*/ -318 w 74694"/>
                <a:gd name="connsiteY9" fmla="*/ 26506 h 79436"/>
                <a:gd name="connsiteX10" fmla="*/ 3397 w 74694"/>
                <a:gd name="connsiteY10" fmla="*/ 9837 h 79436"/>
                <a:gd name="connsiteX11" fmla="*/ 37020 w 74694"/>
                <a:gd name="connsiteY11" fmla="*/ 4884 h 79436"/>
                <a:gd name="connsiteX12" fmla="*/ 70548 w 74694"/>
                <a:gd name="connsiteY12" fmla="*/ 48604 h 79436"/>
                <a:gd name="connsiteX13" fmla="*/ 74358 w 74694"/>
                <a:gd name="connsiteY13" fmla="*/ 69749 h 794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4694" h="79436">
                  <a:moveTo>
                    <a:pt x="74358" y="69749"/>
                  </a:moveTo>
                  <a:cubicBezTo>
                    <a:pt x="74320" y="72959"/>
                    <a:pt x="73929" y="76150"/>
                    <a:pt x="73215" y="79274"/>
                  </a:cubicBezTo>
                  <a:lnTo>
                    <a:pt x="65595" y="74988"/>
                  </a:lnTo>
                  <a:cubicBezTo>
                    <a:pt x="66605" y="71911"/>
                    <a:pt x="67119" y="68701"/>
                    <a:pt x="67119" y="65463"/>
                  </a:cubicBezTo>
                  <a:cubicBezTo>
                    <a:pt x="66957" y="58005"/>
                    <a:pt x="65309" y="50652"/>
                    <a:pt x="62261" y="43841"/>
                  </a:cubicBezTo>
                  <a:lnTo>
                    <a:pt x="11779" y="14599"/>
                  </a:lnTo>
                  <a:cubicBezTo>
                    <a:pt x="8350" y="19238"/>
                    <a:pt x="6626" y="24934"/>
                    <a:pt x="6921" y="30697"/>
                  </a:cubicBezTo>
                  <a:cubicBezTo>
                    <a:pt x="6940" y="34583"/>
                    <a:pt x="7416" y="38450"/>
                    <a:pt x="8350" y="42222"/>
                  </a:cubicBezTo>
                  <a:lnTo>
                    <a:pt x="825" y="37840"/>
                  </a:lnTo>
                  <a:cubicBezTo>
                    <a:pt x="82" y="34107"/>
                    <a:pt x="-299" y="30316"/>
                    <a:pt x="-318" y="26506"/>
                  </a:cubicBezTo>
                  <a:cubicBezTo>
                    <a:pt x="-509" y="20724"/>
                    <a:pt x="777" y="14990"/>
                    <a:pt x="3397" y="9837"/>
                  </a:cubicBezTo>
                  <a:cubicBezTo>
                    <a:pt x="9493" y="-1022"/>
                    <a:pt x="22447" y="-3593"/>
                    <a:pt x="37020" y="4884"/>
                  </a:cubicBezTo>
                  <a:cubicBezTo>
                    <a:pt x="52879" y="15180"/>
                    <a:pt x="64719" y="30611"/>
                    <a:pt x="70548" y="48604"/>
                  </a:cubicBezTo>
                  <a:cubicBezTo>
                    <a:pt x="73006" y="55385"/>
                    <a:pt x="74292" y="62539"/>
                    <a:pt x="74358" y="69749"/>
                  </a:cubicBezTo>
                  <a:close/>
                </a:path>
              </a:pathLst>
            </a:custGeom>
            <a:solidFill>
              <a:srgbClr val="D9530B"/>
            </a:solidFill>
            <a:ln w="9525" cap="flat">
              <a:noFill/>
              <a:prstDash val="solid"/>
              <a:miter/>
            </a:ln>
          </p:spPr>
          <p:txBody>
            <a:bodyPr rtlCol="0" anchor="ctr"/>
            <a:lstStyle/>
            <a:p>
              <a:endParaRPr lang="zh-CN" altLang="en-US"/>
            </a:p>
          </p:txBody>
        </p:sp>
        <p:sp>
          <p:nvSpPr>
            <p:cNvPr id="817" name="íSľidê">
              <a:extLst>
                <a:ext uri="{FF2B5EF4-FFF2-40B4-BE49-F238E27FC236}">
                  <a16:creationId xmlns:a16="http://schemas.microsoft.com/office/drawing/2014/main" id="{90748980-C0CC-4962-8706-CA228CC9CD60}"/>
                </a:ext>
              </a:extLst>
            </p:cNvPr>
            <p:cNvSpPr/>
            <p:nvPr/>
          </p:nvSpPr>
          <p:spPr>
            <a:xfrm>
              <a:off x="6783917" y="3350940"/>
              <a:ext cx="279493" cy="267028"/>
            </a:xfrm>
            <a:custGeom>
              <a:avLst/>
              <a:gdLst>
                <a:gd name="connsiteX0" fmla="*/ 91485 w 91820"/>
                <a:gd name="connsiteY0" fmla="*/ 87563 h 87725"/>
                <a:gd name="connsiteX1" fmla="*/ -336 w 91820"/>
                <a:gd name="connsiteY1" fmla="*/ 34508 h 87725"/>
                <a:gd name="connsiteX2" fmla="*/ 19952 w 91820"/>
                <a:gd name="connsiteY2" fmla="*/ 409 h 87725"/>
                <a:gd name="connsiteX3" fmla="*/ 25762 w 91820"/>
                <a:gd name="connsiteY3" fmla="*/ -163 h 87725"/>
                <a:gd name="connsiteX4" fmla="*/ 33096 w 91820"/>
                <a:gd name="connsiteY4" fmla="*/ 790 h 87725"/>
                <a:gd name="connsiteX5" fmla="*/ 35192 w 91820"/>
                <a:gd name="connsiteY5" fmla="*/ 1266 h 87725"/>
                <a:gd name="connsiteX6" fmla="*/ 45574 w 91820"/>
                <a:gd name="connsiteY6" fmla="*/ 9458 h 87725"/>
                <a:gd name="connsiteX7" fmla="*/ 55956 w 91820"/>
                <a:gd name="connsiteY7" fmla="*/ 13363 h 87725"/>
                <a:gd name="connsiteX8" fmla="*/ 58052 w 91820"/>
                <a:gd name="connsiteY8" fmla="*/ 15077 h 87725"/>
                <a:gd name="connsiteX9" fmla="*/ 65386 w 91820"/>
                <a:gd name="connsiteY9" fmla="*/ 22697 h 87725"/>
                <a:gd name="connsiteX10" fmla="*/ 71101 w 91820"/>
                <a:gd name="connsiteY10" fmla="*/ 29936 h 87725"/>
                <a:gd name="connsiteX11" fmla="*/ 91485 w 91820"/>
                <a:gd name="connsiteY11" fmla="*/ 87563 h 87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1820" h="87725">
                  <a:moveTo>
                    <a:pt x="91485" y="87563"/>
                  </a:moveTo>
                  <a:lnTo>
                    <a:pt x="-336" y="34508"/>
                  </a:lnTo>
                  <a:cubicBezTo>
                    <a:pt x="-336" y="15458"/>
                    <a:pt x="7760" y="3266"/>
                    <a:pt x="19952" y="409"/>
                  </a:cubicBezTo>
                  <a:cubicBezTo>
                    <a:pt x="21866" y="28"/>
                    <a:pt x="23809" y="-163"/>
                    <a:pt x="25762" y="-163"/>
                  </a:cubicBezTo>
                  <a:cubicBezTo>
                    <a:pt x="28239" y="-163"/>
                    <a:pt x="30705" y="152"/>
                    <a:pt x="33096" y="790"/>
                  </a:cubicBezTo>
                  <a:lnTo>
                    <a:pt x="35192" y="1266"/>
                  </a:lnTo>
                  <a:cubicBezTo>
                    <a:pt x="38240" y="4476"/>
                    <a:pt x="41736" y="7238"/>
                    <a:pt x="45574" y="9458"/>
                  </a:cubicBezTo>
                  <a:cubicBezTo>
                    <a:pt x="48755" y="11401"/>
                    <a:pt x="52280" y="12725"/>
                    <a:pt x="55956" y="13363"/>
                  </a:cubicBezTo>
                  <a:lnTo>
                    <a:pt x="58052" y="15077"/>
                  </a:lnTo>
                  <a:cubicBezTo>
                    <a:pt x="60528" y="17459"/>
                    <a:pt x="63005" y="19935"/>
                    <a:pt x="65386" y="22697"/>
                  </a:cubicBezTo>
                  <a:cubicBezTo>
                    <a:pt x="67415" y="25012"/>
                    <a:pt x="69329" y="27422"/>
                    <a:pt x="71101" y="29936"/>
                  </a:cubicBezTo>
                  <a:cubicBezTo>
                    <a:pt x="83550" y="46653"/>
                    <a:pt x="90656" y="66741"/>
                    <a:pt x="91485" y="87563"/>
                  </a:cubicBezTo>
                  <a:close/>
                </a:path>
              </a:pathLst>
            </a:custGeom>
            <a:solidFill>
              <a:srgbClr val="316DE6"/>
            </a:solidFill>
            <a:ln w="9525" cap="flat">
              <a:noFill/>
              <a:prstDash val="solid"/>
              <a:miter/>
            </a:ln>
          </p:spPr>
          <p:txBody>
            <a:bodyPr rtlCol="0" anchor="ctr"/>
            <a:lstStyle/>
            <a:p>
              <a:endParaRPr lang="zh-CN" altLang="en-US"/>
            </a:p>
          </p:txBody>
        </p:sp>
        <p:sp>
          <p:nvSpPr>
            <p:cNvPr id="818" name="iŝ1ïḓè">
              <a:extLst>
                <a:ext uri="{FF2B5EF4-FFF2-40B4-BE49-F238E27FC236}">
                  <a16:creationId xmlns:a16="http://schemas.microsoft.com/office/drawing/2014/main" id="{27EE3898-6F5E-44B1-94B8-FBF0CE8F53D9}"/>
                </a:ext>
              </a:extLst>
            </p:cNvPr>
            <p:cNvSpPr/>
            <p:nvPr/>
          </p:nvSpPr>
          <p:spPr>
            <a:xfrm>
              <a:off x="6831944" y="3171762"/>
              <a:ext cx="183336" cy="220411"/>
            </a:xfrm>
            <a:custGeom>
              <a:avLst/>
              <a:gdLst>
                <a:gd name="connsiteX0" fmla="*/ 59894 w 60230"/>
                <a:gd name="connsiteY0" fmla="*/ 50987 h 72410"/>
                <a:gd name="connsiteX1" fmla="*/ 58370 w 60230"/>
                <a:gd name="connsiteY1" fmla="*/ 60512 h 72410"/>
                <a:gd name="connsiteX2" fmla="*/ 40177 w 60230"/>
                <a:gd name="connsiteY2" fmla="*/ 71942 h 72410"/>
                <a:gd name="connsiteX3" fmla="*/ 29795 w 60230"/>
                <a:gd name="connsiteY3" fmla="*/ 68036 h 72410"/>
                <a:gd name="connsiteX4" fmla="*/ 19413 w 60230"/>
                <a:gd name="connsiteY4" fmla="*/ 59845 h 72410"/>
                <a:gd name="connsiteX5" fmla="*/ 1125 w 60230"/>
                <a:gd name="connsiteY5" fmla="*/ 27460 h 72410"/>
                <a:gd name="connsiteX6" fmla="*/ -304 w 60230"/>
                <a:gd name="connsiteY6" fmla="*/ 15935 h 72410"/>
                <a:gd name="connsiteX7" fmla="*/ 4554 w 60230"/>
                <a:gd name="connsiteY7" fmla="*/ -163 h 72410"/>
                <a:gd name="connsiteX8" fmla="*/ 55037 w 60230"/>
                <a:gd name="connsiteY8" fmla="*/ 29079 h 72410"/>
                <a:gd name="connsiteX9" fmla="*/ 59894 w 60230"/>
                <a:gd name="connsiteY9" fmla="*/ 50987 h 72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0230" h="72410">
                  <a:moveTo>
                    <a:pt x="59894" y="50987"/>
                  </a:moveTo>
                  <a:cubicBezTo>
                    <a:pt x="59894" y="54225"/>
                    <a:pt x="59380" y="57435"/>
                    <a:pt x="58370" y="60512"/>
                  </a:cubicBezTo>
                  <a:cubicBezTo>
                    <a:pt x="56303" y="68551"/>
                    <a:pt x="48312" y="73570"/>
                    <a:pt x="40177" y="71942"/>
                  </a:cubicBezTo>
                  <a:cubicBezTo>
                    <a:pt x="36501" y="71303"/>
                    <a:pt x="32977" y="69979"/>
                    <a:pt x="29795" y="68036"/>
                  </a:cubicBezTo>
                  <a:cubicBezTo>
                    <a:pt x="25957" y="65817"/>
                    <a:pt x="22461" y="63055"/>
                    <a:pt x="19413" y="59845"/>
                  </a:cubicBezTo>
                  <a:cubicBezTo>
                    <a:pt x="10564" y="50853"/>
                    <a:pt x="4259" y="39680"/>
                    <a:pt x="1125" y="27460"/>
                  </a:cubicBezTo>
                  <a:cubicBezTo>
                    <a:pt x="191" y="23688"/>
                    <a:pt x="-285" y="19821"/>
                    <a:pt x="-304" y="15935"/>
                  </a:cubicBezTo>
                  <a:cubicBezTo>
                    <a:pt x="-599" y="10172"/>
                    <a:pt x="1125" y="4476"/>
                    <a:pt x="4554" y="-163"/>
                  </a:cubicBezTo>
                  <a:lnTo>
                    <a:pt x="55037" y="29079"/>
                  </a:lnTo>
                  <a:cubicBezTo>
                    <a:pt x="58123" y="35975"/>
                    <a:pt x="59770" y="43433"/>
                    <a:pt x="59894" y="50987"/>
                  </a:cubicBezTo>
                  <a:close/>
                </a:path>
              </a:pathLst>
            </a:custGeom>
            <a:solidFill>
              <a:srgbClr val="FFB4A1"/>
            </a:solidFill>
            <a:ln w="9525" cap="flat">
              <a:noFill/>
              <a:prstDash val="solid"/>
              <a:miter/>
            </a:ln>
          </p:spPr>
          <p:txBody>
            <a:bodyPr rtlCol="0" anchor="ctr"/>
            <a:lstStyle/>
            <a:p>
              <a:endParaRPr lang="zh-CN" altLang="en-US"/>
            </a:p>
          </p:txBody>
        </p:sp>
        <p:sp>
          <p:nvSpPr>
            <p:cNvPr id="819" name="išļiḍê">
              <a:extLst>
                <a:ext uri="{FF2B5EF4-FFF2-40B4-BE49-F238E27FC236}">
                  <a16:creationId xmlns:a16="http://schemas.microsoft.com/office/drawing/2014/main" id="{AF998AC8-7F03-4245-B791-5F03F65A5F5A}"/>
                </a:ext>
              </a:extLst>
            </p:cNvPr>
            <p:cNvSpPr/>
            <p:nvPr/>
          </p:nvSpPr>
          <p:spPr>
            <a:xfrm>
              <a:off x="7048915" y="3088934"/>
              <a:ext cx="80116" cy="105728"/>
            </a:xfrm>
            <a:custGeom>
              <a:avLst/>
              <a:gdLst>
                <a:gd name="connsiteX0" fmla="*/ 25953 w 26320"/>
                <a:gd name="connsiteY0" fmla="*/ 23523 h 34734"/>
                <a:gd name="connsiteX1" fmla="*/ 22429 w 26320"/>
                <a:gd name="connsiteY1" fmla="*/ 31715 h 34734"/>
                <a:gd name="connsiteX2" fmla="*/ 17475 w 26320"/>
                <a:gd name="connsiteY2" fmla="*/ 34572 h 34734"/>
                <a:gd name="connsiteX3" fmla="*/ 19380 w 26320"/>
                <a:gd name="connsiteY3" fmla="*/ 32572 h 34734"/>
                <a:gd name="connsiteX4" fmla="*/ 21000 w 26320"/>
                <a:gd name="connsiteY4" fmla="*/ 26381 h 34734"/>
                <a:gd name="connsiteX5" fmla="*/ 8331 w 26320"/>
                <a:gd name="connsiteY5" fmla="*/ 4378 h 34734"/>
                <a:gd name="connsiteX6" fmla="*/ 2140 w 26320"/>
                <a:gd name="connsiteY6" fmla="*/ 2664 h 34734"/>
                <a:gd name="connsiteX7" fmla="*/ -336 w 26320"/>
                <a:gd name="connsiteY7" fmla="*/ 3330 h 34734"/>
                <a:gd name="connsiteX8" fmla="*/ 3855 w 26320"/>
                <a:gd name="connsiteY8" fmla="*/ 949 h 34734"/>
                <a:gd name="connsiteX9" fmla="*/ 3855 w 26320"/>
                <a:gd name="connsiteY9" fmla="*/ 949 h 34734"/>
                <a:gd name="connsiteX10" fmla="*/ 4712 w 26320"/>
                <a:gd name="connsiteY10" fmla="*/ 378 h 34734"/>
                <a:gd name="connsiteX11" fmla="*/ 13284 w 26320"/>
                <a:gd name="connsiteY11" fmla="*/ 1521 h 34734"/>
                <a:gd name="connsiteX12" fmla="*/ 25953 w 26320"/>
                <a:gd name="connsiteY12" fmla="*/ 23523 h 34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320" h="34734">
                  <a:moveTo>
                    <a:pt x="25953" y="23523"/>
                  </a:moveTo>
                  <a:cubicBezTo>
                    <a:pt x="26210" y="26667"/>
                    <a:pt x="24886" y="29734"/>
                    <a:pt x="22429" y="31715"/>
                  </a:cubicBezTo>
                  <a:lnTo>
                    <a:pt x="17475" y="34572"/>
                  </a:lnTo>
                  <a:cubicBezTo>
                    <a:pt x="18266" y="34077"/>
                    <a:pt x="18923" y="33391"/>
                    <a:pt x="19380" y="32572"/>
                  </a:cubicBezTo>
                  <a:cubicBezTo>
                    <a:pt x="20533" y="30715"/>
                    <a:pt x="21095" y="28562"/>
                    <a:pt x="21000" y="26381"/>
                  </a:cubicBezTo>
                  <a:cubicBezTo>
                    <a:pt x="20447" y="17475"/>
                    <a:pt x="15761" y="9331"/>
                    <a:pt x="8331" y="4378"/>
                  </a:cubicBezTo>
                  <a:cubicBezTo>
                    <a:pt x="6464" y="3254"/>
                    <a:pt x="4322" y="2664"/>
                    <a:pt x="2140" y="2664"/>
                  </a:cubicBezTo>
                  <a:cubicBezTo>
                    <a:pt x="1283" y="2740"/>
                    <a:pt x="445" y="2968"/>
                    <a:pt x="-336" y="3330"/>
                  </a:cubicBezTo>
                  <a:lnTo>
                    <a:pt x="3855" y="949"/>
                  </a:lnTo>
                  <a:lnTo>
                    <a:pt x="3855" y="949"/>
                  </a:lnTo>
                  <a:lnTo>
                    <a:pt x="4712" y="378"/>
                  </a:lnTo>
                  <a:cubicBezTo>
                    <a:pt x="7588" y="-632"/>
                    <a:pt x="10779" y="-213"/>
                    <a:pt x="13284" y="1521"/>
                  </a:cubicBezTo>
                  <a:cubicBezTo>
                    <a:pt x="20790" y="6397"/>
                    <a:pt x="25505" y="14579"/>
                    <a:pt x="25953" y="23523"/>
                  </a:cubicBezTo>
                  <a:close/>
                </a:path>
              </a:pathLst>
            </a:custGeom>
            <a:solidFill>
              <a:srgbClr val="BF4200"/>
            </a:solidFill>
            <a:ln w="9525" cap="flat">
              <a:noFill/>
              <a:prstDash val="solid"/>
              <a:miter/>
            </a:ln>
          </p:spPr>
          <p:txBody>
            <a:bodyPr rtlCol="0" anchor="ctr"/>
            <a:lstStyle/>
            <a:p>
              <a:endParaRPr lang="zh-CN" altLang="en-US"/>
            </a:p>
          </p:txBody>
        </p:sp>
        <p:sp>
          <p:nvSpPr>
            <p:cNvPr id="820" name="iṥḷîďê">
              <a:extLst>
                <a:ext uri="{FF2B5EF4-FFF2-40B4-BE49-F238E27FC236}">
                  <a16:creationId xmlns:a16="http://schemas.microsoft.com/office/drawing/2014/main" id="{0FFA7302-59BD-4A1B-99D0-7449B4960359}"/>
                </a:ext>
              </a:extLst>
            </p:cNvPr>
            <p:cNvSpPr/>
            <p:nvPr/>
          </p:nvSpPr>
          <p:spPr>
            <a:xfrm>
              <a:off x="7035218" y="3097539"/>
              <a:ext cx="78670" cy="100237"/>
            </a:xfrm>
            <a:custGeom>
              <a:avLst/>
              <a:gdLst>
                <a:gd name="connsiteX0" fmla="*/ 25499 w 25845"/>
                <a:gd name="connsiteY0" fmla="*/ 23555 h 32930"/>
                <a:gd name="connsiteX1" fmla="*/ 23880 w 25845"/>
                <a:gd name="connsiteY1" fmla="*/ 29746 h 32930"/>
                <a:gd name="connsiteX2" fmla="*/ 21975 w 25845"/>
                <a:gd name="connsiteY2" fmla="*/ 31746 h 32930"/>
                <a:gd name="connsiteX3" fmla="*/ 12450 w 25845"/>
                <a:gd name="connsiteY3" fmla="*/ 30889 h 32930"/>
                <a:gd name="connsiteX4" fmla="*/ -313 w 25845"/>
                <a:gd name="connsiteY4" fmla="*/ 8886 h 32930"/>
                <a:gd name="connsiteX5" fmla="*/ 3020 w 25845"/>
                <a:gd name="connsiteY5" fmla="*/ 980 h 32930"/>
                <a:gd name="connsiteX6" fmla="*/ 3020 w 25845"/>
                <a:gd name="connsiteY6" fmla="*/ 980 h 32930"/>
                <a:gd name="connsiteX7" fmla="*/ 3782 w 25845"/>
                <a:gd name="connsiteY7" fmla="*/ 504 h 32930"/>
                <a:gd name="connsiteX8" fmla="*/ 6259 w 25845"/>
                <a:gd name="connsiteY8" fmla="*/ -163 h 32930"/>
                <a:gd name="connsiteX9" fmla="*/ 12450 w 25845"/>
                <a:gd name="connsiteY9" fmla="*/ 1552 h 32930"/>
                <a:gd name="connsiteX10" fmla="*/ 25499 w 25845"/>
                <a:gd name="connsiteY10" fmla="*/ 23555 h 329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5845" h="32930">
                  <a:moveTo>
                    <a:pt x="25499" y="23555"/>
                  </a:moveTo>
                  <a:cubicBezTo>
                    <a:pt x="25595" y="25736"/>
                    <a:pt x="25033" y="27888"/>
                    <a:pt x="23880" y="29746"/>
                  </a:cubicBezTo>
                  <a:cubicBezTo>
                    <a:pt x="23423" y="30565"/>
                    <a:pt x="22766" y="31251"/>
                    <a:pt x="21975" y="31746"/>
                  </a:cubicBezTo>
                  <a:cubicBezTo>
                    <a:pt x="18908" y="33375"/>
                    <a:pt x="15174" y="33032"/>
                    <a:pt x="12450" y="30889"/>
                  </a:cubicBezTo>
                  <a:cubicBezTo>
                    <a:pt x="4916" y="26022"/>
                    <a:pt x="172" y="17840"/>
                    <a:pt x="-313" y="8886"/>
                  </a:cubicBezTo>
                  <a:cubicBezTo>
                    <a:pt x="-523" y="5867"/>
                    <a:pt x="715" y="2933"/>
                    <a:pt x="3020" y="980"/>
                  </a:cubicBezTo>
                  <a:lnTo>
                    <a:pt x="3020" y="980"/>
                  </a:lnTo>
                  <a:lnTo>
                    <a:pt x="3782" y="504"/>
                  </a:lnTo>
                  <a:cubicBezTo>
                    <a:pt x="4563" y="142"/>
                    <a:pt x="5402" y="-86"/>
                    <a:pt x="6259" y="-163"/>
                  </a:cubicBezTo>
                  <a:cubicBezTo>
                    <a:pt x="8440" y="-163"/>
                    <a:pt x="10583" y="428"/>
                    <a:pt x="12450" y="1552"/>
                  </a:cubicBezTo>
                  <a:cubicBezTo>
                    <a:pt x="20023" y="6419"/>
                    <a:pt x="24861" y="14573"/>
                    <a:pt x="25499" y="23555"/>
                  </a:cubicBezTo>
                  <a:close/>
                </a:path>
              </a:pathLst>
            </a:custGeom>
            <a:solidFill>
              <a:srgbClr val="D9530B"/>
            </a:solidFill>
            <a:ln w="9525" cap="flat">
              <a:noFill/>
              <a:prstDash val="solid"/>
              <a:miter/>
            </a:ln>
          </p:spPr>
          <p:txBody>
            <a:bodyPr rtlCol="0" anchor="ctr"/>
            <a:lstStyle/>
            <a:p>
              <a:endParaRPr lang="zh-CN" altLang="en-US"/>
            </a:p>
          </p:txBody>
        </p:sp>
        <p:sp>
          <p:nvSpPr>
            <p:cNvPr id="821" name="í$ḷîde">
              <a:extLst>
                <a:ext uri="{FF2B5EF4-FFF2-40B4-BE49-F238E27FC236}">
                  <a16:creationId xmlns:a16="http://schemas.microsoft.com/office/drawing/2014/main" id="{265F52D0-5DDF-4A08-8A31-F429559AA622}"/>
                </a:ext>
              </a:extLst>
            </p:cNvPr>
            <p:cNvSpPr/>
            <p:nvPr/>
          </p:nvSpPr>
          <p:spPr>
            <a:xfrm>
              <a:off x="5661292" y="2264030"/>
              <a:ext cx="830368" cy="1632674"/>
            </a:xfrm>
            <a:custGeom>
              <a:avLst/>
              <a:gdLst>
                <a:gd name="connsiteX0" fmla="*/ -336 w 272795"/>
                <a:gd name="connsiteY0" fmla="*/ 357674 h 536371"/>
                <a:gd name="connsiteX1" fmla="*/ -336 w 272795"/>
                <a:gd name="connsiteY1" fmla="*/ 20966 h 536371"/>
                <a:gd name="connsiteX2" fmla="*/ 29096 w 272795"/>
                <a:gd name="connsiteY2" fmla="*/ 3916 h 536371"/>
                <a:gd name="connsiteX3" fmla="*/ 243027 w 272795"/>
                <a:gd name="connsiteY3" fmla="*/ 127455 h 536371"/>
                <a:gd name="connsiteX4" fmla="*/ 272460 w 272795"/>
                <a:gd name="connsiteY4" fmla="*/ 178509 h 536371"/>
                <a:gd name="connsiteX5" fmla="*/ 272460 w 272795"/>
                <a:gd name="connsiteY5" fmla="*/ 515123 h 536371"/>
                <a:gd name="connsiteX6" fmla="*/ 243027 w 272795"/>
                <a:gd name="connsiteY6" fmla="*/ 532172 h 536371"/>
                <a:gd name="connsiteX7" fmla="*/ 29191 w 272795"/>
                <a:gd name="connsiteY7" fmla="*/ 408347 h 536371"/>
                <a:gd name="connsiteX8" fmla="*/ -336 w 272795"/>
                <a:gd name="connsiteY8" fmla="*/ 357674 h 536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2795" h="536371">
                  <a:moveTo>
                    <a:pt x="-336" y="357674"/>
                  </a:moveTo>
                  <a:lnTo>
                    <a:pt x="-336" y="20966"/>
                  </a:lnTo>
                  <a:cubicBezTo>
                    <a:pt x="-336" y="1916"/>
                    <a:pt x="12808" y="-5514"/>
                    <a:pt x="29096" y="3916"/>
                  </a:cubicBezTo>
                  <a:lnTo>
                    <a:pt x="243027" y="127455"/>
                  </a:lnTo>
                  <a:cubicBezTo>
                    <a:pt x="260411" y="138809"/>
                    <a:pt x="271345" y="157773"/>
                    <a:pt x="272460" y="178509"/>
                  </a:cubicBezTo>
                  <a:lnTo>
                    <a:pt x="272460" y="515123"/>
                  </a:lnTo>
                  <a:cubicBezTo>
                    <a:pt x="272460" y="534173"/>
                    <a:pt x="259315" y="541507"/>
                    <a:pt x="243027" y="532172"/>
                  </a:cubicBezTo>
                  <a:lnTo>
                    <a:pt x="29191" y="408347"/>
                  </a:lnTo>
                  <a:cubicBezTo>
                    <a:pt x="11875" y="397089"/>
                    <a:pt x="921" y="378286"/>
                    <a:pt x="-336" y="357674"/>
                  </a:cubicBezTo>
                  <a:close/>
                </a:path>
              </a:pathLst>
            </a:custGeom>
            <a:solidFill>
              <a:srgbClr val="D1D9E8"/>
            </a:solidFill>
            <a:ln w="9525" cap="flat">
              <a:noFill/>
              <a:prstDash val="solid"/>
              <a:miter/>
            </a:ln>
          </p:spPr>
          <p:txBody>
            <a:bodyPr rtlCol="0" anchor="ctr"/>
            <a:lstStyle/>
            <a:p>
              <a:endParaRPr lang="zh-CN" altLang="en-US"/>
            </a:p>
          </p:txBody>
        </p:sp>
        <p:sp>
          <p:nvSpPr>
            <p:cNvPr id="822" name="iṩļíḍê">
              <a:extLst>
                <a:ext uri="{FF2B5EF4-FFF2-40B4-BE49-F238E27FC236}">
                  <a16:creationId xmlns:a16="http://schemas.microsoft.com/office/drawing/2014/main" id="{8C056275-4AD6-4C10-AAC2-85CA85873F13}"/>
                </a:ext>
              </a:extLst>
            </p:cNvPr>
            <p:cNvSpPr/>
            <p:nvPr/>
          </p:nvSpPr>
          <p:spPr>
            <a:xfrm>
              <a:off x="5643026" y="2274595"/>
              <a:ext cx="830368" cy="1633834"/>
            </a:xfrm>
            <a:custGeom>
              <a:avLst/>
              <a:gdLst>
                <a:gd name="connsiteX0" fmla="*/ -336 w 272795"/>
                <a:gd name="connsiteY0" fmla="*/ 357633 h 536752"/>
                <a:gd name="connsiteX1" fmla="*/ -336 w 272795"/>
                <a:gd name="connsiteY1" fmla="*/ 20924 h 536752"/>
                <a:gd name="connsiteX2" fmla="*/ 29191 w 272795"/>
                <a:gd name="connsiteY2" fmla="*/ 3874 h 536752"/>
                <a:gd name="connsiteX3" fmla="*/ 242932 w 272795"/>
                <a:gd name="connsiteY3" fmla="*/ 127699 h 536752"/>
                <a:gd name="connsiteX4" fmla="*/ 272460 w 272795"/>
                <a:gd name="connsiteY4" fmla="*/ 178753 h 536752"/>
                <a:gd name="connsiteX5" fmla="*/ 272460 w 272795"/>
                <a:gd name="connsiteY5" fmla="*/ 515462 h 536752"/>
                <a:gd name="connsiteX6" fmla="*/ 242932 w 272795"/>
                <a:gd name="connsiteY6" fmla="*/ 532512 h 536752"/>
                <a:gd name="connsiteX7" fmla="*/ 29191 w 272795"/>
                <a:gd name="connsiteY7" fmla="*/ 408687 h 536752"/>
                <a:gd name="connsiteX8" fmla="*/ -336 w 272795"/>
                <a:gd name="connsiteY8" fmla="*/ 357633 h 5367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2795" h="536752">
                  <a:moveTo>
                    <a:pt x="-336" y="357633"/>
                  </a:moveTo>
                  <a:lnTo>
                    <a:pt x="-336" y="20924"/>
                  </a:lnTo>
                  <a:cubicBezTo>
                    <a:pt x="-336" y="1874"/>
                    <a:pt x="12903" y="-5460"/>
                    <a:pt x="29191" y="3874"/>
                  </a:cubicBezTo>
                  <a:lnTo>
                    <a:pt x="242932" y="127699"/>
                  </a:lnTo>
                  <a:cubicBezTo>
                    <a:pt x="260344" y="139043"/>
                    <a:pt x="271307" y="158008"/>
                    <a:pt x="272460" y="178753"/>
                  </a:cubicBezTo>
                  <a:lnTo>
                    <a:pt x="272460" y="515462"/>
                  </a:lnTo>
                  <a:cubicBezTo>
                    <a:pt x="272460" y="534512"/>
                    <a:pt x="259220" y="541941"/>
                    <a:pt x="242932" y="532512"/>
                  </a:cubicBezTo>
                  <a:lnTo>
                    <a:pt x="29191" y="408687"/>
                  </a:lnTo>
                  <a:cubicBezTo>
                    <a:pt x="11780" y="397342"/>
                    <a:pt x="816" y="378378"/>
                    <a:pt x="-336" y="357633"/>
                  </a:cubicBezTo>
                  <a:close/>
                </a:path>
              </a:pathLst>
            </a:custGeom>
            <a:solidFill>
              <a:srgbClr val="EDF4FF"/>
            </a:solidFill>
            <a:ln w="9525" cap="flat">
              <a:noFill/>
              <a:prstDash val="solid"/>
              <a:miter/>
            </a:ln>
          </p:spPr>
          <p:txBody>
            <a:bodyPr rtlCol="0" anchor="ctr"/>
            <a:lstStyle/>
            <a:p>
              <a:endParaRPr lang="zh-CN" altLang="en-US"/>
            </a:p>
          </p:txBody>
        </p:sp>
        <p:sp>
          <p:nvSpPr>
            <p:cNvPr id="823" name="ïş1íḍe">
              <a:extLst>
                <a:ext uri="{FF2B5EF4-FFF2-40B4-BE49-F238E27FC236}">
                  <a16:creationId xmlns:a16="http://schemas.microsoft.com/office/drawing/2014/main" id="{B5F245E8-E8BA-46C7-A37C-C6EBF002BE92}"/>
                </a:ext>
              </a:extLst>
            </p:cNvPr>
            <p:cNvSpPr/>
            <p:nvPr/>
          </p:nvSpPr>
          <p:spPr>
            <a:xfrm>
              <a:off x="5963819" y="2599522"/>
              <a:ext cx="431315" cy="268967"/>
            </a:xfrm>
            <a:custGeom>
              <a:avLst/>
              <a:gdLst>
                <a:gd name="connsiteX0" fmla="*/ 134115 w 141697"/>
                <a:gd name="connsiteY0" fmla="*/ 88009 h 88362"/>
                <a:gd name="connsiteX1" fmla="*/ 130400 w 141697"/>
                <a:gd name="connsiteY1" fmla="*/ 87057 h 88362"/>
                <a:gd name="connsiteX2" fmla="*/ 2670 w 141697"/>
                <a:gd name="connsiteY2" fmla="*/ 13238 h 88362"/>
                <a:gd name="connsiteX3" fmla="*/ 1127 w 141697"/>
                <a:gd name="connsiteY3" fmla="*/ 2846 h 88362"/>
                <a:gd name="connsiteX4" fmla="*/ 10100 w 141697"/>
                <a:gd name="connsiteY4" fmla="*/ 474 h 88362"/>
                <a:gd name="connsiteX5" fmla="*/ 137735 w 141697"/>
                <a:gd name="connsiteY5" fmla="*/ 74388 h 88362"/>
                <a:gd name="connsiteX6" fmla="*/ 140316 w 141697"/>
                <a:gd name="connsiteY6" fmla="*/ 84571 h 88362"/>
                <a:gd name="connsiteX7" fmla="*/ 134020 w 141697"/>
                <a:gd name="connsiteY7" fmla="*/ 88200 h 883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1697" h="88362">
                  <a:moveTo>
                    <a:pt x="134115" y="88009"/>
                  </a:moveTo>
                  <a:cubicBezTo>
                    <a:pt x="132820" y="88009"/>
                    <a:pt x="131544" y="87685"/>
                    <a:pt x="130400" y="87057"/>
                  </a:cubicBezTo>
                  <a:lnTo>
                    <a:pt x="2670" y="13238"/>
                  </a:lnTo>
                  <a:cubicBezTo>
                    <a:pt x="-625" y="10800"/>
                    <a:pt x="-1321" y="6142"/>
                    <a:pt x="1127" y="2846"/>
                  </a:cubicBezTo>
                  <a:cubicBezTo>
                    <a:pt x="3194" y="55"/>
                    <a:pt x="6918" y="-935"/>
                    <a:pt x="10100" y="474"/>
                  </a:cubicBezTo>
                  <a:lnTo>
                    <a:pt x="137735" y="74388"/>
                  </a:lnTo>
                  <a:cubicBezTo>
                    <a:pt x="141259" y="76493"/>
                    <a:pt x="142412" y="81046"/>
                    <a:pt x="140316" y="84571"/>
                  </a:cubicBezTo>
                  <a:cubicBezTo>
                    <a:pt x="138992" y="86799"/>
                    <a:pt x="136611" y="88171"/>
                    <a:pt x="134020" y="88200"/>
                  </a:cubicBezTo>
                  <a:close/>
                </a:path>
              </a:pathLst>
            </a:custGeom>
            <a:solidFill>
              <a:srgbClr val="D1D9E8"/>
            </a:solidFill>
            <a:ln w="9525" cap="flat">
              <a:noFill/>
              <a:prstDash val="solid"/>
              <a:miter/>
            </a:ln>
          </p:spPr>
          <p:txBody>
            <a:bodyPr rtlCol="0" anchor="ctr"/>
            <a:lstStyle/>
            <a:p>
              <a:endParaRPr lang="zh-CN" altLang="en-US"/>
            </a:p>
          </p:txBody>
        </p:sp>
        <p:sp>
          <p:nvSpPr>
            <p:cNvPr id="824" name="iṩḻíḓè">
              <a:extLst>
                <a:ext uri="{FF2B5EF4-FFF2-40B4-BE49-F238E27FC236}">
                  <a16:creationId xmlns:a16="http://schemas.microsoft.com/office/drawing/2014/main" id="{993562D3-3035-4D56-B631-75DD1C92C6F3}"/>
                </a:ext>
              </a:extLst>
            </p:cNvPr>
            <p:cNvSpPr/>
            <p:nvPr/>
          </p:nvSpPr>
          <p:spPr>
            <a:xfrm>
              <a:off x="5962318" y="2676789"/>
              <a:ext cx="433108" cy="269111"/>
            </a:xfrm>
            <a:custGeom>
              <a:avLst/>
              <a:gdLst>
                <a:gd name="connsiteX0" fmla="*/ 134608 w 142286"/>
                <a:gd name="connsiteY0" fmla="*/ 88247 h 88409"/>
                <a:gd name="connsiteX1" fmla="*/ 130893 w 142286"/>
                <a:gd name="connsiteY1" fmla="*/ 87295 h 88409"/>
                <a:gd name="connsiteX2" fmla="*/ 3163 w 142286"/>
                <a:gd name="connsiteY2" fmla="*/ 13571 h 88409"/>
                <a:gd name="connsiteX3" fmla="*/ 792 w 142286"/>
                <a:gd name="connsiteY3" fmla="*/ 3341 h 88409"/>
                <a:gd name="connsiteX4" fmla="*/ 10593 w 142286"/>
                <a:gd name="connsiteY4" fmla="*/ 713 h 88409"/>
                <a:gd name="connsiteX5" fmla="*/ 138323 w 142286"/>
                <a:gd name="connsiteY5" fmla="*/ 74436 h 88409"/>
                <a:gd name="connsiteX6" fmla="*/ 140905 w 142286"/>
                <a:gd name="connsiteY6" fmla="*/ 84618 h 88409"/>
                <a:gd name="connsiteX7" fmla="*/ 134608 w 142286"/>
                <a:gd name="connsiteY7" fmla="*/ 88247 h 88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2286" h="88409">
                  <a:moveTo>
                    <a:pt x="134608" y="88247"/>
                  </a:moveTo>
                  <a:cubicBezTo>
                    <a:pt x="133313" y="88247"/>
                    <a:pt x="132037" y="87923"/>
                    <a:pt x="130893" y="87295"/>
                  </a:cubicBezTo>
                  <a:lnTo>
                    <a:pt x="3163" y="13571"/>
                  </a:lnTo>
                  <a:cubicBezTo>
                    <a:pt x="-323" y="11400"/>
                    <a:pt x="-1380" y="6818"/>
                    <a:pt x="792" y="3341"/>
                  </a:cubicBezTo>
                  <a:cubicBezTo>
                    <a:pt x="2859" y="17"/>
                    <a:pt x="7145" y="-1126"/>
                    <a:pt x="10593" y="713"/>
                  </a:cubicBezTo>
                  <a:lnTo>
                    <a:pt x="138323" y="74436"/>
                  </a:lnTo>
                  <a:cubicBezTo>
                    <a:pt x="141847" y="76541"/>
                    <a:pt x="143000" y="81094"/>
                    <a:pt x="140905" y="84618"/>
                  </a:cubicBezTo>
                  <a:cubicBezTo>
                    <a:pt x="139580" y="86847"/>
                    <a:pt x="137199" y="88219"/>
                    <a:pt x="134608" y="88247"/>
                  </a:cubicBezTo>
                  <a:close/>
                </a:path>
              </a:pathLst>
            </a:custGeom>
            <a:solidFill>
              <a:srgbClr val="D1D9E8"/>
            </a:solidFill>
            <a:ln w="9525" cap="flat">
              <a:noFill/>
              <a:prstDash val="solid"/>
              <a:miter/>
            </a:ln>
          </p:spPr>
          <p:txBody>
            <a:bodyPr rtlCol="0" anchor="ctr"/>
            <a:lstStyle/>
            <a:p>
              <a:endParaRPr lang="zh-CN" altLang="en-US"/>
            </a:p>
          </p:txBody>
        </p:sp>
        <p:sp>
          <p:nvSpPr>
            <p:cNvPr id="825" name="iŝḻiḑe">
              <a:extLst>
                <a:ext uri="{FF2B5EF4-FFF2-40B4-BE49-F238E27FC236}">
                  <a16:creationId xmlns:a16="http://schemas.microsoft.com/office/drawing/2014/main" id="{64F59885-A00C-472A-B6A7-DB5AAC53509D}"/>
                </a:ext>
              </a:extLst>
            </p:cNvPr>
            <p:cNvSpPr/>
            <p:nvPr/>
          </p:nvSpPr>
          <p:spPr>
            <a:xfrm>
              <a:off x="5716743" y="3357576"/>
              <a:ext cx="433985" cy="269668"/>
            </a:xfrm>
            <a:custGeom>
              <a:avLst/>
              <a:gdLst>
                <a:gd name="connsiteX0" fmla="*/ 134798 w 142574"/>
                <a:gd name="connsiteY0" fmla="*/ 88430 h 88592"/>
                <a:gd name="connsiteX1" fmla="*/ 131084 w 142574"/>
                <a:gd name="connsiteY1" fmla="*/ 87383 h 88592"/>
                <a:gd name="connsiteX2" fmla="*/ 3353 w 142574"/>
                <a:gd name="connsiteY2" fmla="*/ 13659 h 88592"/>
                <a:gd name="connsiteX3" fmla="*/ 639 w 142574"/>
                <a:gd name="connsiteY3" fmla="*/ 3648 h 88592"/>
                <a:gd name="connsiteX4" fmla="*/ 686 w 142574"/>
                <a:gd name="connsiteY4" fmla="*/ 3563 h 88592"/>
                <a:gd name="connsiteX5" fmla="*/ 10783 w 142574"/>
                <a:gd name="connsiteY5" fmla="*/ 800 h 88592"/>
                <a:gd name="connsiteX6" fmla="*/ 138513 w 142574"/>
                <a:gd name="connsiteY6" fmla="*/ 74619 h 88592"/>
                <a:gd name="connsiteX7" fmla="*/ 141275 w 142574"/>
                <a:gd name="connsiteY7" fmla="*/ 84716 h 88592"/>
                <a:gd name="connsiteX8" fmla="*/ 134798 w 142574"/>
                <a:gd name="connsiteY8" fmla="*/ 88430 h 885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574" h="88592">
                  <a:moveTo>
                    <a:pt x="134798" y="88430"/>
                  </a:moveTo>
                  <a:cubicBezTo>
                    <a:pt x="133493" y="88402"/>
                    <a:pt x="132217" y="88040"/>
                    <a:pt x="131084" y="87383"/>
                  </a:cubicBezTo>
                  <a:lnTo>
                    <a:pt x="3353" y="13659"/>
                  </a:lnTo>
                  <a:cubicBezTo>
                    <a:pt x="-161" y="11649"/>
                    <a:pt x="-1381" y="7163"/>
                    <a:pt x="639" y="3648"/>
                  </a:cubicBezTo>
                  <a:cubicBezTo>
                    <a:pt x="648" y="3620"/>
                    <a:pt x="667" y="3591"/>
                    <a:pt x="686" y="3563"/>
                  </a:cubicBezTo>
                  <a:cubicBezTo>
                    <a:pt x="2725" y="29"/>
                    <a:pt x="7230" y="-1209"/>
                    <a:pt x="10783" y="800"/>
                  </a:cubicBezTo>
                  <a:lnTo>
                    <a:pt x="138513" y="74619"/>
                  </a:lnTo>
                  <a:cubicBezTo>
                    <a:pt x="142047" y="76658"/>
                    <a:pt x="143285" y="81163"/>
                    <a:pt x="141275" y="84716"/>
                  </a:cubicBezTo>
                  <a:cubicBezTo>
                    <a:pt x="139923" y="87011"/>
                    <a:pt x="137465" y="88430"/>
                    <a:pt x="134798" y="88430"/>
                  </a:cubicBezTo>
                  <a:close/>
                </a:path>
              </a:pathLst>
            </a:custGeom>
            <a:solidFill>
              <a:srgbClr val="D1D9E8"/>
            </a:solidFill>
            <a:ln w="9525" cap="flat">
              <a:noFill/>
              <a:prstDash val="solid"/>
              <a:miter/>
            </a:ln>
          </p:spPr>
          <p:txBody>
            <a:bodyPr rtlCol="0" anchor="ctr"/>
            <a:lstStyle/>
            <a:p>
              <a:endParaRPr lang="zh-CN" altLang="en-US"/>
            </a:p>
          </p:txBody>
        </p:sp>
        <p:sp>
          <p:nvSpPr>
            <p:cNvPr id="826" name="íṧ1îḓê">
              <a:extLst>
                <a:ext uri="{FF2B5EF4-FFF2-40B4-BE49-F238E27FC236}">
                  <a16:creationId xmlns:a16="http://schemas.microsoft.com/office/drawing/2014/main" id="{1EC2C900-F6A5-4629-9C62-2C181DC65BF5}"/>
                </a:ext>
              </a:extLst>
            </p:cNvPr>
            <p:cNvSpPr/>
            <p:nvPr/>
          </p:nvSpPr>
          <p:spPr>
            <a:xfrm>
              <a:off x="5721017" y="2673928"/>
              <a:ext cx="674397" cy="922602"/>
            </a:xfrm>
            <a:custGeom>
              <a:avLst/>
              <a:gdLst>
                <a:gd name="connsiteX0" fmla="*/ 192640 w 221555"/>
                <a:gd name="connsiteY0" fmla="*/ 299023 h 303096"/>
                <a:gd name="connsiteX1" fmla="*/ 28239 w 221555"/>
                <a:gd name="connsiteY1" fmla="*/ 203773 h 303096"/>
                <a:gd name="connsiteX2" fmla="*/ -336 w 221555"/>
                <a:gd name="connsiteY2" fmla="*/ 153767 h 303096"/>
                <a:gd name="connsiteX3" fmla="*/ -336 w 221555"/>
                <a:gd name="connsiteY3" fmla="*/ 20417 h 303096"/>
                <a:gd name="connsiteX4" fmla="*/ 28239 w 221555"/>
                <a:gd name="connsiteY4" fmla="*/ 3748 h 303096"/>
                <a:gd name="connsiteX5" fmla="*/ 192640 w 221555"/>
                <a:gd name="connsiteY5" fmla="*/ 98998 h 303096"/>
                <a:gd name="connsiteX6" fmla="*/ 221215 w 221555"/>
                <a:gd name="connsiteY6" fmla="*/ 149004 h 303096"/>
                <a:gd name="connsiteX7" fmla="*/ 221215 w 221555"/>
                <a:gd name="connsiteY7" fmla="*/ 282354 h 303096"/>
                <a:gd name="connsiteX8" fmla="*/ 192640 w 221555"/>
                <a:gd name="connsiteY8" fmla="*/ 299023 h 303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1555" h="303096">
                  <a:moveTo>
                    <a:pt x="192640" y="299023"/>
                  </a:moveTo>
                  <a:lnTo>
                    <a:pt x="28239" y="203773"/>
                  </a:lnTo>
                  <a:cubicBezTo>
                    <a:pt x="11293" y="192610"/>
                    <a:pt x="683" y="174036"/>
                    <a:pt x="-336" y="153767"/>
                  </a:cubicBezTo>
                  <a:lnTo>
                    <a:pt x="-336" y="20417"/>
                  </a:lnTo>
                  <a:cubicBezTo>
                    <a:pt x="-336" y="2034"/>
                    <a:pt x="12618" y="-5396"/>
                    <a:pt x="28239" y="3748"/>
                  </a:cubicBezTo>
                  <a:lnTo>
                    <a:pt x="192640" y="98998"/>
                  </a:lnTo>
                  <a:cubicBezTo>
                    <a:pt x="209547" y="110200"/>
                    <a:pt x="220148" y="128754"/>
                    <a:pt x="221215" y="149004"/>
                  </a:cubicBezTo>
                  <a:lnTo>
                    <a:pt x="221215" y="282354"/>
                  </a:lnTo>
                  <a:cubicBezTo>
                    <a:pt x="221501" y="300738"/>
                    <a:pt x="208547" y="308167"/>
                    <a:pt x="192640" y="299023"/>
                  </a:cubicBezTo>
                  <a:close/>
                </a:path>
              </a:pathLst>
            </a:custGeom>
            <a:solidFill>
              <a:srgbClr val="D1D9E8"/>
            </a:solidFill>
            <a:ln w="9525" cap="flat">
              <a:noFill/>
              <a:prstDash val="solid"/>
              <a:miter/>
            </a:ln>
          </p:spPr>
          <p:txBody>
            <a:bodyPr rtlCol="0" anchor="ctr"/>
            <a:lstStyle/>
            <a:p>
              <a:endParaRPr lang="zh-CN" altLang="en-US"/>
            </a:p>
          </p:txBody>
        </p:sp>
        <p:sp>
          <p:nvSpPr>
            <p:cNvPr id="827" name="iṡļiḑè">
              <a:extLst>
                <a:ext uri="{FF2B5EF4-FFF2-40B4-BE49-F238E27FC236}">
                  <a16:creationId xmlns:a16="http://schemas.microsoft.com/office/drawing/2014/main" id="{1B134461-EF03-4910-8FE7-C60869608561}"/>
                </a:ext>
              </a:extLst>
            </p:cNvPr>
            <p:cNvSpPr/>
            <p:nvPr/>
          </p:nvSpPr>
          <p:spPr>
            <a:xfrm>
              <a:off x="5684667" y="2813404"/>
              <a:ext cx="92307" cy="154534"/>
            </a:xfrm>
            <a:custGeom>
              <a:avLst/>
              <a:gdLst>
                <a:gd name="connsiteX0" fmla="*/ 12272 w 30325"/>
                <a:gd name="connsiteY0" fmla="*/ 50606 h 50768"/>
                <a:gd name="connsiteX1" fmla="*/ 29989 w 30325"/>
                <a:gd name="connsiteY1" fmla="*/ 40414 h 50768"/>
                <a:gd name="connsiteX2" fmla="*/ 17416 w 30325"/>
                <a:gd name="connsiteY2" fmla="*/ 3171 h 50768"/>
                <a:gd name="connsiteX3" fmla="*/ 17416 w 30325"/>
                <a:gd name="connsiteY3" fmla="*/ -163 h 50768"/>
                <a:gd name="connsiteX4" fmla="*/ -301 w 30325"/>
                <a:gd name="connsiteY4" fmla="*/ 10029 h 50768"/>
                <a:gd name="connsiteX5" fmla="*/ -301 w 30325"/>
                <a:gd name="connsiteY5" fmla="*/ 12220 h 50768"/>
                <a:gd name="connsiteX6" fmla="*/ -301 w 30325"/>
                <a:gd name="connsiteY6" fmla="*/ 12220 h 50768"/>
                <a:gd name="connsiteX7" fmla="*/ -301 w 30325"/>
                <a:gd name="connsiteY7" fmla="*/ 13363 h 50768"/>
                <a:gd name="connsiteX8" fmla="*/ 12272 w 30325"/>
                <a:gd name="connsiteY8" fmla="*/ 50606 h 50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325" h="50768">
                  <a:moveTo>
                    <a:pt x="12272" y="50606"/>
                  </a:moveTo>
                  <a:lnTo>
                    <a:pt x="29989" y="40414"/>
                  </a:lnTo>
                  <a:cubicBezTo>
                    <a:pt x="22321" y="29460"/>
                    <a:pt x="17949" y="16535"/>
                    <a:pt x="17416" y="3171"/>
                  </a:cubicBezTo>
                  <a:cubicBezTo>
                    <a:pt x="17416" y="2028"/>
                    <a:pt x="17416" y="885"/>
                    <a:pt x="17416" y="-163"/>
                  </a:cubicBezTo>
                  <a:lnTo>
                    <a:pt x="-301" y="10029"/>
                  </a:lnTo>
                  <a:cubicBezTo>
                    <a:pt x="-301" y="10696"/>
                    <a:pt x="-301" y="11458"/>
                    <a:pt x="-301" y="12220"/>
                  </a:cubicBezTo>
                  <a:lnTo>
                    <a:pt x="-301" y="12220"/>
                  </a:lnTo>
                  <a:cubicBezTo>
                    <a:pt x="-348" y="12601"/>
                    <a:pt x="-348" y="12982"/>
                    <a:pt x="-301" y="13363"/>
                  </a:cubicBezTo>
                  <a:cubicBezTo>
                    <a:pt x="233" y="26726"/>
                    <a:pt x="4605" y="39652"/>
                    <a:pt x="12272" y="50606"/>
                  </a:cubicBezTo>
                  <a:close/>
                </a:path>
              </a:pathLst>
            </a:custGeom>
            <a:solidFill>
              <a:srgbClr val="214EA6"/>
            </a:solidFill>
            <a:ln w="9525" cap="flat">
              <a:noFill/>
              <a:prstDash val="solid"/>
              <a:miter/>
            </a:ln>
          </p:spPr>
          <p:txBody>
            <a:bodyPr rtlCol="0" anchor="ctr"/>
            <a:lstStyle/>
            <a:p>
              <a:endParaRPr lang="zh-CN" altLang="en-US"/>
            </a:p>
          </p:txBody>
        </p:sp>
        <p:sp>
          <p:nvSpPr>
            <p:cNvPr id="828" name="ïṧľîdé">
              <a:extLst>
                <a:ext uri="{FF2B5EF4-FFF2-40B4-BE49-F238E27FC236}">
                  <a16:creationId xmlns:a16="http://schemas.microsoft.com/office/drawing/2014/main" id="{4A73E1D4-A6C8-4D75-AA25-A4CDB96CB4DC}"/>
                </a:ext>
              </a:extLst>
            </p:cNvPr>
            <p:cNvSpPr/>
            <p:nvPr/>
          </p:nvSpPr>
          <p:spPr>
            <a:xfrm>
              <a:off x="5623021" y="2802385"/>
              <a:ext cx="100026" cy="199475"/>
            </a:xfrm>
            <a:custGeom>
              <a:avLst/>
              <a:gdLst>
                <a:gd name="connsiteX0" fmla="*/ 19761 w 32861"/>
                <a:gd name="connsiteY0" fmla="*/ 65369 h 65532"/>
                <a:gd name="connsiteX1" fmla="*/ 32525 w 32861"/>
                <a:gd name="connsiteY1" fmla="*/ 54225 h 65532"/>
                <a:gd name="connsiteX2" fmla="*/ 19952 w 32861"/>
                <a:gd name="connsiteY2" fmla="*/ 16982 h 65532"/>
                <a:gd name="connsiteX3" fmla="*/ 19952 w 32861"/>
                <a:gd name="connsiteY3" fmla="*/ 15839 h 65532"/>
                <a:gd name="connsiteX4" fmla="*/ 19952 w 32861"/>
                <a:gd name="connsiteY4" fmla="*/ 15839 h 65532"/>
                <a:gd name="connsiteX5" fmla="*/ 19952 w 32861"/>
                <a:gd name="connsiteY5" fmla="*/ 13649 h 65532"/>
                <a:gd name="connsiteX6" fmla="*/ 19190 w 32861"/>
                <a:gd name="connsiteY6" fmla="*/ 13077 h 65532"/>
                <a:gd name="connsiteX7" fmla="*/ -336 w 32861"/>
                <a:gd name="connsiteY7" fmla="*/ -163 h 65532"/>
                <a:gd name="connsiteX8" fmla="*/ -336 w 32861"/>
                <a:gd name="connsiteY8" fmla="*/ 5171 h 65532"/>
                <a:gd name="connsiteX9" fmla="*/ 19761 w 32861"/>
                <a:gd name="connsiteY9" fmla="*/ 65369 h 65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2861" h="65532">
                  <a:moveTo>
                    <a:pt x="19761" y="65369"/>
                  </a:moveTo>
                  <a:lnTo>
                    <a:pt x="32525" y="54225"/>
                  </a:lnTo>
                  <a:cubicBezTo>
                    <a:pt x="24857" y="43271"/>
                    <a:pt x="20485" y="30346"/>
                    <a:pt x="19952" y="16982"/>
                  </a:cubicBezTo>
                  <a:cubicBezTo>
                    <a:pt x="19904" y="16601"/>
                    <a:pt x="19904" y="16220"/>
                    <a:pt x="19952" y="15839"/>
                  </a:cubicBezTo>
                  <a:lnTo>
                    <a:pt x="19952" y="15839"/>
                  </a:lnTo>
                  <a:cubicBezTo>
                    <a:pt x="19952" y="15077"/>
                    <a:pt x="19952" y="14315"/>
                    <a:pt x="19952" y="13649"/>
                  </a:cubicBezTo>
                  <a:lnTo>
                    <a:pt x="19190" y="13077"/>
                  </a:lnTo>
                  <a:lnTo>
                    <a:pt x="-336" y="-163"/>
                  </a:lnTo>
                  <a:cubicBezTo>
                    <a:pt x="-336" y="1552"/>
                    <a:pt x="-336" y="3266"/>
                    <a:pt x="-336" y="5171"/>
                  </a:cubicBezTo>
                  <a:cubicBezTo>
                    <a:pt x="549" y="26736"/>
                    <a:pt x="7512" y="47605"/>
                    <a:pt x="19761" y="65369"/>
                  </a:cubicBezTo>
                  <a:close/>
                </a:path>
              </a:pathLst>
            </a:custGeom>
            <a:solidFill>
              <a:srgbClr val="316DE6"/>
            </a:solidFill>
            <a:ln w="9525" cap="flat">
              <a:noFill/>
              <a:prstDash val="solid"/>
              <a:miter/>
            </a:ln>
          </p:spPr>
          <p:txBody>
            <a:bodyPr rtlCol="0" anchor="ctr"/>
            <a:lstStyle/>
            <a:p>
              <a:endParaRPr lang="zh-CN" altLang="en-US"/>
            </a:p>
          </p:txBody>
        </p:sp>
        <p:sp>
          <p:nvSpPr>
            <p:cNvPr id="829" name="îŝlîḍé">
              <a:extLst>
                <a:ext uri="{FF2B5EF4-FFF2-40B4-BE49-F238E27FC236}">
                  <a16:creationId xmlns:a16="http://schemas.microsoft.com/office/drawing/2014/main" id="{E9406A8C-7ADA-4D4F-8048-8A09D241813C}"/>
                </a:ext>
              </a:extLst>
            </p:cNvPr>
            <p:cNvSpPr/>
            <p:nvPr/>
          </p:nvSpPr>
          <p:spPr>
            <a:xfrm>
              <a:off x="5623599" y="2757444"/>
              <a:ext cx="115392" cy="86688"/>
            </a:xfrm>
            <a:custGeom>
              <a:avLst/>
              <a:gdLst>
                <a:gd name="connsiteX0" fmla="*/ 0 w 37909"/>
                <a:gd name="connsiteY0" fmla="*/ 14668 h 28479"/>
                <a:gd name="connsiteX1" fmla="*/ 25527 w 37909"/>
                <a:gd name="connsiteY1" fmla="*/ 0 h 28479"/>
                <a:gd name="connsiteX2" fmla="*/ 37909 w 37909"/>
                <a:gd name="connsiteY2" fmla="*/ 18288 h 28479"/>
                <a:gd name="connsiteX3" fmla="*/ 20288 w 37909"/>
                <a:gd name="connsiteY3" fmla="*/ 28480 h 28479"/>
                <a:gd name="connsiteX4" fmla="*/ 0 w 37909"/>
                <a:gd name="connsiteY4" fmla="*/ 14668 h 284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09" h="28479">
                  <a:moveTo>
                    <a:pt x="0" y="14668"/>
                  </a:moveTo>
                  <a:lnTo>
                    <a:pt x="25527" y="0"/>
                  </a:lnTo>
                  <a:lnTo>
                    <a:pt x="37909" y="18288"/>
                  </a:lnTo>
                  <a:lnTo>
                    <a:pt x="20288" y="28480"/>
                  </a:lnTo>
                  <a:lnTo>
                    <a:pt x="0" y="14668"/>
                  </a:lnTo>
                  <a:close/>
                </a:path>
              </a:pathLst>
            </a:custGeom>
            <a:solidFill>
              <a:srgbClr val="323A82"/>
            </a:solidFill>
            <a:ln w="9525" cap="flat">
              <a:noFill/>
              <a:prstDash val="solid"/>
              <a:miter/>
            </a:ln>
          </p:spPr>
          <p:txBody>
            <a:bodyPr rtlCol="0" anchor="ctr"/>
            <a:lstStyle/>
            <a:p>
              <a:endParaRPr lang="zh-CN" altLang="en-US"/>
            </a:p>
          </p:txBody>
        </p:sp>
        <p:sp>
          <p:nvSpPr>
            <p:cNvPr id="830" name="ïšļíḑè">
              <a:extLst>
                <a:ext uri="{FF2B5EF4-FFF2-40B4-BE49-F238E27FC236}">
                  <a16:creationId xmlns:a16="http://schemas.microsoft.com/office/drawing/2014/main" id="{EA1258CE-D948-45DA-9436-79899DB17B28}"/>
                </a:ext>
              </a:extLst>
            </p:cNvPr>
            <p:cNvSpPr/>
            <p:nvPr/>
          </p:nvSpPr>
          <p:spPr>
            <a:xfrm>
              <a:off x="5684195" y="2936914"/>
              <a:ext cx="92487" cy="64653"/>
            </a:xfrm>
            <a:custGeom>
              <a:avLst/>
              <a:gdLst>
                <a:gd name="connsiteX0" fmla="*/ 0 w 30384"/>
                <a:gd name="connsiteY0" fmla="*/ 21241 h 21240"/>
                <a:gd name="connsiteX1" fmla="*/ 23622 w 30384"/>
                <a:gd name="connsiteY1" fmla="*/ 7715 h 21240"/>
                <a:gd name="connsiteX2" fmla="*/ 30385 w 30384"/>
                <a:gd name="connsiteY2" fmla="*/ 0 h 21240"/>
                <a:gd name="connsiteX3" fmla="*/ 12668 w 30384"/>
                <a:gd name="connsiteY3" fmla="*/ 10192 h 21240"/>
                <a:gd name="connsiteX4" fmla="*/ 0 w 30384"/>
                <a:gd name="connsiteY4" fmla="*/ 21241 h 212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384" h="21240">
                  <a:moveTo>
                    <a:pt x="0" y="21241"/>
                  </a:moveTo>
                  <a:lnTo>
                    <a:pt x="23622" y="7715"/>
                  </a:lnTo>
                  <a:lnTo>
                    <a:pt x="30385" y="0"/>
                  </a:lnTo>
                  <a:lnTo>
                    <a:pt x="12668" y="10192"/>
                  </a:lnTo>
                  <a:lnTo>
                    <a:pt x="0" y="21241"/>
                  </a:lnTo>
                  <a:close/>
                </a:path>
              </a:pathLst>
            </a:custGeom>
            <a:solidFill>
              <a:srgbClr val="171A42"/>
            </a:solidFill>
            <a:ln w="9525" cap="flat">
              <a:noFill/>
              <a:prstDash val="solid"/>
              <a:miter/>
            </a:ln>
          </p:spPr>
          <p:txBody>
            <a:bodyPr rtlCol="0" anchor="ctr"/>
            <a:lstStyle/>
            <a:p>
              <a:endParaRPr lang="zh-CN" altLang="en-US"/>
            </a:p>
          </p:txBody>
        </p:sp>
        <p:sp>
          <p:nvSpPr>
            <p:cNvPr id="831" name="isḻíḓé">
              <a:extLst>
                <a:ext uri="{FF2B5EF4-FFF2-40B4-BE49-F238E27FC236}">
                  <a16:creationId xmlns:a16="http://schemas.microsoft.com/office/drawing/2014/main" id="{5A73807E-06F1-4E91-B6DF-3591A48E13D7}"/>
                </a:ext>
              </a:extLst>
            </p:cNvPr>
            <p:cNvSpPr/>
            <p:nvPr/>
          </p:nvSpPr>
          <p:spPr>
            <a:xfrm>
              <a:off x="5735223" y="2763243"/>
              <a:ext cx="31021" cy="17685"/>
            </a:xfrm>
            <a:custGeom>
              <a:avLst/>
              <a:gdLst>
                <a:gd name="connsiteX0" fmla="*/ -336 w 10191"/>
                <a:gd name="connsiteY0" fmla="*/ 5647 h 5810"/>
                <a:gd name="connsiteX1" fmla="*/ 9855 w 10191"/>
                <a:gd name="connsiteY1" fmla="*/ -163 h 5810"/>
                <a:gd name="connsiteX2" fmla="*/ 2331 w 10191"/>
                <a:gd name="connsiteY2" fmla="*/ 2980 h 5810"/>
                <a:gd name="connsiteX3" fmla="*/ -336 w 10191"/>
                <a:gd name="connsiteY3" fmla="*/ 5647 h 5810"/>
              </a:gdLst>
              <a:ahLst/>
              <a:cxnLst>
                <a:cxn ang="0">
                  <a:pos x="connsiteX0" y="connsiteY0"/>
                </a:cxn>
                <a:cxn ang="0">
                  <a:pos x="connsiteX1" y="connsiteY1"/>
                </a:cxn>
                <a:cxn ang="0">
                  <a:pos x="connsiteX2" y="connsiteY2"/>
                </a:cxn>
                <a:cxn ang="0">
                  <a:pos x="connsiteX3" y="connsiteY3"/>
                </a:cxn>
              </a:cxnLst>
              <a:rect l="l" t="t" r="r" b="b"/>
              <a:pathLst>
                <a:path w="10191" h="5810">
                  <a:moveTo>
                    <a:pt x="-336" y="5647"/>
                  </a:moveTo>
                  <a:lnTo>
                    <a:pt x="9855" y="-163"/>
                  </a:lnTo>
                  <a:cubicBezTo>
                    <a:pt x="7122" y="218"/>
                    <a:pt x="4531" y="1304"/>
                    <a:pt x="2331" y="2980"/>
                  </a:cubicBezTo>
                  <a:cubicBezTo>
                    <a:pt x="1350" y="3771"/>
                    <a:pt x="454" y="4666"/>
                    <a:pt x="-336" y="5647"/>
                  </a:cubicBezTo>
                  <a:close/>
                </a:path>
              </a:pathLst>
            </a:custGeom>
            <a:solidFill>
              <a:srgbClr val="D9530B"/>
            </a:solidFill>
            <a:ln w="9525" cap="flat">
              <a:noFill/>
              <a:prstDash val="solid"/>
              <a:miter/>
            </a:ln>
          </p:spPr>
          <p:txBody>
            <a:bodyPr rtlCol="0" anchor="ctr"/>
            <a:lstStyle/>
            <a:p>
              <a:endParaRPr lang="zh-CN" altLang="en-US"/>
            </a:p>
          </p:txBody>
        </p:sp>
        <p:sp>
          <p:nvSpPr>
            <p:cNvPr id="832" name="ïśliḋê">
              <a:extLst>
                <a:ext uri="{FF2B5EF4-FFF2-40B4-BE49-F238E27FC236}">
                  <a16:creationId xmlns:a16="http://schemas.microsoft.com/office/drawing/2014/main" id="{F29405DE-2A04-4565-837A-930752D6186D}"/>
                </a:ext>
              </a:extLst>
            </p:cNvPr>
            <p:cNvSpPr/>
            <p:nvPr/>
          </p:nvSpPr>
          <p:spPr>
            <a:xfrm>
              <a:off x="5706230" y="2651093"/>
              <a:ext cx="281816" cy="172168"/>
            </a:xfrm>
            <a:custGeom>
              <a:avLst/>
              <a:gdLst>
                <a:gd name="connsiteX0" fmla="*/ 74530 w 92583"/>
                <a:gd name="connsiteY0" fmla="*/ 56399 h 56561"/>
                <a:gd name="connsiteX1" fmla="*/ 92247 w 92583"/>
                <a:gd name="connsiteY1" fmla="*/ 46207 h 56561"/>
                <a:gd name="connsiteX2" fmla="*/ 55099 w 92583"/>
                <a:gd name="connsiteY2" fmla="*/ 7250 h 56561"/>
                <a:gd name="connsiteX3" fmla="*/ 16999 w 92583"/>
                <a:gd name="connsiteY3" fmla="*/ 3440 h 56561"/>
                <a:gd name="connsiteX4" fmla="*/ -336 w 92583"/>
                <a:gd name="connsiteY4" fmla="*/ 13631 h 56561"/>
                <a:gd name="connsiteX5" fmla="*/ 9189 w 92583"/>
                <a:gd name="connsiteY5" fmla="*/ 10393 h 56561"/>
                <a:gd name="connsiteX6" fmla="*/ 10141 w 92583"/>
                <a:gd name="connsiteY6" fmla="*/ 10393 h 56561"/>
                <a:gd name="connsiteX7" fmla="*/ 37192 w 92583"/>
                <a:gd name="connsiteY7" fmla="*/ 17632 h 56561"/>
                <a:gd name="connsiteX8" fmla="*/ 53956 w 92583"/>
                <a:gd name="connsiteY8" fmla="*/ 30491 h 56561"/>
                <a:gd name="connsiteX9" fmla="*/ 53956 w 92583"/>
                <a:gd name="connsiteY9" fmla="*/ 30491 h 56561"/>
                <a:gd name="connsiteX10" fmla="*/ 74530 w 92583"/>
                <a:gd name="connsiteY10" fmla="*/ 56399 h 565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2583" h="56561">
                  <a:moveTo>
                    <a:pt x="74530" y="56399"/>
                  </a:moveTo>
                  <a:lnTo>
                    <a:pt x="92247" y="46207"/>
                  </a:lnTo>
                  <a:cubicBezTo>
                    <a:pt x="83303" y="30329"/>
                    <a:pt x="70539" y="16936"/>
                    <a:pt x="55099" y="7250"/>
                  </a:cubicBezTo>
                  <a:cubicBezTo>
                    <a:pt x="40240" y="-1323"/>
                    <a:pt x="26524" y="-2275"/>
                    <a:pt x="16999" y="3440"/>
                  </a:cubicBezTo>
                  <a:lnTo>
                    <a:pt x="-336" y="13631"/>
                  </a:lnTo>
                  <a:cubicBezTo>
                    <a:pt x="2588" y="11917"/>
                    <a:pt x="5826" y="10812"/>
                    <a:pt x="9189" y="10393"/>
                  </a:cubicBezTo>
                  <a:lnTo>
                    <a:pt x="10141" y="10393"/>
                  </a:lnTo>
                  <a:cubicBezTo>
                    <a:pt x="19695" y="9945"/>
                    <a:pt x="29144" y="12479"/>
                    <a:pt x="37192" y="17632"/>
                  </a:cubicBezTo>
                  <a:cubicBezTo>
                    <a:pt x="43260" y="21251"/>
                    <a:pt x="48879" y="25576"/>
                    <a:pt x="53956" y="30491"/>
                  </a:cubicBezTo>
                  <a:lnTo>
                    <a:pt x="53956" y="30491"/>
                  </a:lnTo>
                  <a:cubicBezTo>
                    <a:pt x="61948" y="38158"/>
                    <a:pt x="68872" y="46874"/>
                    <a:pt x="74530" y="56399"/>
                  </a:cubicBezTo>
                  <a:close/>
                </a:path>
              </a:pathLst>
            </a:custGeom>
            <a:solidFill>
              <a:srgbClr val="D9530B"/>
            </a:solidFill>
            <a:ln w="9525" cap="flat">
              <a:noFill/>
              <a:prstDash val="solid"/>
              <a:miter/>
            </a:ln>
          </p:spPr>
          <p:txBody>
            <a:bodyPr rtlCol="0" anchor="ctr"/>
            <a:lstStyle/>
            <a:p>
              <a:endParaRPr lang="zh-CN" altLang="en-US"/>
            </a:p>
          </p:txBody>
        </p:sp>
        <p:sp>
          <p:nvSpPr>
            <p:cNvPr id="833" name="îsḻîḑê">
              <a:extLst>
                <a:ext uri="{FF2B5EF4-FFF2-40B4-BE49-F238E27FC236}">
                  <a16:creationId xmlns:a16="http://schemas.microsoft.com/office/drawing/2014/main" id="{55CB0A6F-EB1D-46AE-8BE3-46E54E88FAA6}"/>
                </a:ext>
              </a:extLst>
            </p:cNvPr>
            <p:cNvSpPr/>
            <p:nvPr/>
          </p:nvSpPr>
          <p:spPr>
            <a:xfrm>
              <a:off x="5685936" y="2682488"/>
              <a:ext cx="248181" cy="167154"/>
            </a:xfrm>
            <a:custGeom>
              <a:avLst/>
              <a:gdLst>
                <a:gd name="connsiteX0" fmla="*/ 67005 w 81533"/>
                <a:gd name="connsiteY0" fmla="*/ 54752 h 54914"/>
                <a:gd name="connsiteX1" fmla="*/ 81198 w 81533"/>
                <a:gd name="connsiteY1" fmla="*/ 46084 h 54914"/>
                <a:gd name="connsiteX2" fmla="*/ 60814 w 81533"/>
                <a:gd name="connsiteY2" fmla="*/ 19986 h 54914"/>
                <a:gd name="connsiteX3" fmla="*/ 60814 w 81533"/>
                <a:gd name="connsiteY3" fmla="*/ 19986 h 54914"/>
                <a:gd name="connsiteX4" fmla="*/ 44431 w 81533"/>
                <a:gd name="connsiteY4" fmla="*/ 7127 h 54914"/>
                <a:gd name="connsiteX5" fmla="*/ 17380 w 81533"/>
                <a:gd name="connsiteY5" fmla="*/ -112 h 54914"/>
                <a:gd name="connsiteX6" fmla="*/ 16428 w 81533"/>
                <a:gd name="connsiteY6" fmla="*/ -112 h 54914"/>
                <a:gd name="connsiteX7" fmla="*/ 6903 w 81533"/>
                <a:gd name="connsiteY7" fmla="*/ 3127 h 54914"/>
                <a:gd name="connsiteX8" fmla="*/ -336 w 81533"/>
                <a:gd name="connsiteY8" fmla="*/ 9318 h 54914"/>
                <a:gd name="connsiteX9" fmla="*/ 9189 w 81533"/>
                <a:gd name="connsiteY9" fmla="*/ 21891 h 54914"/>
                <a:gd name="connsiteX10" fmla="*/ 9855 w 81533"/>
                <a:gd name="connsiteY10" fmla="*/ 22748 h 54914"/>
                <a:gd name="connsiteX11" fmla="*/ 9855 w 81533"/>
                <a:gd name="connsiteY11" fmla="*/ 22748 h 54914"/>
                <a:gd name="connsiteX12" fmla="*/ 16809 w 81533"/>
                <a:gd name="connsiteY12" fmla="*/ 32273 h 54914"/>
                <a:gd name="connsiteX13" fmla="*/ 19476 w 81533"/>
                <a:gd name="connsiteY13" fmla="*/ 29606 h 54914"/>
                <a:gd name="connsiteX14" fmla="*/ 27001 w 81533"/>
                <a:gd name="connsiteY14" fmla="*/ 26463 h 54914"/>
                <a:gd name="connsiteX15" fmla="*/ 31954 w 81533"/>
                <a:gd name="connsiteY15" fmla="*/ 26463 h 54914"/>
                <a:gd name="connsiteX16" fmla="*/ 44812 w 81533"/>
                <a:gd name="connsiteY16" fmla="*/ 30940 h 54914"/>
                <a:gd name="connsiteX17" fmla="*/ 67005 w 81533"/>
                <a:gd name="connsiteY17" fmla="*/ 54752 h 54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1533" h="54914">
                  <a:moveTo>
                    <a:pt x="67005" y="54752"/>
                  </a:moveTo>
                  <a:lnTo>
                    <a:pt x="81198" y="46084"/>
                  </a:lnTo>
                  <a:cubicBezTo>
                    <a:pt x="75607" y="36502"/>
                    <a:pt x="68749" y="27730"/>
                    <a:pt x="60814" y="19986"/>
                  </a:cubicBezTo>
                  <a:lnTo>
                    <a:pt x="60814" y="19986"/>
                  </a:lnTo>
                  <a:cubicBezTo>
                    <a:pt x="55861" y="15090"/>
                    <a:pt x="50365" y="10775"/>
                    <a:pt x="44431" y="7127"/>
                  </a:cubicBezTo>
                  <a:cubicBezTo>
                    <a:pt x="36383" y="1974"/>
                    <a:pt x="26934" y="-560"/>
                    <a:pt x="17380" y="-112"/>
                  </a:cubicBezTo>
                  <a:lnTo>
                    <a:pt x="16428" y="-112"/>
                  </a:lnTo>
                  <a:cubicBezTo>
                    <a:pt x="13065" y="307"/>
                    <a:pt x="9827" y="1412"/>
                    <a:pt x="6903" y="3127"/>
                  </a:cubicBezTo>
                  <a:cubicBezTo>
                    <a:pt x="4131" y="4736"/>
                    <a:pt x="1683" y="6832"/>
                    <a:pt x="-336" y="9318"/>
                  </a:cubicBezTo>
                  <a:lnTo>
                    <a:pt x="9189" y="21891"/>
                  </a:lnTo>
                  <a:lnTo>
                    <a:pt x="9855" y="22748"/>
                  </a:lnTo>
                  <a:lnTo>
                    <a:pt x="9855" y="22748"/>
                  </a:lnTo>
                  <a:lnTo>
                    <a:pt x="16809" y="32273"/>
                  </a:lnTo>
                  <a:cubicBezTo>
                    <a:pt x="17599" y="31292"/>
                    <a:pt x="18495" y="30397"/>
                    <a:pt x="19476" y="29606"/>
                  </a:cubicBezTo>
                  <a:cubicBezTo>
                    <a:pt x="21676" y="27930"/>
                    <a:pt x="24267" y="26844"/>
                    <a:pt x="27001" y="26463"/>
                  </a:cubicBezTo>
                  <a:cubicBezTo>
                    <a:pt x="28639" y="26215"/>
                    <a:pt x="30315" y="26215"/>
                    <a:pt x="31954" y="26463"/>
                  </a:cubicBezTo>
                  <a:cubicBezTo>
                    <a:pt x="36516" y="27015"/>
                    <a:pt x="40897" y="28539"/>
                    <a:pt x="44812" y="30940"/>
                  </a:cubicBezTo>
                  <a:cubicBezTo>
                    <a:pt x="54061" y="36921"/>
                    <a:pt x="61691" y="45103"/>
                    <a:pt x="67005" y="54752"/>
                  </a:cubicBezTo>
                  <a:close/>
                </a:path>
              </a:pathLst>
            </a:custGeom>
            <a:solidFill>
              <a:srgbClr val="FF7D33"/>
            </a:solidFill>
            <a:ln w="9525" cap="flat">
              <a:noFill/>
              <a:prstDash val="solid"/>
              <a:miter/>
            </a:ln>
          </p:spPr>
          <p:txBody>
            <a:bodyPr rtlCol="0" anchor="ctr"/>
            <a:lstStyle/>
            <a:p>
              <a:endParaRPr lang="zh-CN" altLang="en-US"/>
            </a:p>
          </p:txBody>
        </p:sp>
        <p:sp>
          <p:nvSpPr>
            <p:cNvPr id="834" name="ïṥļíḍê">
              <a:extLst>
                <a:ext uri="{FF2B5EF4-FFF2-40B4-BE49-F238E27FC236}">
                  <a16:creationId xmlns:a16="http://schemas.microsoft.com/office/drawing/2014/main" id="{1DBF95BD-F3B9-4C5C-ADEC-EE0283F866BF}"/>
                </a:ext>
              </a:extLst>
            </p:cNvPr>
            <p:cNvSpPr/>
            <p:nvPr/>
          </p:nvSpPr>
          <p:spPr>
            <a:xfrm>
              <a:off x="5934119" y="2792236"/>
              <a:ext cx="104041" cy="300950"/>
            </a:xfrm>
            <a:custGeom>
              <a:avLst/>
              <a:gdLst>
                <a:gd name="connsiteX0" fmla="*/ 140 w 34180"/>
                <a:gd name="connsiteY0" fmla="*/ 98707 h 98869"/>
                <a:gd name="connsiteX1" fmla="*/ 17856 w 34180"/>
                <a:gd name="connsiteY1" fmla="*/ 88515 h 98869"/>
                <a:gd name="connsiteX2" fmla="*/ 33668 w 34180"/>
                <a:gd name="connsiteY2" fmla="*/ 53844 h 98869"/>
                <a:gd name="connsiteX3" fmla="*/ 17380 w 34180"/>
                <a:gd name="connsiteY3" fmla="*/ -163 h 98869"/>
                <a:gd name="connsiteX4" fmla="*/ -336 w 34180"/>
                <a:gd name="connsiteY4" fmla="*/ 10029 h 98869"/>
                <a:gd name="connsiteX5" fmla="*/ 13285 w 34180"/>
                <a:gd name="connsiteY5" fmla="*/ 43081 h 98869"/>
                <a:gd name="connsiteX6" fmla="*/ 15952 w 34180"/>
                <a:gd name="connsiteY6" fmla="*/ 64036 h 98869"/>
                <a:gd name="connsiteX7" fmla="*/ 10998 w 34180"/>
                <a:gd name="connsiteY7" fmla="*/ 86991 h 98869"/>
                <a:gd name="connsiteX8" fmla="*/ 7951 w 34180"/>
                <a:gd name="connsiteY8" fmla="*/ 91754 h 98869"/>
                <a:gd name="connsiteX9" fmla="*/ 140 w 34180"/>
                <a:gd name="connsiteY9" fmla="*/ 98707 h 98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4180" h="98869">
                  <a:moveTo>
                    <a:pt x="140" y="98707"/>
                  </a:moveTo>
                  <a:lnTo>
                    <a:pt x="17856" y="88515"/>
                  </a:lnTo>
                  <a:cubicBezTo>
                    <a:pt x="28944" y="80609"/>
                    <a:pt x="34973" y="67398"/>
                    <a:pt x="33668" y="53844"/>
                  </a:cubicBezTo>
                  <a:cubicBezTo>
                    <a:pt x="32982" y="34737"/>
                    <a:pt x="27372" y="16135"/>
                    <a:pt x="17380" y="-163"/>
                  </a:cubicBezTo>
                  <a:lnTo>
                    <a:pt x="-336" y="10029"/>
                  </a:lnTo>
                  <a:cubicBezTo>
                    <a:pt x="5779" y="20326"/>
                    <a:pt x="10370" y="31460"/>
                    <a:pt x="13285" y="43081"/>
                  </a:cubicBezTo>
                  <a:cubicBezTo>
                    <a:pt x="14989" y="49939"/>
                    <a:pt x="15885" y="56968"/>
                    <a:pt x="15952" y="64036"/>
                  </a:cubicBezTo>
                  <a:cubicBezTo>
                    <a:pt x="16104" y="71970"/>
                    <a:pt x="14408" y="79828"/>
                    <a:pt x="10998" y="86991"/>
                  </a:cubicBezTo>
                  <a:cubicBezTo>
                    <a:pt x="10151" y="88677"/>
                    <a:pt x="9132" y="90277"/>
                    <a:pt x="7951" y="91754"/>
                  </a:cubicBezTo>
                  <a:cubicBezTo>
                    <a:pt x="5855" y="94582"/>
                    <a:pt x="3188" y="96945"/>
                    <a:pt x="140" y="98707"/>
                  </a:cubicBezTo>
                  <a:close/>
                </a:path>
              </a:pathLst>
            </a:custGeom>
            <a:solidFill>
              <a:srgbClr val="171A42"/>
            </a:solidFill>
            <a:ln w="9525" cap="flat">
              <a:noFill/>
              <a:prstDash val="solid"/>
              <a:miter/>
            </a:ln>
          </p:spPr>
          <p:txBody>
            <a:bodyPr rtlCol="0" anchor="ctr"/>
            <a:lstStyle/>
            <a:p>
              <a:endParaRPr lang="zh-CN" altLang="en-US"/>
            </a:p>
          </p:txBody>
        </p:sp>
        <p:sp>
          <p:nvSpPr>
            <p:cNvPr id="835" name="ïṧľîďê">
              <a:extLst>
                <a:ext uri="{FF2B5EF4-FFF2-40B4-BE49-F238E27FC236}">
                  <a16:creationId xmlns:a16="http://schemas.microsoft.com/office/drawing/2014/main" id="{9ED0951F-C03D-4CAE-8A53-84FF6AAA820C}"/>
                </a:ext>
              </a:extLst>
            </p:cNvPr>
            <p:cNvSpPr/>
            <p:nvPr/>
          </p:nvSpPr>
          <p:spPr>
            <a:xfrm>
              <a:off x="5882510" y="2823260"/>
              <a:ext cx="101214" cy="276596"/>
            </a:xfrm>
            <a:custGeom>
              <a:avLst/>
              <a:gdLst>
                <a:gd name="connsiteX0" fmla="*/ 17095 w 33251"/>
                <a:gd name="connsiteY0" fmla="*/ 88515 h 90868"/>
                <a:gd name="connsiteX1" fmla="*/ 24905 w 33251"/>
                <a:gd name="connsiteY1" fmla="*/ 81562 h 90868"/>
                <a:gd name="connsiteX2" fmla="*/ 27953 w 33251"/>
                <a:gd name="connsiteY2" fmla="*/ 76799 h 90868"/>
                <a:gd name="connsiteX3" fmla="*/ 32906 w 33251"/>
                <a:gd name="connsiteY3" fmla="*/ 53844 h 90868"/>
                <a:gd name="connsiteX4" fmla="*/ 30239 w 33251"/>
                <a:gd name="connsiteY4" fmla="*/ 32889 h 90868"/>
                <a:gd name="connsiteX5" fmla="*/ 16618 w 33251"/>
                <a:gd name="connsiteY5" fmla="*/ -163 h 90868"/>
                <a:gd name="connsiteX6" fmla="*/ 2426 w 33251"/>
                <a:gd name="connsiteY6" fmla="*/ 8505 h 90868"/>
                <a:gd name="connsiteX7" fmla="*/ 12522 w 33251"/>
                <a:gd name="connsiteY7" fmla="*/ 42033 h 90868"/>
                <a:gd name="connsiteX8" fmla="*/ 9951 w 33251"/>
                <a:gd name="connsiteY8" fmla="*/ 55463 h 90868"/>
                <a:gd name="connsiteX9" fmla="*/ 5474 w 33251"/>
                <a:gd name="connsiteY9" fmla="*/ 61559 h 90868"/>
                <a:gd name="connsiteX10" fmla="*/ -336 w 33251"/>
                <a:gd name="connsiteY10" fmla="*/ 64893 h 90868"/>
                <a:gd name="connsiteX11" fmla="*/ 6522 w 33251"/>
                <a:gd name="connsiteY11" fmla="*/ 79085 h 90868"/>
                <a:gd name="connsiteX12" fmla="*/ 12142 w 33251"/>
                <a:gd name="connsiteY12" fmla="*/ 90706 h 90868"/>
                <a:gd name="connsiteX13" fmla="*/ 17095 w 33251"/>
                <a:gd name="connsiteY13" fmla="*/ 88515 h 90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3251" h="90868">
                  <a:moveTo>
                    <a:pt x="17095" y="88515"/>
                  </a:moveTo>
                  <a:cubicBezTo>
                    <a:pt x="20143" y="86753"/>
                    <a:pt x="22810" y="84391"/>
                    <a:pt x="24905" y="81562"/>
                  </a:cubicBezTo>
                  <a:cubicBezTo>
                    <a:pt x="26086" y="80086"/>
                    <a:pt x="27105" y="78485"/>
                    <a:pt x="27953" y="76799"/>
                  </a:cubicBezTo>
                  <a:cubicBezTo>
                    <a:pt x="31363" y="69637"/>
                    <a:pt x="33058" y="61779"/>
                    <a:pt x="32906" y="53844"/>
                  </a:cubicBezTo>
                  <a:cubicBezTo>
                    <a:pt x="32839" y="46777"/>
                    <a:pt x="31944" y="39747"/>
                    <a:pt x="30239" y="32889"/>
                  </a:cubicBezTo>
                  <a:cubicBezTo>
                    <a:pt x="27324" y="21269"/>
                    <a:pt x="22733" y="10134"/>
                    <a:pt x="16618" y="-163"/>
                  </a:cubicBezTo>
                  <a:lnTo>
                    <a:pt x="2426" y="8505"/>
                  </a:lnTo>
                  <a:cubicBezTo>
                    <a:pt x="8646" y="18611"/>
                    <a:pt x="12132" y="30165"/>
                    <a:pt x="12522" y="42033"/>
                  </a:cubicBezTo>
                  <a:cubicBezTo>
                    <a:pt x="12618" y="46643"/>
                    <a:pt x="11741" y="51215"/>
                    <a:pt x="9951" y="55463"/>
                  </a:cubicBezTo>
                  <a:cubicBezTo>
                    <a:pt x="8865" y="57768"/>
                    <a:pt x="7341" y="59835"/>
                    <a:pt x="5474" y="61559"/>
                  </a:cubicBezTo>
                  <a:cubicBezTo>
                    <a:pt x="3807" y="63083"/>
                    <a:pt x="1826" y="64217"/>
                    <a:pt x="-336" y="64893"/>
                  </a:cubicBezTo>
                  <a:lnTo>
                    <a:pt x="6522" y="79085"/>
                  </a:lnTo>
                  <a:lnTo>
                    <a:pt x="12142" y="90706"/>
                  </a:lnTo>
                  <a:cubicBezTo>
                    <a:pt x="13856" y="90134"/>
                    <a:pt x="15513" y="89401"/>
                    <a:pt x="17095" y="88515"/>
                  </a:cubicBezTo>
                  <a:close/>
                </a:path>
              </a:pathLst>
            </a:custGeom>
            <a:solidFill>
              <a:srgbClr val="323A82"/>
            </a:solidFill>
            <a:ln w="9525" cap="flat">
              <a:noFill/>
              <a:prstDash val="solid"/>
              <a:miter/>
            </a:ln>
          </p:spPr>
          <p:txBody>
            <a:bodyPr rtlCol="0" anchor="ctr"/>
            <a:lstStyle/>
            <a:p>
              <a:endParaRPr lang="zh-CN" altLang="en-US"/>
            </a:p>
          </p:txBody>
        </p:sp>
        <p:sp>
          <p:nvSpPr>
            <p:cNvPr id="836" name="íṧḻidé">
              <a:extLst>
                <a:ext uri="{FF2B5EF4-FFF2-40B4-BE49-F238E27FC236}">
                  <a16:creationId xmlns:a16="http://schemas.microsoft.com/office/drawing/2014/main" id="{38392300-FEB3-4657-BDBB-A8519C3F0BB4}"/>
                </a:ext>
              </a:extLst>
            </p:cNvPr>
            <p:cNvSpPr/>
            <p:nvPr/>
          </p:nvSpPr>
          <p:spPr>
            <a:xfrm>
              <a:off x="5757547" y="2917199"/>
              <a:ext cx="156272" cy="104623"/>
            </a:xfrm>
            <a:custGeom>
              <a:avLst/>
              <a:gdLst>
                <a:gd name="connsiteX0" fmla="*/ 46527 w 51339"/>
                <a:gd name="connsiteY0" fmla="*/ 30698 h 34371"/>
                <a:gd name="connsiteX1" fmla="*/ 51004 w 51339"/>
                <a:gd name="connsiteY1" fmla="*/ 24602 h 34371"/>
                <a:gd name="connsiteX2" fmla="*/ 38049 w 51339"/>
                <a:gd name="connsiteY2" fmla="*/ 20126 h 34371"/>
                <a:gd name="connsiteX3" fmla="*/ 17380 w 51339"/>
                <a:gd name="connsiteY3" fmla="*/ -163 h 34371"/>
                <a:gd name="connsiteX4" fmla="*/ -336 w 51339"/>
                <a:gd name="connsiteY4" fmla="*/ 9934 h 34371"/>
                <a:gd name="connsiteX5" fmla="*/ 20333 w 51339"/>
                <a:gd name="connsiteY5" fmla="*/ 30317 h 34371"/>
                <a:gd name="connsiteX6" fmla="*/ 21286 w 51339"/>
                <a:gd name="connsiteY6" fmla="*/ 30317 h 34371"/>
                <a:gd name="connsiteX7" fmla="*/ 40336 w 51339"/>
                <a:gd name="connsiteY7" fmla="*/ 33556 h 34371"/>
                <a:gd name="connsiteX8" fmla="*/ 46527 w 51339"/>
                <a:gd name="connsiteY8" fmla="*/ 30698 h 34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339" h="34371">
                  <a:moveTo>
                    <a:pt x="46527" y="30698"/>
                  </a:moveTo>
                  <a:cubicBezTo>
                    <a:pt x="48394" y="28974"/>
                    <a:pt x="49918" y="26907"/>
                    <a:pt x="51004" y="24602"/>
                  </a:cubicBezTo>
                  <a:cubicBezTo>
                    <a:pt x="46413" y="24069"/>
                    <a:pt x="41993" y="22535"/>
                    <a:pt x="38049" y="20126"/>
                  </a:cubicBezTo>
                  <a:cubicBezTo>
                    <a:pt x="29734" y="14992"/>
                    <a:pt x="22667" y="8057"/>
                    <a:pt x="17380" y="-163"/>
                  </a:cubicBezTo>
                  <a:lnTo>
                    <a:pt x="-336" y="9934"/>
                  </a:lnTo>
                  <a:cubicBezTo>
                    <a:pt x="4950" y="18182"/>
                    <a:pt x="12008" y="25145"/>
                    <a:pt x="20333" y="30317"/>
                  </a:cubicBezTo>
                  <a:cubicBezTo>
                    <a:pt x="20647" y="30365"/>
                    <a:pt x="20971" y="30365"/>
                    <a:pt x="21286" y="30317"/>
                  </a:cubicBezTo>
                  <a:cubicBezTo>
                    <a:pt x="26943" y="33908"/>
                    <a:pt x="33811" y="35080"/>
                    <a:pt x="40336" y="33556"/>
                  </a:cubicBezTo>
                  <a:cubicBezTo>
                    <a:pt x="42583" y="33080"/>
                    <a:pt x="44698" y="32098"/>
                    <a:pt x="46527" y="30698"/>
                  </a:cubicBezTo>
                  <a:close/>
                </a:path>
              </a:pathLst>
            </a:custGeom>
            <a:solidFill>
              <a:srgbClr val="171A42"/>
            </a:solidFill>
            <a:ln w="9525" cap="flat">
              <a:noFill/>
              <a:prstDash val="solid"/>
              <a:miter/>
            </a:ln>
          </p:spPr>
          <p:txBody>
            <a:bodyPr rtlCol="0" anchor="ctr"/>
            <a:lstStyle/>
            <a:p>
              <a:endParaRPr lang="zh-CN" altLang="en-US"/>
            </a:p>
          </p:txBody>
        </p:sp>
        <p:sp>
          <p:nvSpPr>
            <p:cNvPr id="837" name="íṡḻîḓê">
              <a:extLst>
                <a:ext uri="{FF2B5EF4-FFF2-40B4-BE49-F238E27FC236}">
                  <a16:creationId xmlns:a16="http://schemas.microsoft.com/office/drawing/2014/main" id="{3BF1685C-4C11-41EB-A345-7975D0FD340A}"/>
                </a:ext>
              </a:extLst>
            </p:cNvPr>
            <p:cNvSpPr/>
            <p:nvPr/>
          </p:nvSpPr>
          <p:spPr>
            <a:xfrm>
              <a:off x="5720147" y="2949382"/>
              <a:ext cx="200342" cy="154096"/>
            </a:xfrm>
            <a:custGeom>
              <a:avLst/>
              <a:gdLst>
                <a:gd name="connsiteX0" fmla="*/ 65481 w 65817"/>
                <a:gd name="connsiteY0" fmla="*/ 49272 h 50624"/>
                <a:gd name="connsiteX1" fmla="*/ 59861 w 65817"/>
                <a:gd name="connsiteY1" fmla="*/ 37652 h 50624"/>
                <a:gd name="connsiteX2" fmla="*/ 53003 w 65817"/>
                <a:gd name="connsiteY2" fmla="*/ 23459 h 50624"/>
                <a:gd name="connsiteX3" fmla="*/ 33953 w 65817"/>
                <a:gd name="connsiteY3" fmla="*/ 20221 h 50624"/>
                <a:gd name="connsiteX4" fmla="*/ 33001 w 65817"/>
                <a:gd name="connsiteY4" fmla="*/ 20221 h 50624"/>
                <a:gd name="connsiteX5" fmla="*/ 12332 w 65817"/>
                <a:gd name="connsiteY5" fmla="*/ -163 h 50624"/>
                <a:gd name="connsiteX6" fmla="*/ -336 w 65817"/>
                <a:gd name="connsiteY6" fmla="*/ 10982 h 50624"/>
                <a:gd name="connsiteX7" fmla="*/ 32906 w 65817"/>
                <a:gd name="connsiteY7" fmla="*/ 43748 h 50624"/>
                <a:gd name="connsiteX8" fmla="*/ 65481 w 65817"/>
                <a:gd name="connsiteY8" fmla="*/ 49272 h 506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5817" h="50624">
                  <a:moveTo>
                    <a:pt x="65481" y="49272"/>
                  </a:moveTo>
                  <a:lnTo>
                    <a:pt x="59861" y="37652"/>
                  </a:lnTo>
                  <a:lnTo>
                    <a:pt x="53003" y="23459"/>
                  </a:lnTo>
                  <a:cubicBezTo>
                    <a:pt x="46479" y="24983"/>
                    <a:pt x="39612" y="23812"/>
                    <a:pt x="33953" y="20221"/>
                  </a:cubicBezTo>
                  <a:cubicBezTo>
                    <a:pt x="33639" y="20268"/>
                    <a:pt x="33315" y="20268"/>
                    <a:pt x="33001" y="20221"/>
                  </a:cubicBezTo>
                  <a:cubicBezTo>
                    <a:pt x="24676" y="15049"/>
                    <a:pt x="17618" y="8086"/>
                    <a:pt x="12332" y="-163"/>
                  </a:cubicBezTo>
                  <a:lnTo>
                    <a:pt x="-336" y="10982"/>
                  </a:lnTo>
                  <a:cubicBezTo>
                    <a:pt x="8160" y="24250"/>
                    <a:pt x="19523" y="35442"/>
                    <a:pt x="32906" y="43748"/>
                  </a:cubicBezTo>
                  <a:cubicBezTo>
                    <a:pt x="42545" y="49996"/>
                    <a:pt x="54327" y="51996"/>
                    <a:pt x="65481" y="49272"/>
                  </a:cubicBezTo>
                  <a:close/>
                </a:path>
              </a:pathLst>
            </a:custGeom>
            <a:solidFill>
              <a:srgbClr val="323A82"/>
            </a:solidFill>
            <a:ln w="9525" cap="flat">
              <a:noFill/>
              <a:prstDash val="solid"/>
              <a:miter/>
            </a:ln>
          </p:spPr>
          <p:txBody>
            <a:bodyPr rtlCol="0" anchor="ctr"/>
            <a:lstStyle/>
            <a:p>
              <a:endParaRPr lang="zh-CN" altLang="en-US"/>
            </a:p>
          </p:txBody>
        </p:sp>
        <p:sp>
          <p:nvSpPr>
            <p:cNvPr id="838" name="íṩľíḋe">
              <a:extLst>
                <a:ext uri="{FF2B5EF4-FFF2-40B4-BE49-F238E27FC236}">
                  <a16:creationId xmlns:a16="http://schemas.microsoft.com/office/drawing/2014/main" id="{6FC3C3F2-D28F-405D-BEA1-A291D2DFBFF2}"/>
                </a:ext>
              </a:extLst>
            </p:cNvPr>
            <p:cNvSpPr/>
            <p:nvPr/>
          </p:nvSpPr>
          <p:spPr>
            <a:xfrm>
              <a:off x="5719857" y="2762229"/>
              <a:ext cx="61755" cy="62190"/>
            </a:xfrm>
            <a:custGeom>
              <a:avLst/>
              <a:gdLst>
                <a:gd name="connsiteX0" fmla="*/ -336 w 20288"/>
                <a:gd name="connsiteY0" fmla="*/ 20268 h 20431"/>
                <a:gd name="connsiteX1" fmla="*/ 17380 w 20288"/>
                <a:gd name="connsiteY1" fmla="*/ 10077 h 20431"/>
                <a:gd name="connsiteX2" fmla="*/ 19952 w 20288"/>
                <a:gd name="connsiteY2" fmla="*/ -20 h 20431"/>
                <a:gd name="connsiteX3" fmla="*/ 15094 w 20288"/>
                <a:gd name="connsiteY3" fmla="*/ -20 h 20431"/>
                <a:gd name="connsiteX4" fmla="*/ 4902 w 20288"/>
                <a:gd name="connsiteY4" fmla="*/ 5791 h 20431"/>
                <a:gd name="connsiteX5" fmla="*/ -336 w 20288"/>
                <a:gd name="connsiteY5" fmla="*/ 20268 h 20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288" h="20431">
                  <a:moveTo>
                    <a:pt x="-336" y="20268"/>
                  </a:moveTo>
                  <a:lnTo>
                    <a:pt x="17380" y="10077"/>
                  </a:lnTo>
                  <a:cubicBezTo>
                    <a:pt x="17656" y="6591"/>
                    <a:pt x="18523" y="3171"/>
                    <a:pt x="19952" y="-20"/>
                  </a:cubicBezTo>
                  <a:cubicBezTo>
                    <a:pt x="18342" y="-210"/>
                    <a:pt x="16704" y="-210"/>
                    <a:pt x="15094" y="-20"/>
                  </a:cubicBezTo>
                  <a:lnTo>
                    <a:pt x="4902" y="5791"/>
                  </a:lnTo>
                  <a:cubicBezTo>
                    <a:pt x="1759" y="9991"/>
                    <a:pt x="-60" y="15030"/>
                    <a:pt x="-336" y="20268"/>
                  </a:cubicBezTo>
                  <a:close/>
                </a:path>
              </a:pathLst>
            </a:custGeom>
            <a:solidFill>
              <a:srgbClr val="BF4200"/>
            </a:solidFill>
            <a:ln w="9525" cap="flat">
              <a:noFill/>
              <a:prstDash val="solid"/>
              <a:miter/>
            </a:ln>
          </p:spPr>
          <p:txBody>
            <a:bodyPr rtlCol="0" anchor="ctr"/>
            <a:lstStyle/>
            <a:p>
              <a:endParaRPr lang="zh-CN" altLang="en-US"/>
            </a:p>
          </p:txBody>
        </p:sp>
        <p:sp>
          <p:nvSpPr>
            <p:cNvPr id="839" name="î$lîḋê">
              <a:extLst>
                <a:ext uri="{FF2B5EF4-FFF2-40B4-BE49-F238E27FC236}">
                  <a16:creationId xmlns:a16="http://schemas.microsoft.com/office/drawing/2014/main" id="{C185C861-2269-40B3-9DA9-4DF21C27A903}"/>
                </a:ext>
              </a:extLst>
            </p:cNvPr>
            <p:cNvSpPr/>
            <p:nvPr/>
          </p:nvSpPr>
          <p:spPr>
            <a:xfrm>
              <a:off x="5658102" y="2711055"/>
              <a:ext cx="77410" cy="113362"/>
            </a:xfrm>
            <a:custGeom>
              <a:avLst/>
              <a:gdLst>
                <a:gd name="connsiteX0" fmla="*/ 19952 w 25431"/>
                <a:gd name="connsiteY0" fmla="*/ 37080 h 37242"/>
                <a:gd name="connsiteX1" fmla="*/ 25096 w 25431"/>
                <a:gd name="connsiteY1" fmla="*/ 22793 h 37242"/>
                <a:gd name="connsiteX2" fmla="*/ 18142 w 25431"/>
                <a:gd name="connsiteY2" fmla="*/ 13268 h 37242"/>
                <a:gd name="connsiteX3" fmla="*/ 18142 w 25431"/>
                <a:gd name="connsiteY3" fmla="*/ 13268 h 37242"/>
                <a:gd name="connsiteX4" fmla="*/ 17475 w 25431"/>
                <a:gd name="connsiteY4" fmla="*/ 12410 h 37242"/>
                <a:gd name="connsiteX5" fmla="*/ 7950 w 25431"/>
                <a:gd name="connsiteY5" fmla="*/ -163 h 37242"/>
                <a:gd name="connsiteX6" fmla="*/ -336 w 25431"/>
                <a:gd name="connsiteY6" fmla="*/ 22983 h 37242"/>
                <a:gd name="connsiteX7" fmla="*/ 18714 w 25431"/>
                <a:gd name="connsiteY7" fmla="*/ 36318 h 37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431" h="37242">
                  <a:moveTo>
                    <a:pt x="19952" y="37080"/>
                  </a:moveTo>
                  <a:cubicBezTo>
                    <a:pt x="20238" y="31918"/>
                    <a:pt x="22028" y="26955"/>
                    <a:pt x="25096" y="22793"/>
                  </a:cubicBezTo>
                  <a:lnTo>
                    <a:pt x="18142" y="13268"/>
                  </a:lnTo>
                  <a:lnTo>
                    <a:pt x="18142" y="13268"/>
                  </a:lnTo>
                  <a:lnTo>
                    <a:pt x="17475" y="12410"/>
                  </a:lnTo>
                  <a:lnTo>
                    <a:pt x="7950" y="-163"/>
                  </a:lnTo>
                  <a:cubicBezTo>
                    <a:pt x="2902" y="6533"/>
                    <a:pt x="7" y="14601"/>
                    <a:pt x="-336" y="22983"/>
                  </a:cubicBezTo>
                  <a:lnTo>
                    <a:pt x="18714" y="36318"/>
                  </a:lnTo>
                  <a:close/>
                </a:path>
              </a:pathLst>
            </a:custGeom>
            <a:solidFill>
              <a:srgbClr val="D9530B"/>
            </a:solidFill>
            <a:ln w="9525" cap="flat">
              <a:noFill/>
              <a:prstDash val="solid"/>
              <a:miter/>
            </a:ln>
          </p:spPr>
          <p:txBody>
            <a:bodyPr rtlCol="0" anchor="ctr"/>
            <a:lstStyle/>
            <a:p>
              <a:endParaRPr lang="zh-CN" altLang="en-US"/>
            </a:p>
          </p:txBody>
        </p:sp>
        <p:sp>
          <p:nvSpPr>
            <p:cNvPr id="840" name="ïŝļiḍe">
              <a:extLst>
                <a:ext uri="{FF2B5EF4-FFF2-40B4-BE49-F238E27FC236}">
                  <a16:creationId xmlns:a16="http://schemas.microsoft.com/office/drawing/2014/main" id="{B3A80D8E-BD80-4551-A942-A5B8E19DF908}"/>
                </a:ext>
              </a:extLst>
            </p:cNvPr>
            <p:cNvSpPr/>
            <p:nvPr/>
          </p:nvSpPr>
          <p:spPr>
            <a:xfrm>
              <a:off x="6306973" y="3583469"/>
              <a:ext cx="84661" cy="51318"/>
            </a:xfrm>
            <a:custGeom>
              <a:avLst/>
              <a:gdLst>
                <a:gd name="connsiteX0" fmla="*/ -336 w 27813"/>
                <a:gd name="connsiteY0" fmla="*/ 16697 h 16859"/>
                <a:gd name="connsiteX1" fmla="*/ 21381 w 27813"/>
                <a:gd name="connsiteY1" fmla="*/ 4314 h 16859"/>
                <a:gd name="connsiteX2" fmla="*/ 27477 w 27813"/>
                <a:gd name="connsiteY2" fmla="*/ -163 h 16859"/>
                <a:gd name="connsiteX3" fmla="*/ 5855 w 27813"/>
                <a:gd name="connsiteY3" fmla="*/ 12315 h 16859"/>
                <a:gd name="connsiteX4" fmla="*/ -336 w 27813"/>
                <a:gd name="connsiteY4" fmla="*/ 16697 h 16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813" h="16859">
                  <a:moveTo>
                    <a:pt x="-336" y="16697"/>
                  </a:moveTo>
                  <a:lnTo>
                    <a:pt x="21381" y="4314"/>
                  </a:lnTo>
                  <a:cubicBezTo>
                    <a:pt x="23572" y="3047"/>
                    <a:pt x="25610" y="1552"/>
                    <a:pt x="27477" y="-163"/>
                  </a:cubicBezTo>
                  <a:lnTo>
                    <a:pt x="5855" y="12315"/>
                  </a:lnTo>
                  <a:cubicBezTo>
                    <a:pt x="3959" y="14001"/>
                    <a:pt x="1883" y="15468"/>
                    <a:pt x="-336" y="16697"/>
                  </a:cubicBezTo>
                  <a:close/>
                </a:path>
              </a:pathLst>
            </a:custGeom>
            <a:solidFill>
              <a:srgbClr val="171A42"/>
            </a:solidFill>
            <a:ln w="9525" cap="flat">
              <a:noFill/>
              <a:prstDash val="solid"/>
              <a:miter/>
            </a:ln>
          </p:spPr>
          <p:txBody>
            <a:bodyPr rtlCol="0" anchor="ctr"/>
            <a:lstStyle/>
            <a:p>
              <a:endParaRPr lang="zh-CN" altLang="en-US"/>
            </a:p>
          </p:txBody>
        </p:sp>
        <p:sp>
          <p:nvSpPr>
            <p:cNvPr id="841" name="íśľíďé">
              <a:extLst>
                <a:ext uri="{FF2B5EF4-FFF2-40B4-BE49-F238E27FC236}">
                  <a16:creationId xmlns:a16="http://schemas.microsoft.com/office/drawing/2014/main" id="{8F83C863-F308-4083-863E-21D9A3A42A7A}"/>
                </a:ext>
              </a:extLst>
            </p:cNvPr>
            <p:cNvSpPr/>
            <p:nvPr/>
          </p:nvSpPr>
          <p:spPr>
            <a:xfrm>
              <a:off x="6148089" y="3357320"/>
              <a:ext cx="28993" cy="578"/>
            </a:xfrm>
            <a:custGeom>
              <a:avLst/>
              <a:gdLst>
                <a:gd name="connsiteX0" fmla="*/ 0 w 9525"/>
                <a:gd name="connsiteY0" fmla="*/ 191 h 190"/>
                <a:gd name="connsiteX1" fmla="*/ 0 w 9525"/>
                <a:gd name="connsiteY1" fmla="*/ 95 h 190"/>
                <a:gd name="connsiteX2" fmla="*/ 0 w 9525"/>
                <a:gd name="connsiteY2" fmla="*/ 0 h 190"/>
                <a:gd name="connsiteX3" fmla="*/ 0 w 9525"/>
                <a:gd name="connsiteY3" fmla="*/ 95 h 190"/>
                <a:gd name="connsiteX4" fmla="*/ 0 w 9525"/>
                <a:gd name="connsiteY4" fmla="*/ 95 h 190"/>
                <a:gd name="connsiteX5" fmla="*/ 0 w 9525"/>
                <a:gd name="connsiteY5" fmla="*/ 191 h 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525" h="190">
                  <a:moveTo>
                    <a:pt x="0" y="191"/>
                  </a:moveTo>
                  <a:lnTo>
                    <a:pt x="0" y="95"/>
                  </a:lnTo>
                  <a:lnTo>
                    <a:pt x="0" y="0"/>
                  </a:lnTo>
                  <a:lnTo>
                    <a:pt x="0" y="95"/>
                  </a:lnTo>
                  <a:lnTo>
                    <a:pt x="0" y="95"/>
                  </a:lnTo>
                  <a:lnTo>
                    <a:pt x="0" y="191"/>
                  </a:lnTo>
                  <a:close/>
                </a:path>
              </a:pathLst>
            </a:custGeom>
            <a:solidFill>
              <a:srgbClr val="2E3192"/>
            </a:solidFill>
            <a:ln w="9525" cap="flat">
              <a:noFill/>
              <a:prstDash val="solid"/>
              <a:miter/>
            </a:ln>
          </p:spPr>
          <p:txBody>
            <a:bodyPr rtlCol="0" anchor="ctr"/>
            <a:lstStyle/>
            <a:p>
              <a:endParaRPr lang="zh-CN" altLang="en-US"/>
            </a:p>
          </p:txBody>
        </p:sp>
        <p:sp>
          <p:nvSpPr>
            <p:cNvPr id="842" name="iṡ1íḋe">
              <a:extLst>
                <a:ext uri="{FF2B5EF4-FFF2-40B4-BE49-F238E27FC236}">
                  <a16:creationId xmlns:a16="http://schemas.microsoft.com/office/drawing/2014/main" id="{4ADF0396-AA45-4068-ACD6-241C476C30EA}"/>
                </a:ext>
              </a:extLst>
            </p:cNvPr>
            <p:cNvSpPr/>
            <p:nvPr/>
          </p:nvSpPr>
          <p:spPr>
            <a:xfrm>
              <a:off x="5957603" y="3373553"/>
              <a:ext cx="340381" cy="292068"/>
            </a:xfrm>
            <a:custGeom>
              <a:avLst/>
              <a:gdLst>
                <a:gd name="connsiteX0" fmla="*/ 105391 w 111823"/>
                <a:gd name="connsiteY0" fmla="*/ 90896 h 95951"/>
                <a:gd name="connsiteX1" fmla="*/ 111487 w 111823"/>
                <a:gd name="connsiteY1" fmla="*/ 86420 h 95951"/>
                <a:gd name="connsiteX2" fmla="*/ 53099 w 111823"/>
                <a:gd name="connsiteY2" fmla="*/ -163 h 95951"/>
                <a:gd name="connsiteX3" fmla="*/ -336 w 111823"/>
                <a:gd name="connsiteY3" fmla="*/ 28412 h 95951"/>
                <a:gd name="connsiteX4" fmla="*/ 52908 w 111823"/>
                <a:gd name="connsiteY4" fmla="*/ 85562 h 95951"/>
                <a:gd name="connsiteX5" fmla="*/ 105391 w 111823"/>
                <a:gd name="connsiteY5" fmla="*/ 90896 h 95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1823" h="95951">
                  <a:moveTo>
                    <a:pt x="105391" y="90896"/>
                  </a:moveTo>
                  <a:cubicBezTo>
                    <a:pt x="107582" y="89630"/>
                    <a:pt x="109620" y="88134"/>
                    <a:pt x="111487" y="86420"/>
                  </a:cubicBezTo>
                  <a:lnTo>
                    <a:pt x="53099" y="-163"/>
                  </a:lnTo>
                  <a:lnTo>
                    <a:pt x="-336" y="28412"/>
                  </a:lnTo>
                  <a:cubicBezTo>
                    <a:pt x="12141" y="51768"/>
                    <a:pt x="30496" y="71465"/>
                    <a:pt x="52908" y="85562"/>
                  </a:cubicBezTo>
                  <a:cubicBezTo>
                    <a:pt x="73387" y="97469"/>
                    <a:pt x="91866" y="98612"/>
                    <a:pt x="105391" y="90896"/>
                  </a:cubicBezTo>
                  <a:close/>
                </a:path>
              </a:pathLst>
            </a:custGeom>
            <a:solidFill>
              <a:srgbClr val="323A82"/>
            </a:solidFill>
            <a:ln w="9525" cap="flat">
              <a:noFill/>
              <a:prstDash val="solid"/>
              <a:miter/>
            </a:ln>
          </p:spPr>
          <p:txBody>
            <a:bodyPr rtlCol="0" anchor="ctr"/>
            <a:lstStyle/>
            <a:p>
              <a:endParaRPr lang="zh-CN" altLang="en-US"/>
            </a:p>
          </p:txBody>
        </p:sp>
        <p:sp>
          <p:nvSpPr>
            <p:cNvPr id="843" name="ï$ḷïdê">
              <a:extLst>
                <a:ext uri="{FF2B5EF4-FFF2-40B4-BE49-F238E27FC236}">
                  <a16:creationId xmlns:a16="http://schemas.microsoft.com/office/drawing/2014/main" id="{CC1A9DEA-AE72-445F-A792-2A7A72993486}"/>
                </a:ext>
              </a:extLst>
            </p:cNvPr>
            <p:cNvSpPr/>
            <p:nvPr/>
          </p:nvSpPr>
          <p:spPr>
            <a:xfrm>
              <a:off x="6120256" y="3328616"/>
              <a:ext cx="250792" cy="308490"/>
            </a:xfrm>
            <a:custGeom>
              <a:avLst/>
              <a:gdLst>
                <a:gd name="connsiteX0" fmla="*/ 58388 w 82391"/>
                <a:gd name="connsiteY0" fmla="*/ 101346 h 101346"/>
                <a:gd name="connsiteX1" fmla="*/ 82391 w 82391"/>
                <a:gd name="connsiteY1" fmla="*/ 87535 h 101346"/>
                <a:gd name="connsiteX2" fmla="*/ 78105 w 82391"/>
                <a:gd name="connsiteY2" fmla="*/ 80867 h 101346"/>
                <a:gd name="connsiteX3" fmla="*/ 27813 w 82391"/>
                <a:gd name="connsiteY3" fmla="*/ 3143 h 101346"/>
                <a:gd name="connsiteX4" fmla="*/ 25718 w 82391"/>
                <a:gd name="connsiteY4" fmla="*/ 0 h 101346"/>
                <a:gd name="connsiteX5" fmla="*/ 0 w 82391"/>
                <a:gd name="connsiteY5" fmla="*/ 14764 h 101346"/>
                <a:gd name="connsiteX6" fmla="*/ 58388 w 82391"/>
                <a:gd name="connsiteY6" fmla="*/ 101346 h 101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391" h="101346">
                  <a:moveTo>
                    <a:pt x="58388" y="101346"/>
                  </a:moveTo>
                  <a:lnTo>
                    <a:pt x="82391" y="87535"/>
                  </a:lnTo>
                  <a:lnTo>
                    <a:pt x="78105" y="80867"/>
                  </a:lnTo>
                  <a:lnTo>
                    <a:pt x="27813" y="3143"/>
                  </a:lnTo>
                  <a:lnTo>
                    <a:pt x="25718" y="0"/>
                  </a:lnTo>
                  <a:lnTo>
                    <a:pt x="0" y="14764"/>
                  </a:lnTo>
                  <a:lnTo>
                    <a:pt x="58388" y="101346"/>
                  </a:lnTo>
                  <a:close/>
                </a:path>
              </a:pathLst>
            </a:custGeom>
            <a:solidFill>
              <a:srgbClr val="171A42"/>
            </a:solidFill>
            <a:ln w="9525" cap="flat">
              <a:noFill/>
              <a:prstDash val="solid"/>
              <a:miter/>
            </a:ln>
          </p:spPr>
          <p:txBody>
            <a:bodyPr rtlCol="0" anchor="ctr"/>
            <a:lstStyle/>
            <a:p>
              <a:endParaRPr lang="zh-CN" altLang="en-US"/>
            </a:p>
          </p:txBody>
        </p:sp>
        <p:sp>
          <p:nvSpPr>
            <p:cNvPr id="844" name="íŝļiďé">
              <a:extLst>
                <a:ext uri="{FF2B5EF4-FFF2-40B4-BE49-F238E27FC236}">
                  <a16:creationId xmlns:a16="http://schemas.microsoft.com/office/drawing/2014/main" id="{1891841E-A284-4B56-B8A8-1BE4471295CA}"/>
                </a:ext>
              </a:extLst>
            </p:cNvPr>
            <p:cNvSpPr/>
            <p:nvPr/>
          </p:nvSpPr>
          <p:spPr>
            <a:xfrm>
              <a:off x="5957314" y="3328616"/>
              <a:ext cx="241222" cy="131918"/>
            </a:xfrm>
            <a:custGeom>
              <a:avLst/>
              <a:gdLst>
                <a:gd name="connsiteX0" fmla="*/ 0 w 79247"/>
                <a:gd name="connsiteY0" fmla="*/ 43339 h 43338"/>
                <a:gd name="connsiteX1" fmla="*/ 73914 w 79247"/>
                <a:gd name="connsiteY1" fmla="*/ 857 h 43338"/>
                <a:gd name="connsiteX2" fmla="*/ 79248 w 79247"/>
                <a:gd name="connsiteY2" fmla="*/ 0 h 43338"/>
                <a:gd name="connsiteX3" fmla="*/ 53530 w 79247"/>
                <a:gd name="connsiteY3" fmla="*/ 14764 h 43338"/>
                <a:gd name="connsiteX4" fmla="*/ 0 w 79247"/>
                <a:gd name="connsiteY4" fmla="*/ 43339 h 433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247" h="43338">
                  <a:moveTo>
                    <a:pt x="0" y="43339"/>
                  </a:moveTo>
                  <a:lnTo>
                    <a:pt x="73914" y="857"/>
                  </a:lnTo>
                  <a:lnTo>
                    <a:pt x="79248" y="0"/>
                  </a:lnTo>
                  <a:lnTo>
                    <a:pt x="53530" y="14764"/>
                  </a:lnTo>
                  <a:lnTo>
                    <a:pt x="0" y="43339"/>
                  </a:lnTo>
                  <a:close/>
                </a:path>
              </a:pathLst>
            </a:custGeom>
            <a:solidFill>
              <a:srgbClr val="171A42"/>
            </a:solidFill>
            <a:ln w="9525" cap="flat">
              <a:noFill/>
              <a:prstDash val="solid"/>
              <a:miter/>
            </a:ln>
          </p:spPr>
          <p:txBody>
            <a:bodyPr rtlCol="0" anchor="ctr"/>
            <a:lstStyle/>
            <a:p>
              <a:endParaRPr lang="zh-CN" altLang="en-US"/>
            </a:p>
          </p:txBody>
        </p:sp>
        <p:sp>
          <p:nvSpPr>
            <p:cNvPr id="845" name="îŝľïḋè">
              <a:extLst>
                <a:ext uri="{FF2B5EF4-FFF2-40B4-BE49-F238E27FC236}">
                  <a16:creationId xmlns:a16="http://schemas.microsoft.com/office/drawing/2014/main" id="{86391D09-F6C3-4F5D-9B71-FC53C1804C28}"/>
                </a:ext>
              </a:extLst>
            </p:cNvPr>
            <p:cNvSpPr/>
            <p:nvPr/>
          </p:nvSpPr>
          <p:spPr>
            <a:xfrm>
              <a:off x="6279429" y="3621448"/>
              <a:ext cx="47838" cy="29283"/>
            </a:xfrm>
            <a:custGeom>
              <a:avLst/>
              <a:gdLst>
                <a:gd name="connsiteX0" fmla="*/ -336 w 15716"/>
                <a:gd name="connsiteY0" fmla="*/ 9458 h 9620"/>
                <a:gd name="connsiteX1" fmla="*/ 9189 w 15716"/>
                <a:gd name="connsiteY1" fmla="*/ 4219 h 9620"/>
                <a:gd name="connsiteX2" fmla="*/ 15380 w 15716"/>
                <a:gd name="connsiteY2" fmla="*/ -163 h 9620"/>
                <a:gd name="connsiteX3" fmla="*/ 5855 w 15716"/>
                <a:gd name="connsiteY3" fmla="*/ 4981 h 9620"/>
                <a:gd name="connsiteX4" fmla="*/ -336 w 15716"/>
                <a:gd name="connsiteY4" fmla="*/ 9458 h 9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16" h="9620">
                  <a:moveTo>
                    <a:pt x="-336" y="9458"/>
                  </a:moveTo>
                  <a:lnTo>
                    <a:pt x="9189" y="4219"/>
                  </a:lnTo>
                  <a:cubicBezTo>
                    <a:pt x="11408" y="2990"/>
                    <a:pt x="13485" y="1523"/>
                    <a:pt x="15380" y="-163"/>
                  </a:cubicBezTo>
                  <a:lnTo>
                    <a:pt x="5855" y="4981"/>
                  </a:lnTo>
                  <a:cubicBezTo>
                    <a:pt x="3960" y="6695"/>
                    <a:pt x="1883" y="8200"/>
                    <a:pt x="-336" y="9458"/>
                  </a:cubicBezTo>
                  <a:close/>
                </a:path>
              </a:pathLst>
            </a:custGeom>
            <a:solidFill>
              <a:srgbClr val="171A42"/>
            </a:solidFill>
            <a:ln w="9525" cap="flat">
              <a:noFill/>
              <a:prstDash val="solid"/>
              <a:miter/>
            </a:ln>
          </p:spPr>
          <p:txBody>
            <a:bodyPr rtlCol="0" anchor="ctr"/>
            <a:lstStyle/>
            <a:p>
              <a:endParaRPr lang="zh-CN" altLang="en-US"/>
            </a:p>
          </p:txBody>
        </p:sp>
        <p:sp>
          <p:nvSpPr>
            <p:cNvPr id="846" name="ïśḻïḍè">
              <a:extLst>
                <a:ext uri="{FF2B5EF4-FFF2-40B4-BE49-F238E27FC236}">
                  <a16:creationId xmlns:a16="http://schemas.microsoft.com/office/drawing/2014/main" id="{C78AD938-EA6B-470E-B4FD-F750F8F016A2}"/>
                </a:ext>
              </a:extLst>
            </p:cNvPr>
            <p:cNvSpPr/>
            <p:nvPr/>
          </p:nvSpPr>
          <p:spPr>
            <a:xfrm>
              <a:off x="6325240" y="3260191"/>
              <a:ext cx="114933" cy="361256"/>
            </a:xfrm>
            <a:custGeom>
              <a:avLst/>
              <a:gdLst>
                <a:gd name="connsiteX0" fmla="*/ -146 w 37758"/>
                <a:gd name="connsiteY0" fmla="*/ 118519 h 118681"/>
                <a:gd name="connsiteX1" fmla="*/ 21476 w 37758"/>
                <a:gd name="connsiteY1" fmla="*/ 106041 h 118681"/>
                <a:gd name="connsiteX2" fmla="*/ 37287 w 37758"/>
                <a:gd name="connsiteY2" fmla="*/ 62512 h 118681"/>
                <a:gd name="connsiteX3" fmla="*/ 21285 w 37758"/>
                <a:gd name="connsiteY3" fmla="*/ -163 h 118681"/>
                <a:gd name="connsiteX4" fmla="*/ -336 w 37758"/>
                <a:gd name="connsiteY4" fmla="*/ 12220 h 118681"/>
                <a:gd name="connsiteX5" fmla="*/ 15570 w 37758"/>
                <a:gd name="connsiteY5" fmla="*/ 74894 h 118681"/>
                <a:gd name="connsiteX6" fmla="*/ 13475 w 37758"/>
                <a:gd name="connsiteY6" fmla="*/ 93944 h 118681"/>
                <a:gd name="connsiteX7" fmla="*/ 3378 w 37758"/>
                <a:gd name="connsiteY7" fmla="*/ 114709 h 118681"/>
                <a:gd name="connsiteX8" fmla="*/ -146 w 37758"/>
                <a:gd name="connsiteY8" fmla="*/ 118519 h 118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758" h="118681">
                  <a:moveTo>
                    <a:pt x="-146" y="118519"/>
                  </a:moveTo>
                  <a:lnTo>
                    <a:pt x="21476" y="106041"/>
                  </a:lnTo>
                  <a:cubicBezTo>
                    <a:pt x="32649" y="94411"/>
                    <a:pt x="38392" y="78600"/>
                    <a:pt x="37287" y="62512"/>
                  </a:cubicBezTo>
                  <a:cubicBezTo>
                    <a:pt x="36687" y="40690"/>
                    <a:pt x="31220" y="19278"/>
                    <a:pt x="21285" y="-163"/>
                  </a:cubicBezTo>
                  <a:lnTo>
                    <a:pt x="-336" y="12220"/>
                  </a:lnTo>
                  <a:cubicBezTo>
                    <a:pt x="9598" y="31651"/>
                    <a:pt x="15037" y="53072"/>
                    <a:pt x="15570" y="74894"/>
                  </a:cubicBezTo>
                  <a:cubicBezTo>
                    <a:pt x="15599" y="81305"/>
                    <a:pt x="14894" y="87696"/>
                    <a:pt x="13475" y="93944"/>
                  </a:cubicBezTo>
                  <a:cubicBezTo>
                    <a:pt x="11741" y="101545"/>
                    <a:pt x="8284" y="108651"/>
                    <a:pt x="3378" y="114709"/>
                  </a:cubicBezTo>
                  <a:cubicBezTo>
                    <a:pt x="2311" y="116071"/>
                    <a:pt x="1130" y="117347"/>
                    <a:pt x="-146" y="118519"/>
                  </a:cubicBezTo>
                  <a:close/>
                </a:path>
              </a:pathLst>
            </a:custGeom>
            <a:solidFill>
              <a:srgbClr val="323A82"/>
            </a:solidFill>
            <a:ln w="9525" cap="flat">
              <a:noFill/>
              <a:prstDash val="solid"/>
              <a:miter/>
            </a:ln>
          </p:spPr>
          <p:txBody>
            <a:bodyPr rtlCol="0" anchor="ctr"/>
            <a:lstStyle/>
            <a:p>
              <a:endParaRPr lang="zh-CN" altLang="en-US"/>
            </a:p>
          </p:txBody>
        </p:sp>
        <p:sp>
          <p:nvSpPr>
            <p:cNvPr id="847" name="íSļïḋê">
              <a:extLst>
                <a:ext uri="{FF2B5EF4-FFF2-40B4-BE49-F238E27FC236}">
                  <a16:creationId xmlns:a16="http://schemas.microsoft.com/office/drawing/2014/main" id="{7C8569D3-F952-4CB0-A0DC-8D616FAA0A86}"/>
                </a:ext>
              </a:extLst>
            </p:cNvPr>
            <p:cNvSpPr/>
            <p:nvPr/>
          </p:nvSpPr>
          <p:spPr>
            <a:xfrm>
              <a:off x="6147511" y="3298174"/>
              <a:ext cx="226149" cy="323274"/>
            </a:xfrm>
            <a:custGeom>
              <a:avLst/>
              <a:gdLst>
                <a:gd name="connsiteX0" fmla="*/ 58242 w 74295"/>
                <a:gd name="connsiteY0" fmla="*/ 106041 h 106203"/>
                <a:gd name="connsiteX1" fmla="*/ 61767 w 74295"/>
                <a:gd name="connsiteY1" fmla="*/ 102326 h 106203"/>
                <a:gd name="connsiteX2" fmla="*/ 71863 w 74295"/>
                <a:gd name="connsiteY2" fmla="*/ 81562 h 106203"/>
                <a:gd name="connsiteX3" fmla="*/ 73959 w 74295"/>
                <a:gd name="connsiteY3" fmla="*/ 62512 h 106203"/>
                <a:gd name="connsiteX4" fmla="*/ 58052 w 74295"/>
                <a:gd name="connsiteY4" fmla="*/ -163 h 106203"/>
                <a:gd name="connsiteX5" fmla="*/ 35668 w 74295"/>
                <a:gd name="connsiteY5" fmla="*/ 6791 h 106203"/>
                <a:gd name="connsiteX6" fmla="*/ 24143 w 74295"/>
                <a:gd name="connsiteY6" fmla="*/ 10696 h 106203"/>
                <a:gd name="connsiteX7" fmla="*/ -336 w 74295"/>
                <a:gd name="connsiteY7" fmla="*/ 18887 h 106203"/>
                <a:gd name="connsiteX8" fmla="*/ -336 w 74295"/>
                <a:gd name="connsiteY8" fmla="*/ 18887 h 106203"/>
                <a:gd name="connsiteX9" fmla="*/ 35668 w 74295"/>
                <a:gd name="connsiteY9" fmla="*/ 73466 h 106203"/>
                <a:gd name="connsiteX10" fmla="*/ 55766 w 74295"/>
                <a:gd name="connsiteY10" fmla="*/ 103279 h 106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4295" h="106203">
                  <a:moveTo>
                    <a:pt x="58242" y="106041"/>
                  </a:moveTo>
                  <a:cubicBezTo>
                    <a:pt x="59509" y="104898"/>
                    <a:pt x="60690" y="103660"/>
                    <a:pt x="61767" y="102326"/>
                  </a:cubicBezTo>
                  <a:cubicBezTo>
                    <a:pt x="66672" y="96268"/>
                    <a:pt x="70130" y="89163"/>
                    <a:pt x="71863" y="81562"/>
                  </a:cubicBezTo>
                  <a:cubicBezTo>
                    <a:pt x="73282" y="75313"/>
                    <a:pt x="73987" y="68922"/>
                    <a:pt x="73959" y="62512"/>
                  </a:cubicBezTo>
                  <a:cubicBezTo>
                    <a:pt x="73425" y="40690"/>
                    <a:pt x="67987" y="19268"/>
                    <a:pt x="58052" y="-163"/>
                  </a:cubicBezTo>
                  <a:lnTo>
                    <a:pt x="35668" y="6791"/>
                  </a:lnTo>
                  <a:lnTo>
                    <a:pt x="24143" y="10696"/>
                  </a:lnTo>
                  <a:lnTo>
                    <a:pt x="-336" y="18887"/>
                  </a:lnTo>
                  <a:lnTo>
                    <a:pt x="-336" y="18887"/>
                  </a:lnTo>
                  <a:lnTo>
                    <a:pt x="35668" y="73466"/>
                  </a:lnTo>
                  <a:lnTo>
                    <a:pt x="55766" y="103279"/>
                  </a:lnTo>
                  <a:close/>
                </a:path>
              </a:pathLst>
            </a:custGeom>
            <a:solidFill>
              <a:srgbClr val="316DE6"/>
            </a:solidFill>
            <a:ln w="9525" cap="flat">
              <a:noFill/>
              <a:prstDash val="solid"/>
              <a:miter/>
            </a:ln>
          </p:spPr>
          <p:txBody>
            <a:bodyPr rtlCol="0" anchor="ctr"/>
            <a:lstStyle/>
            <a:p>
              <a:endParaRPr lang="zh-CN" altLang="en-US"/>
            </a:p>
          </p:txBody>
        </p:sp>
        <p:sp>
          <p:nvSpPr>
            <p:cNvPr id="848" name="iṡḻiḓe">
              <a:extLst>
                <a:ext uri="{FF2B5EF4-FFF2-40B4-BE49-F238E27FC236}">
                  <a16:creationId xmlns:a16="http://schemas.microsoft.com/office/drawing/2014/main" id="{05AC8E08-14EC-44B3-8743-33965BC22A50}"/>
                </a:ext>
              </a:extLst>
            </p:cNvPr>
            <p:cNvSpPr/>
            <p:nvPr/>
          </p:nvSpPr>
          <p:spPr>
            <a:xfrm>
              <a:off x="6027188" y="3029337"/>
              <a:ext cx="167580" cy="58051"/>
            </a:xfrm>
            <a:custGeom>
              <a:avLst/>
              <a:gdLst>
                <a:gd name="connsiteX0" fmla="*/ 33096 w 55054"/>
                <a:gd name="connsiteY0" fmla="*/ 18909 h 19071"/>
                <a:gd name="connsiteX1" fmla="*/ 54718 w 55054"/>
                <a:gd name="connsiteY1" fmla="*/ 6431 h 19071"/>
                <a:gd name="connsiteX2" fmla="*/ 21285 w 55054"/>
                <a:gd name="connsiteY2" fmla="*/ 240 h 19071"/>
                <a:gd name="connsiteX3" fmla="*/ -336 w 55054"/>
                <a:gd name="connsiteY3" fmla="*/ 12622 h 19071"/>
                <a:gd name="connsiteX4" fmla="*/ 28239 w 55054"/>
                <a:gd name="connsiteY4" fmla="*/ 16718 h 19071"/>
                <a:gd name="connsiteX5" fmla="*/ 33096 w 55054"/>
                <a:gd name="connsiteY5" fmla="*/ 18909 h 190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5054" h="19071">
                  <a:moveTo>
                    <a:pt x="33096" y="18909"/>
                  </a:moveTo>
                  <a:lnTo>
                    <a:pt x="54718" y="6431"/>
                  </a:lnTo>
                  <a:cubicBezTo>
                    <a:pt x="44460" y="1021"/>
                    <a:pt x="32801" y="-1132"/>
                    <a:pt x="21285" y="240"/>
                  </a:cubicBezTo>
                  <a:lnTo>
                    <a:pt x="-336" y="12622"/>
                  </a:lnTo>
                  <a:cubicBezTo>
                    <a:pt x="9389" y="11355"/>
                    <a:pt x="19266" y="12775"/>
                    <a:pt x="28239" y="16718"/>
                  </a:cubicBezTo>
                  <a:cubicBezTo>
                    <a:pt x="29763" y="17004"/>
                    <a:pt x="31382" y="17670"/>
                    <a:pt x="33096" y="18909"/>
                  </a:cubicBezTo>
                  <a:close/>
                </a:path>
              </a:pathLst>
            </a:custGeom>
            <a:solidFill>
              <a:srgbClr val="D9530B"/>
            </a:solidFill>
            <a:ln w="9525" cap="flat">
              <a:noFill/>
              <a:prstDash val="solid"/>
              <a:miter/>
            </a:ln>
          </p:spPr>
          <p:txBody>
            <a:bodyPr rtlCol="0" anchor="ctr"/>
            <a:lstStyle/>
            <a:p>
              <a:endParaRPr lang="zh-CN" altLang="en-US"/>
            </a:p>
          </p:txBody>
        </p:sp>
        <p:sp>
          <p:nvSpPr>
            <p:cNvPr id="849" name="iSḷîḓé">
              <a:extLst>
                <a:ext uri="{FF2B5EF4-FFF2-40B4-BE49-F238E27FC236}">
                  <a16:creationId xmlns:a16="http://schemas.microsoft.com/office/drawing/2014/main" id="{FBF5DED1-7EF4-4573-A7B4-154ABE5DF6FF}"/>
                </a:ext>
              </a:extLst>
            </p:cNvPr>
            <p:cNvSpPr/>
            <p:nvPr/>
          </p:nvSpPr>
          <p:spPr>
            <a:xfrm>
              <a:off x="6027188" y="3065724"/>
              <a:ext cx="120902" cy="291593"/>
            </a:xfrm>
            <a:custGeom>
              <a:avLst/>
              <a:gdLst>
                <a:gd name="connsiteX0" fmla="*/ 39383 w 39719"/>
                <a:gd name="connsiteY0" fmla="*/ 95633 h 95795"/>
                <a:gd name="connsiteX1" fmla="*/ 39383 w 39719"/>
                <a:gd name="connsiteY1" fmla="*/ 94966 h 95795"/>
                <a:gd name="connsiteX2" fmla="*/ 35573 w 39719"/>
                <a:gd name="connsiteY2" fmla="*/ 40388 h 95795"/>
                <a:gd name="connsiteX3" fmla="*/ 33954 w 39719"/>
                <a:gd name="connsiteY3" fmla="*/ 18099 h 95795"/>
                <a:gd name="connsiteX4" fmla="*/ 33954 w 39719"/>
                <a:gd name="connsiteY4" fmla="*/ 18099 h 95795"/>
                <a:gd name="connsiteX5" fmla="*/ 33192 w 39719"/>
                <a:gd name="connsiteY5" fmla="*/ 6574 h 95795"/>
                <a:gd name="connsiteX6" fmla="*/ 28239 w 39719"/>
                <a:gd name="connsiteY6" fmla="*/ 4383 h 95795"/>
                <a:gd name="connsiteX7" fmla="*/ -336 w 39719"/>
                <a:gd name="connsiteY7" fmla="*/ 288 h 95795"/>
                <a:gd name="connsiteX8" fmla="*/ 14713 w 39719"/>
                <a:gd name="connsiteY8" fmla="*/ 36578 h 95795"/>
                <a:gd name="connsiteX9" fmla="*/ 39097 w 39719"/>
                <a:gd name="connsiteY9" fmla="*/ 95061 h 95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719" h="95795">
                  <a:moveTo>
                    <a:pt x="39383" y="95633"/>
                  </a:moveTo>
                  <a:lnTo>
                    <a:pt x="39383" y="94966"/>
                  </a:lnTo>
                  <a:lnTo>
                    <a:pt x="35573" y="40388"/>
                  </a:lnTo>
                  <a:lnTo>
                    <a:pt x="33954" y="18099"/>
                  </a:lnTo>
                  <a:lnTo>
                    <a:pt x="33954" y="18099"/>
                  </a:lnTo>
                  <a:lnTo>
                    <a:pt x="33192" y="6574"/>
                  </a:lnTo>
                  <a:cubicBezTo>
                    <a:pt x="31477" y="5717"/>
                    <a:pt x="29858" y="5050"/>
                    <a:pt x="28239" y="4383"/>
                  </a:cubicBezTo>
                  <a:cubicBezTo>
                    <a:pt x="19266" y="440"/>
                    <a:pt x="9389" y="-979"/>
                    <a:pt x="-336" y="288"/>
                  </a:cubicBezTo>
                  <a:lnTo>
                    <a:pt x="14713" y="36578"/>
                  </a:lnTo>
                  <a:lnTo>
                    <a:pt x="39097" y="95061"/>
                  </a:lnTo>
                  <a:close/>
                </a:path>
              </a:pathLst>
            </a:custGeom>
            <a:solidFill>
              <a:srgbClr val="FF7D33"/>
            </a:solidFill>
            <a:ln w="9525" cap="flat">
              <a:noFill/>
              <a:prstDash val="solid"/>
              <a:miter/>
            </a:ln>
          </p:spPr>
          <p:txBody>
            <a:bodyPr rtlCol="0" anchor="ctr"/>
            <a:lstStyle/>
            <a:p>
              <a:endParaRPr lang="zh-CN" altLang="en-US"/>
            </a:p>
          </p:txBody>
        </p:sp>
        <p:sp>
          <p:nvSpPr>
            <p:cNvPr id="850" name="îsľîḓe">
              <a:extLst>
                <a:ext uri="{FF2B5EF4-FFF2-40B4-BE49-F238E27FC236}">
                  <a16:creationId xmlns:a16="http://schemas.microsoft.com/office/drawing/2014/main" id="{25364711-C8E9-4C80-B7DA-136A87B2F5E4}"/>
                </a:ext>
              </a:extLst>
            </p:cNvPr>
            <p:cNvSpPr/>
            <p:nvPr/>
          </p:nvSpPr>
          <p:spPr>
            <a:xfrm>
              <a:off x="5988916" y="3029404"/>
              <a:ext cx="104084" cy="51025"/>
            </a:xfrm>
            <a:custGeom>
              <a:avLst/>
              <a:gdLst>
                <a:gd name="connsiteX0" fmla="*/ 12237 w 34194"/>
                <a:gd name="connsiteY0" fmla="*/ 12220 h 16763"/>
                <a:gd name="connsiteX1" fmla="*/ 33858 w 34194"/>
                <a:gd name="connsiteY1" fmla="*/ -163 h 16763"/>
                <a:gd name="connsiteX2" fmla="*/ 21381 w 34194"/>
                <a:gd name="connsiteY2" fmla="*/ 4219 h 16763"/>
                <a:gd name="connsiteX3" fmla="*/ -336 w 34194"/>
                <a:gd name="connsiteY3" fmla="*/ 16601 h 16763"/>
                <a:gd name="connsiteX4" fmla="*/ 11665 w 34194"/>
                <a:gd name="connsiteY4" fmla="*/ 12315 h 16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194" h="16763">
                  <a:moveTo>
                    <a:pt x="12237" y="12220"/>
                  </a:moveTo>
                  <a:lnTo>
                    <a:pt x="33858" y="-163"/>
                  </a:lnTo>
                  <a:cubicBezTo>
                    <a:pt x="29458" y="485"/>
                    <a:pt x="25219" y="1971"/>
                    <a:pt x="21381" y="4219"/>
                  </a:cubicBezTo>
                  <a:lnTo>
                    <a:pt x="-336" y="16601"/>
                  </a:lnTo>
                  <a:cubicBezTo>
                    <a:pt x="3379" y="14468"/>
                    <a:pt x="7445" y="13020"/>
                    <a:pt x="11665" y="12315"/>
                  </a:cubicBezTo>
                  <a:close/>
                </a:path>
              </a:pathLst>
            </a:custGeom>
            <a:solidFill>
              <a:srgbClr val="E1E8F2"/>
            </a:solidFill>
            <a:ln w="9525" cap="flat">
              <a:noFill/>
              <a:prstDash val="solid"/>
              <a:miter/>
            </a:ln>
          </p:spPr>
          <p:txBody>
            <a:bodyPr rtlCol="0" anchor="ctr"/>
            <a:lstStyle/>
            <a:p>
              <a:endParaRPr lang="zh-CN" altLang="en-US"/>
            </a:p>
          </p:txBody>
        </p:sp>
        <p:sp>
          <p:nvSpPr>
            <p:cNvPr id="851" name="iS1ïḍe">
              <a:extLst>
                <a:ext uri="{FF2B5EF4-FFF2-40B4-BE49-F238E27FC236}">
                  <a16:creationId xmlns:a16="http://schemas.microsoft.com/office/drawing/2014/main" id="{754B52E0-E4BA-4E0E-A20C-4CFD294F2D87}"/>
                </a:ext>
              </a:extLst>
            </p:cNvPr>
            <p:cNvSpPr/>
            <p:nvPr/>
          </p:nvSpPr>
          <p:spPr>
            <a:xfrm>
              <a:off x="5922233" y="3067383"/>
              <a:ext cx="225856" cy="376044"/>
            </a:xfrm>
            <a:custGeom>
              <a:avLst/>
              <a:gdLst>
                <a:gd name="connsiteX0" fmla="*/ 73863 w 74199"/>
                <a:gd name="connsiteY0" fmla="*/ 95183 h 123539"/>
                <a:gd name="connsiteX1" fmla="*/ 73863 w 74199"/>
                <a:gd name="connsiteY1" fmla="*/ 95183 h 123539"/>
                <a:gd name="connsiteX2" fmla="*/ 73863 w 74199"/>
                <a:gd name="connsiteY2" fmla="*/ 94611 h 123539"/>
                <a:gd name="connsiteX3" fmla="*/ 49479 w 74199"/>
                <a:gd name="connsiteY3" fmla="*/ 36128 h 123539"/>
                <a:gd name="connsiteX4" fmla="*/ 34430 w 74199"/>
                <a:gd name="connsiteY4" fmla="*/ -163 h 123539"/>
                <a:gd name="connsiteX5" fmla="*/ 33477 w 74199"/>
                <a:gd name="connsiteY5" fmla="*/ -163 h 123539"/>
                <a:gd name="connsiteX6" fmla="*/ 21476 w 74199"/>
                <a:gd name="connsiteY6" fmla="*/ 4124 h 123539"/>
                <a:gd name="connsiteX7" fmla="*/ -336 w 74199"/>
                <a:gd name="connsiteY7" fmla="*/ 51749 h 123539"/>
                <a:gd name="connsiteX8" fmla="*/ 20237 w 74199"/>
                <a:gd name="connsiteY8" fmla="*/ 123377 h 123539"/>
                <a:gd name="connsiteX9" fmla="*/ 40621 w 74199"/>
                <a:gd name="connsiteY9" fmla="*/ 112518 h 123539"/>
                <a:gd name="connsiteX10" fmla="*/ 42335 w 74199"/>
                <a:gd name="connsiteY10" fmla="*/ 111661 h 123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4199" h="123539">
                  <a:moveTo>
                    <a:pt x="73863" y="95183"/>
                  </a:moveTo>
                  <a:lnTo>
                    <a:pt x="73863" y="95183"/>
                  </a:lnTo>
                  <a:lnTo>
                    <a:pt x="73863" y="94611"/>
                  </a:lnTo>
                  <a:lnTo>
                    <a:pt x="49479" y="36128"/>
                  </a:lnTo>
                  <a:lnTo>
                    <a:pt x="34430" y="-163"/>
                  </a:lnTo>
                  <a:lnTo>
                    <a:pt x="33477" y="-163"/>
                  </a:lnTo>
                  <a:cubicBezTo>
                    <a:pt x="29258" y="542"/>
                    <a:pt x="25191" y="1990"/>
                    <a:pt x="21476" y="4124"/>
                  </a:cubicBezTo>
                  <a:cubicBezTo>
                    <a:pt x="8045" y="11839"/>
                    <a:pt x="-336" y="28412"/>
                    <a:pt x="-336" y="51749"/>
                  </a:cubicBezTo>
                  <a:cubicBezTo>
                    <a:pt x="426" y="76971"/>
                    <a:pt x="7503" y="101593"/>
                    <a:pt x="20237" y="123377"/>
                  </a:cubicBezTo>
                  <a:lnTo>
                    <a:pt x="40621" y="112518"/>
                  </a:lnTo>
                  <a:lnTo>
                    <a:pt x="42335" y="111661"/>
                  </a:lnTo>
                  <a:close/>
                </a:path>
              </a:pathLst>
            </a:custGeom>
            <a:solidFill>
              <a:srgbClr val="EDF4FF"/>
            </a:solidFill>
            <a:ln w="9525" cap="flat">
              <a:noFill/>
              <a:prstDash val="solid"/>
              <a:miter/>
            </a:ln>
          </p:spPr>
          <p:txBody>
            <a:bodyPr rtlCol="0" anchor="ctr"/>
            <a:lstStyle/>
            <a:p>
              <a:endParaRPr lang="zh-CN" altLang="en-US"/>
            </a:p>
          </p:txBody>
        </p:sp>
        <p:sp>
          <p:nvSpPr>
            <p:cNvPr id="852" name="iSḷíḍê">
              <a:extLst>
                <a:ext uri="{FF2B5EF4-FFF2-40B4-BE49-F238E27FC236}">
                  <a16:creationId xmlns:a16="http://schemas.microsoft.com/office/drawing/2014/main" id="{5AAECCBF-A759-4354-BEF5-A747019A8EAE}"/>
                </a:ext>
              </a:extLst>
            </p:cNvPr>
            <p:cNvSpPr/>
            <p:nvPr/>
          </p:nvSpPr>
          <p:spPr>
            <a:xfrm>
              <a:off x="6128955" y="3086231"/>
              <a:ext cx="196285" cy="271086"/>
            </a:xfrm>
            <a:custGeom>
              <a:avLst/>
              <a:gdLst>
                <a:gd name="connsiteX0" fmla="*/ 64148 w 64484"/>
                <a:gd name="connsiteY0" fmla="*/ 69370 h 89058"/>
                <a:gd name="connsiteX1" fmla="*/ 61862 w 64484"/>
                <a:gd name="connsiteY1" fmla="*/ 64988 h 89058"/>
                <a:gd name="connsiteX2" fmla="*/ 23286 w 64484"/>
                <a:gd name="connsiteY2" fmla="*/ 15554 h 89058"/>
                <a:gd name="connsiteX3" fmla="*/ 6141 w 64484"/>
                <a:gd name="connsiteY3" fmla="*/ 3266 h 89058"/>
                <a:gd name="connsiteX4" fmla="*/ -336 w 64484"/>
                <a:gd name="connsiteY4" fmla="*/ -163 h 89058"/>
                <a:gd name="connsiteX5" fmla="*/ 426 w 64484"/>
                <a:gd name="connsiteY5" fmla="*/ 11363 h 89058"/>
                <a:gd name="connsiteX6" fmla="*/ 426 w 64484"/>
                <a:gd name="connsiteY6" fmla="*/ 11363 h 89058"/>
                <a:gd name="connsiteX7" fmla="*/ 2045 w 64484"/>
                <a:gd name="connsiteY7" fmla="*/ 33651 h 89058"/>
                <a:gd name="connsiteX8" fmla="*/ 5855 w 64484"/>
                <a:gd name="connsiteY8" fmla="*/ 88229 h 89058"/>
                <a:gd name="connsiteX9" fmla="*/ 5855 w 64484"/>
                <a:gd name="connsiteY9" fmla="*/ 88896 h 89058"/>
                <a:gd name="connsiteX10" fmla="*/ 5855 w 64484"/>
                <a:gd name="connsiteY10" fmla="*/ 88896 h 89058"/>
                <a:gd name="connsiteX11" fmla="*/ 30334 w 64484"/>
                <a:gd name="connsiteY11" fmla="*/ 80705 h 89058"/>
                <a:gd name="connsiteX12" fmla="*/ 41764 w 64484"/>
                <a:gd name="connsiteY12" fmla="*/ 76418 h 890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4484" h="89058">
                  <a:moveTo>
                    <a:pt x="64148" y="69370"/>
                  </a:moveTo>
                  <a:lnTo>
                    <a:pt x="61862" y="64988"/>
                  </a:lnTo>
                  <a:cubicBezTo>
                    <a:pt x="52204" y="46243"/>
                    <a:pt x="39126" y="29479"/>
                    <a:pt x="23286" y="15554"/>
                  </a:cubicBezTo>
                  <a:cubicBezTo>
                    <a:pt x="17961" y="10934"/>
                    <a:pt x="12218" y="6829"/>
                    <a:pt x="6141" y="3266"/>
                  </a:cubicBezTo>
                  <a:lnTo>
                    <a:pt x="-336" y="-163"/>
                  </a:lnTo>
                  <a:lnTo>
                    <a:pt x="426" y="11363"/>
                  </a:lnTo>
                  <a:lnTo>
                    <a:pt x="426" y="11363"/>
                  </a:lnTo>
                  <a:lnTo>
                    <a:pt x="2045" y="33651"/>
                  </a:lnTo>
                  <a:lnTo>
                    <a:pt x="5855" y="88229"/>
                  </a:lnTo>
                  <a:lnTo>
                    <a:pt x="5855" y="88896"/>
                  </a:lnTo>
                  <a:lnTo>
                    <a:pt x="5855" y="88896"/>
                  </a:lnTo>
                  <a:lnTo>
                    <a:pt x="30334" y="80705"/>
                  </a:lnTo>
                  <a:lnTo>
                    <a:pt x="41764" y="76418"/>
                  </a:lnTo>
                  <a:close/>
                </a:path>
              </a:pathLst>
            </a:custGeom>
            <a:solidFill>
              <a:srgbClr val="D9530B"/>
            </a:solidFill>
            <a:ln w="9525" cap="flat">
              <a:noFill/>
              <a:prstDash val="solid"/>
              <a:miter/>
            </a:ln>
          </p:spPr>
          <p:txBody>
            <a:bodyPr rtlCol="0" anchor="ctr"/>
            <a:lstStyle/>
            <a:p>
              <a:endParaRPr lang="zh-CN" altLang="en-US"/>
            </a:p>
          </p:txBody>
        </p:sp>
        <p:sp>
          <p:nvSpPr>
            <p:cNvPr id="853" name="íṥľîdé">
              <a:extLst>
                <a:ext uri="{FF2B5EF4-FFF2-40B4-BE49-F238E27FC236}">
                  <a16:creationId xmlns:a16="http://schemas.microsoft.com/office/drawing/2014/main" id="{238E2079-D109-4040-B9FB-DFEA3E0F6BDE}"/>
                </a:ext>
              </a:extLst>
            </p:cNvPr>
            <p:cNvSpPr/>
            <p:nvPr/>
          </p:nvSpPr>
          <p:spPr>
            <a:xfrm>
              <a:off x="6128955" y="3048249"/>
              <a:ext cx="262100" cy="249632"/>
            </a:xfrm>
            <a:custGeom>
              <a:avLst/>
              <a:gdLst>
                <a:gd name="connsiteX0" fmla="*/ 64148 w 86106"/>
                <a:gd name="connsiteY0" fmla="*/ 81848 h 82010"/>
                <a:gd name="connsiteX1" fmla="*/ 85770 w 86106"/>
                <a:gd name="connsiteY1" fmla="*/ 69465 h 82010"/>
                <a:gd name="connsiteX2" fmla="*/ 27858 w 86106"/>
                <a:gd name="connsiteY2" fmla="*/ 3362 h 82010"/>
                <a:gd name="connsiteX3" fmla="*/ 21286 w 86106"/>
                <a:gd name="connsiteY3" fmla="*/ -163 h 82010"/>
                <a:gd name="connsiteX4" fmla="*/ -336 w 86106"/>
                <a:gd name="connsiteY4" fmla="*/ 12696 h 82010"/>
                <a:gd name="connsiteX5" fmla="*/ 6141 w 86106"/>
                <a:gd name="connsiteY5" fmla="*/ 16125 h 82010"/>
                <a:gd name="connsiteX6" fmla="*/ 23286 w 86106"/>
                <a:gd name="connsiteY6" fmla="*/ 28412 h 82010"/>
                <a:gd name="connsiteX7" fmla="*/ 61862 w 86106"/>
                <a:gd name="connsiteY7" fmla="*/ 77847 h 82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6106" h="82010">
                  <a:moveTo>
                    <a:pt x="64148" y="81848"/>
                  </a:moveTo>
                  <a:lnTo>
                    <a:pt x="85770" y="69465"/>
                  </a:lnTo>
                  <a:cubicBezTo>
                    <a:pt x="73168" y="42357"/>
                    <a:pt x="53071" y="19421"/>
                    <a:pt x="27858" y="3362"/>
                  </a:cubicBezTo>
                  <a:cubicBezTo>
                    <a:pt x="25724" y="2076"/>
                    <a:pt x="23533" y="904"/>
                    <a:pt x="21286" y="-163"/>
                  </a:cubicBezTo>
                  <a:lnTo>
                    <a:pt x="-336" y="12696"/>
                  </a:lnTo>
                  <a:lnTo>
                    <a:pt x="6141" y="16125"/>
                  </a:lnTo>
                  <a:cubicBezTo>
                    <a:pt x="12218" y="19687"/>
                    <a:pt x="17961" y="23793"/>
                    <a:pt x="23286" y="28412"/>
                  </a:cubicBezTo>
                  <a:cubicBezTo>
                    <a:pt x="39126" y="42338"/>
                    <a:pt x="52204" y="59102"/>
                    <a:pt x="61862" y="77847"/>
                  </a:cubicBezTo>
                  <a:close/>
                </a:path>
              </a:pathLst>
            </a:custGeom>
            <a:solidFill>
              <a:srgbClr val="BF4200"/>
            </a:solidFill>
            <a:ln w="9525" cap="flat">
              <a:noFill/>
              <a:prstDash val="solid"/>
              <a:miter/>
            </a:ln>
          </p:spPr>
          <p:txBody>
            <a:bodyPr rtlCol="0" anchor="ctr"/>
            <a:lstStyle/>
            <a:p>
              <a:endParaRPr lang="zh-CN" altLang="en-US"/>
            </a:p>
          </p:txBody>
        </p:sp>
        <p:sp>
          <p:nvSpPr>
            <p:cNvPr id="854" name="ïṩḻíḓè">
              <a:extLst>
                <a:ext uri="{FF2B5EF4-FFF2-40B4-BE49-F238E27FC236}">
                  <a16:creationId xmlns:a16="http://schemas.microsoft.com/office/drawing/2014/main" id="{2365F1C0-E6F1-4720-A934-B31488390561}"/>
                </a:ext>
              </a:extLst>
            </p:cNvPr>
            <p:cNvSpPr/>
            <p:nvPr/>
          </p:nvSpPr>
          <p:spPr>
            <a:xfrm>
              <a:off x="6765069" y="3674485"/>
              <a:ext cx="227887" cy="124981"/>
            </a:xfrm>
            <a:custGeom>
              <a:avLst/>
              <a:gdLst>
                <a:gd name="connsiteX0" fmla="*/ -336 w 74866"/>
                <a:gd name="connsiteY0" fmla="*/ 3940 h 41059"/>
                <a:gd name="connsiteX1" fmla="*/ 2045 w 74866"/>
                <a:gd name="connsiteY1" fmla="*/ 3178 h 41059"/>
                <a:gd name="connsiteX2" fmla="*/ 12141 w 74866"/>
                <a:gd name="connsiteY2" fmla="*/ 5654 h 41059"/>
                <a:gd name="connsiteX3" fmla="*/ 67672 w 74866"/>
                <a:gd name="connsiteY3" fmla="*/ 37658 h 41059"/>
                <a:gd name="connsiteX4" fmla="*/ 73292 w 74866"/>
                <a:gd name="connsiteY4" fmla="*/ 40897 h 41059"/>
                <a:gd name="connsiteX5" fmla="*/ 74530 w 74866"/>
                <a:gd name="connsiteY5" fmla="*/ 35087 h 41059"/>
                <a:gd name="connsiteX6" fmla="*/ 74530 w 74866"/>
                <a:gd name="connsiteY6" fmla="*/ 35087 h 41059"/>
                <a:gd name="connsiteX7" fmla="*/ 73292 w 74866"/>
                <a:gd name="connsiteY7" fmla="*/ 34420 h 41059"/>
                <a:gd name="connsiteX8" fmla="*/ 17761 w 74866"/>
                <a:gd name="connsiteY8" fmla="*/ 2321 h 41059"/>
                <a:gd name="connsiteX9" fmla="*/ 5283 w 74866"/>
                <a:gd name="connsiteY9" fmla="*/ 606 h 41059"/>
                <a:gd name="connsiteX10" fmla="*/ 3950 w 74866"/>
                <a:gd name="connsiteY10" fmla="*/ 1463 h 41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4866" h="41059">
                  <a:moveTo>
                    <a:pt x="-336" y="3940"/>
                  </a:moveTo>
                  <a:cubicBezTo>
                    <a:pt x="416" y="3578"/>
                    <a:pt x="1226" y="3330"/>
                    <a:pt x="2045" y="3178"/>
                  </a:cubicBezTo>
                  <a:cubicBezTo>
                    <a:pt x="5598" y="2806"/>
                    <a:pt x="9160" y="3683"/>
                    <a:pt x="12141" y="5654"/>
                  </a:cubicBezTo>
                  <a:lnTo>
                    <a:pt x="67672" y="37658"/>
                  </a:lnTo>
                  <a:lnTo>
                    <a:pt x="73292" y="40897"/>
                  </a:lnTo>
                  <a:cubicBezTo>
                    <a:pt x="73254" y="38887"/>
                    <a:pt x="73682" y="36906"/>
                    <a:pt x="74530" y="35087"/>
                  </a:cubicBezTo>
                  <a:lnTo>
                    <a:pt x="74530" y="35087"/>
                  </a:lnTo>
                  <a:lnTo>
                    <a:pt x="73292" y="34420"/>
                  </a:lnTo>
                  <a:lnTo>
                    <a:pt x="17761" y="2321"/>
                  </a:lnTo>
                  <a:cubicBezTo>
                    <a:pt x="14113" y="-213"/>
                    <a:pt x="9474" y="-851"/>
                    <a:pt x="5283" y="606"/>
                  </a:cubicBezTo>
                  <a:lnTo>
                    <a:pt x="3950" y="1463"/>
                  </a:lnTo>
                  <a:close/>
                </a:path>
              </a:pathLst>
            </a:custGeom>
            <a:solidFill>
              <a:srgbClr val="316DE6"/>
            </a:solidFill>
            <a:ln w="9525" cap="flat">
              <a:noFill/>
              <a:prstDash val="solid"/>
              <a:miter/>
            </a:ln>
          </p:spPr>
          <p:txBody>
            <a:bodyPr rtlCol="0" anchor="ctr"/>
            <a:lstStyle/>
            <a:p>
              <a:endParaRPr lang="zh-CN" altLang="en-US"/>
            </a:p>
          </p:txBody>
        </p:sp>
        <p:sp>
          <p:nvSpPr>
            <p:cNvPr id="855" name="î$ļíḍè">
              <a:extLst>
                <a:ext uri="{FF2B5EF4-FFF2-40B4-BE49-F238E27FC236}">
                  <a16:creationId xmlns:a16="http://schemas.microsoft.com/office/drawing/2014/main" id="{361C565A-8A9B-4D05-910C-FE9014D6B379}"/>
                </a:ext>
              </a:extLst>
            </p:cNvPr>
            <p:cNvSpPr/>
            <p:nvPr/>
          </p:nvSpPr>
          <p:spPr>
            <a:xfrm>
              <a:off x="6745907" y="3685848"/>
              <a:ext cx="390855" cy="518177"/>
            </a:xfrm>
            <a:custGeom>
              <a:avLst/>
              <a:gdLst>
                <a:gd name="connsiteX0" fmla="*/ -328 w 128405"/>
                <a:gd name="connsiteY0" fmla="*/ 12780 h 170233"/>
                <a:gd name="connsiteX1" fmla="*/ -328 w 128405"/>
                <a:gd name="connsiteY1" fmla="*/ 17066 h 170233"/>
                <a:gd name="connsiteX2" fmla="*/ 5292 w 128405"/>
                <a:gd name="connsiteY2" fmla="*/ 20400 h 170233"/>
                <a:gd name="connsiteX3" fmla="*/ 51488 w 128405"/>
                <a:gd name="connsiteY3" fmla="*/ 46974 h 170233"/>
                <a:gd name="connsiteX4" fmla="*/ 86730 w 128405"/>
                <a:gd name="connsiteY4" fmla="*/ 67072 h 170233"/>
                <a:gd name="connsiteX5" fmla="*/ 105780 w 128405"/>
                <a:gd name="connsiteY5" fmla="*/ 99552 h 170233"/>
                <a:gd name="connsiteX6" fmla="*/ 105780 w 128405"/>
                <a:gd name="connsiteY6" fmla="*/ 162989 h 170233"/>
                <a:gd name="connsiteX7" fmla="*/ 116829 w 128405"/>
                <a:gd name="connsiteY7" fmla="*/ 168609 h 170233"/>
                <a:gd name="connsiteX8" fmla="*/ 116829 w 128405"/>
                <a:gd name="connsiteY8" fmla="*/ 168609 h 170233"/>
                <a:gd name="connsiteX9" fmla="*/ 128069 w 128405"/>
                <a:gd name="connsiteY9" fmla="*/ 149559 h 170233"/>
                <a:gd name="connsiteX10" fmla="*/ 128069 w 128405"/>
                <a:gd name="connsiteY10" fmla="*/ 65358 h 170233"/>
                <a:gd name="connsiteX11" fmla="*/ 114353 w 128405"/>
                <a:gd name="connsiteY11" fmla="*/ 41640 h 170233"/>
                <a:gd name="connsiteX12" fmla="*/ 93779 w 128405"/>
                <a:gd name="connsiteY12" fmla="*/ 29734 h 170233"/>
                <a:gd name="connsiteX13" fmla="*/ 87302 w 128405"/>
                <a:gd name="connsiteY13" fmla="*/ 27924 h 170233"/>
                <a:gd name="connsiteX14" fmla="*/ 84635 w 128405"/>
                <a:gd name="connsiteY14" fmla="*/ 28496 h 170233"/>
                <a:gd name="connsiteX15" fmla="*/ 83778 w 128405"/>
                <a:gd name="connsiteY15" fmla="*/ 28972 h 170233"/>
                <a:gd name="connsiteX16" fmla="*/ 81301 w 128405"/>
                <a:gd name="connsiteY16" fmla="*/ 31830 h 170233"/>
                <a:gd name="connsiteX17" fmla="*/ 81301 w 128405"/>
                <a:gd name="connsiteY17" fmla="*/ 31830 h 170233"/>
                <a:gd name="connsiteX18" fmla="*/ 80063 w 128405"/>
                <a:gd name="connsiteY18" fmla="*/ 37640 h 170233"/>
                <a:gd name="connsiteX19" fmla="*/ 74443 w 128405"/>
                <a:gd name="connsiteY19" fmla="*/ 34401 h 170233"/>
                <a:gd name="connsiteX20" fmla="*/ 18913 w 128405"/>
                <a:gd name="connsiteY20" fmla="*/ 2397 h 170233"/>
                <a:gd name="connsiteX21" fmla="*/ 8816 w 128405"/>
                <a:gd name="connsiteY21" fmla="*/ -79 h 170233"/>
                <a:gd name="connsiteX22" fmla="*/ 6435 w 128405"/>
                <a:gd name="connsiteY22" fmla="*/ 683 h 170233"/>
                <a:gd name="connsiteX23" fmla="*/ 5006 w 128405"/>
                <a:gd name="connsiteY23" fmla="*/ 1445 h 170233"/>
                <a:gd name="connsiteX24" fmla="*/ -328 w 128405"/>
                <a:gd name="connsiteY24" fmla="*/ 12780 h 170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28405" h="170233">
                  <a:moveTo>
                    <a:pt x="-328" y="12780"/>
                  </a:moveTo>
                  <a:lnTo>
                    <a:pt x="-328" y="17066"/>
                  </a:lnTo>
                  <a:lnTo>
                    <a:pt x="5292" y="20400"/>
                  </a:lnTo>
                  <a:lnTo>
                    <a:pt x="51488" y="46974"/>
                  </a:lnTo>
                  <a:lnTo>
                    <a:pt x="86730" y="67072"/>
                  </a:lnTo>
                  <a:cubicBezTo>
                    <a:pt x="97932" y="74206"/>
                    <a:pt x="105019" y="86294"/>
                    <a:pt x="105780" y="99552"/>
                  </a:cubicBezTo>
                  <a:lnTo>
                    <a:pt x="105780" y="162989"/>
                  </a:lnTo>
                  <a:cubicBezTo>
                    <a:pt x="105780" y="169371"/>
                    <a:pt x="110924" y="171942"/>
                    <a:pt x="116829" y="168609"/>
                  </a:cubicBezTo>
                  <a:lnTo>
                    <a:pt x="116829" y="168609"/>
                  </a:lnTo>
                  <a:cubicBezTo>
                    <a:pt x="123364" y="164380"/>
                    <a:pt x="127526" y="157322"/>
                    <a:pt x="128069" y="149559"/>
                  </a:cubicBezTo>
                  <a:lnTo>
                    <a:pt x="128069" y="65358"/>
                  </a:lnTo>
                  <a:cubicBezTo>
                    <a:pt x="127526" y="55718"/>
                    <a:pt x="122430" y="46917"/>
                    <a:pt x="114353" y="41640"/>
                  </a:cubicBezTo>
                  <a:lnTo>
                    <a:pt x="93779" y="29734"/>
                  </a:lnTo>
                  <a:cubicBezTo>
                    <a:pt x="91836" y="28524"/>
                    <a:pt x="89588" y="27896"/>
                    <a:pt x="87302" y="27924"/>
                  </a:cubicBezTo>
                  <a:cubicBezTo>
                    <a:pt x="86387" y="27953"/>
                    <a:pt x="85483" y="28153"/>
                    <a:pt x="84635" y="28496"/>
                  </a:cubicBezTo>
                  <a:lnTo>
                    <a:pt x="83778" y="28972"/>
                  </a:lnTo>
                  <a:cubicBezTo>
                    <a:pt x="82721" y="29696"/>
                    <a:pt x="81863" y="30677"/>
                    <a:pt x="81301" y="31830"/>
                  </a:cubicBezTo>
                  <a:lnTo>
                    <a:pt x="81301" y="31830"/>
                  </a:lnTo>
                  <a:cubicBezTo>
                    <a:pt x="80454" y="33649"/>
                    <a:pt x="80025" y="35630"/>
                    <a:pt x="80063" y="37640"/>
                  </a:cubicBezTo>
                  <a:lnTo>
                    <a:pt x="74443" y="34401"/>
                  </a:lnTo>
                  <a:lnTo>
                    <a:pt x="18913" y="2397"/>
                  </a:lnTo>
                  <a:cubicBezTo>
                    <a:pt x="15931" y="426"/>
                    <a:pt x="12369" y="-451"/>
                    <a:pt x="8816" y="-79"/>
                  </a:cubicBezTo>
                  <a:cubicBezTo>
                    <a:pt x="7997" y="73"/>
                    <a:pt x="7187" y="321"/>
                    <a:pt x="6435" y="683"/>
                  </a:cubicBezTo>
                  <a:lnTo>
                    <a:pt x="5006" y="1445"/>
                  </a:lnTo>
                  <a:cubicBezTo>
                    <a:pt x="1510" y="4140"/>
                    <a:pt x="-480" y="8360"/>
                    <a:pt x="-328" y="12780"/>
                  </a:cubicBezTo>
                  <a:close/>
                </a:path>
              </a:pathLst>
            </a:custGeom>
            <a:solidFill>
              <a:srgbClr val="323A82"/>
            </a:solidFill>
            <a:ln w="9525" cap="flat">
              <a:noFill/>
              <a:prstDash val="solid"/>
              <a:miter/>
            </a:ln>
          </p:spPr>
          <p:txBody>
            <a:bodyPr rtlCol="0" anchor="ctr"/>
            <a:lstStyle/>
            <a:p>
              <a:endParaRPr lang="zh-CN" altLang="en-US"/>
            </a:p>
          </p:txBody>
        </p:sp>
        <p:sp>
          <p:nvSpPr>
            <p:cNvPr id="856" name="ïṣlíḓe">
              <a:extLst>
                <a:ext uri="{FF2B5EF4-FFF2-40B4-BE49-F238E27FC236}">
                  <a16:creationId xmlns:a16="http://schemas.microsoft.com/office/drawing/2014/main" id="{09BDFFF9-C1C3-46C8-B229-7742F5A4DA2D}"/>
                </a:ext>
              </a:extLst>
            </p:cNvPr>
            <p:cNvSpPr/>
            <p:nvPr/>
          </p:nvSpPr>
          <p:spPr>
            <a:xfrm>
              <a:off x="6754053" y="3705265"/>
              <a:ext cx="322114" cy="451667"/>
            </a:xfrm>
            <a:custGeom>
              <a:avLst/>
              <a:gdLst>
                <a:gd name="connsiteX0" fmla="*/ 8522 w 105822"/>
                <a:gd name="connsiteY0" fmla="*/ 96127 h 148383"/>
                <a:gd name="connsiteX1" fmla="*/ 96628 w 105822"/>
                <a:gd name="connsiteY1" fmla="*/ 146991 h 148383"/>
                <a:gd name="connsiteX2" fmla="*/ 105486 w 105822"/>
                <a:gd name="connsiteY2" fmla="*/ 141847 h 148383"/>
                <a:gd name="connsiteX3" fmla="*/ 105486 w 105822"/>
                <a:gd name="connsiteY3" fmla="*/ 67266 h 148383"/>
                <a:gd name="connsiteX4" fmla="*/ 96628 w 105822"/>
                <a:gd name="connsiteY4" fmla="*/ 51931 h 148383"/>
                <a:gd name="connsiteX5" fmla="*/ 8522 w 105822"/>
                <a:gd name="connsiteY5" fmla="*/ 1068 h 148383"/>
                <a:gd name="connsiteX6" fmla="*/ -336 w 105822"/>
                <a:gd name="connsiteY6" fmla="*/ 6211 h 148383"/>
                <a:gd name="connsiteX7" fmla="*/ -336 w 105822"/>
                <a:gd name="connsiteY7" fmla="*/ 80697 h 148383"/>
                <a:gd name="connsiteX8" fmla="*/ 8522 w 105822"/>
                <a:gd name="connsiteY8" fmla="*/ 96127 h 1483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822" h="148383">
                  <a:moveTo>
                    <a:pt x="8522" y="96127"/>
                  </a:moveTo>
                  <a:lnTo>
                    <a:pt x="96628" y="146991"/>
                  </a:lnTo>
                  <a:cubicBezTo>
                    <a:pt x="101486" y="149848"/>
                    <a:pt x="105486" y="147562"/>
                    <a:pt x="105486" y="141847"/>
                  </a:cubicBezTo>
                  <a:lnTo>
                    <a:pt x="105486" y="67266"/>
                  </a:lnTo>
                  <a:cubicBezTo>
                    <a:pt x="105143" y="61037"/>
                    <a:pt x="101848" y="55341"/>
                    <a:pt x="96628" y="51931"/>
                  </a:cubicBezTo>
                  <a:lnTo>
                    <a:pt x="8522" y="1068"/>
                  </a:lnTo>
                  <a:cubicBezTo>
                    <a:pt x="3664" y="-1790"/>
                    <a:pt x="-336" y="496"/>
                    <a:pt x="-336" y="6211"/>
                  </a:cubicBezTo>
                  <a:lnTo>
                    <a:pt x="-336" y="80697"/>
                  </a:lnTo>
                  <a:cubicBezTo>
                    <a:pt x="-22" y="86964"/>
                    <a:pt x="3274" y="92698"/>
                    <a:pt x="8522" y="96127"/>
                  </a:cubicBezTo>
                  <a:close/>
                </a:path>
              </a:pathLst>
            </a:custGeom>
            <a:solidFill>
              <a:srgbClr val="D1D9E8"/>
            </a:solidFill>
            <a:ln w="9525" cap="flat">
              <a:noFill/>
              <a:prstDash val="solid"/>
              <a:miter/>
            </a:ln>
          </p:spPr>
          <p:txBody>
            <a:bodyPr rtlCol="0" anchor="ctr"/>
            <a:lstStyle/>
            <a:p>
              <a:endParaRPr lang="zh-CN" altLang="en-US"/>
            </a:p>
          </p:txBody>
        </p:sp>
        <p:sp>
          <p:nvSpPr>
            <p:cNvPr id="857" name="ïśḻïďé">
              <a:extLst>
                <a:ext uri="{FF2B5EF4-FFF2-40B4-BE49-F238E27FC236}">
                  <a16:creationId xmlns:a16="http://schemas.microsoft.com/office/drawing/2014/main" id="{91F87AD4-F703-4D8E-962D-80BE1B5E24FD}"/>
                </a:ext>
              </a:extLst>
            </p:cNvPr>
            <p:cNvSpPr/>
            <p:nvPr/>
          </p:nvSpPr>
          <p:spPr>
            <a:xfrm>
              <a:off x="6736946" y="3715121"/>
              <a:ext cx="322114" cy="451667"/>
            </a:xfrm>
            <a:custGeom>
              <a:avLst/>
              <a:gdLst>
                <a:gd name="connsiteX0" fmla="*/ 8522 w 105822"/>
                <a:gd name="connsiteY0" fmla="*/ 96127 h 148383"/>
                <a:gd name="connsiteX1" fmla="*/ 96628 w 105822"/>
                <a:gd name="connsiteY1" fmla="*/ 146991 h 148383"/>
                <a:gd name="connsiteX2" fmla="*/ 105487 w 105822"/>
                <a:gd name="connsiteY2" fmla="*/ 141847 h 148383"/>
                <a:gd name="connsiteX3" fmla="*/ 105487 w 105822"/>
                <a:gd name="connsiteY3" fmla="*/ 67362 h 148383"/>
                <a:gd name="connsiteX4" fmla="*/ 96628 w 105822"/>
                <a:gd name="connsiteY4" fmla="*/ 51931 h 148383"/>
                <a:gd name="connsiteX5" fmla="*/ 8522 w 105822"/>
                <a:gd name="connsiteY5" fmla="*/ 1068 h 148383"/>
                <a:gd name="connsiteX6" fmla="*/ -336 w 105822"/>
                <a:gd name="connsiteY6" fmla="*/ 6211 h 148383"/>
                <a:gd name="connsiteX7" fmla="*/ -336 w 105822"/>
                <a:gd name="connsiteY7" fmla="*/ 80792 h 148383"/>
                <a:gd name="connsiteX8" fmla="*/ 8522 w 105822"/>
                <a:gd name="connsiteY8" fmla="*/ 96127 h 1483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822" h="148383">
                  <a:moveTo>
                    <a:pt x="8522" y="96127"/>
                  </a:moveTo>
                  <a:lnTo>
                    <a:pt x="96628" y="146991"/>
                  </a:lnTo>
                  <a:cubicBezTo>
                    <a:pt x="101486" y="149848"/>
                    <a:pt x="105487" y="147562"/>
                    <a:pt x="105487" y="141847"/>
                  </a:cubicBezTo>
                  <a:lnTo>
                    <a:pt x="105487" y="67362"/>
                  </a:lnTo>
                  <a:cubicBezTo>
                    <a:pt x="105172" y="61094"/>
                    <a:pt x="101877" y="55360"/>
                    <a:pt x="96628" y="51931"/>
                  </a:cubicBezTo>
                  <a:lnTo>
                    <a:pt x="8522" y="1068"/>
                  </a:lnTo>
                  <a:cubicBezTo>
                    <a:pt x="3664" y="-1790"/>
                    <a:pt x="-336" y="496"/>
                    <a:pt x="-336" y="6211"/>
                  </a:cubicBezTo>
                  <a:lnTo>
                    <a:pt x="-336" y="80792"/>
                  </a:lnTo>
                  <a:cubicBezTo>
                    <a:pt x="7" y="87021"/>
                    <a:pt x="3302" y="92717"/>
                    <a:pt x="8522" y="96127"/>
                  </a:cubicBezTo>
                  <a:close/>
                </a:path>
              </a:pathLst>
            </a:custGeom>
            <a:solidFill>
              <a:srgbClr val="EDF4FF"/>
            </a:solidFill>
            <a:ln w="9525" cap="flat">
              <a:noFill/>
              <a:prstDash val="solid"/>
              <a:miter/>
            </a:ln>
          </p:spPr>
          <p:txBody>
            <a:bodyPr rtlCol="0" anchor="ctr"/>
            <a:lstStyle/>
            <a:p>
              <a:endParaRPr lang="zh-CN" altLang="en-US"/>
            </a:p>
          </p:txBody>
        </p:sp>
        <p:sp>
          <p:nvSpPr>
            <p:cNvPr id="858" name="íṧḷïḋe">
              <a:extLst>
                <a:ext uri="{FF2B5EF4-FFF2-40B4-BE49-F238E27FC236}">
                  <a16:creationId xmlns:a16="http://schemas.microsoft.com/office/drawing/2014/main" id="{B76787ED-60B1-4E56-B090-58A5664940CA}"/>
                </a:ext>
              </a:extLst>
            </p:cNvPr>
            <p:cNvSpPr/>
            <p:nvPr/>
          </p:nvSpPr>
          <p:spPr>
            <a:xfrm>
              <a:off x="6660525" y="3735385"/>
              <a:ext cx="390146" cy="528581"/>
            </a:xfrm>
            <a:custGeom>
              <a:avLst/>
              <a:gdLst>
                <a:gd name="connsiteX0" fmla="*/ -281 w 128172"/>
                <a:gd name="connsiteY0" fmla="*/ 12698 h 173651"/>
                <a:gd name="connsiteX1" fmla="*/ -281 w 128172"/>
                <a:gd name="connsiteY1" fmla="*/ 86327 h 173651"/>
                <a:gd name="connsiteX2" fmla="*/ 18769 w 128172"/>
                <a:gd name="connsiteY2" fmla="*/ 118807 h 173651"/>
                <a:gd name="connsiteX3" fmla="*/ 109066 w 128172"/>
                <a:gd name="connsiteY3" fmla="*/ 171004 h 173651"/>
                <a:gd name="connsiteX4" fmla="*/ 121639 w 128172"/>
                <a:gd name="connsiteY4" fmla="*/ 172623 h 173651"/>
                <a:gd name="connsiteX5" fmla="*/ 122782 w 128172"/>
                <a:gd name="connsiteY5" fmla="*/ 172052 h 173651"/>
                <a:gd name="connsiteX6" fmla="*/ 124878 w 128172"/>
                <a:gd name="connsiteY6" fmla="*/ 170147 h 173651"/>
                <a:gd name="connsiteX7" fmla="*/ 127830 w 128172"/>
                <a:gd name="connsiteY7" fmla="*/ 160622 h 173651"/>
                <a:gd name="connsiteX8" fmla="*/ 127830 w 128172"/>
                <a:gd name="connsiteY8" fmla="*/ 86993 h 173651"/>
                <a:gd name="connsiteX9" fmla="*/ 108780 w 128172"/>
                <a:gd name="connsiteY9" fmla="*/ 54513 h 173651"/>
                <a:gd name="connsiteX10" fmla="*/ 33343 w 128172"/>
                <a:gd name="connsiteY10" fmla="*/ 10984 h 173651"/>
                <a:gd name="connsiteX11" fmla="*/ 27723 w 128172"/>
                <a:gd name="connsiteY11" fmla="*/ 7745 h 173651"/>
                <a:gd name="connsiteX12" fmla="*/ 18198 w 128172"/>
                <a:gd name="connsiteY12" fmla="*/ 2316 h 173651"/>
                <a:gd name="connsiteX13" fmla="*/ 8006 w 128172"/>
                <a:gd name="connsiteY13" fmla="*/ -65 h 173651"/>
                <a:gd name="connsiteX14" fmla="*/ 4672 w 128172"/>
                <a:gd name="connsiteY14" fmla="*/ 1173 h 173651"/>
                <a:gd name="connsiteX15" fmla="*/ -281 w 128172"/>
                <a:gd name="connsiteY15" fmla="*/ 12698 h 173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8172" h="173651">
                  <a:moveTo>
                    <a:pt x="-281" y="12698"/>
                  </a:moveTo>
                  <a:lnTo>
                    <a:pt x="-281" y="86327"/>
                  </a:lnTo>
                  <a:cubicBezTo>
                    <a:pt x="481" y="99586"/>
                    <a:pt x="7568" y="111673"/>
                    <a:pt x="18769" y="118807"/>
                  </a:cubicBezTo>
                  <a:lnTo>
                    <a:pt x="109066" y="171004"/>
                  </a:lnTo>
                  <a:cubicBezTo>
                    <a:pt x="112733" y="173595"/>
                    <a:pt x="117439" y="174204"/>
                    <a:pt x="121639" y="172623"/>
                  </a:cubicBezTo>
                  <a:lnTo>
                    <a:pt x="122782" y="172052"/>
                  </a:lnTo>
                  <a:cubicBezTo>
                    <a:pt x="123544" y="171499"/>
                    <a:pt x="124249" y="170852"/>
                    <a:pt x="124878" y="170147"/>
                  </a:cubicBezTo>
                  <a:cubicBezTo>
                    <a:pt x="126888" y="167384"/>
                    <a:pt x="127926" y="164032"/>
                    <a:pt x="127830" y="160622"/>
                  </a:cubicBezTo>
                  <a:lnTo>
                    <a:pt x="127830" y="86993"/>
                  </a:lnTo>
                  <a:cubicBezTo>
                    <a:pt x="127040" y="73744"/>
                    <a:pt x="119953" y="61676"/>
                    <a:pt x="108780" y="54513"/>
                  </a:cubicBezTo>
                  <a:lnTo>
                    <a:pt x="33343" y="10984"/>
                  </a:lnTo>
                  <a:lnTo>
                    <a:pt x="27723" y="7745"/>
                  </a:lnTo>
                  <a:lnTo>
                    <a:pt x="18198" y="2316"/>
                  </a:lnTo>
                  <a:cubicBezTo>
                    <a:pt x="15178" y="373"/>
                    <a:pt x="11578" y="-465"/>
                    <a:pt x="8006" y="-65"/>
                  </a:cubicBezTo>
                  <a:cubicBezTo>
                    <a:pt x="6825" y="135"/>
                    <a:pt x="5691" y="554"/>
                    <a:pt x="4672" y="1173"/>
                  </a:cubicBezTo>
                  <a:cubicBezTo>
                    <a:pt x="1177" y="3926"/>
                    <a:pt x="-690" y="8269"/>
                    <a:pt x="-281" y="12698"/>
                  </a:cubicBezTo>
                  <a:close/>
                </a:path>
              </a:pathLst>
            </a:custGeom>
            <a:solidFill>
              <a:srgbClr val="214EA6"/>
            </a:solidFill>
            <a:ln w="9525" cap="flat">
              <a:noFill/>
              <a:prstDash val="solid"/>
              <a:miter/>
            </a:ln>
          </p:spPr>
          <p:txBody>
            <a:bodyPr rtlCol="0" anchor="ctr"/>
            <a:lstStyle/>
            <a:p>
              <a:endParaRPr lang="zh-CN" altLang="en-US"/>
            </a:p>
          </p:txBody>
        </p:sp>
        <p:sp>
          <p:nvSpPr>
            <p:cNvPr id="859" name="iš1ïďè">
              <a:extLst>
                <a:ext uri="{FF2B5EF4-FFF2-40B4-BE49-F238E27FC236}">
                  <a16:creationId xmlns:a16="http://schemas.microsoft.com/office/drawing/2014/main" id="{AEAC9AA5-994C-4D35-B295-90966C0B5A40}"/>
                </a:ext>
              </a:extLst>
            </p:cNvPr>
            <p:cNvSpPr/>
            <p:nvPr/>
          </p:nvSpPr>
          <p:spPr>
            <a:xfrm>
              <a:off x="6676640" y="3721158"/>
              <a:ext cx="477717" cy="536982"/>
            </a:xfrm>
            <a:custGeom>
              <a:avLst/>
              <a:gdLst>
                <a:gd name="connsiteX0" fmla="*/ -336 w 156941"/>
                <a:gd name="connsiteY0" fmla="*/ 5371 h 176411"/>
                <a:gd name="connsiteX1" fmla="*/ 2997 w 156941"/>
                <a:gd name="connsiteY1" fmla="*/ 4132 h 176411"/>
                <a:gd name="connsiteX2" fmla="*/ 13189 w 156941"/>
                <a:gd name="connsiteY2" fmla="*/ 6514 h 176411"/>
                <a:gd name="connsiteX3" fmla="*/ 22714 w 156941"/>
                <a:gd name="connsiteY3" fmla="*/ 11943 h 176411"/>
                <a:gd name="connsiteX4" fmla="*/ 28334 w 156941"/>
                <a:gd name="connsiteY4" fmla="*/ 15181 h 176411"/>
                <a:gd name="connsiteX5" fmla="*/ 103772 w 156941"/>
                <a:gd name="connsiteY5" fmla="*/ 58711 h 176411"/>
                <a:gd name="connsiteX6" fmla="*/ 122822 w 156941"/>
                <a:gd name="connsiteY6" fmla="*/ 91191 h 176411"/>
                <a:gd name="connsiteX7" fmla="*/ 122822 w 156941"/>
                <a:gd name="connsiteY7" fmla="*/ 164819 h 176411"/>
                <a:gd name="connsiteX8" fmla="*/ 119869 w 156941"/>
                <a:gd name="connsiteY8" fmla="*/ 174344 h 176411"/>
                <a:gd name="connsiteX9" fmla="*/ 117774 w 156941"/>
                <a:gd name="connsiteY9" fmla="*/ 176249 h 176411"/>
                <a:gd name="connsiteX10" fmla="*/ 122250 w 156941"/>
                <a:gd name="connsiteY10" fmla="*/ 173582 h 176411"/>
                <a:gd name="connsiteX11" fmla="*/ 123489 w 156941"/>
                <a:gd name="connsiteY11" fmla="*/ 172915 h 176411"/>
                <a:gd name="connsiteX12" fmla="*/ 151302 w 156941"/>
                <a:gd name="connsiteY12" fmla="*/ 156818 h 176411"/>
                <a:gd name="connsiteX13" fmla="*/ 156540 w 156941"/>
                <a:gd name="connsiteY13" fmla="*/ 144817 h 176411"/>
                <a:gd name="connsiteX14" fmla="*/ 156540 w 156941"/>
                <a:gd name="connsiteY14" fmla="*/ 49567 h 176411"/>
                <a:gd name="connsiteX15" fmla="*/ 142824 w 156941"/>
                <a:gd name="connsiteY15" fmla="*/ 25849 h 176411"/>
                <a:gd name="connsiteX16" fmla="*/ 122250 w 156941"/>
                <a:gd name="connsiteY16" fmla="*/ 13943 h 176411"/>
                <a:gd name="connsiteX17" fmla="*/ 112725 w 156941"/>
                <a:gd name="connsiteY17" fmla="*/ 12705 h 176411"/>
                <a:gd name="connsiteX18" fmla="*/ 112725 w 156941"/>
                <a:gd name="connsiteY18" fmla="*/ 12705 h 176411"/>
                <a:gd name="connsiteX19" fmla="*/ 111773 w 156941"/>
                <a:gd name="connsiteY19" fmla="*/ 13276 h 176411"/>
                <a:gd name="connsiteX20" fmla="*/ 107106 w 156941"/>
                <a:gd name="connsiteY20" fmla="*/ 15943 h 176411"/>
                <a:gd name="connsiteX21" fmla="*/ 109773 w 156941"/>
                <a:gd name="connsiteY21" fmla="*/ 15372 h 176411"/>
                <a:gd name="connsiteX22" fmla="*/ 116250 w 156941"/>
                <a:gd name="connsiteY22" fmla="*/ 17182 h 176411"/>
                <a:gd name="connsiteX23" fmla="*/ 136824 w 156941"/>
                <a:gd name="connsiteY23" fmla="*/ 29088 h 176411"/>
                <a:gd name="connsiteX24" fmla="*/ 150540 w 156941"/>
                <a:gd name="connsiteY24" fmla="*/ 52805 h 176411"/>
                <a:gd name="connsiteX25" fmla="*/ 150540 w 156941"/>
                <a:gd name="connsiteY25" fmla="*/ 137006 h 176411"/>
                <a:gd name="connsiteX26" fmla="*/ 139300 w 156941"/>
                <a:gd name="connsiteY26" fmla="*/ 156056 h 176411"/>
                <a:gd name="connsiteX27" fmla="*/ 139300 w 156941"/>
                <a:gd name="connsiteY27" fmla="*/ 156056 h 176411"/>
                <a:gd name="connsiteX28" fmla="*/ 128251 w 156941"/>
                <a:gd name="connsiteY28" fmla="*/ 150436 h 176411"/>
                <a:gd name="connsiteX29" fmla="*/ 128251 w 156941"/>
                <a:gd name="connsiteY29" fmla="*/ 87000 h 176411"/>
                <a:gd name="connsiteX30" fmla="*/ 109201 w 156941"/>
                <a:gd name="connsiteY30" fmla="*/ 54520 h 176411"/>
                <a:gd name="connsiteX31" fmla="*/ 74340 w 156941"/>
                <a:gd name="connsiteY31" fmla="*/ 34327 h 176411"/>
                <a:gd name="connsiteX32" fmla="*/ 28143 w 156941"/>
                <a:gd name="connsiteY32" fmla="*/ 7752 h 176411"/>
                <a:gd name="connsiteX33" fmla="*/ 22524 w 156941"/>
                <a:gd name="connsiteY33" fmla="*/ 4418 h 176411"/>
                <a:gd name="connsiteX34" fmla="*/ 18904 w 156941"/>
                <a:gd name="connsiteY34" fmla="*/ 2323 h 176411"/>
                <a:gd name="connsiteX35" fmla="*/ 6236 w 156941"/>
                <a:gd name="connsiteY35" fmla="*/ 703 h 176411"/>
                <a:gd name="connsiteX36" fmla="*/ 5664 w 156941"/>
                <a:gd name="connsiteY36" fmla="*/ 703 h 176411"/>
                <a:gd name="connsiteX37" fmla="*/ 5664 w 156941"/>
                <a:gd name="connsiteY37" fmla="*/ 703 h 1764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56941" h="176411">
                  <a:moveTo>
                    <a:pt x="-336" y="5371"/>
                  </a:moveTo>
                  <a:cubicBezTo>
                    <a:pt x="683" y="4751"/>
                    <a:pt x="1816" y="4332"/>
                    <a:pt x="2997" y="4132"/>
                  </a:cubicBezTo>
                  <a:cubicBezTo>
                    <a:pt x="6569" y="3732"/>
                    <a:pt x="10170" y="4571"/>
                    <a:pt x="13189" y="6514"/>
                  </a:cubicBezTo>
                  <a:lnTo>
                    <a:pt x="22714" y="11943"/>
                  </a:lnTo>
                  <a:lnTo>
                    <a:pt x="28334" y="15181"/>
                  </a:lnTo>
                  <a:lnTo>
                    <a:pt x="103772" y="58711"/>
                  </a:lnTo>
                  <a:cubicBezTo>
                    <a:pt x="114945" y="65873"/>
                    <a:pt x="122031" y="77942"/>
                    <a:pt x="122822" y="91191"/>
                  </a:cubicBezTo>
                  <a:lnTo>
                    <a:pt x="122822" y="164819"/>
                  </a:lnTo>
                  <a:cubicBezTo>
                    <a:pt x="122917" y="168229"/>
                    <a:pt x="121879" y="171582"/>
                    <a:pt x="119869" y="174344"/>
                  </a:cubicBezTo>
                  <a:cubicBezTo>
                    <a:pt x="119240" y="175049"/>
                    <a:pt x="118536" y="175697"/>
                    <a:pt x="117774" y="176249"/>
                  </a:cubicBezTo>
                  <a:lnTo>
                    <a:pt x="122250" y="173582"/>
                  </a:lnTo>
                  <a:lnTo>
                    <a:pt x="123489" y="172915"/>
                  </a:lnTo>
                  <a:lnTo>
                    <a:pt x="151302" y="156818"/>
                  </a:lnTo>
                  <a:cubicBezTo>
                    <a:pt x="155016" y="153999"/>
                    <a:pt x="156998" y="149455"/>
                    <a:pt x="156540" y="144817"/>
                  </a:cubicBezTo>
                  <a:lnTo>
                    <a:pt x="156540" y="49567"/>
                  </a:lnTo>
                  <a:cubicBezTo>
                    <a:pt x="155997" y="39927"/>
                    <a:pt x="150902" y="31126"/>
                    <a:pt x="142824" y="25849"/>
                  </a:cubicBezTo>
                  <a:lnTo>
                    <a:pt x="122250" y="13943"/>
                  </a:lnTo>
                  <a:cubicBezTo>
                    <a:pt x="119498" y="11933"/>
                    <a:pt x="115907" y="11467"/>
                    <a:pt x="112725" y="12705"/>
                  </a:cubicBezTo>
                  <a:lnTo>
                    <a:pt x="112725" y="12705"/>
                  </a:lnTo>
                  <a:lnTo>
                    <a:pt x="111773" y="13276"/>
                  </a:lnTo>
                  <a:lnTo>
                    <a:pt x="107106" y="15943"/>
                  </a:lnTo>
                  <a:cubicBezTo>
                    <a:pt x="107953" y="15601"/>
                    <a:pt x="108858" y="15400"/>
                    <a:pt x="109773" y="15372"/>
                  </a:cubicBezTo>
                  <a:cubicBezTo>
                    <a:pt x="112059" y="15343"/>
                    <a:pt x="114307" y="15972"/>
                    <a:pt x="116250" y="17182"/>
                  </a:cubicBezTo>
                  <a:lnTo>
                    <a:pt x="136824" y="29088"/>
                  </a:lnTo>
                  <a:cubicBezTo>
                    <a:pt x="144901" y="34365"/>
                    <a:pt x="149997" y="43166"/>
                    <a:pt x="150540" y="52805"/>
                  </a:cubicBezTo>
                  <a:lnTo>
                    <a:pt x="150540" y="137006"/>
                  </a:lnTo>
                  <a:cubicBezTo>
                    <a:pt x="149997" y="144769"/>
                    <a:pt x="145834" y="151827"/>
                    <a:pt x="139300" y="156056"/>
                  </a:cubicBezTo>
                  <a:lnTo>
                    <a:pt x="139300" y="156056"/>
                  </a:lnTo>
                  <a:cubicBezTo>
                    <a:pt x="133395" y="159390"/>
                    <a:pt x="128632" y="156818"/>
                    <a:pt x="128251" y="150436"/>
                  </a:cubicBezTo>
                  <a:lnTo>
                    <a:pt x="128251" y="87000"/>
                  </a:lnTo>
                  <a:cubicBezTo>
                    <a:pt x="127489" y="73741"/>
                    <a:pt x="120403" y="61654"/>
                    <a:pt x="109201" y="54520"/>
                  </a:cubicBezTo>
                  <a:lnTo>
                    <a:pt x="74340" y="34327"/>
                  </a:lnTo>
                  <a:lnTo>
                    <a:pt x="28143" y="7752"/>
                  </a:lnTo>
                  <a:lnTo>
                    <a:pt x="22524" y="4418"/>
                  </a:lnTo>
                  <a:lnTo>
                    <a:pt x="18904" y="2323"/>
                  </a:lnTo>
                  <a:cubicBezTo>
                    <a:pt x="15208" y="-268"/>
                    <a:pt x="10465" y="-878"/>
                    <a:pt x="6236" y="703"/>
                  </a:cubicBezTo>
                  <a:lnTo>
                    <a:pt x="5664" y="703"/>
                  </a:lnTo>
                  <a:lnTo>
                    <a:pt x="5664" y="703"/>
                  </a:lnTo>
                  <a:close/>
                </a:path>
              </a:pathLst>
            </a:custGeom>
            <a:solidFill>
              <a:srgbClr val="316DE6"/>
            </a:solidFill>
            <a:ln w="9525" cap="flat">
              <a:noFill/>
              <a:prstDash val="solid"/>
              <a:miter/>
            </a:ln>
          </p:spPr>
          <p:txBody>
            <a:bodyPr rtlCol="0" anchor="ctr"/>
            <a:lstStyle/>
            <a:p>
              <a:endParaRPr lang="zh-CN" altLang="en-US"/>
            </a:p>
          </p:txBody>
        </p:sp>
      </p:grpSp>
      <p:sp>
        <p:nvSpPr>
          <p:cNvPr id="866" name="文本框 865">
            <a:extLst>
              <a:ext uri="{FF2B5EF4-FFF2-40B4-BE49-F238E27FC236}">
                <a16:creationId xmlns:a16="http://schemas.microsoft.com/office/drawing/2014/main" id="{AA8FE061-8D7B-4564-97D7-72FCAB85DCC3}"/>
              </a:ext>
            </a:extLst>
          </p:cNvPr>
          <p:cNvSpPr txBox="1"/>
          <p:nvPr/>
        </p:nvSpPr>
        <p:spPr>
          <a:xfrm>
            <a:off x="669924" y="4037917"/>
            <a:ext cx="7588572" cy="1200329"/>
          </a:xfrm>
          <a:prstGeom prst="rect">
            <a:avLst/>
          </a:prstGeom>
          <a:noFill/>
        </p:spPr>
        <p:txBody>
          <a:bodyPr wrap="square" rtlCol="0">
            <a:spAutoFit/>
          </a:bodyPr>
          <a:lstStyle/>
          <a:p>
            <a:pPr algn="l"/>
            <a:r>
              <a:rPr lang="en-US" altLang="zh-CN" b="1" i="0" dirty="0">
                <a:solidFill>
                  <a:srgbClr val="4F4F4F"/>
                </a:solidFill>
                <a:effectLst/>
                <a:latin typeface="PingFang SC"/>
              </a:rPr>
              <a:t>2</a:t>
            </a:r>
            <a:r>
              <a:rPr lang="zh-CN" altLang="en-US" b="1" i="0" dirty="0">
                <a:solidFill>
                  <a:srgbClr val="4F4F4F"/>
                </a:solidFill>
                <a:effectLst/>
                <a:latin typeface="PingFang SC"/>
              </a:rPr>
              <a:t>、事件说明</a:t>
            </a:r>
          </a:p>
          <a:p>
            <a:pPr algn="l"/>
            <a:r>
              <a:rPr lang="zh-CN" altLang="en-US" b="0" i="0" dirty="0">
                <a:effectLst/>
                <a:latin typeface="+mn-ea"/>
              </a:rPr>
              <a:t>事件名</a:t>
            </a:r>
            <a:r>
              <a:rPr lang="en-US" altLang="zh-CN" b="0" i="0" dirty="0">
                <a:effectLst/>
                <a:latin typeface="+mn-ea"/>
              </a:rPr>
              <a:t>(</a:t>
            </a:r>
            <a:r>
              <a:rPr lang="zh-CN" altLang="en-US" b="0" i="0" dirty="0">
                <a:effectLst/>
                <a:latin typeface="+mn-ea"/>
              </a:rPr>
              <a:t>参数表</a:t>
            </a:r>
            <a:r>
              <a:rPr lang="en-US" altLang="zh-CN" b="0" i="0" dirty="0">
                <a:effectLst/>
                <a:latin typeface="+mn-ea"/>
              </a:rPr>
              <a:t>)[</a:t>
            </a:r>
            <a:r>
              <a:rPr lang="zh-CN" altLang="en-US" b="0" i="0" dirty="0">
                <a:effectLst/>
                <a:latin typeface="+mn-ea"/>
              </a:rPr>
              <a:t>守卫条件</a:t>
            </a:r>
            <a:r>
              <a:rPr lang="en-US" altLang="zh-CN" b="0" i="0" dirty="0">
                <a:effectLst/>
                <a:latin typeface="+mn-ea"/>
              </a:rPr>
              <a:t>]/</a:t>
            </a:r>
            <a:r>
              <a:rPr lang="zh-CN" altLang="en-US" b="0" i="0" dirty="0">
                <a:effectLst/>
                <a:latin typeface="+mn-ea"/>
              </a:rPr>
              <a:t>动作表达式</a:t>
            </a:r>
            <a:r>
              <a:rPr lang="en-US" altLang="zh-CN" b="0" i="0" dirty="0">
                <a:effectLst/>
                <a:latin typeface="+mn-ea"/>
              </a:rPr>
              <a:t>^</a:t>
            </a:r>
            <a:r>
              <a:rPr lang="zh-CN" altLang="en-US" b="0" i="0" dirty="0">
                <a:effectLst/>
                <a:latin typeface="+mn-ea"/>
              </a:rPr>
              <a:t>发送子句</a:t>
            </a:r>
          </a:p>
          <a:p>
            <a:pPr algn="l"/>
            <a:r>
              <a:rPr lang="zh-CN" altLang="en-US" b="0" i="0" dirty="0">
                <a:effectLst/>
                <a:latin typeface="+mn-ea"/>
              </a:rPr>
              <a:t>其中</a:t>
            </a:r>
            <a:r>
              <a:rPr lang="en-US" altLang="zh-CN" b="0" i="0" dirty="0" err="1">
                <a:effectLst/>
                <a:latin typeface="+mn-ea"/>
              </a:rPr>
              <a:t>isAuthed</a:t>
            </a:r>
            <a:r>
              <a:rPr lang="zh-CN" altLang="en-US" b="0" i="0" dirty="0">
                <a:effectLst/>
                <a:latin typeface="+mn-ea"/>
              </a:rPr>
              <a:t>为一个</a:t>
            </a:r>
            <a:r>
              <a:rPr lang="en-US" altLang="zh-CN" b="0" i="0" dirty="0">
                <a:effectLst/>
                <a:latin typeface="+mn-ea"/>
              </a:rPr>
              <a:t>guard</a:t>
            </a:r>
            <a:r>
              <a:rPr lang="zh-CN" altLang="en-US" b="0" i="0" dirty="0">
                <a:effectLst/>
                <a:latin typeface="+mn-ea"/>
              </a:rPr>
              <a:t>说明满足该条件才会进行状态转移，然后执行函数</a:t>
            </a:r>
            <a:r>
              <a:rPr lang="en-US" altLang="zh-CN" b="0" i="0" dirty="0" err="1">
                <a:effectLst/>
                <a:latin typeface="+mn-ea"/>
              </a:rPr>
              <a:t>auidt</a:t>
            </a:r>
            <a:r>
              <a:rPr lang="zh-CN" altLang="en-US" b="0" i="0" dirty="0">
                <a:effectLst/>
                <a:latin typeface="+mn-ea"/>
              </a:rPr>
              <a:t>。</a:t>
            </a:r>
          </a:p>
        </p:txBody>
      </p:sp>
    </p:spTree>
    <p:custDataLst>
      <p:tags r:id="rId1"/>
    </p:custDataLst>
    <p:extLst>
      <p:ext uri="{BB962C8B-B14F-4D97-AF65-F5344CB8AC3E}">
        <p14:creationId xmlns:p14="http://schemas.microsoft.com/office/powerpoint/2010/main" val="2233242425"/>
      </p:ext>
    </p:extLst>
  </p:cSld>
  <p:clrMapOvr>
    <a:masterClrMapping/>
  </p:clrMapOvr>
  <mc:AlternateContent xmlns:mc="http://schemas.openxmlformats.org/markup-compatibility/2006">
    <mc:Choice xmlns:p14="http://schemas.microsoft.com/office/powerpoint/2010/main" Requires="p14">
      <p:transition spd="slow" p14:dur="1250">
        <p:blinds dir="vert"/>
      </p:transition>
    </mc:Choice>
    <mc:Fallback>
      <p:transition spd="slow">
        <p:blinds dir="vert"/>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35" name="Picture 2">
            <a:extLst>
              <a:ext uri="{FF2B5EF4-FFF2-40B4-BE49-F238E27FC236}">
                <a16:creationId xmlns:a16="http://schemas.microsoft.com/office/drawing/2014/main" id="{66388D5B-5909-4522-A05A-4DE4A7F6BA03}"/>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289747" y="3972159"/>
            <a:ext cx="5853351" cy="2562366"/>
          </a:xfrm>
          <a:prstGeom prst="rect">
            <a:avLst/>
          </a:prstGeom>
          <a:noFill/>
          <a:extLst>
            <a:ext uri="{909E8E84-426E-40DD-AFC4-6F175D3DCCD1}">
              <a14:hiddenFill xmlns:a14="http://schemas.microsoft.com/office/drawing/2010/main">
                <a:solidFill>
                  <a:srgbClr val="FFFFFF"/>
                </a:solidFill>
              </a14:hiddenFill>
            </a:ext>
          </a:extLst>
        </p:spPr>
      </p:pic>
      <p:pic>
        <p:nvPicPr>
          <p:cNvPr id="3" name="图片 2" descr="图示&#10;&#10;描述已自动生成">
            <a:extLst>
              <a:ext uri="{FF2B5EF4-FFF2-40B4-BE49-F238E27FC236}">
                <a16:creationId xmlns:a16="http://schemas.microsoft.com/office/drawing/2014/main" id="{2A959D69-4C4A-45CA-80FC-D610B88B905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550236" y="1219178"/>
            <a:ext cx="3690328" cy="2221925"/>
          </a:xfrm>
          <a:prstGeom prst="rect">
            <a:avLst/>
          </a:prstGeom>
        </p:spPr>
      </p:pic>
      <p:sp>
        <p:nvSpPr>
          <p:cNvPr id="4" name="灯片编号占位符 3">
            <a:extLst>
              <a:ext uri="{FF2B5EF4-FFF2-40B4-BE49-F238E27FC236}">
                <a16:creationId xmlns:a16="http://schemas.microsoft.com/office/drawing/2014/main" id="{2A5C0DA9-421E-435E-A37F-75EEA4A204CB}"/>
              </a:ext>
            </a:extLst>
          </p:cNvPr>
          <p:cNvSpPr>
            <a:spLocks noGrp="1"/>
          </p:cNvSpPr>
          <p:nvPr>
            <p:ph type="sldNum" sz="quarter" idx="12"/>
          </p:nvPr>
        </p:nvSpPr>
        <p:spPr/>
        <p:txBody>
          <a:bodyPr/>
          <a:lstStyle/>
          <a:p>
            <a:fld id="{5DD3DB80-B894-403A-B48E-6FDC1A72010E}" type="slidenum">
              <a:rPr lang="zh-CN" altLang="en-US" smtClean="0"/>
              <a:pPr/>
              <a:t>18</a:t>
            </a:fld>
            <a:endParaRPr lang="zh-CN" altLang="en-US"/>
          </a:p>
        </p:txBody>
      </p:sp>
      <p:sp>
        <p:nvSpPr>
          <p:cNvPr id="5" name="标题 1">
            <a:extLst>
              <a:ext uri="{FF2B5EF4-FFF2-40B4-BE49-F238E27FC236}">
                <a16:creationId xmlns:a16="http://schemas.microsoft.com/office/drawing/2014/main" id="{A66C21BB-C083-4C2F-A2AE-920B8A20D84E}"/>
              </a:ext>
            </a:extLst>
          </p:cNvPr>
          <p:cNvSpPr>
            <a:spLocks noGrp="1"/>
          </p:cNvSpPr>
          <p:nvPr>
            <p:ph type="title"/>
          </p:nvPr>
        </p:nvSpPr>
        <p:spPr>
          <a:xfrm>
            <a:off x="669924" y="1"/>
            <a:ext cx="10850563" cy="1028699"/>
          </a:xfrm>
        </p:spPr>
        <p:txBody>
          <a:bodyPr/>
          <a:lstStyle/>
          <a:p>
            <a:r>
              <a:rPr lang="en-US" altLang="zh-CN" dirty="0"/>
              <a:t>UML</a:t>
            </a:r>
            <a:r>
              <a:rPr lang="zh-CN" altLang="en-US" dirty="0"/>
              <a:t>状态图</a:t>
            </a:r>
          </a:p>
        </p:txBody>
      </p:sp>
      <p:sp>
        <p:nvSpPr>
          <p:cNvPr id="6" name="文本框 5">
            <a:extLst>
              <a:ext uri="{FF2B5EF4-FFF2-40B4-BE49-F238E27FC236}">
                <a16:creationId xmlns:a16="http://schemas.microsoft.com/office/drawing/2014/main" id="{AD4EF72B-B237-4531-96CB-FAD2B6E29EE8}"/>
              </a:ext>
            </a:extLst>
          </p:cNvPr>
          <p:cNvSpPr txBox="1"/>
          <p:nvPr/>
        </p:nvSpPr>
        <p:spPr>
          <a:xfrm>
            <a:off x="669924" y="1238348"/>
            <a:ext cx="6374188" cy="2308324"/>
          </a:xfrm>
          <a:prstGeom prst="rect">
            <a:avLst/>
          </a:prstGeom>
          <a:noFill/>
        </p:spPr>
        <p:txBody>
          <a:bodyPr wrap="square" rtlCol="0">
            <a:spAutoFit/>
          </a:bodyPr>
          <a:lstStyle/>
          <a:p>
            <a:pPr algn="l"/>
            <a:r>
              <a:rPr lang="en-US" altLang="zh-CN" b="1" i="0" dirty="0">
                <a:solidFill>
                  <a:srgbClr val="4F4F4F"/>
                </a:solidFill>
                <a:effectLst/>
                <a:latin typeface="+mn-ea"/>
              </a:rPr>
              <a:t>3</a:t>
            </a:r>
            <a:r>
              <a:rPr lang="zh-CN" altLang="en-US" b="1" i="0" dirty="0">
                <a:solidFill>
                  <a:srgbClr val="4F4F4F"/>
                </a:solidFill>
                <a:effectLst/>
                <a:latin typeface="+mn-ea"/>
              </a:rPr>
              <a:t>、活动</a:t>
            </a:r>
          </a:p>
          <a:p>
            <a:pPr algn="l"/>
            <a:r>
              <a:rPr lang="zh-CN" altLang="en-US" i="0" dirty="0">
                <a:solidFill>
                  <a:srgbClr val="4F4F4F"/>
                </a:solidFill>
                <a:effectLst/>
                <a:latin typeface="+mn-ea"/>
              </a:rPr>
              <a:t>活动表的语法格式：事件名</a:t>
            </a:r>
            <a:r>
              <a:rPr lang="en-US" altLang="zh-CN" i="0" dirty="0">
                <a:solidFill>
                  <a:srgbClr val="4F4F4F"/>
                </a:solidFill>
                <a:effectLst/>
                <a:latin typeface="+mn-ea"/>
              </a:rPr>
              <a:t>(</a:t>
            </a:r>
            <a:r>
              <a:rPr lang="zh-CN" altLang="en-US" i="0" dirty="0">
                <a:solidFill>
                  <a:srgbClr val="4F4F4F"/>
                </a:solidFill>
                <a:effectLst/>
                <a:latin typeface="+mn-ea"/>
              </a:rPr>
              <a:t>参数表</a:t>
            </a:r>
            <a:r>
              <a:rPr lang="en-US" altLang="zh-CN" i="0" dirty="0">
                <a:solidFill>
                  <a:srgbClr val="4F4F4F"/>
                </a:solidFill>
                <a:effectLst/>
                <a:latin typeface="+mn-ea"/>
              </a:rPr>
              <a:t>)/</a:t>
            </a:r>
            <a:r>
              <a:rPr lang="zh-CN" altLang="en-US" i="0" dirty="0">
                <a:solidFill>
                  <a:srgbClr val="4F4F4F"/>
                </a:solidFill>
                <a:effectLst/>
                <a:latin typeface="+mn-ea"/>
              </a:rPr>
              <a:t>动作表达式</a:t>
            </a:r>
            <a:br>
              <a:rPr lang="zh-CN" altLang="en-US" i="0" dirty="0">
                <a:solidFill>
                  <a:srgbClr val="4F4F4F"/>
                </a:solidFill>
                <a:effectLst/>
                <a:latin typeface="+mn-ea"/>
              </a:rPr>
            </a:br>
            <a:r>
              <a:rPr lang="zh-CN" altLang="en-US" i="0" dirty="0">
                <a:solidFill>
                  <a:srgbClr val="4F4F4F"/>
                </a:solidFill>
                <a:effectLst/>
                <a:latin typeface="+mn-ea"/>
              </a:rPr>
              <a:t>事件名：任何事件的名称。</a:t>
            </a:r>
            <a:br>
              <a:rPr lang="zh-CN" altLang="en-US" i="0" dirty="0">
                <a:solidFill>
                  <a:srgbClr val="4F4F4F"/>
                </a:solidFill>
                <a:effectLst/>
                <a:latin typeface="+mn-ea"/>
              </a:rPr>
            </a:br>
            <a:r>
              <a:rPr lang="en-US" altLang="zh-CN" i="0" dirty="0">
                <a:solidFill>
                  <a:srgbClr val="4F4F4F"/>
                </a:solidFill>
                <a:effectLst/>
                <a:latin typeface="+mn-ea"/>
              </a:rPr>
              <a:t>3</a:t>
            </a:r>
            <a:r>
              <a:rPr lang="zh-CN" altLang="en-US" i="0" dirty="0">
                <a:solidFill>
                  <a:srgbClr val="4F4F4F"/>
                </a:solidFill>
                <a:effectLst/>
                <a:latin typeface="+mn-ea"/>
              </a:rPr>
              <a:t>种标准事件：</a:t>
            </a:r>
            <a:r>
              <a:rPr lang="en-US" altLang="zh-CN" i="0" dirty="0">
                <a:solidFill>
                  <a:srgbClr val="FE2C24"/>
                </a:solidFill>
                <a:effectLst/>
                <a:latin typeface="+mn-ea"/>
              </a:rPr>
              <a:t>entry</a:t>
            </a:r>
            <a:r>
              <a:rPr lang="en-US" altLang="zh-CN" i="0" dirty="0">
                <a:solidFill>
                  <a:srgbClr val="4F4F4F"/>
                </a:solidFill>
                <a:effectLst/>
                <a:latin typeface="+mn-ea"/>
              </a:rPr>
              <a:t>, </a:t>
            </a:r>
            <a:r>
              <a:rPr lang="en-US" altLang="zh-CN" i="0" dirty="0">
                <a:solidFill>
                  <a:srgbClr val="FE2C24"/>
                </a:solidFill>
                <a:effectLst/>
                <a:latin typeface="+mn-ea"/>
              </a:rPr>
              <a:t>exit</a:t>
            </a:r>
            <a:r>
              <a:rPr lang="zh-CN" altLang="en-US" i="0" dirty="0">
                <a:solidFill>
                  <a:srgbClr val="4F4F4F"/>
                </a:solidFill>
                <a:effectLst/>
                <a:latin typeface="+mn-ea"/>
              </a:rPr>
              <a:t>和</a:t>
            </a:r>
            <a:r>
              <a:rPr lang="en-US" altLang="zh-CN" i="0" dirty="0">
                <a:solidFill>
                  <a:srgbClr val="FE2C24"/>
                </a:solidFill>
                <a:effectLst/>
                <a:latin typeface="+mn-ea"/>
              </a:rPr>
              <a:t>do</a:t>
            </a:r>
            <a:r>
              <a:rPr lang="zh-CN" altLang="en-US" i="0" dirty="0">
                <a:solidFill>
                  <a:srgbClr val="4F4F4F"/>
                </a:solidFill>
                <a:effectLst/>
                <a:latin typeface="+mn-ea"/>
              </a:rPr>
              <a:t>。</a:t>
            </a:r>
          </a:p>
          <a:p>
            <a:pPr algn="l">
              <a:buFont typeface="Arial" panose="020B0604020202020204" pitchFamily="34" charset="0"/>
              <a:buChar char="•"/>
            </a:pPr>
            <a:r>
              <a:rPr lang="en-US" altLang="zh-CN" b="1" i="0" dirty="0">
                <a:solidFill>
                  <a:srgbClr val="FE2C24"/>
                </a:solidFill>
                <a:effectLst/>
                <a:latin typeface="+mn-ea"/>
              </a:rPr>
              <a:t>entry</a:t>
            </a:r>
            <a:r>
              <a:rPr lang="zh-CN" altLang="en-US" b="0" i="0" dirty="0">
                <a:solidFill>
                  <a:srgbClr val="0D0016"/>
                </a:solidFill>
                <a:effectLst/>
                <a:latin typeface="+mn-ea"/>
              </a:rPr>
              <a:t>：事件指定进入该状态的动作，</a:t>
            </a:r>
            <a:endParaRPr lang="zh-CN" altLang="en-US" b="0" i="0" dirty="0">
              <a:solidFill>
                <a:srgbClr val="333333"/>
              </a:solidFill>
              <a:effectLst/>
              <a:latin typeface="+mn-ea"/>
            </a:endParaRPr>
          </a:p>
          <a:p>
            <a:pPr algn="l">
              <a:buFont typeface="Arial" panose="020B0604020202020204" pitchFamily="34" charset="0"/>
              <a:buChar char="•"/>
            </a:pPr>
            <a:r>
              <a:rPr lang="en-US" altLang="zh-CN" b="1" i="0" dirty="0">
                <a:solidFill>
                  <a:srgbClr val="FE2C24"/>
                </a:solidFill>
                <a:effectLst/>
                <a:latin typeface="+mn-ea"/>
              </a:rPr>
              <a:t>exit </a:t>
            </a:r>
            <a:r>
              <a:rPr lang="zh-CN" altLang="en-US" b="0" i="0" dirty="0">
                <a:solidFill>
                  <a:srgbClr val="0D0016"/>
                </a:solidFill>
                <a:effectLst/>
                <a:latin typeface="+mn-ea"/>
              </a:rPr>
              <a:t>： 事件指定退出该状态的动作，</a:t>
            </a:r>
            <a:endParaRPr lang="zh-CN" altLang="en-US" b="0" i="0" dirty="0">
              <a:solidFill>
                <a:srgbClr val="333333"/>
              </a:solidFill>
              <a:effectLst/>
              <a:latin typeface="+mn-ea"/>
            </a:endParaRPr>
          </a:p>
          <a:p>
            <a:pPr algn="l">
              <a:buFont typeface="Arial" panose="020B0604020202020204" pitchFamily="34" charset="0"/>
              <a:buChar char="•"/>
            </a:pPr>
            <a:r>
              <a:rPr lang="en-US" altLang="zh-CN" b="1" i="0" dirty="0">
                <a:solidFill>
                  <a:srgbClr val="FE2C24"/>
                </a:solidFill>
                <a:effectLst/>
                <a:latin typeface="+mn-ea"/>
              </a:rPr>
              <a:t>do </a:t>
            </a:r>
            <a:r>
              <a:rPr lang="en-US" altLang="zh-CN" b="0" i="0" dirty="0">
                <a:solidFill>
                  <a:srgbClr val="0D0016"/>
                </a:solidFill>
                <a:effectLst/>
                <a:latin typeface="+mn-ea"/>
              </a:rPr>
              <a:t>: </a:t>
            </a:r>
            <a:r>
              <a:rPr lang="zh-CN" altLang="en-US" b="0" i="0" dirty="0">
                <a:solidFill>
                  <a:srgbClr val="0D0016"/>
                </a:solidFill>
                <a:effectLst/>
                <a:latin typeface="+mn-ea"/>
              </a:rPr>
              <a:t>事件指定在该状态下的动作。</a:t>
            </a:r>
            <a:endParaRPr lang="en-US" altLang="zh-CN" b="0" i="0" dirty="0">
              <a:solidFill>
                <a:srgbClr val="0D0016"/>
              </a:solidFill>
              <a:effectLst/>
              <a:latin typeface="+mn-ea"/>
            </a:endParaRPr>
          </a:p>
          <a:p>
            <a:pPr algn="l"/>
            <a:endParaRPr lang="zh-CN" altLang="en-US" b="0" i="0" dirty="0">
              <a:solidFill>
                <a:srgbClr val="4D4D4D"/>
              </a:solidFill>
              <a:effectLst/>
              <a:latin typeface="+mn-ea"/>
            </a:endParaRPr>
          </a:p>
        </p:txBody>
      </p:sp>
      <p:grpSp>
        <p:nvGrpSpPr>
          <p:cNvPr id="378" name="组合 377">
            <a:extLst>
              <a:ext uri="{FF2B5EF4-FFF2-40B4-BE49-F238E27FC236}">
                <a16:creationId xmlns:a16="http://schemas.microsoft.com/office/drawing/2014/main" id="{4D6F4725-E9CF-47C0-A24D-95F9A714BAE0}"/>
              </a:ext>
            </a:extLst>
          </p:cNvPr>
          <p:cNvGrpSpPr/>
          <p:nvPr/>
        </p:nvGrpSpPr>
        <p:grpSpPr>
          <a:xfrm>
            <a:off x="10482954" y="0"/>
            <a:ext cx="1030921" cy="1080294"/>
            <a:chOff x="4874988" y="1859559"/>
            <a:chExt cx="2661884" cy="3969810"/>
          </a:xfrm>
        </p:grpSpPr>
        <p:grpSp>
          <p:nvGrpSpPr>
            <p:cNvPr id="379" name="íŝḻïḑè">
              <a:extLst>
                <a:ext uri="{FF2B5EF4-FFF2-40B4-BE49-F238E27FC236}">
                  <a16:creationId xmlns:a16="http://schemas.microsoft.com/office/drawing/2014/main" id="{E773D6DB-E4EF-4893-BA5C-FF1895435916}"/>
                </a:ext>
              </a:extLst>
            </p:cNvPr>
            <p:cNvGrpSpPr/>
            <p:nvPr/>
          </p:nvGrpSpPr>
          <p:grpSpPr>
            <a:xfrm>
              <a:off x="6480535" y="5493164"/>
              <a:ext cx="520250" cy="336205"/>
              <a:chOff x="6185308" y="3970463"/>
              <a:chExt cx="170914" cy="110451"/>
            </a:xfrm>
          </p:grpSpPr>
          <p:sp>
            <p:nvSpPr>
              <p:cNvPr id="860" name="ïSľidè">
                <a:extLst>
                  <a:ext uri="{FF2B5EF4-FFF2-40B4-BE49-F238E27FC236}">
                    <a16:creationId xmlns:a16="http://schemas.microsoft.com/office/drawing/2014/main" id="{56BED41C-949C-4322-B58A-3386FED33CBA}"/>
                  </a:ext>
                </a:extLst>
              </p:cNvPr>
              <p:cNvSpPr/>
              <p:nvPr/>
            </p:nvSpPr>
            <p:spPr>
              <a:xfrm>
                <a:off x="6241161" y="3970463"/>
                <a:ext cx="78771" cy="21749"/>
              </a:xfrm>
              <a:custGeom>
                <a:avLst/>
                <a:gdLst>
                  <a:gd name="connsiteX0" fmla="*/ -336 w 78771"/>
                  <a:gd name="connsiteY0" fmla="*/ 13014 h 21749"/>
                  <a:gd name="connsiteX1" fmla="*/ 807 w 78771"/>
                  <a:gd name="connsiteY1" fmla="*/ 13014 h 21749"/>
                  <a:gd name="connsiteX2" fmla="*/ 5188 w 78771"/>
                  <a:gd name="connsiteY2" fmla="*/ 13014 h 21749"/>
                  <a:gd name="connsiteX3" fmla="*/ 5188 w 78771"/>
                  <a:gd name="connsiteY3" fmla="*/ 13014 h 21749"/>
                  <a:gd name="connsiteX4" fmla="*/ 8808 w 78771"/>
                  <a:gd name="connsiteY4" fmla="*/ 13966 h 21749"/>
                  <a:gd name="connsiteX5" fmla="*/ 13189 w 78771"/>
                  <a:gd name="connsiteY5" fmla="*/ 15586 h 21749"/>
                  <a:gd name="connsiteX6" fmla="*/ 16427 w 78771"/>
                  <a:gd name="connsiteY6" fmla="*/ 17014 h 21749"/>
                  <a:gd name="connsiteX7" fmla="*/ 18142 w 78771"/>
                  <a:gd name="connsiteY7" fmla="*/ 17776 h 21749"/>
                  <a:gd name="connsiteX8" fmla="*/ 21666 w 78771"/>
                  <a:gd name="connsiteY8" fmla="*/ 19586 h 21749"/>
                  <a:gd name="connsiteX9" fmla="*/ 25286 w 78771"/>
                  <a:gd name="connsiteY9" fmla="*/ 21586 h 21749"/>
                  <a:gd name="connsiteX10" fmla="*/ 78435 w 78771"/>
                  <a:gd name="connsiteY10" fmla="*/ 12061 h 21749"/>
                  <a:gd name="connsiteX11" fmla="*/ 57957 w 78771"/>
                  <a:gd name="connsiteY11" fmla="*/ 2536 h 21749"/>
                  <a:gd name="connsiteX12" fmla="*/ 40050 w 78771"/>
                  <a:gd name="connsiteY12" fmla="*/ -131 h 21749"/>
                  <a:gd name="connsiteX13" fmla="*/ 21000 w 78771"/>
                  <a:gd name="connsiteY13" fmla="*/ 3584 h 21749"/>
                  <a:gd name="connsiteX14" fmla="*/ -336 w 78771"/>
                  <a:gd name="connsiteY14" fmla="*/ 13014 h 217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8771" h="21749">
                    <a:moveTo>
                      <a:pt x="-336" y="13014"/>
                    </a:moveTo>
                    <a:cubicBezTo>
                      <a:pt x="35" y="12899"/>
                      <a:pt x="435" y="12899"/>
                      <a:pt x="807" y="13014"/>
                    </a:cubicBezTo>
                    <a:cubicBezTo>
                      <a:pt x="2255" y="12728"/>
                      <a:pt x="3740" y="12728"/>
                      <a:pt x="5188" y="13014"/>
                    </a:cubicBezTo>
                    <a:lnTo>
                      <a:pt x="5188" y="13014"/>
                    </a:lnTo>
                    <a:cubicBezTo>
                      <a:pt x="6407" y="13261"/>
                      <a:pt x="7617" y="13585"/>
                      <a:pt x="8808" y="13966"/>
                    </a:cubicBezTo>
                    <a:cubicBezTo>
                      <a:pt x="10303" y="14414"/>
                      <a:pt x="11770" y="14947"/>
                      <a:pt x="13189" y="15586"/>
                    </a:cubicBezTo>
                    <a:lnTo>
                      <a:pt x="16427" y="17014"/>
                    </a:lnTo>
                    <a:lnTo>
                      <a:pt x="18142" y="17776"/>
                    </a:lnTo>
                    <a:lnTo>
                      <a:pt x="21666" y="19586"/>
                    </a:lnTo>
                    <a:lnTo>
                      <a:pt x="25286" y="21586"/>
                    </a:lnTo>
                    <a:cubicBezTo>
                      <a:pt x="47860" y="8537"/>
                      <a:pt x="67672" y="5489"/>
                      <a:pt x="78435" y="12061"/>
                    </a:cubicBezTo>
                    <a:cubicBezTo>
                      <a:pt x="71949" y="8204"/>
                      <a:pt x="65091" y="5003"/>
                      <a:pt x="57957" y="2536"/>
                    </a:cubicBezTo>
                    <a:cubicBezTo>
                      <a:pt x="52203" y="555"/>
                      <a:pt x="46136" y="-350"/>
                      <a:pt x="40050" y="-131"/>
                    </a:cubicBezTo>
                    <a:cubicBezTo>
                      <a:pt x="33553" y="193"/>
                      <a:pt x="27143" y="1450"/>
                      <a:pt x="21000" y="3584"/>
                    </a:cubicBezTo>
                    <a:cubicBezTo>
                      <a:pt x="13580" y="5975"/>
                      <a:pt x="6426" y="9137"/>
                      <a:pt x="-336" y="13014"/>
                    </a:cubicBezTo>
                    <a:close/>
                  </a:path>
                </a:pathLst>
              </a:custGeom>
              <a:solidFill>
                <a:srgbClr val="FF7D33"/>
              </a:solidFill>
              <a:ln w="9525" cap="flat">
                <a:noFill/>
                <a:prstDash val="solid"/>
                <a:miter/>
              </a:ln>
            </p:spPr>
            <p:txBody>
              <a:bodyPr rtlCol="0" anchor="ctr"/>
              <a:lstStyle/>
              <a:p>
                <a:endParaRPr lang="zh-CN" altLang="en-US"/>
              </a:p>
            </p:txBody>
          </p:sp>
          <p:sp>
            <p:nvSpPr>
              <p:cNvPr id="861" name="ïślíde">
                <a:extLst>
                  <a:ext uri="{FF2B5EF4-FFF2-40B4-BE49-F238E27FC236}">
                    <a16:creationId xmlns:a16="http://schemas.microsoft.com/office/drawing/2014/main" id="{EE31D9B4-8FDF-4F4A-84C5-DF230243C3F3}"/>
                  </a:ext>
                </a:extLst>
              </p:cNvPr>
              <p:cNvSpPr/>
              <p:nvPr/>
            </p:nvSpPr>
            <p:spPr>
              <a:xfrm>
                <a:off x="6267164" y="3979144"/>
                <a:ext cx="60007" cy="16878"/>
              </a:xfrm>
              <a:custGeom>
                <a:avLst/>
                <a:gdLst>
                  <a:gd name="connsiteX0" fmla="*/ -336 w 60007"/>
                  <a:gd name="connsiteY0" fmla="*/ 12715 h 16878"/>
                  <a:gd name="connsiteX1" fmla="*/ 6427 w 60007"/>
                  <a:gd name="connsiteY1" fmla="*/ 16715 h 16878"/>
                  <a:gd name="connsiteX2" fmla="*/ 59671 w 60007"/>
                  <a:gd name="connsiteY2" fmla="*/ 7190 h 16878"/>
                  <a:gd name="connsiteX3" fmla="*/ 52813 w 60007"/>
                  <a:gd name="connsiteY3" fmla="*/ 3190 h 16878"/>
                  <a:gd name="connsiteX4" fmla="*/ -336 w 60007"/>
                  <a:gd name="connsiteY4" fmla="*/ 12715 h 168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16878">
                    <a:moveTo>
                      <a:pt x="-336" y="12715"/>
                    </a:moveTo>
                    <a:lnTo>
                      <a:pt x="6427" y="16715"/>
                    </a:lnTo>
                    <a:cubicBezTo>
                      <a:pt x="29096" y="3666"/>
                      <a:pt x="48908" y="618"/>
                      <a:pt x="59671" y="7190"/>
                    </a:cubicBezTo>
                    <a:lnTo>
                      <a:pt x="52813" y="3190"/>
                    </a:lnTo>
                    <a:cubicBezTo>
                      <a:pt x="42050" y="-3382"/>
                      <a:pt x="22238" y="-334"/>
                      <a:pt x="-336" y="12715"/>
                    </a:cubicBezTo>
                    <a:close/>
                  </a:path>
                </a:pathLst>
              </a:custGeom>
              <a:solidFill>
                <a:srgbClr val="D1D9E8"/>
              </a:solidFill>
              <a:ln w="9525" cap="flat">
                <a:noFill/>
                <a:prstDash val="solid"/>
                <a:miter/>
              </a:ln>
            </p:spPr>
            <p:txBody>
              <a:bodyPr rtlCol="0" anchor="ctr"/>
              <a:lstStyle/>
              <a:p>
                <a:endParaRPr lang="zh-CN" altLang="en-US"/>
              </a:p>
            </p:txBody>
          </p:sp>
          <p:sp>
            <p:nvSpPr>
              <p:cNvPr id="862" name="îṧ1îdê">
                <a:extLst>
                  <a:ext uri="{FF2B5EF4-FFF2-40B4-BE49-F238E27FC236}">
                    <a16:creationId xmlns:a16="http://schemas.microsoft.com/office/drawing/2014/main" id="{9172A6D8-5C9D-45D9-A3F8-E8D5C56C8AD1}"/>
                  </a:ext>
                </a:extLst>
              </p:cNvPr>
              <p:cNvSpPr/>
              <p:nvPr/>
            </p:nvSpPr>
            <p:spPr>
              <a:xfrm>
                <a:off x="6273831" y="3983188"/>
                <a:ext cx="82105" cy="38075"/>
              </a:xfrm>
              <a:custGeom>
                <a:avLst/>
                <a:gdLst>
                  <a:gd name="connsiteX0" fmla="*/ -336 w 82105"/>
                  <a:gd name="connsiteY0" fmla="*/ 12671 h 38075"/>
                  <a:gd name="connsiteX1" fmla="*/ 27000 w 82105"/>
                  <a:gd name="connsiteY1" fmla="*/ 37913 h 38075"/>
                  <a:gd name="connsiteX2" fmla="*/ 80531 w 82105"/>
                  <a:gd name="connsiteY2" fmla="*/ 30578 h 38075"/>
                  <a:gd name="connsiteX3" fmla="*/ 81769 w 82105"/>
                  <a:gd name="connsiteY3" fmla="*/ 31340 h 38075"/>
                  <a:gd name="connsiteX4" fmla="*/ 80055 w 82105"/>
                  <a:gd name="connsiteY4" fmla="*/ 25816 h 38075"/>
                  <a:gd name="connsiteX5" fmla="*/ 73482 w 82105"/>
                  <a:gd name="connsiteY5" fmla="*/ 18005 h 38075"/>
                  <a:gd name="connsiteX6" fmla="*/ 52908 w 82105"/>
                  <a:gd name="connsiteY6" fmla="*/ 2861 h 38075"/>
                  <a:gd name="connsiteX7" fmla="*/ -336 w 82105"/>
                  <a:gd name="connsiteY7" fmla="*/ 12671 h 38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2105" h="38075">
                    <a:moveTo>
                      <a:pt x="-336" y="12671"/>
                    </a:moveTo>
                    <a:cubicBezTo>
                      <a:pt x="14713" y="21339"/>
                      <a:pt x="27000" y="32674"/>
                      <a:pt x="27000" y="37913"/>
                    </a:cubicBezTo>
                    <a:cubicBezTo>
                      <a:pt x="57957" y="20101"/>
                      <a:pt x="80817" y="23530"/>
                      <a:pt x="80531" y="30578"/>
                    </a:cubicBezTo>
                    <a:lnTo>
                      <a:pt x="81769" y="31340"/>
                    </a:lnTo>
                    <a:cubicBezTo>
                      <a:pt x="81703" y="29378"/>
                      <a:pt x="81112" y="27473"/>
                      <a:pt x="80055" y="25816"/>
                    </a:cubicBezTo>
                    <a:cubicBezTo>
                      <a:pt x="78169" y="22968"/>
                      <a:pt x="75968" y="20349"/>
                      <a:pt x="73482" y="18005"/>
                    </a:cubicBezTo>
                    <a:cubicBezTo>
                      <a:pt x="67253" y="12148"/>
                      <a:pt x="60347" y="7061"/>
                      <a:pt x="52908" y="2861"/>
                    </a:cubicBezTo>
                    <a:cubicBezTo>
                      <a:pt x="42240" y="-3140"/>
                      <a:pt x="22429" y="-378"/>
                      <a:pt x="-336" y="12671"/>
                    </a:cubicBezTo>
                    <a:close/>
                  </a:path>
                </a:pathLst>
              </a:custGeom>
              <a:solidFill>
                <a:srgbClr val="FF7D33"/>
              </a:solidFill>
              <a:ln w="9525" cap="flat">
                <a:noFill/>
                <a:prstDash val="solid"/>
                <a:miter/>
              </a:ln>
            </p:spPr>
            <p:txBody>
              <a:bodyPr rtlCol="0" anchor="ctr"/>
              <a:lstStyle/>
              <a:p>
                <a:endParaRPr lang="zh-CN" altLang="en-US"/>
              </a:p>
            </p:txBody>
          </p:sp>
          <p:sp>
            <p:nvSpPr>
              <p:cNvPr id="863" name="íšļîḍê">
                <a:extLst>
                  <a:ext uri="{FF2B5EF4-FFF2-40B4-BE49-F238E27FC236}">
                    <a16:creationId xmlns:a16="http://schemas.microsoft.com/office/drawing/2014/main" id="{1BD76DAE-16A8-4FA4-AB1F-2E740895D658}"/>
                  </a:ext>
                </a:extLst>
              </p:cNvPr>
              <p:cNvSpPr/>
              <p:nvPr/>
            </p:nvSpPr>
            <p:spPr>
              <a:xfrm>
                <a:off x="6245256" y="4013929"/>
                <a:ext cx="110966" cy="64769"/>
              </a:xfrm>
              <a:custGeom>
                <a:avLst/>
                <a:gdLst>
                  <a:gd name="connsiteX0" fmla="*/ -336 w 110966"/>
                  <a:gd name="connsiteY0" fmla="*/ 64607 h 64769"/>
                  <a:gd name="connsiteX1" fmla="*/ 110630 w 110966"/>
                  <a:gd name="connsiteY1" fmla="*/ 599 h 64769"/>
                  <a:gd name="connsiteX2" fmla="*/ 109392 w 110966"/>
                  <a:gd name="connsiteY2" fmla="*/ -163 h 64769"/>
                  <a:gd name="connsiteX3" fmla="*/ 2235 w 110966"/>
                  <a:gd name="connsiteY3" fmla="*/ 61369 h 64769"/>
                  <a:gd name="connsiteX4" fmla="*/ 1283 w 110966"/>
                  <a:gd name="connsiteY4" fmla="*/ 62607 h 64769"/>
                  <a:gd name="connsiteX5" fmla="*/ 426 w 110966"/>
                  <a:gd name="connsiteY5" fmla="*/ 63560 h 64769"/>
                  <a:gd name="connsiteX6" fmla="*/ -51 w 110966"/>
                  <a:gd name="connsiteY6" fmla="*/ 63560 h 64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0966" h="64769">
                    <a:moveTo>
                      <a:pt x="-336" y="64607"/>
                    </a:moveTo>
                    <a:lnTo>
                      <a:pt x="110630" y="599"/>
                    </a:lnTo>
                    <a:lnTo>
                      <a:pt x="109392" y="-163"/>
                    </a:lnTo>
                    <a:lnTo>
                      <a:pt x="2235" y="61369"/>
                    </a:lnTo>
                    <a:cubicBezTo>
                      <a:pt x="1969" y="61816"/>
                      <a:pt x="1655" y="62236"/>
                      <a:pt x="1283" y="62607"/>
                    </a:cubicBezTo>
                    <a:lnTo>
                      <a:pt x="426" y="63560"/>
                    </a:lnTo>
                    <a:lnTo>
                      <a:pt x="-51" y="63560"/>
                    </a:lnTo>
                    <a:close/>
                  </a:path>
                </a:pathLst>
              </a:custGeom>
              <a:solidFill>
                <a:srgbClr val="BF4200"/>
              </a:solidFill>
              <a:ln w="9525" cap="flat">
                <a:noFill/>
                <a:prstDash val="solid"/>
                <a:miter/>
              </a:ln>
            </p:spPr>
            <p:txBody>
              <a:bodyPr rtlCol="0" anchor="ctr"/>
              <a:lstStyle/>
              <a:p>
                <a:endParaRPr lang="zh-CN" altLang="en-US"/>
              </a:p>
            </p:txBody>
          </p:sp>
          <p:sp>
            <p:nvSpPr>
              <p:cNvPr id="864" name="íşľîḍè">
                <a:extLst>
                  <a:ext uri="{FF2B5EF4-FFF2-40B4-BE49-F238E27FC236}">
                    <a16:creationId xmlns:a16="http://schemas.microsoft.com/office/drawing/2014/main" id="{02E918F9-69B4-48A7-B0FD-9B7086F25879}"/>
                  </a:ext>
                </a:extLst>
              </p:cNvPr>
              <p:cNvSpPr/>
              <p:nvPr/>
            </p:nvSpPr>
            <p:spPr>
              <a:xfrm>
                <a:off x="6247823" y="4007929"/>
                <a:ext cx="106970" cy="67531"/>
              </a:xfrm>
              <a:custGeom>
                <a:avLst/>
                <a:gdLst>
                  <a:gd name="connsiteX0" fmla="*/ -332 w 106970"/>
                  <a:gd name="connsiteY0" fmla="*/ 67369 h 67531"/>
                  <a:gd name="connsiteX1" fmla="*/ 106634 w 106970"/>
                  <a:gd name="connsiteY1" fmla="*/ 5552 h 67531"/>
                  <a:gd name="connsiteX2" fmla="*/ 53104 w 106970"/>
                  <a:gd name="connsiteY2" fmla="*/ 12886 h 67531"/>
                  <a:gd name="connsiteX3" fmla="*/ -332 w 106970"/>
                  <a:gd name="connsiteY3" fmla="*/ 67369 h 67531"/>
                </a:gdLst>
                <a:ahLst/>
                <a:cxnLst>
                  <a:cxn ang="0">
                    <a:pos x="connsiteX0" y="connsiteY0"/>
                  </a:cxn>
                  <a:cxn ang="0">
                    <a:pos x="connsiteX1" y="connsiteY1"/>
                  </a:cxn>
                  <a:cxn ang="0">
                    <a:pos x="connsiteX2" y="connsiteY2"/>
                  </a:cxn>
                  <a:cxn ang="0">
                    <a:pos x="connsiteX3" y="connsiteY3"/>
                  </a:cxn>
                </a:cxnLst>
                <a:rect l="l" t="t" r="r" b="b"/>
                <a:pathLst>
                  <a:path w="106970" h="67531">
                    <a:moveTo>
                      <a:pt x="-332" y="67369"/>
                    </a:moveTo>
                    <a:lnTo>
                      <a:pt x="106634" y="5552"/>
                    </a:lnTo>
                    <a:cubicBezTo>
                      <a:pt x="106634" y="-1497"/>
                      <a:pt x="84060" y="-4926"/>
                      <a:pt x="53104" y="12886"/>
                    </a:cubicBezTo>
                    <a:cubicBezTo>
                      <a:pt x="22148" y="30697"/>
                      <a:pt x="-712" y="60987"/>
                      <a:pt x="-332" y="67369"/>
                    </a:cubicBezTo>
                    <a:close/>
                  </a:path>
                </a:pathLst>
              </a:custGeom>
              <a:solidFill>
                <a:srgbClr val="BF4200"/>
              </a:solidFill>
              <a:ln w="9525" cap="flat">
                <a:noFill/>
                <a:prstDash val="solid"/>
                <a:miter/>
              </a:ln>
            </p:spPr>
            <p:txBody>
              <a:bodyPr rtlCol="0" anchor="ctr"/>
              <a:lstStyle/>
              <a:p>
                <a:endParaRPr lang="zh-CN" altLang="en-US"/>
              </a:p>
            </p:txBody>
          </p:sp>
          <p:sp>
            <p:nvSpPr>
              <p:cNvPr id="865" name="íṩľidé">
                <a:extLst>
                  <a:ext uri="{FF2B5EF4-FFF2-40B4-BE49-F238E27FC236}">
                    <a16:creationId xmlns:a16="http://schemas.microsoft.com/office/drawing/2014/main" id="{D8681DC0-C00C-4972-B21D-D22ABBD12280}"/>
                  </a:ext>
                </a:extLst>
              </p:cNvPr>
              <p:cNvSpPr/>
              <p:nvPr/>
            </p:nvSpPr>
            <p:spPr>
              <a:xfrm>
                <a:off x="6185308" y="3984473"/>
                <a:ext cx="115192" cy="96441"/>
              </a:xfrm>
              <a:custGeom>
                <a:avLst/>
                <a:gdLst>
                  <a:gd name="connsiteX0" fmla="*/ -301 w 115192"/>
                  <a:gd name="connsiteY0" fmla="*/ 60535 h 96441"/>
                  <a:gd name="connsiteX1" fmla="*/ 19987 w 115192"/>
                  <a:gd name="connsiteY1" fmla="*/ 85491 h 96441"/>
                  <a:gd name="connsiteX2" fmla="*/ 26750 w 115192"/>
                  <a:gd name="connsiteY2" fmla="*/ 89491 h 96441"/>
                  <a:gd name="connsiteX3" fmla="*/ 58659 w 115192"/>
                  <a:gd name="connsiteY3" fmla="*/ 94540 h 96441"/>
                  <a:gd name="connsiteX4" fmla="*/ 58659 w 115192"/>
                  <a:gd name="connsiteY4" fmla="*/ 94540 h 96441"/>
                  <a:gd name="connsiteX5" fmla="*/ 59135 w 115192"/>
                  <a:gd name="connsiteY5" fmla="*/ 94540 h 96441"/>
                  <a:gd name="connsiteX6" fmla="*/ 59135 w 115192"/>
                  <a:gd name="connsiteY6" fmla="*/ 94540 h 96441"/>
                  <a:gd name="connsiteX7" fmla="*/ 59612 w 115192"/>
                  <a:gd name="connsiteY7" fmla="*/ 94540 h 96441"/>
                  <a:gd name="connsiteX8" fmla="*/ 60469 w 115192"/>
                  <a:gd name="connsiteY8" fmla="*/ 93587 h 96441"/>
                  <a:gd name="connsiteX9" fmla="*/ 61421 w 115192"/>
                  <a:gd name="connsiteY9" fmla="*/ 92349 h 96441"/>
                  <a:gd name="connsiteX10" fmla="*/ 114856 w 115192"/>
                  <a:gd name="connsiteY10" fmla="*/ 37866 h 96441"/>
                  <a:gd name="connsiteX11" fmla="*/ 87520 w 115192"/>
                  <a:gd name="connsiteY11" fmla="*/ 12625 h 96441"/>
                  <a:gd name="connsiteX12" fmla="*/ 80757 w 115192"/>
                  <a:gd name="connsiteY12" fmla="*/ 8624 h 96441"/>
                  <a:gd name="connsiteX13" fmla="*/ 77137 w 115192"/>
                  <a:gd name="connsiteY13" fmla="*/ 6624 h 96441"/>
                  <a:gd name="connsiteX14" fmla="*/ 73613 w 115192"/>
                  <a:gd name="connsiteY14" fmla="*/ 4814 h 96441"/>
                  <a:gd name="connsiteX15" fmla="*/ 71899 w 115192"/>
                  <a:gd name="connsiteY15" fmla="*/ 4052 h 96441"/>
                  <a:gd name="connsiteX16" fmla="*/ 68660 w 115192"/>
                  <a:gd name="connsiteY16" fmla="*/ 2623 h 96441"/>
                  <a:gd name="connsiteX17" fmla="*/ 64279 w 115192"/>
                  <a:gd name="connsiteY17" fmla="*/ 1004 h 96441"/>
                  <a:gd name="connsiteX18" fmla="*/ 60659 w 115192"/>
                  <a:gd name="connsiteY18" fmla="*/ 52 h 96441"/>
                  <a:gd name="connsiteX19" fmla="*/ 60659 w 115192"/>
                  <a:gd name="connsiteY19" fmla="*/ 52 h 96441"/>
                  <a:gd name="connsiteX20" fmla="*/ 56278 w 115192"/>
                  <a:gd name="connsiteY20" fmla="*/ 52 h 96441"/>
                  <a:gd name="connsiteX21" fmla="*/ 55135 w 115192"/>
                  <a:gd name="connsiteY21" fmla="*/ 52 h 96441"/>
                  <a:gd name="connsiteX22" fmla="*/ 45610 w 115192"/>
                  <a:gd name="connsiteY22" fmla="*/ 5957 h 96441"/>
                  <a:gd name="connsiteX23" fmla="*/ 36752 w 115192"/>
                  <a:gd name="connsiteY23" fmla="*/ 12529 h 96441"/>
                  <a:gd name="connsiteX24" fmla="*/ 28655 w 115192"/>
                  <a:gd name="connsiteY24" fmla="*/ 19387 h 96441"/>
                  <a:gd name="connsiteX25" fmla="*/ 17987 w 115192"/>
                  <a:gd name="connsiteY25" fmla="*/ 29770 h 96441"/>
                  <a:gd name="connsiteX26" fmla="*/ 9605 w 115192"/>
                  <a:gd name="connsiteY26" fmla="*/ 39295 h 96441"/>
                  <a:gd name="connsiteX27" fmla="*/ 3509 w 115192"/>
                  <a:gd name="connsiteY27" fmla="*/ 48058 h 96441"/>
                  <a:gd name="connsiteX28" fmla="*/ 176 w 115192"/>
                  <a:gd name="connsiteY28" fmla="*/ 55106 h 96441"/>
                  <a:gd name="connsiteX29" fmla="*/ -301 w 115192"/>
                  <a:gd name="connsiteY29" fmla="*/ 60535 h 96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15192" h="96441">
                    <a:moveTo>
                      <a:pt x="-301" y="60535"/>
                    </a:moveTo>
                    <a:cubicBezTo>
                      <a:pt x="2223" y="71556"/>
                      <a:pt x="9720" y="80776"/>
                      <a:pt x="19987" y="85491"/>
                    </a:cubicBezTo>
                    <a:lnTo>
                      <a:pt x="26750" y="89491"/>
                    </a:lnTo>
                    <a:cubicBezTo>
                      <a:pt x="35971" y="96178"/>
                      <a:pt x="47829" y="98054"/>
                      <a:pt x="58659" y="94540"/>
                    </a:cubicBezTo>
                    <a:lnTo>
                      <a:pt x="58659" y="94540"/>
                    </a:lnTo>
                    <a:lnTo>
                      <a:pt x="59135" y="94540"/>
                    </a:lnTo>
                    <a:lnTo>
                      <a:pt x="59135" y="94540"/>
                    </a:lnTo>
                    <a:lnTo>
                      <a:pt x="59612" y="94540"/>
                    </a:lnTo>
                    <a:lnTo>
                      <a:pt x="60469" y="93587"/>
                    </a:lnTo>
                    <a:cubicBezTo>
                      <a:pt x="60840" y="93216"/>
                      <a:pt x="61154" y="92797"/>
                      <a:pt x="61421" y="92349"/>
                    </a:cubicBezTo>
                    <a:cubicBezTo>
                      <a:pt x="61421" y="85681"/>
                      <a:pt x="83805" y="55868"/>
                      <a:pt x="114856" y="37866"/>
                    </a:cubicBezTo>
                    <a:cubicBezTo>
                      <a:pt x="114856" y="32627"/>
                      <a:pt x="102569" y="21293"/>
                      <a:pt x="87520" y="12625"/>
                    </a:cubicBezTo>
                    <a:lnTo>
                      <a:pt x="80757" y="8624"/>
                    </a:lnTo>
                    <a:lnTo>
                      <a:pt x="77137" y="6624"/>
                    </a:lnTo>
                    <a:lnTo>
                      <a:pt x="73613" y="4814"/>
                    </a:lnTo>
                    <a:lnTo>
                      <a:pt x="71899" y="4052"/>
                    </a:lnTo>
                    <a:lnTo>
                      <a:pt x="68660" y="2623"/>
                    </a:lnTo>
                    <a:cubicBezTo>
                      <a:pt x="67241" y="1985"/>
                      <a:pt x="65774" y="1452"/>
                      <a:pt x="64279" y="1004"/>
                    </a:cubicBezTo>
                    <a:cubicBezTo>
                      <a:pt x="63088" y="623"/>
                      <a:pt x="61879" y="299"/>
                      <a:pt x="60659" y="52"/>
                    </a:cubicBezTo>
                    <a:lnTo>
                      <a:pt x="60659" y="52"/>
                    </a:lnTo>
                    <a:cubicBezTo>
                      <a:pt x="59212" y="-234"/>
                      <a:pt x="57726" y="-234"/>
                      <a:pt x="56278" y="52"/>
                    </a:cubicBezTo>
                    <a:cubicBezTo>
                      <a:pt x="55897" y="-15"/>
                      <a:pt x="55516" y="-15"/>
                      <a:pt x="55135" y="52"/>
                    </a:cubicBezTo>
                    <a:cubicBezTo>
                      <a:pt x="52182" y="1766"/>
                      <a:pt x="48467" y="4147"/>
                      <a:pt x="45610" y="5957"/>
                    </a:cubicBezTo>
                    <a:cubicBezTo>
                      <a:pt x="40752" y="9291"/>
                      <a:pt x="36847" y="12434"/>
                      <a:pt x="36752" y="12529"/>
                    </a:cubicBezTo>
                    <a:cubicBezTo>
                      <a:pt x="33932" y="14663"/>
                      <a:pt x="31227" y="16958"/>
                      <a:pt x="28655" y="19387"/>
                    </a:cubicBezTo>
                    <a:cubicBezTo>
                      <a:pt x="25798" y="22054"/>
                      <a:pt x="21512" y="25960"/>
                      <a:pt x="17987" y="29770"/>
                    </a:cubicBezTo>
                    <a:cubicBezTo>
                      <a:pt x="14463" y="33580"/>
                      <a:pt x="12844" y="35580"/>
                      <a:pt x="9605" y="39295"/>
                    </a:cubicBezTo>
                    <a:cubicBezTo>
                      <a:pt x="7424" y="42105"/>
                      <a:pt x="5386" y="45029"/>
                      <a:pt x="3509" y="48058"/>
                    </a:cubicBezTo>
                    <a:cubicBezTo>
                      <a:pt x="2157" y="50286"/>
                      <a:pt x="1042" y="52649"/>
                      <a:pt x="176" y="55106"/>
                    </a:cubicBezTo>
                    <a:cubicBezTo>
                      <a:pt x="-253" y="56878"/>
                      <a:pt x="-415" y="58716"/>
                      <a:pt x="-301" y="60535"/>
                    </a:cubicBezTo>
                    <a:close/>
                  </a:path>
                </a:pathLst>
              </a:custGeom>
              <a:solidFill>
                <a:srgbClr val="D9530B"/>
              </a:solidFill>
              <a:ln w="9525" cap="flat">
                <a:noFill/>
                <a:prstDash val="solid"/>
                <a:miter/>
              </a:ln>
            </p:spPr>
            <p:txBody>
              <a:bodyPr rtlCol="0" anchor="ctr"/>
              <a:lstStyle/>
              <a:p>
                <a:endParaRPr lang="zh-CN" altLang="en-US"/>
              </a:p>
            </p:txBody>
          </p:sp>
        </p:grpSp>
        <p:sp>
          <p:nvSpPr>
            <p:cNvPr id="380" name="í$ḷiḍé">
              <a:extLst>
                <a:ext uri="{FF2B5EF4-FFF2-40B4-BE49-F238E27FC236}">
                  <a16:creationId xmlns:a16="http://schemas.microsoft.com/office/drawing/2014/main" id="{38204F6A-5CE1-497A-827B-CEEB99CCC968}"/>
                </a:ext>
              </a:extLst>
            </p:cNvPr>
            <p:cNvSpPr/>
            <p:nvPr/>
          </p:nvSpPr>
          <p:spPr>
            <a:xfrm>
              <a:off x="4874988" y="4873963"/>
              <a:ext cx="1716699" cy="724850"/>
            </a:xfrm>
            <a:custGeom>
              <a:avLst/>
              <a:gdLst>
                <a:gd name="connsiteX0" fmla="*/ -336 w 563975"/>
                <a:gd name="connsiteY0" fmla="*/ -163 h 238130"/>
                <a:gd name="connsiteX1" fmla="*/ -336 w 563975"/>
                <a:gd name="connsiteY1" fmla="*/ 7553 h 238130"/>
                <a:gd name="connsiteX2" fmla="*/ 5188 w 563975"/>
                <a:gd name="connsiteY2" fmla="*/ 15839 h 238130"/>
                <a:gd name="connsiteX3" fmla="*/ 6046 w 563975"/>
                <a:gd name="connsiteY3" fmla="*/ 16506 h 238130"/>
                <a:gd name="connsiteX4" fmla="*/ 383236 w 563975"/>
                <a:gd name="connsiteY4" fmla="*/ 234248 h 238130"/>
                <a:gd name="connsiteX5" fmla="*/ 398856 w 563975"/>
                <a:gd name="connsiteY5" fmla="*/ 237962 h 238130"/>
                <a:gd name="connsiteX6" fmla="*/ 414382 w 563975"/>
                <a:gd name="connsiteY6" fmla="*/ 234248 h 238130"/>
                <a:gd name="connsiteX7" fmla="*/ 557257 w 563975"/>
                <a:gd name="connsiteY7" fmla="*/ 151666 h 238130"/>
                <a:gd name="connsiteX8" fmla="*/ 558210 w 563975"/>
                <a:gd name="connsiteY8" fmla="*/ 151094 h 238130"/>
                <a:gd name="connsiteX9" fmla="*/ 563639 w 563975"/>
                <a:gd name="connsiteY9" fmla="*/ 142712 h 238130"/>
                <a:gd name="connsiteX10" fmla="*/ 563639 w 563975"/>
                <a:gd name="connsiteY10" fmla="*/ 134997 h 238130"/>
                <a:gd name="connsiteX11" fmla="*/ 562591 w 563975"/>
                <a:gd name="connsiteY11" fmla="*/ 138807 h 238130"/>
                <a:gd name="connsiteX12" fmla="*/ 558210 w 563975"/>
                <a:gd name="connsiteY12" fmla="*/ 143379 h 238130"/>
                <a:gd name="connsiteX13" fmla="*/ 557257 w 563975"/>
                <a:gd name="connsiteY13" fmla="*/ 144046 h 238130"/>
                <a:gd name="connsiteX14" fmla="*/ 414382 w 563975"/>
                <a:gd name="connsiteY14" fmla="*/ 226533 h 238130"/>
                <a:gd name="connsiteX15" fmla="*/ 398856 w 563975"/>
                <a:gd name="connsiteY15" fmla="*/ 230247 h 238130"/>
                <a:gd name="connsiteX16" fmla="*/ 383236 w 563975"/>
                <a:gd name="connsiteY16" fmla="*/ 226533 h 238130"/>
                <a:gd name="connsiteX17" fmla="*/ 6046 w 563975"/>
                <a:gd name="connsiteY17" fmla="*/ 8791 h 238130"/>
                <a:gd name="connsiteX18" fmla="*/ 5188 w 563975"/>
                <a:gd name="connsiteY18" fmla="*/ 8219 h 238130"/>
                <a:gd name="connsiteX19" fmla="*/ 712 w 563975"/>
                <a:gd name="connsiteY19" fmla="*/ 3647 h 238130"/>
                <a:gd name="connsiteX20" fmla="*/ -336 w 563975"/>
                <a:gd name="connsiteY20" fmla="*/ -163 h 238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63975" h="238130">
                  <a:moveTo>
                    <a:pt x="-336" y="-163"/>
                  </a:moveTo>
                  <a:lnTo>
                    <a:pt x="-336" y="7553"/>
                  </a:lnTo>
                  <a:cubicBezTo>
                    <a:pt x="-41" y="11077"/>
                    <a:pt x="2045" y="14211"/>
                    <a:pt x="5188" y="15839"/>
                  </a:cubicBezTo>
                  <a:lnTo>
                    <a:pt x="6046" y="16506"/>
                  </a:lnTo>
                  <a:lnTo>
                    <a:pt x="383236" y="234248"/>
                  </a:lnTo>
                  <a:cubicBezTo>
                    <a:pt x="388046" y="236781"/>
                    <a:pt x="393418" y="238058"/>
                    <a:pt x="398856" y="237962"/>
                  </a:cubicBezTo>
                  <a:cubicBezTo>
                    <a:pt x="404267" y="238067"/>
                    <a:pt x="409610" y="236791"/>
                    <a:pt x="414382" y="234248"/>
                  </a:cubicBezTo>
                  <a:lnTo>
                    <a:pt x="557257" y="151666"/>
                  </a:lnTo>
                  <a:lnTo>
                    <a:pt x="558210" y="151094"/>
                  </a:lnTo>
                  <a:cubicBezTo>
                    <a:pt x="561306" y="149390"/>
                    <a:pt x="563344" y="146237"/>
                    <a:pt x="563639" y="142712"/>
                  </a:cubicBezTo>
                  <a:lnTo>
                    <a:pt x="563639" y="134997"/>
                  </a:lnTo>
                  <a:cubicBezTo>
                    <a:pt x="563630" y="136340"/>
                    <a:pt x="563268" y="137655"/>
                    <a:pt x="562591" y="138807"/>
                  </a:cubicBezTo>
                  <a:cubicBezTo>
                    <a:pt x="561553" y="140684"/>
                    <a:pt x="560039" y="142255"/>
                    <a:pt x="558210" y="143379"/>
                  </a:cubicBezTo>
                  <a:lnTo>
                    <a:pt x="557257" y="144046"/>
                  </a:lnTo>
                  <a:lnTo>
                    <a:pt x="414382" y="226533"/>
                  </a:lnTo>
                  <a:cubicBezTo>
                    <a:pt x="409629" y="229123"/>
                    <a:pt x="404267" y="230399"/>
                    <a:pt x="398856" y="230247"/>
                  </a:cubicBezTo>
                  <a:cubicBezTo>
                    <a:pt x="393418" y="230390"/>
                    <a:pt x="388036" y="229104"/>
                    <a:pt x="383236" y="226533"/>
                  </a:cubicBezTo>
                  <a:lnTo>
                    <a:pt x="6046" y="8791"/>
                  </a:lnTo>
                  <a:lnTo>
                    <a:pt x="5188" y="8219"/>
                  </a:lnTo>
                  <a:cubicBezTo>
                    <a:pt x="3331" y="7105"/>
                    <a:pt x="1788" y="5533"/>
                    <a:pt x="712" y="3647"/>
                  </a:cubicBezTo>
                  <a:cubicBezTo>
                    <a:pt x="45" y="2485"/>
                    <a:pt x="-317" y="1171"/>
                    <a:pt x="-336" y="-163"/>
                  </a:cubicBezTo>
                  <a:close/>
                </a:path>
              </a:pathLst>
            </a:custGeom>
            <a:solidFill>
              <a:srgbClr val="BF4200"/>
            </a:solidFill>
            <a:ln w="9525" cap="flat">
              <a:noFill/>
              <a:prstDash val="solid"/>
              <a:miter/>
            </a:ln>
          </p:spPr>
          <p:txBody>
            <a:bodyPr rtlCol="0" anchor="ctr"/>
            <a:lstStyle/>
            <a:p>
              <a:endParaRPr lang="zh-CN" altLang="en-US"/>
            </a:p>
          </p:txBody>
        </p:sp>
        <p:sp>
          <p:nvSpPr>
            <p:cNvPr id="381" name="îŝļiďè">
              <a:extLst>
                <a:ext uri="{FF2B5EF4-FFF2-40B4-BE49-F238E27FC236}">
                  <a16:creationId xmlns:a16="http://schemas.microsoft.com/office/drawing/2014/main" id="{E22A9682-4E2B-423E-9C44-F34C887C00F4}"/>
                </a:ext>
              </a:extLst>
            </p:cNvPr>
            <p:cNvSpPr/>
            <p:nvPr/>
          </p:nvSpPr>
          <p:spPr>
            <a:xfrm>
              <a:off x="4874988" y="4583739"/>
              <a:ext cx="1716699" cy="991611"/>
            </a:xfrm>
            <a:custGeom>
              <a:avLst/>
              <a:gdLst>
                <a:gd name="connsiteX0" fmla="*/ -336 w 563975"/>
                <a:gd name="connsiteY0" fmla="*/ 95182 h 325767"/>
                <a:gd name="connsiteX1" fmla="*/ 712 w 563975"/>
                <a:gd name="connsiteY1" fmla="*/ 98992 h 325767"/>
                <a:gd name="connsiteX2" fmla="*/ 5188 w 563975"/>
                <a:gd name="connsiteY2" fmla="*/ 103565 h 325767"/>
                <a:gd name="connsiteX3" fmla="*/ 6046 w 563975"/>
                <a:gd name="connsiteY3" fmla="*/ 104136 h 325767"/>
                <a:gd name="connsiteX4" fmla="*/ 383236 w 563975"/>
                <a:gd name="connsiteY4" fmla="*/ 321878 h 325767"/>
                <a:gd name="connsiteX5" fmla="*/ 398856 w 563975"/>
                <a:gd name="connsiteY5" fmla="*/ 325592 h 325767"/>
                <a:gd name="connsiteX6" fmla="*/ 414382 w 563975"/>
                <a:gd name="connsiteY6" fmla="*/ 321878 h 325767"/>
                <a:gd name="connsiteX7" fmla="*/ 557257 w 563975"/>
                <a:gd name="connsiteY7" fmla="*/ 239391 h 325767"/>
                <a:gd name="connsiteX8" fmla="*/ 558210 w 563975"/>
                <a:gd name="connsiteY8" fmla="*/ 238724 h 325767"/>
                <a:gd name="connsiteX9" fmla="*/ 562591 w 563975"/>
                <a:gd name="connsiteY9" fmla="*/ 234152 h 325767"/>
                <a:gd name="connsiteX10" fmla="*/ 563639 w 563975"/>
                <a:gd name="connsiteY10" fmla="*/ 230342 h 325767"/>
                <a:gd name="connsiteX11" fmla="*/ 557257 w 563975"/>
                <a:gd name="connsiteY11" fmla="*/ 221389 h 325767"/>
                <a:gd name="connsiteX12" fmla="*/ 180163 w 563975"/>
                <a:gd name="connsiteY12" fmla="*/ 3552 h 325767"/>
                <a:gd name="connsiteX13" fmla="*/ 149111 w 563975"/>
                <a:gd name="connsiteY13" fmla="*/ 3552 h 325767"/>
                <a:gd name="connsiteX14" fmla="*/ 6236 w 563975"/>
                <a:gd name="connsiteY14" fmla="*/ 86134 h 325767"/>
                <a:gd name="connsiteX15" fmla="*/ -336 w 563975"/>
                <a:gd name="connsiteY15" fmla="*/ 95182 h 325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63975" h="325767">
                  <a:moveTo>
                    <a:pt x="-336" y="95182"/>
                  </a:moveTo>
                  <a:cubicBezTo>
                    <a:pt x="-317" y="96516"/>
                    <a:pt x="45" y="97831"/>
                    <a:pt x="712" y="98992"/>
                  </a:cubicBezTo>
                  <a:cubicBezTo>
                    <a:pt x="1788" y="100878"/>
                    <a:pt x="3331" y="102450"/>
                    <a:pt x="5188" y="103565"/>
                  </a:cubicBezTo>
                  <a:lnTo>
                    <a:pt x="6046" y="104136"/>
                  </a:lnTo>
                  <a:lnTo>
                    <a:pt x="383236" y="321878"/>
                  </a:lnTo>
                  <a:cubicBezTo>
                    <a:pt x="388036" y="324449"/>
                    <a:pt x="393418" y="325735"/>
                    <a:pt x="398856" y="325592"/>
                  </a:cubicBezTo>
                  <a:cubicBezTo>
                    <a:pt x="404267" y="325745"/>
                    <a:pt x="409629" y="324468"/>
                    <a:pt x="414382" y="321878"/>
                  </a:cubicBezTo>
                  <a:lnTo>
                    <a:pt x="557257" y="239391"/>
                  </a:lnTo>
                  <a:lnTo>
                    <a:pt x="558210" y="238724"/>
                  </a:lnTo>
                  <a:cubicBezTo>
                    <a:pt x="560039" y="237600"/>
                    <a:pt x="561544" y="236029"/>
                    <a:pt x="562591" y="234152"/>
                  </a:cubicBezTo>
                  <a:cubicBezTo>
                    <a:pt x="563268" y="233000"/>
                    <a:pt x="563630" y="231685"/>
                    <a:pt x="563639" y="230342"/>
                  </a:cubicBezTo>
                  <a:cubicBezTo>
                    <a:pt x="563268" y="226427"/>
                    <a:pt x="560839" y="223008"/>
                    <a:pt x="557257" y="221389"/>
                  </a:cubicBezTo>
                  <a:lnTo>
                    <a:pt x="180163" y="3552"/>
                  </a:lnTo>
                  <a:cubicBezTo>
                    <a:pt x="170409" y="-1401"/>
                    <a:pt x="158865" y="-1401"/>
                    <a:pt x="149111" y="3552"/>
                  </a:cubicBezTo>
                  <a:lnTo>
                    <a:pt x="6236" y="86134"/>
                  </a:lnTo>
                  <a:cubicBezTo>
                    <a:pt x="2540" y="87705"/>
                    <a:pt x="16" y="91182"/>
                    <a:pt x="-336" y="95182"/>
                  </a:cubicBezTo>
                  <a:close/>
                </a:path>
              </a:pathLst>
            </a:custGeom>
            <a:solidFill>
              <a:srgbClr val="D9530B"/>
            </a:solidFill>
            <a:ln w="9525" cap="flat">
              <a:noFill/>
              <a:prstDash val="solid"/>
              <a:miter/>
            </a:ln>
          </p:spPr>
          <p:txBody>
            <a:bodyPr rtlCol="0" anchor="ctr"/>
            <a:lstStyle/>
            <a:p>
              <a:endParaRPr lang="zh-CN" altLang="en-US"/>
            </a:p>
          </p:txBody>
        </p:sp>
        <p:sp>
          <p:nvSpPr>
            <p:cNvPr id="382" name="îṧļïḑé">
              <a:extLst>
                <a:ext uri="{FF2B5EF4-FFF2-40B4-BE49-F238E27FC236}">
                  <a16:creationId xmlns:a16="http://schemas.microsoft.com/office/drawing/2014/main" id="{0C41D675-F83C-4529-BE85-27CB75222476}"/>
                </a:ext>
              </a:extLst>
            </p:cNvPr>
            <p:cNvSpPr/>
            <p:nvPr/>
          </p:nvSpPr>
          <p:spPr>
            <a:xfrm>
              <a:off x="4888905" y="4592004"/>
              <a:ext cx="1690603" cy="975408"/>
            </a:xfrm>
            <a:custGeom>
              <a:avLst/>
              <a:gdLst>
                <a:gd name="connsiteX0" fmla="*/ -336 w 555402"/>
                <a:gd name="connsiteY0" fmla="*/ 92468 h 320444"/>
                <a:gd name="connsiteX1" fmla="*/ 4045 w 555402"/>
                <a:gd name="connsiteY1" fmla="*/ 99040 h 320444"/>
                <a:gd name="connsiteX2" fmla="*/ 4807 w 555402"/>
                <a:gd name="connsiteY2" fmla="*/ 99516 h 320444"/>
                <a:gd name="connsiteX3" fmla="*/ 382473 w 555402"/>
                <a:gd name="connsiteY3" fmla="*/ 317353 h 320444"/>
                <a:gd name="connsiteX4" fmla="*/ 407048 w 555402"/>
                <a:gd name="connsiteY4" fmla="*/ 317353 h 320444"/>
                <a:gd name="connsiteX5" fmla="*/ 549923 w 555402"/>
                <a:gd name="connsiteY5" fmla="*/ 234771 h 320444"/>
                <a:gd name="connsiteX6" fmla="*/ 550685 w 555402"/>
                <a:gd name="connsiteY6" fmla="*/ 234295 h 320444"/>
                <a:gd name="connsiteX7" fmla="*/ 555066 w 555402"/>
                <a:gd name="connsiteY7" fmla="*/ 227628 h 320444"/>
                <a:gd name="connsiteX8" fmla="*/ 549923 w 555402"/>
                <a:gd name="connsiteY8" fmla="*/ 220579 h 320444"/>
                <a:gd name="connsiteX9" fmla="*/ 172733 w 555402"/>
                <a:gd name="connsiteY9" fmla="*/ 2838 h 320444"/>
                <a:gd name="connsiteX10" fmla="*/ 148158 w 555402"/>
                <a:gd name="connsiteY10" fmla="*/ 2838 h 320444"/>
                <a:gd name="connsiteX11" fmla="*/ 5283 w 555402"/>
                <a:gd name="connsiteY11" fmla="*/ 85324 h 320444"/>
                <a:gd name="connsiteX12" fmla="*/ -336 w 555402"/>
                <a:gd name="connsiteY12" fmla="*/ 92468 h 320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55402" h="320444">
                  <a:moveTo>
                    <a:pt x="-336" y="92468"/>
                  </a:moveTo>
                  <a:cubicBezTo>
                    <a:pt x="-155" y="95287"/>
                    <a:pt x="1521" y="97792"/>
                    <a:pt x="4045" y="99040"/>
                  </a:cubicBezTo>
                  <a:lnTo>
                    <a:pt x="4807" y="99516"/>
                  </a:lnTo>
                  <a:lnTo>
                    <a:pt x="382473" y="317353"/>
                  </a:lnTo>
                  <a:cubicBezTo>
                    <a:pt x="390198" y="321259"/>
                    <a:pt x="399323" y="321259"/>
                    <a:pt x="407048" y="317353"/>
                  </a:cubicBezTo>
                  <a:lnTo>
                    <a:pt x="549923" y="234771"/>
                  </a:lnTo>
                  <a:lnTo>
                    <a:pt x="550685" y="234295"/>
                  </a:lnTo>
                  <a:cubicBezTo>
                    <a:pt x="553180" y="232952"/>
                    <a:pt x="554828" y="230447"/>
                    <a:pt x="555066" y="227628"/>
                  </a:cubicBezTo>
                  <a:cubicBezTo>
                    <a:pt x="554790" y="224513"/>
                    <a:pt x="552809" y="221798"/>
                    <a:pt x="549923" y="220579"/>
                  </a:cubicBezTo>
                  <a:lnTo>
                    <a:pt x="172733" y="2838"/>
                  </a:lnTo>
                  <a:cubicBezTo>
                    <a:pt x="165027" y="-1163"/>
                    <a:pt x="155864" y="-1163"/>
                    <a:pt x="148158" y="2838"/>
                  </a:cubicBezTo>
                  <a:lnTo>
                    <a:pt x="5283" y="85324"/>
                  </a:lnTo>
                  <a:cubicBezTo>
                    <a:pt x="2226" y="86467"/>
                    <a:pt x="64" y="89229"/>
                    <a:pt x="-336" y="92468"/>
                  </a:cubicBezTo>
                  <a:close/>
                </a:path>
              </a:pathLst>
            </a:custGeom>
            <a:solidFill>
              <a:srgbClr val="FF7D33"/>
            </a:solidFill>
            <a:ln w="9525" cap="flat">
              <a:noFill/>
              <a:prstDash val="solid"/>
              <a:miter/>
            </a:ln>
          </p:spPr>
          <p:txBody>
            <a:bodyPr rtlCol="0" anchor="ctr"/>
            <a:lstStyle/>
            <a:p>
              <a:endParaRPr lang="zh-CN" altLang="en-US"/>
            </a:p>
          </p:txBody>
        </p:sp>
        <p:sp>
          <p:nvSpPr>
            <p:cNvPr id="383" name="îsļîďe">
              <a:extLst>
                <a:ext uri="{FF2B5EF4-FFF2-40B4-BE49-F238E27FC236}">
                  <a16:creationId xmlns:a16="http://schemas.microsoft.com/office/drawing/2014/main" id="{E56C1C4E-33BF-432E-A85C-7E70B2BC7617}"/>
                </a:ext>
              </a:extLst>
            </p:cNvPr>
            <p:cNvSpPr/>
            <p:nvPr/>
          </p:nvSpPr>
          <p:spPr>
            <a:xfrm>
              <a:off x="5313079" y="4592220"/>
              <a:ext cx="146416" cy="84804"/>
            </a:xfrm>
            <a:custGeom>
              <a:avLst/>
              <a:gdLst>
                <a:gd name="connsiteX0" fmla="*/ -336 w 48101"/>
                <a:gd name="connsiteY0" fmla="*/ 10291 h 27860"/>
                <a:gd name="connsiteX1" fmla="*/ 1188 w 48101"/>
                <a:gd name="connsiteY1" fmla="*/ 12577 h 27860"/>
                <a:gd name="connsiteX2" fmla="*/ 3569 w 48101"/>
                <a:gd name="connsiteY2" fmla="*/ 13911 h 27860"/>
                <a:gd name="connsiteX3" fmla="*/ 25857 w 48101"/>
                <a:gd name="connsiteY3" fmla="*/ 26769 h 27860"/>
                <a:gd name="connsiteX4" fmla="*/ 33668 w 48101"/>
                <a:gd name="connsiteY4" fmla="*/ 26769 h 27860"/>
                <a:gd name="connsiteX5" fmla="*/ 43860 w 48101"/>
                <a:gd name="connsiteY5" fmla="*/ 20864 h 27860"/>
                <a:gd name="connsiteX6" fmla="*/ 46241 w 48101"/>
                <a:gd name="connsiteY6" fmla="*/ 19530 h 27860"/>
                <a:gd name="connsiteX7" fmla="*/ 47765 w 48101"/>
                <a:gd name="connsiteY7" fmla="*/ 17816 h 27860"/>
                <a:gd name="connsiteX8" fmla="*/ 47765 w 48101"/>
                <a:gd name="connsiteY8" fmla="*/ 16768 h 27860"/>
                <a:gd name="connsiteX9" fmla="*/ 46241 w 48101"/>
                <a:gd name="connsiteY9" fmla="*/ 15054 h 27860"/>
                <a:gd name="connsiteX10" fmla="*/ 21476 w 48101"/>
                <a:gd name="connsiteY10" fmla="*/ 766 h 27860"/>
                <a:gd name="connsiteX11" fmla="*/ 13856 w 48101"/>
                <a:gd name="connsiteY11" fmla="*/ 766 h 27860"/>
                <a:gd name="connsiteX12" fmla="*/ 1188 w 48101"/>
                <a:gd name="connsiteY12" fmla="*/ 8100 h 27860"/>
                <a:gd name="connsiteX13" fmla="*/ -336 w 48101"/>
                <a:gd name="connsiteY13" fmla="*/ 10291 h 27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8101" h="27860">
                  <a:moveTo>
                    <a:pt x="-336" y="10291"/>
                  </a:moveTo>
                  <a:cubicBezTo>
                    <a:pt x="-270" y="11272"/>
                    <a:pt x="311" y="12139"/>
                    <a:pt x="1188" y="12577"/>
                  </a:cubicBezTo>
                  <a:lnTo>
                    <a:pt x="3569" y="13911"/>
                  </a:lnTo>
                  <a:lnTo>
                    <a:pt x="25857" y="26769"/>
                  </a:lnTo>
                  <a:cubicBezTo>
                    <a:pt x="28315" y="28007"/>
                    <a:pt x="31211" y="28007"/>
                    <a:pt x="33668" y="26769"/>
                  </a:cubicBezTo>
                  <a:lnTo>
                    <a:pt x="43860" y="20864"/>
                  </a:lnTo>
                  <a:lnTo>
                    <a:pt x="46241" y="19530"/>
                  </a:lnTo>
                  <a:cubicBezTo>
                    <a:pt x="46946" y="19168"/>
                    <a:pt x="47479" y="18559"/>
                    <a:pt x="47765" y="17816"/>
                  </a:cubicBezTo>
                  <a:lnTo>
                    <a:pt x="47765" y="16768"/>
                  </a:lnTo>
                  <a:cubicBezTo>
                    <a:pt x="47479" y="16025"/>
                    <a:pt x="46946" y="15415"/>
                    <a:pt x="46241" y="15054"/>
                  </a:cubicBezTo>
                  <a:lnTo>
                    <a:pt x="21476" y="766"/>
                  </a:lnTo>
                  <a:cubicBezTo>
                    <a:pt x="19085" y="-472"/>
                    <a:pt x="16247" y="-472"/>
                    <a:pt x="13856" y="766"/>
                  </a:cubicBezTo>
                  <a:lnTo>
                    <a:pt x="1188" y="8100"/>
                  </a:lnTo>
                  <a:cubicBezTo>
                    <a:pt x="311" y="8491"/>
                    <a:pt x="-279"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384" name="ïṡḷïḓé">
              <a:extLst>
                <a:ext uri="{FF2B5EF4-FFF2-40B4-BE49-F238E27FC236}">
                  <a16:creationId xmlns:a16="http://schemas.microsoft.com/office/drawing/2014/main" id="{AA1FC480-8C7A-4CA8-8298-B2A0281769BA}"/>
                </a:ext>
              </a:extLst>
            </p:cNvPr>
            <p:cNvSpPr/>
            <p:nvPr/>
          </p:nvSpPr>
          <p:spPr>
            <a:xfrm>
              <a:off x="5314963" y="4594539"/>
              <a:ext cx="142718" cy="82484"/>
            </a:xfrm>
            <a:custGeom>
              <a:avLst/>
              <a:gdLst>
                <a:gd name="connsiteX0" fmla="*/ 25429 w 46886"/>
                <a:gd name="connsiteY0" fmla="*/ 26007 h 27098"/>
                <a:gd name="connsiteX1" fmla="*/ 1235 w 46886"/>
                <a:gd name="connsiteY1" fmla="*/ 12006 h 27098"/>
                <a:gd name="connsiteX2" fmla="*/ 1235 w 46886"/>
                <a:gd name="connsiteY2" fmla="*/ 7719 h 27098"/>
                <a:gd name="connsiteX3" fmla="*/ 13332 w 46886"/>
                <a:gd name="connsiteY3" fmla="*/ 766 h 27098"/>
                <a:gd name="connsiteX4" fmla="*/ 20761 w 46886"/>
                <a:gd name="connsiteY4" fmla="*/ 766 h 27098"/>
                <a:gd name="connsiteX5" fmla="*/ 45050 w 46886"/>
                <a:gd name="connsiteY5" fmla="*/ 14768 h 27098"/>
                <a:gd name="connsiteX6" fmla="*/ 45050 w 46886"/>
                <a:gd name="connsiteY6" fmla="*/ 19054 h 27098"/>
                <a:gd name="connsiteX7" fmla="*/ 32858 w 46886"/>
                <a:gd name="connsiteY7" fmla="*/ 26007 h 27098"/>
                <a:gd name="connsiteX8" fmla="*/ 25429 w 46886"/>
                <a:gd name="connsiteY8" fmla="*/ 26007 h 270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886" h="27098">
                  <a:moveTo>
                    <a:pt x="25429" y="26007"/>
                  </a:moveTo>
                  <a:lnTo>
                    <a:pt x="1235" y="12006"/>
                  </a:lnTo>
                  <a:cubicBezTo>
                    <a:pt x="-860" y="10863"/>
                    <a:pt x="-860" y="8958"/>
                    <a:pt x="1235" y="7719"/>
                  </a:cubicBezTo>
                  <a:lnTo>
                    <a:pt x="13332" y="766"/>
                  </a:lnTo>
                  <a:cubicBezTo>
                    <a:pt x="15656" y="-472"/>
                    <a:pt x="18437" y="-472"/>
                    <a:pt x="20761" y="766"/>
                  </a:cubicBezTo>
                  <a:lnTo>
                    <a:pt x="45050" y="14768"/>
                  </a:lnTo>
                  <a:cubicBezTo>
                    <a:pt x="47051" y="15911"/>
                    <a:pt x="47051" y="17816"/>
                    <a:pt x="45050" y="19054"/>
                  </a:cubicBezTo>
                  <a:lnTo>
                    <a:pt x="32858" y="26007"/>
                  </a:lnTo>
                  <a:cubicBezTo>
                    <a:pt x="30534" y="27245"/>
                    <a:pt x="27753" y="27245"/>
                    <a:pt x="25429" y="26007"/>
                  </a:cubicBezTo>
                  <a:close/>
                </a:path>
              </a:pathLst>
            </a:custGeom>
            <a:solidFill>
              <a:srgbClr val="D1D9E8"/>
            </a:solidFill>
            <a:ln w="9525" cap="flat">
              <a:noFill/>
              <a:prstDash val="solid"/>
              <a:miter/>
            </a:ln>
          </p:spPr>
          <p:txBody>
            <a:bodyPr rtlCol="0" anchor="ctr"/>
            <a:lstStyle/>
            <a:p>
              <a:endParaRPr lang="zh-CN" altLang="en-US"/>
            </a:p>
          </p:txBody>
        </p:sp>
        <p:sp>
          <p:nvSpPr>
            <p:cNvPr id="385" name="îṩḷíḋê">
              <a:extLst>
                <a:ext uri="{FF2B5EF4-FFF2-40B4-BE49-F238E27FC236}">
                  <a16:creationId xmlns:a16="http://schemas.microsoft.com/office/drawing/2014/main" id="{0DA03A87-DB88-4EA2-A22C-E4C275BC50FF}"/>
                </a:ext>
              </a:extLst>
            </p:cNvPr>
            <p:cNvSpPr/>
            <p:nvPr/>
          </p:nvSpPr>
          <p:spPr>
            <a:xfrm>
              <a:off x="5313079" y="4624041"/>
              <a:ext cx="146416" cy="74728"/>
            </a:xfrm>
            <a:custGeom>
              <a:avLst/>
              <a:gdLst>
                <a:gd name="connsiteX0" fmla="*/ -336 w 48101"/>
                <a:gd name="connsiteY0" fmla="*/ -163 h 24550"/>
                <a:gd name="connsiteX1" fmla="*/ -336 w 48101"/>
                <a:gd name="connsiteY1" fmla="*/ 6981 h 24550"/>
                <a:gd name="connsiteX2" fmla="*/ 1188 w 48101"/>
                <a:gd name="connsiteY2" fmla="*/ 9267 h 24550"/>
                <a:gd name="connsiteX3" fmla="*/ 25857 w 48101"/>
                <a:gd name="connsiteY3" fmla="*/ 23459 h 24550"/>
                <a:gd name="connsiteX4" fmla="*/ 33668 w 48101"/>
                <a:gd name="connsiteY4" fmla="*/ 23459 h 24550"/>
                <a:gd name="connsiteX5" fmla="*/ 46241 w 48101"/>
                <a:gd name="connsiteY5" fmla="*/ 16220 h 24550"/>
                <a:gd name="connsiteX6" fmla="*/ 47765 w 48101"/>
                <a:gd name="connsiteY6" fmla="*/ 14601 h 24550"/>
                <a:gd name="connsiteX7" fmla="*/ 47765 w 48101"/>
                <a:gd name="connsiteY7" fmla="*/ 7362 h 24550"/>
                <a:gd name="connsiteX8" fmla="*/ 46241 w 48101"/>
                <a:gd name="connsiteY8" fmla="*/ 9077 h 24550"/>
                <a:gd name="connsiteX9" fmla="*/ 43860 w 48101"/>
                <a:gd name="connsiteY9" fmla="*/ 10410 h 24550"/>
                <a:gd name="connsiteX10" fmla="*/ 33668 w 48101"/>
                <a:gd name="connsiteY10" fmla="*/ 16316 h 24550"/>
                <a:gd name="connsiteX11" fmla="*/ 25857 w 48101"/>
                <a:gd name="connsiteY11" fmla="*/ 16316 h 24550"/>
                <a:gd name="connsiteX12" fmla="*/ 3569 w 48101"/>
                <a:gd name="connsiteY12" fmla="*/ 3457 h 24550"/>
                <a:gd name="connsiteX13" fmla="*/ 1188 w 48101"/>
                <a:gd name="connsiteY13" fmla="*/ 2123 h 24550"/>
                <a:gd name="connsiteX14" fmla="*/ -336 w 48101"/>
                <a:gd name="connsiteY14" fmla="*/ -163 h 24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8101" h="24550">
                  <a:moveTo>
                    <a:pt x="-336" y="-163"/>
                  </a:moveTo>
                  <a:lnTo>
                    <a:pt x="-336" y="6981"/>
                  </a:lnTo>
                  <a:cubicBezTo>
                    <a:pt x="-251" y="7953"/>
                    <a:pt x="321" y="8819"/>
                    <a:pt x="1188" y="9267"/>
                  </a:cubicBezTo>
                  <a:lnTo>
                    <a:pt x="25857" y="23459"/>
                  </a:lnTo>
                  <a:cubicBezTo>
                    <a:pt x="28315" y="24697"/>
                    <a:pt x="31211" y="24697"/>
                    <a:pt x="33668" y="23459"/>
                  </a:cubicBezTo>
                  <a:lnTo>
                    <a:pt x="46241" y="16220"/>
                  </a:lnTo>
                  <a:cubicBezTo>
                    <a:pt x="46917" y="15868"/>
                    <a:pt x="47451" y="15296"/>
                    <a:pt x="47765" y="14601"/>
                  </a:cubicBezTo>
                  <a:lnTo>
                    <a:pt x="47765" y="7362"/>
                  </a:lnTo>
                  <a:cubicBezTo>
                    <a:pt x="47479" y="8105"/>
                    <a:pt x="46946" y="8715"/>
                    <a:pt x="46241" y="9077"/>
                  </a:cubicBezTo>
                  <a:lnTo>
                    <a:pt x="43860" y="10410"/>
                  </a:lnTo>
                  <a:lnTo>
                    <a:pt x="33668" y="16316"/>
                  </a:lnTo>
                  <a:cubicBezTo>
                    <a:pt x="31211" y="17554"/>
                    <a:pt x="28315" y="17554"/>
                    <a:pt x="25857" y="16316"/>
                  </a:cubicBezTo>
                  <a:lnTo>
                    <a:pt x="3569" y="3457"/>
                  </a:lnTo>
                  <a:lnTo>
                    <a:pt x="1188"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386" name="iṡľidé">
              <a:extLst>
                <a:ext uri="{FF2B5EF4-FFF2-40B4-BE49-F238E27FC236}">
                  <a16:creationId xmlns:a16="http://schemas.microsoft.com/office/drawing/2014/main" id="{7DA1ECB1-7BFD-4C57-AA8A-2C311A6E582F}"/>
                </a:ext>
              </a:extLst>
            </p:cNvPr>
            <p:cNvSpPr/>
            <p:nvPr/>
          </p:nvSpPr>
          <p:spPr>
            <a:xfrm>
              <a:off x="5429923" y="4660839"/>
              <a:ext cx="109740" cy="63442"/>
            </a:xfrm>
            <a:custGeom>
              <a:avLst/>
              <a:gdLst>
                <a:gd name="connsiteX0" fmla="*/ -336 w 36052"/>
                <a:gd name="connsiteY0" fmla="*/ 10227 h 20842"/>
                <a:gd name="connsiteX1" fmla="*/ 1188 w 36052"/>
                <a:gd name="connsiteY1" fmla="*/ 12513 h 20842"/>
                <a:gd name="connsiteX2" fmla="*/ 3569 w 36052"/>
                <a:gd name="connsiteY2" fmla="*/ 13846 h 20842"/>
                <a:gd name="connsiteX3" fmla="*/ 13856 w 36052"/>
                <a:gd name="connsiteY3" fmla="*/ 19752 h 20842"/>
                <a:gd name="connsiteX4" fmla="*/ 21476 w 36052"/>
                <a:gd name="connsiteY4" fmla="*/ 19752 h 20842"/>
                <a:gd name="connsiteX5" fmla="*/ 31763 w 36052"/>
                <a:gd name="connsiteY5" fmla="*/ 13846 h 20842"/>
                <a:gd name="connsiteX6" fmla="*/ 34144 w 36052"/>
                <a:gd name="connsiteY6" fmla="*/ 12513 h 20842"/>
                <a:gd name="connsiteX7" fmla="*/ 35573 w 36052"/>
                <a:gd name="connsiteY7" fmla="*/ 9465 h 20842"/>
                <a:gd name="connsiteX8" fmla="*/ 34144 w 36052"/>
                <a:gd name="connsiteY8" fmla="*/ 8036 h 20842"/>
                <a:gd name="connsiteX9" fmla="*/ 21476 w 36052"/>
                <a:gd name="connsiteY9" fmla="*/ 702 h 20842"/>
                <a:gd name="connsiteX10" fmla="*/ 13856 w 36052"/>
                <a:gd name="connsiteY10" fmla="*/ 702 h 20842"/>
                <a:gd name="connsiteX11" fmla="*/ 1188 w 36052"/>
                <a:gd name="connsiteY11" fmla="*/ 8036 h 20842"/>
                <a:gd name="connsiteX12" fmla="*/ -336 w 36052"/>
                <a:gd name="connsiteY12" fmla="*/ 10227 h 20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2">
                  <a:moveTo>
                    <a:pt x="-336" y="10227"/>
                  </a:moveTo>
                  <a:cubicBezTo>
                    <a:pt x="-270" y="11208"/>
                    <a:pt x="311" y="12074"/>
                    <a:pt x="1188" y="12513"/>
                  </a:cubicBezTo>
                  <a:lnTo>
                    <a:pt x="3569" y="13846"/>
                  </a:lnTo>
                  <a:lnTo>
                    <a:pt x="13856" y="19752"/>
                  </a:lnTo>
                  <a:cubicBezTo>
                    <a:pt x="16247" y="20990"/>
                    <a:pt x="19085" y="20990"/>
                    <a:pt x="21476" y="19752"/>
                  </a:cubicBezTo>
                  <a:lnTo>
                    <a:pt x="31763" y="13846"/>
                  </a:lnTo>
                  <a:lnTo>
                    <a:pt x="34144" y="12513"/>
                  </a:lnTo>
                  <a:cubicBezTo>
                    <a:pt x="35382" y="12065"/>
                    <a:pt x="36020" y="10693"/>
                    <a:pt x="35573" y="9465"/>
                  </a:cubicBezTo>
                  <a:cubicBezTo>
                    <a:pt x="35325" y="8798"/>
                    <a:pt x="34811" y="8274"/>
                    <a:pt x="34144"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387" name="iś1ïḓé">
              <a:extLst>
                <a:ext uri="{FF2B5EF4-FFF2-40B4-BE49-F238E27FC236}">
                  <a16:creationId xmlns:a16="http://schemas.microsoft.com/office/drawing/2014/main" id="{C6BCECAE-A361-46DB-96B1-6B798F06CECD}"/>
                </a:ext>
              </a:extLst>
            </p:cNvPr>
            <p:cNvSpPr/>
            <p:nvPr/>
          </p:nvSpPr>
          <p:spPr>
            <a:xfrm>
              <a:off x="5431808" y="4662020"/>
              <a:ext cx="105895" cy="61104"/>
            </a:xfrm>
            <a:custGeom>
              <a:avLst/>
              <a:gdLst>
                <a:gd name="connsiteX0" fmla="*/ 1235 w 34789"/>
                <a:gd name="connsiteY0" fmla="*/ 12029 h 20074"/>
                <a:gd name="connsiteX1" fmla="*/ 13332 w 34789"/>
                <a:gd name="connsiteY1" fmla="*/ 18983 h 20074"/>
                <a:gd name="connsiteX2" fmla="*/ 20761 w 34789"/>
                <a:gd name="connsiteY2" fmla="*/ 18983 h 20074"/>
                <a:gd name="connsiteX3" fmla="*/ 32953 w 34789"/>
                <a:gd name="connsiteY3" fmla="*/ 12029 h 20074"/>
                <a:gd name="connsiteX4" fmla="*/ 32953 w 34789"/>
                <a:gd name="connsiteY4" fmla="*/ 7743 h 20074"/>
                <a:gd name="connsiteX5" fmla="*/ 20761 w 34789"/>
                <a:gd name="connsiteY5" fmla="*/ 695 h 20074"/>
                <a:gd name="connsiteX6" fmla="*/ 13332 w 34789"/>
                <a:gd name="connsiteY6" fmla="*/ 695 h 20074"/>
                <a:gd name="connsiteX7" fmla="*/ 1235 w 34789"/>
                <a:gd name="connsiteY7" fmla="*/ 7743 h 20074"/>
                <a:gd name="connsiteX8" fmla="*/ 1235 w 34789"/>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89" h="20074">
                  <a:moveTo>
                    <a:pt x="1235" y="12029"/>
                  </a:moveTo>
                  <a:lnTo>
                    <a:pt x="13332" y="18983"/>
                  </a:lnTo>
                  <a:cubicBezTo>
                    <a:pt x="15656" y="20221"/>
                    <a:pt x="18437" y="20221"/>
                    <a:pt x="20761" y="18983"/>
                  </a:cubicBezTo>
                  <a:lnTo>
                    <a:pt x="32953" y="12029"/>
                  </a:lnTo>
                  <a:cubicBezTo>
                    <a:pt x="34954" y="10791"/>
                    <a:pt x="34954" y="8886"/>
                    <a:pt x="32953" y="7743"/>
                  </a:cubicBezTo>
                  <a:lnTo>
                    <a:pt x="20761" y="695"/>
                  </a:lnTo>
                  <a:cubicBezTo>
                    <a:pt x="18418" y="-448"/>
                    <a:pt x="15675" y="-448"/>
                    <a:pt x="13332" y="695"/>
                  </a:cubicBezTo>
                  <a:lnTo>
                    <a:pt x="1235" y="7743"/>
                  </a:lnTo>
                  <a:cubicBezTo>
                    <a:pt x="-860" y="8886"/>
                    <a:pt x="-860" y="10791"/>
                    <a:pt x="1235" y="12029"/>
                  </a:cubicBezTo>
                  <a:close/>
                </a:path>
              </a:pathLst>
            </a:custGeom>
            <a:solidFill>
              <a:srgbClr val="D1D9E8"/>
            </a:solidFill>
            <a:ln w="9525" cap="flat">
              <a:noFill/>
              <a:prstDash val="solid"/>
              <a:miter/>
            </a:ln>
          </p:spPr>
          <p:txBody>
            <a:bodyPr rtlCol="0" anchor="ctr"/>
            <a:lstStyle/>
            <a:p>
              <a:endParaRPr lang="zh-CN" altLang="en-US"/>
            </a:p>
          </p:txBody>
        </p:sp>
        <p:sp>
          <p:nvSpPr>
            <p:cNvPr id="388" name="ïṩḻîḍê">
              <a:extLst>
                <a:ext uri="{FF2B5EF4-FFF2-40B4-BE49-F238E27FC236}">
                  <a16:creationId xmlns:a16="http://schemas.microsoft.com/office/drawing/2014/main" id="{402CA260-61FB-4D6D-852D-52181F213AB9}"/>
                </a:ext>
              </a:extLst>
            </p:cNvPr>
            <p:cNvSpPr/>
            <p:nvPr/>
          </p:nvSpPr>
          <p:spPr>
            <a:xfrm>
              <a:off x="5429923" y="4692465"/>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4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4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20"/>
                    <a:pt x="35582" y="7953"/>
                    <a:pt x="35668" y="6981"/>
                  </a:cubicBezTo>
                  <a:lnTo>
                    <a:pt x="35668" y="-163"/>
                  </a:lnTo>
                  <a:cubicBezTo>
                    <a:pt x="35602" y="819"/>
                    <a:pt x="35021" y="1685"/>
                    <a:pt x="34144" y="2124"/>
                  </a:cubicBezTo>
                  <a:lnTo>
                    <a:pt x="31763" y="3457"/>
                  </a:lnTo>
                  <a:lnTo>
                    <a:pt x="21476" y="9362"/>
                  </a:lnTo>
                  <a:cubicBezTo>
                    <a:pt x="19085" y="10601"/>
                    <a:pt x="16247" y="10601"/>
                    <a:pt x="13856" y="9362"/>
                  </a:cubicBezTo>
                  <a:lnTo>
                    <a:pt x="3569" y="3457"/>
                  </a:lnTo>
                  <a:lnTo>
                    <a:pt x="1188" y="2124"/>
                  </a:lnTo>
                  <a:cubicBezTo>
                    <a:pt x="311" y="1685"/>
                    <a:pt x="-270" y="819"/>
                    <a:pt x="-336" y="-163"/>
                  </a:cubicBezTo>
                  <a:close/>
                </a:path>
              </a:pathLst>
            </a:custGeom>
            <a:solidFill>
              <a:srgbClr val="BF4200"/>
            </a:solidFill>
            <a:ln w="9525" cap="flat">
              <a:noFill/>
              <a:prstDash val="solid"/>
              <a:miter/>
            </a:ln>
          </p:spPr>
          <p:txBody>
            <a:bodyPr rtlCol="0" anchor="ctr"/>
            <a:lstStyle/>
            <a:p>
              <a:endParaRPr lang="zh-CN" altLang="en-US"/>
            </a:p>
          </p:txBody>
        </p:sp>
        <p:sp>
          <p:nvSpPr>
            <p:cNvPr id="389" name="ïṣlîde">
              <a:extLst>
                <a:ext uri="{FF2B5EF4-FFF2-40B4-BE49-F238E27FC236}">
                  <a16:creationId xmlns:a16="http://schemas.microsoft.com/office/drawing/2014/main" id="{758AB995-8C2E-4719-9B74-BFC284EBB40B}"/>
                </a:ext>
              </a:extLst>
            </p:cNvPr>
            <p:cNvSpPr/>
            <p:nvPr/>
          </p:nvSpPr>
          <p:spPr>
            <a:xfrm>
              <a:off x="5507337" y="4705293"/>
              <a:ext cx="109740" cy="63639"/>
            </a:xfrm>
            <a:custGeom>
              <a:avLst/>
              <a:gdLst>
                <a:gd name="connsiteX0" fmla="*/ -336 w 36052"/>
                <a:gd name="connsiteY0" fmla="*/ 10291 h 20907"/>
                <a:gd name="connsiteX1" fmla="*/ 1187 w 36052"/>
                <a:gd name="connsiteY1" fmla="*/ 12577 h 20907"/>
                <a:gd name="connsiteX2" fmla="*/ 3569 w 36052"/>
                <a:gd name="connsiteY2" fmla="*/ 13911 h 20907"/>
                <a:gd name="connsiteX3" fmla="*/ 13856 w 36052"/>
                <a:gd name="connsiteY3" fmla="*/ 19816 h 20907"/>
                <a:gd name="connsiteX4" fmla="*/ 21476 w 36052"/>
                <a:gd name="connsiteY4" fmla="*/ 19816 h 20907"/>
                <a:gd name="connsiteX5" fmla="*/ 31763 w 36052"/>
                <a:gd name="connsiteY5" fmla="*/ 13911 h 20907"/>
                <a:gd name="connsiteX6" fmla="*/ 34144 w 36052"/>
                <a:gd name="connsiteY6" fmla="*/ 12577 h 20907"/>
                <a:gd name="connsiteX7" fmla="*/ 35573 w 36052"/>
                <a:gd name="connsiteY7" fmla="*/ 9529 h 20907"/>
                <a:gd name="connsiteX8" fmla="*/ 34144 w 36052"/>
                <a:gd name="connsiteY8" fmla="*/ 8101 h 20907"/>
                <a:gd name="connsiteX9" fmla="*/ 21476 w 36052"/>
                <a:gd name="connsiteY9" fmla="*/ 766 h 20907"/>
                <a:gd name="connsiteX10" fmla="*/ 13856 w 36052"/>
                <a:gd name="connsiteY10" fmla="*/ 766 h 20907"/>
                <a:gd name="connsiteX11" fmla="*/ 1187 w 36052"/>
                <a:gd name="connsiteY11" fmla="*/ 8101 h 20907"/>
                <a:gd name="connsiteX12" fmla="*/ -336 w 36052"/>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907">
                  <a:moveTo>
                    <a:pt x="-336" y="10291"/>
                  </a:moveTo>
                  <a:cubicBezTo>
                    <a:pt x="-270" y="11272"/>
                    <a:pt x="311" y="12139"/>
                    <a:pt x="1187" y="12577"/>
                  </a:cubicBezTo>
                  <a:lnTo>
                    <a:pt x="3569" y="13911"/>
                  </a:lnTo>
                  <a:lnTo>
                    <a:pt x="13856" y="19816"/>
                  </a:lnTo>
                  <a:cubicBezTo>
                    <a:pt x="16247" y="21054"/>
                    <a:pt x="19085" y="21054"/>
                    <a:pt x="21476" y="19816"/>
                  </a:cubicBezTo>
                  <a:lnTo>
                    <a:pt x="31763" y="13911"/>
                  </a:lnTo>
                  <a:lnTo>
                    <a:pt x="34144" y="12577"/>
                  </a:lnTo>
                  <a:cubicBezTo>
                    <a:pt x="35382" y="12129"/>
                    <a:pt x="36020" y="10758"/>
                    <a:pt x="35573" y="9529"/>
                  </a:cubicBezTo>
                  <a:cubicBezTo>
                    <a:pt x="35325" y="8862"/>
                    <a:pt x="34811" y="8339"/>
                    <a:pt x="34144" y="8101"/>
                  </a:cubicBezTo>
                  <a:lnTo>
                    <a:pt x="21476" y="766"/>
                  </a:lnTo>
                  <a:cubicBezTo>
                    <a:pt x="19085" y="-472"/>
                    <a:pt x="16247" y="-472"/>
                    <a:pt x="13856" y="766"/>
                  </a:cubicBezTo>
                  <a:lnTo>
                    <a:pt x="1187" y="8101"/>
                  </a:lnTo>
                  <a:cubicBezTo>
                    <a:pt x="340" y="8519"/>
                    <a:pt x="-241" y="9348"/>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390" name="ïšḻïḍé">
              <a:extLst>
                <a:ext uri="{FF2B5EF4-FFF2-40B4-BE49-F238E27FC236}">
                  <a16:creationId xmlns:a16="http://schemas.microsoft.com/office/drawing/2014/main" id="{E94CDF92-6D9E-49BF-AF43-2A56B326DF42}"/>
                </a:ext>
              </a:extLst>
            </p:cNvPr>
            <p:cNvSpPr/>
            <p:nvPr/>
          </p:nvSpPr>
          <p:spPr>
            <a:xfrm>
              <a:off x="5509148" y="4706671"/>
              <a:ext cx="105898" cy="61101"/>
            </a:xfrm>
            <a:custGeom>
              <a:avLst/>
              <a:gdLst>
                <a:gd name="connsiteX0" fmla="*/ 1164 w 34790"/>
                <a:gd name="connsiteY0" fmla="*/ 12029 h 20073"/>
                <a:gd name="connsiteX1" fmla="*/ 13356 w 34790"/>
                <a:gd name="connsiteY1" fmla="*/ 18982 h 20073"/>
                <a:gd name="connsiteX2" fmla="*/ 20786 w 34790"/>
                <a:gd name="connsiteY2" fmla="*/ 18982 h 20073"/>
                <a:gd name="connsiteX3" fmla="*/ 32882 w 34790"/>
                <a:gd name="connsiteY3" fmla="*/ 12029 h 20073"/>
                <a:gd name="connsiteX4" fmla="*/ 32882 w 34790"/>
                <a:gd name="connsiteY4" fmla="*/ 7743 h 20073"/>
                <a:gd name="connsiteX5" fmla="*/ 20786 w 34790"/>
                <a:gd name="connsiteY5" fmla="*/ 695 h 20073"/>
                <a:gd name="connsiteX6" fmla="*/ 13356 w 34790"/>
                <a:gd name="connsiteY6" fmla="*/ 695 h 20073"/>
                <a:gd name="connsiteX7" fmla="*/ 1164 w 34790"/>
                <a:gd name="connsiteY7" fmla="*/ 7743 h 20073"/>
                <a:gd name="connsiteX8" fmla="*/ 1164 w 34790"/>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3">
                  <a:moveTo>
                    <a:pt x="1164" y="12029"/>
                  </a:moveTo>
                  <a:lnTo>
                    <a:pt x="13356" y="18982"/>
                  </a:lnTo>
                  <a:cubicBezTo>
                    <a:pt x="15680" y="20221"/>
                    <a:pt x="18461" y="20221"/>
                    <a:pt x="20786" y="18982"/>
                  </a:cubicBezTo>
                  <a:lnTo>
                    <a:pt x="32882" y="12029"/>
                  </a:lnTo>
                  <a:cubicBezTo>
                    <a:pt x="34978" y="10791"/>
                    <a:pt x="34978" y="8886"/>
                    <a:pt x="32882" y="7743"/>
                  </a:cubicBezTo>
                  <a:lnTo>
                    <a:pt x="20786" y="695"/>
                  </a:lnTo>
                  <a:cubicBezTo>
                    <a:pt x="18442" y="-448"/>
                    <a:pt x="15699" y="-448"/>
                    <a:pt x="13356" y="695"/>
                  </a:cubicBezTo>
                  <a:lnTo>
                    <a:pt x="1164" y="7743"/>
                  </a:lnTo>
                  <a:cubicBezTo>
                    <a:pt x="-836" y="8886"/>
                    <a:pt x="-836" y="10791"/>
                    <a:pt x="1164" y="12029"/>
                  </a:cubicBezTo>
                  <a:close/>
                </a:path>
              </a:pathLst>
            </a:custGeom>
            <a:solidFill>
              <a:srgbClr val="D1D9E8"/>
            </a:solidFill>
            <a:ln w="9525" cap="flat">
              <a:noFill/>
              <a:prstDash val="solid"/>
              <a:miter/>
            </a:ln>
          </p:spPr>
          <p:txBody>
            <a:bodyPr rtlCol="0" anchor="ctr"/>
            <a:lstStyle/>
            <a:p>
              <a:endParaRPr lang="zh-CN" altLang="en-US"/>
            </a:p>
          </p:txBody>
        </p:sp>
        <p:sp>
          <p:nvSpPr>
            <p:cNvPr id="391" name="ïśľîḓe">
              <a:extLst>
                <a:ext uri="{FF2B5EF4-FFF2-40B4-BE49-F238E27FC236}">
                  <a16:creationId xmlns:a16="http://schemas.microsoft.com/office/drawing/2014/main" id="{F74FB998-CBEE-4BE5-A137-32777F866DF4}"/>
                </a:ext>
              </a:extLst>
            </p:cNvPr>
            <p:cNvSpPr/>
            <p:nvPr/>
          </p:nvSpPr>
          <p:spPr>
            <a:xfrm>
              <a:off x="5507337" y="4737114"/>
              <a:ext cx="109594" cy="53564"/>
            </a:xfrm>
            <a:custGeom>
              <a:avLst/>
              <a:gdLst>
                <a:gd name="connsiteX0" fmla="*/ -336 w 36004"/>
                <a:gd name="connsiteY0" fmla="*/ -163 h 17597"/>
                <a:gd name="connsiteX1" fmla="*/ -336 w 36004"/>
                <a:gd name="connsiteY1" fmla="*/ 7076 h 17597"/>
                <a:gd name="connsiteX2" fmla="*/ 1187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4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7 w 36004"/>
                <a:gd name="connsiteY13" fmla="*/ 2124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7" y="9267"/>
                  </a:cubicBezTo>
                  <a:lnTo>
                    <a:pt x="13856" y="16506"/>
                  </a:lnTo>
                  <a:cubicBezTo>
                    <a:pt x="16247" y="17744"/>
                    <a:pt x="19085" y="17744"/>
                    <a:pt x="21476" y="16506"/>
                  </a:cubicBezTo>
                  <a:lnTo>
                    <a:pt x="34144" y="9267"/>
                  </a:lnTo>
                  <a:cubicBezTo>
                    <a:pt x="35011" y="8819"/>
                    <a:pt x="35582" y="7953"/>
                    <a:pt x="35668" y="6981"/>
                  </a:cubicBezTo>
                  <a:lnTo>
                    <a:pt x="35668" y="-163"/>
                  </a:lnTo>
                  <a:cubicBezTo>
                    <a:pt x="35601" y="818"/>
                    <a:pt x="35020" y="1685"/>
                    <a:pt x="34144" y="2124"/>
                  </a:cubicBezTo>
                  <a:lnTo>
                    <a:pt x="31763" y="3457"/>
                  </a:lnTo>
                  <a:lnTo>
                    <a:pt x="21476" y="9362"/>
                  </a:lnTo>
                  <a:cubicBezTo>
                    <a:pt x="19085" y="10601"/>
                    <a:pt x="16247" y="10601"/>
                    <a:pt x="13856" y="9362"/>
                  </a:cubicBezTo>
                  <a:lnTo>
                    <a:pt x="3569" y="3457"/>
                  </a:lnTo>
                  <a:lnTo>
                    <a:pt x="1187" y="2124"/>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392" name="íŝ1ïḑé">
              <a:extLst>
                <a:ext uri="{FF2B5EF4-FFF2-40B4-BE49-F238E27FC236}">
                  <a16:creationId xmlns:a16="http://schemas.microsoft.com/office/drawing/2014/main" id="{BEDEB679-E08C-4BEE-A638-C3806FC502DE}"/>
                </a:ext>
              </a:extLst>
            </p:cNvPr>
            <p:cNvSpPr/>
            <p:nvPr/>
          </p:nvSpPr>
          <p:spPr>
            <a:xfrm>
              <a:off x="5584457" y="4749944"/>
              <a:ext cx="109883" cy="63639"/>
            </a:xfrm>
            <a:custGeom>
              <a:avLst/>
              <a:gdLst>
                <a:gd name="connsiteX0" fmla="*/ -336 w 36099"/>
                <a:gd name="connsiteY0" fmla="*/ 10291 h 20907"/>
                <a:gd name="connsiteX1" fmla="*/ 1283 w 36099"/>
                <a:gd name="connsiteY1" fmla="*/ 12577 h 20907"/>
                <a:gd name="connsiteX2" fmla="*/ 3569 w 36099"/>
                <a:gd name="connsiteY2" fmla="*/ 13911 h 20907"/>
                <a:gd name="connsiteX3" fmla="*/ 13856 w 36099"/>
                <a:gd name="connsiteY3" fmla="*/ 19816 h 20907"/>
                <a:gd name="connsiteX4" fmla="*/ 21571 w 36099"/>
                <a:gd name="connsiteY4" fmla="*/ 19816 h 20907"/>
                <a:gd name="connsiteX5" fmla="*/ 31858 w 36099"/>
                <a:gd name="connsiteY5" fmla="*/ 13911 h 20907"/>
                <a:gd name="connsiteX6" fmla="*/ 34144 w 36099"/>
                <a:gd name="connsiteY6" fmla="*/ 12577 h 20907"/>
                <a:gd name="connsiteX7" fmla="*/ 35764 w 36099"/>
                <a:gd name="connsiteY7" fmla="*/ 10291 h 20907"/>
                <a:gd name="connsiteX8" fmla="*/ 34144 w 36099"/>
                <a:gd name="connsiteY8" fmla="*/ 8100 h 20907"/>
                <a:gd name="connsiteX9" fmla="*/ 21571 w 36099"/>
                <a:gd name="connsiteY9" fmla="*/ 766 h 20907"/>
                <a:gd name="connsiteX10" fmla="*/ 13856 w 36099"/>
                <a:gd name="connsiteY10" fmla="*/ 766 h 20907"/>
                <a:gd name="connsiteX11" fmla="*/ 1283 w 36099"/>
                <a:gd name="connsiteY11" fmla="*/ 8100 h 20907"/>
                <a:gd name="connsiteX12" fmla="*/ -336 w 36099"/>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99" h="20907">
                  <a:moveTo>
                    <a:pt x="-336" y="10291"/>
                  </a:moveTo>
                  <a:cubicBezTo>
                    <a:pt x="-269" y="11301"/>
                    <a:pt x="350" y="12187"/>
                    <a:pt x="1283" y="12577"/>
                  </a:cubicBezTo>
                  <a:lnTo>
                    <a:pt x="3569" y="13911"/>
                  </a:lnTo>
                  <a:lnTo>
                    <a:pt x="13856" y="19816"/>
                  </a:lnTo>
                  <a:cubicBezTo>
                    <a:pt x="16275" y="21054"/>
                    <a:pt x="19152" y="21054"/>
                    <a:pt x="21571" y="19816"/>
                  </a:cubicBezTo>
                  <a:lnTo>
                    <a:pt x="31858" y="13911"/>
                  </a:lnTo>
                  <a:lnTo>
                    <a:pt x="34144" y="12577"/>
                  </a:lnTo>
                  <a:cubicBezTo>
                    <a:pt x="35049" y="12149"/>
                    <a:pt x="35659" y="11282"/>
                    <a:pt x="35764" y="10291"/>
                  </a:cubicBezTo>
                  <a:cubicBezTo>
                    <a:pt x="35649" y="9329"/>
                    <a:pt x="35030" y="8491"/>
                    <a:pt x="34144" y="8100"/>
                  </a:cubicBezTo>
                  <a:lnTo>
                    <a:pt x="21571" y="766"/>
                  </a:lnTo>
                  <a:cubicBezTo>
                    <a:pt x="19152" y="-472"/>
                    <a:pt x="16275" y="-472"/>
                    <a:pt x="13856" y="766"/>
                  </a:cubicBezTo>
                  <a:lnTo>
                    <a:pt x="1283" y="8100"/>
                  </a:lnTo>
                  <a:cubicBezTo>
                    <a:pt x="369" y="8462"/>
                    <a:pt x="-260" y="9310"/>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393" name="iSļiďè">
              <a:extLst>
                <a:ext uri="{FF2B5EF4-FFF2-40B4-BE49-F238E27FC236}">
                  <a16:creationId xmlns:a16="http://schemas.microsoft.com/office/drawing/2014/main" id="{3036BAF3-D789-408D-BD1A-B0D9F264187A}"/>
                </a:ext>
              </a:extLst>
            </p:cNvPr>
            <p:cNvSpPr/>
            <p:nvPr/>
          </p:nvSpPr>
          <p:spPr>
            <a:xfrm>
              <a:off x="5586126" y="4751104"/>
              <a:ext cx="105244" cy="61101"/>
            </a:xfrm>
            <a:custGeom>
              <a:avLst/>
              <a:gdLst>
                <a:gd name="connsiteX0" fmla="*/ 1021 w 34575"/>
                <a:gd name="connsiteY0" fmla="*/ 12006 h 20073"/>
                <a:gd name="connsiteX1" fmla="*/ 13118 w 34575"/>
                <a:gd name="connsiteY1" fmla="*/ 19054 h 20073"/>
                <a:gd name="connsiteX2" fmla="*/ 20547 w 34575"/>
                <a:gd name="connsiteY2" fmla="*/ 19054 h 20073"/>
                <a:gd name="connsiteX3" fmla="*/ 32739 w 34575"/>
                <a:gd name="connsiteY3" fmla="*/ 12006 h 20073"/>
                <a:gd name="connsiteX4" fmla="*/ 32739 w 34575"/>
                <a:gd name="connsiteY4" fmla="*/ 7719 h 20073"/>
                <a:gd name="connsiteX5" fmla="*/ 20547 w 34575"/>
                <a:gd name="connsiteY5" fmla="*/ 766 h 20073"/>
                <a:gd name="connsiteX6" fmla="*/ 13118 w 34575"/>
                <a:gd name="connsiteY6" fmla="*/ 766 h 20073"/>
                <a:gd name="connsiteX7" fmla="*/ 1021 w 34575"/>
                <a:gd name="connsiteY7" fmla="*/ 7719 h 20073"/>
                <a:gd name="connsiteX8" fmla="*/ 1021 w 34575"/>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575" h="20073">
                  <a:moveTo>
                    <a:pt x="1021" y="12006"/>
                  </a:moveTo>
                  <a:lnTo>
                    <a:pt x="13118" y="19054"/>
                  </a:lnTo>
                  <a:cubicBezTo>
                    <a:pt x="15461" y="20197"/>
                    <a:pt x="18204" y="20197"/>
                    <a:pt x="20547" y="19054"/>
                  </a:cubicBezTo>
                  <a:lnTo>
                    <a:pt x="32739" y="12006"/>
                  </a:lnTo>
                  <a:cubicBezTo>
                    <a:pt x="34740" y="10863"/>
                    <a:pt x="34740" y="8957"/>
                    <a:pt x="32739" y="7719"/>
                  </a:cubicBezTo>
                  <a:lnTo>
                    <a:pt x="20547" y="766"/>
                  </a:lnTo>
                  <a:cubicBezTo>
                    <a:pt x="18223" y="-472"/>
                    <a:pt x="15442" y="-472"/>
                    <a:pt x="13118" y="766"/>
                  </a:cubicBezTo>
                  <a:lnTo>
                    <a:pt x="1021" y="7719"/>
                  </a:lnTo>
                  <a:cubicBezTo>
                    <a:pt x="-789" y="8957"/>
                    <a:pt x="-789" y="10863"/>
                    <a:pt x="1021" y="12006"/>
                  </a:cubicBezTo>
                  <a:close/>
                </a:path>
              </a:pathLst>
            </a:custGeom>
            <a:solidFill>
              <a:srgbClr val="D1D9E8"/>
            </a:solidFill>
            <a:ln w="9525" cap="flat">
              <a:noFill/>
              <a:prstDash val="solid"/>
              <a:miter/>
            </a:ln>
          </p:spPr>
          <p:txBody>
            <a:bodyPr rtlCol="0" anchor="ctr"/>
            <a:lstStyle/>
            <a:p>
              <a:endParaRPr lang="zh-CN" altLang="en-US"/>
            </a:p>
          </p:txBody>
        </p:sp>
        <p:sp>
          <p:nvSpPr>
            <p:cNvPr id="394" name="îşḻîḑé">
              <a:extLst>
                <a:ext uri="{FF2B5EF4-FFF2-40B4-BE49-F238E27FC236}">
                  <a16:creationId xmlns:a16="http://schemas.microsoft.com/office/drawing/2014/main" id="{62BB1114-C69B-421B-92EC-01EDFEB8C456}"/>
                </a:ext>
              </a:extLst>
            </p:cNvPr>
            <p:cNvSpPr/>
            <p:nvPr/>
          </p:nvSpPr>
          <p:spPr>
            <a:xfrm>
              <a:off x="5584457" y="4781765"/>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4 w 36099"/>
                <a:gd name="connsiteY6" fmla="*/ 6981 h 17597"/>
                <a:gd name="connsiteX7" fmla="*/ 35764 w 36099"/>
                <a:gd name="connsiteY7" fmla="*/ -163 h 17597"/>
                <a:gd name="connsiteX8" fmla="*/ 34144 w 36099"/>
                <a:gd name="connsiteY8" fmla="*/ 2123 h 17597"/>
                <a:gd name="connsiteX9" fmla="*/ 31858 w 36099"/>
                <a:gd name="connsiteY9" fmla="*/ 3457 h 17597"/>
                <a:gd name="connsiteX10" fmla="*/ 21571 w 36099"/>
                <a:gd name="connsiteY10" fmla="*/ 9362 h 17597"/>
                <a:gd name="connsiteX11" fmla="*/ 13856 w 36099"/>
                <a:gd name="connsiteY11" fmla="*/ 9362 h 17597"/>
                <a:gd name="connsiteX12" fmla="*/ 3569 w 36099"/>
                <a:gd name="connsiteY12" fmla="*/ 3457 h 17597"/>
                <a:gd name="connsiteX13" fmla="*/ 1283 w 36099"/>
                <a:gd name="connsiteY13" fmla="*/ 2123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41" y="8048"/>
                    <a:pt x="378" y="8886"/>
                    <a:pt x="1283" y="9267"/>
                  </a:cubicBezTo>
                  <a:lnTo>
                    <a:pt x="13856" y="16506"/>
                  </a:lnTo>
                  <a:cubicBezTo>
                    <a:pt x="16275" y="17744"/>
                    <a:pt x="19152" y="17744"/>
                    <a:pt x="21571" y="16506"/>
                  </a:cubicBezTo>
                  <a:lnTo>
                    <a:pt x="34144" y="9267"/>
                  </a:lnTo>
                  <a:cubicBezTo>
                    <a:pt x="35030" y="8829"/>
                    <a:pt x="35640" y="7962"/>
                    <a:pt x="35764" y="6981"/>
                  </a:cubicBezTo>
                  <a:lnTo>
                    <a:pt x="35764" y="-163"/>
                  </a:lnTo>
                  <a:cubicBezTo>
                    <a:pt x="35659" y="828"/>
                    <a:pt x="35049" y="1695"/>
                    <a:pt x="34144" y="2123"/>
                  </a:cubicBezTo>
                  <a:lnTo>
                    <a:pt x="31858" y="3457"/>
                  </a:lnTo>
                  <a:lnTo>
                    <a:pt x="21571" y="9362"/>
                  </a:lnTo>
                  <a:cubicBezTo>
                    <a:pt x="19152" y="10601"/>
                    <a:pt x="16275" y="10601"/>
                    <a:pt x="13856" y="9362"/>
                  </a:cubicBezTo>
                  <a:lnTo>
                    <a:pt x="3569" y="3457"/>
                  </a:lnTo>
                  <a:lnTo>
                    <a:pt x="1283" y="2123"/>
                  </a:lnTo>
                  <a:cubicBezTo>
                    <a:pt x="350" y="1733"/>
                    <a:pt x="-269" y="847"/>
                    <a:pt x="-336" y="-163"/>
                  </a:cubicBezTo>
                  <a:close/>
                </a:path>
              </a:pathLst>
            </a:custGeom>
            <a:solidFill>
              <a:srgbClr val="BF4200"/>
            </a:solidFill>
            <a:ln w="9525" cap="flat">
              <a:noFill/>
              <a:prstDash val="solid"/>
              <a:miter/>
            </a:ln>
          </p:spPr>
          <p:txBody>
            <a:bodyPr rtlCol="0" anchor="ctr"/>
            <a:lstStyle/>
            <a:p>
              <a:endParaRPr lang="zh-CN" altLang="en-US"/>
            </a:p>
          </p:txBody>
        </p:sp>
        <p:sp>
          <p:nvSpPr>
            <p:cNvPr id="395" name="îṣlíḋe">
              <a:extLst>
                <a:ext uri="{FF2B5EF4-FFF2-40B4-BE49-F238E27FC236}">
                  <a16:creationId xmlns:a16="http://schemas.microsoft.com/office/drawing/2014/main" id="{42246F9C-6A4E-4CAF-B439-1C06421CCF48}"/>
                </a:ext>
              </a:extLst>
            </p:cNvPr>
            <p:cNvSpPr/>
            <p:nvPr/>
          </p:nvSpPr>
          <p:spPr>
            <a:xfrm>
              <a:off x="5661871" y="4795463"/>
              <a:ext cx="110753" cy="63588"/>
            </a:xfrm>
            <a:custGeom>
              <a:avLst/>
              <a:gdLst>
                <a:gd name="connsiteX0" fmla="*/ -336 w 36385"/>
                <a:gd name="connsiteY0" fmla="*/ 10196 h 20890"/>
                <a:gd name="connsiteX1" fmla="*/ 1188 w 36385"/>
                <a:gd name="connsiteY1" fmla="*/ 12482 h 20890"/>
                <a:gd name="connsiteX2" fmla="*/ 3569 w 36385"/>
                <a:gd name="connsiteY2" fmla="*/ 13815 h 20890"/>
                <a:gd name="connsiteX3" fmla="*/ 14237 w 36385"/>
                <a:gd name="connsiteY3" fmla="*/ 19721 h 20890"/>
                <a:gd name="connsiteX4" fmla="*/ 21857 w 36385"/>
                <a:gd name="connsiteY4" fmla="*/ 19721 h 20890"/>
                <a:gd name="connsiteX5" fmla="*/ 32144 w 36385"/>
                <a:gd name="connsiteY5" fmla="*/ 13911 h 20890"/>
                <a:gd name="connsiteX6" fmla="*/ 34525 w 36385"/>
                <a:gd name="connsiteY6" fmla="*/ 12577 h 20890"/>
                <a:gd name="connsiteX7" fmla="*/ 36049 w 36385"/>
                <a:gd name="connsiteY7" fmla="*/ 10291 h 20890"/>
                <a:gd name="connsiteX8" fmla="*/ 34525 w 36385"/>
                <a:gd name="connsiteY8" fmla="*/ 8100 h 20890"/>
                <a:gd name="connsiteX9" fmla="*/ 21857 w 36385"/>
                <a:gd name="connsiteY9" fmla="*/ 766 h 20890"/>
                <a:gd name="connsiteX10" fmla="*/ 14237 w 36385"/>
                <a:gd name="connsiteY10" fmla="*/ 766 h 20890"/>
                <a:gd name="connsiteX11" fmla="*/ 1569 w 36385"/>
                <a:gd name="connsiteY11" fmla="*/ 8100 h 20890"/>
                <a:gd name="connsiteX12" fmla="*/ -336 w 36385"/>
                <a:gd name="connsiteY12" fmla="*/ 10196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385" h="20890">
                  <a:moveTo>
                    <a:pt x="-336" y="10196"/>
                  </a:moveTo>
                  <a:cubicBezTo>
                    <a:pt x="-270" y="11177"/>
                    <a:pt x="311" y="12044"/>
                    <a:pt x="1188" y="12482"/>
                  </a:cubicBezTo>
                  <a:lnTo>
                    <a:pt x="3569" y="13815"/>
                  </a:lnTo>
                  <a:lnTo>
                    <a:pt x="14237" y="19721"/>
                  </a:lnTo>
                  <a:cubicBezTo>
                    <a:pt x="16599" y="21064"/>
                    <a:pt x="19495" y="21064"/>
                    <a:pt x="21857" y="19721"/>
                  </a:cubicBezTo>
                  <a:lnTo>
                    <a:pt x="32144" y="13911"/>
                  </a:lnTo>
                  <a:lnTo>
                    <a:pt x="34525" y="12577"/>
                  </a:lnTo>
                  <a:cubicBezTo>
                    <a:pt x="35401" y="12139"/>
                    <a:pt x="35982" y="11272"/>
                    <a:pt x="36049" y="10291"/>
                  </a:cubicBezTo>
                  <a:cubicBezTo>
                    <a:pt x="35992" y="9339"/>
                    <a:pt x="35401" y="8491"/>
                    <a:pt x="34525" y="8100"/>
                  </a:cubicBezTo>
                  <a:lnTo>
                    <a:pt x="21857" y="766"/>
                  </a:lnTo>
                  <a:cubicBezTo>
                    <a:pt x="19466" y="-472"/>
                    <a:pt x="16628" y="-472"/>
                    <a:pt x="14237" y="766"/>
                  </a:cubicBezTo>
                  <a:lnTo>
                    <a:pt x="1569" y="8100"/>
                  </a:lnTo>
                  <a:cubicBezTo>
                    <a:pt x="569" y="8357"/>
                    <a:pt x="-174" y="9177"/>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396" name="î$ḻîdè">
              <a:extLst>
                <a:ext uri="{FF2B5EF4-FFF2-40B4-BE49-F238E27FC236}">
                  <a16:creationId xmlns:a16="http://schemas.microsoft.com/office/drawing/2014/main" id="{D73B1B39-F798-4DA4-80F4-1805A65F9D42}"/>
                </a:ext>
              </a:extLst>
            </p:cNvPr>
            <p:cNvSpPr/>
            <p:nvPr/>
          </p:nvSpPr>
          <p:spPr>
            <a:xfrm>
              <a:off x="5663755" y="4795755"/>
              <a:ext cx="105825" cy="61101"/>
            </a:xfrm>
            <a:custGeom>
              <a:avLst/>
              <a:gdLst>
                <a:gd name="connsiteX0" fmla="*/ 1235 w 34766"/>
                <a:gd name="connsiteY0" fmla="*/ 12006 h 20073"/>
                <a:gd name="connsiteX1" fmla="*/ 13332 w 34766"/>
                <a:gd name="connsiteY1" fmla="*/ 19054 h 20073"/>
                <a:gd name="connsiteX2" fmla="*/ 20761 w 34766"/>
                <a:gd name="connsiteY2" fmla="*/ 19054 h 20073"/>
                <a:gd name="connsiteX3" fmla="*/ 32858 w 34766"/>
                <a:gd name="connsiteY3" fmla="*/ 12006 h 20073"/>
                <a:gd name="connsiteX4" fmla="*/ 32858 w 34766"/>
                <a:gd name="connsiteY4" fmla="*/ 7719 h 20073"/>
                <a:gd name="connsiteX5" fmla="*/ 20761 w 34766"/>
                <a:gd name="connsiteY5" fmla="*/ 766 h 20073"/>
                <a:gd name="connsiteX6" fmla="*/ 13332 w 34766"/>
                <a:gd name="connsiteY6" fmla="*/ 766 h 20073"/>
                <a:gd name="connsiteX7" fmla="*/ 1235 w 34766"/>
                <a:gd name="connsiteY7" fmla="*/ 7719 h 20073"/>
                <a:gd name="connsiteX8" fmla="*/ 1235 w 34766"/>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6" h="20073">
                  <a:moveTo>
                    <a:pt x="1235" y="12006"/>
                  </a:moveTo>
                  <a:lnTo>
                    <a:pt x="13332" y="19054"/>
                  </a:lnTo>
                  <a:cubicBezTo>
                    <a:pt x="15675" y="20197"/>
                    <a:pt x="18418" y="20197"/>
                    <a:pt x="20761" y="19054"/>
                  </a:cubicBezTo>
                  <a:lnTo>
                    <a:pt x="32858" y="12006"/>
                  </a:lnTo>
                  <a:cubicBezTo>
                    <a:pt x="34954" y="10862"/>
                    <a:pt x="34954" y="8958"/>
                    <a:pt x="32858" y="7719"/>
                  </a:cubicBezTo>
                  <a:lnTo>
                    <a:pt x="20761" y="766"/>
                  </a:lnTo>
                  <a:cubicBezTo>
                    <a:pt x="18437" y="-472"/>
                    <a:pt x="15656" y="-472"/>
                    <a:pt x="13332" y="766"/>
                  </a:cubicBezTo>
                  <a:lnTo>
                    <a:pt x="1235" y="7719"/>
                  </a:lnTo>
                  <a:cubicBezTo>
                    <a:pt x="-860" y="8958"/>
                    <a:pt x="-860" y="10862"/>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397" name="i$ḷïḍê">
              <a:extLst>
                <a:ext uri="{FF2B5EF4-FFF2-40B4-BE49-F238E27FC236}">
                  <a16:creationId xmlns:a16="http://schemas.microsoft.com/office/drawing/2014/main" id="{734AE88F-7AD6-4C65-A048-1216A5082545}"/>
                </a:ext>
              </a:extLst>
            </p:cNvPr>
            <p:cNvSpPr/>
            <p:nvPr/>
          </p:nvSpPr>
          <p:spPr>
            <a:xfrm>
              <a:off x="5661871" y="4826995"/>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3 h 17597"/>
                <a:gd name="connsiteX9" fmla="*/ 31763 w 36004"/>
                <a:gd name="connsiteY9" fmla="*/ 3457 h 17597"/>
                <a:gd name="connsiteX10" fmla="*/ 21476 w 36004"/>
                <a:gd name="connsiteY10" fmla="*/ 9267 h 17597"/>
                <a:gd name="connsiteX11" fmla="*/ 13856 w 36004"/>
                <a:gd name="connsiteY11" fmla="*/ 9267 h 17597"/>
                <a:gd name="connsiteX12" fmla="*/ 3569 w 36004"/>
                <a:gd name="connsiteY12" fmla="*/ 3457 h 17597"/>
                <a:gd name="connsiteX13" fmla="*/ 1188 w 36004"/>
                <a:gd name="connsiteY13" fmla="*/ 2123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2" y="7953"/>
                    <a:pt x="35668" y="6981"/>
                  </a:cubicBezTo>
                  <a:lnTo>
                    <a:pt x="35668" y="-163"/>
                  </a:lnTo>
                  <a:cubicBezTo>
                    <a:pt x="35602" y="818"/>
                    <a:pt x="35021" y="1685"/>
                    <a:pt x="34144" y="2123"/>
                  </a:cubicBezTo>
                  <a:lnTo>
                    <a:pt x="31763" y="3457"/>
                  </a:lnTo>
                  <a:lnTo>
                    <a:pt x="21476" y="9267"/>
                  </a:lnTo>
                  <a:cubicBezTo>
                    <a:pt x="19114" y="10610"/>
                    <a:pt x="16218" y="10610"/>
                    <a:pt x="13856" y="9267"/>
                  </a:cubicBezTo>
                  <a:lnTo>
                    <a:pt x="3569" y="3457"/>
                  </a:lnTo>
                  <a:lnTo>
                    <a:pt x="1188"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398" name="ïş1îḍe">
              <a:extLst>
                <a:ext uri="{FF2B5EF4-FFF2-40B4-BE49-F238E27FC236}">
                  <a16:creationId xmlns:a16="http://schemas.microsoft.com/office/drawing/2014/main" id="{1F41704E-2EE8-40F2-BFFB-38DEFF4C492D}"/>
                </a:ext>
              </a:extLst>
            </p:cNvPr>
            <p:cNvSpPr/>
            <p:nvPr/>
          </p:nvSpPr>
          <p:spPr>
            <a:xfrm>
              <a:off x="5738995" y="4839244"/>
              <a:ext cx="109916" cy="63588"/>
            </a:xfrm>
            <a:custGeom>
              <a:avLst/>
              <a:gdLst>
                <a:gd name="connsiteX0" fmla="*/ -336 w 36110"/>
                <a:gd name="connsiteY0" fmla="*/ 10291 h 20890"/>
                <a:gd name="connsiteX1" fmla="*/ 1283 w 36110"/>
                <a:gd name="connsiteY1" fmla="*/ 12482 h 20890"/>
                <a:gd name="connsiteX2" fmla="*/ 3569 w 36110"/>
                <a:gd name="connsiteY2" fmla="*/ 13910 h 20890"/>
                <a:gd name="connsiteX3" fmla="*/ 13856 w 36110"/>
                <a:gd name="connsiteY3" fmla="*/ 19721 h 20890"/>
                <a:gd name="connsiteX4" fmla="*/ 21571 w 36110"/>
                <a:gd name="connsiteY4" fmla="*/ 19721 h 20890"/>
                <a:gd name="connsiteX5" fmla="*/ 31858 w 36110"/>
                <a:gd name="connsiteY5" fmla="*/ 13910 h 20890"/>
                <a:gd name="connsiteX6" fmla="*/ 34144 w 36110"/>
                <a:gd name="connsiteY6" fmla="*/ 12482 h 20890"/>
                <a:gd name="connsiteX7" fmla="*/ 35678 w 36110"/>
                <a:gd name="connsiteY7" fmla="*/ 9634 h 20890"/>
                <a:gd name="connsiteX8" fmla="*/ 34144 w 36110"/>
                <a:gd name="connsiteY8" fmla="*/ 8100 h 20890"/>
                <a:gd name="connsiteX9" fmla="*/ 21571 w 36110"/>
                <a:gd name="connsiteY9" fmla="*/ 766 h 20890"/>
                <a:gd name="connsiteX10" fmla="*/ 13856 w 36110"/>
                <a:gd name="connsiteY10" fmla="*/ 766 h 20890"/>
                <a:gd name="connsiteX11" fmla="*/ 1283 w 36110"/>
                <a:gd name="connsiteY11" fmla="*/ 8100 h 20890"/>
                <a:gd name="connsiteX12" fmla="*/ -336 w 36110"/>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110" h="20890">
                  <a:moveTo>
                    <a:pt x="-336" y="10291"/>
                  </a:moveTo>
                  <a:cubicBezTo>
                    <a:pt x="-260" y="11272"/>
                    <a:pt x="369" y="12120"/>
                    <a:pt x="1283" y="12482"/>
                  </a:cubicBezTo>
                  <a:lnTo>
                    <a:pt x="3569" y="13910"/>
                  </a:lnTo>
                  <a:lnTo>
                    <a:pt x="13856" y="19721"/>
                  </a:lnTo>
                  <a:cubicBezTo>
                    <a:pt x="16256" y="21064"/>
                    <a:pt x="19171" y="21064"/>
                    <a:pt x="21571" y="19721"/>
                  </a:cubicBezTo>
                  <a:lnTo>
                    <a:pt x="31858" y="13910"/>
                  </a:lnTo>
                  <a:lnTo>
                    <a:pt x="34144" y="12482"/>
                  </a:lnTo>
                  <a:cubicBezTo>
                    <a:pt x="35354" y="12120"/>
                    <a:pt x="36040" y="10843"/>
                    <a:pt x="35678" y="9634"/>
                  </a:cubicBezTo>
                  <a:cubicBezTo>
                    <a:pt x="35459" y="8900"/>
                    <a:pt x="34887" y="8319"/>
                    <a:pt x="34144" y="8100"/>
                  </a:cubicBezTo>
                  <a:lnTo>
                    <a:pt x="21571" y="766"/>
                  </a:lnTo>
                  <a:cubicBezTo>
                    <a:pt x="19152" y="-472"/>
                    <a:pt x="16275" y="-472"/>
                    <a:pt x="13856" y="766"/>
                  </a:cubicBezTo>
                  <a:lnTo>
                    <a:pt x="1283" y="8100"/>
                  </a:lnTo>
                  <a:cubicBezTo>
                    <a:pt x="369" y="8462"/>
                    <a:pt x="-260" y="9310"/>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565" name="îṥḻîḋè">
              <a:extLst>
                <a:ext uri="{FF2B5EF4-FFF2-40B4-BE49-F238E27FC236}">
                  <a16:creationId xmlns:a16="http://schemas.microsoft.com/office/drawing/2014/main" id="{BD9F6577-7A32-4088-AE02-AFA877A3A31A}"/>
                </a:ext>
              </a:extLst>
            </p:cNvPr>
            <p:cNvSpPr/>
            <p:nvPr/>
          </p:nvSpPr>
          <p:spPr>
            <a:xfrm>
              <a:off x="5741095" y="4840403"/>
              <a:ext cx="105679" cy="61104"/>
            </a:xfrm>
            <a:custGeom>
              <a:avLst/>
              <a:gdLst>
                <a:gd name="connsiteX0" fmla="*/ 1164 w 34718"/>
                <a:gd name="connsiteY0" fmla="*/ 12006 h 20074"/>
                <a:gd name="connsiteX1" fmla="*/ 13261 w 34718"/>
                <a:gd name="connsiteY1" fmla="*/ 19054 h 20074"/>
                <a:gd name="connsiteX2" fmla="*/ 20690 w 34718"/>
                <a:gd name="connsiteY2" fmla="*/ 19054 h 20074"/>
                <a:gd name="connsiteX3" fmla="*/ 32882 w 34718"/>
                <a:gd name="connsiteY3" fmla="*/ 12006 h 20074"/>
                <a:gd name="connsiteX4" fmla="*/ 32882 w 34718"/>
                <a:gd name="connsiteY4" fmla="*/ 7719 h 20074"/>
                <a:gd name="connsiteX5" fmla="*/ 20690 w 34718"/>
                <a:gd name="connsiteY5" fmla="*/ 766 h 20074"/>
                <a:gd name="connsiteX6" fmla="*/ 13261 w 34718"/>
                <a:gd name="connsiteY6" fmla="*/ 766 h 20074"/>
                <a:gd name="connsiteX7" fmla="*/ 1164 w 34718"/>
                <a:gd name="connsiteY7" fmla="*/ 7719 h 20074"/>
                <a:gd name="connsiteX8" fmla="*/ 1164 w 34718"/>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18" h="20074">
                  <a:moveTo>
                    <a:pt x="1164" y="12006"/>
                  </a:moveTo>
                  <a:lnTo>
                    <a:pt x="13261" y="19054"/>
                  </a:lnTo>
                  <a:cubicBezTo>
                    <a:pt x="15604" y="20197"/>
                    <a:pt x="18347" y="20197"/>
                    <a:pt x="20690" y="19054"/>
                  </a:cubicBezTo>
                  <a:lnTo>
                    <a:pt x="32882" y="12006"/>
                  </a:lnTo>
                  <a:cubicBezTo>
                    <a:pt x="34882" y="10863"/>
                    <a:pt x="34882" y="8958"/>
                    <a:pt x="32882" y="7719"/>
                  </a:cubicBezTo>
                  <a:lnTo>
                    <a:pt x="20690" y="766"/>
                  </a:lnTo>
                  <a:cubicBezTo>
                    <a:pt x="18366" y="-472"/>
                    <a:pt x="15585" y="-472"/>
                    <a:pt x="13261" y="766"/>
                  </a:cubicBezTo>
                  <a:lnTo>
                    <a:pt x="1164" y="7719"/>
                  </a:lnTo>
                  <a:cubicBezTo>
                    <a:pt x="-836" y="8958"/>
                    <a:pt x="-836" y="10863"/>
                    <a:pt x="1164" y="12006"/>
                  </a:cubicBezTo>
                  <a:close/>
                </a:path>
              </a:pathLst>
            </a:custGeom>
            <a:solidFill>
              <a:srgbClr val="D1D9E8"/>
            </a:solidFill>
            <a:ln w="9525" cap="flat">
              <a:noFill/>
              <a:prstDash val="solid"/>
              <a:miter/>
            </a:ln>
          </p:spPr>
          <p:txBody>
            <a:bodyPr rtlCol="0" anchor="ctr"/>
            <a:lstStyle/>
            <a:p>
              <a:endParaRPr lang="zh-CN" altLang="en-US"/>
            </a:p>
          </p:txBody>
        </p:sp>
        <p:sp>
          <p:nvSpPr>
            <p:cNvPr id="566" name="îsḷïde">
              <a:extLst>
                <a:ext uri="{FF2B5EF4-FFF2-40B4-BE49-F238E27FC236}">
                  <a16:creationId xmlns:a16="http://schemas.microsoft.com/office/drawing/2014/main" id="{D771518E-A7C8-4F18-9E03-2096B60E411F}"/>
                </a:ext>
              </a:extLst>
            </p:cNvPr>
            <p:cNvSpPr/>
            <p:nvPr/>
          </p:nvSpPr>
          <p:spPr>
            <a:xfrm>
              <a:off x="5738995" y="4871065"/>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4 w 36099"/>
                <a:gd name="connsiteY6" fmla="*/ 6981 h 17597"/>
                <a:gd name="connsiteX7" fmla="*/ 35764 w 36099"/>
                <a:gd name="connsiteY7" fmla="*/ -163 h 17597"/>
                <a:gd name="connsiteX8" fmla="*/ 34144 w 36099"/>
                <a:gd name="connsiteY8" fmla="*/ 2028 h 17597"/>
                <a:gd name="connsiteX9" fmla="*/ 31858 w 36099"/>
                <a:gd name="connsiteY9" fmla="*/ 3457 h 17597"/>
                <a:gd name="connsiteX10" fmla="*/ 21571 w 36099"/>
                <a:gd name="connsiteY10" fmla="*/ 9267 h 17597"/>
                <a:gd name="connsiteX11" fmla="*/ 13856 w 36099"/>
                <a:gd name="connsiteY11" fmla="*/ 9267 h 17597"/>
                <a:gd name="connsiteX12" fmla="*/ 3569 w 36099"/>
                <a:gd name="connsiteY12" fmla="*/ 3457 h 17597"/>
                <a:gd name="connsiteX13" fmla="*/ 1283 w 36099"/>
                <a:gd name="connsiteY13" fmla="*/ 2028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03" y="8029"/>
                    <a:pt x="407" y="8858"/>
                    <a:pt x="1283" y="9267"/>
                  </a:cubicBezTo>
                  <a:lnTo>
                    <a:pt x="13856" y="16506"/>
                  </a:lnTo>
                  <a:cubicBezTo>
                    <a:pt x="16275" y="17744"/>
                    <a:pt x="19152" y="17744"/>
                    <a:pt x="21571" y="16506"/>
                  </a:cubicBezTo>
                  <a:lnTo>
                    <a:pt x="34144" y="9267"/>
                  </a:lnTo>
                  <a:cubicBezTo>
                    <a:pt x="35030" y="8829"/>
                    <a:pt x="35640" y="7972"/>
                    <a:pt x="35764" y="6981"/>
                  </a:cubicBezTo>
                  <a:lnTo>
                    <a:pt x="35764" y="-163"/>
                  </a:lnTo>
                  <a:cubicBezTo>
                    <a:pt x="35687" y="818"/>
                    <a:pt x="35059" y="1666"/>
                    <a:pt x="34144" y="2028"/>
                  </a:cubicBezTo>
                  <a:lnTo>
                    <a:pt x="31858" y="3457"/>
                  </a:lnTo>
                  <a:lnTo>
                    <a:pt x="21571" y="9267"/>
                  </a:lnTo>
                  <a:cubicBezTo>
                    <a:pt x="19171" y="10610"/>
                    <a:pt x="16256" y="10610"/>
                    <a:pt x="13856" y="9267"/>
                  </a:cubicBezTo>
                  <a:lnTo>
                    <a:pt x="3569" y="3457"/>
                  </a:lnTo>
                  <a:lnTo>
                    <a:pt x="1283" y="2028"/>
                  </a:lnTo>
                  <a:cubicBezTo>
                    <a:pt x="369" y="1666"/>
                    <a:pt x="-26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567" name="ïşľïḋè">
              <a:extLst>
                <a:ext uri="{FF2B5EF4-FFF2-40B4-BE49-F238E27FC236}">
                  <a16:creationId xmlns:a16="http://schemas.microsoft.com/office/drawing/2014/main" id="{935DACAA-3E5B-4163-B912-C24A7DBF2820}"/>
                </a:ext>
              </a:extLst>
            </p:cNvPr>
            <p:cNvSpPr/>
            <p:nvPr/>
          </p:nvSpPr>
          <p:spPr>
            <a:xfrm>
              <a:off x="5816405" y="4883895"/>
              <a:ext cx="109594" cy="63588"/>
            </a:xfrm>
            <a:custGeom>
              <a:avLst/>
              <a:gdLst>
                <a:gd name="connsiteX0" fmla="*/ -336 w 36004"/>
                <a:gd name="connsiteY0" fmla="*/ 10291 h 20890"/>
                <a:gd name="connsiteX1" fmla="*/ 1188 w 36004"/>
                <a:gd name="connsiteY1" fmla="*/ 12482 h 20890"/>
                <a:gd name="connsiteX2" fmla="*/ 3569 w 36004"/>
                <a:gd name="connsiteY2" fmla="*/ 13815 h 20890"/>
                <a:gd name="connsiteX3" fmla="*/ 13856 w 36004"/>
                <a:gd name="connsiteY3" fmla="*/ 19721 h 20890"/>
                <a:gd name="connsiteX4" fmla="*/ 21476 w 36004"/>
                <a:gd name="connsiteY4" fmla="*/ 19721 h 20890"/>
                <a:gd name="connsiteX5" fmla="*/ 31763 w 36004"/>
                <a:gd name="connsiteY5" fmla="*/ 13815 h 20890"/>
                <a:gd name="connsiteX6" fmla="*/ 34144 w 36004"/>
                <a:gd name="connsiteY6" fmla="*/ 12482 h 20890"/>
                <a:gd name="connsiteX7" fmla="*/ 35668 w 36004"/>
                <a:gd name="connsiteY7" fmla="*/ 10291 h 20890"/>
                <a:gd name="connsiteX8" fmla="*/ 34144 w 36004"/>
                <a:gd name="connsiteY8" fmla="*/ 8005 h 20890"/>
                <a:gd name="connsiteX9" fmla="*/ 21476 w 36004"/>
                <a:gd name="connsiteY9" fmla="*/ 766 h 20890"/>
                <a:gd name="connsiteX10" fmla="*/ 13856 w 36004"/>
                <a:gd name="connsiteY10" fmla="*/ 766 h 20890"/>
                <a:gd name="connsiteX11" fmla="*/ 1188 w 36004"/>
                <a:gd name="connsiteY11" fmla="*/ 8005 h 20890"/>
                <a:gd name="connsiteX12" fmla="*/ -336 w 36004"/>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291"/>
                  </a:moveTo>
                  <a:cubicBezTo>
                    <a:pt x="-279" y="11244"/>
                    <a:pt x="312" y="12091"/>
                    <a:pt x="1188" y="12482"/>
                  </a:cubicBezTo>
                  <a:lnTo>
                    <a:pt x="3569" y="13815"/>
                  </a:lnTo>
                  <a:lnTo>
                    <a:pt x="13856" y="19721"/>
                  </a:lnTo>
                  <a:cubicBezTo>
                    <a:pt x="16218" y="21064"/>
                    <a:pt x="19114" y="21064"/>
                    <a:pt x="21476" y="19721"/>
                  </a:cubicBezTo>
                  <a:lnTo>
                    <a:pt x="31763" y="13815"/>
                  </a:lnTo>
                  <a:lnTo>
                    <a:pt x="34144" y="12482"/>
                  </a:lnTo>
                  <a:cubicBezTo>
                    <a:pt x="35021" y="12091"/>
                    <a:pt x="35611" y="11253"/>
                    <a:pt x="35668" y="10291"/>
                  </a:cubicBezTo>
                  <a:cubicBezTo>
                    <a:pt x="35602" y="9310"/>
                    <a:pt x="35021" y="8443"/>
                    <a:pt x="34144" y="8005"/>
                  </a:cubicBezTo>
                  <a:lnTo>
                    <a:pt x="21476" y="766"/>
                  </a:lnTo>
                  <a:cubicBezTo>
                    <a:pt x="19085" y="-472"/>
                    <a:pt x="16247" y="-472"/>
                    <a:pt x="13856" y="766"/>
                  </a:cubicBezTo>
                  <a:lnTo>
                    <a:pt x="1188" y="8005"/>
                  </a:lnTo>
                  <a:cubicBezTo>
                    <a:pt x="312" y="8443"/>
                    <a:pt x="-269" y="9310"/>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568" name="îṣḻidê">
              <a:extLst>
                <a:ext uri="{FF2B5EF4-FFF2-40B4-BE49-F238E27FC236}">
                  <a16:creationId xmlns:a16="http://schemas.microsoft.com/office/drawing/2014/main" id="{640F5F01-860D-4771-B0C5-E82C3BC410F0}"/>
                </a:ext>
              </a:extLst>
            </p:cNvPr>
            <p:cNvSpPr/>
            <p:nvPr/>
          </p:nvSpPr>
          <p:spPr>
            <a:xfrm>
              <a:off x="5818073" y="4885055"/>
              <a:ext cx="105174" cy="61101"/>
            </a:xfrm>
            <a:custGeom>
              <a:avLst/>
              <a:gdLst>
                <a:gd name="connsiteX0" fmla="*/ 1021 w 34552"/>
                <a:gd name="connsiteY0" fmla="*/ 12006 h 20073"/>
                <a:gd name="connsiteX1" fmla="*/ 13118 w 34552"/>
                <a:gd name="connsiteY1" fmla="*/ 19054 h 20073"/>
                <a:gd name="connsiteX2" fmla="*/ 20547 w 34552"/>
                <a:gd name="connsiteY2" fmla="*/ 19054 h 20073"/>
                <a:gd name="connsiteX3" fmla="*/ 32644 w 34552"/>
                <a:gd name="connsiteY3" fmla="*/ 12006 h 20073"/>
                <a:gd name="connsiteX4" fmla="*/ 32644 w 34552"/>
                <a:gd name="connsiteY4" fmla="*/ 7719 h 20073"/>
                <a:gd name="connsiteX5" fmla="*/ 20547 w 34552"/>
                <a:gd name="connsiteY5" fmla="*/ 766 h 20073"/>
                <a:gd name="connsiteX6" fmla="*/ 13118 w 34552"/>
                <a:gd name="connsiteY6" fmla="*/ 766 h 20073"/>
                <a:gd name="connsiteX7" fmla="*/ 1021 w 34552"/>
                <a:gd name="connsiteY7" fmla="*/ 7719 h 20073"/>
                <a:gd name="connsiteX8" fmla="*/ 1021 w 34552"/>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552" h="20073">
                  <a:moveTo>
                    <a:pt x="1021" y="12006"/>
                  </a:moveTo>
                  <a:lnTo>
                    <a:pt x="13118" y="19054"/>
                  </a:lnTo>
                  <a:cubicBezTo>
                    <a:pt x="15461" y="20197"/>
                    <a:pt x="18204" y="20197"/>
                    <a:pt x="20547" y="19054"/>
                  </a:cubicBezTo>
                  <a:lnTo>
                    <a:pt x="32644" y="12006"/>
                  </a:lnTo>
                  <a:cubicBezTo>
                    <a:pt x="34740" y="10863"/>
                    <a:pt x="34740" y="8957"/>
                    <a:pt x="32644" y="7719"/>
                  </a:cubicBezTo>
                  <a:lnTo>
                    <a:pt x="20547" y="766"/>
                  </a:lnTo>
                  <a:cubicBezTo>
                    <a:pt x="18223" y="-472"/>
                    <a:pt x="15442" y="-472"/>
                    <a:pt x="13118" y="766"/>
                  </a:cubicBezTo>
                  <a:lnTo>
                    <a:pt x="1021" y="7719"/>
                  </a:lnTo>
                  <a:cubicBezTo>
                    <a:pt x="-789" y="9339"/>
                    <a:pt x="-789" y="10863"/>
                    <a:pt x="1021" y="12006"/>
                  </a:cubicBezTo>
                  <a:close/>
                </a:path>
              </a:pathLst>
            </a:custGeom>
            <a:solidFill>
              <a:srgbClr val="D1D9E8"/>
            </a:solidFill>
            <a:ln w="9525" cap="flat">
              <a:noFill/>
              <a:prstDash val="solid"/>
              <a:miter/>
            </a:ln>
          </p:spPr>
          <p:txBody>
            <a:bodyPr rtlCol="0" anchor="ctr"/>
            <a:lstStyle/>
            <a:p>
              <a:endParaRPr lang="zh-CN" altLang="en-US"/>
            </a:p>
          </p:txBody>
        </p:sp>
        <p:sp>
          <p:nvSpPr>
            <p:cNvPr id="569" name="îṧļiḓé">
              <a:extLst>
                <a:ext uri="{FF2B5EF4-FFF2-40B4-BE49-F238E27FC236}">
                  <a16:creationId xmlns:a16="http://schemas.microsoft.com/office/drawing/2014/main" id="{AE11A5B9-2885-45AC-B35F-0A6FFCCD5078}"/>
                </a:ext>
              </a:extLst>
            </p:cNvPr>
            <p:cNvSpPr/>
            <p:nvPr/>
          </p:nvSpPr>
          <p:spPr>
            <a:xfrm>
              <a:off x="5816405" y="4915713"/>
              <a:ext cx="109594" cy="53564"/>
            </a:xfrm>
            <a:custGeom>
              <a:avLst/>
              <a:gdLst>
                <a:gd name="connsiteX0" fmla="*/ -336 w 36004"/>
                <a:gd name="connsiteY0" fmla="*/ -163 h 17597"/>
                <a:gd name="connsiteX1" fmla="*/ -336 w 36004"/>
                <a:gd name="connsiteY1" fmla="*/ 6981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028 h 17597"/>
                <a:gd name="connsiteX9" fmla="*/ 31763 w 36004"/>
                <a:gd name="connsiteY9" fmla="*/ 3362 h 17597"/>
                <a:gd name="connsiteX10" fmla="*/ 21476 w 36004"/>
                <a:gd name="connsiteY10" fmla="*/ 9267 h 17597"/>
                <a:gd name="connsiteX11" fmla="*/ 13856 w 36004"/>
                <a:gd name="connsiteY11" fmla="*/ 9267 h 17597"/>
                <a:gd name="connsiteX12" fmla="*/ 3569 w 36004"/>
                <a:gd name="connsiteY12" fmla="*/ 3362 h 17597"/>
                <a:gd name="connsiteX13" fmla="*/ 1188 w 36004"/>
                <a:gd name="connsiteY13" fmla="*/ 2028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6981"/>
                  </a:lnTo>
                  <a:cubicBezTo>
                    <a:pt x="-269" y="7962"/>
                    <a:pt x="312" y="8829"/>
                    <a:pt x="1188" y="9267"/>
                  </a:cubicBezTo>
                  <a:lnTo>
                    <a:pt x="13856" y="16506"/>
                  </a:lnTo>
                  <a:cubicBezTo>
                    <a:pt x="16247" y="17744"/>
                    <a:pt x="19085" y="17744"/>
                    <a:pt x="21476" y="16506"/>
                  </a:cubicBezTo>
                  <a:lnTo>
                    <a:pt x="34144" y="9267"/>
                  </a:lnTo>
                  <a:cubicBezTo>
                    <a:pt x="35011" y="8819"/>
                    <a:pt x="35583" y="7953"/>
                    <a:pt x="35668" y="6981"/>
                  </a:cubicBezTo>
                  <a:lnTo>
                    <a:pt x="35668" y="-163"/>
                  </a:lnTo>
                  <a:cubicBezTo>
                    <a:pt x="35611" y="790"/>
                    <a:pt x="35021" y="1638"/>
                    <a:pt x="34144" y="2028"/>
                  </a:cubicBezTo>
                  <a:lnTo>
                    <a:pt x="31763" y="3362"/>
                  </a:lnTo>
                  <a:lnTo>
                    <a:pt x="21476" y="9267"/>
                  </a:lnTo>
                  <a:cubicBezTo>
                    <a:pt x="19114" y="10610"/>
                    <a:pt x="16218" y="10610"/>
                    <a:pt x="13856" y="9267"/>
                  </a:cubicBezTo>
                  <a:lnTo>
                    <a:pt x="3569" y="3362"/>
                  </a:lnTo>
                  <a:lnTo>
                    <a:pt x="1188" y="2028"/>
                  </a:lnTo>
                  <a:cubicBezTo>
                    <a:pt x="312" y="1638"/>
                    <a:pt x="-279" y="800"/>
                    <a:pt x="-336" y="-163"/>
                  </a:cubicBezTo>
                  <a:close/>
                </a:path>
              </a:pathLst>
            </a:custGeom>
            <a:solidFill>
              <a:srgbClr val="BF4200"/>
            </a:solidFill>
            <a:ln w="9525" cap="flat">
              <a:noFill/>
              <a:prstDash val="solid"/>
              <a:miter/>
            </a:ln>
          </p:spPr>
          <p:txBody>
            <a:bodyPr rtlCol="0" anchor="ctr"/>
            <a:lstStyle/>
            <a:p>
              <a:endParaRPr lang="zh-CN" altLang="en-US"/>
            </a:p>
          </p:txBody>
        </p:sp>
        <p:sp>
          <p:nvSpPr>
            <p:cNvPr id="570" name="îş1iḓé">
              <a:extLst>
                <a:ext uri="{FF2B5EF4-FFF2-40B4-BE49-F238E27FC236}">
                  <a16:creationId xmlns:a16="http://schemas.microsoft.com/office/drawing/2014/main" id="{B9C6AA89-8786-4F58-856F-68DF58DF5F67}"/>
                </a:ext>
              </a:extLst>
            </p:cNvPr>
            <p:cNvSpPr/>
            <p:nvPr/>
          </p:nvSpPr>
          <p:spPr>
            <a:xfrm>
              <a:off x="5893818" y="4928543"/>
              <a:ext cx="109594" cy="63588"/>
            </a:xfrm>
            <a:custGeom>
              <a:avLst/>
              <a:gdLst>
                <a:gd name="connsiteX0" fmla="*/ -336 w 36004"/>
                <a:gd name="connsiteY0" fmla="*/ 10196 h 20890"/>
                <a:gd name="connsiteX1" fmla="*/ 1188 w 36004"/>
                <a:gd name="connsiteY1" fmla="*/ 12482 h 20890"/>
                <a:gd name="connsiteX2" fmla="*/ 3474 w 36004"/>
                <a:gd name="connsiteY2" fmla="*/ 13815 h 20890"/>
                <a:gd name="connsiteX3" fmla="*/ 13761 w 36004"/>
                <a:gd name="connsiteY3" fmla="*/ 19721 h 20890"/>
                <a:gd name="connsiteX4" fmla="*/ 21476 w 36004"/>
                <a:gd name="connsiteY4" fmla="*/ 19721 h 20890"/>
                <a:gd name="connsiteX5" fmla="*/ 31763 w 36004"/>
                <a:gd name="connsiteY5" fmla="*/ 13815 h 20890"/>
                <a:gd name="connsiteX6" fmla="*/ 34049 w 36004"/>
                <a:gd name="connsiteY6" fmla="*/ 12482 h 20890"/>
                <a:gd name="connsiteX7" fmla="*/ 35668 w 36004"/>
                <a:gd name="connsiteY7" fmla="*/ 10196 h 20890"/>
                <a:gd name="connsiteX8" fmla="*/ 34049 w 36004"/>
                <a:gd name="connsiteY8" fmla="*/ 8005 h 20890"/>
                <a:gd name="connsiteX9" fmla="*/ 21476 w 36004"/>
                <a:gd name="connsiteY9" fmla="*/ 766 h 20890"/>
                <a:gd name="connsiteX10" fmla="*/ 13761 w 36004"/>
                <a:gd name="connsiteY10" fmla="*/ 766 h 20890"/>
                <a:gd name="connsiteX11" fmla="*/ 1188 w 36004"/>
                <a:gd name="connsiteY11" fmla="*/ 8005 h 20890"/>
                <a:gd name="connsiteX12" fmla="*/ -336 w 36004"/>
                <a:gd name="connsiteY12" fmla="*/ 10196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196"/>
                  </a:moveTo>
                  <a:cubicBezTo>
                    <a:pt x="-308" y="11186"/>
                    <a:pt x="283" y="12082"/>
                    <a:pt x="1188" y="12482"/>
                  </a:cubicBezTo>
                  <a:lnTo>
                    <a:pt x="3474" y="13815"/>
                  </a:lnTo>
                  <a:lnTo>
                    <a:pt x="13761" y="19721"/>
                  </a:lnTo>
                  <a:cubicBezTo>
                    <a:pt x="16161" y="21064"/>
                    <a:pt x="19076" y="21064"/>
                    <a:pt x="21476" y="19721"/>
                  </a:cubicBezTo>
                  <a:lnTo>
                    <a:pt x="31763" y="13815"/>
                  </a:lnTo>
                  <a:lnTo>
                    <a:pt x="34049" y="12482"/>
                  </a:lnTo>
                  <a:cubicBezTo>
                    <a:pt x="34992" y="12110"/>
                    <a:pt x="35630" y="11215"/>
                    <a:pt x="35668" y="10196"/>
                  </a:cubicBezTo>
                  <a:cubicBezTo>
                    <a:pt x="35573" y="9224"/>
                    <a:pt x="34944" y="8386"/>
                    <a:pt x="34049" y="8005"/>
                  </a:cubicBezTo>
                  <a:lnTo>
                    <a:pt x="21476" y="766"/>
                  </a:lnTo>
                  <a:cubicBezTo>
                    <a:pt x="19057" y="-472"/>
                    <a:pt x="16180" y="-472"/>
                    <a:pt x="13761" y="766"/>
                  </a:cubicBezTo>
                  <a:lnTo>
                    <a:pt x="1188" y="8005"/>
                  </a:lnTo>
                  <a:cubicBezTo>
                    <a:pt x="340" y="8424"/>
                    <a:pt x="-241" y="925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571" name="isḻîďe">
              <a:extLst>
                <a:ext uri="{FF2B5EF4-FFF2-40B4-BE49-F238E27FC236}">
                  <a16:creationId xmlns:a16="http://schemas.microsoft.com/office/drawing/2014/main" id="{4FC6CCDC-4DE5-4F53-875A-10F53FAFB9AC}"/>
                </a:ext>
              </a:extLst>
            </p:cNvPr>
            <p:cNvSpPr/>
            <p:nvPr/>
          </p:nvSpPr>
          <p:spPr>
            <a:xfrm>
              <a:off x="5895659" y="4929703"/>
              <a:ext cx="105618" cy="61101"/>
            </a:xfrm>
            <a:custGeom>
              <a:avLst/>
              <a:gdLst>
                <a:gd name="connsiteX0" fmla="*/ 1154 w 34698"/>
                <a:gd name="connsiteY0" fmla="*/ 12006 h 20073"/>
                <a:gd name="connsiteX1" fmla="*/ 13346 w 34698"/>
                <a:gd name="connsiteY1" fmla="*/ 19054 h 20073"/>
                <a:gd name="connsiteX2" fmla="*/ 20775 w 34698"/>
                <a:gd name="connsiteY2" fmla="*/ 19054 h 20073"/>
                <a:gd name="connsiteX3" fmla="*/ 32872 w 34698"/>
                <a:gd name="connsiteY3" fmla="*/ 12006 h 20073"/>
                <a:gd name="connsiteX4" fmla="*/ 34215 w 34698"/>
                <a:gd name="connsiteY4" fmla="*/ 9072 h 20073"/>
                <a:gd name="connsiteX5" fmla="*/ 32872 w 34698"/>
                <a:gd name="connsiteY5" fmla="*/ 7719 h 20073"/>
                <a:gd name="connsiteX6" fmla="*/ 20775 w 34698"/>
                <a:gd name="connsiteY6" fmla="*/ 766 h 20073"/>
                <a:gd name="connsiteX7" fmla="*/ 13346 w 34698"/>
                <a:gd name="connsiteY7" fmla="*/ 766 h 20073"/>
                <a:gd name="connsiteX8" fmla="*/ 1154 w 34698"/>
                <a:gd name="connsiteY8" fmla="*/ 7719 h 20073"/>
                <a:gd name="connsiteX9" fmla="*/ -189 w 34698"/>
                <a:gd name="connsiteY9" fmla="*/ 10653 h 20073"/>
                <a:gd name="connsiteX10" fmla="*/ 1154 w 34698"/>
                <a:gd name="connsiteY10"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698" h="20073">
                  <a:moveTo>
                    <a:pt x="1154" y="12006"/>
                  </a:moveTo>
                  <a:lnTo>
                    <a:pt x="13346" y="19054"/>
                  </a:lnTo>
                  <a:cubicBezTo>
                    <a:pt x="15689" y="20197"/>
                    <a:pt x="18432" y="20197"/>
                    <a:pt x="20775" y="19054"/>
                  </a:cubicBezTo>
                  <a:lnTo>
                    <a:pt x="32872" y="12006"/>
                  </a:lnTo>
                  <a:cubicBezTo>
                    <a:pt x="34053" y="11567"/>
                    <a:pt x="34663" y="10253"/>
                    <a:pt x="34215" y="9072"/>
                  </a:cubicBezTo>
                  <a:cubicBezTo>
                    <a:pt x="33986" y="8443"/>
                    <a:pt x="33491" y="7948"/>
                    <a:pt x="32872" y="7719"/>
                  </a:cubicBezTo>
                  <a:lnTo>
                    <a:pt x="20775" y="766"/>
                  </a:lnTo>
                  <a:cubicBezTo>
                    <a:pt x="18451" y="-472"/>
                    <a:pt x="15670" y="-472"/>
                    <a:pt x="13346" y="766"/>
                  </a:cubicBezTo>
                  <a:lnTo>
                    <a:pt x="1154" y="7719"/>
                  </a:lnTo>
                  <a:cubicBezTo>
                    <a:pt x="-27" y="8157"/>
                    <a:pt x="-637" y="9472"/>
                    <a:pt x="-189" y="10653"/>
                  </a:cubicBezTo>
                  <a:cubicBezTo>
                    <a:pt x="39" y="11281"/>
                    <a:pt x="535" y="11777"/>
                    <a:pt x="1154" y="12006"/>
                  </a:cubicBezTo>
                  <a:close/>
                </a:path>
              </a:pathLst>
            </a:custGeom>
            <a:solidFill>
              <a:srgbClr val="D1D9E8"/>
            </a:solidFill>
            <a:ln w="9525" cap="flat">
              <a:noFill/>
              <a:prstDash val="solid"/>
              <a:miter/>
            </a:ln>
          </p:spPr>
          <p:txBody>
            <a:bodyPr rtlCol="0" anchor="ctr"/>
            <a:lstStyle/>
            <a:p>
              <a:endParaRPr lang="zh-CN" altLang="en-US"/>
            </a:p>
          </p:txBody>
        </p:sp>
        <p:sp>
          <p:nvSpPr>
            <p:cNvPr id="572" name="îṡ1îdè">
              <a:extLst>
                <a:ext uri="{FF2B5EF4-FFF2-40B4-BE49-F238E27FC236}">
                  <a16:creationId xmlns:a16="http://schemas.microsoft.com/office/drawing/2014/main" id="{DC3669F8-BED4-4BDF-B40F-009C76F0649D}"/>
                </a:ext>
              </a:extLst>
            </p:cNvPr>
            <p:cNvSpPr/>
            <p:nvPr/>
          </p:nvSpPr>
          <p:spPr>
            <a:xfrm>
              <a:off x="5893818" y="4960072"/>
              <a:ext cx="109594" cy="53801"/>
            </a:xfrm>
            <a:custGeom>
              <a:avLst/>
              <a:gdLst>
                <a:gd name="connsiteX0" fmla="*/ -336 w 36004"/>
                <a:gd name="connsiteY0" fmla="*/ -163 h 17675"/>
                <a:gd name="connsiteX1" fmla="*/ -336 w 36004"/>
                <a:gd name="connsiteY1" fmla="*/ 7076 h 17675"/>
                <a:gd name="connsiteX2" fmla="*/ 1188 w 36004"/>
                <a:gd name="connsiteY2" fmla="*/ 9267 h 17675"/>
                <a:gd name="connsiteX3" fmla="*/ 13761 w 36004"/>
                <a:gd name="connsiteY3" fmla="*/ 16506 h 17675"/>
                <a:gd name="connsiteX4" fmla="*/ 21476 w 36004"/>
                <a:gd name="connsiteY4" fmla="*/ 16506 h 17675"/>
                <a:gd name="connsiteX5" fmla="*/ 34049 w 36004"/>
                <a:gd name="connsiteY5" fmla="*/ 9267 h 17675"/>
                <a:gd name="connsiteX6" fmla="*/ 35668 w 36004"/>
                <a:gd name="connsiteY6" fmla="*/ 7076 h 17675"/>
                <a:gd name="connsiteX7" fmla="*/ 35668 w 36004"/>
                <a:gd name="connsiteY7" fmla="*/ -163 h 17675"/>
                <a:gd name="connsiteX8" fmla="*/ 34049 w 36004"/>
                <a:gd name="connsiteY8" fmla="*/ 2123 h 17675"/>
                <a:gd name="connsiteX9" fmla="*/ 31763 w 36004"/>
                <a:gd name="connsiteY9" fmla="*/ 3457 h 17675"/>
                <a:gd name="connsiteX10" fmla="*/ 21476 w 36004"/>
                <a:gd name="connsiteY10" fmla="*/ 9362 h 17675"/>
                <a:gd name="connsiteX11" fmla="*/ 13761 w 36004"/>
                <a:gd name="connsiteY11" fmla="*/ 9362 h 17675"/>
                <a:gd name="connsiteX12" fmla="*/ 3474 w 36004"/>
                <a:gd name="connsiteY12" fmla="*/ 3457 h 17675"/>
                <a:gd name="connsiteX13" fmla="*/ 1188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98" y="8038"/>
                    <a:pt x="292" y="8896"/>
                    <a:pt x="1188" y="9267"/>
                  </a:cubicBezTo>
                  <a:lnTo>
                    <a:pt x="13761" y="16506"/>
                  </a:lnTo>
                  <a:cubicBezTo>
                    <a:pt x="16161" y="17849"/>
                    <a:pt x="19076" y="17849"/>
                    <a:pt x="21476" y="16506"/>
                  </a:cubicBezTo>
                  <a:lnTo>
                    <a:pt x="34049" y="9267"/>
                  </a:lnTo>
                  <a:cubicBezTo>
                    <a:pt x="34963" y="8905"/>
                    <a:pt x="35592" y="8058"/>
                    <a:pt x="35668" y="7076"/>
                  </a:cubicBezTo>
                  <a:lnTo>
                    <a:pt x="35668" y="-163"/>
                  </a:lnTo>
                  <a:cubicBezTo>
                    <a:pt x="35630" y="856"/>
                    <a:pt x="34992" y="1752"/>
                    <a:pt x="34049" y="2123"/>
                  </a:cubicBezTo>
                  <a:lnTo>
                    <a:pt x="31763" y="3457"/>
                  </a:lnTo>
                  <a:lnTo>
                    <a:pt x="21476" y="9362"/>
                  </a:lnTo>
                  <a:cubicBezTo>
                    <a:pt x="19076" y="10705"/>
                    <a:pt x="16161" y="10705"/>
                    <a:pt x="13761" y="9362"/>
                  </a:cubicBezTo>
                  <a:lnTo>
                    <a:pt x="3474" y="3457"/>
                  </a:lnTo>
                  <a:lnTo>
                    <a:pt x="1188" y="2123"/>
                  </a:lnTo>
                  <a:cubicBezTo>
                    <a:pt x="283" y="1723"/>
                    <a:pt x="-308"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573" name="íšḷïďê">
              <a:extLst>
                <a:ext uri="{FF2B5EF4-FFF2-40B4-BE49-F238E27FC236}">
                  <a16:creationId xmlns:a16="http://schemas.microsoft.com/office/drawing/2014/main" id="{39E2F128-1EE1-431C-BC46-57855AB8F697}"/>
                </a:ext>
              </a:extLst>
            </p:cNvPr>
            <p:cNvSpPr/>
            <p:nvPr/>
          </p:nvSpPr>
          <p:spPr>
            <a:xfrm>
              <a:off x="5970942" y="4973195"/>
              <a:ext cx="109740" cy="63350"/>
            </a:xfrm>
            <a:custGeom>
              <a:avLst/>
              <a:gdLst>
                <a:gd name="connsiteX0" fmla="*/ -336 w 36052"/>
                <a:gd name="connsiteY0" fmla="*/ 10196 h 20812"/>
                <a:gd name="connsiteX1" fmla="*/ 1188 w 36052"/>
                <a:gd name="connsiteY1" fmla="*/ 12482 h 20812"/>
                <a:gd name="connsiteX2" fmla="*/ 3569 w 36052"/>
                <a:gd name="connsiteY2" fmla="*/ 13815 h 20812"/>
                <a:gd name="connsiteX3" fmla="*/ 13856 w 36052"/>
                <a:gd name="connsiteY3" fmla="*/ 19721 h 20812"/>
                <a:gd name="connsiteX4" fmla="*/ 21476 w 36052"/>
                <a:gd name="connsiteY4" fmla="*/ 19721 h 20812"/>
                <a:gd name="connsiteX5" fmla="*/ 31763 w 36052"/>
                <a:gd name="connsiteY5" fmla="*/ 13815 h 20812"/>
                <a:gd name="connsiteX6" fmla="*/ 34144 w 36052"/>
                <a:gd name="connsiteY6" fmla="*/ 12482 h 20812"/>
                <a:gd name="connsiteX7" fmla="*/ 35573 w 36052"/>
                <a:gd name="connsiteY7" fmla="*/ 9434 h 20812"/>
                <a:gd name="connsiteX8" fmla="*/ 34144 w 36052"/>
                <a:gd name="connsiteY8" fmla="*/ 8005 h 20812"/>
                <a:gd name="connsiteX9" fmla="*/ 21476 w 36052"/>
                <a:gd name="connsiteY9" fmla="*/ 766 h 20812"/>
                <a:gd name="connsiteX10" fmla="*/ 13856 w 36052"/>
                <a:gd name="connsiteY10" fmla="*/ 766 h 20812"/>
                <a:gd name="connsiteX11" fmla="*/ 1188 w 36052"/>
                <a:gd name="connsiteY11" fmla="*/ 8005 h 20812"/>
                <a:gd name="connsiteX12" fmla="*/ -336 w 36052"/>
                <a:gd name="connsiteY12" fmla="*/ 10196 h 20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12">
                  <a:moveTo>
                    <a:pt x="-336" y="10196"/>
                  </a:moveTo>
                  <a:cubicBezTo>
                    <a:pt x="-270" y="11177"/>
                    <a:pt x="311" y="12044"/>
                    <a:pt x="1188" y="12482"/>
                  </a:cubicBezTo>
                  <a:lnTo>
                    <a:pt x="3569" y="13815"/>
                  </a:lnTo>
                  <a:lnTo>
                    <a:pt x="13856" y="19721"/>
                  </a:lnTo>
                  <a:cubicBezTo>
                    <a:pt x="16247" y="20959"/>
                    <a:pt x="19085" y="20959"/>
                    <a:pt x="21476" y="19721"/>
                  </a:cubicBezTo>
                  <a:lnTo>
                    <a:pt x="31763" y="13815"/>
                  </a:lnTo>
                  <a:lnTo>
                    <a:pt x="34144" y="12482"/>
                  </a:lnTo>
                  <a:cubicBezTo>
                    <a:pt x="35382" y="12034"/>
                    <a:pt x="36020" y="10662"/>
                    <a:pt x="35573" y="9434"/>
                  </a:cubicBezTo>
                  <a:cubicBezTo>
                    <a:pt x="35325" y="8767"/>
                    <a:pt x="34811" y="8243"/>
                    <a:pt x="34144" y="8005"/>
                  </a:cubicBezTo>
                  <a:lnTo>
                    <a:pt x="21476" y="766"/>
                  </a:lnTo>
                  <a:cubicBezTo>
                    <a:pt x="19085" y="-472"/>
                    <a:pt x="16247" y="-472"/>
                    <a:pt x="13856" y="766"/>
                  </a:cubicBezTo>
                  <a:lnTo>
                    <a:pt x="1188" y="8005"/>
                  </a:lnTo>
                  <a:cubicBezTo>
                    <a:pt x="340" y="8424"/>
                    <a:pt x="-241" y="925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574" name="iṥļidé">
              <a:extLst>
                <a:ext uri="{FF2B5EF4-FFF2-40B4-BE49-F238E27FC236}">
                  <a16:creationId xmlns:a16="http://schemas.microsoft.com/office/drawing/2014/main" id="{C6870AF5-C71C-4741-A1DD-5A5EA3F0EF1C}"/>
                </a:ext>
              </a:extLst>
            </p:cNvPr>
            <p:cNvSpPr/>
            <p:nvPr/>
          </p:nvSpPr>
          <p:spPr>
            <a:xfrm>
              <a:off x="5973073" y="4974281"/>
              <a:ext cx="105618" cy="61174"/>
            </a:xfrm>
            <a:custGeom>
              <a:avLst/>
              <a:gdLst>
                <a:gd name="connsiteX0" fmla="*/ 1154 w 34698"/>
                <a:gd name="connsiteY0" fmla="*/ 12029 h 20097"/>
                <a:gd name="connsiteX1" fmla="*/ 13251 w 34698"/>
                <a:gd name="connsiteY1" fmla="*/ 19078 h 20097"/>
                <a:gd name="connsiteX2" fmla="*/ 20680 w 34698"/>
                <a:gd name="connsiteY2" fmla="*/ 19078 h 20097"/>
                <a:gd name="connsiteX3" fmla="*/ 32872 w 34698"/>
                <a:gd name="connsiteY3" fmla="*/ 12029 h 20097"/>
                <a:gd name="connsiteX4" fmla="*/ 34215 w 34698"/>
                <a:gd name="connsiteY4" fmla="*/ 9086 h 20097"/>
                <a:gd name="connsiteX5" fmla="*/ 32872 w 34698"/>
                <a:gd name="connsiteY5" fmla="*/ 7743 h 20097"/>
                <a:gd name="connsiteX6" fmla="*/ 20680 w 34698"/>
                <a:gd name="connsiteY6" fmla="*/ 695 h 20097"/>
                <a:gd name="connsiteX7" fmla="*/ 13251 w 34698"/>
                <a:gd name="connsiteY7" fmla="*/ 695 h 20097"/>
                <a:gd name="connsiteX8" fmla="*/ 1154 w 34698"/>
                <a:gd name="connsiteY8" fmla="*/ 7743 h 20097"/>
                <a:gd name="connsiteX9" fmla="*/ -189 w 34698"/>
                <a:gd name="connsiteY9" fmla="*/ 10686 h 20097"/>
                <a:gd name="connsiteX10" fmla="*/ 1154 w 34698"/>
                <a:gd name="connsiteY10" fmla="*/ 12029 h 20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698" h="20097">
                  <a:moveTo>
                    <a:pt x="1154" y="12029"/>
                  </a:moveTo>
                  <a:lnTo>
                    <a:pt x="13251" y="19078"/>
                  </a:lnTo>
                  <a:cubicBezTo>
                    <a:pt x="15594" y="20221"/>
                    <a:pt x="18337" y="20221"/>
                    <a:pt x="20680" y="19078"/>
                  </a:cubicBezTo>
                  <a:lnTo>
                    <a:pt x="32872" y="12029"/>
                  </a:lnTo>
                  <a:cubicBezTo>
                    <a:pt x="34053" y="11591"/>
                    <a:pt x="34663" y="10277"/>
                    <a:pt x="34215" y="9086"/>
                  </a:cubicBezTo>
                  <a:cubicBezTo>
                    <a:pt x="33987" y="8467"/>
                    <a:pt x="33491" y="7972"/>
                    <a:pt x="32872" y="7743"/>
                  </a:cubicBezTo>
                  <a:lnTo>
                    <a:pt x="20680" y="695"/>
                  </a:lnTo>
                  <a:cubicBezTo>
                    <a:pt x="18337" y="-448"/>
                    <a:pt x="15594" y="-448"/>
                    <a:pt x="13251" y="695"/>
                  </a:cubicBezTo>
                  <a:lnTo>
                    <a:pt x="1154" y="7743"/>
                  </a:lnTo>
                  <a:cubicBezTo>
                    <a:pt x="-27" y="8181"/>
                    <a:pt x="-637" y="9496"/>
                    <a:pt x="-189" y="10686"/>
                  </a:cubicBezTo>
                  <a:cubicBezTo>
                    <a:pt x="40" y="11305"/>
                    <a:pt x="525" y="11801"/>
                    <a:pt x="1154" y="12029"/>
                  </a:cubicBezTo>
                  <a:close/>
                </a:path>
              </a:pathLst>
            </a:custGeom>
            <a:solidFill>
              <a:srgbClr val="D1D9E8"/>
            </a:solidFill>
            <a:ln w="9525" cap="flat">
              <a:noFill/>
              <a:prstDash val="solid"/>
              <a:miter/>
            </a:ln>
          </p:spPr>
          <p:txBody>
            <a:bodyPr rtlCol="0" anchor="ctr"/>
            <a:lstStyle/>
            <a:p>
              <a:endParaRPr lang="zh-CN" altLang="en-US"/>
            </a:p>
          </p:txBody>
        </p:sp>
        <p:sp>
          <p:nvSpPr>
            <p:cNvPr id="575" name="ïślíḋe">
              <a:extLst>
                <a:ext uri="{FF2B5EF4-FFF2-40B4-BE49-F238E27FC236}">
                  <a16:creationId xmlns:a16="http://schemas.microsoft.com/office/drawing/2014/main" id="{0F4A4764-9F9D-49CE-9DD8-4EC0046E8AE2}"/>
                </a:ext>
              </a:extLst>
            </p:cNvPr>
            <p:cNvSpPr/>
            <p:nvPr/>
          </p:nvSpPr>
          <p:spPr>
            <a:xfrm>
              <a:off x="5970942" y="5004724"/>
              <a:ext cx="109594" cy="53801"/>
            </a:xfrm>
            <a:custGeom>
              <a:avLst/>
              <a:gdLst>
                <a:gd name="connsiteX0" fmla="*/ -336 w 36004"/>
                <a:gd name="connsiteY0" fmla="*/ -163 h 17675"/>
                <a:gd name="connsiteX1" fmla="*/ -336 w 36004"/>
                <a:gd name="connsiteY1" fmla="*/ 7076 h 17675"/>
                <a:gd name="connsiteX2" fmla="*/ 1188 w 36004"/>
                <a:gd name="connsiteY2" fmla="*/ 9267 h 17675"/>
                <a:gd name="connsiteX3" fmla="*/ 13856 w 36004"/>
                <a:gd name="connsiteY3" fmla="*/ 16506 h 17675"/>
                <a:gd name="connsiteX4" fmla="*/ 21476 w 36004"/>
                <a:gd name="connsiteY4" fmla="*/ 16506 h 17675"/>
                <a:gd name="connsiteX5" fmla="*/ 34144 w 36004"/>
                <a:gd name="connsiteY5" fmla="*/ 9267 h 17675"/>
                <a:gd name="connsiteX6" fmla="*/ 35668 w 36004"/>
                <a:gd name="connsiteY6" fmla="*/ 7076 h 17675"/>
                <a:gd name="connsiteX7" fmla="*/ 35668 w 36004"/>
                <a:gd name="connsiteY7" fmla="*/ -163 h 17675"/>
                <a:gd name="connsiteX8" fmla="*/ 34144 w 36004"/>
                <a:gd name="connsiteY8" fmla="*/ 2123 h 17675"/>
                <a:gd name="connsiteX9" fmla="*/ 31763 w 36004"/>
                <a:gd name="connsiteY9" fmla="*/ 3457 h 17675"/>
                <a:gd name="connsiteX10" fmla="*/ 21476 w 36004"/>
                <a:gd name="connsiteY10" fmla="*/ 9362 h 17675"/>
                <a:gd name="connsiteX11" fmla="*/ 13856 w 36004"/>
                <a:gd name="connsiteY11" fmla="*/ 9362 h 17675"/>
                <a:gd name="connsiteX12" fmla="*/ 3569 w 36004"/>
                <a:gd name="connsiteY12" fmla="*/ 3457 h 17675"/>
                <a:gd name="connsiteX13" fmla="*/ 1188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79" y="8038"/>
                    <a:pt x="311" y="8877"/>
                    <a:pt x="1188" y="9267"/>
                  </a:cubicBezTo>
                  <a:lnTo>
                    <a:pt x="13856" y="16506"/>
                  </a:lnTo>
                  <a:cubicBezTo>
                    <a:pt x="16218" y="17849"/>
                    <a:pt x="19114" y="17849"/>
                    <a:pt x="21476" y="16506"/>
                  </a:cubicBezTo>
                  <a:lnTo>
                    <a:pt x="34144" y="9267"/>
                  </a:lnTo>
                  <a:cubicBezTo>
                    <a:pt x="35021" y="8877"/>
                    <a:pt x="35611" y="8038"/>
                    <a:pt x="35668" y="7076"/>
                  </a:cubicBezTo>
                  <a:lnTo>
                    <a:pt x="35668" y="-163"/>
                  </a:lnTo>
                  <a:cubicBezTo>
                    <a:pt x="35602" y="818"/>
                    <a:pt x="35021" y="1685"/>
                    <a:pt x="34144" y="2123"/>
                  </a:cubicBezTo>
                  <a:lnTo>
                    <a:pt x="31763" y="3457"/>
                  </a:lnTo>
                  <a:lnTo>
                    <a:pt x="21476" y="9362"/>
                  </a:lnTo>
                  <a:cubicBezTo>
                    <a:pt x="19085" y="10601"/>
                    <a:pt x="16247" y="10601"/>
                    <a:pt x="13856" y="9362"/>
                  </a:cubicBezTo>
                  <a:lnTo>
                    <a:pt x="3569" y="3457"/>
                  </a:lnTo>
                  <a:lnTo>
                    <a:pt x="1188"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576" name="iṥlîḓe">
              <a:extLst>
                <a:ext uri="{FF2B5EF4-FFF2-40B4-BE49-F238E27FC236}">
                  <a16:creationId xmlns:a16="http://schemas.microsoft.com/office/drawing/2014/main" id="{A21BA53E-C038-4BE7-82E0-B7375199128F}"/>
                </a:ext>
              </a:extLst>
            </p:cNvPr>
            <p:cNvSpPr/>
            <p:nvPr/>
          </p:nvSpPr>
          <p:spPr>
            <a:xfrm>
              <a:off x="6048352" y="5017749"/>
              <a:ext cx="109740" cy="63442"/>
            </a:xfrm>
            <a:custGeom>
              <a:avLst/>
              <a:gdLst>
                <a:gd name="connsiteX0" fmla="*/ -336 w 36052"/>
                <a:gd name="connsiteY0" fmla="*/ 10227 h 20842"/>
                <a:gd name="connsiteX1" fmla="*/ 1188 w 36052"/>
                <a:gd name="connsiteY1" fmla="*/ 12513 h 20842"/>
                <a:gd name="connsiteX2" fmla="*/ 3569 w 36052"/>
                <a:gd name="connsiteY2" fmla="*/ 13846 h 20842"/>
                <a:gd name="connsiteX3" fmla="*/ 13856 w 36052"/>
                <a:gd name="connsiteY3" fmla="*/ 19752 h 20842"/>
                <a:gd name="connsiteX4" fmla="*/ 21476 w 36052"/>
                <a:gd name="connsiteY4" fmla="*/ 19752 h 20842"/>
                <a:gd name="connsiteX5" fmla="*/ 31763 w 36052"/>
                <a:gd name="connsiteY5" fmla="*/ 13846 h 20842"/>
                <a:gd name="connsiteX6" fmla="*/ 34144 w 36052"/>
                <a:gd name="connsiteY6" fmla="*/ 12513 h 20842"/>
                <a:gd name="connsiteX7" fmla="*/ 35573 w 36052"/>
                <a:gd name="connsiteY7" fmla="*/ 9465 h 20842"/>
                <a:gd name="connsiteX8" fmla="*/ 34144 w 36052"/>
                <a:gd name="connsiteY8" fmla="*/ 8036 h 20842"/>
                <a:gd name="connsiteX9" fmla="*/ 21476 w 36052"/>
                <a:gd name="connsiteY9" fmla="*/ 702 h 20842"/>
                <a:gd name="connsiteX10" fmla="*/ 13856 w 36052"/>
                <a:gd name="connsiteY10" fmla="*/ 702 h 20842"/>
                <a:gd name="connsiteX11" fmla="*/ 1188 w 36052"/>
                <a:gd name="connsiteY11" fmla="*/ 8036 h 20842"/>
                <a:gd name="connsiteX12" fmla="*/ -336 w 36052"/>
                <a:gd name="connsiteY12" fmla="*/ 10227 h 20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2">
                  <a:moveTo>
                    <a:pt x="-336" y="10227"/>
                  </a:moveTo>
                  <a:cubicBezTo>
                    <a:pt x="-269" y="11208"/>
                    <a:pt x="312" y="12075"/>
                    <a:pt x="1188" y="12513"/>
                  </a:cubicBezTo>
                  <a:lnTo>
                    <a:pt x="3569" y="13846"/>
                  </a:lnTo>
                  <a:lnTo>
                    <a:pt x="13856" y="19752"/>
                  </a:lnTo>
                  <a:cubicBezTo>
                    <a:pt x="16247" y="20990"/>
                    <a:pt x="19085" y="20990"/>
                    <a:pt x="21476" y="19752"/>
                  </a:cubicBezTo>
                  <a:lnTo>
                    <a:pt x="31763" y="13846"/>
                  </a:lnTo>
                  <a:lnTo>
                    <a:pt x="34144" y="12513"/>
                  </a:lnTo>
                  <a:cubicBezTo>
                    <a:pt x="35382" y="12065"/>
                    <a:pt x="36021" y="10693"/>
                    <a:pt x="35573" y="9465"/>
                  </a:cubicBezTo>
                  <a:cubicBezTo>
                    <a:pt x="35325" y="8798"/>
                    <a:pt x="34811" y="8274"/>
                    <a:pt x="34144"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577" name="ísļïḍé">
              <a:extLst>
                <a:ext uri="{FF2B5EF4-FFF2-40B4-BE49-F238E27FC236}">
                  <a16:creationId xmlns:a16="http://schemas.microsoft.com/office/drawing/2014/main" id="{64555E74-C9E7-4A37-98AF-571D048AC279}"/>
                </a:ext>
              </a:extLst>
            </p:cNvPr>
            <p:cNvSpPr/>
            <p:nvPr/>
          </p:nvSpPr>
          <p:spPr>
            <a:xfrm>
              <a:off x="6050020" y="5018930"/>
              <a:ext cx="105463" cy="61104"/>
            </a:xfrm>
            <a:custGeom>
              <a:avLst/>
              <a:gdLst>
                <a:gd name="connsiteX0" fmla="*/ 1021 w 34647"/>
                <a:gd name="connsiteY0" fmla="*/ 12029 h 20074"/>
                <a:gd name="connsiteX1" fmla="*/ 13213 w 34647"/>
                <a:gd name="connsiteY1" fmla="*/ 18983 h 20074"/>
                <a:gd name="connsiteX2" fmla="*/ 20642 w 34647"/>
                <a:gd name="connsiteY2" fmla="*/ 18983 h 20074"/>
                <a:gd name="connsiteX3" fmla="*/ 32739 w 34647"/>
                <a:gd name="connsiteY3" fmla="*/ 12029 h 20074"/>
                <a:gd name="connsiteX4" fmla="*/ 32739 w 34647"/>
                <a:gd name="connsiteY4" fmla="*/ 7743 h 20074"/>
                <a:gd name="connsiteX5" fmla="*/ 20642 w 34647"/>
                <a:gd name="connsiteY5" fmla="*/ 695 h 20074"/>
                <a:gd name="connsiteX6" fmla="*/ 13213 w 34647"/>
                <a:gd name="connsiteY6" fmla="*/ 695 h 20074"/>
                <a:gd name="connsiteX7" fmla="*/ 1021 w 34647"/>
                <a:gd name="connsiteY7" fmla="*/ 7743 h 20074"/>
                <a:gd name="connsiteX8" fmla="*/ 1021 w 34647"/>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647" h="20074">
                  <a:moveTo>
                    <a:pt x="1021" y="12029"/>
                  </a:moveTo>
                  <a:lnTo>
                    <a:pt x="13213" y="18983"/>
                  </a:lnTo>
                  <a:cubicBezTo>
                    <a:pt x="15537" y="20221"/>
                    <a:pt x="18318" y="20221"/>
                    <a:pt x="20642" y="18983"/>
                  </a:cubicBezTo>
                  <a:lnTo>
                    <a:pt x="32739" y="12029"/>
                  </a:lnTo>
                  <a:cubicBezTo>
                    <a:pt x="34835" y="10791"/>
                    <a:pt x="34835" y="8886"/>
                    <a:pt x="32739" y="7743"/>
                  </a:cubicBezTo>
                  <a:lnTo>
                    <a:pt x="20642" y="695"/>
                  </a:lnTo>
                  <a:cubicBezTo>
                    <a:pt x="18299" y="-448"/>
                    <a:pt x="15556" y="-448"/>
                    <a:pt x="13213" y="695"/>
                  </a:cubicBezTo>
                  <a:lnTo>
                    <a:pt x="1021" y="7743"/>
                  </a:lnTo>
                  <a:cubicBezTo>
                    <a:pt x="-789" y="8886"/>
                    <a:pt x="-789" y="10791"/>
                    <a:pt x="1021" y="12029"/>
                  </a:cubicBezTo>
                  <a:close/>
                </a:path>
              </a:pathLst>
            </a:custGeom>
            <a:solidFill>
              <a:srgbClr val="D1D9E8"/>
            </a:solidFill>
            <a:ln w="9525" cap="flat">
              <a:noFill/>
              <a:prstDash val="solid"/>
              <a:miter/>
            </a:ln>
          </p:spPr>
          <p:txBody>
            <a:bodyPr rtlCol="0" anchor="ctr"/>
            <a:lstStyle/>
            <a:p>
              <a:endParaRPr lang="zh-CN" altLang="en-US"/>
            </a:p>
          </p:txBody>
        </p:sp>
        <p:sp>
          <p:nvSpPr>
            <p:cNvPr id="578" name="îşḷiďê">
              <a:extLst>
                <a:ext uri="{FF2B5EF4-FFF2-40B4-BE49-F238E27FC236}">
                  <a16:creationId xmlns:a16="http://schemas.microsoft.com/office/drawing/2014/main" id="{807FC88A-3169-46F4-9DA1-9F6C5E16B654}"/>
                </a:ext>
              </a:extLst>
            </p:cNvPr>
            <p:cNvSpPr/>
            <p:nvPr/>
          </p:nvSpPr>
          <p:spPr>
            <a:xfrm>
              <a:off x="6048352" y="5049375"/>
              <a:ext cx="109594" cy="53801"/>
            </a:xfrm>
            <a:custGeom>
              <a:avLst/>
              <a:gdLst>
                <a:gd name="connsiteX0" fmla="*/ -336 w 36004"/>
                <a:gd name="connsiteY0" fmla="*/ -163 h 17675"/>
                <a:gd name="connsiteX1" fmla="*/ -336 w 36004"/>
                <a:gd name="connsiteY1" fmla="*/ 7076 h 17675"/>
                <a:gd name="connsiteX2" fmla="*/ 1188 w 36004"/>
                <a:gd name="connsiteY2" fmla="*/ 9267 h 17675"/>
                <a:gd name="connsiteX3" fmla="*/ 13856 w 36004"/>
                <a:gd name="connsiteY3" fmla="*/ 16506 h 17675"/>
                <a:gd name="connsiteX4" fmla="*/ 21476 w 36004"/>
                <a:gd name="connsiteY4" fmla="*/ 16506 h 17675"/>
                <a:gd name="connsiteX5" fmla="*/ 34144 w 36004"/>
                <a:gd name="connsiteY5" fmla="*/ 9267 h 17675"/>
                <a:gd name="connsiteX6" fmla="*/ 35668 w 36004"/>
                <a:gd name="connsiteY6" fmla="*/ 6981 h 17675"/>
                <a:gd name="connsiteX7" fmla="*/ 35668 w 36004"/>
                <a:gd name="connsiteY7" fmla="*/ -163 h 17675"/>
                <a:gd name="connsiteX8" fmla="*/ 34144 w 36004"/>
                <a:gd name="connsiteY8" fmla="*/ 2123 h 17675"/>
                <a:gd name="connsiteX9" fmla="*/ 31763 w 36004"/>
                <a:gd name="connsiteY9" fmla="*/ 3457 h 17675"/>
                <a:gd name="connsiteX10" fmla="*/ 21476 w 36004"/>
                <a:gd name="connsiteY10" fmla="*/ 9362 h 17675"/>
                <a:gd name="connsiteX11" fmla="*/ 13856 w 36004"/>
                <a:gd name="connsiteY11" fmla="*/ 9362 h 17675"/>
                <a:gd name="connsiteX12" fmla="*/ 3569 w 36004"/>
                <a:gd name="connsiteY12" fmla="*/ 3457 h 17675"/>
                <a:gd name="connsiteX13" fmla="*/ 1188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79" y="8029"/>
                    <a:pt x="312" y="8876"/>
                    <a:pt x="1188" y="9267"/>
                  </a:cubicBezTo>
                  <a:lnTo>
                    <a:pt x="13856" y="16506"/>
                  </a:lnTo>
                  <a:cubicBezTo>
                    <a:pt x="16218" y="17849"/>
                    <a:pt x="19114" y="17849"/>
                    <a:pt x="21476" y="16506"/>
                  </a:cubicBezTo>
                  <a:lnTo>
                    <a:pt x="34144" y="9267"/>
                  </a:lnTo>
                  <a:cubicBezTo>
                    <a:pt x="35049" y="8867"/>
                    <a:pt x="35640" y="7971"/>
                    <a:pt x="35668" y="6981"/>
                  </a:cubicBezTo>
                  <a:lnTo>
                    <a:pt x="35668" y="-163"/>
                  </a:lnTo>
                  <a:cubicBezTo>
                    <a:pt x="35602" y="818"/>
                    <a:pt x="35021" y="1685"/>
                    <a:pt x="34144" y="2123"/>
                  </a:cubicBezTo>
                  <a:lnTo>
                    <a:pt x="31763" y="3457"/>
                  </a:lnTo>
                  <a:lnTo>
                    <a:pt x="21476" y="9362"/>
                  </a:lnTo>
                  <a:cubicBezTo>
                    <a:pt x="19085" y="10600"/>
                    <a:pt x="16247" y="10600"/>
                    <a:pt x="13856" y="9362"/>
                  </a:cubicBezTo>
                  <a:lnTo>
                    <a:pt x="3569" y="3457"/>
                  </a:lnTo>
                  <a:lnTo>
                    <a:pt x="1188" y="2123"/>
                  </a:lnTo>
                  <a:cubicBezTo>
                    <a:pt x="312"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579" name="ïṧḻíde">
              <a:extLst>
                <a:ext uri="{FF2B5EF4-FFF2-40B4-BE49-F238E27FC236}">
                  <a16:creationId xmlns:a16="http://schemas.microsoft.com/office/drawing/2014/main" id="{1261BA01-36F4-4554-8667-98B7167D33B7}"/>
                </a:ext>
              </a:extLst>
            </p:cNvPr>
            <p:cNvSpPr/>
            <p:nvPr/>
          </p:nvSpPr>
          <p:spPr>
            <a:xfrm>
              <a:off x="6125476" y="5062202"/>
              <a:ext cx="109362" cy="63588"/>
            </a:xfrm>
            <a:custGeom>
              <a:avLst/>
              <a:gdLst>
                <a:gd name="connsiteX0" fmla="*/ -336 w 35928"/>
                <a:gd name="connsiteY0" fmla="*/ 10291 h 20890"/>
                <a:gd name="connsiteX1" fmla="*/ 1283 w 35928"/>
                <a:gd name="connsiteY1" fmla="*/ 12482 h 20890"/>
                <a:gd name="connsiteX2" fmla="*/ 3569 w 35928"/>
                <a:gd name="connsiteY2" fmla="*/ 13911 h 20890"/>
                <a:gd name="connsiteX3" fmla="*/ 13856 w 35928"/>
                <a:gd name="connsiteY3" fmla="*/ 19721 h 20890"/>
                <a:gd name="connsiteX4" fmla="*/ 21571 w 35928"/>
                <a:gd name="connsiteY4" fmla="*/ 19721 h 20890"/>
                <a:gd name="connsiteX5" fmla="*/ 31858 w 35928"/>
                <a:gd name="connsiteY5" fmla="*/ 13911 h 20890"/>
                <a:gd name="connsiteX6" fmla="*/ 34144 w 35928"/>
                <a:gd name="connsiteY6" fmla="*/ 12482 h 20890"/>
                <a:gd name="connsiteX7" fmla="*/ 35402 w 35928"/>
                <a:gd name="connsiteY7" fmla="*/ 9358 h 20890"/>
                <a:gd name="connsiteX8" fmla="*/ 34144 w 35928"/>
                <a:gd name="connsiteY8" fmla="*/ 8101 h 20890"/>
                <a:gd name="connsiteX9" fmla="*/ 21571 w 35928"/>
                <a:gd name="connsiteY9" fmla="*/ 766 h 20890"/>
                <a:gd name="connsiteX10" fmla="*/ 13856 w 35928"/>
                <a:gd name="connsiteY10" fmla="*/ 766 h 20890"/>
                <a:gd name="connsiteX11" fmla="*/ 1283 w 35928"/>
                <a:gd name="connsiteY11" fmla="*/ 8101 h 20890"/>
                <a:gd name="connsiteX12" fmla="*/ -336 w 35928"/>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928" h="20890">
                  <a:moveTo>
                    <a:pt x="-336" y="10291"/>
                  </a:moveTo>
                  <a:cubicBezTo>
                    <a:pt x="-279" y="11282"/>
                    <a:pt x="350" y="12139"/>
                    <a:pt x="1283" y="12482"/>
                  </a:cubicBezTo>
                  <a:lnTo>
                    <a:pt x="3569" y="13911"/>
                  </a:lnTo>
                  <a:lnTo>
                    <a:pt x="13856" y="19721"/>
                  </a:lnTo>
                  <a:cubicBezTo>
                    <a:pt x="16256" y="21064"/>
                    <a:pt x="19171" y="21064"/>
                    <a:pt x="21571" y="19721"/>
                  </a:cubicBezTo>
                  <a:lnTo>
                    <a:pt x="31858" y="13911"/>
                  </a:lnTo>
                  <a:lnTo>
                    <a:pt x="34144" y="12482"/>
                  </a:lnTo>
                  <a:cubicBezTo>
                    <a:pt x="35354" y="11967"/>
                    <a:pt x="35916" y="10568"/>
                    <a:pt x="35402" y="9358"/>
                  </a:cubicBezTo>
                  <a:cubicBezTo>
                    <a:pt x="35164" y="8796"/>
                    <a:pt x="34706" y="8339"/>
                    <a:pt x="34144" y="8101"/>
                  </a:cubicBezTo>
                  <a:lnTo>
                    <a:pt x="21571" y="766"/>
                  </a:lnTo>
                  <a:cubicBezTo>
                    <a:pt x="19152" y="-472"/>
                    <a:pt x="16275" y="-472"/>
                    <a:pt x="13856" y="766"/>
                  </a:cubicBezTo>
                  <a:lnTo>
                    <a:pt x="1283" y="8101"/>
                  </a:lnTo>
                  <a:cubicBezTo>
                    <a:pt x="350" y="8443"/>
                    <a:pt x="-279" y="9300"/>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580" name="iS1íḓé">
              <a:extLst>
                <a:ext uri="{FF2B5EF4-FFF2-40B4-BE49-F238E27FC236}">
                  <a16:creationId xmlns:a16="http://schemas.microsoft.com/office/drawing/2014/main" id="{72738022-E8D0-4364-9428-F0050FAF5715}"/>
                </a:ext>
              </a:extLst>
            </p:cNvPr>
            <p:cNvSpPr/>
            <p:nvPr/>
          </p:nvSpPr>
          <p:spPr>
            <a:xfrm>
              <a:off x="6127360" y="5063362"/>
              <a:ext cx="105898" cy="61104"/>
            </a:xfrm>
            <a:custGeom>
              <a:avLst/>
              <a:gdLst>
                <a:gd name="connsiteX0" fmla="*/ 1235 w 34790"/>
                <a:gd name="connsiteY0" fmla="*/ 12006 h 20074"/>
                <a:gd name="connsiteX1" fmla="*/ 13332 w 34790"/>
                <a:gd name="connsiteY1" fmla="*/ 19054 h 20074"/>
                <a:gd name="connsiteX2" fmla="*/ 20761 w 34790"/>
                <a:gd name="connsiteY2" fmla="*/ 19054 h 20074"/>
                <a:gd name="connsiteX3" fmla="*/ 32953 w 34790"/>
                <a:gd name="connsiteY3" fmla="*/ 12006 h 20074"/>
                <a:gd name="connsiteX4" fmla="*/ 32953 w 34790"/>
                <a:gd name="connsiteY4" fmla="*/ 7719 h 20074"/>
                <a:gd name="connsiteX5" fmla="*/ 20761 w 34790"/>
                <a:gd name="connsiteY5" fmla="*/ 766 h 20074"/>
                <a:gd name="connsiteX6" fmla="*/ 13332 w 34790"/>
                <a:gd name="connsiteY6" fmla="*/ 766 h 20074"/>
                <a:gd name="connsiteX7" fmla="*/ 1235 w 34790"/>
                <a:gd name="connsiteY7" fmla="*/ 7719 h 20074"/>
                <a:gd name="connsiteX8" fmla="*/ 1235 w 34790"/>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4">
                  <a:moveTo>
                    <a:pt x="1235" y="12006"/>
                  </a:moveTo>
                  <a:lnTo>
                    <a:pt x="13332" y="19054"/>
                  </a:lnTo>
                  <a:cubicBezTo>
                    <a:pt x="15675" y="20197"/>
                    <a:pt x="18418" y="20197"/>
                    <a:pt x="20761" y="19054"/>
                  </a:cubicBezTo>
                  <a:lnTo>
                    <a:pt x="32953" y="12006"/>
                  </a:lnTo>
                  <a:cubicBezTo>
                    <a:pt x="34954" y="10863"/>
                    <a:pt x="34954" y="8957"/>
                    <a:pt x="32953" y="7719"/>
                  </a:cubicBezTo>
                  <a:lnTo>
                    <a:pt x="20761" y="766"/>
                  </a:lnTo>
                  <a:cubicBezTo>
                    <a:pt x="18437" y="-472"/>
                    <a:pt x="15656" y="-472"/>
                    <a:pt x="13332" y="766"/>
                  </a:cubicBezTo>
                  <a:lnTo>
                    <a:pt x="1235" y="7719"/>
                  </a:lnTo>
                  <a:cubicBezTo>
                    <a:pt x="-860" y="8957"/>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581" name="îṩliḑè">
              <a:extLst>
                <a:ext uri="{FF2B5EF4-FFF2-40B4-BE49-F238E27FC236}">
                  <a16:creationId xmlns:a16="http://schemas.microsoft.com/office/drawing/2014/main" id="{A8958DC7-B5F0-43E7-AFD5-C9CD2E185FFE}"/>
                </a:ext>
              </a:extLst>
            </p:cNvPr>
            <p:cNvSpPr/>
            <p:nvPr/>
          </p:nvSpPr>
          <p:spPr>
            <a:xfrm>
              <a:off x="6125464" y="5094023"/>
              <a:ext cx="111055" cy="54724"/>
            </a:xfrm>
            <a:custGeom>
              <a:avLst/>
              <a:gdLst>
                <a:gd name="connsiteX0" fmla="*/ -333 w 36484"/>
                <a:gd name="connsiteY0" fmla="*/ -163 h 17978"/>
                <a:gd name="connsiteX1" fmla="*/ -333 w 36484"/>
                <a:gd name="connsiteY1" fmla="*/ 7362 h 17978"/>
                <a:gd name="connsiteX2" fmla="*/ 1286 w 36484"/>
                <a:gd name="connsiteY2" fmla="*/ 9553 h 17978"/>
                <a:gd name="connsiteX3" fmla="*/ 14336 w 36484"/>
                <a:gd name="connsiteY3" fmla="*/ 16887 h 17978"/>
                <a:gd name="connsiteX4" fmla="*/ 22051 w 36484"/>
                <a:gd name="connsiteY4" fmla="*/ 16887 h 17978"/>
                <a:gd name="connsiteX5" fmla="*/ 34624 w 36484"/>
                <a:gd name="connsiteY5" fmla="*/ 9648 h 17978"/>
                <a:gd name="connsiteX6" fmla="*/ 36148 w 36484"/>
                <a:gd name="connsiteY6" fmla="*/ 7362 h 17978"/>
                <a:gd name="connsiteX7" fmla="*/ 36148 w 36484"/>
                <a:gd name="connsiteY7" fmla="*/ 218 h 17978"/>
                <a:gd name="connsiteX8" fmla="*/ 34624 w 36484"/>
                <a:gd name="connsiteY8" fmla="*/ 2409 h 17978"/>
                <a:gd name="connsiteX9" fmla="*/ 32338 w 36484"/>
                <a:gd name="connsiteY9" fmla="*/ 3838 h 17978"/>
                <a:gd name="connsiteX10" fmla="*/ 22051 w 36484"/>
                <a:gd name="connsiteY10" fmla="*/ 9648 h 17978"/>
                <a:gd name="connsiteX11" fmla="*/ 14336 w 36484"/>
                <a:gd name="connsiteY11" fmla="*/ 9648 h 17978"/>
                <a:gd name="connsiteX12" fmla="*/ 4049 w 36484"/>
                <a:gd name="connsiteY12" fmla="*/ 3838 h 17978"/>
                <a:gd name="connsiteX13" fmla="*/ 1763 w 36484"/>
                <a:gd name="connsiteY13" fmla="*/ 2409 h 17978"/>
                <a:gd name="connsiteX14" fmla="*/ -333 w 36484"/>
                <a:gd name="connsiteY14" fmla="*/ -163 h 17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484" h="17978">
                  <a:moveTo>
                    <a:pt x="-333" y="-163"/>
                  </a:moveTo>
                  <a:lnTo>
                    <a:pt x="-333" y="7362"/>
                  </a:lnTo>
                  <a:cubicBezTo>
                    <a:pt x="-238" y="8334"/>
                    <a:pt x="382" y="9172"/>
                    <a:pt x="1286" y="9553"/>
                  </a:cubicBezTo>
                  <a:lnTo>
                    <a:pt x="14336" y="16887"/>
                  </a:lnTo>
                  <a:cubicBezTo>
                    <a:pt x="16755" y="18125"/>
                    <a:pt x="19632" y="18125"/>
                    <a:pt x="22051" y="16887"/>
                  </a:cubicBezTo>
                  <a:lnTo>
                    <a:pt x="34624" y="9648"/>
                  </a:lnTo>
                  <a:cubicBezTo>
                    <a:pt x="35491" y="9200"/>
                    <a:pt x="36062" y="8334"/>
                    <a:pt x="36148" y="7362"/>
                  </a:cubicBezTo>
                  <a:lnTo>
                    <a:pt x="36148" y="218"/>
                  </a:lnTo>
                  <a:cubicBezTo>
                    <a:pt x="36110" y="1181"/>
                    <a:pt x="35519" y="2038"/>
                    <a:pt x="34624" y="2409"/>
                  </a:cubicBezTo>
                  <a:lnTo>
                    <a:pt x="32338" y="3838"/>
                  </a:lnTo>
                  <a:lnTo>
                    <a:pt x="22051" y="9648"/>
                  </a:lnTo>
                  <a:cubicBezTo>
                    <a:pt x="19651" y="10991"/>
                    <a:pt x="16736" y="10991"/>
                    <a:pt x="14336" y="9648"/>
                  </a:cubicBezTo>
                  <a:lnTo>
                    <a:pt x="4049" y="3838"/>
                  </a:lnTo>
                  <a:lnTo>
                    <a:pt x="1763" y="2409"/>
                  </a:lnTo>
                  <a:cubicBezTo>
                    <a:pt x="505" y="2219"/>
                    <a:pt x="-399" y="1104"/>
                    <a:pt x="-333" y="-163"/>
                  </a:cubicBezTo>
                  <a:close/>
                </a:path>
              </a:pathLst>
            </a:custGeom>
            <a:solidFill>
              <a:srgbClr val="BF4200"/>
            </a:solidFill>
            <a:ln w="9525" cap="flat">
              <a:noFill/>
              <a:prstDash val="solid"/>
              <a:miter/>
            </a:ln>
          </p:spPr>
          <p:txBody>
            <a:bodyPr rtlCol="0" anchor="ctr"/>
            <a:lstStyle/>
            <a:p>
              <a:endParaRPr lang="zh-CN" altLang="en-US"/>
            </a:p>
          </p:txBody>
        </p:sp>
        <p:sp>
          <p:nvSpPr>
            <p:cNvPr id="582" name="iṣ1îḍê">
              <a:extLst>
                <a:ext uri="{FF2B5EF4-FFF2-40B4-BE49-F238E27FC236}">
                  <a16:creationId xmlns:a16="http://schemas.microsoft.com/office/drawing/2014/main" id="{7C290668-8447-42D5-8A3F-B9DB325E8B40}"/>
                </a:ext>
              </a:extLst>
            </p:cNvPr>
            <p:cNvSpPr/>
            <p:nvPr/>
          </p:nvSpPr>
          <p:spPr>
            <a:xfrm>
              <a:off x="6202889" y="5107048"/>
              <a:ext cx="109740" cy="63445"/>
            </a:xfrm>
            <a:custGeom>
              <a:avLst/>
              <a:gdLst>
                <a:gd name="connsiteX0" fmla="*/ -336 w 36052"/>
                <a:gd name="connsiteY0" fmla="*/ 10227 h 20843"/>
                <a:gd name="connsiteX1" fmla="*/ 1188 w 36052"/>
                <a:gd name="connsiteY1" fmla="*/ 12513 h 20843"/>
                <a:gd name="connsiteX2" fmla="*/ 3569 w 36052"/>
                <a:gd name="connsiteY2" fmla="*/ 13846 h 20843"/>
                <a:gd name="connsiteX3" fmla="*/ 13856 w 36052"/>
                <a:gd name="connsiteY3" fmla="*/ 19752 h 20843"/>
                <a:gd name="connsiteX4" fmla="*/ 21476 w 36052"/>
                <a:gd name="connsiteY4" fmla="*/ 19752 h 20843"/>
                <a:gd name="connsiteX5" fmla="*/ 31763 w 36052"/>
                <a:gd name="connsiteY5" fmla="*/ 13846 h 20843"/>
                <a:gd name="connsiteX6" fmla="*/ 34144 w 36052"/>
                <a:gd name="connsiteY6" fmla="*/ 12513 h 20843"/>
                <a:gd name="connsiteX7" fmla="*/ 35573 w 36052"/>
                <a:gd name="connsiteY7" fmla="*/ 9465 h 20843"/>
                <a:gd name="connsiteX8" fmla="*/ 34144 w 36052"/>
                <a:gd name="connsiteY8" fmla="*/ 8036 h 20843"/>
                <a:gd name="connsiteX9" fmla="*/ 21476 w 36052"/>
                <a:gd name="connsiteY9" fmla="*/ 702 h 20843"/>
                <a:gd name="connsiteX10" fmla="*/ 13856 w 36052"/>
                <a:gd name="connsiteY10" fmla="*/ 702 h 20843"/>
                <a:gd name="connsiteX11" fmla="*/ 1188 w 36052"/>
                <a:gd name="connsiteY11" fmla="*/ 8036 h 20843"/>
                <a:gd name="connsiteX12" fmla="*/ -336 w 36052"/>
                <a:gd name="connsiteY12" fmla="*/ 10227 h 20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3">
                  <a:moveTo>
                    <a:pt x="-336" y="10227"/>
                  </a:moveTo>
                  <a:cubicBezTo>
                    <a:pt x="-270" y="11208"/>
                    <a:pt x="311" y="12075"/>
                    <a:pt x="1188" y="12513"/>
                  </a:cubicBezTo>
                  <a:lnTo>
                    <a:pt x="3569" y="13846"/>
                  </a:lnTo>
                  <a:lnTo>
                    <a:pt x="13856" y="19752"/>
                  </a:lnTo>
                  <a:cubicBezTo>
                    <a:pt x="16247" y="20990"/>
                    <a:pt x="19085" y="20990"/>
                    <a:pt x="21476" y="19752"/>
                  </a:cubicBezTo>
                  <a:lnTo>
                    <a:pt x="31763" y="13846"/>
                  </a:lnTo>
                  <a:lnTo>
                    <a:pt x="34144" y="12513"/>
                  </a:lnTo>
                  <a:cubicBezTo>
                    <a:pt x="35382" y="12065"/>
                    <a:pt x="36020" y="10694"/>
                    <a:pt x="35573" y="9465"/>
                  </a:cubicBezTo>
                  <a:cubicBezTo>
                    <a:pt x="35325" y="8798"/>
                    <a:pt x="34811" y="8274"/>
                    <a:pt x="34144"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583" name="islïḑe">
              <a:extLst>
                <a:ext uri="{FF2B5EF4-FFF2-40B4-BE49-F238E27FC236}">
                  <a16:creationId xmlns:a16="http://schemas.microsoft.com/office/drawing/2014/main" id="{835F0B99-CC58-4779-9C8C-AB007A1B8EE9}"/>
                </a:ext>
              </a:extLst>
            </p:cNvPr>
            <p:cNvSpPr/>
            <p:nvPr/>
          </p:nvSpPr>
          <p:spPr>
            <a:xfrm>
              <a:off x="6204700" y="5108811"/>
              <a:ext cx="105895" cy="61101"/>
            </a:xfrm>
            <a:custGeom>
              <a:avLst/>
              <a:gdLst>
                <a:gd name="connsiteX0" fmla="*/ 1164 w 34789"/>
                <a:gd name="connsiteY0" fmla="*/ 12029 h 20073"/>
                <a:gd name="connsiteX1" fmla="*/ 13356 w 34789"/>
                <a:gd name="connsiteY1" fmla="*/ 18983 h 20073"/>
                <a:gd name="connsiteX2" fmla="*/ 20785 w 34789"/>
                <a:gd name="connsiteY2" fmla="*/ 18983 h 20073"/>
                <a:gd name="connsiteX3" fmla="*/ 32882 w 34789"/>
                <a:gd name="connsiteY3" fmla="*/ 12029 h 20073"/>
                <a:gd name="connsiteX4" fmla="*/ 32882 w 34789"/>
                <a:gd name="connsiteY4" fmla="*/ 7743 h 20073"/>
                <a:gd name="connsiteX5" fmla="*/ 20785 w 34789"/>
                <a:gd name="connsiteY5" fmla="*/ 695 h 20073"/>
                <a:gd name="connsiteX6" fmla="*/ 13356 w 34789"/>
                <a:gd name="connsiteY6" fmla="*/ 695 h 20073"/>
                <a:gd name="connsiteX7" fmla="*/ 1164 w 34789"/>
                <a:gd name="connsiteY7" fmla="*/ 7743 h 20073"/>
                <a:gd name="connsiteX8" fmla="*/ 1164 w 34789"/>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89" h="20073">
                  <a:moveTo>
                    <a:pt x="1164" y="12029"/>
                  </a:moveTo>
                  <a:lnTo>
                    <a:pt x="13356" y="18983"/>
                  </a:lnTo>
                  <a:cubicBezTo>
                    <a:pt x="15680" y="20221"/>
                    <a:pt x="18461" y="20221"/>
                    <a:pt x="20785" y="18983"/>
                  </a:cubicBezTo>
                  <a:lnTo>
                    <a:pt x="32882" y="12029"/>
                  </a:lnTo>
                  <a:cubicBezTo>
                    <a:pt x="34977" y="10791"/>
                    <a:pt x="34977" y="8886"/>
                    <a:pt x="32882" y="7743"/>
                  </a:cubicBezTo>
                  <a:lnTo>
                    <a:pt x="20785" y="695"/>
                  </a:lnTo>
                  <a:cubicBezTo>
                    <a:pt x="18442" y="-448"/>
                    <a:pt x="15699" y="-448"/>
                    <a:pt x="13356" y="695"/>
                  </a:cubicBezTo>
                  <a:lnTo>
                    <a:pt x="1164" y="7743"/>
                  </a:lnTo>
                  <a:cubicBezTo>
                    <a:pt x="-836" y="8696"/>
                    <a:pt x="-836" y="10601"/>
                    <a:pt x="1164" y="12029"/>
                  </a:cubicBezTo>
                  <a:close/>
                </a:path>
              </a:pathLst>
            </a:custGeom>
            <a:solidFill>
              <a:srgbClr val="D1D9E8"/>
            </a:solidFill>
            <a:ln w="9525" cap="flat">
              <a:noFill/>
              <a:prstDash val="solid"/>
              <a:miter/>
            </a:ln>
          </p:spPr>
          <p:txBody>
            <a:bodyPr rtlCol="0" anchor="ctr"/>
            <a:lstStyle/>
            <a:p>
              <a:endParaRPr lang="zh-CN" altLang="en-US"/>
            </a:p>
          </p:txBody>
        </p:sp>
        <p:sp>
          <p:nvSpPr>
            <p:cNvPr id="584" name="ïṧľíḍè">
              <a:extLst>
                <a:ext uri="{FF2B5EF4-FFF2-40B4-BE49-F238E27FC236}">
                  <a16:creationId xmlns:a16="http://schemas.microsoft.com/office/drawing/2014/main" id="{014629D1-DD8E-4745-96AD-1139CA6D3498}"/>
                </a:ext>
              </a:extLst>
            </p:cNvPr>
            <p:cNvSpPr/>
            <p:nvPr/>
          </p:nvSpPr>
          <p:spPr>
            <a:xfrm>
              <a:off x="6202889" y="5138675"/>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3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3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2" y="7953"/>
                    <a:pt x="35668" y="6981"/>
                  </a:cubicBezTo>
                  <a:lnTo>
                    <a:pt x="35668" y="-163"/>
                  </a:lnTo>
                  <a:cubicBezTo>
                    <a:pt x="35602" y="818"/>
                    <a:pt x="35021" y="1685"/>
                    <a:pt x="34144" y="2123"/>
                  </a:cubicBezTo>
                  <a:lnTo>
                    <a:pt x="31763" y="3457"/>
                  </a:lnTo>
                  <a:lnTo>
                    <a:pt x="21476" y="9362"/>
                  </a:lnTo>
                  <a:cubicBezTo>
                    <a:pt x="19085" y="10601"/>
                    <a:pt x="16247" y="10601"/>
                    <a:pt x="13856" y="9362"/>
                  </a:cubicBezTo>
                  <a:lnTo>
                    <a:pt x="3569" y="3457"/>
                  </a:lnTo>
                  <a:lnTo>
                    <a:pt x="1188"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585" name="iṧľiḑé">
              <a:extLst>
                <a:ext uri="{FF2B5EF4-FFF2-40B4-BE49-F238E27FC236}">
                  <a16:creationId xmlns:a16="http://schemas.microsoft.com/office/drawing/2014/main" id="{6C4C83EE-FA58-49A5-8CC0-86D8DAD477DF}"/>
                </a:ext>
              </a:extLst>
            </p:cNvPr>
            <p:cNvSpPr/>
            <p:nvPr/>
          </p:nvSpPr>
          <p:spPr>
            <a:xfrm>
              <a:off x="6280010" y="5151502"/>
              <a:ext cx="109740" cy="63639"/>
            </a:xfrm>
            <a:custGeom>
              <a:avLst/>
              <a:gdLst>
                <a:gd name="connsiteX0" fmla="*/ -336 w 36052"/>
                <a:gd name="connsiteY0" fmla="*/ 10291 h 20907"/>
                <a:gd name="connsiteX1" fmla="*/ 1283 w 36052"/>
                <a:gd name="connsiteY1" fmla="*/ 12577 h 20907"/>
                <a:gd name="connsiteX2" fmla="*/ 3569 w 36052"/>
                <a:gd name="connsiteY2" fmla="*/ 13911 h 20907"/>
                <a:gd name="connsiteX3" fmla="*/ 13856 w 36052"/>
                <a:gd name="connsiteY3" fmla="*/ 19816 h 20907"/>
                <a:gd name="connsiteX4" fmla="*/ 21571 w 36052"/>
                <a:gd name="connsiteY4" fmla="*/ 19816 h 20907"/>
                <a:gd name="connsiteX5" fmla="*/ 31858 w 36052"/>
                <a:gd name="connsiteY5" fmla="*/ 13911 h 20907"/>
                <a:gd name="connsiteX6" fmla="*/ 34144 w 36052"/>
                <a:gd name="connsiteY6" fmla="*/ 12577 h 20907"/>
                <a:gd name="connsiteX7" fmla="*/ 35573 w 36052"/>
                <a:gd name="connsiteY7" fmla="*/ 9529 h 20907"/>
                <a:gd name="connsiteX8" fmla="*/ 34144 w 36052"/>
                <a:gd name="connsiteY8" fmla="*/ 8100 h 20907"/>
                <a:gd name="connsiteX9" fmla="*/ 21571 w 36052"/>
                <a:gd name="connsiteY9" fmla="*/ 766 h 20907"/>
                <a:gd name="connsiteX10" fmla="*/ 13856 w 36052"/>
                <a:gd name="connsiteY10" fmla="*/ 766 h 20907"/>
                <a:gd name="connsiteX11" fmla="*/ 1283 w 36052"/>
                <a:gd name="connsiteY11" fmla="*/ 8100 h 20907"/>
                <a:gd name="connsiteX12" fmla="*/ -336 w 36052"/>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907">
                  <a:moveTo>
                    <a:pt x="-336" y="10291"/>
                  </a:moveTo>
                  <a:cubicBezTo>
                    <a:pt x="-232" y="11282"/>
                    <a:pt x="378" y="12148"/>
                    <a:pt x="1283" y="12577"/>
                  </a:cubicBezTo>
                  <a:lnTo>
                    <a:pt x="3569" y="13911"/>
                  </a:lnTo>
                  <a:lnTo>
                    <a:pt x="13856" y="19816"/>
                  </a:lnTo>
                  <a:cubicBezTo>
                    <a:pt x="16275" y="21054"/>
                    <a:pt x="19152" y="21054"/>
                    <a:pt x="21571" y="19816"/>
                  </a:cubicBezTo>
                  <a:lnTo>
                    <a:pt x="31858" y="13911"/>
                  </a:lnTo>
                  <a:lnTo>
                    <a:pt x="34144" y="12577"/>
                  </a:lnTo>
                  <a:cubicBezTo>
                    <a:pt x="35382" y="12129"/>
                    <a:pt x="36020" y="10758"/>
                    <a:pt x="35573" y="9529"/>
                  </a:cubicBezTo>
                  <a:cubicBezTo>
                    <a:pt x="35325" y="8862"/>
                    <a:pt x="34811" y="8338"/>
                    <a:pt x="34144" y="8100"/>
                  </a:cubicBezTo>
                  <a:lnTo>
                    <a:pt x="21571" y="766"/>
                  </a:lnTo>
                  <a:cubicBezTo>
                    <a:pt x="19152" y="-472"/>
                    <a:pt x="16275" y="-472"/>
                    <a:pt x="13856" y="766"/>
                  </a:cubicBezTo>
                  <a:lnTo>
                    <a:pt x="1283" y="8100"/>
                  </a:lnTo>
                  <a:cubicBezTo>
                    <a:pt x="407" y="8510"/>
                    <a:pt x="-203" y="933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586" name="ïsľïḋê">
              <a:extLst>
                <a:ext uri="{FF2B5EF4-FFF2-40B4-BE49-F238E27FC236}">
                  <a16:creationId xmlns:a16="http://schemas.microsoft.com/office/drawing/2014/main" id="{D20FF1AE-4C86-41AD-ABD9-9B3110BE7C67}"/>
                </a:ext>
              </a:extLst>
            </p:cNvPr>
            <p:cNvSpPr/>
            <p:nvPr/>
          </p:nvSpPr>
          <p:spPr>
            <a:xfrm>
              <a:off x="6281967" y="5152881"/>
              <a:ext cx="105244" cy="61104"/>
            </a:xfrm>
            <a:custGeom>
              <a:avLst/>
              <a:gdLst>
                <a:gd name="connsiteX0" fmla="*/ 1021 w 34575"/>
                <a:gd name="connsiteY0" fmla="*/ 12029 h 20074"/>
                <a:gd name="connsiteX1" fmla="*/ 13118 w 34575"/>
                <a:gd name="connsiteY1" fmla="*/ 18983 h 20074"/>
                <a:gd name="connsiteX2" fmla="*/ 20547 w 34575"/>
                <a:gd name="connsiteY2" fmla="*/ 18983 h 20074"/>
                <a:gd name="connsiteX3" fmla="*/ 32739 w 34575"/>
                <a:gd name="connsiteY3" fmla="*/ 12029 h 20074"/>
                <a:gd name="connsiteX4" fmla="*/ 32739 w 34575"/>
                <a:gd name="connsiteY4" fmla="*/ 7743 h 20074"/>
                <a:gd name="connsiteX5" fmla="*/ 20547 w 34575"/>
                <a:gd name="connsiteY5" fmla="*/ 695 h 20074"/>
                <a:gd name="connsiteX6" fmla="*/ 13118 w 34575"/>
                <a:gd name="connsiteY6" fmla="*/ 695 h 20074"/>
                <a:gd name="connsiteX7" fmla="*/ 1021 w 34575"/>
                <a:gd name="connsiteY7" fmla="*/ 7743 h 20074"/>
                <a:gd name="connsiteX8" fmla="*/ 1021 w 34575"/>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575" h="20074">
                  <a:moveTo>
                    <a:pt x="1021" y="12029"/>
                  </a:moveTo>
                  <a:lnTo>
                    <a:pt x="13118" y="18983"/>
                  </a:lnTo>
                  <a:cubicBezTo>
                    <a:pt x="15442" y="20221"/>
                    <a:pt x="18223" y="20221"/>
                    <a:pt x="20547" y="18983"/>
                  </a:cubicBezTo>
                  <a:lnTo>
                    <a:pt x="32739" y="12029"/>
                  </a:lnTo>
                  <a:cubicBezTo>
                    <a:pt x="34740" y="10791"/>
                    <a:pt x="34740" y="8886"/>
                    <a:pt x="32739" y="7743"/>
                  </a:cubicBezTo>
                  <a:lnTo>
                    <a:pt x="20547" y="695"/>
                  </a:lnTo>
                  <a:cubicBezTo>
                    <a:pt x="18204" y="-448"/>
                    <a:pt x="15461" y="-448"/>
                    <a:pt x="13118" y="695"/>
                  </a:cubicBezTo>
                  <a:lnTo>
                    <a:pt x="1021" y="7743"/>
                  </a:lnTo>
                  <a:cubicBezTo>
                    <a:pt x="-789" y="8886"/>
                    <a:pt x="-789" y="10791"/>
                    <a:pt x="1021" y="12029"/>
                  </a:cubicBezTo>
                  <a:close/>
                </a:path>
              </a:pathLst>
            </a:custGeom>
            <a:solidFill>
              <a:srgbClr val="D1D9E8"/>
            </a:solidFill>
            <a:ln w="9525" cap="flat">
              <a:noFill/>
              <a:prstDash val="solid"/>
              <a:miter/>
            </a:ln>
          </p:spPr>
          <p:txBody>
            <a:bodyPr rtlCol="0" anchor="ctr"/>
            <a:lstStyle/>
            <a:p>
              <a:endParaRPr lang="zh-CN" altLang="en-US"/>
            </a:p>
          </p:txBody>
        </p:sp>
        <p:sp>
          <p:nvSpPr>
            <p:cNvPr id="587" name="íṥľíḓè">
              <a:extLst>
                <a:ext uri="{FF2B5EF4-FFF2-40B4-BE49-F238E27FC236}">
                  <a16:creationId xmlns:a16="http://schemas.microsoft.com/office/drawing/2014/main" id="{62F1AA72-40F8-455A-8A34-0D86FFF8AFA1}"/>
                </a:ext>
              </a:extLst>
            </p:cNvPr>
            <p:cNvSpPr/>
            <p:nvPr/>
          </p:nvSpPr>
          <p:spPr>
            <a:xfrm>
              <a:off x="6280010" y="5183323"/>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3 w 36099"/>
                <a:gd name="connsiteY6" fmla="*/ 6981 h 17597"/>
                <a:gd name="connsiteX7" fmla="*/ 35763 w 36099"/>
                <a:gd name="connsiteY7" fmla="*/ -163 h 17597"/>
                <a:gd name="connsiteX8" fmla="*/ 34144 w 36099"/>
                <a:gd name="connsiteY8" fmla="*/ 2123 h 17597"/>
                <a:gd name="connsiteX9" fmla="*/ 31858 w 36099"/>
                <a:gd name="connsiteY9" fmla="*/ 3457 h 17597"/>
                <a:gd name="connsiteX10" fmla="*/ 21571 w 36099"/>
                <a:gd name="connsiteY10" fmla="*/ 9362 h 17597"/>
                <a:gd name="connsiteX11" fmla="*/ 13856 w 36099"/>
                <a:gd name="connsiteY11" fmla="*/ 9362 h 17597"/>
                <a:gd name="connsiteX12" fmla="*/ 3569 w 36099"/>
                <a:gd name="connsiteY12" fmla="*/ 3457 h 17597"/>
                <a:gd name="connsiteX13" fmla="*/ 1283 w 36099"/>
                <a:gd name="connsiteY13" fmla="*/ 2123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03" y="8029"/>
                    <a:pt x="407" y="8857"/>
                    <a:pt x="1283" y="9267"/>
                  </a:cubicBezTo>
                  <a:lnTo>
                    <a:pt x="13856" y="16506"/>
                  </a:lnTo>
                  <a:cubicBezTo>
                    <a:pt x="16275" y="17744"/>
                    <a:pt x="19152" y="17744"/>
                    <a:pt x="21571" y="16506"/>
                  </a:cubicBezTo>
                  <a:lnTo>
                    <a:pt x="34144" y="9267"/>
                  </a:lnTo>
                  <a:cubicBezTo>
                    <a:pt x="35030" y="8829"/>
                    <a:pt x="35639" y="7962"/>
                    <a:pt x="35763" y="6981"/>
                  </a:cubicBezTo>
                  <a:lnTo>
                    <a:pt x="35763" y="-163"/>
                  </a:lnTo>
                  <a:cubicBezTo>
                    <a:pt x="35659" y="828"/>
                    <a:pt x="35049" y="1695"/>
                    <a:pt x="34144" y="2123"/>
                  </a:cubicBezTo>
                  <a:lnTo>
                    <a:pt x="31858" y="3457"/>
                  </a:lnTo>
                  <a:lnTo>
                    <a:pt x="21571" y="9362"/>
                  </a:lnTo>
                  <a:cubicBezTo>
                    <a:pt x="19152" y="10601"/>
                    <a:pt x="16275" y="10601"/>
                    <a:pt x="13856" y="9362"/>
                  </a:cubicBezTo>
                  <a:lnTo>
                    <a:pt x="3569" y="3457"/>
                  </a:lnTo>
                  <a:lnTo>
                    <a:pt x="1283" y="2123"/>
                  </a:lnTo>
                  <a:cubicBezTo>
                    <a:pt x="378" y="1695"/>
                    <a:pt x="-232"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588" name="ïsľide">
              <a:extLst>
                <a:ext uri="{FF2B5EF4-FFF2-40B4-BE49-F238E27FC236}">
                  <a16:creationId xmlns:a16="http://schemas.microsoft.com/office/drawing/2014/main" id="{FC26F811-B9E7-4396-BA1D-E793AEF14B45}"/>
                </a:ext>
              </a:extLst>
            </p:cNvPr>
            <p:cNvSpPr/>
            <p:nvPr/>
          </p:nvSpPr>
          <p:spPr>
            <a:xfrm>
              <a:off x="6357423" y="5196153"/>
              <a:ext cx="109594" cy="63639"/>
            </a:xfrm>
            <a:custGeom>
              <a:avLst/>
              <a:gdLst>
                <a:gd name="connsiteX0" fmla="*/ -336 w 36004"/>
                <a:gd name="connsiteY0" fmla="*/ 10291 h 20907"/>
                <a:gd name="connsiteX1" fmla="*/ 1188 w 36004"/>
                <a:gd name="connsiteY1" fmla="*/ 12577 h 20907"/>
                <a:gd name="connsiteX2" fmla="*/ 3569 w 36004"/>
                <a:gd name="connsiteY2" fmla="*/ 13910 h 20907"/>
                <a:gd name="connsiteX3" fmla="*/ 13856 w 36004"/>
                <a:gd name="connsiteY3" fmla="*/ 19816 h 20907"/>
                <a:gd name="connsiteX4" fmla="*/ 21476 w 36004"/>
                <a:gd name="connsiteY4" fmla="*/ 19816 h 20907"/>
                <a:gd name="connsiteX5" fmla="*/ 31763 w 36004"/>
                <a:gd name="connsiteY5" fmla="*/ 13910 h 20907"/>
                <a:gd name="connsiteX6" fmla="*/ 34144 w 36004"/>
                <a:gd name="connsiteY6" fmla="*/ 12577 h 20907"/>
                <a:gd name="connsiteX7" fmla="*/ 35668 w 36004"/>
                <a:gd name="connsiteY7" fmla="*/ 10291 h 20907"/>
                <a:gd name="connsiteX8" fmla="*/ 34144 w 36004"/>
                <a:gd name="connsiteY8" fmla="*/ 8100 h 20907"/>
                <a:gd name="connsiteX9" fmla="*/ 21476 w 36004"/>
                <a:gd name="connsiteY9" fmla="*/ 766 h 20907"/>
                <a:gd name="connsiteX10" fmla="*/ 13856 w 36004"/>
                <a:gd name="connsiteY10" fmla="*/ 766 h 20907"/>
                <a:gd name="connsiteX11" fmla="*/ 1188 w 36004"/>
                <a:gd name="connsiteY11" fmla="*/ 8100 h 20907"/>
                <a:gd name="connsiteX12" fmla="*/ -336 w 36004"/>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907">
                  <a:moveTo>
                    <a:pt x="-336" y="10291"/>
                  </a:moveTo>
                  <a:cubicBezTo>
                    <a:pt x="-269" y="11272"/>
                    <a:pt x="312" y="12139"/>
                    <a:pt x="1188" y="12577"/>
                  </a:cubicBezTo>
                  <a:lnTo>
                    <a:pt x="3569" y="13910"/>
                  </a:lnTo>
                  <a:lnTo>
                    <a:pt x="13856" y="19816"/>
                  </a:lnTo>
                  <a:cubicBezTo>
                    <a:pt x="16247" y="21054"/>
                    <a:pt x="19085" y="21054"/>
                    <a:pt x="21476" y="19816"/>
                  </a:cubicBezTo>
                  <a:lnTo>
                    <a:pt x="31763" y="13910"/>
                  </a:lnTo>
                  <a:lnTo>
                    <a:pt x="34144" y="12577"/>
                  </a:lnTo>
                  <a:cubicBezTo>
                    <a:pt x="35021" y="12139"/>
                    <a:pt x="35602" y="11272"/>
                    <a:pt x="35668" y="10291"/>
                  </a:cubicBezTo>
                  <a:cubicBezTo>
                    <a:pt x="35611" y="9339"/>
                    <a:pt x="35021" y="8491"/>
                    <a:pt x="34144" y="8100"/>
                  </a:cubicBezTo>
                  <a:lnTo>
                    <a:pt x="21476" y="766"/>
                  </a:lnTo>
                  <a:cubicBezTo>
                    <a:pt x="19085" y="-472"/>
                    <a:pt x="16247" y="-472"/>
                    <a:pt x="13856" y="766"/>
                  </a:cubicBezTo>
                  <a:lnTo>
                    <a:pt x="1188" y="8100"/>
                  </a:lnTo>
                  <a:cubicBezTo>
                    <a:pt x="312" y="8491"/>
                    <a:pt x="-279"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589" name="i$ļiḑê">
              <a:extLst>
                <a:ext uri="{FF2B5EF4-FFF2-40B4-BE49-F238E27FC236}">
                  <a16:creationId xmlns:a16="http://schemas.microsoft.com/office/drawing/2014/main" id="{7FEF0632-5819-4DD9-AD59-02EBA4BA15A8}"/>
                </a:ext>
              </a:extLst>
            </p:cNvPr>
            <p:cNvSpPr/>
            <p:nvPr/>
          </p:nvSpPr>
          <p:spPr>
            <a:xfrm>
              <a:off x="6359234" y="5197313"/>
              <a:ext cx="105898" cy="61104"/>
            </a:xfrm>
            <a:custGeom>
              <a:avLst/>
              <a:gdLst>
                <a:gd name="connsiteX0" fmla="*/ 1164 w 34790"/>
                <a:gd name="connsiteY0" fmla="*/ 12006 h 20074"/>
                <a:gd name="connsiteX1" fmla="*/ 13356 w 34790"/>
                <a:gd name="connsiteY1" fmla="*/ 19054 h 20074"/>
                <a:gd name="connsiteX2" fmla="*/ 20785 w 34790"/>
                <a:gd name="connsiteY2" fmla="*/ 19054 h 20074"/>
                <a:gd name="connsiteX3" fmla="*/ 32882 w 34790"/>
                <a:gd name="connsiteY3" fmla="*/ 12006 h 20074"/>
                <a:gd name="connsiteX4" fmla="*/ 32882 w 34790"/>
                <a:gd name="connsiteY4" fmla="*/ 7719 h 20074"/>
                <a:gd name="connsiteX5" fmla="*/ 20785 w 34790"/>
                <a:gd name="connsiteY5" fmla="*/ 766 h 20074"/>
                <a:gd name="connsiteX6" fmla="*/ 13356 w 34790"/>
                <a:gd name="connsiteY6" fmla="*/ 766 h 20074"/>
                <a:gd name="connsiteX7" fmla="*/ 1164 w 34790"/>
                <a:gd name="connsiteY7" fmla="*/ 7719 h 20074"/>
                <a:gd name="connsiteX8" fmla="*/ 1164 w 34790"/>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4">
                  <a:moveTo>
                    <a:pt x="1164" y="12006"/>
                  </a:moveTo>
                  <a:lnTo>
                    <a:pt x="13356" y="19054"/>
                  </a:lnTo>
                  <a:cubicBezTo>
                    <a:pt x="15699" y="20197"/>
                    <a:pt x="18442" y="20197"/>
                    <a:pt x="20785" y="19054"/>
                  </a:cubicBezTo>
                  <a:lnTo>
                    <a:pt x="32882" y="12006"/>
                  </a:lnTo>
                  <a:cubicBezTo>
                    <a:pt x="34978" y="10863"/>
                    <a:pt x="34978" y="8958"/>
                    <a:pt x="32882" y="7719"/>
                  </a:cubicBezTo>
                  <a:lnTo>
                    <a:pt x="20785" y="766"/>
                  </a:lnTo>
                  <a:cubicBezTo>
                    <a:pt x="18461" y="-472"/>
                    <a:pt x="15680" y="-472"/>
                    <a:pt x="13356" y="766"/>
                  </a:cubicBezTo>
                  <a:lnTo>
                    <a:pt x="1164" y="7719"/>
                  </a:lnTo>
                  <a:cubicBezTo>
                    <a:pt x="-836" y="8958"/>
                    <a:pt x="-836" y="10863"/>
                    <a:pt x="1164" y="12006"/>
                  </a:cubicBezTo>
                  <a:close/>
                </a:path>
              </a:pathLst>
            </a:custGeom>
            <a:solidFill>
              <a:srgbClr val="D1D9E8"/>
            </a:solidFill>
            <a:ln w="9525" cap="flat">
              <a:noFill/>
              <a:prstDash val="solid"/>
              <a:miter/>
            </a:ln>
          </p:spPr>
          <p:txBody>
            <a:bodyPr rtlCol="0" anchor="ctr"/>
            <a:lstStyle/>
            <a:p>
              <a:endParaRPr lang="zh-CN" altLang="en-US"/>
            </a:p>
          </p:txBody>
        </p:sp>
        <p:sp>
          <p:nvSpPr>
            <p:cNvPr id="590" name="íṡḻïďê">
              <a:extLst>
                <a:ext uri="{FF2B5EF4-FFF2-40B4-BE49-F238E27FC236}">
                  <a16:creationId xmlns:a16="http://schemas.microsoft.com/office/drawing/2014/main" id="{026DA0D2-F80F-40DD-ABE7-45E0118FF8AD}"/>
                </a:ext>
              </a:extLst>
            </p:cNvPr>
            <p:cNvSpPr/>
            <p:nvPr/>
          </p:nvSpPr>
          <p:spPr>
            <a:xfrm>
              <a:off x="6357423" y="5227971"/>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4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4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20"/>
                    <a:pt x="35582" y="7953"/>
                    <a:pt x="35668" y="6981"/>
                  </a:cubicBezTo>
                  <a:lnTo>
                    <a:pt x="35668" y="-163"/>
                  </a:lnTo>
                  <a:cubicBezTo>
                    <a:pt x="35602" y="819"/>
                    <a:pt x="35021" y="1685"/>
                    <a:pt x="34144" y="2124"/>
                  </a:cubicBezTo>
                  <a:lnTo>
                    <a:pt x="31763" y="3457"/>
                  </a:lnTo>
                  <a:lnTo>
                    <a:pt x="21476" y="9362"/>
                  </a:lnTo>
                  <a:cubicBezTo>
                    <a:pt x="19085" y="10601"/>
                    <a:pt x="16247" y="10601"/>
                    <a:pt x="13856" y="9362"/>
                  </a:cubicBezTo>
                  <a:lnTo>
                    <a:pt x="3569" y="3457"/>
                  </a:lnTo>
                  <a:lnTo>
                    <a:pt x="1188" y="2124"/>
                  </a:lnTo>
                  <a:cubicBezTo>
                    <a:pt x="312" y="1685"/>
                    <a:pt x="-269" y="819"/>
                    <a:pt x="-336" y="-163"/>
                  </a:cubicBezTo>
                  <a:close/>
                </a:path>
              </a:pathLst>
            </a:custGeom>
            <a:solidFill>
              <a:srgbClr val="BF4200"/>
            </a:solidFill>
            <a:ln w="9525" cap="flat">
              <a:noFill/>
              <a:prstDash val="solid"/>
              <a:miter/>
            </a:ln>
          </p:spPr>
          <p:txBody>
            <a:bodyPr rtlCol="0" anchor="ctr"/>
            <a:lstStyle/>
            <a:p>
              <a:endParaRPr lang="zh-CN" altLang="en-US"/>
            </a:p>
          </p:txBody>
        </p:sp>
        <p:sp>
          <p:nvSpPr>
            <p:cNvPr id="591" name="i$ḻíḓè">
              <a:extLst>
                <a:ext uri="{FF2B5EF4-FFF2-40B4-BE49-F238E27FC236}">
                  <a16:creationId xmlns:a16="http://schemas.microsoft.com/office/drawing/2014/main" id="{0FF5EF65-87DE-419E-A32E-011D6A1C6FCB}"/>
                </a:ext>
              </a:extLst>
            </p:cNvPr>
            <p:cNvSpPr/>
            <p:nvPr/>
          </p:nvSpPr>
          <p:spPr>
            <a:xfrm>
              <a:off x="6434544" y="5240801"/>
              <a:ext cx="109883" cy="63588"/>
            </a:xfrm>
            <a:custGeom>
              <a:avLst/>
              <a:gdLst>
                <a:gd name="connsiteX0" fmla="*/ -336 w 36099"/>
                <a:gd name="connsiteY0" fmla="*/ 10291 h 20890"/>
                <a:gd name="connsiteX1" fmla="*/ 1283 w 36099"/>
                <a:gd name="connsiteY1" fmla="*/ 12577 h 20890"/>
                <a:gd name="connsiteX2" fmla="*/ 3569 w 36099"/>
                <a:gd name="connsiteY2" fmla="*/ 13911 h 20890"/>
                <a:gd name="connsiteX3" fmla="*/ 13856 w 36099"/>
                <a:gd name="connsiteY3" fmla="*/ 19721 h 20890"/>
                <a:gd name="connsiteX4" fmla="*/ 21571 w 36099"/>
                <a:gd name="connsiteY4" fmla="*/ 19721 h 20890"/>
                <a:gd name="connsiteX5" fmla="*/ 31858 w 36099"/>
                <a:gd name="connsiteY5" fmla="*/ 13911 h 20890"/>
                <a:gd name="connsiteX6" fmla="*/ 34144 w 36099"/>
                <a:gd name="connsiteY6" fmla="*/ 12577 h 20890"/>
                <a:gd name="connsiteX7" fmla="*/ 35764 w 36099"/>
                <a:gd name="connsiteY7" fmla="*/ 10291 h 20890"/>
                <a:gd name="connsiteX8" fmla="*/ 34144 w 36099"/>
                <a:gd name="connsiteY8" fmla="*/ 8101 h 20890"/>
                <a:gd name="connsiteX9" fmla="*/ 21571 w 36099"/>
                <a:gd name="connsiteY9" fmla="*/ 766 h 20890"/>
                <a:gd name="connsiteX10" fmla="*/ 13856 w 36099"/>
                <a:gd name="connsiteY10" fmla="*/ 766 h 20890"/>
                <a:gd name="connsiteX11" fmla="*/ 1283 w 36099"/>
                <a:gd name="connsiteY11" fmla="*/ 8101 h 20890"/>
                <a:gd name="connsiteX12" fmla="*/ -336 w 36099"/>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99" h="20890">
                  <a:moveTo>
                    <a:pt x="-336" y="10291"/>
                  </a:moveTo>
                  <a:cubicBezTo>
                    <a:pt x="-269" y="11301"/>
                    <a:pt x="359" y="12187"/>
                    <a:pt x="1283" y="12577"/>
                  </a:cubicBezTo>
                  <a:lnTo>
                    <a:pt x="3569" y="13911"/>
                  </a:lnTo>
                  <a:lnTo>
                    <a:pt x="13856" y="19721"/>
                  </a:lnTo>
                  <a:cubicBezTo>
                    <a:pt x="16256" y="21064"/>
                    <a:pt x="19171" y="21064"/>
                    <a:pt x="21571" y="19721"/>
                  </a:cubicBezTo>
                  <a:lnTo>
                    <a:pt x="31858" y="13911"/>
                  </a:lnTo>
                  <a:lnTo>
                    <a:pt x="34144" y="12577"/>
                  </a:lnTo>
                  <a:cubicBezTo>
                    <a:pt x="35049" y="12149"/>
                    <a:pt x="35659" y="11282"/>
                    <a:pt x="35764" y="10291"/>
                  </a:cubicBezTo>
                  <a:cubicBezTo>
                    <a:pt x="35649" y="9329"/>
                    <a:pt x="35030" y="8491"/>
                    <a:pt x="34144" y="8101"/>
                  </a:cubicBezTo>
                  <a:lnTo>
                    <a:pt x="21571" y="766"/>
                  </a:lnTo>
                  <a:cubicBezTo>
                    <a:pt x="19152" y="-472"/>
                    <a:pt x="16275" y="-472"/>
                    <a:pt x="13856" y="766"/>
                  </a:cubicBezTo>
                  <a:lnTo>
                    <a:pt x="1283" y="8101"/>
                  </a:lnTo>
                  <a:cubicBezTo>
                    <a:pt x="369" y="8462"/>
                    <a:pt x="-260" y="9310"/>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592" name="íśḻíḑe">
              <a:extLst>
                <a:ext uri="{FF2B5EF4-FFF2-40B4-BE49-F238E27FC236}">
                  <a16:creationId xmlns:a16="http://schemas.microsoft.com/office/drawing/2014/main" id="{24D59B43-98DC-4493-84F9-D62FA869751C}"/>
                </a:ext>
              </a:extLst>
            </p:cNvPr>
            <p:cNvSpPr/>
            <p:nvPr/>
          </p:nvSpPr>
          <p:spPr>
            <a:xfrm>
              <a:off x="6436428" y="5241961"/>
              <a:ext cx="105898" cy="61101"/>
            </a:xfrm>
            <a:custGeom>
              <a:avLst/>
              <a:gdLst>
                <a:gd name="connsiteX0" fmla="*/ 1235 w 34790"/>
                <a:gd name="connsiteY0" fmla="*/ 12006 h 20073"/>
                <a:gd name="connsiteX1" fmla="*/ 13332 w 34790"/>
                <a:gd name="connsiteY1" fmla="*/ 19054 h 20073"/>
                <a:gd name="connsiteX2" fmla="*/ 20761 w 34790"/>
                <a:gd name="connsiteY2" fmla="*/ 19054 h 20073"/>
                <a:gd name="connsiteX3" fmla="*/ 32953 w 34790"/>
                <a:gd name="connsiteY3" fmla="*/ 12006 h 20073"/>
                <a:gd name="connsiteX4" fmla="*/ 32953 w 34790"/>
                <a:gd name="connsiteY4" fmla="*/ 7719 h 20073"/>
                <a:gd name="connsiteX5" fmla="*/ 20761 w 34790"/>
                <a:gd name="connsiteY5" fmla="*/ 766 h 20073"/>
                <a:gd name="connsiteX6" fmla="*/ 13332 w 34790"/>
                <a:gd name="connsiteY6" fmla="*/ 766 h 20073"/>
                <a:gd name="connsiteX7" fmla="*/ 1235 w 34790"/>
                <a:gd name="connsiteY7" fmla="*/ 7719 h 20073"/>
                <a:gd name="connsiteX8" fmla="*/ 1235 w 34790"/>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3">
                  <a:moveTo>
                    <a:pt x="1235" y="12006"/>
                  </a:moveTo>
                  <a:lnTo>
                    <a:pt x="13332" y="19054"/>
                  </a:lnTo>
                  <a:cubicBezTo>
                    <a:pt x="15675" y="20197"/>
                    <a:pt x="18418" y="20197"/>
                    <a:pt x="20761" y="19054"/>
                  </a:cubicBezTo>
                  <a:lnTo>
                    <a:pt x="32953" y="12006"/>
                  </a:lnTo>
                  <a:cubicBezTo>
                    <a:pt x="34954" y="10863"/>
                    <a:pt x="34954" y="8957"/>
                    <a:pt x="32953" y="7719"/>
                  </a:cubicBezTo>
                  <a:lnTo>
                    <a:pt x="20761" y="766"/>
                  </a:lnTo>
                  <a:cubicBezTo>
                    <a:pt x="18437" y="-472"/>
                    <a:pt x="15656" y="-472"/>
                    <a:pt x="13332" y="766"/>
                  </a:cubicBezTo>
                  <a:lnTo>
                    <a:pt x="1235" y="7719"/>
                  </a:lnTo>
                  <a:cubicBezTo>
                    <a:pt x="-860" y="8957"/>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593" name="îṩ1iḑè">
              <a:extLst>
                <a:ext uri="{FF2B5EF4-FFF2-40B4-BE49-F238E27FC236}">
                  <a16:creationId xmlns:a16="http://schemas.microsoft.com/office/drawing/2014/main" id="{33FC04AF-499E-45CE-999D-7075D5EA97C0}"/>
                </a:ext>
              </a:extLst>
            </p:cNvPr>
            <p:cNvSpPr/>
            <p:nvPr/>
          </p:nvSpPr>
          <p:spPr>
            <a:xfrm>
              <a:off x="6434544" y="5272623"/>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4 w 36099"/>
                <a:gd name="connsiteY6" fmla="*/ 6981 h 17597"/>
                <a:gd name="connsiteX7" fmla="*/ 35764 w 36099"/>
                <a:gd name="connsiteY7" fmla="*/ -163 h 17597"/>
                <a:gd name="connsiteX8" fmla="*/ 34144 w 36099"/>
                <a:gd name="connsiteY8" fmla="*/ 2123 h 17597"/>
                <a:gd name="connsiteX9" fmla="*/ 31858 w 36099"/>
                <a:gd name="connsiteY9" fmla="*/ 3457 h 17597"/>
                <a:gd name="connsiteX10" fmla="*/ 21571 w 36099"/>
                <a:gd name="connsiteY10" fmla="*/ 9267 h 17597"/>
                <a:gd name="connsiteX11" fmla="*/ 13856 w 36099"/>
                <a:gd name="connsiteY11" fmla="*/ 9267 h 17597"/>
                <a:gd name="connsiteX12" fmla="*/ 3569 w 36099"/>
                <a:gd name="connsiteY12" fmla="*/ 3457 h 17597"/>
                <a:gd name="connsiteX13" fmla="*/ 1283 w 36099"/>
                <a:gd name="connsiteY13" fmla="*/ 2123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41" y="8048"/>
                    <a:pt x="378" y="8886"/>
                    <a:pt x="1283" y="9267"/>
                  </a:cubicBezTo>
                  <a:lnTo>
                    <a:pt x="13856" y="16506"/>
                  </a:lnTo>
                  <a:cubicBezTo>
                    <a:pt x="16275" y="17744"/>
                    <a:pt x="19152" y="17744"/>
                    <a:pt x="21571" y="16506"/>
                  </a:cubicBezTo>
                  <a:lnTo>
                    <a:pt x="34144" y="9267"/>
                  </a:lnTo>
                  <a:cubicBezTo>
                    <a:pt x="35030" y="8829"/>
                    <a:pt x="35640" y="7962"/>
                    <a:pt x="35764" y="6981"/>
                  </a:cubicBezTo>
                  <a:lnTo>
                    <a:pt x="35764" y="-163"/>
                  </a:lnTo>
                  <a:cubicBezTo>
                    <a:pt x="35659" y="828"/>
                    <a:pt x="35049" y="1695"/>
                    <a:pt x="34144" y="2123"/>
                  </a:cubicBezTo>
                  <a:lnTo>
                    <a:pt x="31858" y="3457"/>
                  </a:lnTo>
                  <a:lnTo>
                    <a:pt x="21571" y="9267"/>
                  </a:lnTo>
                  <a:cubicBezTo>
                    <a:pt x="19171" y="10610"/>
                    <a:pt x="16256" y="10610"/>
                    <a:pt x="13856" y="9267"/>
                  </a:cubicBezTo>
                  <a:lnTo>
                    <a:pt x="3569" y="3457"/>
                  </a:lnTo>
                  <a:lnTo>
                    <a:pt x="1283" y="2123"/>
                  </a:lnTo>
                  <a:cubicBezTo>
                    <a:pt x="359" y="1733"/>
                    <a:pt x="-269" y="847"/>
                    <a:pt x="-336" y="-163"/>
                  </a:cubicBezTo>
                  <a:close/>
                </a:path>
              </a:pathLst>
            </a:custGeom>
            <a:solidFill>
              <a:srgbClr val="BF4200"/>
            </a:solidFill>
            <a:ln w="9525" cap="flat">
              <a:noFill/>
              <a:prstDash val="solid"/>
              <a:miter/>
            </a:ln>
          </p:spPr>
          <p:txBody>
            <a:bodyPr rtlCol="0" anchor="ctr"/>
            <a:lstStyle/>
            <a:p>
              <a:endParaRPr lang="zh-CN" altLang="en-US"/>
            </a:p>
          </p:txBody>
        </p:sp>
        <p:sp>
          <p:nvSpPr>
            <p:cNvPr id="594" name="ïSḷídè">
              <a:extLst>
                <a:ext uri="{FF2B5EF4-FFF2-40B4-BE49-F238E27FC236}">
                  <a16:creationId xmlns:a16="http://schemas.microsoft.com/office/drawing/2014/main" id="{1368FFB5-4917-434A-AA35-B07E56E16A54}"/>
                </a:ext>
              </a:extLst>
            </p:cNvPr>
            <p:cNvSpPr/>
            <p:nvPr/>
          </p:nvSpPr>
          <p:spPr>
            <a:xfrm>
              <a:off x="5235377" y="4638898"/>
              <a:ext cx="109594" cy="63639"/>
            </a:xfrm>
            <a:custGeom>
              <a:avLst/>
              <a:gdLst>
                <a:gd name="connsiteX0" fmla="*/ -336 w 36004"/>
                <a:gd name="connsiteY0" fmla="*/ 10291 h 20907"/>
                <a:gd name="connsiteX1" fmla="*/ 1188 w 36004"/>
                <a:gd name="connsiteY1" fmla="*/ 12577 h 20907"/>
                <a:gd name="connsiteX2" fmla="*/ 3569 w 36004"/>
                <a:gd name="connsiteY2" fmla="*/ 13910 h 20907"/>
                <a:gd name="connsiteX3" fmla="*/ 13856 w 36004"/>
                <a:gd name="connsiteY3" fmla="*/ 19816 h 20907"/>
                <a:gd name="connsiteX4" fmla="*/ 21476 w 36004"/>
                <a:gd name="connsiteY4" fmla="*/ 19816 h 20907"/>
                <a:gd name="connsiteX5" fmla="*/ 31763 w 36004"/>
                <a:gd name="connsiteY5" fmla="*/ 13910 h 20907"/>
                <a:gd name="connsiteX6" fmla="*/ 34144 w 36004"/>
                <a:gd name="connsiteY6" fmla="*/ 12577 h 20907"/>
                <a:gd name="connsiteX7" fmla="*/ 35668 w 36004"/>
                <a:gd name="connsiteY7" fmla="*/ 10291 h 20907"/>
                <a:gd name="connsiteX8" fmla="*/ 34144 w 36004"/>
                <a:gd name="connsiteY8" fmla="*/ 8100 h 20907"/>
                <a:gd name="connsiteX9" fmla="*/ 21476 w 36004"/>
                <a:gd name="connsiteY9" fmla="*/ 766 h 20907"/>
                <a:gd name="connsiteX10" fmla="*/ 13856 w 36004"/>
                <a:gd name="connsiteY10" fmla="*/ 766 h 20907"/>
                <a:gd name="connsiteX11" fmla="*/ 1188 w 36004"/>
                <a:gd name="connsiteY11" fmla="*/ 8100 h 20907"/>
                <a:gd name="connsiteX12" fmla="*/ -336 w 36004"/>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907">
                  <a:moveTo>
                    <a:pt x="-336" y="10291"/>
                  </a:moveTo>
                  <a:cubicBezTo>
                    <a:pt x="-270" y="11272"/>
                    <a:pt x="311" y="12139"/>
                    <a:pt x="1188" y="12577"/>
                  </a:cubicBezTo>
                  <a:lnTo>
                    <a:pt x="3569" y="13910"/>
                  </a:lnTo>
                  <a:lnTo>
                    <a:pt x="13856" y="19816"/>
                  </a:lnTo>
                  <a:cubicBezTo>
                    <a:pt x="16247" y="21054"/>
                    <a:pt x="19085" y="21054"/>
                    <a:pt x="21476" y="19816"/>
                  </a:cubicBezTo>
                  <a:lnTo>
                    <a:pt x="31763" y="13910"/>
                  </a:lnTo>
                  <a:lnTo>
                    <a:pt x="34144" y="12577"/>
                  </a:lnTo>
                  <a:cubicBezTo>
                    <a:pt x="35020" y="12139"/>
                    <a:pt x="35601" y="11272"/>
                    <a:pt x="35668" y="10291"/>
                  </a:cubicBezTo>
                  <a:cubicBezTo>
                    <a:pt x="35611" y="9339"/>
                    <a:pt x="35020" y="8491"/>
                    <a:pt x="34144" y="8100"/>
                  </a:cubicBezTo>
                  <a:lnTo>
                    <a:pt x="21476" y="766"/>
                  </a:lnTo>
                  <a:cubicBezTo>
                    <a:pt x="19085" y="-472"/>
                    <a:pt x="16247" y="-472"/>
                    <a:pt x="13856" y="766"/>
                  </a:cubicBezTo>
                  <a:lnTo>
                    <a:pt x="1188" y="8100"/>
                  </a:lnTo>
                  <a:cubicBezTo>
                    <a:pt x="311" y="8491"/>
                    <a:pt x="-279"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595" name="iṧļîḓê">
              <a:extLst>
                <a:ext uri="{FF2B5EF4-FFF2-40B4-BE49-F238E27FC236}">
                  <a16:creationId xmlns:a16="http://schemas.microsoft.com/office/drawing/2014/main" id="{F4784CA2-8CF3-4641-9E24-D97DC35F0074}"/>
                </a:ext>
              </a:extLst>
            </p:cNvPr>
            <p:cNvSpPr/>
            <p:nvPr/>
          </p:nvSpPr>
          <p:spPr>
            <a:xfrm>
              <a:off x="5237334" y="4640058"/>
              <a:ext cx="106330" cy="61104"/>
            </a:xfrm>
            <a:custGeom>
              <a:avLst/>
              <a:gdLst>
                <a:gd name="connsiteX0" fmla="*/ 1307 w 34932"/>
                <a:gd name="connsiteY0" fmla="*/ 12006 h 20074"/>
                <a:gd name="connsiteX1" fmla="*/ 13499 w 34932"/>
                <a:gd name="connsiteY1" fmla="*/ 19054 h 20074"/>
                <a:gd name="connsiteX2" fmla="*/ 20928 w 34932"/>
                <a:gd name="connsiteY2" fmla="*/ 19054 h 20074"/>
                <a:gd name="connsiteX3" fmla="*/ 33025 w 34932"/>
                <a:gd name="connsiteY3" fmla="*/ 12006 h 20074"/>
                <a:gd name="connsiteX4" fmla="*/ 33025 w 34932"/>
                <a:gd name="connsiteY4" fmla="*/ 7719 h 20074"/>
                <a:gd name="connsiteX5" fmla="*/ 20928 w 34932"/>
                <a:gd name="connsiteY5" fmla="*/ 766 h 20074"/>
                <a:gd name="connsiteX6" fmla="*/ 13499 w 34932"/>
                <a:gd name="connsiteY6" fmla="*/ 766 h 20074"/>
                <a:gd name="connsiteX7" fmla="*/ 1307 w 34932"/>
                <a:gd name="connsiteY7" fmla="*/ 7719 h 20074"/>
                <a:gd name="connsiteX8" fmla="*/ 1307 w 34932"/>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932" h="20074">
                  <a:moveTo>
                    <a:pt x="1307" y="12006"/>
                  </a:moveTo>
                  <a:lnTo>
                    <a:pt x="13499" y="19054"/>
                  </a:lnTo>
                  <a:cubicBezTo>
                    <a:pt x="15842" y="20197"/>
                    <a:pt x="18585" y="20197"/>
                    <a:pt x="20928" y="19054"/>
                  </a:cubicBezTo>
                  <a:lnTo>
                    <a:pt x="33025" y="12006"/>
                  </a:lnTo>
                  <a:cubicBezTo>
                    <a:pt x="35120" y="10863"/>
                    <a:pt x="35120" y="8958"/>
                    <a:pt x="33025" y="7719"/>
                  </a:cubicBezTo>
                  <a:lnTo>
                    <a:pt x="20928" y="766"/>
                  </a:lnTo>
                  <a:cubicBezTo>
                    <a:pt x="18604" y="-472"/>
                    <a:pt x="15823" y="-472"/>
                    <a:pt x="13499" y="766"/>
                  </a:cubicBezTo>
                  <a:lnTo>
                    <a:pt x="1307" y="7719"/>
                  </a:lnTo>
                  <a:cubicBezTo>
                    <a:pt x="-884" y="8958"/>
                    <a:pt x="-884" y="10863"/>
                    <a:pt x="1307" y="12006"/>
                  </a:cubicBezTo>
                  <a:close/>
                </a:path>
              </a:pathLst>
            </a:custGeom>
            <a:solidFill>
              <a:srgbClr val="D1D9E8"/>
            </a:solidFill>
            <a:ln w="9525" cap="flat">
              <a:noFill/>
              <a:prstDash val="solid"/>
              <a:miter/>
            </a:ln>
          </p:spPr>
          <p:txBody>
            <a:bodyPr rtlCol="0" anchor="ctr"/>
            <a:lstStyle/>
            <a:p>
              <a:endParaRPr lang="zh-CN" altLang="en-US"/>
            </a:p>
          </p:txBody>
        </p:sp>
        <p:sp>
          <p:nvSpPr>
            <p:cNvPr id="596" name="ïṣļîḋé">
              <a:extLst>
                <a:ext uri="{FF2B5EF4-FFF2-40B4-BE49-F238E27FC236}">
                  <a16:creationId xmlns:a16="http://schemas.microsoft.com/office/drawing/2014/main" id="{80240EE3-9ECB-4513-B93F-3A4EF117D7F2}"/>
                </a:ext>
              </a:extLst>
            </p:cNvPr>
            <p:cNvSpPr/>
            <p:nvPr/>
          </p:nvSpPr>
          <p:spPr>
            <a:xfrm>
              <a:off x="5235377" y="4670720"/>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4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4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20"/>
                    <a:pt x="35582" y="7953"/>
                    <a:pt x="35668" y="6981"/>
                  </a:cubicBezTo>
                  <a:lnTo>
                    <a:pt x="35668" y="-163"/>
                  </a:lnTo>
                  <a:cubicBezTo>
                    <a:pt x="35601" y="819"/>
                    <a:pt x="35020" y="1685"/>
                    <a:pt x="34144" y="2124"/>
                  </a:cubicBezTo>
                  <a:lnTo>
                    <a:pt x="31763" y="3457"/>
                  </a:lnTo>
                  <a:lnTo>
                    <a:pt x="21476" y="9362"/>
                  </a:lnTo>
                  <a:cubicBezTo>
                    <a:pt x="19085" y="10601"/>
                    <a:pt x="16247" y="10601"/>
                    <a:pt x="13856" y="9362"/>
                  </a:cubicBezTo>
                  <a:lnTo>
                    <a:pt x="3569" y="3457"/>
                  </a:lnTo>
                  <a:lnTo>
                    <a:pt x="1188" y="2124"/>
                  </a:lnTo>
                  <a:cubicBezTo>
                    <a:pt x="311" y="1685"/>
                    <a:pt x="-270" y="819"/>
                    <a:pt x="-336" y="-163"/>
                  </a:cubicBezTo>
                  <a:close/>
                </a:path>
              </a:pathLst>
            </a:custGeom>
            <a:solidFill>
              <a:srgbClr val="BF4200"/>
            </a:solidFill>
            <a:ln w="9525" cap="flat">
              <a:noFill/>
              <a:prstDash val="solid"/>
              <a:miter/>
            </a:ln>
          </p:spPr>
          <p:txBody>
            <a:bodyPr rtlCol="0" anchor="ctr"/>
            <a:lstStyle/>
            <a:p>
              <a:endParaRPr lang="zh-CN" altLang="en-US"/>
            </a:p>
          </p:txBody>
        </p:sp>
        <p:sp>
          <p:nvSpPr>
            <p:cNvPr id="597" name="íṡľiḓê">
              <a:extLst>
                <a:ext uri="{FF2B5EF4-FFF2-40B4-BE49-F238E27FC236}">
                  <a16:creationId xmlns:a16="http://schemas.microsoft.com/office/drawing/2014/main" id="{1541361F-2B11-46BD-93E1-3697F80889A5}"/>
                </a:ext>
              </a:extLst>
            </p:cNvPr>
            <p:cNvSpPr/>
            <p:nvPr/>
          </p:nvSpPr>
          <p:spPr>
            <a:xfrm>
              <a:off x="5312501" y="4683550"/>
              <a:ext cx="109362" cy="63588"/>
            </a:xfrm>
            <a:custGeom>
              <a:avLst/>
              <a:gdLst>
                <a:gd name="connsiteX0" fmla="*/ -336 w 35928"/>
                <a:gd name="connsiteY0" fmla="*/ 10291 h 20890"/>
                <a:gd name="connsiteX1" fmla="*/ 1283 w 35928"/>
                <a:gd name="connsiteY1" fmla="*/ 12482 h 20890"/>
                <a:gd name="connsiteX2" fmla="*/ 3569 w 35928"/>
                <a:gd name="connsiteY2" fmla="*/ 13911 h 20890"/>
                <a:gd name="connsiteX3" fmla="*/ 13856 w 35928"/>
                <a:gd name="connsiteY3" fmla="*/ 19721 h 20890"/>
                <a:gd name="connsiteX4" fmla="*/ 21571 w 35928"/>
                <a:gd name="connsiteY4" fmla="*/ 19721 h 20890"/>
                <a:gd name="connsiteX5" fmla="*/ 31858 w 35928"/>
                <a:gd name="connsiteY5" fmla="*/ 13911 h 20890"/>
                <a:gd name="connsiteX6" fmla="*/ 34144 w 35928"/>
                <a:gd name="connsiteY6" fmla="*/ 12482 h 20890"/>
                <a:gd name="connsiteX7" fmla="*/ 35401 w 35928"/>
                <a:gd name="connsiteY7" fmla="*/ 9358 h 20890"/>
                <a:gd name="connsiteX8" fmla="*/ 34144 w 35928"/>
                <a:gd name="connsiteY8" fmla="*/ 8101 h 20890"/>
                <a:gd name="connsiteX9" fmla="*/ 21571 w 35928"/>
                <a:gd name="connsiteY9" fmla="*/ 766 h 20890"/>
                <a:gd name="connsiteX10" fmla="*/ 13856 w 35928"/>
                <a:gd name="connsiteY10" fmla="*/ 766 h 20890"/>
                <a:gd name="connsiteX11" fmla="*/ 1283 w 35928"/>
                <a:gd name="connsiteY11" fmla="*/ 8101 h 20890"/>
                <a:gd name="connsiteX12" fmla="*/ -336 w 35928"/>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928" h="20890">
                  <a:moveTo>
                    <a:pt x="-336" y="10291"/>
                  </a:moveTo>
                  <a:cubicBezTo>
                    <a:pt x="-279" y="11282"/>
                    <a:pt x="349" y="12139"/>
                    <a:pt x="1283" y="12482"/>
                  </a:cubicBezTo>
                  <a:lnTo>
                    <a:pt x="3569" y="13911"/>
                  </a:lnTo>
                  <a:lnTo>
                    <a:pt x="13856" y="19721"/>
                  </a:lnTo>
                  <a:cubicBezTo>
                    <a:pt x="16256" y="21064"/>
                    <a:pt x="19171" y="21064"/>
                    <a:pt x="21571" y="19721"/>
                  </a:cubicBezTo>
                  <a:lnTo>
                    <a:pt x="31858" y="13911"/>
                  </a:lnTo>
                  <a:lnTo>
                    <a:pt x="34144" y="12482"/>
                  </a:lnTo>
                  <a:cubicBezTo>
                    <a:pt x="35354" y="11967"/>
                    <a:pt x="35916" y="10567"/>
                    <a:pt x="35401" y="9358"/>
                  </a:cubicBezTo>
                  <a:cubicBezTo>
                    <a:pt x="35163" y="8796"/>
                    <a:pt x="34706" y="8339"/>
                    <a:pt x="34144" y="8101"/>
                  </a:cubicBezTo>
                  <a:lnTo>
                    <a:pt x="21571" y="766"/>
                  </a:lnTo>
                  <a:cubicBezTo>
                    <a:pt x="19152" y="-472"/>
                    <a:pt x="16275" y="-472"/>
                    <a:pt x="13856" y="766"/>
                  </a:cubicBezTo>
                  <a:lnTo>
                    <a:pt x="1283" y="8101"/>
                  </a:lnTo>
                  <a:cubicBezTo>
                    <a:pt x="349" y="8443"/>
                    <a:pt x="-279" y="9300"/>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598" name="iŝḷíḑe">
              <a:extLst>
                <a:ext uri="{FF2B5EF4-FFF2-40B4-BE49-F238E27FC236}">
                  <a16:creationId xmlns:a16="http://schemas.microsoft.com/office/drawing/2014/main" id="{77DE56C7-E302-4358-99B1-148BFEFAE4A2}"/>
                </a:ext>
              </a:extLst>
            </p:cNvPr>
            <p:cNvSpPr/>
            <p:nvPr/>
          </p:nvSpPr>
          <p:spPr>
            <a:xfrm>
              <a:off x="5314385" y="4684710"/>
              <a:ext cx="105898" cy="61101"/>
            </a:xfrm>
            <a:custGeom>
              <a:avLst/>
              <a:gdLst>
                <a:gd name="connsiteX0" fmla="*/ 1235 w 34790"/>
                <a:gd name="connsiteY0" fmla="*/ 12006 h 20073"/>
                <a:gd name="connsiteX1" fmla="*/ 13332 w 34790"/>
                <a:gd name="connsiteY1" fmla="*/ 19054 h 20073"/>
                <a:gd name="connsiteX2" fmla="*/ 20762 w 34790"/>
                <a:gd name="connsiteY2" fmla="*/ 19054 h 20073"/>
                <a:gd name="connsiteX3" fmla="*/ 32954 w 34790"/>
                <a:gd name="connsiteY3" fmla="*/ 12006 h 20073"/>
                <a:gd name="connsiteX4" fmla="*/ 32954 w 34790"/>
                <a:gd name="connsiteY4" fmla="*/ 7719 h 20073"/>
                <a:gd name="connsiteX5" fmla="*/ 20762 w 34790"/>
                <a:gd name="connsiteY5" fmla="*/ 766 h 20073"/>
                <a:gd name="connsiteX6" fmla="*/ 13332 w 34790"/>
                <a:gd name="connsiteY6" fmla="*/ 766 h 20073"/>
                <a:gd name="connsiteX7" fmla="*/ 1235 w 34790"/>
                <a:gd name="connsiteY7" fmla="*/ 7719 h 20073"/>
                <a:gd name="connsiteX8" fmla="*/ 1235 w 34790"/>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3">
                  <a:moveTo>
                    <a:pt x="1235" y="12006"/>
                  </a:moveTo>
                  <a:lnTo>
                    <a:pt x="13332" y="19054"/>
                  </a:lnTo>
                  <a:cubicBezTo>
                    <a:pt x="15675" y="20197"/>
                    <a:pt x="18419" y="20197"/>
                    <a:pt x="20762" y="19054"/>
                  </a:cubicBezTo>
                  <a:lnTo>
                    <a:pt x="32954" y="12006"/>
                  </a:lnTo>
                  <a:cubicBezTo>
                    <a:pt x="34954" y="10863"/>
                    <a:pt x="34954" y="8957"/>
                    <a:pt x="32954" y="7719"/>
                  </a:cubicBezTo>
                  <a:lnTo>
                    <a:pt x="20762" y="766"/>
                  </a:lnTo>
                  <a:cubicBezTo>
                    <a:pt x="18437" y="-472"/>
                    <a:pt x="15656" y="-472"/>
                    <a:pt x="13332" y="766"/>
                  </a:cubicBezTo>
                  <a:lnTo>
                    <a:pt x="1235" y="7719"/>
                  </a:lnTo>
                  <a:cubicBezTo>
                    <a:pt x="-860" y="8957"/>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599" name="ï$ḻîďê">
              <a:extLst>
                <a:ext uri="{FF2B5EF4-FFF2-40B4-BE49-F238E27FC236}">
                  <a16:creationId xmlns:a16="http://schemas.microsoft.com/office/drawing/2014/main" id="{B0055F5A-AF39-4B01-A70F-99ACB4B041D6}"/>
                </a:ext>
              </a:extLst>
            </p:cNvPr>
            <p:cNvSpPr/>
            <p:nvPr/>
          </p:nvSpPr>
          <p:spPr>
            <a:xfrm>
              <a:off x="5312501" y="4715368"/>
              <a:ext cx="109594" cy="53564"/>
            </a:xfrm>
            <a:custGeom>
              <a:avLst/>
              <a:gdLst>
                <a:gd name="connsiteX0" fmla="*/ -336 w 36004"/>
                <a:gd name="connsiteY0" fmla="*/ -163 h 17597"/>
                <a:gd name="connsiteX1" fmla="*/ -336 w 36004"/>
                <a:gd name="connsiteY1" fmla="*/ 7076 h 17597"/>
                <a:gd name="connsiteX2" fmla="*/ 1283 w 36004"/>
                <a:gd name="connsiteY2" fmla="*/ 9267 h 17597"/>
                <a:gd name="connsiteX3" fmla="*/ 13856 w 36004"/>
                <a:gd name="connsiteY3" fmla="*/ 16506 h 17597"/>
                <a:gd name="connsiteX4" fmla="*/ 21571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028 h 17597"/>
                <a:gd name="connsiteX9" fmla="*/ 31858 w 36004"/>
                <a:gd name="connsiteY9" fmla="*/ 3457 h 17597"/>
                <a:gd name="connsiteX10" fmla="*/ 21571 w 36004"/>
                <a:gd name="connsiteY10" fmla="*/ 9267 h 17597"/>
                <a:gd name="connsiteX11" fmla="*/ 13856 w 36004"/>
                <a:gd name="connsiteY11" fmla="*/ 9267 h 17597"/>
                <a:gd name="connsiteX12" fmla="*/ 3569 w 36004"/>
                <a:gd name="connsiteY12" fmla="*/ 3457 h 17597"/>
                <a:gd name="connsiteX13" fmla="*/ 1283 w 36004"/>
                <a:gd name="connsiteY13" fmla="*/ 2028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48"/>
                    <a:pt x="387" y="8886"/>
                    <a:pt x="1283" y="9267"/>
                  </a:cubicBezTo>
                  <a:lnTo>
                    <a:pt x="13856" y="16506"/>
                  </a:lnTo>
                  <a:cubicBezTo>
                    <a:pt x="16275" y="17744"/>
                    <a:pt x="19152" y="17744"/>
                    <a:pt x="21571" y="16506"/>
                  </a:cubicBezTo>
                  <a:lnTo>
                    <a:pt x="34144" y="9267"/>
                  </a:lnTo>
                  <a:cubicBezTo>
                    <a:pt x="35011" y="8819"/>
                    <a:pt x="35582" y="7953"/>
                    <a:pt x="35668" y="6981"/>
                  </a:cubicBezTo>
                  <a:lnTo>
                    <a:pt x="35668" y="-163"/>
                  </a:lnTo>
                  <a:cubicBezTo>
                    <a:pt x="35630" y="800"/>
                    <a:pt x="35039" y="1657"/>
                    <a:pt x="34144" y="2028"/>
                  </a:cubicBezTo>
                  <a:lnTo>
                    <a:pt x="31858" y="3457"/>
                  </a:lnTo>
                  <a:lnTo>
                    <a:pt x="21571" y="9267"/>
                  </a:lnTo>
                  <a:cubicBezTo>
                    <a:pt x="19171" y="10610"/>
                    <a:pt x="16256" y="10610"/>
                    <a:pt x="13856" y="9267"/>
                  </a:cubicBezTo>
                  <a:lnTo>
                    <a:pt x="3569" y="3457"/>
                  </a:lnTo>
                  <a:lnTo>
                    <a:pt x="1283" y="2028"/>
                  </a:lnTo>
                  <a:cubicBezTo>
                    <a:pt x="349" y="1685"/>
                    <a:pt x="-279"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00" name="iṣlîḋê">
              <a:extLst>
                <a:ext uri="{FF2B5EF4-FFF2-40B4-BE49-F238E27FC236}">
                  <a16:creationId xmlns:a16="http://schemas.microsoft.com/office/drawing/2014/main" id="{F4B55C51-E311-4224-B2B8-D9AB67885FC6}"/>
                </a:ext>
              </a:extLst>
            </p:cNvPr>
            <p:cNvSpPr/>
            <p:nvPr/>
          </p:nvSpPr>
          <p:spPr>
            <a:xfrm>
              <a:off x="5389911" y="4728198"/>
              <a:ext cx="109594" cy="63588"/>
            </a:xfrm>
            <a:custGeom>
              <a:avLst/>
              <a:gdLst>
                <a:gd name="connsiteX0" fmla="*/ -336 w 36004"/>
                <a:gd name="connsiteY0" fmla="*/ 10291 h 20890"/>
                <a:gd name="connsiteX1" fmla="*/ 1188 w 36004"/>
                <a:gd name="connsiteY1" fmla="*/ 12482 h 20890"/>
                <a:gd name="connsiteX2" fmla="*/ 3569 w 36004"/>
                <a:gd name="connsiteY2" fmla="*/ 13911 h 20890"/>
                <a:gd name="connsiteX3" fmla="*/ 13856 w 36004"/>
                <a:gd name="connsiteY3" fmla="*/ 19721 h 20890"/>
                <a:gd name="connsiteX4" fmla="*/ 21476 w 36004"/>
                <a:gd name="connsiteY4" fmla="*/ 19721 h 20890"/>
                <a:gd name="connsiteX5" fmla="*/ 31763 w 36004"/>
                <a:gd name="connsiteY5" fmla="*/ 13911 h 20890"/>
                <a:gd name="connsiteX6" fmla="*/ 34144 w 36004"/>
                <a:gd name="connsiteY6" fmla="*/ 12482 h 20890"/>
                <a:gd name="connsiteX7" fmla="*/ 35668 w 36004"/>
                <a:gd name="connsiteY7" fmla="*/ 10291 h 20890"/>
                <a:gd name="connsiteX8" fmla="*/ 34144 w 36004"/>
                <a:gd name="connsiteY8" fmla="*/ 8005 h 20890"/>
                <a:gd name="connsiteX9" fmla="*/ 21476 w 36004"/>
                <a:gd name="connsiteY9" fmla="*/ 766 h 20890"/>
                <a:gd name="connsiteX10" fmla="*/ 13856 w 36004"/>
                <a:gd name="connsiteY10" fmla="*/ 766 h 20890"/>
                <a:gd name="connsiteX11" fmla="*/ 1188 w 36004"/>
                <a:gd name="connsiteY11" fmla="*/ 8005 h 20890"/>
                <a:gd name="connsiteX12" fmla="*/ -336 w 36004"/>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291"/>
                  </a:moveTo>
                  <a:cubicBezTo>
                    <a:pt x="-279" y="11244"/>
                    <a:pt x="311" y="12091"/>
                    <a:pt x="1188" y="12482"/>
                  </a:cubicBezTo>
                  <a:lnTo>
                    <a:pt x="3569" y="13911"/>
                  </a:lnTo>
                  <a:lnTo>
                    <a:pt x="13856" y="19721"/>
                  </a:lnTo>
                  <a:cubicBezTo>
                    <a:pt x="16218" y="21064"/>
                    <a:pt x="19114" y="21064"/>
                    <a:pt x="21476" y="19721"/>
                  </a:cubicBezTo>
                  <a:lnTo>
                    <a:pt x="31763" y="13911"/>
                  </a:lnTo>
                  <a:lnTo>
                    <a:pt x="34144" y="12482"/>
                  </a:lnTo>
                  <a:cubicBezTo>
                    <a:pt x="35021" y="12091"/>
                    <a:pt x="35611" y="11253"/>
                    <a:pt x="35668" y="10291"/>
                  </a:cubicBezTo>
                  <a:cubicBezTo>
                    <a:pt x="35602" y="9310"/>
                    <a:pt x="35021" y="8443"/>
                    <a:pt x="34144" y="8005"/>
                  </a:cubicBezTo>
                  <a:lnTo>
                    <a:pt x="21476" y="766"/>
                  </a:lnTo>
                  <a:cubicBezTo>
                    <a:pt x="19085" y="-472"/>
                    <a:pt x="16247" y="-472"/>
                    <a:pt x="13856" y="766"/>
                  </a:cubicBezTo>
                  <a:lnTo>
                    <a:pt x="1188" y="8005"/>
                  </a:lnTo>
                  <a:cubicBezTo>
                    <a:pt x="311" y="8443"/>
                    <a:pt x="-270" y="9310"/>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601" name="îšļiḍê">
              <a:extLst>
                <a:ext uri="{FF2B5EF4-FFF2-40B4-BE49-F238E27FC236}">
                  <a16:creationId xmlns:a16="http://schemas.microsoft.com/office/drawing/2014/main" id="{73C8149B-97EE-4EFF-82C8-04132849EF3A}"/>
                </a:ext>
              </a:extLst>
            </p:cNvPr>
            <p:cNvSpPr/>
            <p:nvPr/>
          </p:nvSpPr>
          <p:spPr>
            <a:xfrm>
              <a:off x="5391725" y="4729358"/>
              <a:ext cx="105895" cy="61101"/>
            </a:xfrm>
            <a:custGeom>
              <a:avLst/>
              <a:gdLst>
                <a:gd name="connsiteX0" fmla="*/ 1164 w 34789"/>
                <a:gd name="connsiteY0" fmla="*/ 12006 h 20073"/>
                <a:gd name="connsiteX1" fmla="*/ 13356 w 34789"/>
                <a:gd name="connsiteY1" fmla="*/ 19054 h 20073"/>
                <a:gd name="connsiteX2" fmla="*/ 20785 w 34789"/>
                <a:gd name="connsiteY2" fmla="*/ 19054 h 20073"/>
                <a:gd name="connsiteX3" fmla="*/ 32882 w 34789"/>
                <a:gd name="connsiteY3" fmla="*/ 12006 h 20073"/>
                <a:gd name="connsiteX4" fmla="*/ 32882 w 34789"/>
                <a:gd name="connsiteY4" fmla="*/ 7719 h 20073"/>
                <a:gd name="connsiteX5" fmla="*/ 20785 w 34789"/>
                <a:gd name="connsiteY5" fmla="*/ 766 h 20073"/>
                <a:gd name="connsiteX6" fmla="*/ 13356 w 34789"/>
                <a:gd name="connsiteY6" fmla="*/ 766 h 20073"/>
                <a:gd name="connsiteX7" fmla="*/ 1164 w 34789"/>
                <a:gd name="connsiteY7" fmla="*/ 7719 h 20073"/>
                <a:gd name="connsiteX8" fmla="*/ 1164 w 34789"/>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89" h="20073">
                  <a:moveTo>
                    <a:pt x="1164" y="12006"/>
                  </a:moveTo>
                  <a:lnTo>
                    <a:pt x="13356" y="19054"/>
                  </a:lnTo>
                  <a:cubicBezTo>
                    <a:pt x="15699" y="20197"/>
                    <a:pt x="18442" y="20197"/>
                    <a:pt x="20785" y="19054"/>
                  </a:cubicBezTo>
                  <a:lnTo>
                    <a:pt x="32882" y="12006"/>
                  </a:lnTo>
                  <a:cubicBezTo>
                    <a:pt x="34977" y="10863"/>
                    <a:pt x="34977" y="8957"/>
                    <a:pt x="32882" y="7719"/>
                  </a:cubicBezTo>
                  <a:lnTo>
                    <a:pt x="20785" y="766"/>
                  </a:lnTo>
                  <a:cubicBezTo>
                    <a:pt x="18461" y="-472"/>
                    <a:pt x="15680" y="-472"/>
                    <a:pt x="13356" y="766"/>
                  </a:cubicBezTo>
                  <a:lnTo>
                    <a:pt x="1164" y="7719"/>
                  </a:lnTo>
                  <a:cubicBezTo>
                    <a:pt x="-836" y="8957"/>
                    <a:pt x="-836" y="10863"/>
                    <a:pt x="1164" y="12006"/>
                  </a:cubicBezTo>
                  <a:close/>
                </a:path>
              </a:pathLst>
            </a:custGeom>
            <a:solidFill>
              <a:srgbClr val="D1D9E8"/>
            </a:solidFill>
            <a:ln w="9525" cap="flat">
              <a:noFill/>
              <a:prstDash val="solid"/>
              <a:miter/>
            </a:ln>
          </p:spPr>
          <p:txBody>
            <a:bodyPr rtlCol="0" anchor="ctr"/>
            <a:lstStyle/>
            <a:p>
              <a:endParaRPr lang="zh-CN" altLang="en-US"/>
            </a:p>
          </p:txBody>
        </p:sp>
        <p:sp>
          <p:nvSpPr>
            <p:cNvPr id="602" name="íşlíḓe">
              <a:extLst>
                <a:ext uri="{FF2B5EF4-FFF2-40B4-BE49-F238E27FC236}">
                  <a16:creationId xmlns:a16="http://schemas.microsoft.com/office/drawing/2014/main" id="{385FD81E-1524-4918-9FAD-69C91E06C98F}"/>
                </a:ext>
              </a:extLst>
            </p:cNvPr>
            <p:cNvSpPr/>
            <p:nvPr/>
          </p:nvSpPr>
          <p:spPr>
            <a:xfrm>
              <a:off x="5389911" y="4760019"/>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028 h 17597"/>
                <a:gd name="connsiteX9" fmla="*/ 31763 w 36004"/>
                <a:gd name="connsiteY9" fmla="*/ 3457 h 17597"/>
                <a:gd name="connsiteX10" fmla="*/ 21476 w 36004"/>
                <a:gd name="connsiteY10" fmla="*/ 9267 h 17597"/>
                <a:gd name="connsiteX11" fmla="*/ 13856 w 36004"/>
                <a:gd name="connsiteY11" fmla="*/ 9267 h 17597"/>
                <a:gd name="connsiteX12" fmla="*/ 3569 w 36004"/>
                <a:gd name="connsiteY12" fmla="*/ 3457 h 17597"/>
                <a:gd name="connsiteX13" fmla="*/ 1188 w 36004"/>
                <a:gd name="connsiteY13" fmla="*/ 2028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2" y="7953"/>
                    <a:pt x="35668" y="6981"/>
                  </a:cubicBezTo>
                  <a:lnTo>
                    <a:pt x="35668" y="-163"/>
                  </a:lnTo>
                  <a:cubicBezTo>
                    <a:pt x="35611" y="790"/>
                    <a:pt x="35021" y="1638"/>
                    <a:pt x="34144" y="2028"/>
                  </a:cubicBezTo>
                  <a:lnTo>
                    <a:pt x="31763" y="3457"/>
                  </a:lnTo>
                  <a:lnTo>
                    <a:pt x="21476" y="9267"/>
                  </a:lnTo>
                  <a:cubicBezTo>
                    <a:pt x="19114" y="10610"/>
                    <a:pt x="16218" y="10610"/>
                    <a:pt x="13856" y="9267"/>
                  </a:cubicBezTo>
                  <a:lnTo>
                    <a:pt x="3569" y="3457"/>
                  </a:lnTo>
                  <a:lnTo>
                    <a:pt x="1188" y="2028"/>
                  </a:lnTo>
                  <a:cubicBezTo>
                    <a:pt x="311" y="1638"/>
                    <a:pt x="-279" y="799"/>
                    <a:pt x="-336" y="-163"/>
                  </a:cubicBezTo>
                  <a:close/>
                </a:path>
              </a:pathLst>
            </a:custGeom>
            <a:solidFill>
              <a:srgbClr val="BF4200"/>
            </a:solidFill>
            <a:ln w="9525" cap="flat">
              <a:noFill/>
              <a:prstDash val="solid"/>
              <a:miter/>
            </a:ln>
          </p:spPr>
          <p:txBody>
            <a:bodyPr rtlCol="0" anchor="ctr"/>
            <a:lstStyle/>
            <a:p>
              <a:endParaRPr lang="zh-CN" altLang="en-US"/>
            </a:p>
          </p:txBody>
        </p:sp>
        <p:sp>
          <p:nvSpPr>
            <p:cNvPr id="603" name="ïṧľïḋè">
              <a:extLst>
                <a:ext uri="{FF2B5EF4-FFF2-40B4-BE49-F238E27FC236}">
                  <a16:creationId xmlns:a16="http://schemas.microsoft.com/office/drawing/2014/main" id="{2CA55B2C-5953-43DF-B3BE-2FE9239D1699}"/>
                </a:ext>
              </a:extLst>
            </p:cNvPr>
            <p:cNvSpPr/>
            <p:nvPr/>
          </p:nvSpPr>
          <p:spPr>
            <a:xfrm>
              <a:off x="5467035" y="4772849"/>
              <a:ext cx="109883" cy="63588"/>
            </a:xfrm>
            <a:custGeom>
              <a:avLst/>
              <a:gdLst>
                <a:gd name="connsiteX0" fmla="*/ -336 w 36099"/>
                <a:gd name="connsiteY0" fmla="*/ 10196 h 20890"/>
                <a:gd name="connsiteX1" fmla="*/ 1283 w 36099"/>
                <a:gd name="connsiteY1" fmla="*/ 12482 h 20890"/>
                <a:gd name="connsiteX2" fmla="*/ 3569 w 36099"/>
                <a:gd name="connsiteY2" fmla="*/ 13815 h 20890"/>
                <a:gd name="connsiteX3" fmla="*/ 13856 w 36099"/>
                <a:gd name="connsiteY3" fmla="*/ 19721 h 20890"/>
                <a:gd name="connsiteX4" fmla="*/ 21571 w 36099"/>
                <a:gd name="connsiteY4" fmla="*/ 19721 h 20890"/>
                <a:gd name="connsiteX5" fmla="*/ 31858 w 36099"/>
                <a:gd name="connsiteY5" fmla="*/ 13815 h 20890"/>
                <a:gd name="connsiteX6" fmla="*/ 34144 w 36099"/>
                <a:gd name="connsiteY6" fmla="*/ 12482 h 20890"/>
                <a:gd name="connsiteX7" fmla="*/ 35764 w 36099"/>
                <a:gd name="connsiteY7" fmla="*/ 10196 h 20890"/>
                <a:gd name="connsiteX8" fmla="*/ 34144 w 36099"/>
                <a:gd name="connsiteY8" fmla="*/ 8005 h 20890"/>
                <a:gd name="connsiteX9" fmla="*/ 21571 w 36099"/>
                <a:gd name="connsiteY9" fmla="*/ 766 h 20890"/>
                <a:gd name="connsiteX10" fmla="*/ 13856 w 36099"/>
                <a:gd name="connsiteY10" fmla="*/ 766 h 20890"/>
                <a:gd name="connsiteX11" fmla="*/ 1283 w 36099"/>
                <a:gd name="connsiteY11" fmla="*/ 8005 h 20890"/>
                <a:gd name="connsiteX12" fmla="*/ -336 w 36099"/>
                <a:gd name="connsiteY12" fmla="*/ 10196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99" h="20890">
                  <a:moveTo>
                    <a:pt x="-336" y="10196"/>
                  </a:moveTo>
                  <a:cubicBezTo>
                    <a:pt x="-251" y="11196"/>
                    <a:pt x="369" y="12072"/>
                    <a:pt x="1283" y="12482"/>
                  </a:cubicBezTo>
                  <a:lnTo>
                    <a:pt x="3569" y="13815"/>
                  </a:lnTo>
                  <a:lnTo>
                    <a:pt x="13856" y="19721"/>
                  </a:lnTo>
                  <a:cubicBezTo>
                    <a:pt x="16256" y="21064"/>
                    <a:pt x="19171" y="21064"/>
                    <a:pt x="21571" y="19721"/>
                  </a:cubicBezTo>
                  <a:lnTo>
                    <a:pt x="31858" y="13815"/>
                  </a:lnTo>
                  <a:lnTo>
                    <a:pt x="34144" y="12482"/>
                  </a:lnTo>
                  <a:cubicBezTo>
                    <a:pt x="35059" y="12072"/>
                    <a:pt x="35678" y="11196"/>
                    <a:pt x="35764" y="10196"/>
                  </a:cubicBezTo>
                  <a:cubicBezTo>
                    <a:pt x="35630" y="9243"/>
                    <a:pt x="35021" y="8414"/>
                    <a:pt x="34144" y="8005"/>
                  </a:cubicBezTo>
                  <a:lnTo>
                    <a:pt x="21571" y="766"/>
                  </a:lnTo>
                  <a:cubicBezTo>
                    <a:pt x="19152" y="-472"/>
                    <a:pt x="16275" y="-472"/>
                    <a:pt x="13856" y="766"/>
                  </a:cubicBezTo>
                  <a:lnTo>
                    <a:pt x="1283" y="8005"/>
                  </a:lnTo>
                  <a:cubicBezTo>
                    <a:pt x="407" y="8414"/>
                    <a:pt x="-203" y="924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604" name="ïŝlíḑé">
              <a:extLst>
                <a:ext uri="{FF2B5EF4-FFF2-40B4-BE49-F238E27FC236}">
                  <a16:creationId xmlns:a16="http://schemas.microsoft.com/office/drawing/2014/main" id="{DAEEEF72-7BDB-4737-B2D4-07055EB0FFE2}"/>
                </a:ext>
              </a:extLst>
            </p:cNvPr>
            <p:cNvSpPr/>
            <p:nvPr/>
          </p:nvSpPr>
          <p:spPr>
            <a:xfrm>
              <a:off x="5469281" y="4774009"/>
              <a:ext cx="106114" cy="61101"/>
            </a:xfrm>
            <a:custGeom>
              <a:avLst/>
              <a:gdLst>
                <a:gd name="connsiteX0" fmla="*/ 1307 w 34861"/>
                <a:gd name="connsiteY0" fmla="*/ 12006 h 20073"/>
                <a:gd name="connsiteX1" fmla="*/ 13403 w 34861"/>
                <a:gd name="connsiteY1" fmla="*/ 19054 h 20073"/>
                <a:gd name="connsiteX2" fmla="*/ 20833 w 34861"/>
                <a:gd name="connsiteY2" fmla="*/ 19054 h 20073"/>
                <a:gd name="connsiteX3" fmla="*/ 33025 w 34861"/>
                <a:gd name="connsiteY3" fmla="*/ 12006 h 20073"/>
                <a:gd name="connsiteX4" fmla="*/ 33025 w 34861"/>
                <a:gd name="connsiteY4" fmla="*/ 7719 h 20073"/>
                <a:gd name="connsiteX5" fmla="*/ 20833 w 34861"/>
                <a:gd name="connsiteY5" fmla="*/ 766 h 20073"/>
                <a:gd name="connsiteX6" fmla="*/ 13403 w 34861"/>
                <a:gd name="connsiteY6" fmla="*/ 766 h 20073"/>
                <a:gd name="connsiteX7" fmla="*/ 1307 w 34861"/>
                <a:gd name="connsiteY7" fmla="*/ 7719 h 20073"/>
                <a:gd name="connsiteX8" fmla="*/ 1307 w 34861"/>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861" h="20073">
                  <a:moveTo>
                    <a:pt x="1307" y="12006"/>
                  </a:moveTo>
                  <a:lnTo>
                    <a:pt x="13403" y="19054"/>
                  </a:lnTo>
                  <a:cubicBezTo>
                    <a:pt x="15747" y="20197"/>
                    <a:pt x="18490" y="20197"/>
                    <a:pt x="20833" y="19054"/>
                  </a:cubicBezTo>
                  <a:lnTo>
                    <a:pt x="33025" y="12006"/>
                  </a:lnTo>
                  <a:cubicBezTo>
                    <a:pt x="35025" y="10862"/>
                    <a:pt x="35025" y="8958"/>
                    <a:pt x="33025" y="7719"/>
                  </a:cubicBezTo>
                  <a:lnTo>
                    <a:pt x="20833" y="766"/>
                  </a:lnTo>
                  <a:cubicBezTo>
                    <a:pt x="18509" y="-472"/>
                    <a:pt x="15728" y="-472"/>
                    <a:pt x="13403" y="766"/>
                  </a:cubicBezTo>
                  <a:lnTo>
                    <a:pt x="1307" y="7719"/>
                  </a:lnTo>
                  <a:cubicBezTo>
                    <a:pt x="-884" y="8958"/>
                    <a:pt x="-884" y="10862"/>
                    <a:pt x="1307" y="12006"/>
                  </a:cubicBezTo>
                  <a:close/>
                </a:path>
              </a:pathLst>
            </a:custGeom>
            <a:solidFill>
              <a:srgbClr val="D1D9E8"/>
            </a:solidFill>
            <a:ln w="9525" cap="flat">
              <a:noFill/>
              <a:prstDash val="solid"/>
              <a:miter/>
            </a:ln>
          </p:spPr>
          <p:txBody>
            <a:bodyPr rtlCol="0" anchor="ctr"/>
            <a:lstStyle/>
            <a:p>
              <a:endParaRPr lang="zh-CN" altLang="en-US"/>
            </a:p>
          </p:txBody>
        </p:sp>
        <p:sp>
          <p:nvSpPr>
            <p:cNvPr id="605" name="ïśḷïḑé">
              <a:extLst>
                <a:ext uri="{FF2B5EF4-FFF2-40B4-BE49-F238E27FC236}">
                  <a16:creationId xmlns:a16="http://schemas.microsoft.com/office/drawing/2014/main" id="{DCA095AD-F522-4457-8E0D-1A943A8DDC7F}"/>
                </a:ext>
              </a:extLst>
            </p:cNvPr>
            <p:cNvSpPr/>
            <p:nvPr/>
          </p:nvSpPr>
          <p:spPr>
            <a:xfrm>
              <a:off x="5467035" y="4804378"/>
              <a:ext cx="109883" cy="54383"/>
            </a:xfrm>
            <a:custGeom>
              <a:avLst/>
              <a:gdLst>
                <a:gd name="connsiteX0" fmla="*/ -336 w 36099"/>
                <a:gd name="connsiteY0" fmla="*/ -163 h 17866"/>
                <a:gd name="connsiteX1" fmla="*/ -336 w 36099"/>
                <a:gd name="connsiteY1" fmla="*/ 7267 h 17866"/>
                <a:gd name="connsiteX2" fmla="*/ 1283 w 36099"/>
                <a:gd name="connsiteY2" fmla="*/ 9553 h 17866"/>
                <a:gd name="connsiteX3" fmla="*/ 13856 w 36099"/>
                <a:gd name="connsiteY3" fmla="*/ 16697 h 17866"/>
                <a:gd name="connsiteX4" fmla="*/ 21571 w 36099"/>
                <a:gd name="connsiteY4" fmla="*/ 16697 h 17866"/>
                <a:gd name="connsiteX5" fmla="*/ 34144 w 36099"/>
                <a:gd name="connsiteY5" fmla="*/ 9553 h 17866"/>
                <a:gd name="connsiteX6" fmla="*/ 35764 w 36099"/>
                <a:gd name="connsiteY6" fmla="*/ 7267 h 17866"/>
                <a:gd name="connsiteX7" fmla="*/ 35764 w 36099"/>
                <a:gd name="connsiteY7" fmla="*/ 28 h 17866"/>
                <a:gd name="connsiteX8" fmla="*/ 34144 w 36099"/>
                <a:gd name="connsiteY8" fmla="*/ 2314 h 17866"/>
                <a:gd name="connsiteX9" fmla="*/ 31858 w 36099"/>
                <a:gd name="connsiteY9" fmla="*/ 3647 h 17866"/>
                <a:gd name="connsiteX10" fmla="*/ 21571 w 36099"/>
                <a:gd name="connsiteY10" fmla="*/ 9553 h 17866"/>
                <a:gd name="connsiteX11" fmla="*/ 13856 w 36099"/>
                <a:gd name="connsiteY11" fmla="*/ 9553 h 17866"/>
                <a:gd name="connsiteX12" fmla="*/ 3569 w 36099"/>
                <a:gd name="connsiteY12" fmla="*/ 3647 h 17866"/>
                <a:gd name="connsiteX13" fmla="*/ 1283 w 36099"/>
                <a:gd name="connsiteY13" fmla="*/ 2314 h 17866"/>
                <a:gd name="connsiteX14" fmla="*/ -336 w 36099"/>
                <a:gd name="connsiteY14" fmla="*/ -163 h 178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866">
                  <a:moveTo>
                    <a:pt x="-336" y="-163"/>
                  </a:moveTo>
                  <a:lnTo>
                    <a:pt x="-336" y="7267"/>
                  </a:lnTo>
                  <a:cubicBezTo>
                    <a:pt x="-232" y="8257"/>
                    <a:pt x="378" y="9124"/>
                    <a:pt x="1283" y="9553"/>
                  </a:cubicBezTo>
                  <a:lnTo>
                    <a:pt x="13856" y="16697"/>
                  </a:lnTo>
                  <a:cubicBezTo>
                    <a:pt x="16256" y="18040"/>
                    <a:pt x="19171" y="18040"/>
                    <a:pt x="21571" y="16697"/>
                  </a:cubicBezTo>
                  <a:lnTo>
                    <a:pt x="34144" y="9553"/>
                  </a:lnTo>
                  <a:cubicBezTo>
                    <a:pt x="35030" y="9115"/>
                    <a:pt x="35640" y="8248"/>
                    <a:pt x="35764" y="7267"/>
                  </a:cubicBezTo>
                  <a:lnTo>
                    <a:pt x="35764" y="28"/>
                  </a:lnTo>
                  <a:cubicBezTo>
                    <a:pt x="35678" y="1028"/>
                    <a:pt x="35059" y="1904"/>
                    <a:pt x="34144" y="2314"/>
                  </a:cubicBezTo>
                  <a:lnTo>
                    <a:pt x="31858" y="3647"/>
                  </a:lnTo>
                  <a:lnTo>
                    <a:pt x="21571" y="9553"/>
                  </a:lnTo>
                  <a:cubicBezTo>
                    <a:pt x="19171" y="10896"/>
                    <a:pt x="16256" y="10896"/>
                    <a:pt x="13856" y="9553"/>
                  </a:cubicBezTo>
                  <a:lnTo>
                    <a:pt x="3569" y="3647"/>
                  </a:lnTo>
                  <a:lnTo>
                    <a:pt x="1283" y="2314"/>
                  </a:lnTo>
                  <a:cubicBezTo>
                    <a:pt x="311" y="1876"/>
                    <a:pt x="-317" y="904"/>
                    <a:pt x="-336" y="-163"/>
                  </a:cubicBezTo>
                  <a:close/>
                </a:path>
              </a:pathLst>
            </a:custGeom>
            <a:solidFill>
              <a:srgbClr val="BF4200"/>
            </a:solidFill>
            <a:ln w="9525" cap="flat">
              <a:noFill/>
              <a:prstDash val="solid"/>
              <a:miter/>
            </a:ln>
          </p:spPr>
          <p:txBody>
            <a:bodyPr rtlCol="0" anchor="ctr"/>
            <a:lstStyle/>
            <a:p>
              <a:endParaRPr lang="zh-CN" altLang="en-US"/>
            </a:p>
          </p:txBody>
        </p:sp>
        <p:sp>
          <p:nvSpPr>
            <p:cNvPr id="606" name="íš1îḍê">
              <a:extLst>
                <a:ext uri="{FF2B5EF4-FFF2-40B4-BE49-F238E27FC236}">
                  <a16:creationId xmlns:a16="http://schemas.microsoft.com/office/drawing/2014/main" id="{F44EB2E2-10A2-408B-9946-D6CBC333992E}"/>
                </a:ext>
              </a:extLst>
            </p:cNvPr>
            <p:cNvSpPr/>
            <p:nvPr/>
          </p:nvSpPr>
          <p:spPr>
            <a:xfrm>
              <a:off x="5544448" y="4817498"/>
              <a:ext cx="108580" cy="63588"/>
            </a:xfrm>
            <a:custGeom>
              <a:avLst/>
              <a:gdLst>
                <a:gd name="connsiteX0" fmla="*/ -336 w 35671"/>
                <a:gd name="connsiteY0" fmla="*/ 10196 h 20890"/>
                <a:gd name="connsiteX1" fmla="*/ 1187 w 35671"/>
                <a:gd name="connsiteY1" fmla="*/ 12482 h 20890"/>
                <a:gd name="connsiteX2" fmla="*/ 3569 w 35671"/>
                <a:gd name="connsiteY2" fmla="*/ 13815 h 20890"/>
                <a:gd name="connsiteX3" fmla="*/ 13856 w 35671"/>
                <a:gd name="connsiteY3" fmla="*/ 19721 h 20890"/>
                <a:gd name="connsiteX4" fmla="*/ 21476 w 35671"/>
                <a:gd name="connsiteY4" fmla="*/ 19721 h 20890"/>
                <a:gd name="connsiteX5" fmla="*/ 31763 w 35671"/>
                <a:gd name="connsiteY5" fmla="*/ 13815 h 20890"/>
                <a:gd name="connsiteX6" fmla="*/ 33763 w 35671"/>
                <a:gd name="connsiteY6" fmla="*/ 12482 h 20890"/>
                <a:gd name="connsiteX7" fmla="*/ 35192 w 35671"/>
                <a:gd name="connsiteY7" fmla="*/ 9434 h 20890"/>
                <a:gd name="connsiteX8" fmla="*/ 33763 w 35671"/>
                <a:gd name="connsiteY8" fmla="*/ 8005 h 20890"/>
                <a:gd name="connsiteX9" fmla="*/ 21095 w 35671"/>
                <a:gd name="connsiteY9" fmla="*/ 766 h 20890"/>
                <a:gd name="connsiteX10" fmla="*/ 13475 w 35671"/>
                <a:gd name="connsiteY10" fmla="*/ 766 h 20890"/>
                <a:gd name="connsiteX11" fmla="*/ 807 w 35671"/>
                <a:gd name="connsiteY11" fmla="*/ 8005 h 20890"/>
                <a:gd name="connsiteX12" fmla="*/ -336 w 35671"/>
                <a:gd name="connsiteY12" fmla="*/ 10196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671" h="20890">
                  <a:moveTo>
                    <a:pt x="-336" y="10196"/>
                  </a:moveTo>
                  <a:cubicBezTo>
                    <a:pt x="-270" y="11177"/>
                    <a:pt x="311" y="12044"/>
                    <a:pt x="1187" y="12482"/>
                  </a:cubicBezTo>
                  <a:lnTo>
                    <a:pt x="3569" y="13815"/>
                  </a:lnTo>
                  <a:lnTo>
                    <a:pt x="13856" y="19721"/>
                  </a:lnTo>
                  <a:cubicBezTo>
                    <a:pt x="16218" y="21064"/>
                    <a:pt x="19114" y="21064"/>
                    <a:pt x="21476" y="19721"/>
                  </a:cubicBezTo>
                  <a:lnTo>
                    <a:pt x="31763" y="13815"/>
                  </a:lnTo>
                  <a:lnTo>
                    <a:pt x="33763" y="12482"/>
                  </a:lnTo>
                  <a:cubicBezTo>
                    <a:pt x="35001" y="12034"/>
                    <a:pt x="35639" y="10662"/>
                    <a:pt x="35192" y="9434"/>
                  </a:cubicBezTo>
                  <a:cubicBezTo>
                    <a:pt x="34944" y="8767"/>
                    <a:pt x="34430" y="8243"/>
                    <a:pt x="33763" y="8005"/>
                  </a:cubicBezTo>
                  <a:lnTo>
                    <a:pt x="21095" y="766"/>
                  </a:lnTo>
                  <a:cubicBezTo>
                    <a:pt x="18704" y="-472"/>
                    <a:pt x="15866" y="-472"/>
                    <a:pt x="13475" y="766"/>
                  </a:cubicBezTo>
                  <a:lnTo>
                    <a:pt x="807" y="8005"/>
                  </a:lnTo>
                  <a:cubicBezTo>
                    <a:pt x="102" y="8510"/>
                    <a:pt x="-317" y="9329"/>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607" name="işlïdé">
              <a:extLst>
                <a:ext uri="{FF2B5EF4-FFF2-40B4-BE49-F238E27FC236}">
                  <a16:creationId xmlns:a16="http://schemas.microsoft.com/office/drawing/2014/main" id="{6619F2D5-9748-40DC-BF5B-137274BF8AA8}"/>
                </a:ext>
              </a:extLst>
            </p:cNvPr>
            <p:cNvSpPr/>
            <p:nvPr/>
          </p:nvSpPr>
          <p:spPr>
            <a:xfrm>
              <a:off x="5546981" y="4818877"/>
              <a:ext cx="105798" cy="61174"/>
            </a:xfrm>
            <a:custGeom>
              <a:avLst/>
              <a:gdLst>
                <a:gd name="connsiteX0" fmla="*/ 1022 w 34757"/>
                <a:gd name="connsiteY0" fmla="*/ 12029 h 20097"/>
                <a:gd name="connsiteX1" fmla="*/ 13119 w 34757"/>
                <a:gd name="connsiteY1" fmla="*/ 19078 h 20097"/>
                <a:gd name="connsiteX2" fmla="*/ 20548 w 34757"/>
                <a:gd name="connsiteY2" fmla="*/ 19078 h 20097"/>
                <a:gd name="connsiteX3" fmla="*/ 32931 w 34757"/>
                <a:gd name="connsiteY3" fmla="*/ 12029 h 20097"/>
                <a:gd name="connsiteX4" fmla="*/ 34274 w 34757"/>
                <a:gd name="connsiteY4" fmla="*/ 9086 h 20097"/>
                <a:gd name="connsiteX5" fmla="*/ 32931 w 34757"/>
                <a:gd name="connsiteY5" fmla="*/ 7743 h 20097"/>
                <a:gd name="connsiteX6" fmla="*/ 20834 w 34757"/>
                <a:gd name="connsiteY6" fmla="*/ 695 h 20097"/>
                <a:gd name="connsiteX7" fmla="*/ 13405 w 34757"/>
                <a:gd name="connsiteY7" fmla="*/ 695 h 20097"/>
                <a:gd name="connsiteX8" fmla="*/ 1308 w 34757"/>
                <a:gd name="connsiteY8" fmla="*/ 7743 h 20097"/>
                <a:gd name="connsiteX9" fmla="*/ -245 w 34757"/>
                <a:gd name="connsiteY9" fmla="*/ 10572 h 20097"/>
                <a:gd name="connsiteX10" fmla="*/ 1022 w 34757"/>
                <a:gd name="connsiteY10" fmla="*/ 12029 h 20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757" h="20097">
                  <a:moveTo>
                    <a:pt x="1022" y="12029"/>
                  </a:moveTo>
                  <a:lnTo>
                    <a:pt x="13119" y="19078"/>
                  </a:lnTo>
                  <a:cubicBezTo>
                    <a:pt x="15462" y="20221"/>
                    <a:pt x="18205" y="20221"/>
                    <a:pt x="20548" y="19078"/>
                  </a:cubicBezTo>
                  <a:lnTo>
                    <a:pt x="32931" y="12029"/>
                  </a:lnTo>
                  <a:cubicBezTo>
                    <a:pt x="34112" y="11591"/>
                    <a:pt x="34721" y="10277"/>
                    <a:pt x="34274" y="9086"/>
                  </a:cubicBezTo>
                  <a:cubicBezTo>
                    <a:pt x="34045" y="8467"/>
                    <a:pt x="33550" y="7972"/>
                    <a:pt x="32931" y="7743"/>
                  </a:cubicBezTo>
                  <a:lnTo>
                    <a:pt x="20834" y="695"/>
                  </a:lnTo>
                  <a:cubicBezTo>
                    <a:pt x="18491" y="-448"/>
                    <a:pt x="15748" y="-448"/>
                    <a:pt x="13405" y="695"/>
                  </a:cubicBezTo>
                  <a:lnTo>
                    <a:pt x="1308" y="7743"/>
                  </a:lnTo>
                  <a:cubicBezTo>
                    <a:pt x="98" y="8096"/>
                    <a:pt x="-597" y="9362"/>
                    <a:pt x="-245" y="10572"/>
                  </a:cubicBezTo>
                  <a:cubicBezTo>
                    <a:pt x="-64" y="11229"/>
                    <a:pt x="403" y="11753"/>
                    <a:pt x="1022" y="12029"/>
                  </a:cubicBezTo>
                  <a:close/>
                </a:path>
              </a:pathLst>
            </a:custGeom>
            <a:solidFill>
              <a:srgbClr val="D1D9E8"/>
            </a:solidFill>
            <a:ln w="9525" cap="flat">
              <a:noFill/>
              <a:prstDash val="solid"/>
              <a:miter/>
            </a:ln>
          </p:spPr>
          <p:txBody>
            <a:bodyPr rtlCol="0" anchor="ctr"/>
            <a:lstStyle/>
            <a:p>
              <a:endParaRPr lang="zh-CN" altLang="en-US"/>
            </a:p>
          </p:txBody>
        </p:sp>
        <p:sp>
          <p:nvSpPr>
            <p:cNvPr id="608" name="ïṡľïḓe">
              <a:extLst>
                <a:ext uri="{FF2B5EF4-FFF2-40B4-BE49-F238E27FC236}">
                  <a16:creationId xmlns:a16="http://schemas.microsoft.com/office/drawing/2014/main" id="{C1108CB1-773F-4B71-906F-37D562CFEBF7}"/>
                </a:ext>
              </a:extLst>
            </p:cNvPr>
            <p:cNvSpPr/>
            <p:nvPr/>
          </p:nvSpPr>
          <p:spPr>
            <a:xfrm>
              <a:off x="5544448" y="4849030"/>
              <a:ext cx="109594" cy="53801"/>
            </a:xfrm>
            <a:custGeom>
              <a:avLst/>
              <a:gdLst>
                <a:gd name="connsiteX0" fmla="*/ -336 w 36004"/>
                <a:gd name="connsiteY0" fmla="*/ -163 h 17675"/>
                <a:gd name="connsiteX1" fmla="*/ -336 w 36004"/>
                <a:gd name="connsiteY1" fmla="*/ 7076 h 17675"/>
                <a:gd name="connsiteX2" fmla="*/ 1187 w 36004"/>
                <a:gd name="connsiteY2" fmla="*/ 9267 h 17675"/>
                <a:gd name="connsiteX3" fmla="*/ 13856 w 36004"/>
                <a:gd name="connsiteY3" fmla="*/ 16506 h 17675"/>
                <a:gd name="connsiteX4" fmla="*/ 21476 w 36004"/>
                <a:gd name="connsiteY4" fmla="*/ 16506 h 17675"/>
                <a:gd name="connsiteX5" fmla="*/ 34144 w 36004"/>
                <a:gd name="connsiteY5" fmla="*/ 9267 h 17675"/>
                <a:gd name="connsiteX6" fmla="*/ 35668 w 36004"/>
                <a:gd name="connsiteY6" fmla="*/ 7076 h 17675"/>
                <a:gd name="connsiteX7" fmla="*/ 35668 w 36004"/>
                <a:gd name="connsiteY7" fmla="*/ -163 h 17675"/>
                <a:gd name="connsiteX8" fmla="*/ 34144 w 36004"/>
                <a:gd name="connsiteY8" fmla="*/ 2123 h 17675"/>
                <a:gd name="connsiteX9" fmla="*/ 31763 w 36004"/>
                <a:gd name="connsiteY9" fmla="*/ 3457 h 17675"/>
                <a:gd name="connsiteX10" fmla="*/ 21476 w 36004"/>
                <a:gd name="connsiteY10" fmla="*/ 9362 h 17675"/>
                <a:gd name="connsiteX11" fmla="*/ 13856 w 36004"/>
                <a:gd name="connsiteY11" fmla="*/ 9362 h 17675"/>
                <a:gd name="connsiteX12" fmla="*/ 3569 w 36004"/>
                <a:gd name="connsiteY12" fmla="*/ 3457 h 17675"/>
                <a:gd name="connsiteX13" fmla="*/ 1187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98" y="8038"/>
                    <a:pt x="292" y="8896"/>
                    <a:pt x="1187" y="9267"/>
                  </a:cubicBezTo>
                  <a:lnTo>
                    <a:pt x="13856" y="16506"/>
                  </a:lnTo>
                  <a:cubicBezTo>
                    <a:pt x="16218" y="17849"/>
                    <a:pt x="19114" y="17849"/>
                    <a:pt x="21476" y="16506"/>
                  </a:cubicBezTo>
                  <a:lnTo>
                    <a:pt x="34144" y="9267"/>
                  </a:lnTo>
                  <a:cubicBezTo>
                    <a:pt x="35020" y="8877"/>
                    <a:pt x="35611" y="8038"/>
                    <a:pt x="35668" y="7076"/>
                  </a:cubicBezTo>
                  <a:lnTo>
                    <a:pt x="35668" y="-163"/>
                  </a:lnTo>
                  <a:cubicBezTo>
                    <a:pt x="35601" y="818"/>
                    <a:pt x="35020" y="1685"/>
                    <a:pt x="34144" y="2123"/>
                  </a:cubicBezTo>
                  <a:lnTo>
                    <a:pt x="31763" y="3457"/>
                  </a:lnTo>
                  <a:lnTo>
                    <a:pt x="21476" y="9362"/>
                  </a:lnTo>
                  <a:cubicBezTo>
                    <a:pt x="19114" y="10705"/>
                    <a:pt x="16218" y="10705"/>
                    <a:pt x="13856" y="9362"/>
                  </a:cubicBezTo>
                  <a:lnTo>
                    <a:pt x="3569" y="3457"/>
                  </a:lnTo>
                  <a:lnTo>
                    <a:pt x="1187"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09" name="îSľïḓé">
              <a:extLst>
                <a:ext uri="{FF2B5EF4-FFF2-40B4-BE49-F238E27FC236}">
                  <a16:creationId xmlns:a16="http://schemas.microsoft.com/office/drawing/2014/main" id="{CB080CA6-48D3-487E-B017-66E668AEB09A}"/>
                </a:ext>
              </a:extLst>
            </p:cNvPr>
            <p:cNvSpPr/>
            <p:nvPr/>
          </p:nvSpPr>
          <p:spPr>
            <a:xfrm>
              <a:off x="5621569" y="4862207"/>
              <a:ext cx="109740" cy="63289"/>
            </a:xfrm>
            <a:custGeom>
              <a:avLst/>
              <a:gdLst>
                <a:gd name="connsiteX0" fmla="*/ -336 w 36052"/>
                <a:gd name="connsiteY0" fmla="*/ 10177 h 20792"/>
                <a:gd name="connsiteX1" fmla="*/ 1283 w 36052"/>
                <a:gd name="connsiteY1" fmla="*/ 12463 h 20792"/>
                <a:gd name="connsiteX2" fmla="*/ 3569 w 36052"/>
                <a:gd name="connsiteY2" fmla="*/ 13796 h 20792"/>
                <a:gd name="connsiteX3" fmla="*/ 13856 w 36052"/>
                <a:gd name="connsiteY3" fmla="*/ 19702 h 20792"/>
                <a:gd name="connsiteX4" fmla="*/ 21571 w 36052"/>
                <a:gd name="connsiteY4" fmla="*/ 19702 h 20792"/>
                <a:gd name="connsiteX5" fmla="*/ 31858 w 36052"/>
                <a:gd name="connsiteY5" fmla="*/ 13796 h 20792"/>
                <a:gd name="connsiteX6" fmla="*/ 34144 w 36052"/>
                <a:gd name="connsiteY6" fmla="*/ 12463 h 20792"/>
                <a:gd name="connsiteX7" fmla="*/ 35573 w 36052"/>
                <a:gd name="connsiteY7" fmla="*/ 9415 h 20792"/>
                <a:gd name="connsiteX8" fmla="*/ 34144 w 36052"/>
                <a:gd name="connsiteY8" fmla="*/ 7986 h 20792"/>
                <a:gd name="connsiteX9" fmla="*/ 21571 w 36052"/>
                <a:gd name="connsiteY9" fmla="*/ 652 h 20792"/>
                <a:gd name="connsiteX10" fmla="*/ 13856 w 36052"/>
                <a:gd name="connsiteY10" fmla="*/ 652 h 20792"/>
                <a:gd name="connsiteX11" fmla="*/ 1283 w 36052"/>
                <a:gd name="connsiteY11" fmla="*/ 7986 h 20792"/>
                <a:gd name="connsiteX12" fmla="*/ -336 w 36052"/>
                <a:gd name="connsiteY12" fmla="*/ 10177 h 20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792">
                  <a:moveTo>
                    <a:pt x="-336" y="10177"/>
                  </a:moveTo>
                  <a:cubicBezTo>
                    <a:pt x="-231" y="11167"/>
                    <a:pt x="378" y="12034"/>
                    <a:pt x="1283" y="12463"/>
                  </a:cubicBezTo>
                  <a:lnTo>
                    <a:pt x="3569" y="13796"/>
                  </a:lnTo>
                  <a:lnTo>
                    <a:pt x="13856" y="19702"/>
                  </a:lnTo>
                  <a:cubicBezTo>
                    <a:pt x="16275" y="20940"/>
                    <a:pt x="19152" y="20940"/>
                    <a:pt x="21571" y="19702"/>
                  </a:cubicBezTo>
                  <a:lnTo>
                    <a:pt x="31858" y="13796"/>
                  </a:lnTo>
                  <a:lnTo>
                    <a:pt x="34144" y="12463"/>
                  </a:lnTo>
                  <a:cubicBezTo>
                    <a:pt x="35382" y="12015"/>
                    <a:pt x="36021" y="10643"/>
                    <a:pt x="35573" y="9415"/>
                  </a:cubicBezTo>
                  <a:cubicBezTo>
                    <a:pt x="35325" y="8748"/>
                    <a:pt x="34811" y="8224"/>
                    <a:pt x="34144" y="7986"/>
                  </a:cubicBezTo>
                  <a:lnTo>
                    <a:pt x="21571" y="652"/>
                  </a:lnTo>
                  <a:cubicBezTo>
                    <a:pt x="19114" y="-434"/>
                    <a:pt x="16314" y="-434"/>
                    <a:pt x="13856" y="652"/>
                  </a:cubicBezTo>
                  <a:lnTo>
                    <a:pt x="1283" y="7986"/>
                  </a:lnTo>
                  <a:cubicBezTo>
                    <a:pt x="407" y="8396"/>
                    <a:pt x="-203" y="9224"/>
                    <a:pt x="-336" y="10177"/>
                  </a:cubicBezTo>
                  <a:close/>
                </a:path>
              </a:pathLst>
            </a:custGeom>
            <a:solidFill>
              <a:srgbClr val="FFFFFF"/>
            </a:solidFill>
            <a:ln w="9525" cap="flat">
              <a:noFill/>
              <a:prstDash val="solid"/>
              <a:miter/>
            </a:ln>
          </p:spPr>
          <p:txBody>
            <a:bodyPr rtlCol="0" anchor="ctr"/>
            <a:lstStyle/>
            <a:p>
              <a:endParaRPr lang="zh-CN" altLang="en-US"/>
            </a:p>
          </p:txBody>
        </p:sp>
        <p:sp>
          <p:nvSpPr>
            <p:cNvPr id="610" name="îṡliḋe">
              <a:extLst>
                <a:ext uri="{FF2B5EF4-FFF2-40B4-BE49-F238E27FC236}">
                  <a16:creationId xmlns:a16="http://schemas.microsoft.com/office/drawing/2014/main" id="{9B4634F1-59C4-4D48-861E-BC65E604013D}"/>
                </a:ext>
              </a:extLst>
            </p:cNvPr>
            <p:cNvSpPr/>
            <p:nvPr/>
          </p:nvSpPr>
          <p:spPr>
            <a:xfrm>
              <a:off x="5623672" y="4863236"/>
              <a:ext cx="105679" cy="61104"/>
            </a:xfrm>
            <a:custGeom>
              <a:avLst/>
              <a:gdLst>
                <a:gd name="connsiteX0" fmla="*/ 1164 w 34718"/>
                <a:gd name="connsiteY0" fmla="*/ 12029 h 20074"/>
                <a:gd name="connsiteX1" fmla="*/ 13356 w 34718"/>
                <a:gd name="connsiteY1" fmla="*/ 18983 h 20074"/>
                <a:gd name="connsiteX2" fmla="*/ 20785 w 34718"/>
                <a:gd name="connsiteY2" fmla="*/ 18983 h 20074"/>
                <a:gd name="connsiteX3" fmla="*/ 32882 w 34718"/>
                <a:gd name="connsiteY3" fmla="*/ 12029 h 20074"/>
                <a:gd name="connsiteX4" fmla="*/ 32882 w 34718"/>
                <a:gd name="connsiteY4" fmla="*/ 7743 h 20074"/>
                <a:gd name="connsiteX5" fmla="*/ 20785 w 34718"/>
                <a:gd name="connsiteY5" fmla="*/ 695 h 20074"/>
                <a:gd name="connsiteX6" fmla="*/ 13356 w 34718"/>
                <a:gd name="connsiteY6" fmla="*/ 695 h 20074"/>
                <a:gd name="connsiteX7" fmla="*/ 1164 w 34718"/>
                <a:gd name="connsiteY7" fmla="*/ 7743 h 20074"/>
                <a:gd name="connsiteX8" fmla="*/ 1164 w 34718"/>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18" h="20074">
                  <a:moveTo>
                    <a:pt x="1164" y="12029"/>
                  </a:moveTo>
                  <a:lnTo>
                    <a:pt x="13356" y="18983"/>
                  </a:lnTo>
                  <a:cubicBezTo>
                    <a:pt x="15680" y="20221"/>
                    <a:pt x="18461" y="20221"/>
                    <a:pt x="20785" y="18983"/>
                  </a:cubicBezTo>
                  <a:lnTo>
                    <a:pt x="32882" y="12029"/>
                  </a:lnTo>
                  <a:cubicBezTo>
                    <a:pt x="34882" y="10791"/>
                    <a:pt x="34882" y="8886"/>
                    <a:pt x="32882" y="7743"/>
                  </a:cubicBezTo>
                  <a:lnTo>
                    <a:pt x="20785" y="695"/>
                  </a:lnTo>
                  <a:cubicBezTo>
                    <a:pt x="18442" y="-448"/>
                    <a:pt x="15699" y="-448"/>
                    <a:pt x="13356" y="695"/>
                  </a:cubicBezTo>
                  <a:lnTo>
                    <a:pt x="1164" y="7743"/>
                  </a:lnTo>
                  <a:cubicBezTo>
                    <a:pt x="-836" y="8886"/>
                    <a:pt x="-836" y="10791"/>
                    <a:pt x="1164" y="12029"/>
                  </a:cubicBezTo>
                  <a:close/>
                </a:path>
              </a:pathLst>
            </a:custGeom>
            <a:solidFill>
              <a:srgbClr val="D1D9E8"/>
            </a:solidFill>
            <a:ln w="9525" cap="flat">
              <a:noFill/>
              <a:prstDash val="solid"/>
              <a:miter/>
            </a:ln>
          </p:spPr>
          <p:txBody>
            <a:bodyPr rtlCol="0" anchor="ctr"/>
            <a:lstStyle/>
            <a:p>
              <a:endParaRPr lang="zh-CN" altLang="en-US"/>
            </a:p>
          </p:txBody>
        </p:sp>
        <p:sp>
          <p:nvSpPr>
            <p:cNvPr id="611" name="iṣlîdê">
              <a:extLst>
                <a:ext uri="{FF2B5EF4-FFF2-40B4-BE49-F238E27FC236}">
                  <a16:creationId xmlns:a16="http://schemas.microsoft.com/office/drawing/2014/main" id="{8430C535-2B5F-41B9-9C60-19F3D87ACE9F}"/>
                </a:ext>
              </a:extLst>
            </p:cNvPr>
            <p:cNvSpPr/>
            <p:nvPr/>
          </p:nvSpPr>
          <p:spPr>
            <a:xfrm>
              <a:off x="5621569" y="4893678"/>
              <a:ext cx="109883" cy="53804"/>
            </a:xfrm>
            <a:custGeom>
              <a:avLst/>
              <a:gdLst>
                <a:gd name="connsiteX0" fmla="*/ -336 w 36099"/>
                <a:gd name="connsiteY0" fmla="*/ -163 h 17676"/>
                <a:gd name="connsiteX1" fmla="*/ -336 w 36099"/>
                <a:gd name="connsiteY1" fmla="*/ 7076 h 17676"/>
                <a:gd name="connsiteX2" fmla="*/ 1283 w 36099"/>
                <a:gd name="connsiteY2" fmla="*/ 9267 h 17676"/>
                <a:gd name="connsiteX3" fmla="*/ 13856 w 36099"/>
                <a:gd name="connsiteY3" fmla="*/ 16506 h 17676"/>
                <a:gd name="connsiteX4" fmla="*/ 21571 w 36099"/>
                <a:gd name="connsiteY4" fmla="*/ 16506 h 17676"/>
                <a:gd name="connsiteX5" fmla="*/ 34144 w 36099"/>
                <a:gd name="connsiteY5" fmla="*/ 9267 h 17676"/>
                <a:gd name="connsiteX6" fmla="*/ 35764 w 36099"/>
                <a:gd name="connsiteY6" fmla="*/ 6981 h 17676"/>
                <a:gd name="connsiteX7" fmla="*/ 35764 w 36099"/>
                <a:gd name="connsiteY7" fmla="*/ -163 h 17676"/>
                <a:gd name="connsiteX8" fmla="*/ 34144 w 36099"/>
                <a:gd name="connsiteY8" fmla="*/ 2124 h 17676"/>
                <a:gd name="connsiteX9" fmla="*/ 31858 w 36099"/>
                <a:gd name="connsiteY9" fmla="*/ 3457 h 17676"/>
                <a:gd name="connsiteX10" fmla="*/ 21571 w 36099"/>
                <a:gd name="connsiteY10" fmla="*/ 9362 h 17676"/>
                <a:gd name="connsiteX11" fmla="*/ 13856 w 36099"/>
                <a:gd name="connsiteY11" fmla="*/ 9362 h 17676"/>
                <a:gd name="connsiteX12" fmla="*/ 3569 w 36099"/>
                <a:gd name="connsiteY12" fmla="*/ 3457 h 17676"/>
                <a:gd name="connsiteX13" fmla="*/ 1283 w 36099"/>
                <a:gd name="connsiteY13" fmla="*/ 2124 h 17676"/>
                <a:gd name="connsiteX14" fmla="*/ -336 w 36099"/>
                <a:gd name="connsiteY14" fmla="*/ -163 h 17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676">
                  <a:moveTo>
                    <a:pt x="-336" y="-163"/>
                  </a:moveTo>
                  <a:lnTo>
                    <a:pt x="-336" y="7076"/>
                  </a:lnTo>
                  <a:cubicBezTo>
                    <a:pt x="-222" y="8039"/>
                    <a:pt x="397" y="8877"/>
                    <a:pt x="1283" y="9267"/>
                  </a:cubicBezTo>
                  <a:lnTo>
                    <a:pt x="13856" y="16506"/>
                  </a:lnTo>
                  <a:cubicBezTo>
                    <a:pt x="16256" y="17849"/>
                    <a:pt x="19171" y="17849"/>
                    <a:pt x="21571" y="16506"/>
                  </a:cubicBezTo>
                  <a:lnTo>
                    <a:pt x="34144" y="9267"/>
                  </a:lnTo>
                  <a:cubicBezTo>
                    <a:pt x="35087" y="8896"/>
                    <a:pt x="35725" y="8001"/>
                    <a:pt x="35764" y="6981"/>
                  </a:cubicBezTo>
                  <a:lnTo>
                    <a:pt x="35764" y="-163"/>
                  </a:lnTo>
                  <a:cubicBezTo>
                    <a:pt x="35697" y="847"/>
                    <a:pt x="35068" y="1733"/>
                    <a:pt x="34144" y="2124"/>
                  </a:cubicBezTo>
                  <a:lnTo>
                    <a:pt x="31858" y="3457"/>
                  </a:lnTo>
                  <a:lnTo>
                    <a:pt x="21571" y="9362"/>
                  </a:lnTo>
                  <a:cubicBezTo>
                    <a:pt x="19152" y="10601"/>
                    <a:pt x="16275" y="10601"/>
                    <a:pt x="13856" y="9362"/>
                  </a:cubicBezTo>
                  <a:lnTo>
                    <a:pt x="3569" y="3457"/>
                  </a:lnTo>
                  <a:lnTo>
                    <a:pt x="1283" y="2124"/>
                  </a:lnTo>
                  <a:cubicBezTo>
                    <a:pt x="378" y="1695"/>
                    <a:pt x="-231"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12" name="ïṩľîḓè">
              <a:extLst>
                <a:ext uri="{FF2B5EF4-FFF2-40B4-BE49-F238E27FC236}">
                  <a16:creationId xmlns:a16="http://schemas.microsoft.com/office/drawing/2014/main" id="{5904289F-9349-4BC6-A53C-5CE1184EACD1}"/>
                </a:ext>
              </a:extLst>
            </p:cNvPr>
            <p:cNvSpPr/>
            <p:nvPr/>
          </p:nvSpPr>
          <p:spPr>
            <a:xfrm>
              <a:off x="5698982" y="4906703"/>
              <a:ext cx="109740" cy="63445"/>
            </a:xfrm>
            <a:custGeom>
              <a:avLst/>
              <a:gdLst>
                <a:gd name="connsiteX0" fmla="*/ -336 w 36052"/>
                <a:gd name="connsiteY0" fmla="*/ 10227 h 20843"/>
                <a:gd name="connsiteX1" fmla="*/ 1188 w 36052"/>
                <a:gd name="connsiteY1" fmla="*/ 12513 h 20843"/>
                <a:gd name="connsiteX2" fmla="*/ 3569 w 36052"/>
                <a:gd name="connsiteY2" fmla="*/ 13846 h 20843"/>
                <a:gd name="connsiteX3" fmla="*/ 13856 w 36052"/>
                <a:gd name="connsiteY3" fmla="*/ 19752 h 20843"/>
                <a:gd name="connsiteX4" fmla="*/ 21476 w 36052"/>
                <a:gd name="connsiteY4" fmla="*/ 19752 h 20843"/>
                <a:gd name="connsiteX5" fmla="*/ 31763 w 36052"/>
                <a:gd name="connsiteY5" fmla="*/ 13846 h 20843"/>
                <a:gd name="connsiteX6" fmla="*/ 34144 w 36052"/>
                <a:gd name="connsiteY6" fmla="*/ 12513 h 20843"/>
                <a:gd name="connsiteX7" fmla="*/ 35573 w 36052"/>
                <a:gd name="connsiteY7" fmla="*/ 9465 h 20843"/>
                <a:gd name="connsiteX8" fmla="*/ 34144 w 36052"/>
                <a:gd name="connsiteY8" fmla="*/ 8036 h 20843"/>
                <a:gd name="connsiteX9" fmla="*/ 21476 w 36052"/>
                <a:gd name="connsiteY9" fmla="*/ 702 h 20843"/>
                <a:gd name="connsiteX10" fmla="*/ 13856 w 36052"/>
                <a:gd name="connsiteY10" fmla="*/ 702 h 20843"/>
                <a:gd name="connsiteX11" fmla="*/ 1188 w 36052"/>
                <a:gd name="connsiteY11" fmla="*/ 8036 h 20843"/>
                <a:gd name="connsiteX12" fmla="*/ -336 w 36052"/>
                <a:gd name="connsiteY12" fmla="*/ 10227 h 20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3">
                  <a:moveTo>
                    <a:pt x="-336" y="10227"/>
                  </a:moveTo>
                  <a:cubicBezTo>
                    <a:pt x="-270" y="11208"/>
                    <a:pt x="311" y="12075"/>
                    <a:pt x="1188" y="12513"/>
                  </a:cubicBezTo>
                  <a:lnTo>
                    <a:pt x="3569" y="13846"/>
                  </a:lnTo>
                  <a:lnTo>
                    <a:pt x="13856" y="19752"/>
                  </a:lnTo>
                  <a:cubicBezTo>
                    <a:pt x="16247" y="20990"/>
                    <a:pt x="19085" y="20990"/>
                    <a:pt x="21476" y="19752"/>
                  </a:cubicBezTo>
                  <a:lnTo>
                    <a:pt x="31763" y="13846"/>
                  </a:lnTo>
                  <a:lnTo>
                    <a:pt x="34144" y="12513"/>
                  </a:lnTo>
                  <a:cubicBezTo>
                    <a:pt x="35382" y="12065"/>
                    <a:pt x="36020" y="10694"/>
                    <a:pt x="35573" y="9465"/>
                  </a:cubicBezTo>
                  <a:cubicBezTo>
                    <a:pt x="35325" y="8798"/>
                    <a:pt x="34811" y="8274"/>
                    <a:pt x="34144"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613" name="ïşļîḍe">
              <a:extLst>
                <a:ext uri="{FF2B5EF4-FFF2-40B4-BE49-F238E27FC236}">
                  <a16:creationId xmlns:a16="http://schemas.microsoft.com/office/drawing/2014/main" id="{19EBC936-FBE5-494E-B7FE-55F953952D56}"/>
                </a:ext>
              </a:extLst>
            </p:cNvPr>
            <p:cNvSpPr/>
            <p:nvPr/>
          </p:nvSpPr>
          <p:spPr>
            <a:xfrm>
              <a:off x="5701012" y="4907887"/>
              <a:ext cx="106260" cy="61101"/>
            </a:xfrm>
            <a:custGeom>
              <a:avLst/>
              <a:gdLst>
                <a:gd name="connsiteX0" fmla="*/ 1378 w 34909"/>
                <a:gd name="connsiteY0" fmla="*/ 12029 h 20073"/>
                <a:gd name="connsiteX1" fmla="*/ 13475 w 34909"/>
                <a:gd name="connsiteY1" fmla="*/ 18982 h 20073"/>
                <a:gd name="connsiteX2" fmla="*/ 20904 w 34909"/>
                <a:gd name="connsiteY2" fmla="*/ 18982 h 20073"/>
                <a:gd name="connsiteX3" fmla="*/ 33001 w 34909"/>
                <a:gd name="connsiteY3" fmla="*/ 12029 h 20073"/>
                <a:gd name="connsiteX4" fmla="*/ 33001 w 34909"/>
                <a:gd name="connsiteY4" fmla="*/ 7743 h 20073"/>
                <a:gd name="connsiteX5" fmla="*/ 20904 w 34909"/>
                <a:gd name="connsiteY5" fmla="*/ 695 h 20073"/>
                <a:gd name="connsiteX6" fmla="*/ 13475 w 34909"/>
                <a:gd name="connsiteY6" fmla="*/ 695 h 20073"/>
                <a:gd name="connsiteX7" fmla="*/ 1378 w 34909"/>
                <a:gd name="connsiteY7" fmla="*/ 7743 h 20073"/>
                <a:gd name="connsiteX8" fmla="*/ 1378 w 34909"/>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909" h="20073">
                  <a:moveTo>
                    <a:pt x="1378" y="12029"/>
                  </a:moveTo>
                  <a:lnTo>
                    <a:pt x="13475" y="18982"/>
                  </a:lnTo>
                  <a:cubicBezTo>
                    <a:pt x="15799" y="20221"/>
                    <a:pt x="18580" y="20221"/>
                    <a:pt x="20904" y="18982"/>
                  </a:cubicBezTo>
                  <a:lnTo>
                    <a:pt x="33001" y="12029"/>
                  </a:lnTo>
                  <a:cubicBezTo>
                    <a:pt x="35097" y="10791"/>
                    <a:pt x="35097" y="8886"/>
                    <a:pt x="33001" y="7743"/>
                  </a:cubicBezTo>
                  <a:lnTo>
                    <a:pt x="20904" y="695"/>
                  </a:lnTo>
                  <a:cubicBezTo>
                    <a:pt x="18561" y="-448"/>
                    <a:pt x="15818" y="-448"/>
                    <a:pt x="13475" y="695"/>
                  </a:cubicBezTo>
                  <a:lnTo>
                    <a:pt x="1378" y="7743"/>
                  </a:lnTo>
                  <a:cubicBezTo>
                    <a:pt x="-908" y="8886"/>
                    <a:pt x="-908" y="10791"/>
                    <a:pt x="1378" y="12029"/>
                  </a:cubicBezTo>
                  <a:close/>
                </a:path>
              </a:pathLst>
            </a:custGeom>
            <a:solidFill>
              <a:srgbClr val="D1D9E8"/>
            </a:solidFill>
            <a:ln w="9525" cap="flat">
              <a:noFill/>
              <a:prstDash val="solid"/>
              <a:miter/>
            </a:ln>
          </p:spPr>
          <p:txBody>
            <a:bodyPr rtlCol="0" anchor="ctr"/>
            <a:lstStyle/>
            <a:p>
              <a:endParaRPr lang="zh-CN" altLang="en-US"/>
            </a:p>
          </p:txBody>
        </p:sp>
        <p:sp>
          <p:nvSpPr>
            <p:cNvPr id="614" name="isļîḋé">
              <a:extLst>
                <a:ext uri="{FF2B5EF4-FFF2-40B4-BE49-F238E27FC236}">
                  <a16:creationId xmlns:a16="http://schemas.microsoft.com/office/drawing/2014/main" id="{0E3F959E-C2A4-42E6-9D9E-34B06BE75793}"/>
                </a:ext>
              </a:extLst>
            </p:cNvPr>
            <p:cNvSpPr/>
            <p:nvPr/>
          </p:nvSpPr>
          <p:spPr>
            <a:xfrm>
              <a:off x="5698982" y="4938329"/>
              <a:ext cx="109594" cy="53801"/>
            </a:xfrm>
            <a:custGeom>
              <a:avLst/>
              <a:gdLst>
                <a:gd name="connsiteX0" fmla="*/ -336 w 36004"/>
                <a:gd name="connsiteY0" fmla="*/ -163 h 17675"/>
                <a:gd name="connsiteX1" fmla="*/ -336 w 36004"/>
                <a:gd name="connsiteY1" fmla="*/ 7076 h 17675"/>
                <a:gd name="connsiteX2" fmla="*/ 1188 w 36004"/>
                <a:gd name="connsiteY2" fmla="*/ 9267 h 17675"/>
                <a:gd name="connsiteX3" fmla="*/ 13856 w 36004"/>
                <a:gd name="connsiteY3" fmla="*/ 16506 h 17675"/>
                <a:gd name="connsiteX4" fmla="*/ 21476 w 36004"/>
                <a:gd name="connsiteY4" fmla="*/ 16506 h 17675"/>
                <a:gd name="connsiteX5" fmla="*/ 34144 w 36004"/>
                <a:gd name="connsiteY5" fmla="*/ 9267 h 17675"/>
                <a:gd name="connsiteX6" fmla="*/ 35668 w 36004"/>
                <a:gd name="connsiteY6" fmla="*/ 6981 h 17675"/>
                <a:gd name="connsiteX7" fmla="*/ 35668 w 36004"/>
                <a:gd name="connsiteY7" fmla="*/ -163 h 17675"/>
                <a:gd name="connsiteX8" fmla="*/ 34144 w 36004"/>
                <a:gd name="connsiteY8" fmla="*/ 2123 h 17675"/>
                <a:gd name="connsiteX9" fmla="*/ 31763 w 36004"/>
                <a:gd name="connsiteY9" fmla="*/ 3457 h 17675"/>
                <a:gd name="connsiteX10" fmla="*/ 21476 w 36004"/>
                <a:gd name="connsiteY10" fmla="*/ 9362 h 17675"/>
                <a:gd name="connsiteX11" fmla="*/ 13856 w 36004"/>
                <a:gd name="connsiteY11" fmla="*/ 9362 h 17675"/>
                <a:gd name="connsiteX12" fmla="*/ 3569 w 36004"/>
                <a:gd name="connsiteY12" fmla="*/ 3457 h 17675"/>
                <a:gd name="connsiteX13" fmla="*/ 1188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41" y="8019"/>
                    <a:pt x="340" y="8848"/>
                    <a:pt x="1188" y="9267"/>
                  </a:cubicBezTo>
                  <a:lnTo>
                    <a:pt x="13856" y="16506"/>
                  </a:lnTo>
                  <a:cubicBezTo>
                    <a:pt x="16218" y="17849"/>
                    <a:pt x="19114" y="17849"/>
                    <a:pt x="21476" y="16506"/>
                  </a:cubicBezTo>
                  <a:lnTo>
                    <a:pt x="34144" y="9267"/>
                  </a:lnTo>
                  <a:cubicBezTo>
                    <a:pt x="35021" y="8829"/>
                    <a:pt x="35602" y="7962"/>
                    <a:pt x="35668" y="6981"/>
                  </a:cubicBezTo>
                  <a:lnTo>
                    <a:pt x="35668" y="-163"/>
                  </a:lnTo>
                  <a:cubicBezTo>
                    <a:pt x="35602" y="818"/>
                    <a:pt x="35021" y="1685"/>
                    <a:pt x="34144" y="2123"/>
                  </a:cubicBezTo>
                  <a:lnTo>
                    <a:pt x="31763" y="3457"/>
                  </a:lnTo>
                  <a:lnTo>
                    <a:pt x="21476" y="9362"/>
                  </a:lnTo>
                  <a:cubicBezTo>
                    <a:pt x="19085" y="10601"/>
                    <a:pt x="16247" y="10601"/>
                    <a:pt x="13856" y="9362"/>
                  </a:cubicBezTo>
                  <a:lnTo>
                    <a:pt x="3569" y="3457"/>
                  </a:lnTo>
                  <a:lnTo>
                    <a:pt x="1188"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15" name="íṥ1îďe">
              <a:extLst>
                <a:ext uri="{FF2B5EF4-FFF2-40B4-BE49-F238E27FC236}">
                  <a16:creationId xmlns:a16="http://schemas.microsoft.com/office/drawing/2014/main" id="{60F2A2A9-0765-4B50-B849-578BC7A19F05}"/>
                </a:ext>
              </a:extLst>
            </p:cNvPr>
            <p:cNvSpPr/>
            <p:nvPr/>
          </p:nvSpPr>
          <p:spPr>
            <a:xfrm>
              <a:off x="5776395" y="4951354"/>
              <a:ext cx="109447" cy="63445"/>
            </a:xfrm>
            <a:custGeom>
              <a:avLst/>
              <a:gdLst>
                <a:gd name="connsiteX0" fmla="*/ -336 w 35956"/>
                <a:gd name="connsiteY0" fmla="*/ 10227 h 20843"/>
                <a:gd name="connsiteX1" fmla="*/ 1187 w 35956"/>
                <a:gd name="connsiteY1" fmla="*/ 12513 h 20843"/>
                <a:gd name="connsiteX2" fmla="*/ 3569 w 35956"/>
                <a:gd name="connsiteY2" fmla="*/ 13846 h 20843"/>
                <a:gd name="connsiteX3" fmla="*/ 13856 w 35956"/>
                <a:gd name="connsiteY3" fmla="*/ 19752 h 20843"/>
                <a:gd name="connsiteX4" fmla="*/ 21476 w 35956"/>
                <a:gd name="connsiteY4" fmla="*/ 19752 h 20843"/>
                <a:gd name="connsiteX5" fmla="*/ 31763 w 35956"/>
                <a:gd name="connsiteY5" fmla="*/ 13846 h 20843"/>
                <a:gd name="connsiteX6" fmla="*/ 34049 w 35956"/>
                <a:gd name="connsiteY6" fmla="*/ 12513 h 20843"/>
                <a:gd name="connsiteX7" fmla="*/ 35477 w 35956"/>
                <a:gd name="connsiteY7" fmla="*/ 9465 h 20843"/>
                <a:gd name="connsiteX8" fmla="*/ 34049 w 35956"/>
                <a:gd name="connsiteY8" fmla="*/ 8036 h 20843"/>
                <a:gd name="connsiteX9" fmla="*/ 21476 w 35956"/>
                <a:gd name="connsiteY9" fmla="*/ 702 h 20843"/>
                <a:gd name="connsiteX10" fmla="*/ 13856 w 35956"/>
                <a:gd name="connsiteY10" fmla="*/ 702 h 20843"/>
                <a:gd name="connsiteX11" fmla="*/ 1187 w 35956"/>
                <a:gd name="connsiteY11" fmla="*/ 8036 h 20843"/>
                <a:gd name="connsiteX12" fmla="*/ -336 w 35956"/>
                <a:gd name="connsiteY12" fmla="*/ 10227 h 20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956" h="20843">
                  <a:moveTo>
                    <a:pt x="-336" y="10227"/>
                  </a:moveTo>
                  <a:cubicBezTo>
                    <a:pt x="-270" y="11208"/>
                    <a:pt x="311" y="12075"/>
                    <a:pt x="1187" y="12513"/>
                  </a:cubicBezTo>
                  <a:lnTo>
                    <a:pt x="3569" y="13846"/>
                  </a:lnTo>
                  <a:lnTo>
                    <a:pt x="13856" y="19752"/>
                  </a:lnTo>
                  <a:cubicBezTo>
                    <a:pt x="16247" y="20990"/>
                    <a:pt x="19085" y="20990"/>
                    <a:pt x="21476" y="19752"/>
                  </a:cubicBezTo>
                  <a:lnTo>
                    <a:pt x="31763" y="13846"/>
                  </a:lnTo>
                  <a:lnTo>
                    <a:pt x="34049" y="12513"/>
                  </a:lnTo>
                  <a:cubicBezTo>
                    <a:pt x="35287" y="12065"/>
                    <a:pt x="35925" y="10693"/>
                    <a:pt x="35477" y="9465"/>
                  </a:cubicBezTo>
                  <a:cubicBezTo>
                    <a:pt x="35230" y="8798"/>
                    <a:pt x="34716" y="8274"/>
                    <a:pt x="34049" y="8036"/>
                  </a:cubicBezTo>
                  <a:lnTo>
                    <a:pt x="21476" y="702"/>
                  </a:lnTo>
                  <a:cubicBezTo>
                    <a:pt x="19066" y="-451"/>
                    <a:pt x="16266" y="-451"/>
                    <a:pt x="13856" y="702"/>
                  </a:cubicBezTo>
                  <a:lnTo>
                    <a:pt x="1187"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616" name="î$ļiḑè">
              <a:extLst>
                <a:ext uri="{FF2B5EF4-FFF2-40B4-BE49-F238E27FC236}">
                  <a16:creationId xmlns:a16="http://schemas.microsoft.com/office/drawing/2014/main" id="{88D6D309-2A1D-4D45-BE40-8E4949588D4A}"/>
                </a:ext>
              </a:extLst>
            </p:cNvPr>
            <p:cNvSpPr/>
            <p:nvPr/>
          </p:nvSpPr>
          <p:spPr>
            <a:xfrm>
              <a:off x="5778206" y="4952535"/>
              <a:ext cx="105898" cy="61101"/>
            </a:xfrm>
            <a:custGeom>
              <a:avLst/>
              <a:gdLst>
                <a:gd name="connsiteX0" fmla="*/ 1164 w 34790"/>
                <a:gd name="connsiteY0" fmla="*/ 12029 h 20073"/>
                <a:gd name="connsiteX1" fmla="*/ 13356 w 34790"/>
                <a:gd name="connsiteY1" fmla="*/ 18983 h 20073"/>
                <a:gd name="connsiteX2" fmla="*/ 20785 w 34790"/>
                <a:gd name="connsiteY2" fmla="*/ 18983 h 20073"/>
                <a:gd name="connsiteX3" fmla="*/ 32882 w 34790"/>
                <a:gd name="connsiteY3" fmla="*/ 12029 h 20073"/>
                <a:gd name="connsiteX4" fmla="*/ 32882 w 34790"/>
                <a:gd name="connsiteY4" fmla="*/ 7743 h 20073"/>
                <a:gd name="connsiteX5" fmla="*/ 20785 w 34790"/>
                <a:gd name="connsiteY5" fmla="*/ 695 h 20073"/>
                <a:gd name="connsiteX6" fmla="*/ 13356 w 34790"/>
                <a:gd name="connsiteY6" fmla="*/ 695 h 20073"/>
                <a:gd name="connsiteX7" fmla="*/ 1164 w 34790"/>
                <a:gd name="connsiteY7" fmla="*/ 7743 h 20073"/>
                <a:gd name="connsiteX8" fmla="*/ 1164 w 34790"/>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3">
                  <a:moveTo>
                    <a:pt x="1164" y="12029"/>
                  </a:moveTo>
                  <a:lnTo>
                    <a:pt x="13356" y="18983"/>
                  </a:lnTo>
                  <a:cubicBezTo>
                    <a:pt x="15680" y="20221"/>
                    <a:pt x="18461" y="20221"/>
                    <a:pt x="20785" y="18983"/>
                  </a:cubicBezTo>
                  <a:lnTo>
                    <a:pt x="32882" y="12029"/>
                  </a:lnTo>
                  <a:cubicBezTo>
                    <a:pt x="34978" y="10791"/>
                    <a:pt x="34978" y="8886"/>
                    <a:pt x="32882" y="7743"/>
                  </a:cubicBezTo>
                  <a:lnTo>
                    <a:pt x="20785" y="695"/>
                  </a:lnTo>
                  <a:cubicBezTo>
                    <a:pt x="18442" y="-448"/>
                    <a:pt x="15699" y="-448"/>
                    <a:pt x="13356" y="695"/>
                  </a:cubicBezTo>
                  <a:lnTo>
                    <a:pt x="1164" y="7743"/>
                  </a:lnTo>
                  <a:cubicBezTo>
                    <a:pt x="-836" y="8886"/>
                    <a:pt x="-836" y="10791"/>
                    <a:pt x="1164" y="12029"/>
                  </a:cubicBezTo>
                  <a:close/>
                </a:path>
              </a:pathLst>
            </a:custGeom>
            <a:solidFill>
              <a:srgbClr val="D1D9E8"/>
            </a:solidFill>
            <a:ln w="9525" cap="flat">
              <a:noFill/>
              <a:prstDash val="solid"/>
              <a:miter/>
            </a:ln>
          </p:spPr>
          <p:txBody>
            <a:bodyPr rtlCol="0" anchor="ctr"/>
            <a:lstStyle/>
            <a:p>
              <a:endParaRPr lang="zh-CN" altLang="en-US"/>
            </a:p>
          </p:txBody>
        </p:sp>
        <p:sp>
          <p:nvSpPr>
            <p:cNvPr id="617" name="íṡľîďe">
              <a:extLst>
                <a:ext uri="{FF2B5EF4-FFF2-40B4-BE49-F238E27FC236}">
                  <a16:creationId xmlns:a16="http://schemas.microsoft.com/office/drawing/2014/main" id="{4683B326-926F-4565-96B7-87D320D4241E}"/>
                </a:ext>
              </a:extLst>
            </p:cNvPr>
            <p:cNvSpPr/>
            <p:nvPr/>
          </p:nvSpPr>
          <p:spPr>
            <a:xfrm>
              <a:off x="5776395" y="4982978"/>
              <a:ext cx="109594" cy="53564"/>
            </a:xfrm>
            <a:custGeom>
              <a:avLst/>
              <a:gdLst>
                <a:gd name="connsiteX0" fmla="*/ -336 w 36004"/>
                <a:gd name="connsiteY0" fmla="*/ -163 h 17597"/>
                <a:gd name="connsiteX1" fmla="*/ -336 w 36004"/>
                <a:gd name="connsiteY1" fmla="*/ 7076 h 17597"/>
                <a:gd name="connsiteX2" fmla="*/ 1187 w 36004"/>
                <a:gd name="connsiteY2" fmla="*/ 9267 h 17597"/>
                <a:gd name="connsiteX3" fmla="*/ 13856 w 36004"/>
                <a:gd name="connsiteY3" fmla="*/ 16506 h 17597"/>
                <a:gd name="connsiteX4" fmla="*/ 21476 w 36004"/>
                <a:gd name="connsiteY4" fmla="*/ 16506 h 17597"/>
                <a:gd name="connsiteX5" fmla="*/ 34049 w 36004"/>
                <a:gd name="connsiteY5" fmla="*/ 9267 h 17597"/>
                <a:gd name="connsiteX6" fmla="*/ 35668 w 36004"/>
                <a:gd name="connsiteY6" fmla="*/ 6981 h 17597"/>
                <a:gd name="connsiteX7" fmla="*/ 35668 w 36004"/>
                <a:gd name="connsiteY7" fmla="*/ -163 h 17597"/>
                <a:gd name="connsiteX8" fmla="*/ 34049 w 36004"/>
                <a:gd name="connsiteY8" fmla="*/ 2123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7 w 36004"/>
                <a:gd name="connsiteY13" fmla="*/ 2123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7" y="9267"/>
                  </a:cubicBezTo>
                  <a:lnTo>
                    <a:pt x="13856" y="16506"/>
                  </a:lnTo>
                  <a:cubicBezTo>
                    <a:pt x="16247" y="17744"/>
                    <a:pt x="19085" y="17744"/>
                    <a:pt x="21476" y="16506"/>
                  </a:cubicBezTo>
                  <a:lnTo>
                    <a:pt x="34049" y="9267"/>
                  </a:lnTo>
                  <a:cubicBezTo>
                    <a:pt x="34963" y="8857"/>
                    <a:pt x="35582" y="7981"/>
                    <a:pt x="35668" y="6981"/>
                  </a:cubicBezTo>
                  <a:lnTo>
                    <a:pt x="35668" y="-163"/>
                  </a:lnTo>
                  <a:cubicBezTo>
                    <a:pt x="35601" y="847"/>
                    <a:pt x="34982" y="1733"/>
                    <a:pt x="34049" y="2123"/>
                  </a:cubicBezTo>
                  <a:lnTo>
                    <a:pt x="31763" y="3457"/>
                  </a:lnTo>
                  <a:lnTo>
                    <a:pt x="21476" y="9362"/>
                  </a:lnTo>
                  <a:cubicBezTo>
                    <a:pt x="19085" y="10601"/>
                    <a:pt x="16247" y="10601"/>
                    <a:pt x="13856" y="9362"/>
                  </a:cubicBezTo>
                  <a:lnTo>
                    <a:pt x="3569" y="3457"/>
                  </a:lnTo>
                  <a:lnTo>
                    <a:pt x="1187"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18" name="îşlïďê">
              <a:extLst>
                <a:ext uri="{FF2B5EF4-FFF2-40B4-BE49-F238E27FC236}">
                  <a16:creationId xmlns:a16="http://schemas.microsoft.com/office/drawing/2014/main" id="{BE9778D8-5F71-4834-8199-B96716F673B5}"/>
                </a:ext>
              </a:extLst>
            </p:cNvPr>
            <p:cNvSpPr/>
            <p:nvPr/>
          </p:nvSpPr>
          <p:spPr>
            <a:xfrm>
              <a:off x="5853516" y="4996003"/>
              <a:ext cx="109740" cy="63442"/>
            </a:xfrm>
            <a:custGeom>
              <a:avLst/>
              <a:gdLst>
                <a:gd name="connsiteX0" fmla="*/ -336 w 36052"/>
                <a:gd name="connsiteY0" fmla="*/ 10227 h 20842"/>
                <a:gd name="connsiteX1" fmla="*/ 1283 w 36052"/>
                <a:gd name="connsiteY1" fmla="*/ 12513 h 20842"/>
                <a:gd name="connsiteX2" fmla="*/ 3569 w 36052"/>
                <a:gd name="connsiteY2" fmla="*/ 13846 h 20842"/>
                <a:gd name="connsiteX3" fmla="*/ 13856 w 36052"/>
                <a:gd name="connsiteY3" fmla="*/ 19752 h 20842"/>
                <a:gd name="connsiteX4" fmla="*/ 21476 w 36052"/>
                <a:gd name="connsiteY4" fmla="*/ 19752 h 20842"/>
                <a:gd name="connsiteX5" fmla="*/ 31763 w 36052"/>
                <a:gd name="connsiteY5" fmla="*/ 13846 h 20842"/>
                <a:gd name="connsiteX6" fmla="*/ 34144 w 36052"/>
                <a:gd name="connsiteY6" fmla="*/ 12513 h 20842"/>
                <a:gd name="connsiteX7" fmla="*/ 35573 w 36052"/>
                <a:gd name="connsiteY7" fmla="*/ 9465 h 20842"/>
                <a:gd name="connsiteX8" fmla="*/ 34144 w 36052"/>
                <a:gd name="connsiteY8" fmla="*/ 8036 h 20842"/>
                <a:gd name="connsiteX9" fmla="*/ 21476 w 36052"/>
                <a:gd name="connsiteY9" fmla="*/ 702 h 20842"/>
                <a:gd name="connsiteX10" fmla="*/ 13856 w 36052"/>
                <a:gd name="connsiteY10" fmla="*/ 702 h 20842"/>
                <a:gd name="connsiteX11" fmla="*/ 1283 w 36052"/>
                <a:gd name="connsiteY11" fmla="*/ 8036 h 20842"/>
                <a:gd name="connsiteX12" fmla="*/ -336 w 36052"/>
                <a:gd name="connsiteY12" fmla="*/ 10227 h 20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2">
                  <a:moveTo>
                    <a:pt x="-336" y="10227"/>
                  </a:moveTo>
                  <a:cubicBezTo>
                    <a:pt x="-269" y="11236"/>
                    <a:pt x="350" y="12122"/>
                    <a:pt x="1283" y="12513"/>
                  </a:cubicBezTo>
                  <a:lnTo>
                    <a:pt x="3569" y="13846"/>
                  </a:lnTo>
                  <a:lnTo>
                    <a:pt x="13856" y="19752"/>
                  </a:lnTo>
                  <a:cubicBezTo>
                    <a:pt x="16247" y="20990"/>
                    <a:pt x="19085" y="20990"/>
                    <a:pt x="21476" y="19752"/>
                  </a:cubicBezTo>
                  <a:lnTo>
                    <a:pt x="31763" y="13846"/>
                  </a:lnTo>
                  <a:lnTo>
                    <a:pt x="34144" y="12513"/>
                  </a:lnTo>
                  <a:cubicBezTo>
                    <a:pt x="35382" y="12065"/>
                    <a:pt x="36021" y="10693"/>
                    <a:pt x="35573" y="9465"/>
                  </a:cubicBezTo>
                  <a:cubicBezTo>
                    <a:pt x="35325" y="8798"/>
                    <a:pt x="34811" y="8274"/>
                    <a:pt x="34144" y="8036"/>
                  </a:cubicBezTo>
                  <a:lnTo>
                    <a:pt x="21476" y="702"/>
                  </a:lnTo>
                  <a:cubicBezTo>
                    <a:pt x="19066" y="-451"/>
                    <a:pt x="16266" y="-451"/>
                    <a:pt x="13856" y="702"/>
                  </a:cubicBezTo>
                  <a:lnTo>
                    <a:pt x="1283" y="8036"/>
                  </a:lnTo>
                  <a:cubicBezTo>
                    <a:pt x="378" y="8417"/>
                    <a:pt x="-241" y="9255"/>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619" name="ïSḻiďe">
              <a:extLst>
                <a:ext uri="{FF2B5EF4-FFF2-40B4-BE49-F238E27FC236}">
                  <a16:creationId xmlns:a16="http://schemas.microsoft.com/office/drawing/2014/main" id="{7E62B54D-12EE-44FB-9EE6-EE308A611986}"/>
                </a:ext>
              </a:extLst>
            </p:cNvPr>
            <p:cNvSpPr/>
            <p:nvPr/>
          </p:nvSpPr>
          <p:spPr>
            <a:xfrm>
              <a:off x="5855400" y="4997184"/>
              <a:ext cx="105898" cy="61104"/>
            </a:xfrm>
            <a:custGeom>
              <a:avLst/>
              <a:gdLst>
                <a:gd name="connsiteX0" fmla="*/ 1235 w 34790"/>
                <a:gd name="connsiteY0" fmla="*/ 12029 h 20074"/>
                <a:gd name="connsiteX1" fmla="*/ 13332 w 34790"/>
                <a:gd name="connsiteY1" fmla="*/ 18983 h 20074"/>
                <a:gd name="connsiteX2" fmla="*/ 20761 w 34790"/>
                <a:gd name="connsiteY2" fmla="*/ 18983 h 20074"/>
                <a:gd name="connsiteX3" fmla="*/ 32954 w 34790"/>
                <a:gd name="connsiteY3" fmla="*/ 12029 h 20074"/>
                <a:gd name="connsiteX4" fmla="*/ 32954 w 34790"/>
                <a:gd name="connsiteY4" fmla="*/ 7743 h 20074"/>
                <a:gd name="connsiteX5" fmla="*/ 20761 w 34790"/>
                <a:gd name="connsiteY5" fmla="*/ 695 h 20074"/>
                <a:gd name="connsiteX6" fmla="*/ 13332 w 34790"/>
                <a:gd name="connsiteY6" fmla="*/ 695 h 20074"/>
                <a:gd name="connsiteX7" fmla="*/ 1235 w 34790"/>
                <a:gd name="connsiteY7" fmla="*/ 7743 h 20074"/>
                <a:gd name="connsiteX8" fmla="*/ 1235 w 34790"/>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4">
                  <a:moveTo>
                    <a:pt x="1235" y="12029"/>
                  </a:moveTo>
                  <a:lnTo>
                    <a:pt x="13332" y="18983"/>
                  </a:lnTo>
                  <a:cubicBezTo>
                    <a:pt x="15656" y="20221"/>
                    <a:pt x="18437" y="20221"/>
                    <a:pt x="20761" y="18983"/>
                  </a:cubicBezTo>
                  <a:lnTo>
                    <a:pt x="32954" y="12029"/>
                  </a:lnTo>
                  <a:cubicBezTo>
                    <a:pt x="34954" y="10791"/>
                    <a:pt x="34954" y="8886"/>
                    <a:pt x="32954" y="7743"/>
                  </a:cubicBezTo>
                  <a:lnTo>
                    <a:pt x="20761" y="695"/>
                  </a:lnTo>
                  <a:cubicBezTo>
                    <a:pt x="18419" y="-448"/>
                    <a:pt x="15675" y="-448"/>
                    <a:pt x="13332" y="695"/>
                  </a:cubicBezTo>
                  <a:lnTo>
                    <a:pt x="1235" y="7743"/>
                  </a:lnTo>
                  <a:cubicBezTo>
                    <a:pt x="-860" y="8886"/>
                    <a:pt x="-860" y="10601"/>
                    <a:pt x="1235" y="12029"/>
                  </a:cubicBezTo>
                  <a:close/>
                </a:path>
              </a:pathLst>
            </a:custGeom>
            <a:solidFill>
              <a:srgbClr val="D1D9E8"/>
            </a:solidFill>
            <a:ln w="9525" cap="flat">
              <a:noFill/>
              <a:prstDash val="solid"/>
              <a:miter/>
            </a:ln>
          </p:spPr>
          <p:txBody>
            <a:bodyPr rtlCol="0" anchor="ctr"/>
            <a:lstStyle/>
            <a:p>
              <a:endParaRPr lang="zh-CN" altLang="en-US"/>
            </a:p>
          </p:txBody>
        </p:sp>
        <p:sp>
          <p:nvSpPr>
            <p:cNvPr id="620" name="îṩľïḋè">
              <a:extLst>
                <a:ext uri="{FF2B5EF4-FFF2-40B4-BE49-F238E27FC236}">
                  <a16:creationId xmlns:a16="http://schemas.microsoft.com/office/drawing/2014/main" id="{33E5153B-1132-4428-92AF-849E36B8523C}"/>
                </a:ext>
              </a:extLst>
            </p:cNvPr>
            <p:cNvSpPr/>
            <p:nvPr/>
          </p:nvSpPr>
          <p:spPr>
            <a:xfrm>
              <a:off x="5853516" y="5027629"/>
              <a:ext cx="109594" cy="53564"/>
            </a:xfrm>
            <a:custGeom>
              <a:avLst/>
              <a:gdLst>
                <a:gd name="connsiteX0" fmla="*/ -336 w 36004"/>
                <a:gd name="connsiteY0" fmla="*/ -163 h 17597"/>
                <a:gd name="connsiteX1" fmla="*/ -336 w 36004"/>
                <a:gd name="connsiteY1" fmla="*/ 7076 h 17597"/>
                <a:gd name="connsiteX2" fmla="*/ 1283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3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283 w 36004"/>
                <a:gd name="connsiteY13" fmla="*/ 2123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48"/>
                    <a:pt x="378" y="8886"/>
                    <a:pt x="1283" y="9267"/>
                  </a:cubicBezTo>
                  <a:lnTo>
                    <a:pt x="13856" y="16506"/>
                  </a:lnTo>
                  <a:cubicBezTo>
                    <a:pt x="16247" y="17744"/>
                    <a:pt x="19085" y="17744"/>
                    <a:pt x="21476" y="16506"/>
                  </a:cubicBezTo>
                  <a:lnTo>
                    <a:pt x="34144" y="9267"/>
                  </a:lnTo>
                  <a:cubicBezTo>
                    <a:pt x="35011" y="8819"/>
                    <a:pt x="35583" y="7953"/>
                    <a:pt x="35668" y="6981"/>
                  </a:cubicBezTo>
                  <a:lnTo>
                    <a:pt x="35668" y="-163"/>
                  </a:lnTo>
                  <a:cubicBezTo>
                    <a:pt x="35602" y="818"/>
                    <a:pt x="35021" y="1685"/>
                    <a:pt x="34144" y="2123"/>
                  </a:cubicBezTo>
                  <a:lnTo>
                    <a:pt x="31763" y="3457"/>
                  </a:lnTo>
                  <a:lnTo>
                    <a:pt x="21476" y="9362"/>
                  </a:lnTo>
                  <a:cubicBezTo>
                    <a:pt x="19085" y="10600"/>
                    <a:pt x="16247" y="10600"/>
                    <a:pt x="13856" y="9362"/>
                  </a:cubicBezTo>
                  <a:lnTo>
                    <a:pt x="3569" y="3457"/>
                  </a:lnTo>
                  <a:lnTo>
                    <a:pt x="1283" y="2123"/>
                  </a:lnTo>
                  <a:cubicBezTo>
                    <a:pt x="350" y="1733"/>
                    <a:pt x="-269" y="847"/>
                    <a:pt x="-336" y="-163"/>
                  </a:cubicBezTo>
                  <a:close/>
                </a:path>
              </a:pathLst>
            </a:custGeom>
            <a:solidFill>
              <a:srgbClr val="BF4200"/>
            </a:solidFill>
            <a:ln w="9525" cap="flat">
              <a:noFill/>
              <a:prstDash val="solid"/>
              <a:miter/>
            </a:ln>
          </p:spPr>
          <p:txBody>
            <a:bodyPr rtlCol="0" anchor="ctr"/>
            <a:lstStyle/>
            <a:p>
              <a:endParaRPr lang="zh-CN" altLang="en-US"/>
            </a:p>
          </p:txBody>
        </p:sp>
        <p:sp>
          <p:nvSpPr>
            <p:cNvPr id="621" name="ïṡļídé">
              <a:extLst>
                <a:ext uri="{FF2B5EF4-FFF2-40B4-BE49-F238E27FC236}">
                  <a16:creationId xmlns:a16="http://schemas.microsoft.com/office/drawing/2014/main" id="{5C3D1EE0-2E15-41EA-87BC-C53FE833ED6B}"/>
                </a:ext>
              </a:extLst>
            </p:cNvPr>
            <p:cNvSpPr/>
            <p:nvPr/>
          </p:nvSpPr>
          <p:spPr>
            <a:xfrm>
              <a:off x="5930929" y="5040456"/>
              <a:ext cx="109594" cy="63639"/>
            </a:xfrm>
            <a:custGeom>
              <a:avLst/>
              <a:gdLst>
                <a:gd name="connsiteX0" fmla="*/ -336 w 36004"/>
                <a:gd name="connsiteY0" fmla="*/ 10291 h 20907"/>
                <a:gd name="connsiteX1" fmla="*/ 1188 w 36004"/>
                <a:gd name="connsiteY1" fmla="*/ 12577 h 20907"/>
                <a:gd name="connsiteX2" fmla="*/ 3569 w 36004"/>
                <a:gd name="connsiteY2" fmla="*/ 13911 h 20907"/>
                <a:gd name="connsiteX3" fmla="*/ 13856 w 36004"/>
                <a:gd name="connsiteY3" fmla="*/ 19816 h 20907"/>
                <a:gd name="connsiteX4" fmla="*/ 21476 w 36004"/>
                <a:gd name="connsiteY4" fmla="*/ 19816 h 20907"/>
                <a:gd name="connsiteX5" fmla="*/ 31763 w 36004"/>
                <a:gd name="connsiteY5" fmla="*/ 13911 h 20907"/>
                <a:gd name="connsiteX6" fmla="*/ 34144 w 36004"/>
                <a:gd name="connsiteY6" fmla="*/ 12577 h 20907"/>
                <a:gd name="connsiteX7" fmla="*/ 35668 w 36004"/>
                <a:gd name="connsiteY7" fmla="*/ 10291 h 20907"/>
                <a:gd name="connsiteX8" fmla="*/ 34144 w 36004"/>
                <a:gd name="connsiteY8" fmla="*/ 8101 h 20907"/>
                <a:gd name="connsiteX9" fmla="*/ 21476 w 36004"/>
                <a:gd name="connsiteY9" fmla="*/ 766 h 20907"/>
                <a:gd name="connsiteX10" fmla="*/ 13856 w 36004"/>
                <a:gd name="connsiteY10" fmla="*/ 766 h 20907"/>
                <a:gd name="connsiteX11" fmla="*/ 1188 w 36004"/>
                <a:gd name="connsiteY11" fmla="*/ 8101 h 20907"/>
                <a:gd name="connsiteX12" fmla="*/ -336 w 36004"/>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907">
                  <a:moveTo>
                    <a:pt x="-336" y="10291"/>
                  </a:moveTo>
                  <a:cubicBezTo>
                    <a:pt x="-270" y="11272"/>
                    <a:pt x="311" y="12139"/>
                    <a:pt x="1188" y="12577"/>
                  </a:cubicBezTo>
                  <a:lnTo>
                    <a:pt x="3569" y="13911"/>
                  </a:lnTo>
                  <a:lnTo>
                    <a:pt x="13856" y="19816"/>
                  </a:lnTo>
                  <a:cubicBezTo>
                    <a:pt x="16247" y="21054"/>
                    <a:pt x="19085" y="21054"/>
                    <a:pt x="21476" y="19816"/>
                  </a:cubicBezTo>
                  <a:lnTo>
                    <a:pt x="31763" y="13911"/>
                  </a:lnTo>
                  <a:lnTo>
                    <a:pt x="34144" y="12577"/>
                  </a:lnTo>
                  <a:cubicBezTo>
                    <a:pt x="35021" y="12139"/>
                    <a:pt x="35602" y="11272"/>
                    <a:pt x="35668" y="10291"/>
                  </a:cubicBezTo>
                  <a:cubicBezTo>
                    <a:pt x="35611" y="9339"/>
                    <a:pt x="35021" y="8491"/>
                    <a:pt x="34144" y="8101"/>
                  </a:cubicBezTo>
                  <a:lnTo>
                    <a:pt x="21476" y="766"/>
                  </a:lnTo>
                  <a:cubicBezTo>
                    <a:pt x="19085" y="-472"/>
                    <a:pt x="16247" y="-472"/>
                    <a:pt x="13856" y="766"/>
                  </a:cubicBezTo>
                  <a:lnTo>
                    <a:pt x="1188" y="8101"/>
                  </a:lnTo>
                  <a:cubicBezTo>
                    <a:pt x="311" y="8491"/>
                    <a:pt x="-279"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622" name="îṧliḋe">
              <a:extLst>
                <a:ext uri="{FF2B5EF4-FFF2-40B4-BE49-F238E27FC236}">
                  <a16:creationId xmlns:a16="http://schemas.microsoft.com/office/drawing/2014/main" id="{7AD30AA5-2E9C-4BC3-81CC-F2287C3A14D8}"/>
                </a:ext>
              </a:extLst>
            </p:cNvPr>
            <p:cNvSpPr/>
            <p:nvPr/>
          </p:nvSpPr>
          <p:spPr>
            <a:xfrm>
              <a:off x="5932747" y="5041835"/>
              <a:ext cx="106760" cy="61101"/>
            </a:xfrm>
            <a:custGeom>
              <a:avLst/>
              <a:gdLst>
                <a:gd name="connsiteX0" fmla="*/ 1448 w 35073"/>
                <a:gd name="connsiteY0" fmla="*/ 12029 h 20073"/>
                <a:gd name="connsiteX1" fmla="*/ 13640 w 35073"/>
                <a:gd name="connsiteY1" fmla="*/ 18983 h 20073"/>
                <a:gd name="connsiteX2" fmla="*/ 21069 w 35073"/>
                <a:gd name="connsiteY2" fmla="*/ 18983 h 20073"/>
                <a:gd name="connsiteX3" fmla="*/ 33166 w 35073"/>
                <a:gd name="connsiteY3" fmla="*/ 12029 h 20073"/>
                <a:gd name="connsiteX4" fmla="*/ 33166 w 35073"/>
                <a:gd name="connsiteY4" fmla="*/ 7648 h 20073"/>
                <a:gd name="connsiteX5" fmla="*/ 20498 w 35073"/>
                <a:gd name="connsiteY5" fmla="*/ 695 h 20073"/>
                <a:gd name="connsiteX6" fmla="*/ 13068 w 35073"/>
                <a:gd name="connsiteY6" fmla="*/ 695 h 20073"/>
                <a:gd name="connsiteX7" fmla="*/ 876 w 35073"/>
                <a:gd name="connsiteY7" fmla="*/ 7648 h 20073"/>
                <a:gd name="connsiteX8" fmla="*/ -29 w 35073"/>
                <a:gd name="connsiteY8" fmla="*/ 10886 h 20073"/>
                <a:gd name="connsiteX9" fmla="*/ 1448 w 35073"/>
                <a:gd name="connsiteY9"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5073" h="20073">
                  <a:moveTo>
                    <a:pt x="1448" y="12029"/>
                  </a:moveTo>
                  <a:lnTo>
                    <a:pt x="13640" y="18983"/>
                  </a:lnTo>
                  <a:cubicBezTo>
                    <a:pt x="15964" y="20221"/>
                    <a:pt x="18745" y="20221"/>
                    <a:pt x="21069" y="18983"/>
                  </a:cubicBezTo>
                  <a:lnTo>
                    <a:pt x="33166" y="12029"/>
                  </a:lnTo>
                  <a:cubicBezTo>
                    <a:pt x="35261" y="10791"/>
                    <a:pt x="35261" y="8886"/>
                    <a:pt x="33166" y="7648"/>
                  </a:cubicBezTo>
                  <a:lnTo>
                    <a:pt x="20498" y="695"/>
                  </a:lnTo>
                  <a:cubicBezTo>
                    <a:pt x="18154" y="-448"/>
                    <a:pt x="15411" y="-448"/>
                    <a:pt x="13068" y="695"/>
                  </a:cubicBezTo>
                  <a:lnTo>
                    <a:pt x="876" y="7648"/>
                  </a:lnTo>
                  <a:cubicBezTo>
                    <a:pt x="-267" y="8296"/>
                    <a:pt x="-676" y="9743"/>
                    <a:pt x="-29" y="10886"/>
                  </a:cubicBezTo>
                  <a:cubicBezTo>
                    <a:pt x="285" y="11458"/>
                    <a:pt x="819" y="11867"/>
                    <a:pt x="1448" y="12029"/>
                  </a:cubicBezTo>
                  <a:close/>
                </a:path>
              </a:pathLst>
            </a:custGeom>
            <a:solidFill>
              <a:srgbClr val="D1D9E8"/>
            </a:solidFill>
            <a:ln w="9525" cap="flat">
              <a:noFill/>
              <a:prstDash val="solid"/>
              <a:miter/>
            </a:ln>
          </p:spPr>
          <p:txBody>
            <a:bodyPr rtlCol="0" anchor="ctr"/>
            <a:lstStyle/>
            <a:p>
              <a:endParaRPr lang="zh-CN" altLang="en-US"/>
            </a:p>
          </p:txBody>
        </p:sp>
        <p:sp>
          <p:nvSpPr>
            <p:cNvPr id="623" name="ïṩlídè">
              <a:extLst>
                <a:ext uri="{FF2B5EF4-FFF2-40B4-BE49-F238E27FC236}">
                  <a16:creationId xmlns:a16="http://schemas.microsoft.com/office/drawing/2014/main" id="{86C90858-DFD3-48AA-95A3-B6B0EA3BF0BF}"/>
                </a:ext>
              </a:extLst>
            </p:cNvPr>
            <p:cNvSpPr/>
            <p:nvPr/>
          </p:nvSpPr>
          <p:spPr>
            <a:xfrm>
              <a:off x="5930929" y="5072277"/>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4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4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20"/>
                    <a:pt x="35582" y="7953"/>
                    <a:pt x="35668" y="6981"/>
                  </a:cubicBezTo>
                  <a:lnTo>
                    <a:pt x="35668" y="-163"/>
                  </a:lnTo>
                  <a:cubicBezTo>
                    <a:pt x="35602" y="818"/>
                    <a:pt x="35021" y="1685"/>
                    <a:pt x="34144" y="2124"/>
                  </a:cubicBezTo>
                  <a:lnTo>
                    <a:pt x="31763" y="3457"/>
                  </a:lnTo>
                  <a:lnTo>
                    <a:pt x="21476" y="9362"/>
                  </a:lnTo>
                  <a:cubicBezTo>
                    <a:pt x="19085" y="10601"/>
                    <a:pt x="16247" y="10601"/>
                    <a:pt x="13856" y="9362"/>
                  </a:cubicBezTo>
                  <a:lnTo>
                    <a:pt x="3569" y="3457"/>
                  </a:lnTo>
                  <a:lnTo>
                    <a:pt x="1188" y="2124"/>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24" name="iśļíḓê">
              <a:extLst>
                <a:ext uri="{FF2B5EF4-FFF2-40B4-BE49-F238E27FC236}">
                  <a16:creationId xmlns:a16="http://schemas.microsoft.com/office/drawing/2014/main" id="{8B720D40-DE24-4A09-8F98-497196DF7E34}"/>
                </a:ext>
              </a:extLst>
            </p:cNvPr>
            <p:cNvSpPr/>
            <p:nvPr/>
          </p:nvSpPr>
          <p:spPr>
            <a:xfrm>
              <a:off x="6008053" y="5085108"/>
              <a:ext cx="109883" cy="63639"/>
            </a:xfrm>
            <a:custGeom>
              <a:avLst/>
              <a:gdLst>
                <a:gd name="connsiteX0" fmla="*/ -336 w 36099"/>
                <a:gd name="connsiteY0" fmla="*/ 10291 h 20907"/>
                <a:gd name="connsiteX1" fmla="*/ 1283 w 36099"/>
                <a:gd name="connsiteY1" fmla="*/ 12577 h 20907"/>
                <a:gd name="connsiteX2" fmla="*/ 3569 w 36099"/>
                <a:gd name="connsiteY2" fmla="*/ 13911 h 20907"/>
                <a:gd name="connsiteX3" fmla="*/ 13856 w 36099"/>
                <a:gd name="connsiteY3" fmla="*/ 19816 h 20907"/>
                <a:gd name="connsiteX4" fmla="*/ 21571 w 36099"/>
                <a:gd name="connsiteY4" fmla="*/ 19816 h 20907"/>
                <a:gd name="connsiteX5" fmla="*/ 31858 w 36099"/>
                <a:gd name="connsiteY5" fmla="*/ 13911 h 20907"/>
                <a:gd name="connsiteX6" fmla="*/ 34144 w 36099"/>
                <a:gd name="connsiteY6" fmla="*/ 12577 h 20907"/>
                <a:gd name="connsiteX7" fmla="*/ 35764 w 36099"/>
                <a:gd name="connsiteY7" fmla="*/ 10291 h 20907"/>
                <a:gd name="connsiteX8" fmla="*/ 34144 w 36099"/>
                <a:gd name="connsiteY8" fmla="*/ 8100 h 20907"/>
                <a:gd name="connsiteX9" fmla="*/ 21571 w 36099"/>
                <a:gd name="connsiteY9" fmla="*/ 766 h 20907"/>
                <a:gd name="connsiteX10" fmla="*/ 13856 w 36099"/>
                <a:gd name="connsiteY10" fmla="*/ 766 h 20907"/>
                <a:gd name="connsiteX11" fmla="*/ 1283 w 36099"/>
                <a:gd name="connsiteY11" fmla="*/ 8100 h 20907"/>
                <a:gd name="connsiteX12" fmla="*/ -336 w 36099"/>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99" h="20907">
                  <a:moveTo>
                    <a:pt x="-336" y="10291"/>
                  </a:moveTo>
                  <a:cubicBezTo>
                    <a:pt x="-270" y="11301"/>
                    <a:pt x="359" y="12187"/>
                    <a:pt x="1283" y="12577"/>
                  </a:cubicBezTo>
                  <a:lnTo>
                    <a:pt x="3569" y="13911"/>
                  </a:lnTo>
                  <a:lnTo>
                    <a:pt x="13856" y="19816"/>
                  </a:lnTo>
                  <a:cubicBezTo>
                    <a:pt x="16275" y="21054"/>
                    <a:pt x="19152" y="21054"/>
                    <a:pt x="21571" y="19816"/>
                  </a:cubicBezTo>
                  <a:lnTo>
                    <a:pt x="31858" y="13911"/>
                  </a:lnTo>
                  <a:lnTo>
                    <a:pt x="34144" y="12577"/>
                  </a:lnTo>
                  <a:cubicBezTo>
                    <a:pt x="35049" y="12149"/>
                    <a:pt x="35659" y="11282"/>
                    <a:pt x="35764" y="10291"/>
                  </a:cubicBezTo>
                  <a:cubicBezTo>
                    <a:pt x="35649" y="9329"/>
                    <a:pt x="35030" y="8491"/>
                    <a:pt x="34144" y="8100"/>
                  </a:cubicBezTo>
                  <a:lnTo>
                    <a:pt x="21571" y="766"/>
                  </a:lnTo>
                  <a:cubicBezTo>
                    <a:pt x="19152" y="-472"/>
                    <a:pt x="16275" y="-472"/>
                    <a:pt x="13856" y="766"/>
                  </a:cubicBezTo>
                  <a:lnTo>
                    <a:pt x="1283" y="8100"/>
                  </a:lnTo>
                  <a:cubicBezTo>
                    <a:pt x="369" y="8462"/>
                    <a:pt x="-260" y="9310"/>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625" name="iṥlíḑe">
              <a:extLst>
                <a:ext uri="{FF2B5EF4-FFF2-40B4-BE49-F238E27FC236}">
                  <a16:creationId xmlns:a16="http://schemas.microsoft.com/office/drawing/2014/main" id="{A4FEA2B0-8C41-4D06-9801-8402CDD16068}"/>
                </a:ext>
              </a:extLst>
            </p:cNvPr>
            <p:cNvSpPr/>
            <p:nvPr/>
          </p:nvSpPr>
          <p:spPr>
            <a:xfrm>
              <a:off x="6009938" y="5086267"/>
              <a:ext cx="105895" cy="61101"/>
            </a:xfrm>
            <a:custGeom>
              <a:avLst/>
              <a:gdLst>
                <a:gd name="connsiteX0" fmla="*/ 1235 w 34789"/>
                <a:gd name="connsiteY0" fmla="*/ 12006 h 20073"/>
                <a:gd name="connsiteX1" fmla="*/ 13332 w 34789"/>
                <a:gd name="connsiteY1" fmla="*/ 19054 h 20073"/>
                <a:gd name="connsiteX2" fmla="*/ 20761 w 34789"/>
                <a:gd name="connsiteY2" fmla="*/ 19054 h 20073"/>
                <a:gd name="connsiteX3" fmla="*/ 32953 w 34789"/>
                <a:gd name="connsiteY3" fmla="*/ 12006 h 20073"/>
                <a:gd name="connsiteX4" fmla="*/ 32953 w 34789"/>
                <a:gd name="connsiteY4" fmla="*/ 7719 h 20073"/>
                <a:gd name="connsiteX5" fmla="*/ 20761 w 34789"/>
                <a:gd name="connsiteY5" fmla="*/ 766 h 20073"/>
                <a:gd name="connsiteX6" fmla="*/ 13332 w 34789"/>
                <a:gd name="connsiteY6" fmla="*/ 766 h 20073"/>
                <a:gd name="connsiteX7" fmla="*/ 1235 w 34789"/>
                <a:gd name="connsiteY7" fmla="*/ 7719 h 20073"/>
                <a:gd name="connsiteX8" fmla="*/ 1235 w 34789"/>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89" h="20073">
                  <a:moveTo>
                    <a:pt x="1235" y="12006"/>
                  </a:moveTo>
                  <a:lnTo>
                    <a:pt x="13332" y="19054"/>
                  </a:lnTo>
                  <a:cubicBezTo>
                    <a:pt x="15675" y="20197"/>
                    <a:pt x="18418" y="20197"/>
                    <a:pt x="20761" y="19054"/>
                  </a:cubicBezTo>
                  <a:lnTo>
                    <a:pt x="32953" y="12006"/>
                  </a:lnTo>
                  <a:cubicBezTo>
                    <a:pt x="34954" y="10863"/>
                    <a:pt x="34954" y="8957"/>
                    <a:pt x="32953" y="7719"/>
                  </a:cubicBezTo>
                  <a:lnTo>
                    <a:pt x="20761" y="766"/>
                  </a:lnTo>
                  <a:cubicBezTo>
                    <a:pt x="18437" y="-472"/>
                    <a:pt x="15656" y="-472"/>
                    <a:pt x="13332" y="766"/>
                  </a:cubicBezTo>
                  <a:lnTo>
                    <a:pt x="1235" y="7719"/>
                  </a:lnTo>
                  <a:cubicBezTo>
                    <a:pt x="-860" y="8957"/>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626" name="iṥ1ïḓé">
              <a:extLst>
                <a:ext uri="{FF2B5EF4-FFF2-40B4-BE49-F238E27FC236}">
                  <a16:creationId xmlns:a16="http://schemas.microsoft.com/office/drawing/2014/main" id="{F1D60A0B-47E4-4BE7-84CE-A60B4CC23647}"/>
                </a:ext>
              </a:extLst>
            </p:cNvPr>
            <p:cNvSpPr/>
            <p:nvPr/>
          </p:nvSpPr>
          <p:spPr>
            <a:xfrm>
              <a:off x="6008053" y="5116929"/>
              <a:ext cx="109015" cy="53564"/>
            </a:xfrm>
            <a:custGeom>
              <a:avLst/>
              <a:gdLst>
                <a:gd name="connsiteX0" fmla="*/ -336 w 35814"/>
                <a:gd name="connsiteY0" fmla="*/ -163 h 17597"/>
                <a:gd name="connsiteX1" fmla="*/ -336 w 35814"/>
                <a:gd name="connsiteY1" fmla="*/ 7076 h 17597"/>
                <a:gd name="connsiteX2" fmla="*/ 1283 w 35814"/>
                <a:gd name="connsiteY2" fmla="*/ 9267 h 17597"/>
                <a:gd name="connsiteX3" fmla="*/ 13856 w 35814"/>
                <a:gd name="connsiteY3" fmla="*/ 16506 h 17597"/>
                <a:gd name="connsiteX4" fmla="*/ 21571 w 35814"/>
                <a:gd name="connsiteY4" fmla="*/ 16506 h 17597"/>
                <a:gd name="connsiteX5" fmla="*/ 33858 w 35814"/>
                <a:gd name="connsiteY5" fmla="*/ 9362 h 17597"/>
                <a:gd name="connsiteX6" fmla="*/ 35478 w 35814"/>
                <a:gd name="connsiteY6" fmla="*/ 7076 h 17597"/>
                <a:gd name="connsiteX7" fmla="*/ 35478 w 35814"/>
                <a:gd name="connsiteY7" fmla="*/ -163 h 17597"/>
                <a:gd name="connsiteX8" fmla="*/ 33858 w 35814"/>
                <a:gd name="connsiteY8" fmla="*/ 2123 h 17597"/>
                <a:gd name="connsiteX9" fmla="*/ 31572 w 35814"/>
                <a:gd name="connsiteY9" fmla="*/ 3457 h 17597"/>
                <a:gd name="connsiteX10" fmla="*/ 21285 w 35814"/>
                <a:gd name="connsiteY10" fmla="*/ 9362 h 17597"/>
                <a:gd name="connsiteX11" fmla="*/ 13570 w 35814"/>
                <a:gd name="connsiteY11" fmla="*/ 9362 h 17597"/>
                <a:gd name="connsiteX12" fmla="*/ 3283 w 35814"/>
                <a:gd name="connsiteY12" fmla="*/ 3457 h 17597"/>
                <a:gd name="connsiteX13" fmla="*/ 997 w 35814"/>
                <a:gd name="connsiteY13" fmla="*/ 2123 h 17597"/>
                <a:gd name="connsiteX14" fmla="*/ -336 w 3581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5814" h="17597">
                  <a:moveTo>
                    <a:pt x="-336" y="-163"/>
                  </a:moveTo>
                  <a:lnTo>
                    <a:pt x="-336" y="7076"/>
                  </a:lnTo>
                  <a:cubicBezTo>
                    <a:pt x="-241" y="8048"/>
                    <a:pt x="387" y="8886"/>
                    <a:pt x="1283" y="9267"/>
                  </a:cubicBezTo>
                  <a:lnTo>
                    <a:pt x="13856" y="16506"/>
                  </a:lnTo>
                  <a:cubicBezTo>
                    <a:pt x="16275" y="17744"/>
                    <a:pt x="19152" y="17744"/>
                    <a:pt x="21571" y="16506"/>
                  </a:cubicBezTo>
                  <a:lnTo>
                    <a:pt x="33858" y="9362"/>
                  </a:lnTo>
                  <a:cubicBezTo>
                    <a:pt x="34744" y="8924"/>
                    <a:pt x="35354" y="8058"/>
                    <a:pt x="35478" y="7076"/>
                  </a:cubicBezTo>
                  <a:lnTo>
                    <a:pt x="35478" y="-163"/>
                  </a:lnTo>
                  <a:cubicBezTo>
                    <a:pt x="35373" y="828"/>
                    <a:pt x="34763" y="1695"/>
                    <a:pt x="33858" y="2123"/>
                  </a:cubicBezTo>
                  <a:lnTo>
                    <a:pt x="31572" y="3457"/>
                  </a:lnTo>
                  <a:lnTo>
                    <a:pt x="21285" y="9362"/>
                  </a:lnTo>
                  <a:cubicBezTo>
                    <a:pt x="18866" y="10601"/>
                    <a:pt x="15989" y="10601"/>
                    <a:pt x="13570" y="9362"/>
                  </a:cubicBezTo>
                  <a:lnTo>
                    <a:pt x="3283" y="3457"/>
                  </a:lnTo>
                  <a:lnTo>
                    <a:pt x="997" y="2123"/>
                  </a:lnTo>
                  <a:cubicBezTo>
                    <a:pt x="178" y="1647"/>
                    <a:pt x="-327" y="780"/>
                    <a:pt x="-336" y="-163"/>
                  </a:cubicBezTo>
                  <a:close/>
                </a:path>
              </a:pathLst>
            </a:custGeom>
            <a:solidFill>
              <a:srgbClr val="BF4200"/>
            </a:solidFill>
            <a:ln w="9525" cap="flat">
              <a:noFill/>
              <a:prstDash val="solid"/>
              <a:miter/>
            </a:ln>
          </p:spPr>
          <p:txBody>
            <a:bodyPr rtlCol="0" anchor="ctr"/>
            <a:lstStyle/>
            <a:p>
              <a:endParaRPr lang="zh-CN" altLang="en-US"/>
            </a:p>
          </p:txBody>
        </p:sp>
        <p:sp>
          <p:nvSpPr>
            <p:cNvPr id="627" name="îṡḻïḋe">
              <a:extLst>
                <a:ext uri="{FF2B5EF4-FFF2-40B4-BE49-F238E27FC236}">
                  <a16:creationId xmlns:a16="http://schemas.microsoft.com/office/drawing/2014/main" id="{1A52E50A-AA9B-435E-8219-9295451422B7}"/>
                </a:ext>
              </a:extLst>
            </p:cNvPr>
            <p:cNvSpPr/>
            <p:nvPr/>
          </p:nvSpPr>
          <p:spPr>
            <a:xfrm>
              <a:off x="6085464" y="5129759"/>
              <a:ext cx="109362" cy="63588"/>
            </a:xfrm>
            <a:custGeom>
              <a:avLst/>
              <a:gdLst>
                <a:gd name="connsiteX0" fmla="*/ -336 w 35928"/>
                <a:gd name="connsiteY0" fmla="*/ 10291 h 20890"/>
                <a:gd name="connsiteX1" fmla="*/ 1188 w 35928"/>
                <a:gd name="connsiteY1" fmla="*/ 12482 h 20890"/>
                <a:gd name="connsiteX2" fmla="*/ 3569 w 35928"/>
                <a:gd name="connsiteY2" fmla="*/ 13911 h 20890"/>
                <a:gd name="connsiteX3" fmla="*/ 13856 w 35928"/>
                <a:gd name="connsiteY3" fmla="*/ 19721 h 20890"/>
                <a:gd name="connsiteX4" fmla="*/ 21476 w 35928"/>
                <a:gd name="connsiteY4" fmla="*/ 19721 h 20890"/>
                <a:gd name="connsiteX5" fmla="*/ 31763 w 35928"/>
                <a:gd name="connsiteY5" fmla="*/ 13911 h 20890"/>
                <a:gd name="connsiteX6" fmla="*/ 34144 w 35928"/>
                <a:gd name="connsiteY6" fmla="*/ 12482 h 20890"/>
                <a:gd name="connsiteX7" fmla="*/ 35402 w 35928"/>
                <a:gd name="connsiteY7" fmla="*/ 9357 h 20890"/>
                <a:gd name="connsiteX8" fmla="*/ 34144 w 35928"/>
                <a:gd name="connsiteY8" fmla="*/ 8100 h 20890"/>
                <a:gd name="connsiteX9" fmla="*/ 21476 w 35928"/>
                <a:gd name="connsiteY9" fmla="*/ 766 h 20890"/>
                <a:gd name="connsiteX10" fmla="*/ 13856 w 35928"/>
                <a:gd name="connsiteY10" fmla="*/ 766 h 20890"/>
                <a:gd name="connsiteX11" fmla="*/ 1188 w 35928"/>
                <a:gd name="connsiteY11" fmla="*/ 8100 h 20890"/>
                <a:gd name="connsiteX12" fmla="*/ -336 w 35928"/>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928" h="20890">
                  <a:moveTo>
                    <a:pt x="-336" y="10291"/>
                  </a:moveTo>
                  <a:cubicBezTo>
                    <a:pt x="-298" y="11253"/>
                    <a:pt x="292" y="12110"/>
                    <a:pt x="1188" y="12482"/>
                  </a:cubicBezTo>
                  <a:lnTo>
                    <a:pt x="3569" y="13911"/>
                  </a:lnTo>
                  <a:lnTo>
                    <a:pt x="13856" y="19721"/>
                  </a:lnTo>
                  <a:cubicBezTo>
                    <a:pt x="16218" y="21064"/>
                    <a:pt x="19114" y="21064"/>
                    <a:pt x="21476" y="19721"/>
                  </a:cubicBezTo>
                  <a:lnTo>
                    <a:pt x="31763" y="13911"/>
                  </a:lnTo>
                  <a:lnTo>
                    <a:pt x="34144" y="12482"/>
                  </a:lnTo>
                  <a:cubicBezTo>
                    <a:pt x="35354" y="11967"/>
                    <a:pt x="35916" y="10567"/>
                    <a:pt x="35402" y="9357"/>
                  </a:cubicBezTo>
                  <a:cubicBezTo>
                    <a:pt x="35164" y="8796"/>
                    <a:pt x="34706" y="8338"/>
                    <a:pt x="34144" y="8100"/>
                  </a:cubicBezTo>
                  <a:lnTo>
                    <a:pt x="21476" y="766"/>
                  </a:lnTo>
                  <a:cubicBezTo>
                    <a:pt x="19085" y="-472"/>
                    <a:pt x="16247" y="-472"/>
                    <a:pt x="13856" y="766"/>
                  </a:cubicBezTo>
                  <a:lnTo>
                    <a:pt x="1188" y="8100"/>
                  </a:lnTo>
                  <a:cubicBezTo>
                    <a:pt x="292" y="8472"/>
                    <a:pt x="-298"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628" name="îṧḷîḋé">
              <a:extLst>
                <a:ext uri="{FF2B5EF4-FFF2-40B4-BE49-F238E27FC236}">
                  <a16:creationId xmlns:a16="http://schemas.microsoft.com/office/drawing/2014/main" id="{01824EF5-CDFF-40F4-829F-6868A6E02889}"/>
                </a:ext>
              </a:extLst>
            </p:cNvPr>
            <p:cNvSpPr/>
            <p:nvPr/>
          </p:nvSpPr>
          <p:spPr>
            <a:xfrm>
              <a:off x="6087348" y="5130919"/>
              <a:ext cx="105825" cy="61101"/>
            </a:xfrm>
            <a:custGeom>
              <a:avLst/>
              <a:gdLst>
                <a:gd name="connsiteX0" fmla="*/ 1235 w 34766"/>
                <a:gd name="connsiteY0" fmla="*/ 12006 h 20073"/>
                <a:gd name="connsiteX1" fmla="*/ 13332 w 34766"/>
                <a:gd name="connsiteY1" fmla="*/ 19054 h 20073"/>
                <a:gd name="connsiteX2" fmla="*/ 20761 w 34766"/>
                <a:gd name="connsiteY2" fmla="*/ 19054 h 20073"/>
                <a:gd name="connsiteX3" fmla="*/ 32858 w 34766"/>
                <a:gd name="connsiteY3" fmla="*/ 12006 h 20073"/>
                <a:gd name="connsiteX4" fmla="*/ 32858 w 34766"/>
                <a:gd name="connsiteY4" fmla="*/ 7719 h 20073"/>
                <a:gd name="connsiteX5" fmla="*/ 20761 w 34766"/>
                <a:gd name="connsiteY5" fmla="*/ 766 h 20073"/>
                <a:gd name="connsiteX6" fmla="*/ 13332 w 34766"/>
                <a:gd name="connsiteY6" fmla="*/ 766 h 20073"/>
                <a:gd name="connsiteX7" fmla="*/ 1235 w 34766"/>
                <a:gd name="connsiteY7" fmla="*/ 7719 h 20073"/>
                <a:gd name="connsiteX8" fmla="*/ 1235 w 34766"/>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6" h="20073">
                  <a:moveTo>
                    <a:pt x="1235" y="12006"/>
                  </a:moveTo>
                  <a:lnTo>
                    <a:pt x="13332" y="19054"/>
                  </a:lnTo>
                  <a:cubicBezTo>
                    <a:pt x="15675" y="20197"/>
                    <a:pt x="18419" y="20197"/>
                    <a:pt x="20761" y="19054"/>
                  </a:cubicBezTo>
                  <a:lnTo>
                    <a:pt x="32858" y="12006"/>
                  </a:lnTo>
                  <a:cubicBezTo>
                    <a:pt x="34954" y="10863"/>
                    <a:pt x="34954" y="8958"/>
                    <a:pt x="32858" y="7719"/>
                  </a:cubicBezTo>
                  <a:lnTo>
                    <a:pt x="20761" y="766"/>
                  </a:lnTo>
                  <a:cubicBezTo>
                    <a:pt x="18437" y="-472"/>
                    <a:pt x="15656" y="-472"/>
                    <a:pt x="13332" y="766"/>
                  </a:cubicBezTo>
                  <a:lnTo>
                    <a:pt x="1235" y="7719"/>
                  </a:lnTo>
                  <a:cubicBezTo>
                    <a:pt x="-860" y="8958"/>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629" name="ï$ľiḑê">
              <a:extLst>
                <a:ext uri="{FF2B5EF4-FFF2-40B4-BE49-F238E27FC236}">
                  <a16:creationId xmlns:a16="http://schemas.microsoft.com/office/drawing/2014/main" id="{E49469B0-52B4-4C30-98A4-87D2551D6F5E}"/>
                </a:ext>
              </a:extLst>
            </p:cNvPr>
            <p:cNvSpPr/>
            <p:nvPr/>
          </p:nvSpPr>
          <p:spPr>
            <a:xfrm>
              <a:off x="6085464" y="5161577"/>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028 h 17597"/>
                <a:gd name="connsiteX9" fmla="*/ 31763 w 36004"/>
                <a:gd name="connsiteY9" fmla="*/ 3457 h 17597"/>
                <a:gd name="connsiteX10" fmla="*/ 21476 w 36004"/>
                <a:gd name="connsiteY10" fmla="*/ 9267 h 17597"/>
                <a:gd name="connsiteX11" fmla="*/ 13856 w 36004"/>
                <a:gd name="connsiteY11" fmla="*/ 9267 h 17597"/>
                <a:gd name="connsiteX12" fmla="*/ 3569 w 36004"/>
                <a:gd name="connsiteY12" fmla="*/ 3457 h 17597"/>
                <a:gd name="connsiteX13" fmla="*/ 1188 w 36004"/>
                <a:gd name="connsiteY13" fmla="*/ 2028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3" y="7953"/>
                    <a:pt x="35668" y="6981"/>
                  </a:cubicBezTo>
                  <a:lnTo>
                    <a:pt x="35668" y="-163"/>
                  </a:lnTo>
                  <a:cubicBezTo>
                    <a:pt x="35630" y="799"/>
                    <a:pt x="35040" y="1656"/>
                    <a:pt x="34144" y="2028"/>
                  </a:cubicBezTo>
                  <a:lnTo>
                    <a:pt x="31763" y="3457"/>
                  </a:lnTo>
                  <a:lnTo>
                    <a:pt x="21476" y="9267"/>
                  </a:lnTo>
                  <a:cubicBezTo>
                    <a:pt x="19114" y="10610"/>
                    <a:pt x="16218" y="10610"/>
                    <a:pt x="13856" y="9267"/>
                  </a:cubicBezTo>
                  <a:lnTo>
                    <a:pt x="3569" y="3457"/>
                  </a:lnTo>
                  <a:lnTo>
                    <a:pt x="1188" y="2028"/>
                  </a:lnTo>
                  <a:cubicBezTo>
                    <a:pt x="292" y="1656"/>
                    <a:pt x="-298" y="799"/>
                    <a:pt x="-336" y="-163"/>
                  </a:cubicBezTo>
                  <a:close/>
                </a:path>
              </a:pathLst>
            </a:custGeom>
            <a:solidFill>
              <a:srgbClr val="BF4200"/>
            </a:solidFill>
            <a:ln w="9525" cap="flat">
              <a:noFill/>
              <a:prstDash val="solid"/>
              <a:miter/>
            </a:ln>
          </p:spPr>
          <p:txBody>
            <a:bodyPr rtlCol="0" anchor="ctr"/>
            <a:lstStyle/>
            <a:p>
              <a:endParaRPr lang="zh-CN" altLang="en-US"/>
            </a:p>
          </p:txBody>
        </p:sp>
        <p:sp>
          <p:nvSpPr>
            <p:cNvPr id="630" name="ïṥḷïdé">
              <a:extLst>
                <a:ext uri="{FF2B5EF4-FFF2-40B4-BE49-F238E27FC236}">
                  <a16:creationId xmlns:a16="http://schemas.microsoft.com/office/drawing/2014/main" id="{BCE871EA-5762-420C-BA15-8937A527E99D}"/>
                </a:ext>
              </a:extLst>
            </p:cNvPr>
            <p:cNvSpPr/>
            <p:nvPr/>
          </p:nvSpPr>
          <p:spPr>
            <a:xfrm>
              <a:off x="6162588" y="5174407"/>
              <a:ext cx="109883" cy="63639"/>
            </a:xfrm>
            <a:custGeom>
              <a:avLst/>
              <a:gdLst>
                <a:gd name="connsiteX0" fmla="*/ -336 w 36099"/>
                <a:gd name="connsiteY0" fmla="*/ 10291 h 20907"/>
                <a:gd name="connsiteX1" fmla="*/ 1283 w 36099"/>
                <a:gd name="connsiteY1" fmla="*/ 12577 h 20907"/>
                <a:gd name="connsiteX2" fmla="*/ 3569 w 36099"/>
                <a:gd name="connsiteY2" fmla="*/ 13910 h 20907"/>
                <a:gd name="connsiteX3" fmla="*/ 13856 w 36099"/>
                <a:gd name="connsiteY3" fmla="*/ 19816 h 20907"/>
                <a:gd name="connsiteX4" fmla="*/ 21571 w 36099"/>
                <a:gd name="connsiteY4" fmla="*/ 19816 h 20907"/>
                <a:gd name="connsiteX5" fmla="*/ 31858 w 36099"/>
                <a:gd name="connsiteY5" fmla="*/ 13910 h 20907"/>
                <a:gd name="connsiteX6" fmla="*/ 34144 w 36099"/>
                <a:gd name="connsiteY6" fmla="*/ 12577 h 20907"/>
                <a:gd name="connsiteX7" fmla="*/ 35764 w 36099"/>
                <a:gd name="connsiteY7" fmla="*/ 10291 h 20907"/>
                <a:gd name="connsiteX8" fmla="*/ 34144 w 36099"/>
                <a:gd name="connsiteY8" fmla="*/ 8100 h 20907"/>
                <a:gd name="connsiteX9" fmla="*/ 21571 w 36099"/>
                <a:gd name="connsiteY9" fmla="*/ 766 h 20907"/>
                <a:gd name="connsiteX10" fmla="*/ 13856 w 36099"/>
                <a:gd name="connsiteY10" fmla="*/ 766 h 20907"/>
                <a:gd name="connsiteX11" fmla="*/ 1283 w 36099"/>
                <a:gd name="connsiteY11" fmla="*/ 8100 h 20907"/>
                <a:gd name="connsiteX12" fmla="*/ -336 w 36099"/>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99" h="20907">
                  <a:moveTo>
                    <a:pt x="-336" y="10291"/>
                  </a:moveTo>
                  <a:cubicBezTo>
                    <a:pt x="-231" y="11282"/>
                    <a:pt x="378" y="12148"/>
                    <a:pt x="1283" y="12577"/>
                  </a:cubicBezTo>
                  <a:lnTo>
                    <a:pt x="3569" y="13910"/>
                  </a:lnTo>
                  <a:lnTo>
                    <a:pt x="13856" y="19816"/>
                  </a:lnTo>
                  <a:cubicBezTo>
                    <a:pt x="16275" y="21054"/>
                    <a:pt x="19152" y="21054"/>
                    <a:pt x="21571" y="19816"/>
                  </a:cubicBezTo>
                  <a:lnTo>
                    <a:pt x="31858" y="13910"/>
                  </a:lnTo>
                  <a:lnTo>
                    <a:pt x="34144" y="12577"/>
                  </a:lnTo>
                  <a:cubicBezTo>
                    <a:pt x="35049" y="12148"/>
                    <a:pt x="35659" y="11282"/>
                    <a:pt x="35764" y="10291"/>
                  </a:cubicBezTo>
                  <a:cubicBezTo>
                    <a:pt x="35649" y="9329"/>
                    <a:pt x="35030" y="8491"/>
                    <a:pt x="34144" y="8100"/>
                  </a:cubicBezTo>
                  <a:lnTo>
                    <a:pt x="21571" y="766"/>
                  </a:lnTo>
                  <a:cubicBezTo>
                    <a:pt x="19152" y="-472"/>
                    <a:pt x="16275" y="-472"/>
                    <a:pt x="13856" y="766"/>
                  </a:cubicBezTo>
                  <a:lnTo>
                    <a:pt x="1283" y="8100"/>
                  </a:lnTo>
                  <a:cubicBezTo>
                    <a:pt x="397" y="8491"/>
                    <a:pt x="-222"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631" name="í$1idê">
              <a:extLst>
                <a:ext uri="{FF2B5EF4-FFF2-40B4-BE49-F238E27FC236}">
                  <a16:creationId xmlns:a16="http://schemas.microsoft.com/office/drawing/2014/main" id="{A4A8BBE0-2AAC-412A-BF69-594C6D620E0E}"/>
                </a:ext>
              </a:extLst>
            </p:cNvPr>
            <p:cNvSpPr/>
            <p:nvPr/>
          </p:nvSpPr>
          <p:spPr>
            <a:xfrm>
              <a:off x="6164907" y="5175567"/>
              <a:ext cx="106330" cy="61104"/>
            </a:xfrm>
            <a:custGeom>
              <a:avLst/>
              <a:gdLst>
                <a:gd name="connsiteX0" fmla="*/ 1378 w 34932"/>
                <a:gd name="connsiteY0" fmla="*/ 12006 h 20074"/>
                <a:gd name="connsiteX1" fmla="*/ 13475 w 34932"/>
                <a:gd name="connsiteY1" fmla="*/ 19054 h 20074"/>
                <a:gd name="connsiteX2" fmla="*/ 21000 w 34932"/>
                <a:gd name="connsiteY2" fmla="*/ 19054 h 20074"/>
                <a:gd name="connsiteX3" fmla="*/ 33096 w 34932"/>
                <a:gd name="connsiteY3" fmla="*/ 12006 h 20074"/>
                <a:gd name="connsiteX4" fmla="*/ 33096 w 34932"/>
                <a:gd name="connsiteY4" fmla="*/ 7719 h 20074"/>
                <a:gd name="connsiteX5" fmla="*/ 21000 w 34932"/>
                <a:gd name="connsiteY5" fmla="*/ 766 h 20074"/>
                <a:gd name="connsiteX6" fmla="*/ 13475 w 34932"/>
                <a:gd name="connsiteY6" fmla="*/ 766 h 20074"/>
                <a:gd name="connsiteX7" fmla="*/ 1378 w 34932"/>
                <a:gd name="connsiteY7" fmla="*/ 7719 h 20074"/>
                <a:gd name="connsiteX8" fmla="*/ 1378 w 34932"/>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932" h="20074">
                  <a:moveTo>
                    <a:pt x="1378" y="12006"/>
                  </a:moveTo>
                  <a:lnTo>
                    <a:pt x="13475" y="19054"/>
                  </a:lnTo>
                  <a:cubicBezTo>
                    <a:pt x="15856" y="20197"/>
                    <a:pt x="18618" y="20197"/>
                    <a:pt x="21000" y="19054"/>
                  </a:cubicBezTo>
                  <a:lnTo>
                    <a:pt x="33096" y="12006"/>
                  </a:lnTo>
                  <a:cubicBezTo>
                    <a:pt x="35097" y="10863"/>
                    <a:pt x="35097" y="8958"/>
                    <a:pt x="33096" y="7719"/>
                  </a:cubicBezTo>
                  <a:lnTo>
                    <a:pt x="21000" y="766"/>
                  </a:lnTo>
                  <a:cubicBezTo>
                    <a:pt x="18647" y="-472"/>
                    <a:pt x="15828" y="-472"/>
                    <a:pt x="13475" y="766"/>
                  </a:cubicBezTo>
                  <a:lnTo>
                    <a:pt x="1378" y="7719"/>
                  </a:lnTo>
                  <a:cubicBezTo>
                    <a:pt x="-908" y="9148"/>
                    <a:pt x="-908" y="10863"/>
                    <a:pt x="1378" y="12006"/>
                  </a:cubicBezTo>
                  <a:close/>
                </a:path>
              </a:pathLst>
            </a:custGeom>
            <a:solidFill>
              <a:srgbClr val="D1D9E8"/>
            </a:solidFill>
            <a:ln w="9525" cap="flat">
              <a:noFill/>
              <a:prstDash val="solid"/>
              <a:miter/>
            </a:ln>
          </p:spPr>
          <p:txBody>
            <a:bodyPr rtlCol="0" anchor="ctr"/>
            <a:lstStyle/>
            <a:p>
              <a:endParaRPr lang="zh-CN" altLang="en-US"/>
            </a:p>
          </p:txBody>
        </p:sp>
        <p:sp>
          <p:nvSpPr>
            <p:cNvPr id="632" name="išļîḓé">
              <a:extLst>
                <a:ext uri="{FF2B5EF4-FFF2-40B4-BE49-F238E27FC236}">
                  <a16:creationId xmlns:a16="http://schemas.microsoft.com/office/drawing/2014/main" id="{3ADA038C-636B-4D3B-8AD0-476FC5796898}"/>
                </a:ext>
              </a:extLst>
            </p:cNvPr>
            <p:cNvSpPr/>
            <p:nvPr/>
          </p:nvSpPr>
          <p:spPr>
            <a:xfrm>
              <a:off x="6162588" y="5206229"/>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4 w 36099"/>
                <a:gd name="connsiteY6" fmla="*/ 6981 h 17597"/>
                <a:gd name="connsiteX7" fmla="*/ 35764 w 36099"/>
                <a:gd name="connsiteY7" fmla="*/ -163 h 17597"/>
                <a:gd name="connsiteX8" fmla="*/ 34144 w 36099"/>
                <a:gd name="connsiteY8" fmla="*/ 2124 h 17597"/>
                <a:gd name="connsiteX9" fmla="*/ 31858 w 36099"/>
                <a:gd name="connsiteY9" fmla="*/ 3457 h 17597"/>
                <a:gd name="connsiteX10" fmla="*/ 21571 w 36099"/>
                <a:gd name="connsiteY10" fmla="*/ 9362 h 17597"/>
                <a:gd name="connsiteX11" fmla="*/ 13856 w 36099"/>
                <a:gd name="connsiteY11" fmla="*/ 9362 h 17597"/>
                <a:gd name="connsiteX12" fmla="*/ 3569 w 36099"/>
                <a:gd name="connsiteY12" fmla="*/ 3457 h 17597"/>
                <a:gd name="connsiteX13" fmla="*/ 1283 w 36099"/>
                <a:gd name="connsiteY13" fmla="*/ 2124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03" y="8029"/>
                    <a:pt x="407" y="8858"/>
                    <a:pt x="1283" y="9267"/>
                  </a:cubicBezTo>
                  <a:lnTo>
                    <a:pt x="13856" y="16506"/>
                  </a:lnTo>
                  <a:cubicBezTo>
                    <a:pt x="16275" y="17744"/>
                    <a:pt x="19152" y="17744"/>
                    <a:pt x="21571" y="16506"/>
                  </a:cubicBezTo>
                  <a:lnTo>
                    <a:pt x="34144" y="9267"/>
                  </a:lnTo>
                  <a:cubicBezTo>
                    <a:pt x="35030" y="8829"/>
                    <a:pt x="35640" y="7972"/>
                    <a:pt x="35764" y="6981"/>
                  </a:cubicBezTo>
                  <a:lnTo>
                    <a:pt x="35764" y="-163"/>
                  </a:lnTo>
                  <a:cubicBezTo>
                    <a:pt x="35659" y="828"/>
                    <a:pt x="35049" y="1695"/>
                    <a:pt x="34144" y="2124"/>
                  </a:cubicBezTo>
                  <a:lnTo>
                    <a:pt x="31858" y="3457"/>
                  </a:lnTo>
                  <a:lnTo>
                    <a:pt x="21571" y="9362"/>
                  </a:lnTo>
                  <a:cubicBezTo>
                    <a:pt x="19152" y="10601"/>
                    <a:pt x="16275" y="10601"/>
                    <a:pt x="13856" y="9362"/>
                  </a:cubicBezTo>
                  <a:lnTo>
                    <a:pt x="3569" y="3457"/>
                  </a:lnTo>
                  <a:lnTo>
                    <a:pt x="1283" y="2124"/>
                  </a:lnTo>
                  <a:cubicBezTo>
                    <a:pt x="378" y="1695"/>
                    <a:pt x="-231"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33" name="íṡ1íḓê">
              <a:extLst>
                <a:ext uri="{FF2B5EF4-FFF2-40B4-BE49-F238E27FC236}">
                  <a16:creationId xmlns:a16="http://schemas.microsoft.com/office/drawing/2014/main" id="{0B87FBBC-EF02-4613-A4D9-E95EE405E58C}"/>
                </a:ext>
              </a:extLst>
            </p:cNvPr>
            <p:cNvSpPr/>
            <p:nvPr/>
          </p:nvSpPr>
          <p:spPr>
            <a:xfrm>
              <a:off x="6240001" y="5219056"/>
              <a:ext cx="109594" cy="63588"/>
            </a:xfrm>
            <a:custGeom>
              <a:avLst/>
              <a:gdLst>
                <a:gd name="connsiteX0" fmla="*/ -336 w 36004"/>
                <a:gd name="connsiteY0" fmla="*/ 10291 h 20890"/>
                <a:gd name="connsiteX1" fmla="*/ 1188 w 36004"/>
                <a:gd name="connsiteY1" fmla="*/ 12482 h 20890"/>
                <a:gd name="connsiteX2" fmla="*/ 3569 w 36004"/>
                <a:gd name="connsiteY2" fmla="*/ 13911 h 20890"/>
                <a:gd name="connsiteX3" fmla="*/ 13856 w 36004"/>
                <a:gd name="connsiteY3" fmla="*/ 19721 h 20890"/>
                <a:gd name="connsiteX4" fmla="*/ 21476 w 36004"/>
                <a:gd name="connsiteY4" fmla="*/ 19721 h 20890"/>
                <a:gd name="connsiteX5" fmla="*/ 31763 w 36004"/>
                <a:gd name="connsiteY5" fmla="*/ 13911 h 20890"/>
                <a:gd name="connsiteX6" fmla="*/ 34144 w 36004"/>
                <a:gd name="connsiteY6" fmla="*/ 12482 h 20890"/>
                <a:gd name="connsiteX7" fmla="*/ 35668 w 36004"/>
                <a:gd name="connsiteY7" fmla="*/ 10291 h 20890"/>
                <a:gd name="connsiteX8" fmla="*/ 34144 w 36004"/>
                <a:gd name="connsiteY8" fmla="*/ 8005 h 20890"/>
                <a:gd name="connsiteX9" fmla="*/ 21476 w 36004"/>
                <a:gd name="connsiteY9" fmla="*/ 766 h 20890"/>
                <a:gd name="connsiteX10" fmla="*/ 13856 w 36004"/>
                <a:gd name="connsiteY10" fmla="*/ 766 h 20890"/>
                <a:gd name="connsiteX11" fmla="*/ 1188 w 36004"/>
                <a:gd name="connsiteY11" fmla="*/ 8005 h 20890"/>
                <a:gd name="connsiteX12" fmla="*/ -336 w 36004"/>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291"/>
                  </a:moveTo>
                  <a:cubicBezTo>
                    <a:pt x="-279" y="11244"/>
                    <a:pt x="311" y="12091"/>
                    <a:pt x="1188" y="12482"/>
                  </a:cubicBezTo>
                  <a:lnTo>
                    <a:pt x="3569" y="13911"/>
                  </a:lnTo>
                  <a:lnTo>
                    <a:pt x="13856" y="19721"/>
                  </a:lnTo>
                  <a:cubicBezTo>
                    <a:pt x="16218" y="21064"/>
                    <a:pt x="19114" y="21064"/>
                    <a:pt x="21476" y="19721"/>
                  </a:cubicBezTo>
                  <a:lnTo>
                    <a:pt x="31763" y="13911"/>
                  </a:lnTo>
                  <a:lnTo>
                    <a:pt x="34144" y="12482"/>
                  </a:lnTo>
                  <a:cubicBezTo>
                    <a:pt x="35021" y="12091"/>
                    <a:pt x="35611" y="11253"/>
                    <a:pt x="35668" y="10291"/>
                  </a:cubicBezTo>
                  <a:cubicBezTo>
                    <a:pt x="35602" y="9310"/>
                    <a:pt x="35021" y="8443"/>
                    <a:pt x="34144" y="8005"/>
                  </a:cubicBezTo>
                  <a:lnTo>
                    <a:pt x="21476" y="766"/>
                  </a:lnTo>
                  <a:cubicBezTo>
                    <a:pt x="19085" y="-472"/>
                    <a:pt x="16247" y="-472"/>
                    <a:pt x="13856" y="766"/>
                  </a:cubicBezTo>
                  <a:lnTo>
                    <a:pt x="1188" y="8005"/>
                  </a:lnTo>
                  <a:cubicBezTo>
                    <a:pt x="311" y="8443"/>
                    <a:pt x="-270" y="9310"/>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634" name="iṥľîḑè">
              <a:extLst>
                <a:ext uri="{FF2B5EF4-FFF2-40B4-BE49-F238E27FC236}">
                  <a16:creationId xmlns:a16="http://schemas.microsoft.com/office/drawing/2014/main" id="{0BD6F299-61C4-4F1D-A889-908C1DCA85BA}"/>
                </a:ext>
              </a:extLst>
            </p:cNvPr>
            <p:cNvSpPr/>
            <p:nvPr/>
          </p:nvSpPr>
          <p:spPr>
            <a:xfrm>
              <a:off x="6241885" y="5220218"/>
              <a:ext cx="105825" cy="61101"/>
            </a:xfrm>
            <a:custGeom>
              <a:avLst/>
              <a:gdLst>
                <a:gd name="connsiteX0" fmla="*/ 1235 w 34766"/>
                <a:gd name="connsiteY0" fmla="*/ 12006 h 20073"/>
                <a:gd name="connsiteX1" fmla="*/ 13332 w 34766"/>
                <a:gd name="connsiteY1" fmla="*/ 19054 h 20073"/>
                <a:gd name="connsiteX2" fmla="*/ 20761 w 34766"/>
                <a:gd name="connsiteY2" fmla="*/ 19054 h 20073"/>
                <a:gd name="connsiteX3" fmla="*/ 32858 w 34766"/>
                <a:gd name="connsiteY3" fmla="*/ 12006 h 20073"/>
                <a:gd name="connsiteX4" fmla="*/ 32858 w 34766"/>
                <a:gd name="connsiteY4" fmla="*/ 7719 h 20073"/>
                <a:gd name="connsiteX5" fmla="*/ 20761 w 34766"/>
                <a:gd name="connsiteY5" fmla="*/ 766 h 20073"/>
                <a:gd name="connsiteX6" fmla="*/ 13332 w 34766"/>
                <a:gd name="connsiteY6" fmla="*/ 766 h 20073"/>
                <a:gd name="connsiteX7" fmla="*/ 1235 w 34766"/>
                <a:gd name="connsiteY7" fmla="*/ 7719 h 20073"/>
                <a:gd name="connsiteX8" fmla="*/ 1235 w 34766"/>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6" h="20073">
                  <a:moveTo>
                    <a:pt x="1235" y="12006"/>
                  </a:moveTo>
                  <a:lnTo>
                    <a:pt x="13332" y="19054"/>
                  </a:lnTo>
                  <a:cubicBezTo>
                    <a:pt x="15675" y="20197"/>
                    <a:pt x="18418" y="20197"/>
                    <a:pt x="20761" y="19054"/>
                  </a:cubicBezTo>
                  <a:lnTo>
                    <a:pt x="32858" y="12006"/>
                  </a:lnTo>
                  <a:cubicBezTo>
                    <a:pt x="34954" y="10863"/>
                    <a:pt x="34954" y="8957"/>
                    <a:pt x="32858" y="7719"/>
                  </a:cubicBezTo>
                  <a:lnTo>
                    <a:pt x="20761" y="766"/>
                  </a:lnTo>
                  <a:cubicBezTo>
                    <a:pt x="18437" y="-472"/>
                    <a:pt x="15656" y="-472"/>
                    <a:pt x="13332" y="766"/>
                  </a:cubicBezTo>
                  <a:lnTo>
                    <a:pt x="1235" y="7719"/>
                  </a:lnTo>
                  <a:cubicBezTo>
                    <a:pt x="-860" y="8957"/>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635" name="ïšḻidè">
              <a:extLst>
                <a:ext uri="{FF2B5EF4-FFF2-40B4-BE49-F238E27FC236}">
                  <a16:creationId xmlns:a16="http://schemas.microsoft.com/office/drawing/2014/main" id="{A7576B87-6F2E-4CC2-8FC7-0DED50BDAD78}"/>
                </a:ext>
              </a:extLst>
            </p:cNvPr>
            <p:cNvSpPr/>
            <p:nvPr/>
          </p:nvSpPr>
          <p:spPr>
            <a:xfrm>
              <a:off x="6240001" y="5250877"/>
              <a:ext cx="109594" cy="53564"/>
            </a:xfrm>
            <a:custGeom>
              <a:avLst/>
              <a:gdLst>
                <a:gd name="connsiteX0" fmla="*/ -336 w 36004"/>
                <a:gd name="connsiteY0" fmla="*/ -163 h 17597"/>
                <a:gd name="connsiteX1" fmla="*/ -336 w 36004"/>
                <a:gd name="connsiteY1" fmla="*/ 6981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028 h 17597"/>
                <a:gd name="connsiteX9" fmla="*/ 31763 w 36004"/>
                <a:gd name="connsiteY9" fmla="*/ 3457 h 17597"/>
                <a:gd name="connsiteX10" fmla="*/ 21476 w 36004"/>
                <a:gd name="connsiteY10" fmla="*/ 9267 h 17597"/>
                <a:gd name="connsiteX11" fmla="*/ 13856 w 36004"/>
                <a:gd name="connsiteY11" fmla="*/ 9267 h 17597"/>
                <a:gd name="connsiteX12" fmla="*/ 3569 w 36004"/>
                <a:gd name="connsiteY12" fmla="*/ 3457 h 17597"/>
                <a:gd name="connsiteX13" fmla="*/ 1188 w 36004"/>
                <a:gd name="connsiteY13" fmla="*/ 2028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6981"/>
                  </a:lnTo>
                  <a:cubicBezTo>
                    <a:pt x="-270" y="7962"/>
                    <a:pt x="311" y="8829"/>
                    <a:pt x="1188" y="9267"/>
                  </a:cubicBezTo>
                  <a:lnTo>
                    <a:pt x="13856" y="16506"/>
                  </a:lnTo>
                  <a:cubicBezTo>
                    <a:pt x="16247" y="17744"/>
                    <a:pt x="19085" y="17744"/>
                    <a:pt x="21476" y="16506"/>
                  </a:cubicBezTo>
                  <a:lnTo>
                    <a:pt x="34144" y="9267"/>
                  </a:lnTo>
                  <a:cubicBezTo>
                    <a:pt x="35011" y="8819"/>
                    <a:pt x="35582" y="7953"/>
                    <a:pt x="35668" y="6981"/>
                  </a:cubicBezTo>
                  <a:lnTo>
                    <a:pt x="35668" y="-163"/>
                  </a:lnTo>
                  <a:cubicBezTo>
                    <a:pt x="35611" y="790"/>
                    <a:pt x="35021" y="1638"/>
                    <a:pt x="34144" y="2028"/>
                  </a:cubicBezTo>
                  <a:lnTo>
                    <a:pt x="31763" y="3457"/>
                  </a:lnTo>
                  <a:lnTo>
                    <a:pt x="21476" y="9267"/>
                  </a:lnTo>
                  <a:cubicBezTo>
                    <a:pt x="19114" y="10610"/>
                    <a:pt x="16218" y="10610"/>
                    <a:pt x="13856" y="9267"/>
                  </a:cubicBezTo>
                  <a:lnTo>
                    <a:pt x="3569" y="3457"/>
                  </a:lnTo>
                  <a:lnTo>
                    <a:pt x="1188" y="2028"/>
                  </a:lnTo>
                  <a:cubicBezTo>
                    <a:pt x="311" y="1638"/>
                    <a:pt x="-279" y="800"/>
                    <a:pt x="-336" y="-163"/>
                  </a:cubicBezTo>
                  <a:close/>
                </a:path>
              </a:pathLst>
            </a:custGeom>
            <a:solidFill>
              <a:srgbClr val="BF4200"/>
            </a:solidFill>
            <a:ln w="9525" cap="flat">
              <a:noFill/>
              <a:prstDash val="solid"/>
              <a:miter/>
            </a:ln>
          </p:spPr>
          <p:txBody>
            <a:bodyPr rtlCol="0" anchor="ctr"/>
            <a:lstStyle/>
            <a:p>
              <a:endParaRPr lang="zh-CN" altLang="en-US"/>
            </a:p>
          </p:txBody>
        </p:sp>
        <p:sp>
          <p:nvSpPr>
            <p:cNvPr id="636" name="ïṧlíḍe">
              <a:extLst>
                <a:ext uri="{FF2B5EF4-FFF2-40B4-BE49-F238E27FC236}">
                  <a16:creationId xmlns:a16="http://schemas.microsoft.com/office/drawing/2014/main" id="{F06E6E87-8409-43F4-80C0-7C96DDFCA79F}"/>
                </a:ext>
              </a:extLst>
            </p:cNvPr>
            <p:cNvSpPr/>
            <p:nvPr/>
          </p:nvSpPr>
          <p:spPr>
            <a:xfrm>
              <a:off x="6319441" y="5266803"/>
              <a:ext cx="146416" cy="84551"/>
            </a:xfrm>
            <a:custGeom>
              <a:avLst/>
              <a:gdLst>
                <a:gd name="connsiteX0" fmla="*/ -336 w 48101"/>
                <a:gd name="connsiteY0" fmla="*/ 9941 h 27777"/>
                <a:gd name="connsiteX1" fmla="*/ 1188 w 48101"/>
                <a:gd name="connsiteY1" fmla="*/ 12227 h 27777"/>
                <a:gd name="connsiteX2" fmla="*/ 3569 w 48101"/>
                <a:gd name="connsiteY2" fmla="*/ 13560 h 27777"/>
                <a:gd name="connsiteX3" fmla="*/ 25857 w 48101"/>
                <a:gd name="connsiteY3" fmla="*/ 26800 h 27777"/>
                <a:gd name="connsiteX4" fmla="*/ 33573 w 48101"/>
                <a:gd name="connsiteY4" fmla="*/ 26800 h 27777"/>
                <a:gd name="connsiteX5" fmla="*/ 43860 w 48101"/>
                <a:gd name="connsiteY5" fmla="*/ 20799 h 27777"/>
                <a:gd name="connsiteX6" fmla="*/ 46241 w 48101"/>
                <a:gd name="connsiteY6" fmla="*/ 19466 h 27777"/>
                <a:gd name="connsiteX7" fmla="*/ 47765 w 48101"/>
                <a:gd name="connsiteY7" fmla="*/ 17847 h 27777"/>
                <a:gd name="connsiteX8" fmla="*/ 47765 w 48101"/>
                <a:gd name="connsiteY8" fmla="*/ 16704 h 27777"/>
                <a:gd name="connsiteX9" fmla="*/ 46241 w 48101"/>
                <a:gd name="connsiteY9" fmla="*/ 14989 h 27777"/>
                <a:gd name="connsiteX10" fmla="*/ 21476 w 48101"/>
                <a:gd name="connsiteY10" fmla="*/ 702 h 27777"/>
                <a:gd name="connsiteX11" fmla="*/ 13856 w 48101"/>
                <a:gd name="connsiteY11" fmla="*/ 702 h 27777"/>
                <a:gd name="connsiteX12" fmla="*/ 1188 w 48101"/>
                <a:gd name="connsiteY12" fmla="*/ 8036 h 27777"/>
                <a:gd name="connsiteX13" fmla="*/ -336 w 48101"/>
                <a:gd name="connsiteY13" fmla="*/ 9941 h 27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8101" h="27777">
                  <a:moveTo>
                    <a:pt x="-336" y="9941"/>
                  </a:moveTo>
                  <a:cubicBezTo>
                    <a:pt x="-269" y="10922"/>
                    <a:pt x="311" y="11789"/>
                    <a:pt x="1188" y="12227"/>
                  </a:cubicBezTo>
                  <a:lnTo>
                    <a:pt x="3569" y="13560"/>
                  </a:lnTo>
                  <a:lnTo>
                    <a:pt x="25857" y="26800"/>
                  </a:lnTo>
                  <a:cubicBezTo>
                    <a:pt x="28315" y="27886"/>
                    <a:pt x="31115" y="27886"/>
                    <a:pt x="33573" y="26800"/>
                  </a:cubicBezTo>
                  <a:lnTo>
                    <a:pt x="43860" y="20799"/>
                  </a:lnTo>
                  <a:lnTo>
                    <a:pt x="46241" y="19466"/>
                  </a:lnTo>
                  <a:cubicBezTo>
                    <a:pt x="46955" y="19161"/>
                    <a:pt x="47508" y="18580"/>
                    <a:pt x="47765" y="17847"/>
                  </a:cubicBezTo>
                  <a:lnTo>
                    <a:pt x="47765" y="16704"/>
                  </a:lnTo>
                  <a:cubicBezTo>
                    <a:pt x="47479" y="15961"/>
                    <a:pt x="46946" y="15351"/>
                    <a:pt x="46241" y="14989"/>
                  </a:cubicBezTo>
                  <a:lnTo>
                    <a:pt x="21476" y="702"/>
                  </a:lnTo>
                  <a:cubicBezTo>
                    <a:pt x="19066" y="-451"/>
                    <a:pt x="16266" y="-451"/>
                    <a:pt x="13856" y="702"/>
                  </a:cubicBezTo>
                  <a:lnTo>
                    <a:pt x="1188" y="8036"/>
                  </a:lnTo>
                  <a:cubicBezTo>
                    <a:pt x="416" y="8398"/>
                    <a:pt x="-155" y="9103"/>
                    <a:pt x="-336" y="9941"/>
                  </a:cubicBezTo>
                  <a:close/>
                </a:path>
              </a:pathLst>
            </a:custGeom>
            <a:solidFill>
              <a:srgbClr val="FFFFFF"/>
            </a:solidFill>
            <a:ln w="9525" cap="flat">
              <a:noFill/>
              <a:prstDash val="solid"/>
              <a:miter/>
            </a:ln>
          </p:spPr>
          <p:txBody>
            <a:bodyPr rtlCol="0" anchor="ctr"/>
            <a:lstStyle/>
            <a:p>
              <a:endParaRPr lang="zh-CN" altLang="en-US"/>
            </a:p>
          </p:txBody>
        </p:sp>
        <p:sp>
          <p:nvSpPr>
            <p:cNvPr id="637" name="ïṩḷiḑè">
              <a:extLst>
                <a:ext uri="{FF2B5EF4-FFF2-40B4-BE49-F238E27FC236}">
                  <a16:creationId xmlns:a16="http://schemas.microsoft.com/office/drawing/2014/main" id="{144B36BB-DEDA-4168-A288-9E973391AED3}"/>
                </a:ext>
              </a:extLst>
            </p:cNvPr>
            <p:cNvSpPr/>
            <p:nvPr/>
          </p:nvSpPr>
          <p:spPr>
            <a:xfrm>
              <a:off x="6321325" y="5267113"/>
              <a:ext cx="142645" cy="82338"/>
            </a:xfrm>
            <a:custGeom>
              <a:avLst/>
              <a:gdLst>
                <a:gd name="connsiteX0" fmla="*/ 25429 w 46862"/>
                <a:gd name="connsiteY0" fmla="*/ 26031 h 27050"/>
                <a:gd name="connsiteX1" fmla="*/ 1235 w 46862"/>
                <a:gd name="connsiteY1" fmla="*/ 12029 h 27050"/>
                <a:gd name="connsiteX2" fmla="*/ 1235 w 46862"/>
                <a:gd name="connsiteY2" fmla="*/ 7743 h 27050"/>
                <a:gd name="connsiteX3" fmla="*/ 13332 w 46862"/>
                <a:gd name="connsiteY3" fmla="*/ 695 h 27050"/>
                <a:gd name="connsiteX4" fmla="*/ 20761 w 46862"/>
                <a:gd name="connsiteY4" fmla="*/ 695 h 27050"/>
                <a:gd name="connsiteX5" fmla="*/ 44955 w 46862"/>
                <a:gd name="connsiteY5" fmla="*/ 14696 h 27050"/>
                <a:gd name="connsiteX6" fmla="*/ 44955 w 46862"/>
                <a:gd name="connsiteY6" fmla="*/ 18983 h 27050"/>
                <a:gd name="connsiteX7" fmla="*/ 32858 w 46862"/>
                <a:gd name="connsiteY7" fmla="*/ 26031 h 27050"/>
                <a:gd name="connsiteX8" fmla="*/ 25429 w 46862"/>
                <a:gd name="connsiteY8" fmla="*/ 26031 h 27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862" h="27050">
                  <a:moveTo>
                    <a:pt x="25429" y="26031"/>
                  </a:moveTo>
                  <a:lnTo>
                    <a:pt x="1235" y="12029"/>
                  </a:lnTo>
                  <a:cubicBezTo>
                    <a:pt x="-860" y="10791"/>
                    <a:pt x="-860" y="8886"/>
                    <a:pt x="1235" y="7743"/>
                  </a:cubicBezTo>
                  <a:lnTo>
                    <a:pt x="13332" y="695"/>
                  </a:lnTo>
                  <a:cubicBezTo>
                    <a:pt x="15675" y="-448"/>
                    <a:pt x="18418" y="-448"/>
                    <a:pt x="20761" y="695"/>
                  </a:cubicBezTo>
                  <a:lnTo>
                    <a:pt x="44955" y="14696"/>
                  </a:lnTo>
                  <a:cubicBezTo>
                    <a:pt x="47051" y="15935"/>
                    <a:pt x="47051" y="17840"/>
                    <a:pt x="44955" y="18983"/>
                  </a:cubicBezTo>
                  <a:lnTo>
                    <a:pt x="32858" y="26031"/>
                  </a:lnTo>
                  <a:cubicBezTo>
                    <a:pt x="30515" y="27174"/>
                    <a:pt x="27772" y="27174"/>
                    <a:pt x="25429" y="26031"/>
                  </a:cubicBezTo>
                  <a:close/>
                </a:path>
              </a:pathLst>
            </a:custGeom>
            <a:solidFill>
              <a:srgbClr val="D1D9E8"/>
            </a:solidFill>
            <a:ln w="9525" cap="flat">
              <a:noFill/>
              <a:prstDash val="solid"/>
              <a:miter/>
            </a:ln>
          </p:spPr>
          <p:txBody>
            <a:bodyPr rtlCol="0" anchor="ctr"/>
            <a:lstStyle/>
            <a:p>
              <a:endParaRPr lang="zh-CN" altLang="en-US"/>
            </a:p>
          </p:txBody>
        </p:sp>
        <p:sp>
          <p:nvSpPr>
            <p:cNvPr id="638" name="ï$ľïḓe">
              <a:extLst>
                <a:ext uri="{FF2B5EF4-FFF2-40B4-BE49-F238E27FC236}">
                  <a16:creationId xmlns:a16="http://schemas.microsoft.com/office/drawing/2014/main" id="{43370BBD-4A7E-4ECB-8A96-8EE709E31B3B}"/>
                </a:ext>
              </a:extLst>
            </p:cNvPr>
            <p:cNvSpPr/>
            <p:nvPr/>
          </p:nvSpPr>
          <p:spPr>
            <a:xfrm>
              <a:off x="6319441" y="5297558"/>
              <a:ext cx="145256" cy="75599"/>
            </a:xfrm>
            <a:custGeom>
              <a:avLst/>
              <a:gdLst>
                <a:gd name="connsiteX0" fmla="*/ -336 w 47720"/>
                <a:gd name="connsiteY0" fmla="*/ -163 h 24836"/>
                <a:gd name="connsiteX1" fmla="*/ -336 w 47720"/>
                <a:gd name="connsiteY1" fmla="*/ 7172 h 24836"/>
                <a:gd name="connsiteX2" fmla="*/ 1188 w 47720"/>
                <a:gd name="connsiteY2" fmla="*/ 9457 h 24836"/>
                <a:gd name="connsiteX3" fmla="*/ 25857 w 47720"/>
                <a:gd name="connsiteY3" fmla="*/ 23745 h 24836"/>
                <a:gd name="connsiteX4" fmla="*/ 33573 w 47720"/>
                <a:gd name="connsiteY4" fmla="*/ 23745 h 24836"/>
                <a:gd name="connsiteX5" fmla="*/ 45860 w 47720"/>
                <a:gd name="connsiteY5" fmla="*/ 16697 h 24836"/>
                <a:gd name="connsiteX6" fmla="*/ 47384 w 47720"/>
                <a:gd name="connsiteY6" fmla="*/ 15077 h 24836"/>
                <a:gd name="connsiteX7" fmla="*/ 47384 w 47720"/>
                <a:gd name="connsiteY7" fmla="*/ 7172 h 24836"/>
                <a:gd name="connsiteX8" fmla="*/ 45860 w 47720"/>
                <a:gd name="connsiteY8" fmla="*/ 8791 h 24836"/>
                <a:gd name="connsiteX9" fmla="*/ 43479 w 47720"/>
                <a:gd name="connsiteY9" fmla="*/ 10124 h 24836"/>
                <a:gd name="connsiteX10" fmla="*/ 33192 w 47720"/>
                <a:gd name="connsiteY10" fmla="*/ 16125 h 24836"/>
                <a:gd name="connsiteX11" fmla="*/ 25476 w 47720"/>
                <a:gd name="connsiteY11" fmla="*/ 16125 h 24836"/>
                <a:gd name="connsiteX12" fmla="*/ 3188 w 47720"/>
                <a:gd name="connsiteY12" fmla="*/ 3171 h 24836"/>
                <a:gd name="connsiteX13" fmla="*/ 807 w 47720"/>
                <a:gd name="connsiteY13" fmla="*/ 1838 h 24836"/>
                <a:gd name="connsiteX14" fmla="*/ -336 w 47720"/>
                <a:gd name="connsiteY14" fmla="*/ -163 h 24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7720" h="24836">
                  <a:moveTo>
                    <a:pt x="-336" y="-163"/>
                  </a:moveTo>
                  <a:lnTo>
                    <a:pt x="-336" y="7172"/>
                  </a:lnTo>
                  <a:cubicBezTo>
                    <a:pt x="-308" y="8162"/>
                    <a:pt x="283" y="9057"/>
                    <a:pt x="1188" y="9457"/>
                  </a:cubicBezTo>
                  <a:lnTo>
                    <a:pt x="25857" y="23745"/>
                  </a:lnTo>
                  <a:cubicBezTo>
                    <a:pt x="28277" y="24983"/>
                    <a:pt x="31153" y="24983"/>
                    <a:pt x="33573" y="23745"/>
                  </a:cubicBezTo>
                  <a:lnTo>
                    <a:pt x="45860" y="16697"/>
                  </a:lnTo>
                  <a:cubicBezTo>
                    <a:pt x="46536" y="16344"/>
                    <a:pt x="47070" y="15773"/>
                    <a:pt x="47384" y="15077"/>
                  </a:cubicBezTo>
                  <a:lnTo>
                    <a:pt x="47384" y="7172"/>
                  </a:lnTo>
                  <a:cubicBezTo>
                    <a:pt x="47127" y="7905"/>
                    <a:pt x="46574" y="8486"/>
                    <a:pt x="45860" y="8791"/>
                  </a:cubicBezTo>
                  <a:lnTo>
                    <a:pt x="43479" y="10124"/>
                  </a:lnTo>
                  <a:lnTo>
                    <a:pt x="33192" y="16125"/>
                  </a:lnTo>
                  <a:cubicBezTo>
                    <a:pt x="30734" y="17211"/>
                    <a:pt x="27934" y="17211"/>
                    <a:pt x="25476" y="16125"/>
                  </a:cubicBezTo>
                  <a:lnTo>
                    <a:pt x="3188" y="3171"/>
                  </a:lnTo>
                  <a:lnTo>
                    <a:pt x="807" y="1838"/>
                  </a:lnTo>
                  <a:cubicBezTo>
                    <a:pt x="149" y="1371"/>
                    <a:pt x="-260" y="637"/>
                    <a:pt x="-336" y="-163"/>
                  </a:cubicBezTo>
                  <a:close/>
                </a:path>
              </a:pathLst>
            </a:custGeom>
            <a:solidFill>
              <a:srgbClr val="BF4200"/>
            </a:solidFill>
            <a:ln w="9525" cap="flat">
              <a:noFill/>
              <a:prstDash val="solid"/>
              <a:miter/>
            </a:ln>
          </p:spPr>
          <p:txBody>
            <a:bodyPr rtlCol="0" anchor="ctr"/>
            <a:lstStyle/>
            <a:p>
              <a:endParaRPr lang="zh-CN" altLang="en-US"/>
            </a:p>
          </p:txBody>
        </p:sp>
        <p:sp>
          <p:nvSpPr>
            <p:cNvPr id="639" name="ïśḷïḓé">
              <a:extLst>
                <a:ext uri="{FF2B5EF4-FFF2-40B4-BE49-F238E27FC236}">
                  <a16:creationId xmlns:a16="http://schemas.microsoft.com/office/drawing/2014/main" id="{DD71FC37-7805-41ED-9226-57575B6EDB5F}"/>
                </a:ext>
              </a:extLst>
            </p:cNvPr>
            <p:cNvSpPr/>
            <p:nvPr/>
          </p:nvSpPr>
          <p:spPr>
            <a:xfrm>
              <a:off x="5155355" y="4683839"/>
              <a:ext cx="140036" cy="81035"/>
            </a:xfrm>
            <a:custGeom>
              <a:avLst/>
              <a:gdLst>
                <a:gd name="connsiteX0" fmla="*/ -336 w 46005"/>
                <a:gd name="connsiteY0" fmla="*/ 10196 h 26622"/>
                <a:gd name="connsiteX1" fmla="*/ 1188 w 46005"/>
                <a:gd name="connsiteY1" fmla="*/ 12482 h 26622"/>
                <a:gd name="connsiteX2" fmla="*/ 3569 w 46005"/>
                <a:gd name="connsiteY2" fmla="*/ 13815 h 26622"/>
                <a:gd name="connsiteX3" fmla="*/ 23762 w 46005"/>
                <a:gd name="connsiteY3" fmla="*/ 25531 h 26622"/>
                <a:gd name="connsiteX4" fmla="*/ 31477 w 46005"/>
                <a:gd name="connsiteY4" fmla="*/ 25531 h 26622"/>
                <a:gd name="connsiteX5" fmla="*/ 41669 w 46005"/>
                <a:gd name="connsiteY5" fmla="*/ 19530 h 26622"/>
                <a:gd name="connsiteX6" fmla="*/ 44146 w 46005"/>
                <a:gd name="connsiteY6" fmla="*/ 18197 h 26622"/>
                <a:gd name="connsiteX7" fmla="*/ 45669 w 46005"/>
                <a:gd name="connsiteY7" fmla="*/ 16578 h 26622"/>
                <a:gd name="connsiteX8" fmla="*/ 45669 w 46005"/>
                <a:gd name="connsiteY8" fmla="*/ 15435 h 26622"/>
                <a:gd name="connsiteX9" fmla="*/ 44146 w 46005"/>
                <a:gd name="connsiteY9" fmla="*/ 13720 h 26622"/>
                <a:gd name="connsiteX10" fmla="*/ 21476 w 46005"/>
                <a:gd name="connsiteY10" fmla="*/ 766 h 26622"/>
                <a:gd name="connsiteX11" fmla="*/ 13856 w 46005"/>
                <a:gd name="connsiteY11" fmla="*/ 766 h 26622"/>
                <a:gd name="connsiteX12" fmla="*/ 1188 w 46005"/>
                <a:gd name="connsiteY12" fmla="*/ 8005 h 26622"/>
                <a:gd name="connsiteX13" fmla="*/ -336 w 46005"/>
                <a:gd name="connsiteY13" fmla="*/ 10196 h 26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005" h="26622">
                  <a:moveTo>
                    <a:pt x="-336" y="10196"/>
                  </a:moveTo>
                  <a:cubicBezTo>
                    <a:pt x="-308" y="11186"/>
                    <a:pt x="283" y="12082"/>
                    <a:pt x="1188" y="12482"/>
                  </a:cubicBezTo>
                  <a:lnTo>
                    <a:pt x="3569" y="13815"/>
                  </a:lnTo>
                  <a:lnTo>
                    <a:pt x="23762" y="25531"/>
                  </a:lnTo>
                  <a:cubicBezTo>
                    <a:pt x="26181" y="26769"/>
                    <a:pt x="29058" y="26769"/>
                    <a:pt x="31477" y="25531"/>
                  </a:cubicBezTo>
                  <a:lnTo>
                    <a:pt x="41669" y="19530"/>
                  </a:lnTo>
                  <a:lnTo>
                    <a:pt x="44146" y="18197"/>
                  </a:lnTo>
                  <a:cubicBezTo>
                    <a:pt x="44860" y="17892"/>
                    <a:pt x="45412" y="17311"/>
                    <a:pt x="45669" y="16578"/>
                  </a:cubicBezTo>
                  <a:lnTo>
                    <a:pt x="45669" y="15435"/>
                  </a:lnTo>
                  <a:cubicBezTo>
                    <a:pt x="45365" y="14711"/>
                    <a:pt x="44822" y="14111"/>
                    <a:pt x="44146" y="13720"/>
                  </a:cubicBezTo>
                  <a:lnTo>
                    <a:pt x="21476" y="766"/>
                  </a:lnTo>
                  <a:cubicBezTo>
                    <a:pt x="19085" y="-472"/>
                    <a:pt x="16247" y="-472"/>
                    <a:pt x="13856" y="766"/>
                  </a:cubicBezTo>
                  <a:lnTo>
                    <a:pt x="1188" y="8005"/>
                  </a:lnTo>
                  <a:cubicBezTo>
                    <a:pt x="340" y="8424"/>
                    <a:pt x="-241" y="925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640" name="iṣḷîḋe">
              <a:extLst>
                <a:ext uri="{FF2B5EF4-FFF2-40B4-BE49-F238E27FC236}">
                  <a16:creationId xmlns:a16="http://schemas.microsoft.com/office/drawing/2014/main" id="{0A985908-C8E8-453F-BA69-52026F72DDEA}"/>
                </a:ext>
              </a:extLst>
            </p:cNvPr>
            <p:cNvSpPr/>
            <p:nvPr/>
          </p:nvSpPr>
          <p:spPr>
            <a:xfrm>
              <a:off x="5158067" y="4684926"/>
              <a:ext cx="136018" cy="78570"/>
            </a:xfrm>
            <a:custGeom>
              <a:avLst/>
              <a:gdLst>
                <a:gd name="connsiteX0" fmla="*/ 23252 w 44685"/>
                <a:gd name="connsiteY0" fmla="*/ 24793 h 25812"/>
                <a:gd name="connsiteX1" fmla="*/ 1154 w 44685"/>
                <a:gd name="connsiteY1" fmla="*/ 12029 h 25812"/>
                <a:gd name="connsiteX2" fmla="*/ -189 w 44685"/>
                <a:gd name="connsiteY2" fmla="*/ 9096 h 25812"/>
                <a:gd name="connsiteX3" fmla="*/ 1154 w 44685"/>
                <a:gd name="connsiteY3" fmla="*/ 7743 h 25812"/>
                <a:gd name="connsiteX4" fmla="*/ 13250 w 44685"/>
                <a:gd name="connsiteY4" fmla="*/ 695 h 25812"/>
                <a:gd name="connsiteX5" fmla="*/ 20680 w 44685"/>
                <a:gd name="connsiteY5" fmla="*/ 695 h 25812"/>
                <a:gd name="connsiteX6" fmla="*/ 42778 w 44685"/>
                <a:gd name="connsiteY6" fmla="*/ 13458 h 25812"/>
                <a:gd name="connsiteX7" fmla="*/ 42778 w 44685"/>
                <a:gd name="connsiteY7" fmla="*/ 17744 h 25812"/>
                <a:gd name="connsiteX8" fmla="*/ 30681 w 44685"/>
                <a:gd name="connsiteY8" fmla="*/ 24793 h 25812"/>
                <a:gd name="connsiteX9" fmla="*/ 23252 w 44685"/>
                <a:gd name="connsiteY9" fmla="*/ 24793 h 25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4685" h="25812">
                  <a:moveTo>
                    <a:pt x="23252" y="24793"/>
                  </a:moveTo>
                  <a:lnTo>
                    <a:pt x="1154" y="12029"/>
                  </a:lnTo>
                  <a:cubicBezTo>
                    <a:pt x="-27" y="11591"/>
                    <a:pt x="-637" y="10277"/>
                    <a:pt x="-189" y="9096"/>
                  </a:cubicBezTo>
                  <a:cubicBezTo>
                    <a:pt x="39" y="8467"/>
                    <a:pt x="535" y="7972"/>
                    <a:pt x="1154" y="7743"/>
                  </a:cubicBezTo>
                  <a:lnTo>
                    <a:pt x="13250" y="695"/>
                  </a:lnTo>
                  <a:cubicBezTo>
                    <a:pt x="15594" y="-448"/>
                    <a:pt x="18337" y="-448"/>
                    <a:pt x="20680" y="695"/>
                  </a:cubicBezTo>
                  <a:lnTo>
                    <a:pt x="42778" y="13458"/>
                  </a:lnTo>
                  <a:cubicBezTo>
                    <a:pt x="44873" y="14696"/>
                    <a:pt x="44873" y="16601"/>
                    <a:pt x="42778" y="17744"/>
                  </a:cubicBezTo>
                  <a:lnTo>
                    <a:pt x="30681" y="24793"/>
                  </a:lnTo>
                  <a:cubicBezTo>
                    <a:pt x="28338" y="25936"/>
                    <a:pt x="25595" y="25936"/>
                    <a:pt x="23252" y="24793"/>
                  </a:cubicBezTo>
                  <a:close/>
                </a:path>
              </a:pathLst>
            </a:custGeom>
            <a:solidFill>
              <a:srgbClr val="D1D9E8"/>
            </a:solidFill>
            <a:ln w="9525" cap="flat">
              <a:noFill/>
              <a:prstDash val="solid"/>
              <a:miter/>
            </a:ln>
          </p:spPr>
          <p:txBody>
            <a:bodyPr rtlCol="0" anchor="ctr"/>
            <a:lstStyle/>
            <a:p>
              <a:endParaRPr lang="zh-CN" altLang="en-US"/>
            </a:p>
          </p:txBody>
        </p:sp>
        <p:sp>
          <p:nvSpPr>
            <p:cNvPr id="641" name="ïSḷíďê">
              <a:extLst>
                <a:ext uri="{FF2B5EF4-FFF2-40B4-BE49-F238E27FC236}">
                  <a16:creationId xmlns:a16="http://schemas.microsoft.com/office/drawing/2014/main" id="{6E5D467F-B04A-4FF8-AF4F-83AD1A4304B3}"/>
                </a:ext>
              </a:extLst>
            </p:cNvPr>
            <p:cNvSpPr/>
            <p:nvPr/>
          </p:nvSpPr>
          <p:spPr>
            <a:xfrm>
              <a:off x="5155355" y="4715368"/>
              <a:ext cx="140036" cy="71249"/>
            </a:xfrm>
            <a:custGeom>
              <a:avLst/>
              <a:gdLst>
                <a:gd name="connsiteX0" fmla="*/ -336 w 46005"/>
                <a:gd name="connsiteY0" fmla="*/ -163 h 23407"/>
                <a:gd name="connsiteX1" fmla="*/ -336 w 46005"/>
                <a:gd name="connsiteY1" fmla="*/ 7076 h 23407"/>
                <a:gd name="connsiteX2" fmla="*/ 1188 w 46005"/>
                <a:gd name="connsiteY2" fmla="*/ 9267 h 23407"/>
                <a:gd name="connsiteX3" fmla="*/ 23762 w 46005"/>
                <a:gd name="connsiteY3" fmla="*/ 22317 h 23407"/>
                <a:gd name="connsiteX4" fmla="*/ 31477 w 46005"/>
                <a:gd name="connsiteY4" fmla="*/ 22317 h 23407"/>
                <a:gd name="connsiteX5" fmla="*/ 44146 w 46005"/>
                <a:gd name="connsiteY5" fmla="*/ 14982 h 23407"/>
                <a:gd name="connsiteX6" fmla="*/ 45669 w 46005"/>
                <a:gd name="connsiteY6" fmla="*/ 13363 h 23407"/>
                <a:gd name="connsiteX7" fmla="*/ 45669 w 46005"/>
                <a:gd name="connsiteY7" fmla="*/ 6219 h 23407"/>
                <a:gd name="connsiteX8" fmla="*/ 44146 w 46005"/>
                <a:gd name="connsiteY8" fmla="*/ 7838 h 23407"/>
                <a:gd name="connsiteX9" fmla="*/ 41669 w 46005"/>
                <a:gd name="connsiteY9" fmla="*/ 9172 h 23407"/>
                <a:gd name="connsiteX10" fmla="*/ 31477 w 46005"/>
                <a:gd name="connsiteY10" fmla="*/ 15173 h 23407"/>
                <a:gd name="connsiteX11" fmla="*/ 23762 w 46005"/>
                <a:gd name="connsiteY11" fmla="*/ 15173 h 23407"/>
                <a:gd name="connsiteX12" fmla="*/ 3569 w 46005"/>
                <a:gd name="connsiteY12" fmla="*/ 3457 h 23407"/>
                <a:gd name="connsiteX13" fmla="*/ 1188 w 46005"/>
                <a:gd name="connsiteY13" fmla="*/ 2124 h 23407"/>
                <a:gd name="connsiteX14" fmla="*/ -336 w 46005"/>
                <a:gd name="connsiteY14" fmla="*/ -163 h 234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6005" h="23407">
                  <a:moveTo>
                    <a:pt x="-336" y="-163"/>
                  </a:moveTo>
                  <a:lnTo>
                    <a:pt x="-336" y="7076"/>
                  </a:lnTo>
                  <a:cubicBezTo>
                    <a:pt x="-279" y="8029"/>
                    <a:pt x="311" y="8877"/>
                    <a:pt x="1188" y="9267"/>
                  </a:cubicBezTo>
                  <a:lnTo>
                    <a:pt x="23762" y="22317"/>
                  </a:lnTo>
                  <a:cubicBezTo>
                    <a:pt x="26181" y="23555"/>
                    <a:pt x="29058" y="23555"/>
                    <a:pt x="31477" y="22317"/>
                  </a:cubicBezTo>
                  <a:lnTo>
                    <a:pt x="44146" y="14982"/>
                  </a:lnTo>
                  <a:cubicBezTo>
                    <a:pt x="44822" y="14630"/>
                    <a:pt x="45355" y="14058"/>
                    <a:pt x="45669" y="13363"/>
                  </a:cubicBezTo>
                  <a:lnTo>
                    <a:pt x="45669" y="6219"/>
                  </a:lnTo>
                  <a:cubicBezTo>
                    <a:pt x="45412" y="6953"/>
                    <a:pt x="44860" y="7534"/>
                    <a:pt x="44146" y="7838"/>
                  </a:cubicBezTo>
                  <a:lnTo>
                    <a:pt x="41669" y="9172"/>
                  </a:lnTo>
                  <a:lnTo>
                    <a:pt x="31477" y="15173"/>
                  </a:lnTo>
                  <a:cubicBezTo>
                    <a:pt x="29058" y="16411"/>
                    <a:pt x="26181" y="16411"/>
                    <a:pt x="23762" y="15173"/>
                  </a:cubicBezTo>
                  <a:lnTo>
                    <a:pt x="3569" y="3457"/>
                  </a:lnTo>
                  <a:lnTo>
                    <a:pt x="1188" y="2124"/>
                  </a:lnTo>
                  <a:cubicBezTo>
                    <a:pt x="283" y="1723"/>
                    <a:pt x="-308"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42" name="íšḻiḍè">
              <a:extLst>
                <a:ext uri="{FF2B5EF4-FFF2-40B4-BE49-F238E27FC236}">
                  <a16:creationId xmlns:a16="http://schemas.microsoft.com/office/drawing/2014/main" id="{5112F7A3-11EE-4E83-B891-3E71A0CE2ADE}"/>
                </a:ext>
              </a:extLst>
            </p:cNvPr>
            <p:cNvSpPr/>
            <p:nvPr/>
          </p:nvSpPr>
          <p:spPr>
            <a:xfrm>
              <a:off x="5264952" y="4746465"/>
              <a:ext cx="109594" cy="63639"/>
            </a:xfrm>
            <a:custGeom>
              <a:avLst/>
              <a:gdLst>
                <a:gd name="connsiteX0" fmla="*/ -336 w 36004"/>
                <a:gd name="connsiteY0" fmla="*/ 10291 h 20907"/>
                <a:gd name="connsiteX1" fmla="*/ 1188 w 36004"/>
                <a:gd name="connsiteY1" fmla="*/ 12577 h 20907"/>
                <a:gd name="connsiteX2" fmla="*/ 3569 w 36004"/>
                <a:gd name="connsiteY2" fmla="*/ 13911 h 20907"/>
                <a:gd name="connsiteX3" fmla="*/ 13856 w 36004"/>
                <a:gd name="connsiteY3" fmla="*/ 19816 h 20907"/>
                <a:gd name="connsiteX4" fmla="*/ 21476 w 36004"/>
                <a:gd name="connsiteY4" fmla="*/ 19816 h 20907"/>
                <a:gd name="connsiteX5" fmla="*/ 31763 w 36004"/>
                <a:gd name="connsiteY5" fmla="*/ 13911 h 20907"/>
                <a:gd name="connsiteX6" fmla="*/ 34144 w 36004"/>
                <a:gd name="connsiteY6" fmla="*/ 12577 h 20907"/>
                <a:gd name="connsiteX7" fmla="*/ 35668 w 36004"/>
                <a:gd name="connsiteY7" fmla="*/ 10291 h 20907"/>
                <a:gd name="connsiteX8" fmla="*/ 34144 w 36004"/>
                <a:gd name="connsiteY8" fmla="*/ 8100 h 20907"/>
                <a:gd name="connsiteX9" fmla="*/ 21476 w 36004"/>
                <a:gd name="connsiteY9" fmla="*/ 766 h 20907"/>
                <a:gd name="connsiteX10" fmla="*/ 13856 w 36004"/>
                <a:gd name="connsiteY10" fmla="*/ 766 h 20907"/>
                <a:gd name="connsiteX11" fmla="*/ 1188 w 36004"/>
                <a:gd name="connsiteY11" fmla="*/ 8100 h 20907"/>
                <a:gd name="connsiteX12" fmla="*/ -336 w 36004"/>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907">
                  <a:moveTo>
                    <a:pt x="-336" y="10291"/>
                  </a:moveTo>
                  <a:cubicBezTo>
                    <a:pt x="-270" y="11272"/>
                    <a:pt x="311" y="12139"/>
                    <a:pt x="1188" y="12577"/>
                  </a:cubicBezTo>
                  <a:lnTo>
                    <a:pt x="3569" y="13911"/>
                  </a:lnTo>
                  <a:lnTo>
                    <a:pt x="13856" y="19816"/>
                  </a:lnTo>
                  <a:cubicBezTo>
                    <a:pt x="16247" y="21054"/>
                    <a:pt x="19085" y="21054"/>
                    <a:pt x="21476" y="19816"/>
                  </a:cubicBezTo>
                  <a:lnTo>
                    <a:pt x="31763" y="13911"/>
                  </a:lnTo>
                  <a:lnTo>
                    <a:pt x="34144" y="12577"/>
                  </a:lnTo>
                  <a:cubicBezTo>
                    <a:pt x="35021" y="12139"/>
                    <a:pt x="35602" y="11272"/>
                    <a:pt x="35668" y="10291"/>
                  </a:cubicBezTo>
                  <a:cubicBezTo>
                    <a:pt x="35611" y="9339"/>
                    <a:pt x="35021" y="8491"/>
                    <a:pt x="34144" y="8100"/>
                  </a:cubicBezTo>
                  <a:lnTo>
                    <a:pt x="21476" y="766"/>
                  </a:lnTo>
                  <a:cubicBezTo>
                    <a:pt x="19085" y="-472"/>
                    <a:pt x="16247" y="-472"/>
                    <a:pt x="13856" y="766"/>
                  </a:cubicBezTo>
                  <a:lnTo>
                    <a:pt x="1188" y="8100"/>
                  </a:lnTo>
                  <a:cubicBezTo>
                    <a:pt x="311" y="8491"/>
                    <a:pt x="-279"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643" name="işḻiḓè">
              <a:extLst>
                <a:ext uri="{FF2B5EF4-FFF2-40B4-BE49-F238E27FC236}">
                  <a16:creationId xmlns:a16="http://schemas.microsoft.com/office/drawing/2014/main" id="{C9DD8A0B-C777-471D-BD71-92398E24CDC1}"/>
                </a:ext>
              </a:extLst>
            </p:cNvPr>
            <p:cNvSpPr/>
            <p:nvPr/>
          </p:nvSpPr>
          <p:spPr>
            <a:xfrm>
              <a:off x="5266763" y="4747624"/>
              <a:ext cx="105895" cy="61101"/>
            </a:xfrm>
            <a:custGeom>
              <a:avLst/>
              <a:gdLst>
                <a:gd name="connsiteX0" fmla="*/ 1164 w 34789"/>
                <a:gd name="connsiteY0" fmla="*/ 12006 h 20073"/>
                <a:gd name="connsiteX1" fmla="*/ 13356 w 34789"/>
                <a:gd name="connsiteY1" fmla="*/ 19054 h 20073"/>
                <a:gd name="connsiteX2" fmla="*/ 20785 w 34789"/>
                <a:gd name="connsiteY2" fmla="*/ 19054 h 20073"/>
                <a:gd name="connsiteX3" fmla="*/ 32882 w 34789"/>
                <a:gd name="connsiteY3" fmla="*/ 12006 h 20073"/>
                <a:gd name="connsiteX4" fmla="*/ 32882 w 34789"/>
                <a:gd name="connsiteY4" fmla="*/ 7719 h 20073"/>
                <a:gd name="connsiteX5" fmla="*/ 20785 w 34789"/>
                <a:gd name="connsiteY5" fmla="*/ 766 h 20073"/>
                <a:gd name="connsiteX6" fmla="*/ 13356 w 34789"/>
                <a:gd name="connsiteY6" fmla="*/ 766 h 20073"/>
                <a:gd name="connsiteX7" fmla="*/ 1164 w 34789"/>
                <a:gd name="connsiteY7" fmla="*/ 7719 h 20073"/>
                <a:gd name="connsiteX8" fmla="*/ 1164 w 34789"/>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89" h="20073">
                  <a:moveTo>
                    <a:pt x="1164" y="12006"/>
                  </a:moveTo>
                  <a:lnTo>
                    <a:pt x="13356" y="19054"/>
                  </a:lnTo>
                  <a:cubicBezTo>
                    <a:pt x="15699" y="20197"/>
                    <a:pt x="18442" y="20197"/>
                    <a:pt x="20785" y="19054"/>
                  </a:cubicBezTo>
                  <a:lnTo>
                    <a:pt x="32882" y="12006"/>
                  </a:lnTo>
                  <a:cubicBezTo>
                    <a:pt x="34977" y="10863"/>
                    <a:pt x="34977" y="8958"/>
                    <a:pt x="32882" y="7719"/>
                  </a:cubicBezTo>
                  <a:lnTo>
                    <a:pt x="20785" y="766"/>
                  </a:lnTo>
                  <a:cubicBezTo>
                    <a:pt x="18461" y="-472"/>
                    <a:pt x="15680" y="-472"/>
                    <a:pt x="13356" y="766"/>
                  </a:cubicBezTo>
                  <a:lnTo>
                    <a:pt x="1164" y="7719"/>
                  </a:lnTo>
                  <a:cubicBezTo>
                    <a:pt x="-836" y="8958"/>
                    <a:pt x="-836" y="10863"/>
                    <a:pt x="1164" y="12006"/>
                  </a:cubicBezTo>
                  <a:close/>
                </a:path>
              </a:pathLst>
            </a:custGeom>
            <a:solidFill>
              <a:srgbClr val="D1D9E8"/>
            </a:solidFill>
            <a:ln w="9525" cap="flat">
              <a:noFill/>
              <a:prstDash val="solid"/>
              <a:miter/>
            </a:ln>
          </p:spPr>
          <p:txBody>
            <a:bodyPr rtlCol="0" anchor="ctr"/>
            <a:lstStyle/>
            <a:p>
              <a:endParaRPr lang="zh-CN" altLang="en-US"/>
            </a:p>
          </p:txBody>
        </p:sp>
        <p:sp>
          <p:nvSpPr>
            <p:cNvPr id="644" name="ïS1îḋê">
              <a:extLst>
                <a:ext uri="{FF2B5EF4-FFF2-40B4-BE49-F238E27FC236}">
                  <a16:creationId xmlns:a16="http://schemas.microsoft.com/office/drawing/2014/main" id="{92E2943E-2894-49B0-8E20-F4DF33812B67}"/>
                </a:ext>
              </a:extLst>
            </p:cNvPr>
            <p:cNvSpPr/>
            <p:nvPr/>
          </p:nvSpPr>
          <p:spPr>
            <a:xfrm>
              <a:off x="5264952" y="4778286"/>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3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3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2" y="7953"/>
                    <a:pt x="35668" y="6981"/>
                  </a:cubicBezTo>
                  <a:lnTo>
                    <a:pt x="35668" y="-163"/>
                  </a:lnTo>
                  <a:cubicBezTo>
                    <a:pt x="35602" y="818"/>
                    <a:pt x="35021" y="1685"/>
                    <a:pt x="34144" y="2123"/>
                  </a:cubicBezTo>
                  <a:lnTo>
                    <a:pt x="31763" y="3457"/>
                  </a:lnTo>
                  <a:lnTo>
                    <a:pt x="21476" y="9362"/>
                  </a:lnTo>
                  <a:cubicBezTo>
                    <a:pt x="19085" y="10601"/>
                    <a:pt x="16247" y="10601"/>
                    <a:pt x="13856" y="9362"/>
                  </a:cubicBezTo>
                  <a:lnTo>
                    <a:pt x="3569" y="3457"/>
                  </a:lnTo>
                  <a:lnTo>
                    <a:pt x="1188"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45" name="íS1ïḋê">
              <a:extLst>
                <a:ext uri="{FF2B5EF4-FFF2-40B4-BE49-F238E27FC236}">
                  <a16:creationId xmlns:a16="http://schemas.microsoft.com/office/drawing/2014/main" id="{95B4C2E7-5FBF-43A1-8DED-B325DC39224F}"/>
                </a:ext>
              </a:extLst>
            </p:cNvPr>
            <p:cNvSpPr/>
            <p:nvPr/>
          </p:nvSpPr>
          <p:spPr>
            <a:xfrm>
              <a:off x="5342073" y="4791116"/>
              <a:ext cx="109883" cy="63588"/>
            </a:xfrm>
            <a:custGeom>
              <a:avLst/>
              <a:gdLst>
                <a:gd name="connsiteX0" fmla="*/ -336 w 36099"/>
                <a:gd name="connsiteY0" fmla="*/ 10291 h 20890"/>
                <a:gd name="connsiteX1" fmla="*/ 1283 w 36099"/>
                <a:gd name="connsiteY1" fmla="*/ 12577 h 20890"/>
                <a:gd name="connsiteX2" fmla="*/ 3569 w 36099"/>
                <a:gd name="connsiteY2" fmla="*/ 13910 h 20890"/>
                <a:gd name="connsiteX3" fmla="*/ 13856 w 36099"/>
                <a:gd name="connsiteY3" fmla="*/ 19721 h 20890"/>
                <a:gd name="connsiteX4" fmla="*/ 21571 w 36099"/>
                <a:gd name="connsiteY4" fmla="*/ 19721 h 20890"/>
                <a:gd name="connsiteX5" fmla="*/ 31858 w 36099"/>
                <a:gd name="connsiteY5" fmla="*/ 13910 h 20890"/>
                <a:gd name="connsiteX6" fmla="*/ 34144 w 36099"/>
                <a:gd name="connsiteY6" fmla="*/ 12577 h 20890"/>
                <a:gd name="connsiteX7" fmla="*/ 35764 w 36099"/>
                <a:gd name="connsiteY7" fmla="*/ 10291 h 20890"/>
                <a:gd name="connsiteX8" fmla="*/ 34144 w 36099"/>
                <a:gd name="connsiteY8" fmla="*/ 8100 h 20890"/>
                <a:gd name="connsiteX9" fmla="*/ 21571 w 36099"/>
                <a:gd name="connsiteY9" fmla="*/ 766 h 20890"/>
                <a:gd name="connsiteX10" fmla="*/ 13856 w 36099"/>
                <a:gd name="connsiteY10" fmla="*/ 766 h 20890"/>
                <a:gd name="connsiteX11" fmla="*/ 1283 w 36099"/>
                <a:gd name="connsiteY11" fmla="*/ 8100 h 20890"/>
                <a:gd name="connsiteX12" fmla="*/ -336 w 36099"/>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99" h="20890">
                  <a:moveTo>
                    <a:pt x="-336" y="10291"/>
                  </a:moveTo>
                  <a:cubicBezTo>
                    <a:pt x="-270" y="11301"/>
                    <a:pt x="359" y="12186"/>
                    <a:pt x="1283" y="12577"/>
                  </a:cubicBezTo>
                  <a:lnTo>
                    <a:pt x="3569" y="13910"/>
                  </a:lnTo>
                  <a:lnTo>
                    <a:pt x="13856" y="19721"/>
                  </a:lnTo>
                  <a:cubicBezTo>
                    <a:pt x="16256" y="21064"/>
                    <a:pt x="19171" y="21064"/>
                    <a:pt x="21571" y="19721"/>
                  </a:cubicBezTo>
                  <a:lnTo>
                    <a:pt x="31858" y="13910"/>
                  </a:lnTo>
                  <a:lnTo>
                    <a:pt x="34144" y="12577"/>
                  </a:lnTo>
                  <a:cubicBezTo>
                    <a:pt x="35049" y="12148"/>
                    <a:pt x="35659" y="11282"/>
                    <a:pt x="35764" y="10291"/>
                  </a:cubicBezTo>
                  <a:cubicBezTo>
                    <a:pt x="35687" y="9310"/>
                    <a:pt x="35059" y="8462"/>
                    <a:pt x="34144" y="8100"/>
                  </a:cubicBezTo>
                  <a:lnTo>
                    <a:pt x="21571" y="766"/>
                  </a:lnTo>
                  <a:cubicBezTo>
                    <a:pt x="19152" y="-472"/>
                    <a:pt x="16275" y="-472"/>
                    <a:pt x="13856" y="766"/>
                  </a:cubicBezTo>
                  <a:lnTo>
                    <a:pt x="1283" y="8100"/>
                  </a:lnTo>
                  <a:cubicBezTo>
                    <a:pt x="349" y="8443"/>
                    <a:pt x="-279" y="9301"/>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646" name="íślîḋé">
              <a:extLst>
                <a:ext uri="{FF2B5EF4-FFF2-40B4-BE49-F238E27FC236}">
                  <a16:creationId xmlns:a16="http://schemas.microsoft.com/office/drawing/2014/main" id="{86554CDE-F7D6-477C-943D-AC85A5DC4CE5}"/>
                </a:ext>
              </a:extLst>
            </p:cNvPr>
            <p:cNvSpPr/>
            <p:nvPr/>
          </p:nvSpPr>
          <p:spPr>
            <a:xfrm>
              <a:off x="5343957" y="4792273"/>
              <a:ext cx="105895" cy="61104"/>
            </a:xfrm>
            <a:custGeom>
              <a:avLst/>
              <a:gdLst>
                <a:gd name="connsiteX0" fmla="*/ 1235 w 34789"/>
                <a:gd name="connsiteY0" fmla="*/ 12006 h 20074"/>
                <a:gd name="connsiteX1" fmla="*/ 13332 w 34789"/>
                <a:gd name="connsiteY1" fmla="*/ 19054 h 20074"/>
                <a:gd name="connsiteX2" fmla="*/ 20761 w 34789"/>
                <a:gd name="connsiteY2" fmla="*/ 19054 h 20074"/>
                <a:gd name="connsiteX3" fmla="*/ 32953 w 34789"/>
                <a:gd name="connsiteY3" fmla="*/ 12006 h 20074"/>
                <a:gd name="connsiteX4" fmla="*/ 32953 w 34789"/>
                <a:gd name="connsiteY4" fmla="*/ 7719 h 20074"/>
                <a:gd name="connsiteX5" fmla="*/ 20761 w 34789"/>
                <a:gd name="connsiteY5" fmla="*/ 766 h 20074"/>
                <a:gd name="connsiteX6" fmla="*/ 13332 w 34789"/>
                <a:gd name="connsiteY6" fmla="*/ 766 h 20074"/>
                <a:gd name="connsiteX7" fmla="*/ 1235 w 34789"/>
                <a:gd name="connsiteY7" fmla="*/ 7719 h 20074"/>
                <a:gd name="connsiteX8" fmla="*/ 1235 w 34789"/>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89" h="20074">
                  <a:moveTo>
                    <a:pt x="1235" y="12006"/>
                  </a:moveTo>
                  <a:lnTo>
                    <a:pt x="13332" y="19054"/>
                  </a:lnTo>
                  <a:cubicBezTo>
                    <a:pt x="15675" y="20197"/>
                    <a:pt x="18418" y="20197"/>
                    <a:pt x="20761" y="19054"/>
                  </a:cubicBezTo>
                  <a:lnTo>
                    <a:pt x="32953" y="12006"/>
                  </a:lnTo>
                  <a:cubicBezTo>
                    <a:pt x="34954" y="10863"/>
                    <a:pt x="34954" y="8958"/>
                    <a:pt x="32953" y="7719"/>
                  </a:cubicBezTo>
                  <a:lnTo>
                    <a:pt x="20761" y="766"/>
                  </a:lnTo>
                  <a:cubicBezTo>
                    <a:pt x="18437" y="-472"/>
                    <a:pt x="15656" y="-472"/>
                    <a:pt x="13332" y="766"/>
                  </a:cubicBezTo>
                  <a:lnTo>
                    <a:pt x="1235" y="7719"/>
                  </a:lnTo>
                  <a:cubicBezTo>
                    <a:pt x="-860" y="8958"/>
                    <a:pt x="-860" y="11244"/>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647" name="îṥľîḍê">
              <a:extLst>
                <a:ext uri="{FF2B5EF4-FFF2-40B4-BE49-F238E27FC236}">
                  <a16:creationId xmlns:a16="http://schemas.microsoft.com/office/drawing/2014/main" id="{7C52CAFB-58F4-4E3B-8132-A428B6FF5FE7}"/>
                </a:ext>
              </a:extLst>
            </p:cNvPr>
            <p:cNvSpPr/>
            <p:nvPr/>
          </p:nvSpPr>
          <p:spPr>
            <a:xfrm>
              <a:off x="5342073" y="4822934"/>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4 w 36099"/>
                <a:gd name="connsiteY6" fmla="*/ 6981 h 17597"/>
                <a:gd name="connsiteX7" fmla="*/ 35764 w 36099"/>
                <a:gd name="connsiteY7" fmla="*/ -163 h 17597"/>
                <a:gd name="connsiteX8" fmla="*/ 34144 w 36099"/>
                <a:gd name="connsiteY8" fmla="*/ 2124 h 17597"/>
                <a:gd name="connsiteX9" fmla="*/ 31858 w 36099"/>
                <a:gd name="connsiteY9" fmla="*/ 3457 h 17597"/>
                <a:gd name="connsiteX10" fmla="*/ 21571 w 36099"/>
                <a:gd name="connsiteY10" fmla="*/ 9267 h 17597"/>
                <a:gd name="connsiteX11" fmla="*/ 13856 w 36099"/>
                <a:gd name="connsiteY11" fmla="*/ 9267 h 17597"/>
                <a:gd name="connsiteX12" fmla="*/ 3569 w 36099"/>
                <a:gd name="connsiteY12" fmla="*/ 3457 h 17597"/>
                <a:gd name="connsiteX13" fmla="*/ 1283 w 36099"/>
                <a:gd name="connsiteY13" fmla="*/ 2124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41" y="8048"/>
                    <a:pt x="387" y="8886"/>
                    <a:pt x="1283" y="9267"/>
                  </a:cubicBezTo>
                  <a:lnTo>
                    <a:pt x="13856" y="16506"/>
                  </a:lnTo>
                  <a:cubicBezTo>
                    <a:pt x="16275" y="17744"/>
                    <a:pt x="19152" y="17744"/>
                    <a:pt x="21571" y="16506"/>
                  </a:cubicBezTo>
                  <a:lnTo>
                    <a:pt x="34144" y="9267"/>
                  </a:lnTo>
                  <a:cubicBezTo>
                    <a:pt x="35030" y="8829"/>
                    <a:pt x="35640" y="7972"/>
                    <a:pt x="35764" y="6981"/>
                  </a:cubicBezTo>
                  <a:lnTo>
                    <a:pt x="35764" y="-163"/>
                  </a:lnTo>
                  <a:cubicBezTo>
                    <a:pt x="35659" y="828"/>
                    <a:pt x="35049" y="1695"/>
                    <a:pt x="34144" y="2124"/>
                  </a:cubicBezTo>
                  <a:lnTo>
                    <a:pt x="31858" y="3457"/>
                  </a:lnTo>
                  <a:lnTo>
                    <a:pt x="21571" y="9267"/>
                  </a:lnTo>
                  <a:cubicBezTo>
                    <a:pt x="19171" y="10610"/>
                    <a:pt x="16256" y="10610"/>
                    <a:pt x="13856" y="9267"/>
                  </a:cubicBezTo>
                  <a:lnTo>
                    <a:pt x="3569" y="3457"/>
                  </a:lnTo>
                  <a:lnTo>
                    <a:pt x="1283" y="2124"/>
                  </a:lnTo>
                  <a:cubicBezTo>
                    <a:pt x="349" y="1733"/>
                    <a:pt x="-270" y="847"/>
                    <a:pt x="-336" y="-163"/>
                  </a:cubicBezTo>
                  <a:close/>
                </a:path>
              </a:pathLst>
            </a:custGeom>
            <a:solidFill>
              <a:srgbClr val="BF4200"/>
            </a:solidFill>
            <a:ln w="9525" cap="flat">
              <a:noFill/>
              <a:prstDash val="solid"/>
              <a:miter/>
            </a:ln>
          </p:spPr>
          <p:txBody>
            <a:bodyPr rtlCol="0" anchor="ctr"/>
            <a:lstStyle/>
            <a:p>
              <a:endParaRPr lang="zh-CN" altLang="en-US"/>
            </a:p>
          </p:txBody>
        </p:sp>
        <p:sp>
          <p:nvSpPr>
            <p:cNvPr id="648" name="íṧḷîḑê">
              <a:extLst>
                <a:ext uri="{FF2B5EF4-FFF2-40B4-BE49-F238E27FC236}">
                  <a16:creationId xmlns:a16="http://schemas.microsoft.com/office/drawing/2014/main" id="{E6E6DCE7-D015-40F4-9037-D1F2C6B589F7}"/>
                </a:ext>
              </a:extLst>
            </p:cNvPr>
            <p:cNvSpPr/>
            <p:nvPr/>
          </p:nvSpPr>
          <p:spPr>
            <a:xfrm>
              <a:off x="5419486" y="4835764"/>
              <a:ext cx="109362" cy="63588"/>
            </a:xfrm>
            <a:custGeom>
              <a:avLst/>
              <a:gdLst>
                <a:gd name="connsiteX0" fmla="*/ -336 w 35928"/>
                <a:gd name="connsiteY0" fmla="*/ 10291 h 20890"/>
                <a:gd name="connsiteX1" fmla="*/ 1188 w 35928"/>
                <a:gd name="connsiteY1" fmla="*/ 12482 h 20890"/>
                <a:gd name="connsiteX2" fmla="*/ 3569 w 35928"/>
                <a:gd name="connsiteY2" fmla="*/ 13911 h 20890"/>
                <a:gd name="connsiteX3" fmla="*/ 13856 w 35928"/>
                <a:gd name="connsiteY3" fmla="*/ 19721 h 20890"/>
                <a:gd name="connsiteX4" fmla="*/ 21476 w 35928"/>
                <a:gd name="connsiteY4" fmla="*/ 19721 h 20890"/>
                <a:gd name="connsiteX5" fmla="*/ 31763 w 35928"/>
                <a:gd name="connsiteY5" fmla="*/ 13911 h 20890"/>
                <a:gd name="connsiteX6" fmla="*/ 34144 w 35928"/>
                <a:gd name="connsiteY6" fmla="*/ 12482 h 20890"/>
                <a:gd name="connsiteX7" fmla="*/ 35402 w 35928"/>
                <a:gd name="connsiteY7" fmla="*/ 9358 h 20890"/>
                <a:gd name="connsiteX8" fmla="*/ 34144 w 35928"/>
                <a:gd name="connsiteY8" fmla="*/ 8101 h 20890"/>
                <a:gd name="connsiteX9" fmla="*/ 21476 w 35928"/>
                <a:gd name="connsiteY9" fmla="*/ 766 h 20890"/>
                <a:gd name="connsiteX10" fmla="*/ 13856 w 35928"/>
                <a:gd name="connsiteY10" fmla="*/ 766 h 20890"/>
                <a:gd name="connsiteX11" fmla="*/ 1188 w 35928"/>
                <a:gd name="connsiteY11" fmla="*/ 8101 h 20890"/>
                <a:gd name="connsiteX12" fmla="*/ -336 w 35928"/>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928" h="20890">
                  <a:moveTo>
                    <a:pt x="-336" y="10291"/>
                  </a:moveTo>
                  <a:cubicBezTo>
                    <a:pt x="-298" y="11253"/>
                    <a:pt x="292" y="12110"/>
                    <a:pt x="1188" y="12482"/>
                  </a:cubicBezTo>
                  <a:lnTo>
                    <a:pt x="3569" y="13911"/>
                  </a:lnTo>
                  <a:lnTo>
                    <a:pt x="13856" y="19721"/>
                  </a:lnTo>
                  <a:cubicBezTo>
                    <a:pt x="16218" y="21064"/>
                    <a:pt x="19114" y="21064"/>
                    <a:pt x="21476" y="19721"/>
                  </a:cubicBezTo>
                  <a:lnTo>
                    <a:pt x="31763" y="13911"/>
                  </a:lnTo>
                  <a:lnTo>
                    <a:pt x="34144" y="12482"/>
                  </a:lnTo>
                  <a:cubicBezTo>
                    <a:pt x="35354" y="11967"/>
                    <a:pt x="35916" y="10567"/>
                    <a:pt x="35402" y="9358"/>
                  </a:cubicBezTo>
                  <a:cubicBezTo>
                    <a:pt x="35164" y="8796"/>
                    <a:pt x="34706" y="8339"/>
                    <a:pt x="34144" y="8101"/>
                  </a:cubicBezTo>
                  <a:lnTo>
                    <a:pt x="21476" y="766"/>
                  </a:lnTo>
                  <a:cubicBezTo>
                    <a:pt x="19085" y="-472"/>
                    <a:pt x="16247" y="-472"/>
                    <a:pt x="13856" y="766"/>
                  </a:cubicBezTo>
                  <a:lnTo>
                    <a:pt x="1188" y="8101"/>
                  </a:lnTo>
                  <a:cubicBezTo>
                    <a:pt x="292" y="8472"/>
                    <a:pt x="-298"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649" name="îsḷíḓe">
              <a:extLst>
                <a:ext uri="{FF2B5EF4-FFF2-40B4-BE49-F238E27FC236}">
                  <a16:creationId xmlns:a16="http://schemas.microsoft.com/office/drawing/2014/main" id="{F2E462A9-0F7E-4F64-9A3E-520814826E2C}"/>
                </a:ext>
              </a:extLst>
            </p:cNvPr>
            <p:cNvSpPr/>
            <p:nvPr/>
          </p:nvSpPr>
          <p:spPr>
            <a:xfrm>
              <a:off x="5421370" y="4836924"/>
              <a:ext cx="105825" cy="61101"/>
            </a:xfrm>
            <a:custGeom>
              <a:avLst/>
              <a:gdLst>
                <a:gd name="connsiteX0" fmla="*/ 1235 w 34766"/>
                <a:gd name="connsiteY0" fmla="*/ 12006 h 20073"/>
                <a:gd name="connsiteX1" fmla="*/ 13332 w 34766"/>
                <a:gd name="connsiteY1" fmla="*/ 19054 h 20073"/>
                <a:gd name="connsiteX2" fmla="*/ 20762 w 34766"/>
                <a:gd name="connsiteY2" fmla="*/ 19054 h 20073"/>
                <a:gd name="connsiteX3" fmla="*/ 32858 w 34766"/>
                <a:gd name="connsiteY3" fmla="*/ 12006 h 20073"/>
                <a:gd name="connsiteX4" fmla="*/ 32858 w 34766"/>
                <a:gd name="connsiteY4" fmla="*/ 7719 h 20073"/>
                <a:gd name="connsiteX5" fmla="*/ 20762 w 34766"/>
                <a:gd name="connsiteY5" fmla="*/ 766 h 20073"/>
                <a:gd name="connsiteX6" fmla="*/ 13332 w 34766"/>
                <a:gd name="connsiteY6" fmla="*/ 766 h 20073"/>
                <a:gd name="connsiteX7" fmla="*/ 1235 w 34766"/>
                <a:gd name="connsiteY7" fmla="*/ 7719 h 20073"/>
                <a:gd name="connsiteX8" fmla="*/ 1235 w 34766"/>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6" h="20073">
                  <a:moveTo>
                    <a:pt x="1235" y="12006"/>
                  </a:moveTo>
                  <a:lnTo>
                    <a:pt x="13332" y="19054"/>
                  </a:lnTo>
                  <a:cubicBezTo>
                    <a:pt x="15675" y="20197"/>
                    <a:pt x="18419" y="20197"/>
                    <a:pt x="20762" y="19054"/>
                  </a:cubicBezTo>
                  <a:lnTo>
                    <a:pt x="32858" y="12006"/>
                  </a:lnTo>
                  <a:cubicBezTo>
                    <a:pt x="34954" y="10863"/>
                    <a:pt x="34954" y="8957"/>
                    <a:pt x="32858" y="7719"/>
                  </a:cubicBezTo>
                  <a:lnTo>
                    <a:pt x="20762" y="766"/>
                  </a:lnTo>
                  <a:cubicBezTo>
                    <a:pt x="18437" y="-472"/>
                    <a:pt x="15656" y="-472"/>
                    <a:pt x="13332" y="766"/>
                  </a:cubicBezTo>
                  <a:lnTo>
                    <a:pt x="1235" y="7719"/>
                  </a:lnTo>
                  <a:cubicBezTo>
                    <a:pt x="-860" y="8957"/>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650" name="isḷïďê">
              <a:extLst>
                <a:ext uri="{FF2B5EF4-FFF2-40B4-BE49-F238E27FC236}">
                  <a16:creationId xmlns:a16="http://schemas.microsoft.com/office/drawing/2014/main" id="{EDEE4D96-BA89-4F73-9AA3-6E38E95DFAA0}"/>
                </a:ext>
              </a:extLst>
            </p:cNvPr>
            <p:cNvSpPr/>
            <p:nvPr/>
          </p:nvSpPr>
          <p:spPr>
            <a:xfrm>
              <a:off x="5419486" y="4867586"/>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028 h 17597"/>
                <a:gd name="connsiteX9" fmla="*/ 31763 w 36004"/>
                <a:gd name="connsiteY9" fmla="*/ 3457 h 17597"/>
                <a:gd name="connsiteX10" fmla="*/ 21476 w 36004"/>
                <a:gd name="connsiteY10" fmla="*/ 9267 h 17597"/>
                <a:gd name="connsiteX11" fmla="*/ 13856 w 36004"/>
                <a:gd name="connsiteY11" fmla="*/ 9267 h 17597"/>
                <a:gd name="connsiteX12" fmla="*/ 3569 w 36004"/>
                <a:gd name="connsiteY12" fmla="*/ 3457 h 17597"/>
                <a:gd name="connsiteX13" fmla="*/ 1188 w 36004"/>
                <a:gd name="connsiteY13" fmla="*/ 2028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3" y="7953"/>
                    <a:pt x="35668" y="6981"/>
                  </a:cubicBezTo>
                  <a:lnTo>
                    <a:pt x="35668" y="-163"/>
                  </a:lnTo>
                  <a:cubicBezTo>
                    <a:pt x="35630" y="800"/>
                    <a:pt x="35040" y="1657"/>
                    <a:pt x="34144" y="2028"/>
                  </a:cubicBezTo>
                  <a:lnTo>
                    <a:pt x="31763" y="3457"/>
                  </a:lnTo>
                  <a:lnTo>
                    <a:pt x="21476" y="9267"/>
                  </a:lnTo>
                  <a:cubicBezTo>
                    <a:pt x="19114" y="10610"/>
                    <a:pt x="16218" y="10610"/>
                    <a:pt x="13856" y="9267"/>
                  </a:cubicBezTo>
                  <a:lnTo>
                    <a:pt x="3569" y="3457"/>
                  </a:lnTo>
                  <a:lnTo>
                    <a:pt x="1188" y="2028"/>
                  </a:lnTo>
                  <a:cubicBezTo>
                    <a:pt x="292" y="1657"/>
                    <a:pt x="-298" y="800"/>
                    <a:pt x="-336" y="-163"/>
                  </a:cubicBezTo>
                  <a:close/>
                </a:path>
              </a:pathLst>
            </a:custGeom>
            <a:solidFill>
              <a:srgbClr val="BF4200"/>
            </a:solidFill>
            <a:ln w="9525" cap="flat">
              <a:noFill/>
              <a:prstDash val="solid"/>
              <a:miter/>
            </a:ln>
          </p:spPr>
          <p:txBody>
            <a:bodyPr rtlCol="0" anchor="ctr"/>
            <a:lstStyle/>
            <a:p>
              <a:endParaRPr lang="zh-CN" altLang="en-US"/>
            </a:p>
          </p:txBody>
        </p:sp>
        <p:sp>
          <p:nvSpPr>
            <p:cNvPr id="651" name="ïṥļiḓe">
              <a:extLst>
                <a:ext uri="{FF2B5EF4-FFF2-40B4-BE49-F238E27FC236}">
                  <a16:creationId xmlns:a16="http://schemas.microsoft.com/office/drawing/2014/main" id="{FDBD5F0D-4AD6-49D8-BCE2-BD4968C67C91}"/>
                </a:ext>
              </a:extLst>
            </p:cNvPr>
            <p:cNvSpPr/>
            <p:nvPr/>
          </p:nvSpPr>
          <p:spPr>
            <a:xfrm>
              <a:off x="5496607" y="4880416"/>
              <a:ext cx="109883" cy="63588"/>
            </a:xfrm>
            <a:custGeom>
              <a:avLst/>
              <a:gdLst>
                <a:gd name="connsiteX0" fmla="*/ -336 w 36099"/>
                <a:gd name="connsiteY0" fmla="*/ 10196 h 20890"/>
                <a:gd name="connsiteX1" fmla="*/ 1283 w 36099"/>
                <a:gd name="connsiteY1" fmla="*/ 12482 h 20890"/>
                <a:gd name="connsiteX2" fmla="*/ 3569 w 36099"/>
                <a:gd name="connsiteY2" fmla="*/ 13815 h 20890"/>
                <a:gd name="connsiteX3" fmla="*/ 13856 w 36099"/>
                <a:gd name="connsiteY3" fmla="*/ 19721 h 20890"/>
                <a:gd name="connsiteX4" fmla="*/ 21571 w 36099"/>
                <a:gd name="connsiteY4" fmla="*/ 19721 h 20890"/>
                <a:gd name="connsiteX5" fmla="*/ 31858 w 36099"/>
                <a:gd name="connsiteY5" fmla="*/ 13815 h 20890"/>
                <a:gd name="connsiteX6" fmla="*/ 34144 w 36099"/>
                <a:gd name="connsiteY6" fmla="*/ 12482 h 20890"/>
                <a:gd name="connsiteX7" fmla="*/ 35764 w 36099"/>
                <a:gd name="connsiteY7" fmla="*/ 10196 h 20890"/>
                <a:gd name="connsiteX8" fmla="*/ 34144 w 36099"/>
                <a:gd name="connsiteY8" fmla="*/ 8005 h 20890"/>
                <a:gd name="connsiteX9" fmla="*/ 21571 w 36099"/>
                <a:gd name="connsiteY9" fmla="*/ 766 h 20890"/>
                <a:gd name="connsiteX10" fmla="*/ 13856 w 36099"/>
                <a:gd name="connsiteY10" fmla="*/ 766 h 20890"/>
                <a:gd name="connsiteX11" fmla="*/ 1283 w 36099"/>
                <a:gd name="connsiteY11" fmla="*/ 8005 h 20890"/>
                <a:gd name="connsiteX12" fmla="*/ -336 w 36099"/>
                <a:gd name="connsiteY12" fmla="*/ 10196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99" h="20890">
                  <a:moveTo>
                    <a:pt x="-336" y="10196"/>
                  </a:moveTo>
                  <a:cubicBezTo>
                    <a:pt x="-251" y="11196"/>
                    <a:pt x="369" y="12072"/>
                    <a:pt x="1283" y="12482"/>
                  </a:cubicBezTo>
                  <a:lnTo>
                    <a:pt x="3569" y="13815"/>
                  </a:lnTo>
                  <a:lnTo>
                    <a:pt x="13856" y="19721"/>
                  </a:lnTo>
                  <a:cubicBezTo>
                    <a:pt x="16256" y="21064"/>
                    <a:pt x="19171" y="21064"/>
                    <a:pt x="21571" y="19721"/>
                  </a:cubicBezTo>
                  <a:lnTo>
                    <a:pt x="31858" y="13815"/>
                  </a:lnTo>
                  <a:lnTo>
                    <a:pt x="34144" y="12482"/>
                  </a:lnTo>
                  <a:cubicBezTo>
                    <a:pt x="35059" y="12072"/>
                    <a:pt x="35678" y="11196"/>
                    <a:pt x="35764" y="10196"/>
                  </a:cubicBezTo>
                  <a:cubicBezTo>
                    <a:pt x="35630" y="9243"/>
                    <a:pt x="35021" y="8415"/>
                    <a:pt x="34144" y="8005"/>
                  </a:cubicBezTo>
                  <a:lnTo>
                    <a:pt x="21571" y="766"/>
                  </a:lnTo>
                  <a:cubicBezTo>
                    <a:pt x="19152" y="-472"/>
                    <a:pt x="16275" y="-472"/>
                    <a:pt x="13856" y="766"/>
                  </a:cubicBezTo>
                  <a:lnTo>
                    <a:pt x="1283" y="8005"/>
                  </a:lnTo>
                  <a:cubicBezTo>
                    <a:pt x="407" y="8415"/>
                    <a:pt x="-203" y="924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652" name="iṣḷíḍè">
              <a:extLst>
                <a:ext uri="{FF2B5EF4-FFF2-40B4-BE49-F238E27FC236}">
                  <a16:creationId xmlns:a16="http://schemas.microsoft.com/office/drawing/2014/main" id="{E86FD64F-15B9-435C-91B2-904E53EAA6C4}"/>
                </a:ext>
              </a:extLst>
            </p:cNvPr>
            <p:cNvSpPr/>
            <p:nvPr/>
          </p:nvSpPr>
          <p:spPr>
            <a:xfrm>
              <a:off x="5498710" y="4881575"/>
              <a:ext cx="105679" cy="61101"/>
            </a:xfrm>
            <a:custGeom>
              <a:avLst/>
              <a:gdLst>
                <a:gd name="connsiteX0" fmla="*/ 1164 w 34718"/>
                <a:gd name="connsiteY0" fmla="*/ 12006 h 20073"/>
                <a:gd name="connsiteX1" fmla="*/ 13260 w 34718"/>
                <a:gd name="connsiteY1" fmla="*/ 19054 h 20073"/>
                <a:gd name="connsiteX2" fmla="*/ 20785 w 34718"/>
                <a:gd name="connsiteY2" fmla="*/ 19054 h 20073"/>
                <a:gd name="connsiteX3" fmla="*/ 32882 w 34718"/>
                <a:gd name="connsiteY3" fmla="*/ 12006 h 20073"/>
                <a:gd name="connsiteX4" fmla="*/ 32882 w 34718"/>
                <a:gd name="connsiteY4" fmla="*/ 7719 h 20073"/>
                <a:gd name="connsiteX5" fmla="*/ 20785 w 34718"/>
                <a:gd name="connsiteY5" fmla="*/ 766 h 20073"/>
                <a:gd name="connsiteX6" fmla="*/ 13260 w 34718"/>
                <a:gd name="connsiteY6" fmla="*/ 766 h 20073"/>
                <a:gd name="connsiteX7" fmla="*/ 1164 w 34718"/>
                <a:gd name="connsiteY7" fmla="*/ 7719 h 20073"/>
                <a:gd name="connsiteX8" fmla="*/ 1164 w 34718"/>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18" h="20073">
                  <a:moveTo>
                    <a:pt x="1164" y="12006"/>
                  </a:moveTo>
                  <a:lnTo>
                    <a:pt x="13260" y="19054"/>
                  </a:lnTo>
                  <a:cubicBezTo>
                    <a:pt x="15642" y="20197"/>
                    <a:pt x="18404" y="20197"/>
                    <a:pt x="20785" y="19054"/>
                  </a:cubicBezTo>
                  <a:lnTo>
                    <a:pt x="32882" y="12006"/>
                  </a:lnTo>
                  <a:cubicBezTo>
                    <a:pt x="34882" y="10863"/>
                    <a:pt x="34882" y="8957"/>
                    <a:pt x="32882" y="7719"/>
                  </a:cubicBezTo>
                  <a:lnTo>
                    <a:pt x="20785" y="766"/>
                  </a:lnTo>
                  <a:cubicBezTo>
                    <a:pt x="18433" y="-472"/>
                    <a:pt x="15613" y="-472"/>
                    <a:pt x="13260" y="766"/>
                  </a:cubicBezTo>
                  <a:lnTo>
                    <a:pt x="1164" y="7719"/>
                  </a:lnTo>
                  <a:cubicBezTo>
                    <a:pt x="-836" y="8957"/>
                    <a:pt x="-836" y="10481"/>
                    <a:pt x="1164" y="12006"/>
                  </a:cubicBezTo>
                  <a:close/>
                </a:path>
              </a:pathLst>
            </a:custGeom>
            <a:solidFill>
              <a:srgbClr val="D1D9E8"/>
            </a:solidFill>
            <a:ln w="9525" cap="flat">
              <a:noFill/>
              <a:prstDash val="solid"/>
              <a:miter/>
            </a:ln>
          </p:spPr>
          <p:txBody>
            <a:bodyPr rtlCol="0" anchor="ctr"/>
            <a:lstStyle/>
            <a:p>
              <a:endParaRPr lang="zh-CN" altLang="en-US"/>
            </a:p>
          </p:txBody>
        </p:sp>
        <p:sp>
          <p:nvSpPr>
            <p:cNvPr id="653" name="ïṡļiḍè">
              <a:extLst>
                <a:ext uri="{FF2B5EF4-FFF2-40B4-BE49-F238E27FC236}">
                  <a16:creationId xmlns:a16="http://schemas.microsoft.com/office/drawing/2014/main" id="{1A8CD1FC-72C2-4F65-825F-4CCF48E49DDA}"/>
                </a:ext>
              </a:extLst>
            </p:cNvPr>
            <p:cNvSpPr/>
            <p:nvPr/>
          </p:nvSpPr>
          <p:spPr>
            <a:xfrm>
              <a:off x="5496607" y="4911945"/>
              <a:ext cx="109883" cy="53804"/>
            </a:xfrm>
            <a:custGeom>
              <a:avLst/>
              <a:gdLst>
                <a:gd name="connsiteX0" fmla="*/ -336 w 36099"/>
                <a:gd name="connsiteY0" fmla="*/ -163 h 17676"/>
                <a:gd name="connsiteX1" fmla="*/ -336 w 36099"/>
                <a:gd name="connsiteY1" fmla="*/ 7076 h 17676"/>
                <a:gd name="connsiteX2" fmla="*/ 1283 w 36099"/>
                <a:gd name="connsiteY2" fmla="*/ 9362 h 17676"/>
                <a:gd name="connsiteX3" fmla="*/ 13856 w 36099"/>
                <a:gd name="connsiteY3" fmla="*/ 16506 h 17676"/>
                <a:gd name="connsiteX4" fmla="*/ 21571 w 36099"/>
                <a:gd name="connsiteY4" fmla="*/ 16506 h 17676"/>
                <a:gd name="connsiteX5" fmla="*/ 34144 w 36099"/>
                <a:gd name="connsiteY5" fmla="*/ 9362 h 17676"/>
                <a:gd name="connsiteX6" fmla="*/ 35764 w 36099"/>
                <a:gd name="connsiteY6" fmla="*/ 7076 h 17676"/>
                <a:gd name="connsiteX7" fmla="*/ 35764 w 36099"/>
                <a:gd name="connsiteY7" fmla="*/ -163 h 17676"/>
                <a:gd name="connsiteX8" fmla="*/ 34144 w 36099"/>
                <a:gd name="connsiteY8" fmla="*/ 2124 h 17676"/>
                <a:gd name="connsiteX9" fmla="*/ 31858 w 36099"/>
                <a:gd name="connsiteY9" fmla="*/ 3457 h 17676"/>
                <a:gd name="connsiteX10" fmla="*/ 21571 w 36099"/>
                <a:gd name="connsiteY10" fmla="*/ 9362 h 17676"/>
                <a:gd name="connsiteX11" fmla="*/ 13856 w 36099"/>
                <a:gd name="connsiteY11" fmla="*/ 9362 h 17676"/>
                <a:gd name="connsiteX12" fmla="*/ 3569 w 36099"/>
                <a:gd name="connsiteY12" fmla="*/ 3457 h 17676"/>
                <a:gd name="connsiteX13" fmla="*/ 1283 w 36099"/>
                <a:gd name="connsiteY13" fmla="*/ 2124 h 17676"/>
                <a:gd name="connsiteX14" fmla="*/ -336 w 36099"/>
                <a:gd name="connsiteY14" fmla="*/ -163 h 17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676">
                  <a:moveTo>
                    <a:pt x="-336" y="-163"/>
                  </a:moveTo>
                  <a:lnTo>
                    <a:pt x="-336" y="7076"/>
                  </a:lnTo>
                  <a:cubicBezTo>
                    <a:pt x="-231" y="8067"/>
                    <a:pt x="378" y="8934"/>
                    <a:pt x="1283" y="9362"/>
                  </a:cubicBezTo>
                  <a:lnTo>
                    <a:pt x="13856" y="16506"/>
                  </a:lnTo>
                  <a:cubicBezTo>
                    <a:pt x="16256" y="17849"/>
                    <a:pt x="19171" y="17849"/>
                    <a:pt x="21571" y="16506"/>
                  </a:cubicBezTo>
                  <a:lnTo>
                    <a:pt x="34144" y="9362"/>
                  </a:lnTo>
                  <a:cubicBezTo>
                    <a:pt x="35030" y="8924"/>
                    <a:pt x="35640" y="8058"/>
                    <a:pt x="35764" y="7076"/>
                  </a:cubicBezTo>
                  <a:lnTo>
                    <a:pt x="35764" y="-163"/>
                  </a:lnTo>
                  <a:cubicBezTo>
                    <a:pt x="35678" y="838"/>
                    <a:pt x="35059" y="1714"/>
                    <a:pt x="34144" y="2124"/>
                  </a:cubicBezTo>
                  <a:lnTo>
                    <a:pt x="31858" y="3457"/>
                  </a:lnTo>
                  <a:lnTo>
                    <a:pt x="21571" y="9362"/>
                  </a:lnTo>
                  <a:cubicBezTo>
                    <a:pt x="19171" y="10706"/>
                    <a:pt x="16256" y="10706"/>
                    <a:pt x="13856" y="9362"/>
                  </a:cubicBezTo>
                  <a:lnTo>
                    <a:pt x="3569" y="3457"/>
                  </a:lnTo>
                  <a:lnTo>
                    <a:pt x="1283" y="2124"/>
                  </a:lnTo>
                  <a:cubicBezTo>
                    <a:pt x="369" y="1714"/>
                    <a:pt x="-251" y="83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54" name="ïşľiḋe">
              <a:extLst>
                <a:ext uri="{FF2B5EF4-FFF2-40B4-BE49-F238E27FC236}">
                  <a16:creationId xmlns:a16="http://schemas.microsoft.com/office/drawing/2014/main" id="{9DFCAFCB-A2AB-477E-A052-326F741B0EB4}"/>
                </a:ext>
              </a:extLst>
            </p:cNvPr>
            <p:cNvSpPr/>
            <p:nvPr/>
          </p:nvSpPr>
          <p:spPr>
            <a:xfrm>
              <a:off x="5574020" y="4925064"/>
              <a:ext cx="109594" cy="63588"/>
            </a:xfrm>
            <a:custGeom>
              <a:avLst/>
              <a:gdLst>
                <a:gd name="connsiteX0" fmla="*/ -336 w 36004"/>
                <a:gd name="connsiteY0" fmla="*/ 10196 h 20890"/>
                <a:gd name="connsiteX1" fmla="*/ 1188 w 36004"/>
                <a:gd name="connsiteY1" fmla="*/ 12482 h 20890"/>
                <a:gd name="connsiteX2" fmla="*/ 3569 w 36004"/>
                <a:gd name="connsiteY2" fmla="*/ 13815 h 20890"/>
                <a:gd name="connsiteX3" fmla="*/ 13856 w 36004"/>
                <a:gd name="connsiteY3" fmla="*/ 19721 h 20890"/>
                <a:gd name="connsiteX4" fmla="*/ 21476 w 36004"/>
                <a:gd name="connsiteY4" fmla="*/ 19721 h 20890"/>
                <a:gd name="connsiteX5" fmla="*/ 31763 w 36004"/>
                <a:gd name="connsiteY5" fmla="*/ 13815 h 20890"/>
                <a:gd name="connsiteX6" fmla="*/ 34144 w 36004"/>
                <a:gd name="connsiteY6" fmla="*/ 12482 h 20890"/>
                <a:gd name="connsiteX7" fmla="*/ 35668 w 36004"/>
                <a:gd name="connsiteY7" fmla="*/ 10196 h 20890"/>
                <a:gd name="connsiteX8" fmla="*/ 34144 w 36004"/>
                <a:gd name="connsiteY8" fmla="*/ 8005 h 20890"/>
                <a:gd name="connsiteX9" fmla="*/ 21476 w 36004"/>
                <a:gd name="connsiteY9" fmla="*/ 766 h 20890"/>
                <a:gd name="connsiteX10" fmla="*/ 13856 w 36004"/>
                <a:gd name="connsiteY10" fmla="*/ 766 h 20890"/>
                <a:gd name="connsiteX11" fmla="*/ 1188 w 36004"/>
                <a:gd name="connsiteY11" fmla="*/ 8005 h 20890"/>
                <a:gd name="connsiteX12" fmla="*/ -336 w 36004"/>
                <a:gd name="connsiteY12" fmla="*/ 10196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196"/>
                  </a:moveTo>
                  <a:cubicBezTo>
                    <a:pt x="-308" y="11186"/>
                    <a:pt x="283" y="12082"/>
                    <a:pt x="1188" y="12482"/>
                  </a:cubicBezTo>
                  <a:lnTo>
                    <a:pt x="3569" y="13815"/>
                  </a:lnTo>
                  <a:lnTo>
                    <a:pt x="13856" y="19721"/>
                  </a:lnTo>
                  <a:cubicBezTo>
                    <a:pt x="16218" y="21064"/>
                    <a:pt x="19114" y="21064"/>
                    <a:pt x="21476" y="19721"/>
                  </a:cubicBezTo>
                  <a:lnTo>
                    <a:pt x="31763" y="13815"/>
                  </a:lnTo>
                  <a:lnTo>
                    <a:pt x="34144" y="12482"/>
                  </a:lnTo>
                  <a:cubicBezTo>
                    <a:pt x="35049" y="12082"/>
                    <a:pt x="35640" y="11186"/>
                    <a:pt x="35668" y="10196"/>
                  </a:cubicBezTo>
                  <a:cubicBezTo>
                    <a:pt x="35573" y="9253"/>
                    <a:pt x="34992" y="8424"/>
                    <a:pt x="34144" y="8005"/>
                  </a:cubicBezTo>
                  <a:lnTo>
                    <a:pt x="21476" y="766"/>
                  </a:lnTo>
                  <a:cubicBezTo>
                    <a:pt x="19085" y="-472"/>
                    <a:pt x="16247" y="-472"/>
                    <a:pt x="13856" y="766"/>
                  </a:cubicBezTo>
                  <a:lnTo>
                    <a:pt x="1188" y="8005"/>
                  </a:lnTo>
                  <a:cubicBezTo>
                    <a:pt x="340" y="8424"/>
                    <a:pt x="-241" y="925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655" name="iṧļïḍe">
              <a:extLst>
                <a:ext uri="{FF2B5EF4-FFF2-40B4-BE49-F238E27FC236}">
                  <a16:creationId xmlns:a16="http://schemas.microsoft.com/office/drawing/2014/main" id="{4A3228A8-801D-42EA-8183-C649E0274FF3}"/>
                </a:ext>
              </a:extLst>
            </p:cNvPr>
            <p:cNvSpPr/>
            <p:nvPr/>
          </p:nvSpPr>
          <p:spPr>
            <a:xfrm>
              <a:off x="5576154" y="4926151"/>
              <a:ext cx="105329" cy="61174"/>
            </a:xfrm>
            <a:custGeom>
              <a:avLst/>
              <a:gdLst>
                <a:gd name="connsiteX0" fmla="*/ 1154 w 34603"/>
                <a:gd name="connsiteY0" fmla="*/ 12029 h 20097"/>
                <a:gd name="connsiteX1" fmla="*/ 13251 w 34603"/>
                <a:gd name="connsiteY1" fmla="*/ 19078 h 20097"/>
                <a:gd name="connsiteX2" fmla="*/ 20680 w 34603"/>
                <a:gd name="connsiteY2" fmla="*/ 19078 h 20097"/>
                <a:gd name="connsiteX3" fmla="*/ 32777 w 34603"/>
                <a:gd name="connsiteY3" fmla="*/ 12029 h 20097"/>
                <a:gd name="connsiteX4" fmla="*/ 34120 w 34603"/>
                <a:gd name="connsiteY4" fmla="*/ 9096 h 20097"/>
                <a:gd name="connsiteX5" fmla="*/ 32777 w 34603"/>
                <a:gd name="connsiteY5" fmla="*/ 7743 h 20097"/>
                <a:gd name="connsiteX6" fmla="*/ 20680 w 34603"/>
                <a:gd name="connsiteY6" fmla="*/ 695 h 20097"/>
                <a:gd name="connsiteX7" fmla="*/ 13251 w 34603"/>
                <a:gd name="connsiteY7" fmla="*/ 695 h 20097"/>
                <a:gd name="connsiteX8" fmla="*/ 1154 w 34603"/>
                <a:gd name="connsiteY8" fmla="*/ 7743 h 20097"/>
                <a:gd name="connsiteX9" fmla="*/ -189 w 34603"/>
                <a:gd name="connsiteY9" fmla="*/ 10686 h 20097"/>
                <a:gd name="connsiteX10" fmla="*/ 1154 w 34603"/>
                <a:gd name="connsiteY10" fmla="*/ 12029 h 20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603" h="20097">
                  <a:moveTo>
                    <a:pt x="1154" y="12029"/>
                  </a:moveTo>
                  <a:lnTo>
                    <a:pt x="13251" y="19078"/>
                  </a:lnTo>
                  <a:cubicBezTo>
                    <a:pt x="15594" y="20221"/>
                    <a:pt x="18337" y="20221"/>
                    <a:pt x="20680" y="19078"/>
                  </a:cubicBezTo>
                  <a:lnTo>
                    <a:pt x="32777" y="12029"/>
                  </a:lnTo>
                  <a:cubicBezTo>
                    <a:pt x="33958" y="11591"/>
                    <a:pt x="34568" y="10277"/>
                    <a:pt x="34120" y="9096"/>
                  </a:cubicBezTo>
                  <a:cubicBezTo>
                    <a:pt x="33891" y="8467"/>
                    <a:pt x="33396" y="7971"/>
                    <a:pt x="32777" y="7743"/>
                  </a:cubicBezTo>
                  <a:lnTo>
                    <a:pt x="20680" y="695"/>
                  </a:lnTo>
                  <a:cubicBezTo>
                    <a:pt x="18337" y="-448"/>
                    <a:pt x="15594" y="-448"/>
                    <a:pt x="13251" y="695"/>
                  </a:cubicBezTo>
                  <a:lnTo>
                    <a:pt x="1154" y="7743"/>
                  </a:lnTo>
                  <a:cubicBezTo>
                    <a:pt x="-27" y="8181"/>
                    <a:pt x="-637" y="9496"/>
                    <a:pt x="-189" y="10686"/>
                  </a:cubicBezTo>
                  <a:cubicBezTo>
                    <a:pt x="40" y="11305"/>
                    <a:pt x="535" y="11801"/>
                    <a:pt x="1154" y="12029"/>
                  </a:cubicBezTo>
                  <a:close/>
                </a:path>
              </a:pathLst>
            </a:custGeom>
            <a:solidFill>
              <a:srgbClr val="D1D9E8"/>
            </a:solidFill>
            <a:ln w="9525" cap="flat">
              <a:noFill/>
              <a:prstDash val="solid"/>
              <a:miter/>
            </a:ln>
          </p:spPr>
          <p:txBody>
            <a:bodyPr rtlCol="0" anchor="ctr"/>
            <a:lstStyle/>
            <a:p>
              <a:endParaRPr lang="zh-CN" altLang="en-US"/>
            </a:p>
          </p:txBody>
        </p:sp>
        <p:sp>
          <p:nvSpPr>
            <p:cNvPr id="656" name="ïṣḷîḓê">
              <a:extLst>
                <a:ext uri="{FF2B5EF4-FFF2-40B4-BE49-F238E27FC236}">
                  <a16:creationId xmlns:a16="http://schemas.microsoft.com/office/drawing/2014/main" id="{BA439B61-7F3F-4D9A-908C-F9CA5E484FE0}"/>
                </a:ext>
              </a:extLst>
            </p:cNvPr>
            <p:cNvSpPr/>
            <p:nvPr/>
          </p:nvSpPr>
          <p:spPr>
            <a:xfrm>
              <a:off x="5574020" y="4956596"/>
              <a:ext cx="109594" cy="53801"/>
            </a:xfrm>
            <a:custGeom>
              <a:avLst/>
              <a:gdLst>
                <a:gd name="connsiteX0" fmla="*/ -336 w 36004"/>
                <a:gd name="connsiteY0" fmla="*/ -163 h 17675"/>
                <a:gd name="connsiteX1" fmla="*/ -336 w 36004"/>
                <a:gd name="connsiteY1" fmla="*/ 7076 h 17675"/>
                <a:gd name="connsiteX2" fmla="*/ 1188 w 36004"/>
                <a:gd name="connsiteY2" fmla="*/ 9267 h 17675"/>
                <a:gd name="connsiteX3" fmla="*/ 13856 w 36004"/>
                <a:gd name="connsiteY3" fmla="*/ 16506 h 17675"/>
                <a:gd name="connsiteX4" fmla="*/ 21476 w 36004"/>
                <a:gd name="connsiteY4" fmla="*/ 16506 h 17675"/>
                <a:gd name="connsiteX5" fmla="*/ 34144 w 36004"/>
                <a:gd name="connsiteY5" fmla="*/ 9267 h 17675"/>
                <a:gd name="connsiteX6" fmla="*/ 35668 w 36004"/>
                <a:gd name="connsiteY6" fmla="*/ 7076 h 17675"/>
                <a:gd name="connsiteX7" fmla="*/ 35668 w 36004"/>
                <a:gd name="connsiteY7" fmla="*/ -163 h 17675"/>
                <a:gd name="connsiteX8" fmla="*/ 34144 w 36004"/>
                <a:gd name="connsiteY8" fmla="*/ 2123 h 17675"/>
                <a:gd name="connsiteX9" fmla="*/ 31763 w 36004"/>
                <a:gd name="connsiteY9" fmla="*/ 3457 h 17675"/>
                <a:gd name="connsiteX10" fmla="*/ 21476 w 36004"/>
                <a:gd name="connsiteY10" fmla="*/ 9362 h 17675"/>
                <a:gd name="connsiteX11" fmla="*/ 13856 w 36004"/>
                <a:gd name="connsiteY11" fmla="*/ 9362 h 17675"/>
                <a:gd name="connsiteX12" fmla="*/ 3569 w 36004"/>
                <a:gd name="connsiteY12" fmla="*/ 3457 h 17675"/>
                <a:gd name="connsiteX13" fmla="*/ 1188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98" y="8038"/>
                    <a:pt x="292" y="8896"/>
                    <a:pt x="1188" y="9267"/>
                  </a:cubicBezTo>
                  <a:lnTo>
                    <a:pt x="13856" y="16506"/>
                  </a:lnTo>
                  <a:cubicBezTo>
                    <a:pt x="16218" y="17849"/>
                    <a:pt x="19114" y="17849"/>
                    <a:pt x="21476" y="16506"/>
                  </a:cubicBezTo>
                  <a:lnTo>
                    <a:pt x="34144" y="9267"/>
                  </a:lnTo>
                  <a:cubicBezTo>
                    <a:pt x="35021" y="8877"/>
                    <a:pt x="35611" y="8038"/>
                    <a:pt x="35668" y="7076"/>
                  </a:cubicBezTo>
                  <a:lnTo>
                    <a:pt x="35668" y="-163"/>
                  </a:lnTo>
                  <a:cubicBezTo>
                    <a:pt x="35640" y="828"/>
                    <a:pt x="35049" y="1723"/>
                    <a:pt x="34144" y="2123"/>
                  </a:cubicBezTo>
                  <a:lnTo>
                    <a:pt x="31763" y="3457"/>
                  </a:lnTo>
                  <a:lnTo>
                    <a:pt x="21476" y="9362"/>
                  </a:lnTo>
                  <a:cubicBezTo>
                    <a:pt x="19114" y="10705"/>
                    <a:pt x="16218" y="10705"/>
                    <a:pt x="13856" y="9362"/>
                  </a:cubicBezTo>
                  <a:lnTo>
                    <a:pt x="3569" y="3457"/>
                  </a:lnTo>
                  <a:lnTo>
                    <a:pt x="1188" y="2123"/>
                  </a:lnTo>
                  <a:cubicBezTo>
                    <a:pt x="283" y="1723"/>
                    <a:pt x="-308"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57" name="í$1îḍê">
              <a:extLst>
                <a:ext uri="{FF2B5EF4-FFF2-40B4-BE49-F238E27FC236}">
                  <a16:creationId xmlns:a16="http://schemas.microsoft.com/office/drawing/2014/main" id="{44A90F4F-D014-4067-9638-028F0A54C08F}"/>
                </a:ext>
              </a:extLst>
            </p:cNvPr>
            <p:cNvSpPr/>
            <p:nvPr/>
          </p:nvSpPr>
          <p:spPr>
            <a:xfrm>
              <a:off x="5651433" y="4969481"/>
              <a:ext cx="109450" cy="63292"/>
            </a:xfrm>
            <a:custGeom>
              <a:avLst/>
              <a:gdLst>
                <a:gd name="connsiteX0" fmla="*/ -336 w 35957"/>
                <a:gd name="connsiteY0" fmla="*/ 10177 h 20793"/>
                <a:gd name="connsiteX1" fmla="*/ 1188 w 35957"/>
                <a:gd name="connsiteY1" fmla="*/ 12463 h 20793"/>
                <a:gd name="connsiteX2" fmla="*/ 3474 w 35957"/>
                <a:gd name="connsiteY2" fmla="*/ 13796 h 20793"/>
                <a:gd name="connsiteX3" fmla="*/ 13761 w 35957"/>
                <a:gd name="connsiteY3" fmla="*/ 19702 h 20793"/>
                <a:gd name="connsiteX4" fmla="*/ 21476 w 35957"/>
                <a:gd name="connsiteY4" fmla="*/ 19702 h 20793"/>
                <a:gd name="connsiteX5" fmla="*/ 31763 w 35957"/>
                <a:gd name="connsiteY5" fmla="*/ 13796 h 20793"/>
                <a:gd name="connsiteX6" fmla="*/ 34049 w 35957"/>
                <a:gd name="connsiteY6" fmla="*/ 12463 h 20793"/>
                <a:gd name="connsiteX7" fmla="*/ 35478 w 35957"/>
                <a:gd name="connsiteY7" fmla="*/ 9415 h 20793"/>
                <a:gd name="connsiteX8" fmla="*/ 34049 w 35957"/>
                <a:gd name="connsiteY8" fmla="*/ 7986 h 20793"/>
                <a:gd name="connsiteX9" fmla="*/ 21476 w 35957"/>
                <a:gd name="connsiteY9" fmla="*/ 652 h 20793"/>
                <a:gd name="connsiteX10" fmla="*/ 13761 w 35957"/>
                <a:gd name="connsiteY10" fmla="*/ 652 h 20793"/>
                <a:gd name="connsiteX11" fmla="*/ 1188 w 35957"/>
                <a:gd name="connsiteY11" fmla="*/ 7986 h 20793"/>
                <a:gd name="connsiteX12" fmla="*/ -336 w 35957"/>
                <a:gd name="connsiteY12" fmla="*/ 10177 h 20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957" h="20793">
                  <a:moveTo>
                    <a:pt x="-336" y="10177"/>
                  </a:moveTo>
                  <a:cubicBezTo>
                    <a:pt x="-269" y="11158"/>
                    <a:pt x="312" y="12025"/>
                    <a:pt x="1188" y="12463"/>
                  </a:cubicBezTo>
                  <a:lnTo>
                    <a:pt x="3474" y="13796"/>
                  </a:lnTo>
                  <a:lnTo>
                    <a:pt x="13761" y="19702"/>
                  </a:lnTo>
                  <a:cubicBezTo>
                    <a:pt x="16180" y="20940"/>
                    <a:pt x="19057" y="20940"/>
                    <a:pt x="21476" y="19702"/>
                  </a:cubicBezTo>
                  <a:lnTo>
                    <a:pt x="31763" y="13796"/>
                  </a:lnTo>
                  <a:lnTo>
                    <a:pt x="34049" y="12463"/>
                  </a:lnTo>
                  <a:cubicBezTo>
                    <a:pt x="35287" y="12015"/>
                    <a:pt x="35925" y="10644"/>
                    <a:pt x="35478" y="9415"/>
                  </a:cubicBezTo>
                  <a:cubicBezTo>
                    <a:pt x="35230" y="8748"/>
                    <a:pt x="34716" y="8224"/>
                    <a:pt x="34049" y="7986"/>
                  </a:cubicBezTo>
                  <a:lnTo>
                    <a:pt x="21476" y="652"/>
                  </a:lnTo>
                  <a:cubicBezTo>
                    <a:pt x="19019" y="-434"/>
                    <a:pt x="16218" y="-434"/>
                    <a:pt x="13761" y="652"/>
                  </a:cubicBezTo>
                  <a:lnTo>
                    <a:pt x="1188" y="7986"/>
                  </a:lnTo>
                  <a:cubicBezTo>
                    <a:pt x="340" y="8405"/>
                    <a:pt x="-241" y="9234"/>
                    <a:pt x="-336" y="10177"/>
                  </a:cubicBezTo>
                  <a:close/>
                </a:path>
              </a:pathLst>
            </a:custGeom>
            <a:solidFill>
              <a:srgbClr val="FFFFFF"/>
            </a:solidFill>
            <a:ln w="9525" cap="flat">
              <a:noFill/>
              <a:prstDash val="solid"/>
              <a:miter/>
            </a:ln>
          </p:spPr>
          <p:txBody>
            <a:bodyPr rtlCol="0" anchor="ctr"/>
            <a:lstStyle/>
            <a:p>
              <a:endParaRPr lang="zh-CN" altLang="en-US"/>
            </a:p>
          </p:txBody>
        </p:sp>
        <p:sp>
          <p:nvSpPr>
            <p:cNvPr id="658" name="ïsļîḑè">
              <a:extLst>
                <a:ext uri="{FF2B5EF4-FFF2-40B4-BE49-F238E27FC236}">
                  <a16:creationId xmlns:a16="http://schemas.microsoft.com/office/drawing/2014/main" id="{626CCB04-3878-4271-8E53-E03773F2F1F5}"/>
                </a:ext>
              </a:extLst>
            </p:cNvPr>
            <p:cNvSpPr/>
            <p:nvPr/>
          </p:nvSpPr>
          <p:spPr>
            <a:xfrm>
              <a:off x="5653275" y="4970802"/>
              <a:ext cx="105618" cy="61104"/>
            </a:xfrm>
            <a:custGeom>
              <a:avLst/>
              <a:gdLst>
                <a:gd name="connsiteX0" fmla="*/ 1154 w 34698"/>
                <a:gd name="connsiteY0" fmla="*/ 12029 h 20074"/>
                <a:gd name="connsiteX1" fmla="*/ 13346 w 34698"/>
                <a:gd name="connsiteY1" fmla="*/ 18983 h 20074"/>
                <a:gd name="connsiteX2" fmla="*/ 20776 w 34698"/>
                <a:gd name="connsiteY2" fmla="*/ 18983 h 20074"/>
                <a:gd name="connsiteX3" fmla="*/ 32872 w 34698"/>
                <a:gd name="connsiteY3" fmla="*/ 12029 h 20074"/>
                <a:gd name="connsiteX4" fmla="*/ 34215 w 34698"/>
                <a:gd name="connsiteY4" fmla="*/ 9086 h 20074"/>
                <a:gd name="connsiteX5" fmla="*/ 32872 w 34698"/>
                <a:gd name="connsiteY5" fmla="*/ 7743 h 20074"/>
                <a:gd name="connsiteX6" fmla="*/ 20776 w 34698"/>
                <a:gd name="connsiteY6" fmla="*/ 695 h 20074"/>
                <a:gd name="connsiteX7" fmla="*/ 13346 w 34698"/>
                <a:gd name="connsiteY7" fmla="*/ 695 h 20074"/>
                <a:gd name="connsiteX8" fmla="*/ 1154 w 34698"/>
                <a:gd name="connsiteY8" fmla="*/ 7743 h 20074"/>
                <a:gd name="connsiteX9" fmla="*/ -189 w 34698"/>
                <a:gd name="connsiteY9" fmla="*/ 10686 h 20074"/>
                <a:gd name="connsiteX10" fmla="*/ 1154 w 34698"/>
                <a:gd name="connsiteY10"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698" h="20074">
                  <a:moveTo>
                    <a:pt x="1154" y="12029"/>
                  </a:moveTo>
                  <a:lnTo>
                    <a:pt x="13346" y="18983"/>
                  </a:lnTo>
                  <a:cubicBezTo>
                    <a:pt x="15670" y="20221"/>
                    <a:pt x="18451" y="20221"/>
                    <a:pt x="20776" y="18983"/>
                  </a:cubicBezTo>
                  <a:lnTo>
                    <a:pt x="32872" y="12029"/>
                  </a:lnTo>
                  <a:cubicBezTo>
                    <a:pt x="34053" y="11591"/>
                    <a:pt x="34663" y="10277"/>
                    <a:pt x="34215" y="9086"/>
                  </a:cubicBezTo>
                  <a:cubicBezTo>
                    <a:pt x="33987" y="8467"/>
                    <a:pt x="33491" y="7972"/>
                    <a:pt x="32872" y="7743"/>
                  </a:cubicBezTo>
                  <a:lnTo>
                    <a:pt x="20776" y="695"/>
                  </a:lnTo>
                  <a:cubicBezTo>
                    <a:pt x="18432" y="-448"/>
                    <a:pt x="15689" y="-448"/>
                    <a:pt x="13346" y="695"/>
                  </a:cubicBezTo>
                  <a:lnTo>
                    <a:pt x="1154" y="7743"/>
                  </a:lnTo>
                  <a:cubicBezTo>
                    <a:pt x="-27" y="8181"/>
                    <a:pt x="-637" y="9496"/>
                    <a:pt x="-189" y="10686"/>
                  </a:cubicBezTo>
                  <a:cubicBezTo>
                    <a:pt x="40" y="11306"/>
                    <a:pt x="525" y="11801"/>
                    <a:pt x="1154" y="12029"/>
                  </a:cubicBezTo>
                  <a:close/>
                </a:path>
              </a:pathLst>
            </a:custGeom>
            <a:solidFill>
              <a:srgbClr val="D1D9E8"/>
            </a:solidFill>
            <a:ln w="9525" cap="flat">
              <a:noFill/>
              <a:prstDash val="solid"/>
              <a:miter/>
            </a:ln>
          </p:spPr>
          <p:txBody>
            <a:bodyPr rtlCol="0" anchor="ctr"/>
            <a:lstStyle/>
            <a:p>
              <a:endParaRPr lang="zh-CN" altLang="en-US"/>
            </a:p>
          </p:txBody>
        </p:sp>
        <p:sp>
          <p:nvSpPr>
            <p:cNvPr id="659" name="îşḷíďê">
              <a:extLst>
                <a:ext uri="{FF2B5EF4-FFF2-40B4-BE49-F238E27FC236}">
                  <a16:creationId xmlns:a16="http://schemas.microsoft.com/office/drawing/2014/main" id="{1FDECEB1-D88C-4EFA-B7B2-90984D19E57C}"/>
                </a:ext>
              </a:extLst>
            </p:cNvPr>
            <p:cNvSpPr/>
            <p:nvPr/>
          </p:nvSpPr>
          <p:spPr>
            <a:xfrm>
              <a:off x="5651433" y="5000955"/>
              <a:ext cx="109594" cy="53801"/>
            </a:xfrm>
            <a:custGeom>
              <a:avLst/>
              <a:gdLst>
                <a:gd name="connsiteX0" fmla="*/ -336 w 36004"/>
                <a:gd name="connsiteY0" fmla="*/ -163 h 17675"/>
                <a:gd name="connsiteX1" fmla="*/ -336 w 36004"/>
                <a:gd name="connsiteY1" fmla="*/ 7076 h 17675"/>
                <a:gd name="connsiteX2" fmla="*/ 1188 w 36004"/>
                <a:gd name="connsiteY2" fmla="*/ 9267 h 17675"/>
                <a:gd name="connsiteX3" fmla="*/ 13761 w 36004"/>
                <a:gd name="connsiteY3" fmla="*/ 16506 h 17675"/>
                <a:gd name="connsiteX4" fmla="*/ 21476 w 36004"/>
                <a:gd name="connsiteY4" fmla="*/ 16506 h 17675"/>
                <a:gd name="connsiteX5" fmla="*/ 34049 w 36004"/>
                <a:gd name="connsiteY5" fmla="*/ 9267 h 17675"/>
                <a:gd name="connsiteX6" fmla="*/ 35668 w 36004"/>
                <a:gd name="connsiteY6" fmla="*/ 6981 h 17675"/>
                <a:gd name="connsiteX7" fmla="*/ 35668 w 36004"/>
                <a:gd name="connsiteY7" fmla="*/ -163 h 17675"/>
                <a:gd name="connsiteX8" fmla="*/ 34049 w 36004"/>
                <a:gd name="connsiteY8" fmla="*/ 2123 h 17675"/>
                <a:gd name="connsiteX9" fmla="*/ 31763 w 36004"/>
                <a:gd name="connsiteY9" fmla="*/ 3457 h 17675"/>
                <a:gd name="connsiteX10" fmla="*/ 21476 w 36004"/>
                <a:gd name="connsiteY10" fmla="*/ 9362 h 17675"/>
                <a:gd name="connsiteX11" fmla="*/ 13761 w 36004"/>
                <a:gd name="connsiteY11" fmla="*/ 9362 h 17675"/>
                <a:gd name="connsiteX12" fmla="*/ 3474 w 36004"/>
                <a:gd name="connsiteY12" fmla="*/ 3457 h 17675"/>
                <a:gd name="connsiteX13" fmla="*/ 1188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79" y="8038"/>
                    <a:pt x="312" y="8877"/>
                    <a:pt x="1188" y="9267"/>
                  </a:cubicBezTo>
                  <a:lnTo>
                    <a:pt x="13761" y="16506"/>
                  </a:lnTo>
                  <a:cubicBezTo>
                    <a:pt x="16161" y="17849"/>
                    <a:pt x="19076" y="17849"/>
                    <a:pt x="21476" y="16506"/>
                  </a:cubicBezTo>
                  <a:lnTo>
                    <a:pt x="34049" y="9267"/>
                  </a:lnTo>
                  <a:cubicBezTo>
                    <a:pt x="34992" y="8896"/>
                    <a:pt x="35630" y="8000"/>
                    <a:pt x="35668" y="6981"/>
                  </a:cubicBezTo>
                  <a:lnTo>
                    <a:pt x="35668" y="-163"/>
                  </a:lnTo>
                  <a:cubicBezTo>
                    <a:pt x="35602" y="847"/>
                    <a:pt x="34982" y="1733"/>
                    <a:pt x="34049" y="2123"/>
                  </a:cubicBezTo>
                  <a:lnTo>
                    <a:pt x="31763" y="3457"/>
                  </a:lnTo>
                  <a:lnTo>
                    <a:pt x="21476" y="9362"/>
                  </a:lnTo>
                  <a:cubicBezTo>
                    <a:pt x="19057" y="10601"/>
                    <a:pt x="16180" y="10601"/>
                    <a:pt x="13761" y="9362"/>
                  </a:cubicBezTo>
                  <a:lnTo>
                    <a:pt x="3474" y="3457"/>
                  </a:lnTo>
                  <a:lnTo>
                    <a:pt x="1188" y="2123"/>
                  </a:lnTo>
                  <a:cubicBezTo>
                    <a:pt x="312"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60" name="íṣlíďê">
              <a:extLst>
                <a:ext uri="{FF2B5EF4-FFF2-40B4-BE49-F238E27FC236}">
                  <a16:creationId xmlns:a16="http://schemas.microsoft.com/office/drawing/2014/main" id="{E5329D14-67AB-4AED-84AB-82C45109985E}"/>
                </a:ext>
              </a:extLst>
            </p:cNvPr>
            <p:cNvSpPr/>
            <p:nvPr/>
          </p:nvSpPr>
          <p:spPr>
            <a:xfrm>
              <a:off x="5728554" y="5014269"/>
              <a:ext cx="109740" cy="63445"/>
            </a:xfrm>
            <a:custGeom>
              <a:avLst/>
              <a:gdLst>
                <a:gd name="connsiteX0" fmla="*/ -336 w 36052"/>
                <a:gd name="connsiteY0" fmla="*/ 10227 h 20843"/>
                <a:gd name="connsiteX1" fmla="*/ 1188 w 36052"/>
                <a:gd name="connsiteY1" fmla="*/ 12513 h 20843"/>
                <a:gd name="connsiteX2" fmla="*/ 3569 w 36052"/>
                <a:gd name="connsiteY2" fmla="*/ 13846 h 20843"/>
                <a:gd name="connsiteX3" fmla="*/ 13856 w 36052"/>
                <a:gd name="connsiteY3" fmla="*/ 19752 h 20843"/>
                <a:gd name="connsiteX4" fmla="*/ 21476 w 36052"/>
                <a:gd name="connsiteY4" fmla="*/ 19752 h 20843"/>
                <a:gd name="connsiteX5" fmla="*/ 31763 w 36052"/>
                <a:gd name="connsiteY5" fmla="*/ 13846 h 20843"/>
                <a:gd name="connsiteX6" fmla="*/ 34144 w 36052"/>
                <a:gd name="connsiteY6" fmla="*/ 12513 h 20843"/>
                <a:gd name="connsiteX7" fmla="*/ 35573 w 36052"/>
                <a:gd name="connsiteY7" fmla="*/ 9465 h 20843"/>
                <a:gd name="connsiteX8" fmla="*/ 34144 w 36052"/>
                <a:gd name="connsiteY8" fmla="*/ 8036 h 20843"/>
                <a:gd name="connsiteX9" fmla="*/ 21476 w 36052"/>
                <a:gd name="connsiteY9" fmla="*/ 702 h 20843"/>
                <a:gd name="connsiteX10" fmla="*/ 13856 w 36052"/>
                <a:gd name="connsiteY10" fmla="*/ 702 h 20843"/>
                <a:gd name="connsiteX11" fmla="*/ 1188 w 36052"/>
                <a:gd name="connsiteY11" fmla="*/ 8036 h 20843"/>
                <a:gd name="connsiteX12" fmla="*/ -336 w 36052"/>
                <a:gd name="connsiteY12" fmla="*/ 10227 h 20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3">
                  <a:moveTo>
                    <a:pt x="-336" y="10227"/>
                  </a:moveTo>
                  <a:cubicBezTo>
                    <a:pt x="-269" y="11208"/>
                    <a:pt x="312" y="12075"/>
                    <a:pt x="1188" y="12513"/>
                  </a:cubicBezTo>
                  <a:lnTo>
                    <a:pt x="3569" y="13846"/>
                  </a:lnTo>
                  <a:lnTo>
                    <a:pt x="13856" y="19752"/>
                  </a:lnTo>
                  <a:cubicBezTo>
                    <a:pt x="16247" y="20990"/>
                    <a:pt x="19085" y="20990"/>
                    <a:pt x="21476" y="19752"/>
                  </a:cubicBezTo>
                  <a:lnTo>
                    <a:pt x="31763" y="13846"/>
                  </a:lnTo>
                  <a:lnTo>
                    <a:pt x="34144" y="12513"/>
                  </a:lnTo>
                  <a:cubicBezTo>
                    <a:pt x="35382" y="12065"/>
                    <a:pt x="36021" y="10694"/>
                    <a:pt x="35573" y="9465"/>
                  </a:cubicBezTo>
                  <a:cubicBezTo>
                    <a:pt x="35325" y="8798"/>
                    <a:pt x="34811" y="8274"/>
                    <a:pt x="34144"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661" name="î$lïḓê">
              <a:extLst>
                <a:ext uri="{FF2B5EF4-FFF2-40B4-BE49-F238E27FC236}">
                  <a16:creationId xmlns:a16="http://schemas.microsoft.com/office/drawing/2014/main" id="{74E15D61-C4AC-4BF2-B973-A05FC1A2D2F7}"/>
                </a:ext>
              </a:extLst>
            </p:cNvPr>
            <p:cNvSpPr/>
            <p:nvPr/>
          </p:nvSpPr>
          <p:spPr>
            <a:xfrm>
              <a:off x="5730441" y="5015450"/>
              <a:ext cx="105898" cy="61104"/>
            </a:xfrm>
            <a:custGeom>
              <a:avLst/>
              <a:gdLst>
                <a:gd name="connsiteX0" fmla="*/ 1235 w 34790"/>
                <a:gd name="connsiteY0" fmla="*/ 12029 h 20074"/>
                <a:gd name="connsiteX1" fmla="*/ 13332 w 34790"/>
                <a:gd name="connsiteY1" fmla="*/ 18983 h 20074"/>
                <a:gd name="connsiteX2" fmla="*/ 20761 w 34790"/>
                <a:gd name="connsiteY2" fmla="*/ 18983 h 20074"/>
                <a:gd name="connsiteX3" fmla="*/ 32953 w 34790"/>
                <a:gd name="connsiteY3" fmla="*/ 12029 h 20074"/>
                <a:gd name="connsiteX4" fmla="*/ 32953 w 34790"/>
                <a:gd name="connsiteY4" fmla="*/ 7743 h 20074"/>
                <a:gd name="connsiteX5" fmla="*/ 20761 w 34790"/>
                <a:gd name="connsiteY5" fmla="*/ 695 h 20074"/>
                <a:gd name="connsiteX6" fmla="*/ 13332 w 34790"/>
                <a:gd name="connsiteY6" fmla="*/ 695 h 20074"/>
                <a:gd name="connsiteX7" fmla="*/ 1235 w 34790"/>
                <a:gd name="connsiteY7" fmla="*/ 7743 h 20074"/>
                <a:gd name="connsiteX8" fmla="*/ 1235 w 34790"/>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4">
                  <a:moveTo>
                    <a:pt x="1235" y="12029"/>
                  </a:moveTo>
                  <a:lnTo>
                    <a:pt x="13332" y="18983"/>
                  </a:lnTo>
                  <a:cubicBezTo>
                    <a:pt x="15656" y="20221"/>
                    <a:pt x="18437" y="20221"/>
                    <a:pt x="20761" y="18983"/>
                  </a:cubicBezTo>
                  <a:lnTo>
                    <a:pt x="32953" y="12029"/>
                  </a:lnTo>
                  <a:cubicBezTo>
                    <a:pt x="34954" y="10791"/>
                    <a:pt x="34954" y="8886"/>
                    <a:pt x="32953" y="7743"/>
                  </a:cubicBezTo>
                  <a:lnTo>
                    <a:pt x="20761" y="695"/>
                  </a:lnTo>
                  <a:cubicBezTo>
                    <a:pt x="18418" y="-448"/>
                    <a:pt x="15675" y="-448"/>
                    <a:pt x="13332" y="695"/>
                  </a:cubicBezTo>
                  <a:lnTo>
                    <a:pt x="1235" y="7743"/>
                  </a:lnTo>
                  <a:cubicBezTo>
                    <a:pt x="-860" y="8886"/>
                    <a:pt x="-860" y="10791"/>
                    <a:pt x="1235" y="12029"/>
                  </a:cubicBezTo>
                  <a:close/>
                </a:path>
              </a:pathLst>
            </a:custGeom>
            <a:solidFill>
              <a:srgbClr val="D1D9E8"/>
            </a:solidFill>
            <a:ln w="9525" cap="flat">
              <a:noFill/>
              <a:prstDash val="solid"/>
              <a:miter/>
            </a:ln>
          </p:spPr>
          <p:txBody>
            <a:bodyPr rtlCol="0" anchor="ctr"/>
            <a:lstStyle/>
            <a:p>
              <a:endParaRPr lang="zh-CN" altLang="en-US"/>
            </a:p>
          </p:txBody>
        </p:sp>
        <p:sp>
          <p:nvSpPr>
            <p:cNvPr id="662" name="îṩḷîḓe">
              <a:extLst>
                <a:ext uri="{FF2B5EF4-FFF2-40B4-BE49-F238E27FC236}">
                  <a16:creationId xmlns:a16="http://schemas.microsoft.com/office/drawing/2014/main" id="{0C1A9DF4-16AD-46B3-822A-B2396D4A45A4}"/>
                </a:ext>
              </a:extLst>
            </p:cNvPr>
            <p:cNvSpPr/>
            <p:nvPr/>
          </p:nvSpPr>
          <p:spPr>
            <a:xfrm>
              <a:off x="5728554" y="5045893"/>
              <a:ext cx="109594" cy="53804"/>
            </a:xfrm>
            <a:custGeom>
              <a:avLst/>
              <a:gdLst>
                <a:gd name="connsiteX0" fmla="*/ -336 w 36004"/>
                <a:gd name="connsiteY0" fmla="*/ -163 h 17676"/>
                <a:gd name="connsiteX1" fmla="*/ -336 w 36004"/>
                <a:gd name="connsiteY1" fmla="*/ 7076 h 17676"/>
                <a:gd name="connsiteX2" fmla="*/ 1188 w 36004"/>
                <a:gd name="connsiteY2" fmla="*/ 9267 h 17676"/>
                <a:gd name="connsiteX3" fmla="*/ 13856 w 36004"/>
                <a:gd name="connsiteY3" fmla="*/ 16506 h 17676"/>
                <a:gd name="connsiteX4" fmla="*/ 21476 w 36004"/>
                <a:gd name="connsiteY4" fmla="*/ 16506 h 17676"/>
                <a:gd name="connsiteX5" fmla="*/ 34144 w 36004"/>
                <a:gd name="connsiteY5" fmla="*/ 9267 h 17676"/>
                <a:gd name="connsiteX6" fmla="*/ 35668 w 36004"/>
                <a:gd name="connsiteY6" fmla="*/ 6981 h 17676"/>
                <a:gd name="connsiteX7" fmla="*/ 35668 w 36004"/>
                <a:gd name="connsiteY7" fmla="*/ -163 h 17676"/>
                <a:gd name="connsiteX8" fmla="*/ 34144 w 36004"/>
                <a:gd name="connsiteY8" fmla="*/ 2124 h 17676"/>
                <a:gd name="connsiteX9" fmla="*/ 31763 w 36004"/>
                <a:gd name="connsiteY9" fmla="*/ 3457 h 17676"/>
                <a:gd name="connsiteX10" fmla="*/ 21476 w 36004"/>
                <a:gd name="connsiteY10" fmla="*/ 9362 h 17676"/>
                <a:gd name="connsiteX11" fmla="*/ 13856 w 36004"/>
                <a:gd name="connsiteY11" fmla="*/ 9362 h 17676"/>
                <a:gd name="connsiteX12" fmla="*/ 3569 w 36004"/>
                <a:gd name="connsiteY12" fmla="*/ 3457 h 17676"/>
                <a:gd name="connsiteX13" fmla="*/ 1188 w 36004"/>
                <a:gd name="connsiteY13" fmla="*/ 2124 h 17676"/>
                <a:gd name="connsiteX14" fmla="*/ -336 w 36004"/>
                <a:gd name="connsiteY14" fmla="*/ -163 h 17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6">
                  <a:moveTo>
                    <a:pt x="-336" y="-163"/>
                  </a:moveTo>
                  <a:lnTo>
                    <a:pt x="-336" y="7076"/>
                  </a:lnTo>
                  <a:cubicBezTo>
                    <a:pt x="-279" y="8029"/>
                    <a:pt x="312" y="8877"/>
                    <a:pt x="1188" y="9267"/>
                  </a:cubicBezTo>
                  <a:lnTo>
                    <a:pt x="13856" y="16506"/>
                  </a:lnTo>
                  <a:cubicBezTo>
                    <a:pt x="16218" y="17849"/>
                    <a:pt x="19114" y="17849"/>
                    <a:pt x="21476" y="16506"/>
                  </a:cubicBezTo>
                  <a:lnTo>
                    <a:pt x="34144" y="9267"/>
                  </a:lnTo>
                  <a:cubicBezTo>
                    <a:pt x="35049" y="8867"/>
                    <a:pt x="35640" y="7972"/>
                    <a:pt x="35668" y="6981"/>
                  </a:cubicBezTo>
                  <a:lnTo>
                    <a:pt x="35668" y="-163"/>
                  </a:lnTo>
                  <a:cubicBezTo>
                    <a:pt x="35602" y="819"/>
                    <a:pt x="35021" y="1685"/>
                    <a:pt x="34144" y="2124"/>
                  </a:cubicBezTo>
                  <a:lnTo>
                    <a:pt x="31763" y="3457"/>
                  </a:lnTo>
                  <a:lnTo>
                    <a:pt x="21476" y="9362"/>
                  </a:lnTo>
                  <a:cubicBezTo>
                    <a:pt x="19085" y="10601"/>
                    <a:pt x="16247" y="10601"/>
                    <a:pt x="13856" y="9362"/>
                  </a:cubicBezTo>
                  <a:lnTo>
                    <a:pt x="3569" y="3457"/>
                  </a:lnTo>
                  <a:lnTo>
                    <a:pt x="1188" y="2124"/>
                  </a:lnTo>
                  <a:cubicBezTo>
                    <a:pt x="312" y="1685"/>
                    <a:pt x="-269" y="819"/>
                    <a:pt x="-336" y="-163"/>
                  </a:cubicBezTo>
                  <a:close/>
                </a:path>
              </a:pathLst>
            </a:custGeom>
            <a:solidFill>
              <a:srgbClr val="BF4200"/>
            </a:solidFill>
            <a:ln w="9525" cap="flat">
              <a:noFill/>
              <a:prstDash val="solid"/>
              <a:miter/>
            </a:ln>
          </p:spPr>
          <p:txBody>
            <a:bodyPr rtlCol="0" anchor="ctr"/>
            <a:lstStyle/>
            <a:p>
              <a:endParaRPr lang="zh-CN" altLang="en-US"/>
            </a:p>
          </p:txBody>
        </p:sp>
        <p:sp>
          <p:nvSpPr>
            <p:cNvPr id="663" name="íṡļíḋe">
              <a:extLst>
                <a:ext uri="{FF2B5EF4-FFF2-40B4-BE49-F238E27FC236}">
                  <a16:creationId xmlns:a16="http://schemas.microsoft.com/office/drawing/2014/main" id="{2CCCE401-C154-44EA-8C40-BDB98AC0155A}"/>
                </a:ext>
              </a:extLst>
            </p:cNvPr>
            <p:cNvSpPr/>
            <p:nvPr/>
          </p:nvSpPr>
          <p:spPr>
            <a:xfrm>
              <a:off x="5805967" y="5058921"/>
              <a:ext cx="109740" cy="63445"/>
            </a:xfrm>
            <a:custGeom>
              <a:avLst/>
              <a:gdLst>
                <a:gd name="connsiteX0" fmla="*/ -336 w 36052"/>
                <a:gd name="connsiteY0" fmla="*/ 10227 h 20843"/>
                <a:gd name="connsiteX1" fmla="*/ 1188 w 36052"/>
                <a:gd name="connsiteY1" fmla="*/ 12513 h 20843"/>
                <a:gd name="connsiteX2" fmla="*/ 3569 w 36052"/>
                <a:gd name="connsiteY2" fmla="*/ 13846 h 20843"/>
                <a:gd name="connsiteX3" fmla="*/ 13856 w 36052"/>
                <a:gd name="connsiteY3" fmla="*/ 19752 h 20843"/>
                <a:gd name="connsiteX4" fmla="*/ 21476 w 36052"/>
                <a:gd name="connsiteY4" fmla="*/ 19752 h 20843"/>
                <a:gd name="connsiteX5" fmla="*/ 31763 w 36052"/>
                <a:gd name="connsiteY5" fmla="*/ 13846 h 20843"/>
                <a:gd name="connsiteX6" fmla="*/ 34144 w 36052"/>
                <a:gd name="connsiteY6" fmla="*/ 12513 h 20843"/>
                <a:gd name="connsiteX7" fmla="*/ 35573 w 36052"/>
                <a:gd name="connsiteY7" fmla="*/ 9465 h 20843"/>
                <a:gd name="connsiteX8" fmla="*/ 34144 w 36052"/>
                <a:gd name="connsiteY8" fmla="*/ 8036 h 20843"/>
                <a:gd name="connsiteX9" fmla="*/ 21476 w 36052"/>
                <a:gd name="connsiteY9" fmla="*/ 702 h 20843"/>
                <a:gd name="connsiteX10" fmla="*/ 13856 w 36052"/>
                <a:gd name="connsiteY10" fmla="*/ 702 h 20843"/>
                <a:gd name="connsiteX11" fmla="*/ 1188 w 36052"/>
                <a:gd name="connsiteY11" fmla="*/ 8036 h 20843"/>
                <a:gd name="connsiteX12" fmla="*/ -336 w 36052"/>
                <a:gd name="connsiteY12" fmla="*/ 10227 h 20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3">
                  <a:moveTo>
                    <a:pt x="-336" y="10227"/>
                  </a:moveTo>
                  <a:cubicBezTo>
                    <a:pt x="-270" y="11208"/>
                    <a:pt x="311" y="12075"/>
                    <a:pt x="1188" y="12513"/>
                  </a:cubicBezTo>
                  <a:lnTo>
                    <a:pt x="3569" y="13846"/>
                  </a:lnTo>
                  <a:lnTo>
                    <a:pt x="13856" y="19752"/>
                  </a:lnTo>
                  <a:cubicBezTo>
                    <a:pt x="16247" y="20990"/>
                    <a:pt x="19085" y="20990"/>
                    <a:pt x="21476" y="19752"/>
                  </a:cubicBezTo>
                  <a:lnTo>
                    <a:pt x="31763" y="13846"/>
                  </a:lnTo>
                  <a:lnTo>
                    <a:pt x="34144" y="12513"/>
                  </a:lnTo>
                  <a:cubicBezTo>
                    <a:pt x="35382" y="12065"/>
                    <a:pt x="36020" y="10694"/>
                    <a:pt x="35573" y="9465"/>
                  </a:cubicBezTo>
                  <a:cubicBezTo>
                    <a:pt x="35325" y="8798"/>
                    <a:pt x="34811" y="8274"/>
                    <a:pt x="34144"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664" name="îṥliḋè">
              <a:extLst>
                <a:ext uri="{FF2B5EF4-FFF2-40B4-BE49-F238E27FC236}">
                  <a16:creationId xmlns:a16="http://schemas.microsoft.com/office/drawing/2014/main" id="{22695C9E-1F0D-4BD0-A71D-FD591A1A026A}"/>
                </a:ext>
              </a:extLst>
            </p:cNvPr>
            <p:cNvSpPr/>
            <p:nvPr/>
          </p:nvSpPr>
          <p:spPr>
            <a:xfrm>
              <a:off x="5807781" y="5060102"/>
              <a:ext cx="105895" cy="61101"/>
            </a:xfrm>
            <a:custGeom>
              <a:avLst/>
              <a:gdLst>
                <a:gd name="connsiteX0" fmla="*/ 1164 w 34789"/>
                <a:gd name="connsiteY0" fmla="*/ 12029 h 20073"/>
                <a:gd name="connsiteX1" fmla="*/ 13356 w 34789"/>
                <a:gd name="connsiteY1" fmla="*/ 18982 h 20073"/>
                <a:gd name="connsiteX2" fmla="*/ 20785 w 34789"/>
                <a:gd name="connsiteY2" fmla="*/ 18982 h 20073"/>
                <a:gd name="connsiteX3" fmla="*/ 32882 w 34789"/>
                <a:gd name="connsiteY3" fmla="*/ 12029 h 20073"/>
                <a:gd name="connsiteX4" fmla="*/ 32882 w 34789"/>
                <a:gd name="connsiteY4" fmla="*/ 7743 h 20073"/>
                <a:gd name="connsiteX5" fmla="*/ 20785 w 34789"/>
                <a:gd name="connsiteY5" fmla="*/ 695 h 20073"/>
                <a:gd name="connsiteX6" fmla="*/ 13356 w 34789"/>
                <a:gd name="connsiteY6" fmla="*/ 695 h 20073"/>
                <a:gd name="connsiteX7" fmla="*/ 1164 w 34789"/>
                <a:gd name="connsiteY7" fmla="*/ 7743 h 20073"/>
                <a:gd name="connsiteX8" fmla="*/ 1164 w 34789"/>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89" h="20073">
                  <a:moveTo>
                    <a:pt x="1164" y="12029"/>
                  </a:moveTo>
                  <a:lnTo>
                    <a:pt x="13356" y="18982"/>
                  </a:lnTo>
                  <a:cubicBezTo>
                    <a:pt x="15680" y="20221"/>
                    <a:pt x="18461" y="20221"/>
                    <a:pt x="20785" y="18982"/>
                  </a:cubicBezTo>
                  <a:lnTo>
                    <a:pt x="32882" y="12029"/>
                  </a:lnTo>
                  <a:cubicBezTo>
                    <a:pt x="34977" y="10791"/>
                    <a:pt x="34977" y="8886"/>
                    <a:pt x="32882" y="7743"/>
                  </a:cubicBezTo>
                  <a:lnTo>
                    <a:pt x="20785" y="695"/>
                  </a:lnTo>
                  <a:cubicBezTo>
                    <a:pt x="18442" y="-448"/>
                    <a:pt x="15699" y="-448"/>
                    <a:pt x="13356" y="695"/>
                  </a:cubicBezTo>
                  <a:lnTo>
                    <a:pt x="1164" y="7743"/>
                  </a:lnTo>
                  <a:cubicBezTo>
                    <a:pt x="-836" y="8981"/>
                    <a:pt x="-836" y="10791"/>
                    <a:pt x="1164" y="12029"/>
                  </a:cubicBezTo>
                  <a:close/>
                </a:path>
              </a:pathLst>
            </a:custGeom>
            <a:solidFill>
              <a:srgbClr val="D1D9E8"/>
            </a:solidFill>
            <a:ln w="9525" cap="flat">
              <a:noFill/>
              <a:prstDash val="solid"/>
              <a:miter/>
            </a:ln>
          </p:spPr>
          <p:txBody>
            <a:bodyPr rtlCol="0" anchor="ctr"/>
            <a:lstStyle/>
            <a:p>
              <a:endParaRPr lang="zh-CN" altLang="en-US"/>
            </a:p>
          </p:txBody>
        </p:sp>
        <p:sp>
          <p:nvSpPr>
            <p:cNvPr id="665" name="íṡḷïde">
              <a:extLst>
                <a:ext uri="{FF2B5EF4-FFF2-40B4-BE49-F238E27FC236}">
                  <a16:creationId xmlns:a16="http://schemas.microsoft.com/office/drawing/2014/main" id="{DC597F75-2CD6-4096-BF3E-BA3CB2001104}"/>
                </a:ext>
              </a:extLst>
            </p:cNvPr>
            <p:cNvSpPr/>
            <p:nvPr/>
          </p:nvSpPr>
          <p:spPr>
            <a:xfrm>
              <a:off x="5805967" y="5090544"/>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3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3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2" y="7953"/>
                    <a:pt x="35668" y="6981"/>
                  </a:cubicBezTo>
                  <a:lnTo>
                    <a:pt x="35668" y="-163"/>
                  </a:lnTo>
                  <a:cubicBezTo>
                    <a:pt x="35602" y="818"/>
                    <a:pt x="35021" y="1685"/>
                    <a:pt x="34144" y="2123"/>
                  </a:cubicBezTo>
                  <a:lnTo>
                    <a:pt x="31763" y="3457"/>
                  </a:lnTo>
                  <a:lnTo>
                    <a:pt x="21476" y="9362"/>
                  </a:lnTo>
                  <a:cubicBezTo>
                    <a:pt x="19085" y="10601"/>
                    <a:pt x="16247" y="10601"/>
                    <a:pt x="13856" y="9362"/>
                  </a:cubicBezTo>
                  <a:lnTo>
                    <a:pt x="3569" y="3457"/>
                  </a:lnTo>
                  <a:lnTo>
                    <a:pt x="1188"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66" name="îšliďe">
              <a:extLst>
                <a:ext uri="{FF2B5EF4-FFF2-40B4-BE49-F238E27FC236}">
                  <a16:creationId xmlns:a16="http://schemas.microsoft.com/office/drawing/2014/main" id="{D018562C-4818-4980-9C0B-3CCA69D26A11}"/>
                </a:ext>
              </a:extLst>
            </p:cNvPr>
            <p:cNvSpPr/>
            <p:nvPr/>
          </p:nvSpPr>
          <p:spPr>
            <a:xfrm>
              <a:off x="5883091" y="5103721"/>
              <a:ext cx="109740" cy="63292"/>
            </a:xfrm>
            <a:custGeom>
              <a:avLst/>
              <a:gdLst>
                <a:gd name="connsiteX0" fmla="*/ -336 w 36052"/>
                <a:gd name="connsiteY0" fmla="*/ 10177 h 20793"/>
                <a:gd name="connsiteX1" fmla="*/ 1283 w 36052"/>
                <a:gd name="connsiteY1" fmla="*/ 12463 h 20793"/>
                <a:gd name="connsiteX2" fmla="*/ 3569 w 36052"/>
                <a:gd name="connsiteY2" fmla="*/ 13796 h 20793"/>
                <a:gd name="connsiteX3" fmla="*/ 13856 w 36052"/>
                <a:gd name="connsiteY3" fmla="*/ 19702 h 20793"/>
                <a:gd name="connsiteX4" fmla="*/ 21571 w 36052"/>
                <a:gd name="connsiteY4" fmla="*/ 19702 h 20793"/>
                <a:gd name="connsiteX5" fmla="*/ 31858 w 36052"/>
                <a:gd name="connsiteY5" fmla="*/ 13796 h 20793"/>
                <a:gd name="connsiteX6" fmla="*/ 34144 w 36052"/>
                <a:gd name="connsiteY6" fmla="*/ 12463 h 20793"/>
                <a:gd name="connsiteX7" fmla="*/ 35573 w 36052"/>
                <a:gd name="connsiteY7" fmla="*/ 9415 h 20793"/>
                <a:gd name="connsiteX8" fmla="*/ 34144 w 36052"/>
                <a:gd name="connsiteY8" fmla="*/ 7986 h 20793"/>
                <a:gd name="connsiteX9" fmla="*/ 21571 w 36052"/>
                <a:gd name="connsiteY9" fmla="*/ 652 h 20793"/>
                <a:gd name="connsiteX10" fmla="*/ 13856 w 36052"/>
                <a:gd name="connsiteY10" fmla="*/ 652 h 20793"/>
                <a:gd name="connsiteX11" fmla="*/ 1283 w 36052"/>
                <a:gd name="connsiteY11" fmla="*/ 7986 h 20793"/>
                <a:gd name="connsiteX12" fmla="*/ -336 w 36052"/>
                <a:gd name="connsiteY12" fmla="*/ 10177 h 20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793">
                  <a:moveTo>
                    <a:pt x="-336" y="10177"/>
                  </a:moveTo>
                  <a:cubicBezTo>
                    <a:pt x="-270" y="11186"/>
                    <a:pt x="359" y="12072"/>
                    <a:pt x="1283" y="12463"/>
                  </a:cubicBezTo>
                  <a:lnTo>
                    <a:pt x="3569" y="13796"/>
                  </a:lnTo>
                  <a:lnTo>
                    <a:pt x="13856" y="19702"/>
                  </a:lnTo>
                  <a:cubicBezTo>
                    <a:pt x="16275" y="20940"/>
                    <a:pt x="19152" y="20940"/>
                    <a:pt x="21571" y="19702"/>
                  </a:cubicBezTo>
                  <a:lnTo>
                    <a:pt x="31858" y="13796"/>
                  </a:lnTo>
                  <a:lnTo>
                    <a:pt x="34144" y="12463"/>
                  </a:lnTo>
                  <a:cubicBezTo>
                    <a:pt x="35382" y="12015"/>
                    <a:pt x="36020" y="10643"/>
                    <a:pt x="35573" y="9415"/>
                  </a:cubicBezTo>
                  <a:cubicBezTo>
                    <a:pt x="35325" y="8748"/>
                    <a:pt x="34811" y="8224"/>
                    <a:pt x="34144" y="7986"/>
                  </a:cubicBezTo>
                  <a:lnTo>
                    <a:pt x="21571" y="652"/>
                  </a:lnTo>
                  <a:cubicBezTo>
                    <a:pt x="19114" y="-434"/>
                    <a:pt x="16313" y="-434"/>
                    <a:pt x="13856" y="652"/>
                  </a:cubicBezTo>
                  <a:lnTo>
                    <a:pt x="1283" y="7986"/>
                  </a:lnTo>
                  <a:cubicBezTo>
                    <a:pt x="378" y="8367"/>
                    <a:pt x="-241" y="9205"/>
                    <a:pt x="-336" y="10177"/>
                  </a:cubicBezTo>
                  <a:close/>
                </a:path>
              </a:pathLst>
            </a:custGeom>
            <a:solidFill>
              <a:srgbClr val="FFFFFF"/>
            </a:solidFill>
            <a:ln w="9525" cap="flat">
              <a:noFill/>
              <a:prstDash val="solid"/>
              <a:miter/>
            </a:ln>
          </p:spPr>
          <p:txBody>
            <a:bodyPr rtlCol="0" anchor="ctr"/>
            <a:lstStyle/>
            <a:p>
              <a:endParaRPr lang="zh-CN" altLang="en-US"/>
            </a:p>
          </p:txBody>
        </p:sp>
        <p:sp>
          <p:nvSpPr>
            <p:cNvPr id="667" name="î$ľïďe">
              <a:extLst>
                <a:ext uri="{FF2B5EF4-FFF2-40B4-BE49-F238E27FC236}">
                  <a16:creationId xmlns:a16="http://schemas.microsoft.com/office/drawing/2014/main" id="{6A2B2681-E49D-4696-AFF7-72BB55DD3CD5}"/>
                </a:ext>
              </a:extLst>
            </p:cNvPr>
            <p:cNvSpPr/>
            <p:nvPr/>
          </p:nvSpPr>
          <p:spPr>
            <a:xfrm>
              <a:off x="5884975" y="5104750"/>
              <a:ext cx="105898" cy="61101"/>
            </a:xfrm>
            <a:custGeom>
              <a:avLst/>
              <a:gdLst>
                <a:gd name="connsiteX0" fmla="*/ 1235 w 34790"/>
                <a:gd name="connsiteY0" fmla="*/ 12029 h 20073"/>
                <a:gd name="connsiteX1" fmla="*/ 13332 w 34790"/>
                <a:gd name="connsiteY1" fmla="*/ 18983 h 20073"/>
                <a:gd name="connsiteX2" fmla="*/ 20762 w 34790"/>
                <a:gd name="connsiteY2" fmla="*/ 18983 h 20073"/>
                <a:gd name="connsiteX3" fmla="*/ 32954 w 34790"/>
                <a:gd name="connsiteY3" fmla="*/ 12029 h 20073"/>
                <a:gd name="connsiteX4" fmla="*/ 32954 w 34790"/>
                <a:gd name="connsiteY4" fmla="*/ 7743 h 20073"/>
                <a:gd name="connsiteX5" fmla="*/ 20762 w 34790"/>
                <a:gd name="connsiteY5" fmla="*/ 695 h 20073"/>
                <a:gd name="connsiteX6" fmla="*/ 13332 w 34790"/>
                <a:gd name="connsiteY6" fmla="*/ 695 h 20073"/>
                <a:gd name="connsiteX7" fmla="*/ 1235 w 34790"/>
                <a:gd name="connsiteY7" fmla="*/ 7743 h 20073"/>
                <a:gd name="connsiteX8" fmla="*/ 1235 w 34790"/>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3">
                  <a:moveTo>
                    <a:pt x="1235" y="12029"/>
                  </a:moveTo>
                  <a:lnTo>
                    <a:pt x="13332" y="18983"/>
                  </a:lnTo>
                  <a:cubicBezTo>
                    <a:pt x="15656" y="20221"/>
                    <a:pt x="18437" y="20221"/>
                    <a:pt x="20762" y="18983"/>
                  </a:cubicBezTo>
                  <a:lnTo>
                    <a:pt x="32954" y="12029"/>
                  </a:lnTo>
                  <a:cubicBezTo>
                    <a:pt x="34954" y="10791"/>
                    <a:pt x="34954" y="8886"/>
                    <a:pt x="32954" y="7743"/>
                  </a:cubicBezTo>
                  <a:lnTo>
                    <a:pt x="20762" y="695"/>
                  </a:lnTo>
                  <a:cubicBezTo>
                    <a:pt x="18419" y="-448"/>
                    <a:pt x="15675" y="-448"/>
                    <a:pt x="13332" y="695"/>
                  </a:cubicBezTo>
                  <a:lnTo>
                    <a:pt x="1235" y="7743"/>
                  </a:lnTo>
                  <a:cubicBezTo>
                    <a:pt x="-860" y="8886"/>
                    <a:pt x="-860" y="10791"/>
                    <a:pt x="1235" y="12029"/>
                  </a:cubicBezTo>
                  <a:close/>
                </a:path>
              </a:pathLst>
            </a:custGeom>
            <a:solidFill>
              <a:srgbClr val="D1D9E8"/>
            </a:solidFill>
            <a:ln w="9525" cap="flat">
              <a:noFill/>
              <a:prstDash val="solid"/>
              <a:miter/>
            </a:ln>
          </p:spPr>
          <p:txBody>
            <a:bodyPr rtlCol="0" anchor="ctr"/>
            <a:lstStyle/>
            <a:p>
              <a:endParaRPr lang="zh-CN" altLang="en-US"/>
            </a:p>
          </p:txBody>
        </p:sp>
        <p:sp>
          <p:nvSpPr>
            <p:cNvPr id="668" name="îşlîďé">
              <a:extLst>
                <a:ext uri="{FF2B5EF4-FFF2-40B4-BE49-F238E27FC236}">
                  <a16:creationId xmlns:a16="http://schemas.microsoft.com/office/drawing/2014/main" id="{C6D203AF-485E-478E-9DE8-61F5ADA07333}"/>
                </a:ext>
              </a:extLst>
            </p:cNvPr>
            <p:cNvSpPr/>
            <p:nvPr/>
          </p:nvSpPr>
          <p:spPr>
            <a:xfrm>
              <a:off x="5883091" y="5135195"/>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4 w 36099"/>
                <a:gd name="connsiteY6" fmla="*/ 6981 h 17597"/>
                <a:gd name="connsiteX7" fmla="*/ 35764 w 36099"/>
                <a:gd name="connsiteY7" fmla="*/ -163 h 17597"/>
                <a:gd name="connsiteX8" fmla="*/ 34144 w 36099"/>
                <a:gd name="connsiteY8" fmla="*/ 2123 h 17597"/>
                <a:gd name="connsiteX9" fmla="*/ 31858 w 36099"/>
                <a:gd name="connsiteY9" fmla="*/ 3457 h 17597"/>
                <a:gd name="connsiteX10" fmla="*/ 21571 w 36099"/>
                <a:gd name="connsiteY10" fmla="*/ 9362 h 17597"/>
                <a:gd name="connsiteX11" fmla="*/ 13856 w 36099"/>
                <a:gd name="connsiteY11" fmla="*/ 9362 h 17597"/>
                <a:gd name="connsiteX12" fmla="*/ 3569 w 36099"/>
                <a:gd name="connsiteY12" fmla="*/ 3457 h 17597"/>
                <a:gd name="connsiteX13" fmla="*/ 1283 w 36099"/>
                <a:gd name="connsiteY13" fmla="*/ 2123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41" y="8048"/>
                    <a:pt x="387" y="8886"/>
                    <a:pt x="1283" y="9267"/>
                  </a:cubicBezTo>
                  <a:lnTo>
                    <a:pt x="13856" y="16506"/>
                  </a:lnTo>
                  <a:cubicBezTo>
                    <a:pt x="16275" y="17744"/>
                    <a:pt x="19152" y="17744"/>
                    <a:pt x="21571" y="16506"/>
                  </a:cubicBezTo>
                  <a:lnTo>
                    <a:pt x="34144" y="9267"/>
                  </a:lnTo>
                  <a:cubicBezTo>
                    <a:pt x="35030" y="8829"/>
                    <a:pt x="35640" y="7962"/>
                    <a:pt x="35764" y="6981"/>
                  </a:cubicBezTo>
                  <a:lnTo>
                    <a:pt x="35764" y="-163"/>
                  </a:lnTo>
                  <a:cubicBezTo>
                    <a:pt x="35659" y="828"/>
                    <a:pt x="35049" y="1695"/>
                    <a:pt x="34144" y="2123"/>
                  </a:cubicBezTo>
                  <a:lnTo>
                    <a:pt x="31858" y="3457"/>
                  </a:lnTo>
                  <a:lnTo>
                    <a:pt x="21571" y="9362"/>
                  </a:lnTo>
                  <a:cubicBezTo>
                    <a:pt x="19152" y="10601"/>
                    <a:pt x="16275" y="10601"/>
                    <a:pt x="13856" y="9362"/>
                  </a:cubicBezTo>
                  <a:lnTo>
                    <a:pt x="3569" y="3457"/>
                  </a:lnTo>
                  <a:lnTo>
                    <a:pt x="1283" y="2123"/>
                  </a:lnTo>
                  <a:cubicBezTo>
                    <a:pt x="349" y="1733"/>
                    <a:pt x="-270" y="847"/>
                    <a:pt x="-336" y="-163"/>
                  </a:cubicBezTo>
                  <a:close/>
                </a:path>
              </a:pathLst>
            </a:custGeom>
            <a:solidFill>
              <a:srgbClr val="BF4200"/>
            </a:solidFill>
            <a:ln w="9525" cap="flat">
              <a:noFill/>
              <a:prstDash val="solid"/>
              <a:miter/>
            </a:ln>
          </p:spPr>
          <p:txBody>
            <a:bodyPr rtlCol="0" anchor="ctr"/>
            <a:lstStyle/>
            <a:p>
              <a:endParaRPr lang="zh-CN" altLang="en-US"/>
            </a:p>
          </p:txBody>
        </p:sp>
        <p:sp>
          <p:nvSpPr>
            <p:cNvPr id="669" name="íşľiďè">
              <a:extLst>
                <a:ext uri="{FF2B5EF4-FFF2-40B4-BE49-F238E27FC236}">
                  <a16:creationId xmlns:a16="http://schemas.microsoft.com/office/drawing/2014/main" id="{AF2055F2-0EB7-4959-A7C9-F5F21E2F1214}"/>
                </a:ext>
              </a:extLst>
            </p:cNvPr>
            <p:cNvSpPr/>
            <p:nvPr/>
          </p:nvSpPr>
          <p:spPr>
            <a:xfrm>
              <a:off x="5960501" y="5148023"/>
              <a:ext cx="109594" cy="63639"/>
            </a:xfrm>
            <a:custGeom>
              <a:avLst/>
              <a:gdLst>
                <a:gd name="connsiteX0" fmla="*/ -336 w 36004"/>
                <a:gd name="connsiteY0" fmla="*/ 10291 h 20907"/>
                <a:gd name="connsiteX1" fmla="*/ 1188 w 36004"/>
                <a:gd name="connsiteY1" fmla="*/ 12577 h 20907"/>
                <a:gd name="connsiteX2" fmla="*/ 3569 w 36004"/>
                <a:gd name="connsiteY2" fmla="*/ 13910 h 20907"/>
                <a:gd name="connsiteX3" fmla="*/ 13856 w 36004"/>
                <a:gd name="connsiteY3" fmla="*/ 19816 h 20907"/>
                <a:gd name="connsiteX4" fmla="*/ 21476 w 36004"/>
                <a:gd name="connsiteY4" fmla="*/ 19816 h 20907"/>
                <a:gd name="connsiteX5" fmla="*/ 31763 w 36004"/>
                <a:gd name="connsiteY5" fmla="*/ 13910 h 20907"/>
                <a:gd name="connsiteX6" fmla="*/ 34144 w 36004"/>
                <a:gd name="connsiteY6" fmla="*/ 12577 h 20907"/>
                <a:gd name="connsiteX7" fmla="*/ 35668 w 36004"/>
                <a:gd name="connsiteY7" fmla="*/ 10291 h 20907"/>
                <a:gd name="connsiteX8" fmla="*/ 34144 w 36004"/>
                <a:gd name="connsiteY8" fmla="*/ 8100 h 20907"/>
                <a:gd name="connsiteX9" fmla="*/ 21476 w 36004"/>
                <a:gd name="connsiteY9" fmla="*/ 766 h 20907"/>
                <a:gd name="connsiteX10" fmla="*/ 13856 w 36004"/>
                <a:gd name="connsiteY10" fmla="*/ 766 h 20907"/>
                <a:gd name="connsiteX11" fmla="*/ 1188 w 36004"/>
                <a:gd name="connsiteY11" fmla="*/ 8100 h 20907"/>
                <a:gd name="connsiteX12" fmla="*/ -336 w 36004"/>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907">
                  <a:moveTo>
                    <a:pt x="-336" y="10291"/>
                  </a:moveTo>
                  <a:cubicBezTo>
                    <a:pt x="-269" y="11272"/>
                    <a:pt x="312" y="12139"/>
                    <a:pt x="1188" y="12577"/>
                  </a:cubicBezTo>
                  <a:lnTo>
                    <a:pt x="3569" y="13910"/>
                  </a:lnTo>
                  <a:lnTo>
                    <a:pt x="13856" y="19816"/>
                  </a:lnTo>
                  <a:cubicBezTo>
                    <a:pt x="16247" y="21054"/>
                    <a:pt x="19085" y="21054"/>
                    <a:pt x="21476" y="19816"/>
                  </a:cubicBezTo>
                  <a:lnTo>
                    <a:pt x="31763" y="13910"/>
                  </a:lnTo>
                  <a:lnTo>
                    <a:pt x="34144" y="12577"/>
                  </a:lnTo>
                  <a:cubicBezTo>
                    <a:pt x="35021" y="12139"/>
                    <a:pt x="35602" y="11272"/>
                    <a:pt x="35668" y="10291"/>
                  </a:cubicBezTo>
                  <a:cubicBezTo>
                    <a:pt x="35611" y="9339"/>
                    <a:pt x="35021" y="8491"/>
                    <a:pt x="34144" y="8100"/>
                  </a:cubicBezTo>
                  <a:lnTo>
                    <a:pt x="21476" y="766"/>
                  </a:lnTo>
                  <a:cubicBezTo>
                    <a:pt x="19085" y="-472"/>
                    <a:pt x="16247" y="-472"/>
                    <a:pt x="13856" y="766"/>
                  </a:cubicBezTo>
                  <a:lnTo>
                    <a:pt x="1188" y="8100"/>
                  </a:lnTo>
                  <a:cubicBezTo>
                    <a:pt x="312" y="8491"/>
                    <a:pt x="-279"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670" name="îṩḻïḍè">
              <a:extLst>
                <a:ext uri="{FF2B5EF4-FFF2-40B4-BE49-F238E27FC236}">
                  <a16:creationId xmlns:a16="http://schemas.microsoft.com/office/drawing/2014/main" id="{51C4106F-D0D8-4C42-8B3A-7D8503DDAE9B}"/>
                </a:ext>
              </a:extLst>
            </p:cNvPr>
            <p:cNvSpPr/>
            <p:nvPr/>
          </p:nvSpPr>
          <p:spPr>
            <a:xfrm>
              <a:off x="5962388" y="5149401"/>
              <a:ext cx="105825" cy="61104"/>
            </a:xfrm>
            <a:custGeom>
              <a:avLst/>
              <a:gdLst>
                <a:gd name="connsiteX0" fmla="*/ 1235 w 34766"/>
                <a:gd name="connsiteY0" fmla="*/ 12029 h 20074"/>
                <a:gd name="connsiteX1" fmla="*/ 13332 w 34766"/>
                <a:gd name="connsiteY1" fmla="*/ 18983 h 20074"/>
                <a:gd name="connsiteX2" fmla="*/ 20761 w 34766"/>
                <a:gd name="connsiteY2" fmla="*/ 18983 h 20074"/>
                <a:gd name="connsiteX3" fmla="*/ 32858 w 34766"/>
                <a:gd name="connsiteY3" fmla="*/ 12029 h 20074"/>
                <a:gd name="connsiteX4" fmla="*/ 32858 w 34766"/>
                <a:gd name="connsiteY4" fmla="*/ 7743 h 20074"/>
                <a:gd name="connsiteX5" fmla="*/ 20761 w 34766"/>
                <a:gd name="connsiteY5" fmla="*/ 695 h 20074"/>
                <a:gd name="connsiteX6" fmla="*/ 13332 w 34766"/>
                <a:gd name="connsiteY6" fmla="*/ 695 h 20074"/>
                <a:gd name="connsiteX7" fmla="*/ 1235 w 34766"/>
                <a:gd name="connsiteY7" fmla="*/ 8219 h 20074"/>
                <a:gd name="connsiteX8" fmla="*/ 1235 w 34766"/>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6" h="20074">
                  <a:moveTo>
                    <a:pt x="1235" y="12029"/>
                  </a:moveTo>
                  <a:lnTo>
                    <a:pt x="13332" y="18983"/>
                  </a:lnTo>
                  <a:cubicBezTo>
                    <a:pt x="15656" y="20221"/>
                    <a:pt x="18437" y="20221"/>
                    <a:pt x="20761" y="18983"/>
                  </a:cubicBezTo>
                  <a:lnTo>
                    <a:pt x="32858" y="12029"/>
                  </a:lnTo>
                  <a:cubicBezTo>
                    <a:pt x="34954" y="10791"/>
                    <a:pt x="34954" y="8886"/>
                    <a:pt x="32858" y="7743"/>
                  </a:cubicBezTo>
                  <a:lnTo>
                    <a:pt x="20761" y="695"/>
                  </a:lnTo>
                  <a:cubicBezTo>
                    <a:pt x="18418" y="-448"/>
                    <a:pt x="15675" y="-448"/>
                    <a:pt x="13332" y="695"/>
                  </a:cubicBezTo>
                  <a:lnTo>
                    <a:pt x="1235" y="8219"/>
                  </a:lnTo>
                  <a:cubicBezTo>
                    <a:pt x="-860" y="8886"/>
                    <a:pt x="-860" y="10791"/>
                    <a:pt x="1235" y="12029"/>
                  </a:cubicBezTo>
                  <a:close/>
                </a:path>
              </a:pathLst>
            </a:custGeom>
            <a:solidFill>
              <a:srgbClr val="D1D9E8"/>
            </a:solidFill>
            <a:ln w="9525" cap="flat">
              <a:noFill/>
              <a:prstDash val="solid"/>
              <a:miter/>
            </a:ln>
          </p:spPr>
          <p:txBody>
            <a:bodyPr rtlCol="0" anchor="ctr"/>
            <a:lstStyle/>
            <a:p>
              <a:endParaRPr lang="zh-CN" altLang="en-US"/>
            </a:p>
          </p:txBody>
        </p:sp>
        <p:sp>
          <p:nvSpPr>
            <p:cNvPr id="671" name="iṧlîdê">
              <a:extLst>
                <a:ext uri="{FF2B5EF4-FFF2-40B4-BE49-F238E27FC236}">
                  <a16:creationId xmlns:a16="http://schemas.microsoft.com/office/drawing/2014/main" id="{C7E544C9-1BAB-47B8-8CE7-7DB9F4C35D3D}"/>
                </a:ext>
              </a:extLst>
            </p:cNvPr>
            <p:cNvSpPr/>
            <p:nvPr/>
          </p:nvSpPr>
          <p:spPr>
            <a:xfrm>
              <a:off x="5960501" y="5179844"/>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3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3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2" y="7953"/>
                    <a:pt x="35668" y="6981"/>
                  </a:cubicBezTo>
                  <a:lnTo>
                    <a:pt x="35668" y="-163"/>
                  </a:lnTo>
                  <a:cubicBezTo>
                    <a:pt x="35602" y="818"/>
                    <a:pt x="35021" y="1685"/>
                    <a:pt x="34144" y="2123"/>
                  </a:cubicBezTo>
                  <a:lnTo>
                    <a:pt x="31763" y="3457"/>
                  </a:lnTo>
                  <a:lnTo>
                    <a:pt x="21476" y="9362"/>
                  </a:lnTo>
                  <a:cubicBezTo>
                    <a:pt x="19085" y="10600"/>
                    <a:pt x="16247" y="10600"/>
                    <a:pt x="13856" y="9362"/>
                  </a:cubicBezTo>
                  <a:lnTo>
                    <a:pt x="3569" y="3457"/>
                  </a:lnTo>
                  <a:lnTo>
                    <a:pt x="1188" y="2123"/>
                  </a:lnTo>
                  <a:cubicBezTo>
                    <a:pt x="312"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72" name="ïṡľíḓe">
              <a:extLst>
                <a:ext uri="{FF2B5EF4-FFF2-40B4-BE49-F238E27FC236}">
                  <a16:creationId xmlns:a16="http://schemas.microsoft.com/office/drawing/2014/main" id="{B7750526-DD03-4A46-AE84-88136F1A0B35}"/>
                </a:ext>
              </a:extLst>
            </p:cNvPr>
            <p:cNvSpPr/>
            <p:nvPr/>
          </p:nvSpPr>
          <p:spPr>
            <a:xfrm>
              <a:off x="6037625" y="5192674"/>
              <a:ext cx="109883" cy="63639"/>
            </a:xfrm>
            <a:custGeom>
              <a:avLst/>
              <a:gdLst>
                <a:gd name="connsiteX0" fmla="*/ -336 w 36099"/>
                <a:gd name="connsiteY0" fmla="*/ 10291 h 20907"/>
                <a:gd name="connsiteX1" fmla="*/ 1283 w 36099"/>
                <a:gd name="connsiteY1" fmla="*/ 12577 h 20907"/>
                <a:gd name="connsiteX2" fmla="*/ 3569 w 36099"/>
                <a:gd name="connsiteY2" fmla="*/ 13911 h 20907"/>
                <a:gd name="connsiteX3" fmla="*/ 13856 w 36099"/>
                <a:gd name="connsiteY3" fmla="*/ 19816 h 20907"/>
                <a:gd name="connsiteX4" fmla="*/ 21571 w 36099"/>
                <a:gd name="connsiteY4" fmla="*/ 19816 h 20907"/>
                <a:gd name="connsiteX5" fmla="*/ 31858 w 36099"/>
                <a:gd name="connsiteY5" fmla="*/ 13911 h 20907"/>
                <a:gd name="connsiteX6" fmla="*/ 34144 w 36099"/>
                <a:gd name="connsiteY6" fmla="*/ 12577 h 20907"/>
                <a:gd name="connsiteX7" fmla="*/ 35764 w 36099"/>
                <a:gd name="connsiteY7" fmla="*/ 10291 h 20907"/>
                <a:gd name="connsiteX8" fmla="*/ 34144 w 36099"/>
                <a:gd name="connsiteY8" fmla="*/ 8101 h 20907"/>
                <a:gd name="connsiteX9" fmla="*/ 21571 w 36099"/>
                <a:gd name="connsiteY9" fmla="*/ 766 h 20907"/>
                <a:gd name="connsiteX10" fmla="*/ 13856 w 36099"/>
                <a:gd name="connsiteY10" fmla="*/ 766 h 20907"/>
                <a:gd name="connsiteX11" fmla="*/ 1283 w 36099"/>
                <a:gd name="connsiteY11" fmla="*/ 8101 h 20907"/>
                <a:gd name="connsiteX12" fmla="*/ -336 w 36099"/>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99" h="20907">
                  <a:moveTo>
                    <a:pt x="-336" y="10291"/>
                  </a:moveTo>
                  <a:cubicBezTo>
                    <a:pt x="-231" y="11282"/>
                    <a:pt x="378" y="12149"/>
                    <a:pt x="1283" y="12577"/>
                  </a:cubicBezTo>
                  <a:lnTo>
                    <a:pt x="3569" y="13911"/>
                  </a:lnTo>
                  <a:lnTo>
                    <a:pt x="13856" y="19816"/>
                  </a:lnTo>
                  <a:cubicBezTo>
                    <a:pt x="16275" y="21054"/>
                    <a:pt x="19152" y="21054"/>
                    <a:pt x="21571" y="19816"/>
                  </a:cubicBezTo>
                  <a:lnTo>
                    <a:pt x="31858" y="13911"/>
                  </a:lnTo>
                  <a:lnTo>
                    <a:pt x="34144" y="12577"/>
                  </a:lnTo>
                  <a:cubicBezTo>
                    <a:pt x="35049" y="12149"/>
                    <a:pt x="35659" y="11282"/>
                    <a:pt x="35764" y="10291"/>
                  </a:cubicBezTo>
                  <a:cubicBezTo>
                    <a:pt x="35649" y="9329"/>
                    <a:pt x="35030" y="8491"/>
                    <a:pt x="34144" y="8101"/>
                  </a:cubicBezTo>
                  <a:lnTo>
                    <a:pt x="21571" y="766"/>
                  </a:lnTo>
                  <a:cubicBezTo>
                    <a:pt x="19152" y="-472"/>
                    <a:pt x="16275" y="-472"/>
                    <a:pt x="13856" y="766"/>
                  </a:cubicBezTo>
                  <a:lnTo>
                    <a:pt x="1283" y="8101"/>
                  </a:lnTo>
                  <a:cubicBezTo>
                    <a:pt x="397" y="8491"/>
                    <a:pt x="-222"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673" name="ïṧļiḑè">
              <a:extLst>
                <a:ext uri="{FF2B5EF4-FFF2-40B4-BE49-F238E27FC236}">
                  <a16:creationId xmlns:a16="http://schemas.microsoft.com/office/drawing/2014/main" id="{2601025A-5EBB-497B-9C89-F1E7AED59B3B}"/>
                </a:ext>
              </a:extLst>
            </p:cNvPr>
            <p:cNvSpPr/>
            <p:nvPr/>
          </p:nvSpPr>
          <p:spPr>
            <a:xfrm>
              <a:off x="6039729" y="5193834"/>
              <a:ext cx="105679" cy="61104"/>
            </a:xfrm>
            <a:custGeom>
              <a:avLst/>
              <a:gdLst>
                <a:gd name="connsiteX0" fmla="*/ 1164 w 34718"/>
                <a:gd name="connsiteY0" fmla="*/ 12006 h 20074"/>
                <a:gd name="connsiteX1" fmla="*/ 13260 w 34718"/>
                <a:gd name="connsiteY1" fmla="*/ 19054 h 20074"/>
                <a:gd name="connsiteX2" fmla="*/ 20690 w 34718"/>
                <a:gd name="connsiteY2" fmla="*/ 19054 h 20074"/>
                <a:gd name="connsiteX3" fmla="*/ 32882 w 34718"/>
                <a:gd name="connsiteY3" fmla="*/ 12006 h 20074"/>
                <a:gd name="connsiteX4" fmla="*/ 32882 w 34718"/>
                <a:gd name="connsiteY4" fmla="*/ 7719 h 20074"/>
                <a:gd name="connsiteX5" fmla="*/ 20690 w 34718"/>
                <a:gd name="connsiteY5" fmla="*/ 766 h 20074"/>
                <a:gd name="connsiteX6" fmla="*/ 13260 w 34718"/>
                <a:gd name="connsiteY6" fmla="*/ 766 h 20074"/>
                <a:gd name="connsiteX7" fmla="*/ 1164 w 34718"/>
                <a:gd name="connsiteY7" fmla="*/ 7719 h 20074"/>
                <a:gd name="connsiteX8" fmla="*/ 1164 w 34718"/>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18" h="20074">
                  <a:moveTo>
                    <a:pt x="1164" y="12006"/>
                  </a:moveTo>
                  <a:lnTo>
                    <a:pt x="13260" y="19054"/>
                  </a:lnTo>
                  <a:cubicBezTo>
                    <a:pt x="15604" y="20197"/>
                    <a:pt x="18347" y="20197"/>
                    <a:pt x="20690" y="19054"/>
                  </a:cubicBezTo>
                  <a:lnTo>
                    <a:pt x="32882" y="12006"/>
                  </a:lnTo>
                  <a:cubicBezTo>
                    <a:pt x="34882" y="10863"/>
                    <a:pt x="34882" y="8957"/>
                    <a:pt x="32882" y="7719"/>
                  </a:cubicBezTo>
                  <a:lnTo>
                    <a:pt x="20690" y="766"/>
                  </a:lnTo>
                  <a:cubicBezTo>
                    <a:pt x="18366" y="-472"/>
                    <a:pt x="15585" y="-472"/>
                    <a:pt x="13260" y="766"/>
                  </a:cubicBezTo>
                  <a:lnTo>
                    <a:pt x="1164" y="7719"/>
                  </a:lnTo>
                  <a:cubicBezTo>
                    <a:pt x="-836" y="8957"/>
                    <a:pt x="-836" y="10863"/>
                    <a:pt x="1164" y="12006"/>
                  </a:cubicBezTo>
                  <a:close/>
                </a:path>
              </a:pathLst>
            </a:custGeom>
            <a:solidFill>
              <a:srgbClr val="D1D9E8"/>
            </a:solidFill>
            <a:ln w="9525" cap="flat">
              <a:noFill/>
              <a:prstDash val="solid"/>
              <a:miter/>
            </a:ln>
          </p:spPr>
          <p:txBody>
            <a:bodyPr rtlCol="0" anchor="ctr"/>
            <a:lstStyle/>
            <a:p>
              <a:endParaRPr lang="zh-CN" altLang="en-US"/>
            </a:p>
          </p:txBody>
        </p:sp>
        <p:sp>
          <p:nvSpPr>
            <p:cNvPr id="674" name="íṧľiḍe">
              <a:extLst>
                <a:ext uri="{FF2B5EF4-FFF2-40B4-BE49-F238E27FC236}">
                  <a16:creationId xmlns:a16="http://schemas.microsoft.com/office/drawing/2014/main" id="{F054CE81-D558-407B-9AE3-7056834DF129}"/>
                </a:ext>
              </a:extLst>
            </p:cNvPr>
            <p:cNvSpPr/>
            <p:nvPr/>
          </p:nvSpPr>
          <p:spPr>
            <a:xfrm>
              <a:off x="6037625" y="5224492"/>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4 w 36099"/>
                <a:gd name="connsiteY6" fmla="*/ 6981 h 17597"/>
                <a:gd name="connsiteX7" fmla="*/ 35764 w 36099"/>
                <a:gd name="connsiteY7" fmla="*/ -163 h 17597"/>
                <a:gd name="connsiteX8" fmla="*/ 34144 w 36099"/>
                <a:gd name="connsiteY8" fmla="*/ 2124 h 17597"/>
                <a:gd name="connsiteX9" fmla="*/ 31858 w 36099"/>
                <a:gd name="connsiteY9" fmla="*/ 3457 h 17597"/>
                <a:gd name="connsiteX10" fmla="*/ 21571 w 36099"/>
                <a:gd name="connsiteY10" fmla="*/ 9362 h 17597"/>
                <a:gd name="connsiteX11" fmla="*/ 13856 w 36099"/>
                <a:gd name="connsiteY11" fmla="*/ 9362 h 17597"/>
                <a:gd name="connsiteX12" fmla="*/ 3569 w 36099"/>
                <a:gd name="connsiteY12" fmla="*/ 3457 h 17597"/>
                <a:gd name="connsiteX13" fmla="*/ 1283 w 36099"/>
                <a:gd name="connsiteY13" fmla="*/ 2124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03" y="8029"/>
                    <a:pt x="407" y="8858"/>
                    <a:pt x="1283" y="9267"/>
                  </a:cubicBezTo>
                  <a:lnTo>
                    <a:pt x="13856" y="16506"/>
                  </a:lnTo>
                  <a:cubicBezTo>
                    <a:pt x="16275" y="17744"/>
                    <a:pt x="19152" y="17744"/>
                    <a:pt x="21571" y="16506"/>
                  </a:cubicBezTo>
                  <a:lnTo>
                    <a:pt x="34144" y="9267"/>
                  </a:lnTo>
                  <a:cubicBezTo>
                    <a:pt x="35030" y="8829"/>
                    <a:pt x="35640" y="7972"/>
                    <a:pt x="35764" y="6981"/>
                  </a:cubicBezTo>
                  <a:lnTo>
                    <a:pt x="35764" y="-163"/>
                  </a:lnTo>
                  <a:cubicBezTo>
                    <a:pt x="35659" y="828"/>
                    <a:pt x="35049" y="1695"/>
                    <a:pt x="34144" y="2124"/>
                  </a:cubicBezTo>
                  <a:lnTo>
                    <a:pt x="31858" y="3457"/>
                  </a:lnTo>
                  <a:lnTo>
                    <a:pt x="21571" y="9362"/>
                  </a:lnTo>
                  <a:cubicBezTo>
                    <a:pt x="19152" y="10601"/>
                    <a:pt x="16275" y="10601"/>
                    <a:pt x="13856" y="9362"/>
                  </a:cubicBezTo>
                  <a:lnTo>
                    <a:pt x="3569" y="3457"/>
                  </a:lnTo>
                  <a:lnTo>
                    <a:pt x="1283" y="2124"/>
                  </a:lnTo>
                  <a:cubicBezTo>
                    <a:pt x="378" y="1695"/>
                    <a:pt x="-231"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75" name="îṣ1ïḍé">
              <a:extLst>
                <a:ext uri="{FF2B5EF4-FFF2-40B4-BE49-F238E27FC236}">
                  <a16:creationId xmlns:a16="http://schemas.microsoft.com/office/drawing/2014/main" id="{D8C151B5-9B97-401A-B8D4-A061285543E6}"/>
                </a:ext>
              </a:extLst>
            </p:cNvPr>
            <p:cNvSpPr/>
            <p:nvPr/>
          </p:nvSpPr>
          <p:spPr>
            <a:xfrm>
              <a:off x="6115038" y="5237322"/>
              <a:ext cx="109594" cy="63588"/>
            </a:xfrm>
            <a:custGeom>
              <a:avLst/>
              <a:gdLst>
                <a:gd name="connsiteX0" fmla="*/ -336 w 36004"/>
                <a:gd name="connsiteY0" fmla="*/ 10291 h 20890"/>
                <a:gd name="connsiteX1" fmla="*/ 1188 w 36004"/>
                <a:gd name="connsiteY1" fmla="*/ 12577 h 20890"/>
                <a:gd name="connsiteX2" fmla="*/ 3569 w 36004"/>
                <a:gd name="connsiteY2" fmla="*/ 13911 h 20890"/>
                <a:gd name="connsiteX3" fmla="*/ 13856 w 36004"/>
                <a:gd name="connsiteY3" fmla="*/ 19721 h 20890"/>
                <a:gd name="connsiteX4" fmla="*/ 21476 w 36004"/>
                <a:gd name="connsiteY4" fmla="*/ 19721 h 20890"/>
                <a:gd name="connsiteX5" fmla="*/ 31763 w 36004"/>
                <a:gd name="connsiteY5" fmla="*/ 13911 h 20890"/>
                <a:gd name="connsiteX6" fmla="*/ 34144 w 36004"/>
                <a:gd name="connsiteY6" fmla="*/ 12577 h 20890"/>
                <a:gd name="connsiteX7" fmla="*/ 35668 w 36004"/>
                <a:gd name="connsiteY7" fmla="*/ 10291 h 20890"/>
                <a:gd name="connsiteX8" fmla="*/ 34144 w 36004"/>
                <a:gd name="connsiteY8" fmla="*/ 8100 h 20890"/>
                <a:gd name="connsiteX9" fmla="*/ 21476 w 36004"/>
                <a:gd name="connsiteY9" fmla="*/ 766 h 20890"/>
                <a:gd name="connsiteX10" fmla="*/ 13856 w 36004"/>
                <a:gd name="connsiteY10" fmla="*/ 766 h 20890"/>
                <a:gd name="connsiteX11" fmla="*/ 1188 w 36004"/>
                <a:gd name="connsiteY11" fmla="*/ 8100 h 20890"/>
                <a:gd name="connsiteX12" fmla="*/ -336 w 36004"/>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291"/>
                  </a:moveTo>
                  <a:cubicBezTo>
                    <a:pt x="-270" y="11272"/>
                    <a:pt x="311" y="12139"/>
                    <a:pt x="1188" y="12577"/>
                  </a:cubicBezTo>
                  <a:lnTo>
                    <a:pt x="3569" y="13911"/>
                  </a:lnTo>
                  <a:lnTo>
                    <a:pt x="13856" y="19721"/>
                  </a:lnTo>
                  <a:cubicBezTo>
                    <a:pt x="16218" y="21064"/>
                    <a:pt x="19114" y="21064"/>
                    <a:pt x="21476" y="19721"/>
                  </a:cubicBezTo>
                  <a:lnTo>
                    <a:pt x="31763" y="13911"/>
                  </a:lnTo>
                  <a:lnTo>
                    <a:pt x="34144" y="12577"/>
                  </a:lnTo>
                  <a:cubicBezTo>
                    <a:pt x="35021" y="12139"/>
                    <a:pt x="35601" y="11272"/>
                    <a:pt x="35668" y="10291"/>
                  </a:cubicBezTo>
                  <a:cubicBezTo>
                    <a:pt x="35630" y="9329"/>
                    <a:pt x="35039" y="8472"/>
                    <a:pt x="34144" y="8100"/>
                  </a:cubicBezTo>
                  <a:lnTo>
                    <a:pt x="21476" y="766"/>
                  </a:lnTo>
                  <a:cubicBezTo>
                    <a:pt x="19085" y="-472"/>
                    <a:pt x="16247" y="-472"/>
                    <a:pt x="13856" y="766"/>
                  </a:cubicBezTo>
                  <a:lnTo>
                    <a:pt x="1188" y="8100"/>
                  </a:lnTo>
                  <a:cubicBezTo>
                    <a:pt x="292" y="8472"/>
                    <a:pt x="-298"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676" name="íšḷiḑe">
              <a:extLst>
                <a:ext uri="{FF2B5EF4-FFF2-40B4-BE49-F238E27FC236}">
                  <a16:creationId xmlns:a16="http://schemas.microsoft.com/office/drawing/2014/main" id="{1037291F-0716-424B-A57C-00E4980973B9}"/>
                </a:ext>
              </a:extLst>
            </p:cNvPr>
            <p:cNvSpPr/>
            <p:nvPr/>
          </p:nvSpPr>
          <p:spPr>
            <a:xfrm>
              <a:off x="6116923" y="5238482"/>
              <a:ext cx="105825" cy="61101"/>
            </a:xfrm>
            <a:custGeom>
              <a:avLst/>
              <a:gdLst>
                <a:gd name="connsiteX0" fmla="*/ 1235 w 34766"/>
                <a:gd name="connsiteY0" fmla="*/ 12006 h 20073"/>
                <a:gd name="connsiteX1" fmla="*/ 13332 w 34766"/>
                <a:gd name="connsiteY1" fmla="*/ 19054 h 20073"/>
                <a:gd name="connsiteX2" fmla="*/ 20762 w 34766"/>
                <a:gd name="connsiteY2" fmla="*/ 19054 h 20073"/>
                <a:gd name="connsiteX3" fmla="*/ 32858 w 34766"/>
                <a:gd name="connsiteY3" fmla="*/ 12006 h 20073"/>
                <a:gd name="connsiteX4" fmla="*/ 32858 w 34766"/>
                <a:gd name="connsiteY4" fmla="*/ 7719 h 20073"/>
                <a:gd name="connsiteX5" fmla="*/ 20762 w 34766"/>
                <a:gd name="connsiteY5" fmla="*/ 766 h 20073"/>
                <a:gd name="connsiteX6" fmla="*/ 13332 w 34766"/>
                <a:gd name="connsiteY6" fmla="*/ 766 h 20073"/>
                <a:gd name="connsiteX7" fmla="*/ 1235 w 34766"/>
                <a:gd name="connsiteY7" fmla="*/ 7719 h 20073"/>
                <a:gd name="connsiteX8" fmla="*/ 1235 w 34766"/>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6" h="20073">
                  <a:moveTo>
                    <a:pt x="1235" y="12006"/>
                  </a:moveTo>
                  <a:lnTo>
                    <a:pt x="13332" y="19054"/>
                  </a:lnTo>
                  <a:cubicBezTo>
                    <a:pt x="15675" y="20197"/>
                    <a:pt x="18419" y="20197"/>
                    <a:pt x="20762" y="19054"/>
                  </a:cubicBezTo>
                  <a:lnTo>
                    <a:pt x="32858" y="12006"/>
                  </a:lnTo>
                  <a:cubicBezTo>
                    <a:pt x="34954" y="10863"/>
                    <a:pt x="34954" y="8957"/>
                    <a:pt x="32858" y="7719"/>
                  </a:cubicBezTo>
                  <a:lnTo>
                    <a:pt x="20762" y="766"/>
                  </a:lnTo>
                  <a:cubicBezTo>
                    <a:pt x="18437" y="-472"/>
                    <a:pt x="15656" y="-472"/>
                    <a:pt x="13332" y="766"/>
                  </a:cubicBezTo>
                  <a:lnTo>
                    <a:pt x="1235" y="7719"/>
                  </a:lnTo>
                  <a:cubicBezTo>
                    <a:pt x="-860" y="8957"/>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677" name="îSḻíḑé">
              <a:extLst>
                <a:ext uri="{FF2B5EF4-FFF2-40B4-BE49-F238E27FC236}">
                  <a16:creationId xmlns:a16="http://schemas.microsoft.com/office/drawing/2014/main" id="{CDE79BD5-D885-4BA8-BD04-3A9194680DED}"/>
                </a:ext>
              </a:extLst>
            </p:cNvPr>
            <p:cNvSpPr/>
            <p:nvPr/>
          </p:nvSpPr>
          <p:spPr>
            <a:xfrm>
              <a:off x="6115038" y="5268854"/>
              <a:ext cx="109594" cy="53564"/>
            </a:xfrm>
            <a:custGeom>
              <a:avLst/>
              <a:gdLst>
                <a:gd name="connsiteX0" fmla="*/ -336 w 36004"/>
                <a:gd name="connsiteY0" fmla="*/ -67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4 h 17597"/>
                <a:gd name="connsiteX9" fmla="*/ 31763 w 36004"/>
                <a:gd name="connsiteY9" fmla="*/ 3457 h 17597"/>
                <a:gd name="connsiteX10" fmla="*/ 21476 w 36004"/>
                <a:gd name="connsiteY10" fmla="*/ 9267 h 17597"/>
                <a:gd name="connsiteX11" fmla="*/ 13856 w 36004"/>
                <a:gd name="connsiteY11" fmla="*/ 9267 h 17597"/>
                <a:gd name="connsiteX12" fmla="*/ 3569 w 36004"/>
                <a:gd name="connsiteY12" fmla="*/ 3457 h 17597"/>
                <a:gd name="connsiteX13" fmla="*/ 1188 w 36004"/>
                <a:gd name="connsiteY13" fmla="*/ 2124 h 17597"/>
                <a:gd name="connsiteX14" fmla="*/ -336 w 36004"/>
                <a:gd name="connsiteY14" fmla="*/ -67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67"/>
                  </a:moveTo>
                  <a:lnTo>
                    <a:pt x="-336" y="7076"/>
                  </a:lnTo>
                  <a:cubicBezTo>
                    <a:pt x="-241" y="8019"/>
                    <a:pt x="340" y="8848"/>
                    <a:pt x="1188" y="9267"/>
                  </a:cubicBezTo>
                  <a:lnTo>
                    <a:pt x="13856" y="16506"/>
                  </a:lnTo>
                  <a:cubicBezTo>
                    <a:pt x="16247" y="17744"/>
                    <a:pt x="19085" y="17744"/>
                    <a:pt x="21476" y="16506"/>
                  </a:cubicBezTo>
                  <a:lnTo>
                    <a:pt x="34144" y="9267"/>
                  </a:lnTo>
                  <a:cubicBezTo>
                    <a:pt x="35011" y="8820"/>
                    <a:pt x="35582" y="7953"/>
                    <a:pt x="35668" y="6981"/>
                  </a:cubicBezTo>
                  <a:lnTo>
                    <a:pt x="35668" y="-163"/>
                  </a:lnTo>
                  <a:cubicBezTo>
                    <a:pt x="35601" y="818"/>
                    <a:pt x="35021" y="1685"/>
                    <a:pt x="34144" y="2124"/>
                  </a:cubicBezTo>
                  <a:lnTo>
                    <a:pt x="31763" y="3457"/>
                  </a:lnTo>
                  <a:lnTo>
                    <a:pt x="21476" y="9267"/>
                  </a:lnTo>
                  <a:cubicBezTo>
                    <a:pt x="19114" y="10610"/>
                    <a:pt x="16218" y="10610"/>
                    <a:pt x="13856" y="9267"/>
                  </a:cubicBezTo>
                  <a:lnTo>
                    <a:pt x="3569" y="3457"/>
                  </a:lnTo>
                  <a:lnTo>
                    <a:pt x="1188" y="2124"/>
                  </a:lnTo>
                  <a:cubicBezTo>
                    <a:pt x="340" y="1704"/>
                    <a:pt x="-241" y="876"/>
                    <a:pt x="-336" y="-67"/>
                  </a:cubicBezTo>
                  <a:close/>
                </a:path>
              </a:pathLst>
            </a:custGeom>
            <a:solidFill>
              <a:srgbClr val="BF4200"/>
            </a:solidFill>
            <a:ln w="9525" cap="flat">
              <a:noFill/>
              <a:prstDash val="solid"/>
              <a:miter/>
            </a:ln>
          </p:spPr>
          <p:txBody>
            <a:bodyPr rtlCol="0" anchor="ctr"/>
            <a:lstStyle/>
            <a:p>
              <a:endParaRPr lang="zh-CN" altLang="en-US"/>
            </a:p>
          </p:txBody>
        </p:sp>
        <p:sp>
          <p:nvSpPr>
            <p:cNvPr id="678" name="iš1íḋe">
              <a:extLst>
                <a:ext uri="{FF2B5EF4-FFF2-40B4-BE49-F238E27FC236}">
                  <a16:creationId xmlns:a16="http://schemas.microsoft.com/office/drawing/2014/main" id="{DC56CF55-22A2-4E42-BA2B-9663F7CCB87B}"/>
                </a:ext>
              </a:extLst>
            </p:cNvPr>
            <p:cNvSpPr/>
            <p:nvPr/>
          </p:nvSpPr>
          <p:spPr>
            <a:xfrm>
              <a:off x="6193030" y="5281879"/>
              <a:ext cx="197152" cy="113892"/>
            </a:xfrm>
            <a:custGeom>
              <a:avLst/>
              <a:gdLst>
                <a:gd name="connsiteX0" fmla="*/ -336 w 64769"/>
                <a:gd name="connsiteY0" fmla="*/ 10227 h 37416"/>
                <a:gd name="connsiteX1" fmla="*/ 1188 w 64769"/>
                <a:gd name="connsiteY1" fmla="*/ 12513 h 37416"/>
                <a:gd name="connsiteX2" fmla="*/ 3569 w 64769"/>
                <a:gd name="connsiteY2" fmla="*/ 13846 h 37416"/>
                <a:gd name="connsiteX3" fmla="*/ 42431 w 64769"/>
                <a:gd name="connsiteY3" fmla="*/ 36325 h 37416"/>
                <a:gd name="connsiteX4" fmla="*/ 50241 w 64769"/>
                <a:gd name="connsiteY4" fmla="*/ 36325 h 37416"/>
                <a:gd name="connsiteX5" fmla="*/ 60433 w 64769"/>
                <a:gd name="connsiteY5" fmla="*/ 30420 h 37416"/>
                <a:gd name="connsiteX6" fmla="*/ 62814 w 64769"/>
                <a:gd name="connsiteY6" fmla="*/ 28991 h 37416"/>
                <a:gd name="connsiteX7" fmla="*/ 64434 w 64769"/>
                <a:gd name="connsiteY7" fmla="*/ 27372 h 37416"/>
                <a:gd name="connsiteX8" fmla="*/ 64434 w 64769"/>
                <a:gd name="connsiteY8" fmla="*/ 26229 h 37416"/>
                <a:gd name="connsiteX9" fmla="*/ 62814 w 64769"/>
                <a:gd name="connsiteY9" fmla="*/ 24514 h 37416"/>
                <a:gd name="connsiteX10" fmla="*/ 21476 w 64769"/>
                <a:gd name="connsiteY10" fmla="*/ 702 h 37416"/>
                <a:gd name="connsiteX11" fmla="*/ 13856 w 64769"/>
                <a:gd name="connsiteY11" fmla="*/ 702 h 37416"/>
                <a:gd name="connsiteX12" fmla="*/ 1188 w 64769"/>
                <a:gd name="connsiteY12" fmla="*/ 8036 h 37416"/>
                <a:gd name="connsiteX13" fmla="*/ -336 w 64769"/>
                <a:gd name="connsiteY13" fmla="*/ 10227 h 37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4769" h="37416">
                  <a:moveTo>
                    <a:pt x="-336" y="10227"/>
                  </a:moveTo>
                  <a:cubicBezTo>
                    <a:pt x="-270" y="11208"/>
                    <a:pt x="311" y="12075"/>
                    <a:pt x="1188" y="12513"/>
                  </a:cubicBezTo>
                  <a:lnTo>
                    <a:pt x="3569" y="13846"/>
                  </a:lnTo>
                  <a:lnTo>
                    <a:pt x="42431" y="36325"/>
                  </a:lnTo>
                  <a:cubicBezTo>
                    <a:pt x="44888" y="37563"/>
                    <a:pt x="47784" y="37563"/>
                    <a:pt x="50241" y="36325"/>
                  </a:cubicBezTo>
                  <a:lnTo>
                    <a:pt x="60433" y="30420"/>
                  </a:lnTo>
                  <a:lnTo>
                    <a:pt x="62814" y="28991"/>
                  </a:lnTo>
                  <a:cubicBezTo>
                    <a:pt x="63529" y="28658"/>
                    <a:pt x="64100" y="28086"/>
                    <a:pt x="64434" y="27372"/>
                  </a:cubicBezTo>
                  <a:lnTo>
                    <a:pt x="64434" y="26229"/>
                  </a:lnTo>
                  <a:cubicBezTo>
                    <a:pt x="64024" y="25543"/>
                    <a:pt x="63472" y="24962"/>
                    <a:pt x="62814" y="24514"/>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679" name="ïṡḷîḑé">
              <a:extLst>
                <a:ext uri="{FF2B5EF4-FFF2-40B4-BE49-F238E27FC236}">
                  <a16:creationId xmlns:a16="http://schemas.microsoft.com/office/drawing/2014/main" id="{78B57CDF-5E88-4107-997B-E4B49BD1AAAB}"/>
                </a:ext>
              </a:extLst>
            </p:cNvPr>
            <p:cNvSpPr/>
            <p:nvPr/>
          </p:nvSpPr>
          <p:spPr>
            <a:xfrm>
              <a:off x="6194336" y="5282771"/>
              <a:ext cx="193168" cy="111545"/>
            </a:xfrm>
            <a:custGeom>
              <a:avLst/>
              <a:gdLst>
                <a:gd name="connsiteX0" fmla="*/ 42193 w 63460"/>
                <a:gd name="connsiteY0" fmla="*/ 35651 h 36645"/>
                <a:gd name="connsiteX1" fmla="*/ 1235 w 63460"/>
                <a:gd name="connsiteY1" fmla="*/ 12029 h 36645"/>
                <a:gd name="connsiteX2" fmla="*/ 1235 w 63460"/>
                <a:gd name="connsiteY2" fmla="*/ 7743 h 36645"/>
                <a:gd name="connsiteX3" fmla="*/ 13332 w 63460"/>
                <a:gd name="connsiteY3" fmla="*/ 695 h 36645"/>
                <a:gd name="connsiteX4" fmla="*/ 20761 w 63460"/>
                <a:gd name="connsiteY4" fmla="*/ 695 h 36645"/>
                <a:gd name="connsiteX5" fmla="*/ 61624 w 63460"/>
                <a:gd name="connsiteY5" fmla="*/ 24317 h 36645"/>
                <a:gd name="connsiteX6" fmla="*/ 61624 w 63460"/>
                <a:gd name="connsiteY6" fmla="*/ 28603 h 36645"/>
                <a:gd name="connsiteX7" fmla="*/ 49432 w 63460"/>
                <a:gd name="connsiteY7" fmla="*/ 35556 h 36645"/>
                <a:gd name="connsiteX8" fmla="*/ 42193 w 63460"/>
                <a:gd name="connsiteY8" fmla="*/ 35651 h 36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3460" h="36645">
                  <a:moveTo>
                    <a:pt x="42193" y="35651"/>
                  </a:moveTo>
                  <a:lnTo>
                    <a:pt x="1235" y="12029"/>
                  </a:lnTo>
                  <a:cubicBezTo>
                    <a:pt x="-860" y="10791"/>
                    <a:pt x="-860" y="8886"/>
                    <a:pt x="1235" y="7743"/>
                  </a:cubicBezTo>
                  <a:lnTo>
                    <a:pt x="13332" y="695"/>
                  </a:lnTo>
                  <a:cubicBezTo>
                    <a:pt x="15675" y="-448"/>
                    <a:pt x="18418" y="-448"/>
                    <a:pt x="20761" y="695"/>
                  </a:cubicBezTo>
                  <a:lnTo>
                    <a:pt x="61624" y="24317"/>
                  </a:lnTo>
                  <a:cubicBezTo>
                    <a:pt x="63624" y="25460"/>
                    <a:pt x="63624" y="27364"/>
                    <a:pt x="61624" y="28603"/>
                  </a:cubicBezTo>
                  <a:lnTo>
                    <a:pt x="49432" y="35556"/>
                  </a:lnTo>
                  <a:cubicBezTo>
                    <a:pt x="47174" y="36756"/>
                    <a:pt x="44479" y="36794"/>
                    <a:pt x="42193" y="35651"/>
                  </a:cubicBezTo>
                  <a:close/>
                </a:path>
              </a:pathLst>
            </a:custGeom>
            <a:solidFill>
              <a:srgbClr val="D1D9E8"/>
            </a:solidFill>
            <a:ln w="9525" cap="flat">
              <a:noFill/>
              <a:prstDash val="solid"/>
              <a:miter/>
            </a:ln>
          </p:spPr>
          <p:txBody>
            <a:bodyPr rtlCol="0" anchor="ctr"/>
            <a:lstStyle/>
            <a:p>
              <a:endParaRPr lang="zh-CN" altLang="en-US"/>
            </a:p>
          </p:txBody>
        </p:sp>
        <p:sp>
          <p:nvSpPr>
            <p:cNvPr id="680" name="ïšľiďè">
              <a:extLst>
                <a:ext uri="{FF2B5EF4-FFF2-40B4-BE49-F238E27FC236}">
                  <a16:creationId xmlns:a16="http://schemas.microsoft.com/office/drawing/2014/main" id="{9E09C8D2-B3D1-40DC-8B3A-94E7720F6400}"/>
                </a:ext>
              </a:extLst>
            </p:cNvPr>
            <p:cNvSpPr/>
            <p:nvPr/>
          </p:nvSpPr>
          <p:spPr>
            <a:xfrm>
              <a:off x="6193030" y="5313503"/>
              <a:ext cx="197152" cy="104011"/>
            </a:xfrm>
            <a:custGeom>
              <a:avLst/>
              <a:gdLst>
                <a:gd name="connsiteX0" fmla="*/ -336 w 64769"/>
                <a:gd name="connsiteY0" fmla="*/ -163 h 34170"/>
                <a:gd name="connsiteX1" fmla="*/ -336 w 64769"/>
                <a:gd name="connsiteY1" fmla="*/ 6981 h 34170"/>
                <a:gd name="connsiteX2" fmla="*/ 1188 w 64769"/>
                <a:gd name="connsiteY2" fmla="*/ 9267 h 34170"/>
                <a:gd name="connsiteX3" fmla="*/ 42431 w 64769"/>
                <a:gd name="connsiteY3" fmla="*/ 33080 h 34170"/>
                <a:gd name="connsiteX4" fmla="*/ 50241 w 64769"/>
                <a:gd name="connsiteY4" fmla="*/ 33080 h 34170"/>
                <a:gd name="connsiteX5" fmla="*/ 62814 w 64769"/>
                <a:gd name="connsiteY5" fmla="*/ 25841 h 34170"/>
                <a:gd name="connsiteX6" fmla="*/ 64434 w 64769"/>
                <a:gd name="connsiteY6" fmla="*/ 24126 h 34170"/>
                <a:gd name="connsiteX7" fmla="*/ 64434 w 64769"/>
                <a:gd name="connsiteY7" fmla="*/ 16982 h 34170"/>
                <a:gd name="connsiteX8" fmla="*/ 62814 w 64769"/>
                <a:gd name="connsiteY8" fmla="*/ 18602 h 34170"/>
                <a:gd name="connsiteX9" fmla="*/ 60433 w 64769"/>
                <a:gd name="connsiteY9" fmla="*/ 20030 h 34170"/>
                <a:gd name="connsiteX10" fmla="*/ 50241 w 64769"/>
                <a:gd name="connsiteY10" fmla="*/ 25936 h 34170"/>
                <a:gd name="connsiteX11" fmla="*/ 42431 w 64769"/>
                <a:gd name="connsiteY11" fmla="*/ 25936 h 34170"/>
                <a:gd name="connsiteX12" fmla="*/ 3569 w 64769"/>
                <a:gd name="connsiteY12" fmla="*/ 3457 h 34170"/>
                <a:gd name="connsiteX13" fmla="*/ 1664 w 64769"/>
                <a:gd name="connsiteY13" fmla="*/ 1933 h 34170"/>
                <a:gd name="connsiteX14" fmla="*/ -336 w 64769"/>
                <a:gd name="connsiteY14" fmla="*/ -163 h 341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4769" h="34170">
                  <a:moveTo>
                    <a:pt x="-336" y="-163"/>
                  </a:moveTo>
                  <a:lnTo>
                    <a:pt x="-336" y="6981"/>
                  </a:lnTo>
                  <a:cubicBezTo>
                    <a:pt x="-251" y="7953"/>
                    <a:pt x="321" y="8819"/>
                    <a:pt x="1188" y="9267"/>
                  </a:cubicBezTo>
                  <a:lnTo>
                    <a:pt x="42431" y="33080"/>
                  </a:lnTo>
                  <a:cubicBezTo>
                    <a:pt x="44888" y="34318"/>
                    <a:pt x="47784" y="34318"/>
                    <a:pt x="50241" y="33080"/>
                  </a:cubicBezTo>
                  <a:lnTo>
                    <a:pt x="62814" y="25841"/>
                  </a:lnTo>
                  <a:cubicBezTo>
                    <a:pt x="63472" y="25393"/>
                    <a:pt x="64024" y="24812"/>
                    <a:pt x="64434" y="24126"/>
                  </a:cubicBezTo>
                  <a:lnTo>
                    <a:pt x="64434" y="16982"/>
                  </a:lnTo>
                  <a:cubicBezTo>
                    <a:pt x="64100" y="17697"/>
                    <a:pt x="63529" y="18268"/>
                    <a:pt x="62814" y="18602"/>
                  </a:cubicBezTo>
                  <a:lnTo>
                    <a:pt x="60433" y="20030"/>
                  </a:lnTo>
                  <a:lnTo>
                    <a:pt x="50241" y="25936"/>
                  </a:lnTo>
                  <a:cubicBezTo>
                    <a:pt x="47784" y="27174"/>
                    <a:pt x="44888" y="27174"/>
                    <a:pt x="42431" y="25936"/>
                  </a:cubicBezTo>
                  <a:lnTo>
                    <a:pt x="3569" y="3457"/>
                  </a:lnTo>
                  <a:lnTo>
                    <a:pt x="1664" y="1933"/>
                  </a:lnTo>
                  <a:cubicBezTo>
                    <a:pt x="654" y="1666"/>
                    <a:pt x="-117" y="856"/>
                    <a:pt x="-336" y="-163"/>
                  </a:cubicBezTo>
                  <a:close/>
                </a:path>
              </a:pathLst>
            </a:custGeom>
            <a:solidFill>
              <a:srgbClr val="BF4200"/>
            </a:solidFill>
            <a:ln w="9525" cap="flat">
              <a:noFill/>
              <a:prstDash val="solid"/>
              <a:miter/>
            </a:ln>
          </p:spPr>
          <p:txBody>
            <a:bodyPr rtlCol="0" anchor="ctr"/>
            <a:lstStyle/>
            <a:p>
              <a:endParaRPr lang="zh-CN" altLang="en-US"/>
            </a:p>
          </p:txBody>
        </p:sp>
        <p:sp>
          <p:nvSpPr>
            <p:cNvPr id="681" name="ïsḻïdê">
              <a:extLst>
                <a:ext uri="{FF2B5EF4-FFF2-40B4-BE49-F238E27FC236}">
                  <a16:creationId xmlns:a16="http://schemas.microsoft.com/office/drawing/2014/main" id="{C1B49851-FEA6-4150-9B6E-C504E9726A6E}"/>
                </a:ext>
              </a:extLst>
            </p:cNvPr>
            <p:cNvSpPr/>
            <p:nvPr/>
          </p:nvSpPr>
          <p:spPr>
            <a:xfrm>
              <a:off x="5077942" y="4728490"/>
              <a:ext cx="197155" cy="113803"/>
            </a:xfrm>
            <a:custGeom>
              <a:avLst/>
              <a:gdLst>
                <a:gd name="connsiteX0" fmla="*/ -336 w 64770"/>
                <a:gd name="connsiteY0" fmla="*/ 10291 h 37387"/>
                <a:gd name="connsiteX1" fmla="*/ 1188 w 64770"/>
                <a:gd name="connsiteY1" fmla="*/ 12577 h 37387"/>
                <a:gd name="connsiteX2" fmla="*/ 3569 w 64770"/>
                <a:gd name="connsiteY2" fmla="*/ 13910 h 37387"/>
                <a:gd name="connsiteX3" fmla="*/ 42431 w 64770"/>
                <a:gd name="connsiteY3" fmla="*/ 36390 h 37387"/>
                <a:gd name="connsiteX4" fmla="*/ 50242 w 64770"/>
                <a:gd name="connsiteY4" fmla="*/ 36390 h 37387"/>
                <a:gd name="connsiteX5" fmla="*/ 60433 w 64770"/>
                <a:gd name="connsiteY5" fmla="*/ 30389 h 37387"/>
                <a:gd name="connsiteX6" fmla="*/ 62814 w 64770"/>
                <a:gd name="connsiteY6" fmla="*/ 29055 h 37387"/>
                <a:gd name="connsiteX7" fmla="*/ 64434 w 64770"/>
                <a:gd name="connsiteY7" fmla="*/ 27436 h 37387"/>
                <a:gd name="connsiteX8" fmla="*/ 64434 w 64770"/>
                <a:gd name="connsiteY8" fmla="*/ 26293 h 37387"/>
                <a:gd name="connsiteX9" fmla="*/ 62814 w 64770"/>
                <a:gd name="connsiteY9" fmla="*/ 24579 h 37387"/>
                <a:gd name="connsiteX10" fmla="*/ 21476 w 64770"/>
                <a:gd name="connsiteY10" fmla="*/ 766 h 37387"/>
                <a:gd name="connsiteX11" fmla="*/ 13856 w 64770"/>
                <a:gd name="connsiteY11" fmla="*/ 766 h 37387"/>
                <a:gd name="connsiteX12" fmla="*/ 1188 w 64770"/>
                <a:gd name="connsiteY12" fmla="*/ 8100 h 37387"/>
                <a:gd name="connsiteX13" fmla="*/ -336 w 64770"/>
                <a:gd name="connsiteY13" fmla="*/ 10291 h 37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4770" h="37387">
                  <a:moveTo>
                    <a:pt x="-336" y="10291"/>
                  </a:moveTo>
                  <a:cubicBezTo>
                    <a:pt x="-269" y="11272"/>
                    <a:pt x="312" y="12139"/>
                    <a:pt x="1188" y="12577"/>
                  </a:cubicBezTo>
                  <a:lnTo>
                    <a:pt x="3569" y="13910"/>
                  </a:lnTo>
                  <a:lnTo>
                    <a:pt x="42431" y="36390"/>
                  </a:lnTo>
                  <a:cubicBezTo>
                    <a:pt x="44917" y="37504"/>
                    <a:pt x="47756" y="37504"/>
                    <a:pt x="50242" y="36390"/>
                  </a:cubicBezTo>
                  <a:lnTo>
                    <a:pt x="60433" y="30389"/>
                  </a:lnTo>
                  <a:lnTo>
                    <a:pt x="62814" y="29055"/>
                  </a:lnTo>
                  <a:cubicBezTo>
                    <a:pt x="63529" y="28722"/>
                    <a:pt x="64100" y="28150"/>
                    <a:pt x="64434" y="27436"/>
                  </a:cubicBezTo>
                  <a:lnTo>
                    <a:pt x="64434" y="26293"/>
                  </a:lnTo>
                  <a:cubicBezTo>
                    <a:pt x="64081" y="25569"/>
                    <a:pt x="63510" y="24979"/>
                    <a:pt x="62814" y="24579"/>
                  </a:cubicBezTo>
                  <a:lnTo>
                    <a:pt x="21476" y="766"/>
                  </a:lnTo>
                  <a:cubicBezTo>
                    <a:pt x="19085" y="-472"/>
                    <a:pt x="16247" y="-472"/>
                    <a:pt x="13856" y="766"/>
                  </a:cubicBezTo>
                  <a:lnTo>
                    <a:pt x="1188" y="8100"/>
                  </a:lnTo>
                  <a:cubicBezTo>
                    <a:pt x="292" y="8472"/>
                    <a:pt x="-298"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682" name="íṣ1íḑé">
              <a:extLst>
                <a:ext uri="{FF2B5EF4-FFF2-40B4-BE49-F238E27FC236}">
                  <a16:creationId xmlns:a16="http://schemas.microsoft.com/office/drawing/2014/main" id="{9B53E33C-2B14-4EBF-BD57-48DE1888EA20}"/>
                </a:ext>
              </a:extLst>
            </p:cNvPr>
            <p:cNvSpPr/>
            <p:nvPr/>
          </p:nvSpPr>
          <p:spPr>
            <a:xfrm>
              <a:off x="5079829" y="4729647"/>
              <a:ext cx="193168" cy="111551"/>
            </a:xfrm>
            <a:custGeom>
              <a:avLst/>
              <a:gdLst>
                <a:gd name="connsiteX0" fmla="*/ 42002 w 63460"/>
                <a:gd name="connsiteY0" fmla="*/ 35628 h 36647"/>
                <a:gd name="connsiteX1" fmla="*/ 1235 w 63460"/>
                <a:gd name="connsiteY1" fmla="*/ 12006 h 36647"/>
                <a:gd name="connsiteX2" fmla="*/ 1235 w 63460"/>
                <a:gd name="connsiteY2" fmla="*/ 7719 h 36647"/>
                <a:gd name="connsiteX3" fmla="*/ 13332 w 63460"/>
                <a:gd name="connsiteY3" fmla="*/ 766 h 36647"/>
                <a:gd name="connsiteX4" fmla="*/ 20761 w 63460"/>
                <a:gd name="connsiteY4" fmla="*/ 766 h 36647"/>
                <a:gd name="connsiteX5" fmla="*/ 61624 w 63460"/>
                <a:gd name="connsiteY5" fmla="*/ 24293 h 36647"/>
                <a:gd name="connsiteX6" fmla="*/ 61624 w 63460"/>
                <a:gd name="connsiteY6" fmla="*/ 28579 h 36647"/>
                <a:gd name="connsiteX7" fmla="*/ 49432 w 63460"/>
                <a:gd name="connsiteY7" fmla="*/ 35628 h 36647"/>
                <a:gd name="connsiteX8" fmla="*/ 42002 w 63460"/>
                <a:gd name="connsiteY8" fmla="*/ 35628 h 366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3460" h="36647">
                  <a:moveTo>
                    <a:pt x="42002" y="35628"/>
                  </a:moveTo>
                  <a:lnTo>
                    <a:pt x="1235" y="12006"/>
                  </a:lnTo>
                  <a:cubicBezTo>
                    <a:pt x="-860" y="10863"/>
                    <a:pt x="-860" y="8958"/>
                    <a:pt x="1235" y="7719"/>
                  </a:cubicBezTo>
                  <a:lnTo>
                    <a:pt x="13332" y="766"/>
                  </a:lnTo>
                  <a:cubicBezTo>
                    <a:pt x="15656" y="-472"/>
                    <a:pt x="18437" y="-472"/>
                    <a:pt x="20761" y="766"/>
                  </a:cubicBezTo>
                  <a:lnTo>
                    <a:pt x="61624" y="24293"/>
                  </a:lnTo>
                  <a:cubicBezTo>
                    <a:pt x="63624" y="25531"/>
                    <a:pt x="63624" y="27436"/>
                    <a:pt x="61624" y="28579"/>
                  </a:cubicBezTo>
                  <a:lnTo>
                    <a:pt x="49432" y="35628"/>
                  </a:lnTo>
                  <a:cubicBezTo>
                    <a:pt x="47089" y="36771"/>
                    <a:pt x="44345" y="36771"/>
                    <a:pt x="42002" y="35628"/>
                  </a:cubicBezTo>
                  <a:close/>
                </a:path>
              </a:pathLst>
            </a:custGeom>
            <a:solidFill>
              <a:srgbClr val="D1D9E8"/>
            </a:solidFill>
            <a:ln w="9525" cap="flat">
              <a:noFill/>
              <a:prstDash val="solid"/>
              <a:miter/>
            </a:ln>
          </p:spPr>
          <p:txBody>
            <a:bodyPr rtlCol="0" anchor="ctr"/>
            <a:lstStyle/>
            <a:p>
              <a:endParaRPr lang="zh-CN" altLang="en-US"/>
            </a:p>
          </p:txBody>
        </p:sp>
        <p:sp>
          <p:nvSpPr>
            <p:cNvPr id="683" name="íşlïdé">
              <a:extLst>
                <a:ext uri="{FF2B5EF4-FFF2-40B4-BE49-F238E27FC236}">
                  <a16:creationId xmlns:a16="http://schemas.microsoft.com/office/drawing/2014/main" id="{EA9BC7D7-1709-4AB1-8AE2-3512F967DFF1}"/>
                </a:ext>
              </a:extLst>
            </p:cNvPr>
            <p:cNvSpPr/>
            <p:nvPr/>
          </p:nvSpPr>
          <p:spPr>
            <a:xfrm>
              <a:off x="5077942" y="4760308"/>
              <a:ext cx="197155" cy="104011"/>
            </a:xfrm>
            <a:custGeom>
              <a:avLst/>
              <a:gdLst>
                <a:gd name="connsiteX0" fmla="*/ -336 w 64770"/>
                <a:gd name="connsiteY0" fmla="*/ -163 h 34170"/>
                <a:gd name="connsiteX1" fmla="*/ -336 w 64770"/>
                <a:gd name="connsiteY1" fmla="*/ 6981 h 34170"/>
                <a:gd name="connsiteX2" fmla="*/ 1188 w 64770"/>
                <a:gd name="connsiteY2" fmla="*/ 9267 h 34170"/>
                <a:gd name="connsiteX3" fmla="*/ 42431 w 64770"/>
                <a:gd name="connsiteY3" fmla="*/ 33080 h 34170"/>
                <a:gd name="connsiteX4" fmla="*/ 50242 w 64770"/>
                <a:gd name="connsiteY4" fmla="*/ 33080 h 34170"/>
                <a:gd name="connsiteX5" fmla="*/ 62814 w 64770"/>
                <a:gd name="connsiteY5" fmla="*/ 25745 h 34170"/>
                <a:gd name="connsiteX6" fmla="*/ 64434 w 64770"/>
                <a:gd name="connsiteY6" fmla="*/ 24126 h 34170"/>
                <a:gd name="connsiteX7" fmla="*/ 64434 w 64770"/>
                <a:gd name="connsiteY7" fmla="*/ 16982 h 34170"/>
                <a:gd name="connsiteX8" fmla="*/ 62814 w 64770"/>
                <a:gd name="connsiteY8" fmla="*/ 18602 h 34170"/>
                <a:gd name="connsiteX9" fmla="*/ 60433 w 64770"/>
                <a:gd name="connsiteY9" fmla="*/ 19935 h 34170"/>
                <a:gd name="connsiteX10" fmla="*/ 50242 w 64770"/>
                <a:gd name="connsiteY10" fmla="*/ 25936 h 34170"/>
                <a:gd name="connsiteX11" fmla="*/ 42431 w 64770"/>
                <a:gd name="connsiteY11" fmla="*/ 25936 h 34170"/>
                <a:gd name="connsiteX12" fmla="*/ 3569 w 64770"/>
                <a:gd name="connsiteY12" fmla="*/ 3457 h 34170"/>
                <a:gd name="connsiteX13" fmla="*/ 1188 w 64770"/>
                <a:gd name="connsiteY13" fmla="*/ 2123 h 34170"/>
                <a:gd name="connsiteX14" fmla="*/ -336 w 64770"/>
                <a:gd name="connsiteY14" fmla="*/ -163 h 341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4770" h="34170">
                  <a:moveTo>
                    <a:pt x="-336" y="-163"/>
                  </a:moveTo>
                  <a:lnTo>
                    <a:pt x="-336" y="6981"/>
                  </a:lnTo>
                  <a:cubicBezTo>
                    <a:pt x="-251" y="7953"/>
                    <a:pt x="321" y="8819"/>
                    <a:pt x="1188" y="9267"/>
                  </a:cubicBezTo>
                  <a:lnTo>
                    <a:pt x="42431" y="33080"/>
                  </a:lnTo>
                  <a:cubicBezTo>
                    <a:pt x="44889" y="34318"/>
                    <a:pt x="47784" y="34318"/>
                    <a:pt x="50242" y="33080"/>
                  </a:cubicBezTo>
                  <a:lnTo>
                    <a:pt x="62814" y="25745"/>
                  </a:lnTo>
                  <a:cubicBezTo>
                    <a:pt x="63491" y="25355"/>
                    <a:pt x="64043" y="24802"/>
                    <a:pt x="64434" y="24126"/>
                  </a:cubicBezTo>
                  <a:lnTo>
                    <a:pt x="64434" y="16982"/>
                  </a:lnTo>
                  <a:cubicBezTo>
                    <a:pt x="64100" y="17697"/>
                    <a:pt x="63529" y="18268"/>
                    <a:pt x="62814" y="18602"/>
                  </a:cubicBezTo>
                  <a:lnTo>
                    <a:pt x="60433" y="19935"/>
                  </a:lnTo>
                  <a:lnTo>
                    <a:pt x="50242" y="25936"/>
                  </a:lnTo>
                  <a:cubicBezTo>
                    <a:pt x="47756" y="27050"/>
                    <a:pt x="44917" y="27050"/>
                    <a:pt x="42431" y="25936"/>
                  </a:cubicBezTo>
                  <a:lnTo>
                    <a:pt x="3569" y="3457"/>
                  </a:lnTo>
                  <a:lnTo>
                    <a:pt x="1188" y="2123"/>
                  </a:lnTo>
                  <a:cubicBezTo>
                    <a:pt x="312"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84" name="iślïďê">
              <a:extLst>
                <a:ext uri="{FF2B5EF4-FFF2-40B4-BE49-F238E27FC236}">
                  <a16:creationId xmlns:a16="http://schemas.microsoft.com/office/drawing/2014/main" id="{3D1DC968-F4F3-416F-8BB7-C3430AEC4C14}"/>
                </a:ext>
              </a:extLst>
            </p:cNvPr>
            <p:cNvSpPr/>
            <p:nvPr/>
          </p:nvSpPr>
          <p:spPr>
            <a:xfrm>
              <a:off x="5242335" y="4824456"/>
              <a:ext cx="109594" cy="63588"/>
            </a:xfrm>
            <a:custGeom>
              <a:avLst/>
              <a:gdLst>
                <a:gd name="connsiteX0" fmla="*/ -336 w 36004"/>
                <a:gd name="connsiteY0" fmla="*/ 10196 h 20890"/>
                <a:gd name="connsiteX1" fmla="*/ 1188 w 36004"/>
                <a:gd name="connsiteY1" fmla="*/ 12482 h 20890"/>
                <a:gd name="connsiteX2" fmla="*/ 3569 w 36004"/>
                <a:gd name="connsiteY2" fmla="*/ 13815 h 20890"/>
                <a:gd name="connsiteX3" fmla="*/ 13761 w 36004"/>
                <a:gd name="connsiteY3" fmla="*/ 19721 h 20890"/>
                <a:gd name="connsiteX4" fmla="*/ 21476 w 36004"/>
                <a:gd name="connsiteY4" fmla="*/ 19721 h 20890"/>
                <a:gd name="connsiteX5" fmla="*/ 31763 w 36004"/>
                <a:gd name="connsiteY5" fmla="*/ 13815 h 20890"/>
                <a:gd name="connsiteX6" fmla="*/ 34049 w 36004"/>
                <a:gd name="connsiteY6" fmla="*/ 12482 h 20890"/>
                <a:gd name="connsiteX7" fmla="*/ 35668 w 36004"/>
                <a:gd name="connsiteY7" fmla="*/ 10196 h 20890"/>
                <a:gd name="connsiteX8" fmla="*/ 34049 w 36004"/>
                <a:gd name="connsiteY8" fmla="*/ 8005 h 20890"/>
                <a:gd name="connsiteX9" fmla="*/ 21476 w 36004"/>
                <a:gd name="connsiteY9" fmla="*/ 766 h 20890"/>
                <a:gd name="connsiteX10" fmla="*/ 13761 w 36004"/>
                <a:gd name="connsiteY10" fmla="*/ 766 h 20890"/>
                <a:gd name="connsiteX11" fmla="*/ 1188 w 36004"/>
                <a:gd name="connsiteY11" fmla="*/ 8005 h 20890"/>
                <a:gd name="connsiteX12" fmla="*/ -336 w 36004"/>
                <a:gd name="connsiteY12" fmla="*/ 10196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196"/>
                  </a:moveTo>
                  <a:cubicBezTo>
                    <a:pt x="-308" y="11186"/>
                    <a:pt x="283" y="12082"/>
                    <a:pt x="1188" y="12482"/>
                  </a:cubicBezTo>
                  <a:lnTo>
                    <a:pt x="3569" y="13815"/>
                  </a:lnTo>
                  <a:lnTo>
                    <a:pt x="13761" y="19721"/>
                  </a:lnTo>
                  <a:cubicBezTo>
                    <a:pt x="16161" y="21064"/>
                    <a:pt x="19076" y="21064"/>
                    <a:pt x="21476" y="19721"/>
                  </a:cubicBezTo>
                  <a:lnTo>
                    <a:pt x="31763" y="13815"/>
                  </a:lnTo>
                  <a:lnTo>
                    <a:pt x="34049" y="12482"/>
                  </a:lnTo>
                  <a:cubicBezTo>
                    <a:pt x="34992" y="12110"/>
                    <a:pt x="35630" y="11215"/>
                    <a:pt x="35668" y="10196"/>
                  </a:cubicBezTo>
                  <a:cubicBezTo>
                    <a:pt x="35573" y="9224"/>
                    <a:pt x="34944" y="8386"/>
                    <a:pt x="34049" y="8005"/>
                  </a:cubicBezTo>
                  <a:lnTo>
                    <a:pt x="21476" y="766"/>
                  </a:lnTo>
                  <a:cubicBezTo>
                    <a:pt x="19057" y="-472"/>
                    <a:pt x="16180" y="-472"/>
                    <a:pt x="13761" y="766"/>
                  </a:cubicBezTo>
                  <a:lnTo>
                    <a:pt x="1188" y="8005"/>
                  </a:lnTo>
                  <a:cubicBezTo>
                    <a:pt x="340" y="8424"/>
                    <a:pt x="-241" y="925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685" name="îŝľiḋê">
              <a:extLst>
                <a:ext uri="{FF2B5EF4-FFF2-40B4-BE49-F238E27FC236}">
                  <a16:creationId xmlns:a16="http://schemas.microsoft.com/office/drawing/2014/main" id="{2CD46AD2-BFFA-4AF0-A818-58D68D482447}"/>
                </a:ext>
              </a:extLst>
            </p:cNvPr>
            <p:cNvSpPr/>
            <p:nvPr/>
          </p:nvSpPr>
          <p:spPr>
            <a:xfrm>
              <a:off x="5245337" y="4825038"/>
              <a:ext cx="105618" cy="61104"/>
            </a:xfrm>
            <a:custGeom>
              <a:avLst/>
              <a:gdLst>
                <a:gd name="connsiteX0" fmla="*/ 1154 w 34698"/>
                <a:gd name="connsiteY0" fmla="*/ 12006 h 20074"/>
                <a:gd name="connsiteX1" fmla="*/ 13346 w 34698"/>
                <a:gd name="connsiteY1" fmla="*/ 19054 h 20074"/>
                <a:gd name="connsiteX2" fmla="*/ 20776 w 34698"/>
                <a:gd name="connsiteY2" fmla="*/ 19054 h 20074"/>
                <a:gd name="connsiteX3" fmla="*/ 32872 w 34698"/>
                <a:gd name="connsiteY3" fmla="*/ 12006 h 20074"/>
                <a:gd name="connsiteX4" fmla="*/ 34215 w 34698"/>
                <a:gd name="connsiteY4" fmla="*/ 9062 h 20074"/>
                <a:gd name="connsiteX5" fmla="*/ 32872 w 34698"/>
                <a:gd name="connsiteY5" fmla="*/ 7719 h 20074"/>
                <a:gd name="connsiteX6" fmla="*/ 20776 w 34698"/>
                <a:gd name="connsiteY6" fmla="*/ 766 h 20074"/>
                <a:gd name="connsiteX7" fmla="*/ 13346 w 34698"/>
                <a:gd name="connsiteY7" fmla="*/ 766 h 20074"/>
                <a:gd name="connsiteX8" fmla="*/ 1154 w 34698"/>
                <a:gd name="connsiteY8" fmla="*/ 7719 h 20074"/>
                <a:gd name="connsiteX9" fmla="*/ -189 w 34698"/>
                <a:gd name="connsiteY9" fmla="*/ 10663 h 20074"/>
                <a:gd name="connsiteX10" fmla="*/ 1154 w 34698"/>
                <a:gd name="connsiteY10"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698" h="20074">
                  <a:moveTo>
                    <a:pt x="1154" y="12006"/>
                  </a:moveTo>
                  <a:lnTo>
                    <a:pt x="13346" y="19054"/>
                  </a:lnTo>
                  <a:cubicBezTo>
                    <a:pt x="15689" y="20197"/>
                    <a:pt x="18432" y="20197"/>
                    <a:pt x="20776" y="19054"/>
                  </a:cubicBezTo>
                  <a:lnTo>
                    <a:pt x="32872" y="12006"/>
                  </a:lnTo>
                  <a:cubicBezTo>
                    <a:pt x="34053" y="11567"/>
                    <a:pt x="34663" y="10253"/>
                    <a:pt x="34215" y="9062"/>
                  </a:cubicBezTo>
                  <a:cubicBezTo>
                    <a:pt x="33987" y="8443"/>
                    <a:pt x="33491" y="7948"/>
                    <a:pt x="32872" y="7719"/>
                  </a:cubicBezTo>
                  <a:lnTo>
                    <a:pt x="20776" y="766"/>
                  </a:lnTo>
                  <a:cubicBezTo>
                    <a:pt x="18451" y="-472"/>
                    <a:pt x="15670" y="-472"/>
                    <a:pt x="13346" y="766"/>
                  </a:cubicBezTo>
                  <a:lnTo>
                    <a:pt x="1154" y="7719"/>
                  </a:lnTo>
                  <a:cubicBezTo>
                    <a:pt x="-27" y="8158"/>
                    <a:pt x="-637" y="9472"/>
                    <a:pt x="-189" y="10663"/>
                  </a:cubicBezTo>
                  <a:cubicBezTo>
                    <a:pt x="40" y="11282"/>
                    <a:pt x="535" y="11777"/>
                    <a:pt x="1154" y="12006"/>
                  </a:cubicBezTo>
                  <a:close/>
                </a:path>
              </a:pathLst>
            </a:custGeom>
            <a:solidFill>
              <a:srgbClr val="D1D9E8"/>
            </a:solidFill>
            <a:ln w="9525" cap="flat">
              <a:noFill/>
              <a:prstDash val="solid"/>
              <a:miter/>
            </a:ln>
          </p:spPr>
          <p:txBody>
            <a:bodyPr rtlCol="0" anchor="ctr"/>
            <a:lstStyle/>
            <a:p>
              <a:endParaRPr lang="zh-CN" altLang="en-US"/>
            </a:p>
          </p:txBody>
        </p:sp>
        <p:sp>
          <p:nvSpPr>
            <p:cNvPr id="686" name="ïṣ1îḍé">
              <a:extLst>
                <a:ext uri="{FF2B5EF4-FFF2-40B4-BE49-F238E27FC236}">
                  <a16:creationId xmlns:a16="http://schemas.microsoft.com/office/drawing/2014/main" id="{5104BFC3-0139-48FD-95C5-6EDB188634FE}"/>
                </a:ext>
              </a:extLst>
            </p:cNvPr>
            <p:cNvSpPr/>
            <p:nvPr/>
          </p:nvSpPr>
          <p:spPr>
            <a:xfrm>
              <a:off x="5242335" y="4855988"/>
              <a:ext cx="109594" cy="53801"/>
            </a:xfrm>
            <a:custGeom>
              <a:avLst/>
              <a:gdLst>
                <a:gd name="connsiteX0" fmla="*/ -336 w 36004"/>
                <a:gd name="connsiteY0" fmla="*/ -163 h 17675"/>
                <a:gd name="connsiteX1" fmla="*/ -336 w 36004"/>
                <a:gd name="connsiteY1" fmla="*/ 7076 h 17675"/>
                <a:gd name="connsiteX2" fmla="*/ 1188 w 36004"/>
                <a:gd name="connsiteY2" fmla="*/ 9267 h 17675"/>
                <a:gd name="connsiteX3" fmla="*/ 13761 w 36004"/>
                <a:gd name="connsiteY3" fmla="*/ 16506 h 17675"/>
                <a:gd name="connsiteX4" fmla="*/ 21476 w 36004"/>
                <a:gd name="connsiteY4" fmla="*/ 16506 h 17675"/>
                <a:gd name="connsiteX5" fmla="*/ 34049 w 36004"/>
                <a:gd name="connsiteY5" fmla="*/ 9267 h 17675"/>
                <a:gd name="connsiteX6" fmla="*/ 35668 w 36004"/>
                <a:gd name="connsiteY6" fmla="*/ 7076 h 17675"/>
                <a:gd name="connsiteX7" fmla="*/ 35668 w 36004"/>
                <a:gd name="connsiteY7" fmla="*/ -163 h 17675"/>
                <a:gd name="connsiteX8" fmla="*/ 34049 w 36004"/>
                <a:gd name="connsiteY8" fmla="*/ 2123 h 17675"/>
                <a:gd name="connsiteX9" fmla="*/ 31763 w 36004"/>
                <a:gd name="connsiteY9" fmla="*/ 3457 h 17675"/>
                <a:gd name="connsiteX10" fmla="*/ 21476 w 36004"/>
                <a:gd name="connsiteY10" fmla="*/ 9362 h 17675"/>
                <a:gd name="connsiteX11" fmla="*/ 13761 w 36004"/>
                <a:gd name="connsiteY11" fmla="*/ 9362 h 17675"/>
                <a:gd name="connsiteX12" fmla="*/ 3569 w 36004"/>
                <a:gd name="connsiteY12" fmla="*/ 3457 h 17675"/>
                <a:gd name="connsiteX13" fmla="*/ 1188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98" y="8038"/>
                    <a:pt x="292" y="8896"/>
                    <a:pt x="1188" y="9267"/>
                  </a:cubicBezTo>
                  <a:lnTo>
                    <a:pt x="13761" y="16506"/>
                  </a:lnTo>
                  <a:cubicBezTo>
                    <a:pt x="16161" y="17849"/>
                    <a:pt x="19076" y="17849"/>
                    <a:pt x="21476" y="16506"/>
                  </a:cubicBezTo>
                  <a:lnTo>
                    <a:pt x="34049" y="9267"/>
                  </a:lnTo>
                  <a:cubicBezTo>
                    <a:pt x="34963" y="8905"/>
                    <a:pt x="35592" y="8058"/>
                    <a:pt x="35668" y="7076"/>
                  </a:cubicBezTo>
                  <a:lnTo>
                    <a:pt x="35668" y="-163"/>
                  </a:lnTo>
                  <a:cubicBezTo>
                    <a:pt x="35630" y="856"/>
                    <a:pt x="34992" y="1752"/>
                    <a:pt x="34049" y="2123"/>
                  </a:cubicBezTo>
                  <a:lnTo>
                    <a:pt x="31763" y="3457"/>
                  </a:lnTo>
                  <a:lnTo>
                    <a:pt x="21476" y="9362"/>
                  </a:lnTo>
                  <a:cubicBezTo>
                    <a:pt x="19076" y="10705"/>
                    <a:pt x="16161" y="10705"/>
                    <a:pt x="13761" y="9362"/>
                  </a:cubicBezTo>
                  <a:lnTo>
                    <a:pt x="3569" y="3457"/>
                  </a:lnTo>
                  <a:lnTo>
                    <a:pt x="1188" y="2123"/>
                  </a:lnTo>
                  <a:cubicBezTo>
                    <a:pt x="283" y="1723"/>
                    <a:pt x="-308"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87" name="îśḷídé">
              <a:extLst>
                <a:ext uri="{FF2B5EF4-FFF2-40B4-BE49-F238E27FC236}">
                  <a16:creationId xmlns:a16="http://schemas.microsoft.com/office/drawing/2014/main" id="{6436A32B-0D02-4123-BFE8-6B33460164D2}"/>
                </a:ext>
              </a:extLst>
            </p:cNvPr>
            <p:cNvSpPr/>
            <p:nvPr/>
          </p:nvSpPr>
          <p:spPr>
            <a:xfrm>
              <a:off x="5320619" y="4868526"/>
              <a:ext cx="109740" cy="63588"/>
            </a:xfrm>
            <a:custGeom>
              <a:avLst/>
              <a:gdLst>
                <a:gd name="connsiteX0" fmla="*/ -336 w 36052"/>
                <a:gd name="connsiteY0" fmla="*/ 10196 h 20890"/>
                <a:gd name="connsiteX1" fmla="*/ 1187 w 36052"/>
                <a:gd name="connsiteY1" fmla="*/ 12482 h 20890"/>
                <a:gd name="connsiteX2" fmla="*/ 3569 w 36052"/>
                <a:gd name="connsiteY2" fmla="*/ 13815 h 20890"/>
                <a:gd name="connsiteX3" fmla="*/ 13856 w 36052"/>
                <a:gd name="connsiteY3" fmla="*/ 19721 h 20890"/>
                <a:gd name="connsiteX4" fmla="*/ 21476 w 36052"/>
                <a:gd name="connsiteY4" fmla="*/ 19721 h 20890"/>
                <a:gd name="connsiteX5" fmla="*/ 31763 w 36052"/>
                <a:gd name="connsiteY5" fmla="*/ 13815 h 20890"/>
                <a:gd name="connsiteX6" fmla="*/ 34144 w 36052"/>
                <a:gd name="connsiteY6" fmla="*/ 12482 h 20890"/>
                <a:gd name="connsiteX7" fmla="*/ 35573 w 36052"/>
                <a:gd name="connsiteY7" fmla="*/ 9434 h 20890"/>
                <a:gd name="connsiteX8" fmla="*/ 34144 w 36052"/>
                <a:gd name="connsiteY8" fmla="*/ 8005 h 20890"/>
                <a:gd name="connsiteX9" fmla="*/ 21476 w 36052"/>
                <a:gd name="connsiteY9" fmla="*/ 766 h 20890"/>
                <a:gd name="connsiteX10" fmla="*/ 13856 w 36052"/>
                <a:gd name="connsiteY10" fmla="*/ 766 h 20890"/>
                <a:gd name="connsiteX11" fmla="*/ 1187 w 36052"/>
                <a:gd name="connsiteY11" fmla="*/ 8005 h 20890"/>
                <a:gd name="connsiteX12" fmla="*/ -336 w 36052"/>
                <a:gd name="connsiteY12" fmla="*/ 10196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90">
                  <a:moveTo>
                    <a:pt x="-336" y="10196"/>
                  </a:moveTo>
                  <a:cubicBezTo>
                    <a:pt x="-270" y="11177"/>
                    <a:pt x="311" y="12044"/>
                    <a:pt x="1187" y="12482"/>
                  </a:cubicBezTo>
                  <a:lnTo>
                    <a:pt x="3569" y="13815"/>
                  </a:lnTo>
                  <a:lnTo>
                    <a:pt x="13856" y="19721"/>
                  </a:lnTo>
                  <a:cubicBezTo>
                    <a:pt x="16218" y="21064"/>
                    <a:pt x="19114" y="21064"/>
                    <a:pt x="21476" y="19721"/>
                  </a:cubicBezTo>
                  <a:lnTo>
                    <a:pt x="31763" y="13815"/>
                  </a:lnTo>
                  <a:lnTo>
                    <a:pt x="34144" y="12482"/>
                  </a:lnTo>
                  <a:cubicBezTo>
                    <a:pt x="35382" y="12034"/>
                    <a:pt x="36020" y="10663"/>
                    <a:pt x="35573" y="9434"/>
                  </a:cubicBezTo>
                  <a:cubicBezTo>
                    <a:pt x="35325" y="8767"/>
                    <a:pt x="34811" y="8243"/>
                    <a:pt x="34144" y="8005"/>
                  </a:cubicBezTo>
                  <a:lnTo>
                    <a:pt x="21476" y="766"/>
                  </a:lnTo>
                  <a:cubicBezTo>
                    <a:pt x="19085" y="-472"/>
                    <a:pt x="16247" y="-472"/>
                    <a:pt x="13856" y="766"/>
                  </a:cubicBezTo>
                  <a:lnTo>
                    <a:pt x="1187" y="8005"/>
                  </a:lnTo>
                  <a:cubicBezTo>
                    <a:pt x="340" y="8424"/>
                    <a:pt x="-241" y="925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688" name="ïṥḻiḋé">
              <a:extLst>
                <a:ext uri="{FF2B5EF4-FFF2-40B4-BE49-F238E27FC236}">
                  <a16:creationId xmlns:a16="http://schemas.microsoft.com/office/drawing/2014/main" id="{61085068-60E7-435A-89A5-08209D0F5E53}"/>
                </a:ext>
              </a:extLst>
            </p:cNvPr>
            <p:cNvSpPr/>
            <p:nvPr/>
          </p:nvSpPr>
          <p:spPr>
            <a:xfrm>
              <a:off x="5322750" y="4869616"/>
              <a:ext cx="105618" cy="61174"/>
            </a:xfrm>
            <a:custGeom>
              <a:avLst/>
              <a:gdLst>
                <a:gd name="connsiteX0" fmla="*/ 1154 w 34698"/>
                <a:gd name="connsiteY0" fmla="*/ 12029 h 20097"/>
                <a:gd name="connsiteX1" fmla="*/ 13251 w 34698"/>
                <a:gd name="connsiteY1" fmla="*/ 19078 h 20097"/>
                <a:gd name="connsiteX2" fmla="*/ 20680 w 34698"/>
                <a:gd name="connsiteY2" fmla="*/ 19078 h 20097"/>
                <a:gd name="connsiteX3" fmla="*/ 32872 w 34698"/>
                <a:gd name="connsiteY3" fmla="*/ 12029 h 20097"/>
                <a:gd name="connsiteX4" fmla="*/ 34215 w 34698"/>
                <a:gd name="connsiteY4" fmla="*/ 9086 h 20097"/>
                <a:gd name="connsiteX5" fmla="*/ 32872 w 34698"/>
                <a:gd name="connsiteY5" fmla="*/ 7743 h 20097"/>
                <a:gd name="connsiteX6" fmla="*/ 20680 w 34698"/>
                <a:gd name="connsiteY6" fmla="*/ 695 h 20097"/>
                <a:gd name="connsiteX7" fmla="*/ 13251 w 34698"/>
                <a:gd name="connsiteY7" fmla="*/ 695 h 20097"/>
                <a:gd name="connsiteX8" fmla="*/ 1154 w 34698"/>
                <a:gd name="connsiteY8" fmla="*/ 7743 h 20097"/>
                <a:gd name="connsiteX9" fmla="*/ -189 w 34698"/>
                <a:gd name="connsiteY9" fmla="*/ 10677 h 20097"/>
                <a:gd name="connsiteX10" fmla="*/ 1154 w 34698"/>
                <a:gd name="connsiteY10" fmla="*/ 12029 h 20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698" h="20097">
                  <a:moveTo>
                    <a:pt x="1154" y="12029"/>
                  </a:moveTo>
                  <a:lnTo>
                    <a:pt x="13251" y="19078"/>
                  </a:lnTo>
                  <a:cubicBezTo>
                    <a:pt x="15594" y="20221"/>
                    <a:pt x="18337" y="20221"/>
                    <a:pt x="20680" y="19078"/>
                  </a:cubicBezTo>
                  <a:lnTo>
                    <a:pt x="32872" y="12029"/>
                  </a:lnTo>
                  <a:cubicBezTo>
                    <a:pt x="34053" y="11591"/>
                    <a:pt x="34663" y="10277"/>
                    <a:pt x="34215" y="9086"/>
                  </a:cubicBezTo>
                  <a:cubicBezTo>
                    <a:pt x="33987" y="8467"/>
                    <a:pt x="33501" y="7972"/>
                    <a:pt x="32872" y="7743"/>
                  </a:cubicBezTo>
                  <a:lnTo>
                    <a:pt x="20680" y="695"/>
                  </a:lnTo>
                  <a:cubicBezTo>
                    <a:pt x="18337" y="-448"/>
                    <a:pt x="15594" y="-448"/>
                    <a:pt x="13251" y="695"/>
                  </a:cubicBezTo>
                  <a:lnTo>
                    <a:pt x="1154" y="7743"/>
                  </a:lnTo>
                  <a:cubicBezTo>
                    <a:pt x="-27" y="8181"/>
                    <a:pt x="-637" y="9496"/>
                    <a:pt x="-189" y="10677"/>
                  </a:cubicBezTo>
                  <a:cubicBezTo>
                    <a:pt x="39" y="11306"/>
                    <a:pt x="535" y="11801"/>
                    <a:pt x="1154" y="12029"/>
                  </a:cubicBezTo>
                  <a:close/>
                </a:path>
              </a:pathLst>
            </a:custGeom>
            <a:solidFill>
              <a:srgbClr val="D1D9E8"/>
            </a:solidFill>
            <a:ln w="9525" cap="flat">
              <a:noFill/>
              <a:prstDash val="solid"/>
              <a:miter/>
            </a:ln>
          </p:spPr>
          <p:txBody>
            <a:bodyPr rtlCol="0" anchor="ctr"/>
            <a:lstStyle/>
            <a:p>
              <a:endParaRPr lang="zh-CN" altLang="en-US"/>
            </a:p>
          </p:txBody>
        </p:sp>
        <p:sp>
          <p:nvSpPr>
            <p:cNvPr id="689" name="ísḷïdé">
              <a:extLst>
                <a:ext uri="{FF2B5EF4-FFF2-40B4-BE49-F238E27FC236}">
                  <a16:creationId xmlns:a16="http://schemas.microsoft.com/office/drawing/2014/main" id="{53144D4E-1884-4F2D-A03B-01E3343AB803}"/>
                </a:ext>
              </a:extLst>
            </p:cNvPr>
            <p:cNvSpPr/>
            <p:nvPr/>
          </p:nvSpPr>
          <p:spPr>
            <a:xfrm>
              <a:off x="5320619" y="4900058"/>
              <a:ext cx="109594" cy="53804"/>
            </a:xfrm>
            <a:custGeom>
              <a:avLst/>
              <a:gdLst>
                <a:gd name="connsiteX0" fmla="*/ -336 w 36004"/>
                <a:gd name="connsiteY0" fmla="*/ -163 h 17676"/>
                <a:gd name="connsiteX1" fmla="*/ -336 w 36004"/>
                <a:gd name="connsiteY1" fmla="*/ 7076 h 17676"/>
                <a:gd name="connsiteX2" fmla="*/ 1187 w 36004"/>
                <a:gd name="connsiteY2" fmla="*/ 9267 h 17676"/>
                <a:gd name="connsiteX3" fmla="*/ 13856 w 36004"/>
                <a:gd name="connsiteY3" fmla="*/ 16506 h 17676"/>
                <a:gd name="connsiteX4" fmla="*/ 21476 w 36004"/>
                <a:gd name="connsiteY4" fmla="*/ 16506 h 17676"/>
                <a:gd name="connsiteX5" fmla="*/ 34144 w 36004"/>
                <a:gd name="connsiteY5" fmla="*/ 9267 h 17676"/>
                <a:gd name="connsiteX6" fmla="*/ 35668 w 36004"/>
                <a:gd name="connsiteY6" fmla="*/ 7076 h 17676"/>
                <a:gd name="connsiteX7" fmla="*/ 35668 w 36004"/>
                <a:gd name="connsiteY7" fmla="*/ -163 h 17676"/>
                <a:gd name="connsiteX8" fmla="*/ 34144 w 36004"/>
                <a:gd name="connsiteY8" fmla="*/ 2124 h 17676"/>
                <a:gd name="connsiteX9" fmla="*/ 31763 w 36004"/>
                <a:gd name="connsiteY9" fmla="*/ 3457 h 17676"/>
                <a:gd name="connsiteX10" fmla="*/ 21476 w 36004"/>
                <a:gd name="connsiteY10" fmla="*/ 9362 h 17676"/>
                <a:gd name="connsiteX11" fmla="*/ 13856 w 36004"/>
                <a:gd name="connsiteY11" fmla="*/ 9362 h 17676"/>
                <a:gd name="connsiteX12" fmla="*/ 3569 w 36004"/>
                <a:gd name="connsiteY12" fmla="*/ 3457 h 17676"/>
                <a:gd name="connsiteX13" fmla="*/ 1187 w 36004"/>
                <a:gd name="connsiteY13" fmla="*/ 2124 h 17676"/>
                <a:gd name="connsiteX14" fmla="*/ -336 w 36004"/>
                <a:gd name="connsiteY14" fmla="*/ -163 h 17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6">
                  <a:moveTo>
                    <a:pt x="-336" y="-163"/>
                  </a:moveTo>
                  <a:lnTo>
                    <a:pt x="-336" y="7076"/>
                  </a:lnTo>
                  <a:cubicBezTo>
                    <a:pt x="-279" y="8029"/>
                    <a:pt x="311" y="8877"/>
                    <a:pt x="1187" y="9267"/>
                  </a:cubicBezTo>
                  <a:lnTo>
                    <a:pt x="13856" y="16506"/>
                  </a:lnTo>
                  <a:cubicBezTo>
                    <a:pt x="16218" y="17849"/>
                    <a:pt x="19114" y="17849"/>
                    <a:pt x="21476" y="16506"/>
                  </a:cubicBezTo>
                  <a:lnTo>
                    <a:pt x="34144" y="9267"/>
                  </a:lnTo>
                  <a:cubicBezTo>
                    <a:pt x="35020" y="8877"/>
                    <a:pt x="35611" y="8039"/>
                    <a:pt x="35668" y="7076"/>
                  </a:cubicBezTo>
                  <a:lnTo>
                    <a:pt x="35668" y="-163"/>
                  </a:lnTo>
                  <a:cubicBezTo>
                    <a:pt x="35601" y="818"/>
                    <a:pt x="35020" y="1685"/>
                    <a:pt x="34144" y="2124"/>
                  </a:cubicBezTo>
                  <a:lnTo>
                    <a:pt x="31763" y="3457"/>
                  </a:lnTo>
                  <a:lnTo>
                    <a:pt x="21476" y="9362"/>
                  </a:lnTo>
                  <a:cubicBezTo>
                    <a:pt x="19114" y="10706"/>
                    <a:pt x="16218" y="10706"/>
                    <a:pt x="13856" y="9362"/>
                  </a:cubicBezTo>
                  <a:lnTo>
                    <a:pt x="3569" y="3457"/>
                  </a:lnTo>
                  <a:lnTo>
                    <a:pt x="1187" y="2124"/>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90" name="išlïdè">
              <a:extLst>
                <a:ext uri="{FF2B5EF4-FFF2-40B4-BE49-F238E27FC236}">
                  <a16:creationId xmlns:a16="http://schemas.microsoft.com/office/drawing/2014/main" id="{4A128708-420C-4622-B4B8-E5D440F0D2A1}"/>
                </a:ext>
              </a:extLst>
            </p:cNvPr>
            <p:cNvSpPr/>
            <p:nvPr/>
          </p:nvSpPr>
          <p:spPr>
            <a:xfrm>
              <a:off x="5398029" y="4913083"/>
              <a:ext cx="109740" cy="63445"/>
            </a:xfrm>
            <a:custGeom>
              <a:avLst/>
              <a:gdLst>
                <a:gd name="connsiteX0" fmla="*/ -336 w 36052"/>
                <a:gd name="connsiteY0" fmla="*/ 10227 h 20843"/>
                <a:gd name="connsiteX1" fmla="*/ 1188 w 36052"/>
                <a:gd name="connsiteY1" fmla="*/ 12513 h 20843"/>
                <a:gd name="connsiteX2" fmla="*/ 3569 w 36052"/>
                <a:gd name="connsiteY2" fmla="*/ 13846 h 20843"/>
                <a:gd name="connsiteX3" fmla="*/ 13856 w 36052"/>
                <a:gd name="connsiteY3" fmla="*/ 19752 h 20843"/>
                <a:gd name="connsiteX4" fmla="*/ 21476 w 36052"/>
                <a:gd name="connsiteY4" fmla="*/ 19752 h 20843"/>
                <a:gd name="connsiteX5" fmla="*/ 31763 w 36052"/>
                <a:gd name="connsiteY5" fmla="*/ 13846 h 20843"/>
                <a:gd name="connsiteX6" fmla="*/ 34144 w 36052"/>
                <a:gd name="connsiteY6" fmla="*/ 12513 h 20843"/>
                <a:gd name="connsiteX7" fmla="*/ 35573 w 36052"/>
                <a:gd name="connsiteY7" fmla="*/ 9465 h 20843"/>
                <a:gd name="connsiteX8" fmla="*/ 34144 w 36052"/>
                <a:gd name="connsiteY8" fmla="*/ 8036 h 20843"/>
                <a:gd name="connsiteX9" fmla="*/ 21476 w 36052"/>
                <a:gd name="connsiteY9" fmla="*/ 702 h 20843"/>
                <a:gd name="connsiteX10" fmla="*/ 13856 w 36052"/>
                <a:gd name="connsiteY10" fmla="*/ 702 h 20843"/>
                <a:gd name="connsiteX11" fmla="*/ 1188 w 36052"/>
                <a:gd name="connsiteY11" fmla="*/ 8036 h 20843"/>
                <a:gd name="connsiteX12" fmla="*/ -336 w 36052"/>
                <a:gd name="connsiteY12" fmla="*/ 10227 h 20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3">
                  <a:moveTo>
                    <a:pt x="-336" y="10227"/>
                  </a:moveTo>
                  <a:cubicBezTo>
                    <a:pt x="-269" y="11208"/>
                    <a:pt x="311" y="12075"/>
                    <a:pt x="1188" y="12513"/>
                  </a:cubicBezTo>
                  <a:lnTo>
                    <a:pt x="3569" y="13846"/>
                  </a:lnTo>
                  <a:lnTo>
                    <a:pt x="13856" y="19752"/>
                  </a:lnTo>
                  <a:cubicBezTo>
                    <a:pt x="16247" y="20990"/>
                    <a:pt x="19085" y="20990"/>
                    <a:pt x="21476" y="19752"/>
                  </a:cubicBezTo>
                  <a:lnTo>
                    <a:pt x="31763" y="13846"/>
                  </a:lnTo>
                  <a:lnTo>
                    <a:pt x="34144" y="12513"/>
                  </a:lnTo>
                  <a:cubicBezTo>
                    <a:pt x="35382" y="12065"/>
                    <a:pt x="36021" y="10694"/>
                    <a:pt x="35573" y="9465"/>
                  </a:cubicBezTo>
                  <a:cubicBezTo>
                    <a:pt x="35325" y="8798"/>
                    <a:pt x="34811" y="8274"/>
                    <a:pt x="34144"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691" name="í$ľíḑê">
              <a:extLst>
                <a:ext uri="{FF2B5EF4-FFF2-40B4-BE49-F238E27FC236}">
                  <a16:creationId xmlns:a16="http://schemas.microsoft.com/office/drawing/2014/main" id="{EC4C8923-3078-4C79-B984-5AB592B55BAB}"/>
                </a:ext>
              </a:extLst>
            </p:cNvPr>
            <p:cNvSpPr/>
            <p:nvPr/>
          </p:nvSpPr>
          <p:spPr>
            <a:xfrm>
              <a:off x="5399843" y="4914264"/>
              <a:ext cx="105898" cy="61101"/>
            </a:xfrm>
            <a:custGeom>
              <a:avLst/>
              <a:gdLst>
                <a:gd name="connsiteX0" fmla="*/ 1164 w 34790"/>
                <a:gd name="connsiteY0" fmla="*/ 12029 h 20073"/>
                <a:gd name="connsiteX1" fmla="*/ 13356 w 34790"/>
                <a:gd name="connsiteY1" fmla="*/ 18982 h 20073"/>
                <a:gd name="connsiteX2" fmla="*/ 20785 w 34790"/>
                <a:gd name="connsiteY2" fmla="*/ 18982 h 20073"/>
                <a:gd name="connsiteX3" fmla="*/ 32882 w 34790"/>
                <a:gd name="connsiteY3" fmla="*/ 12029 h 20073"/>
                <a:gd name="connsiteX4" fmla="*/ 32882 w 34790"/>
                <a:gd name="connsiteY4" fmla="*/ 7743 h 20073"/>
                <a:gd name="connsiteX5" fmla="*/ 20785 w 34790"/>
                <a:gd name="connsiteY5" fmla="*/ 695 h 20073"/>
                <a:gd name="connsiteX6" fmla="*/ 13356 w 34790"/>
                <a:gd name="connsiteY6" fmla="*/ 695 h 20073"/>
                <a:gd name="connsiteX7" fmla="*/ 1164 w 34790"/>
                <a:gd name="connsiteY7" fmla="*/ 7743 h 20073"/>
                <a:gd name="connsiteX8" fmla="*/ 1164 w 34790"/>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3">
                  <a:moveTo>
                    <a:pt x="1164" y="12029"/>
                  </a:moveTo>
                  <a:lnTo>
                    <a:pt x="13356" y="18982"/>
                  </a:lnTo>
                  <a:cubicBezTo>
                    <a:pt x="15680" y="20221"/>
                    <a:pt x="18461" y="20221"/>
                    <a:pt x="20785" y="18982"/>
                  </a:cubicBezTo>
                  <a:lnTo>
                    <a:pt x="32882" y="12029"/>
                  </a:lnTo>
                  <a:cubicBezTo>
                    <a:pt x="34978" y="10791"/>
                    <a:pt x="34978" y="8886"/>
                    <a:pt x="32882" y="7743"/>
                  </a:cubicBezTo>
                  <a:lnTo>
                    <a:pt x="20785" y="695"/>
                  </a:lnTo>
                  <a:cubicBezTo>
                    <a:pt x="18442" y="-448"/>
                    <a:pt x="15699" y="-448"/>
                    <a:pt x="13356" y="695"/>
                  </a:cubicBezTo>
                  <a:lnTo>
                    <a:pt x="1164" y="7743"/>
                  </a:lnTo>
                  <a:cubicBezTo>
                    <a:pt x="-836" y="9267"/>
                    <a:pt x="-836" y="10791"/>
                    <a:pt x="1164" y="12029"/>
                  </a:cubicBezTo>
                  <a:close/>
                </a:path>
              </a:pathLst>
            </a:custGeom>
            <a:solidFill>
              <a:srgbClr val="D1D9E8"/>
            </a:solidFill>
            <a:ln w="9525" cap="flat">
              <a:noFill/>
              <a:prstDash val="solid"/>
              <a:miter/>
            </a:ln>
          </p:spPr>
          <p:txBody>
            <a:bodyPr rtlCol="0" anchor="ctr"/>
            <a:lstStyle/>
            <a:p>
              <a:endParaRPr lang="zh-CN" altLang="en-US"/>
            </a:p>
          </p:txBody>
        </p:sp>
        <p:sp>
          <p:nvSpPr>
            <p:cNvPr id="692" name="îšľîdê">
              <a:extLst>
                <a:ext uri="{FF2B5EF4-FFF2-40B4-BE49-F238E27FC236}">
                  <a16:creationId xmlns:a16="http://schemas.microsoft.com/office/drawing/2014/main" id="{0EBE916F-CBE6-4D8C-8396-1826B9917480}"/>
                </a:ext>
              </a:extLst>
            </p:cNvPr>
            <p:cNvSpPr/>
            <p:nvPr/>
          </p:nvSpPr>
          <p:spPr>
            <a:xfrm>
              <a:off x="5398029" y="4944707"/>
              <a:ext cx="109594" cy="53801"/>
            </a:xfrm>
            <a:custGeom>
              <a:avLst/>
              <a:gdLst>
                <a:gd name="connsiteX0" fmla="*/ -336 w 36004"/>
                <a:gd name="connsiteY0" fmla="*/ -163 h 17675"/>
                <a:gd name="connsiteX1" fmla="*/ -336 w 36004"/>
                <a:gd name="connsiteY1" fmla="*/ 7076 h 17675"/>
                <a:gd name="connsiteX2" fmla="*/ 1188 w 36004"/>
                <a:gd name="connsiteY2" fmla="*/ 9267 h 17675"/>
                <a:gd name="connsiteX3" fmla="*/ 13856 w 36004"/>
                <a:gd name="connsiteY3" fmla="*/ 16506 h 17675"/>
                <a:gd name="connsiteX4" fmla="*/ 21476 w 36004"/>
                <a:gd name="connsiteY4" fmla="*/ 16506 h 17675"/>
                <a:gd name="connsiteX5" fmla="*/ 34144 w 36004"/>
                <a:gd name="connsiteY5" fmla="*/ 9267 h 17675"/>
                <a:gd name="connsiteX6" fmla="*/ 35668 w 36004"/>
                <a:gd name="connsiteY6" fmla="*/ 6981 h 17675"/>
                <a:gd name="connsiteX7" fmla="*/ 35668 w 36004"/>
                <a:gd name="connsiteY7" fmla="*/ -163 h 17675"/>
                <a:gd name="connsiteX8" fmla="*/ 34144 w 36004"/>
                <a:gd name="connsiteY8" fmla="*/ 2123 h 17675"/>
                <a:gd name="connsiteX9" fmla="*/ 31763 w 36004"/>
                <a:gd name="connsiteY9" fmla="*/ 3457 h 17675"/>
                <a:gd name="connsiteX10" fmla="*/ 21476 w 36004"/>
                <a:gd name="connsiteY10" fmla="*/ 9362 h 17675"/>
                <a:gd name="connsiteX11" fmla="*/ 13856 w 36004"/>
                <a:gd name="connsiteY11" fmla="*/ 9362 h 17675"/>
                <a:gd name="connsiteX12" fmla="*/ 3569 w 36004"/>
                <a:gd name="connsiteY12" fmla="*/ 3457 h 17675"/>
                <a:gd name="connsiteX13" fmla="*/ 1188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79" y="8038"/>
                    <a:pt x="311" y="8877"/>
                    <a:pt x="1188" y="9267"/>
                  </a:cubicBezTo>
                  <a:lnTo>
                    <a:pt x="13856" y="16506"/>
                  </a:lnTo>
                  <a:cubicBezTo>
                    <a:pt x="16218" y="17849"/>
                    <a:pt x="19114" y="17849"/>
                    <a:pt x="21476" y="16506"/>
                  </a:cubicBezTo>
                  <a:lnTo>
                    <a:pt x="34144" y="9267"/>
                  </a:lnTo>
                  <a:cubicBezTo>
                    <a:pt x="35049" y="8867"/>
                    <a:pt x="35640" y="7972"/>
                    <a:pt x="35668" y="6981"/>
                  </a:cubicBezTo>
                  <a:lnTo>
                    <a:pt x="35668" y="-163"/>
                  </a:lnTo>
                  <a:cubicBezTo>
                    <a:pt x="35602" y="818"/>
                    <a:pt x="35021" y="1685"/>
                    <a:pt x="34144" y="2123"/>
                  </a:cubicBezTo>
                  <a:lnTo>
                    <a:pt x="31763" y="3457"/>
                  </a:lnTo>
                  <a:lnTo>
                    <a:pt x="21476" y="9362"/>
                  </a:lnTo>
                  <a:cubicBezTo>
                    <a:pt x="19085" y="10601"/>
                    <a:pt x="16247" y="10601"/>
                    <a:pt x="13856" y="9362"/>
                  </a:cubicBezTo>
                  <a:lnTo>
                    <a:pt x="3569" y="3457"/>
                  </a:lnTo>
                  <a:lnTo>
                    <a:pt x="1188" y="2123"/>
                  </a:lnTo>
                  <a:cubicBezTo>
                    <a:pt x="311"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93" name="îṧ1îdè">
              <a:extLst>
                <a:ext uri="{FF2B5EF4-FFF2-40B4-BE49-F238E27FC236}">
                  <a16:creationId xmlns:a16="http://schemas.microsoft.com/office/drawing/2014/main" id="{F5B38880-B596-4876-B564-E91B5B98F1F6}"/>
                </a:ext>
              </a:extLst>
            </p:cNvPr>
            <p:cNvSpPr/>
            <p:nvPr/>
          </p:nvSpPr>
          <p:spPr>
            <a:xfrm>
              <a:off x="5474282" y="4957884"/>
              <a:ext cx="109740" cy="63292"/>
            </a:xfrm>
            <a:custGeom>
              <a:avLst/>
              <a:gdLst>
                <a:gd name="connsiteX0" fmla="*/ -336 w 36052"/>
                <a:gd name="connsiteY0" fmla="*/ 10177 h 20793"/>
                <a:gd name="connsiteX1" fmla="*/ 1283 w 36052"/>
                <a:gd name="connsiteY1" fmla="*/ 12463 h 20793"/>
                <a:gd name="connsiteX2" fmla="*/ 3569 w 36052"/>
                <a:gd name="connsiteY2" fmla="*/ 13796 h 20793"/>
                <a:gd name="connsiteX3" fmla="*/ 13856 w 36052"/>
                <a:gd name="connsiteY3" fmla="*/ 19702 h 20793"/>
                <a:gd name="connsiteX4" fmla="*/ 21571 w 36052"/>
                <a:gd name="connsiteY4" fmla="*/ 19702 h 20793"/>
                <a:gd name="connsiteX5" fmla="*/ 31858 w 36052"/>
                <a:gd name="connsiteY5" fmla="*/ 13796 h 20793"/>
                <a:gd name="connsiteX6" fmla="*/ 34144 w 36052"/>
                <a:gd name="connsiteY6" fmla="*/ 12463 h 20793"/>
                <a:gd name="connsiteX7" fmla="*/ 35573 w 36052"/>
                <a:gd name="connsiteY7" fmla="*/ 9415 h 20793"/>
                <a:gd name="connsiteX8" fmla="*/ 34144 w 36052"/>
                <a:gd name="connsiteY8" fmla="*/ 7986 h 20793"/>
                <a:gd name="connsiteX9" fmla="*/ 21571 w 36052"/>
                <a:gd name="connsiteY9" fmla="*/ 652 h 20793"/>
                <a:gd name="connsiteX10" fmla="*/ 13856 w 36052"/>
                <a:gd name="connsiteY10" fmla="*/ 652 h 20793"/>
                <a:gd name="connsiteX11" fmla="*/ 1283 w 36052"/>
                <a:gd name="connsiteY11" fmla="*/ 7986 h 20793"/>
                <a:gd name="connsiteX12" fmla="*/ -336 w 36052"/>
                <a:gd name="connsiteY12" fmla="*/ 10177 h 20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793">
                  <a:moveTo>
                    <a:pt x="-336" y="10177"/>
                  </a:moveTo>
                  <a:cubicBezTo>
                    <a:pt x="-270" y="11186"/>
                    <a:pt x="359" y="12072"/>
                    <a:pt x="1283" y="12463"/>
                  </a:cubicBezTo>
                  <a:lnTo>
                    <a:pt x="3569" y="13796"/>
                  </a:lnTo>
                  <a:lnTo>
                    <a:pt x="13856" y="19702"/>
                  </a:lnTo>
                  <a:cubicBezTo>
                    <a:pt x="16275" y="20940"/>
                    <a:pt x="19152" y="20940"/>
                    <a:pt x="21571" y="19702"/>
                  </a:cubicBezTo>
                  <a:lnTo>
                    <a:pt x="31858" y="13796"/>
                  </a:lnTo>
                  <a:lnTo>
                    <a:pt x="34144" y="12463"/>
                  </a:lnTo>
                  <a:cubicBezTo>
                    <a:pt x="35382" y="12015"/>
                    <a:pt x="36020" y="10643"/>
                    <a:pt x="35573" y="9415"/>
                  </a:cubicBezTo>
                  <a:cubicBezTo>
                    <a:pt x="35325" y="8748"/>
                    <a:pt x="34811" y="8224"/>
                    <a:pt x="34144" y="7986"/>
                  </a:cubicBezTo>
                  <a:lnTo>
                    <a:pt x="21571" y="652"/>
                  </a:lnTo>
                  <a:cubicBezTo>
                    <a:pt x="19114" y="-434"/>
                    <a:pt x="16313" y="-434"/>
                    <a:pt x="13856" y="652"/>
                  </a:cubicBezTo>
                  <a:lnTo>
                    <a:pt x="1283" y="7986"/>
                  </a:lnTo>
                  <a:cubicBezTo>
                    <a:pt x="387" y="8367"/>
                    <a:pt x="-241" y="9205"/>
                    <a:pt x="-336" y="10177"/>
                  </a:cubicBezTo>
                  <a:close/>
                </a:path>
              </a:pathLst>
            </a:custGeom>
            <a:solidFill>
              <a:srgbClr val="FFFFFF"/>
            </a:solidFill>
            <a:ln w="9525" cap="flat">
              <a:noFill/>
              <a:prstDash val="solid"/>
              <a:miter/>
            </a:ln>
          </p:spPr>
          <p:txBody>
            <a:bodyPr rtlCol="0" anchor="ctr"/>
            <a:lstStyle/>
            <a:p>
              <a:endParaRPr lang="zh-CN" altLang="en-US"/>
            </a:p>
          </p:txBody>
        </p:sp>
        <p:sp>
          <p:nvSpPr>
            <p:cNvPr id="694" name="iṩľïḑe">
              <a:extLst>
                <a:ext uri="{FF2B5EF4-FFF2-40B4-BE49-F238E27FC236}">
                  <a16:creationId xmlns:a16="http://schemas.microsoft.com/office/drawing/2014/main" id="{4ADD2ACB-B330-443B-AE8E-5D8C2ECFE2B0}"/>
                </a:ext>
              </a:extLst>
            </p:cNvPr>
            <p:cNvSpPr/>
            <p:nvPr/>
          </p:nvSpPr>
          <p:spPr>
            <a:xfrm>
              <a:off x="5476167" y="4958913"/>
              <a:ext cx="106766" cy="61101"/>
            </a:xfrm>
            <a:custGeom>
              <a:avLst/>
              <a:gdLst>
                <a:gd name="connsiteX0" fmla="*/ 1521 w 35075"/>
                <a:gd name="connsiteY0" fmla="*/ 12029 h 20073"/>
                <a:gd name="connsiteX1" fmla="*/ 13618 w 35075"/>
                <a:gd name="connsiteY1" fmla="*/ 18983 h 20073"/>
                <a:gd name="connsiteX2" fmla="*/ 21047 w 35075"/>
                <a:gd name="connsiteY2" fmla="*/ 18983 h 20073"/>
                <a:gd name="connsiteX3" fmla="*/ 33239 w 35075"/>
                <a:gd name="connsiteY3" fmla="*/ 12029 h 20073"/>
                <a:gd name="connsiteX4" fmla="*/ 33239 w 35075"/>
                <a:gd name="connsiteY4" fmla="*/ 7743 h 20073"/>
                <a:gd name="connsiteX5" fmla="*/ 21047 w 35075"/>
                <a:gd name="connsiteY5" fmla="*/ 695 h 20073"/>
                <a:gd name="connsiteX6" fmla="*/ 13618 w 35075"/>
                <a:gd name="connsiteY6" fmla="*/ 695 h 20073"/>
                <a:gd name="connsiteX7" fmla="*/ 1521 w 35075"/>
                <a:gd name="connsiteY7" fmla="*/ 7743 h 20073"/>
                <a:gd name="connsiteX8" fmla="*/ 1521 w 35075"/>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075" h="20073">
                  <a:moveTo>
                    <a:pt x="1521" y="12029"/>
                  </a:moveTo>
                  <a:lnTo>
                    <a:pt x="13618" y="18983"/>
                  </a:lnTo>
                  <a:cubicBezTo>
                    <a:pt x="15942" y="20221"/>
                    <a:pt x="18723" y="20221"/>
                    <a:pt x="21047" y="18983"/>
                  </a:cubicBezTo>
                  <a:lnTo>
                    <a:pt x="33239" y="12029"/>
                  </a:lnTo>
                  <a:cubicBezTo>
                    <a:pt x="35239" y="10791"/>
                    <a:pt x="35239" y="8886"/>
                    <a:pt x="33239" y="7743"/>
                  </a:cubicBezTo>
                  <a:lnTo>
                    <a:pt x="21047" y="695"/>
                  </a:lnTo>
                  <a:cubicBezTo>
                    <a:pt x="18704" y="-448"/>
                    <a:pt x="15961" y="-448"/>
                    <a:pt x="13618" y="695"/>
                  </a:cubicBezTo>
                  <a:lnTo>
                    <a:pt x="1521" y="7743"/>
                  </a:lnTo>
                  <a:cubicBezTo>
                    <a:pt x="-955" y="8886"/>
                    <a:pt x="-955" y="10791"/>
                    <a:pt x="1521" y="12029"/>
                  </a:cubicBezTo>
                  <a:close/>
                </a:path>
              </a:pathLst>
            </a:custGeom>
            <a:solidFill>
              <a:srgbClr val="D1D9E8"/>
            </a:solidFill>
            <a:ln w="9525" cap="flat">
              <a:noFill/>
              <a:prstDash val="solid"/>
              <a:miter/>
            </a:ln>
          </p:spPr>
          <p:txBody>
            <a:bodyPr rtlCol="0" anchor="ctr"/>
            <a:lstStyle/>
            <a:p>
              <a:endParaRPr lang="zh-CN" altLang="en-US"/>
            </a:p>
          </p:txBody>
        </p:sp>
        <p:sp>
          <p:nvSpPr>
            <p:cNvPr id="695" name="ïšľíḍé">
              <a:extLst>
                <a:ext uri="{FF2B5EF4-FFF2-40B4-BE49-F238E27FC236}">
                  <a16:creationId xmlns:a16="http://schemas.microsoft.com/office/drawing/2014/main" id="{4B600CE1-1803-48E4-A7D2-C51D6A2F264E}"/>
                </a:ext>
              </a:extLst>
            </p:cNvPr>
            <p:cNvSpPr/>
            <p:nvPr/>
          </p:nvSpPr>
          <p:spPr>
            <a:xfrm>
              <a:off x="5474282" y="4989358"/>
              <a:ext cx="109883" cy="53801"/>
            </a:xfrm>
            <a:custGeom>
              <a:avLst/>
              <a:gdLst>
                <a:gd name="connsiteX0" fmla="*/ -336 w 36099"/>
                <a:gd name="connsiteY0" fmla="*/ -163 h 17675"/>
                <a:gd name="connsiteX1" fmla="*/ -336 w 36099"/>
                <a:gd name="connsiteY1" fmla="*/ 7076 h 17675"/>
                <a:gd name="connsiteX2" fmla="*/ 1283 w 36099"/>
                <a:gd name="connsiteY2" fmla="*/ 9267 h 17675"/>
                <a:gd name="connsiteX3" fmla="*/ 13856 w 36099"/>
                <a:gd name="connsiteY3" fmla="*/ 16506 h 17675"/>
                <a:gd name="connsiteX4" fmla="*/ 21571 w 36099"/>
                <a:gd name="connsiteY4" fmla="*/ 16506 h 17675"/>
                <a:gd name="connsiteX5" fmla="*/ 34144 w 36099"/>
                <a:gd name="connsiteY5" fmla="*/ 9267 h 17675"/>
                <a:gd name="connsiteX6" fmla="*/ 35764 w 36099"/>
                <a:gd name="connsiteY6" fmla="*/ 6981 h 17675"/>
                <a:gd name="connsiteX7" fmla="*/ 35764 w 36099"/>
                <a:gd name="connsiteY7" fmla="*/ -163 h 17675"/>
                <a:gd name="connsiteX8" fmla="*/ 34144 w 36099"/>
                <a:gd name="connsiteY8" fmla="*/ 2123 h 17675"/>
                <a:gd name="connsiteX9" fmla="*/ 31858 w 36099"/>
                <a:gd name="connsiteY9" fmla="*/ 3457 h 17675"/>
                <a:gd name="connsiteX10" fmla="*/ 21571 w 36099"/>
                <a:gd name="connsiteY10" fmla="*/ 9362 h 17675"/>
                <a:gd name="connsiteX11" fmla="*/ 13856 w 36099"/>
                <a:gd name="connsiteY11" fmla="*/ 9362 h 17675"/>
                <a:gd name="connsiteX12" fmla="*/ 3569 w 36099"/>
                <a:gd name="connsiteY12" fmla="*/ 3457 h 17675"/>
                <a:gd name="connsiteX13" fmla="*/ 1283 w 36099"/>
                <a:gd name="connsiteY13" fmla="*/ 2123 h 17675"/>
                <a:gd name="connsiteX14" fmla="*/ -336 w 36099"/>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675">
                  <a:moveTo>
                    <a:pt x="-336" y="-163"/>
                  </a:moveTo>
                  <a:lnTo>
                    <a:pt x="-336" y="7076"/>
                  </a:lnTo>
                  <a:cubicBezTo>
                    <a:pt x="-241" y="8048"/>
                    <a:pt x="387" y="8886"/>
                    <a:pt x="1283" y="9267"/>
                  </a:cubicBezTo>
                  <a:lnTo>
                    <a:pt x="13856" y="16506"/>
                  </a:lnTo>
                  <a:cubicBezTo>
                    <a:pt x="16256" y="17849"/>
                    <a:pt x="19171" y="17849"/>
                    <a:pt x="21571" y="16506"/>
                  </a:cubicBezTo>
                  <a:lnTo>
                    <a:pt x="34144" y="9267"/>
                  </a:lnTo>
                  <a:cubicBezTo>
                    <a:pt x="35049" y="8839"/>
                    <a:pt x="35659" y="7972"/>
                    <a:pt x="35764" y="6981"/>
                  </a:cubicBezTo>
                  <a:lnTo>
                    <a:pt x="35764" y="-163"/>
                  </a:lnTo>
                  <a:cubicBezTo>
                    <a:pt x="35659" y="828"/>
                    <a:pt x="35049" y="1695"/>
                    <a:pt x="34144" y="2123"/>
                  </a:cubicBezTo>
                  <a:lnTo>
                    <a:pt x="31858" y="3457"/>
                  </a:lnTo>
                  <a:lnTo>
                    <a:pt x="21571" y="9362"/>
                  </a:lnTo>
                  <a:cubicBezTo>
                    <a:pt x="19152" y="10601"/>
                    <a:pt x="16275" y="10601"/>
                    <a:pt x="13856" y="9362"/>
                  </a:cubicBezTo>
                  <a:lnTo>
                    <a:pt x="3569" y="3457"/>
                  </a:lnTo>
                  <a:lnTo>
                    <a:pt x="1283" y="2123"/>
                  </a:lnTo>
                  <a:cubicBezTo>
                    <a:pt x="359" y="1733"/>
                    <a:pt x="-270" y="847"/>
                    <a:pt x="-336" y="-163"/>
                  </a:cubicBezTo>
                  <a:close/>
                </a:path>
              </a:pathLst>
            </a:custGeom>
            <a:solidFill>
              <a:srgbClr val="BF4200"/>
            </a:solidFill>
            <a:ln w="9525" cap="flat">
              <a:noFill/>
              <a:prstDash val="solid"/>
              <a:miter/>
            </a:ln>
          </p:spPr>
          <p:txBody>
            <a:bodyPr rtlCol="0" anchor="ctr"/>
            <a:lstStyle/>
            <a:p>
              <a:endParaRPr lang="zh-CN" altLang="en-US"/>
            </a:p>
          </p:txBody>
        </p:sp>
        <p:sp>
          <p:nvSpPr>
            <p:cNvPr id="696" name="íṣ1íḓê">
              <a:extLst>
                <a:ext uri="{FF2B5EF4-FFF2-40B4-BE49-F238E27FC236}">
                  <a16:creationId xmlns:a16="http://schemas.microsoft.com/office/drawing/2014/main" id="{829E2809-2336-47A9-A924-26018F3E6733}"/>
                </a:ext>
              </a:extLst>
            </p:cNvPr>
            <p:cNvSpPr/>
            <p:nvPr/>
          </p:nvSpPr>
          <p:spPr>
            <a:xfrm>
              <a:off x="5552566" y="5002383"/>
              <a:ext cx="109740" cy="63442"/>
            </a:xfrm>
            <a:custGeom>
              <a:avLst/>
              <a:gdLst>
                <a:gd name="connsiteX0" fmla="*/ -336 w 36052"/>
                <a:gd name="connsiteY0" fmla="*/ 10227 h 20842"/>
                <a:gd name="connsiteX1" fmla="*/ 1187 w 36052"/>
                <a:gd name="connsiteY1" fmla="*/ 12513 h 20842"/>
                <a:gd name="connsiteX2" fmla="*/ 3569 w 36052"/>
                <a:gd name="connsiteY2" fmla="*/ 13846 h 20842"/>
                <a:gd name="connsiteX3" fmla="*/ 13856 w 36052"/>
                <a:gd name="connsiteY3" fmla="*/ 19752 h 20842"/>
                <a:gd name="connsiteX4" fmla="*/ 21476 w 36052"/>
                <a:gd name="connsiteY4" fmla="*/ 19752 h 20842"/>
                <a:gd name="connsiteX5" fmla="*/ 31763 w 36052"/>
                <a:gd name="connsiteY5" fmla="*/ 13846 h 20842"/>
                <a:gd name="connsiteX6" fmla="*/ 34144 w 36052"/>
                <a:gd name="connsiteY6" fmla="*/ 12513 h 20842"/>
                <a:gd name="connsiteX7" fmla="*/ 35573 w 36052"/>
                <a:gd name="connsiteY7" fmla="*/ 9465 h 20842"/>
                <a:gd name="connsiteX8" fmla="*/ 34144 w 36052"/>
                <a:gd name="connsiteY8" fmla="*/ 8036 h 20842"/>
                <a:gd name="connsiteX9" fmla="*/ 21476 w 36052"/>
                <a:gd name="connsiteY9" fmla="*/ 702 h 20842"/>
                <a:gd name="connsiteX10" fmla="*/ 13856 w 36052"/>
                <a:gd name="connsiteY10" fmla="*/ 702 h 20842"/>
                <a:gd name="connsiteX11" fmla="*/ 1187 w 36052"/>
                <a:gd name="connsiteY11" fmla="*/ 8036 h 20842"/>
                <a:gd name="connsiteX12" fmla="*/ -336 w 36052"/>
                <a:gd name="connsiteY12" fmla="*/ 10227 h 20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2">
                  <a:moveTo>
                    <a:pt x="-336" y="10227"/>
                  </a:moveTo>
                  <a:cubicBezTo>
                    <a:pt x="-270" y="11208"/>
                    <a:pt x="311" y="12075"/>
                    <a:pt x="1187" y="12513"/>
                  </a:cubicBezTo>
                  <a:lnTo>
                    <a:pt x="3569" y="13846"/>
                  </a:lnTo>
                  <a:lnTo>
                    <a:pt x="13856" y="19752"/>
                  </a:lnTo>
                  <a:cubicBezTo>
                    <a:pt x="16247" y="20990"/>
                    <a:pt x="19085" y="20990"/>
                    <a:pt x="21476" y="19752"/>
                  </a:cubicBezTo>
                  <a:lnTo>
                    <a:pt x="31763" y="13846"/>
                  </a:lnTo>
                  <a:lnTo>
                    <a:pt x="34144" y="12513"/>
                  </a:lnTo>
                  <a:cubicBezTo>
                    <a:pt x="35382" y="12065"/>
                    <a:pt x="36020" y="10693"/>
                    <a:pt x="35573" y="9465"/>
                  </a:cubicBezTo>
                  <a:cubicBezTo>
                    <a:pt x="35325" y="8798"/>
                    <a:pt x="34811" y="8274"/>
                    <a:pt x="34144" y="8036"/>
                  </a:cubicBezTo>
                  <a:lnTo>
                    <a:pt x="21476" y="702"/>
                  </a:lnTo>
                  <a:cubicBezTo>
                    <a:pt x="19066" y="-451"/>
                    <a:pt x="16266" y="-451"/>
                    <a:pt x="13856" y="702"/>
                  </a:cubicBezTo>
                  <a:lnTo>
                    <a:pt x="1187"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697" name="iṥḻïḓè">
              <a:extLst>
                <a:ext uri="{FF2B5EF4-FFF2-40B4-BE49-F238E27FC236}">
                  <a16:creationId xmlns:a16="http://schemas.microsoft.com/office/drawing/2014/main" id="{5E55F4F6-DA3B-442B-8E33-9C37EB5265CC}"/>
                </a:ext>
              </a:extLst>
            </p:cNvPr>
            <p:cNvSpPr/>
            <p:nvPr/>
          </p:nvSpPr>
          <p:spPr>
            <a:xfrm>
              <a:off x="5554450" y="5003564"/>
              <a:ext cx="105825" cy="61104"/>
            </a:xfrm>
            <a:custGeom>
              <a:avLst/>
              <a:gdLst>
                <a:gd name="connsiteX0" fmla="*/ 1235 w 34766"/>
                <a:gd name="connsiteY0" fmla="*/ 12029 h 20074"/>
                <a:gd name="connsiteX1" fmla="*/ 13332 w 34766"/>
                <a:gd name="connsiteY1" fmla="*/ 18983 h 20074"/>
                <a:gd name="connsiteX2" fmla="*/ 20762 w 34766"/>
                <a:gd name="connsiteY2" fmla="*/ 18983 h 20074"/>
                <a:gd name="connsiteX3" fmla="*/ 32858 w 34766"/>
                <a:gd name="connsiteY3" fmla="*/ 12029 h 20074"/>
                <a:gd name="connsiteX4" fmla="*/ 32858 w 34766"/>
                <a:gd name="connsiteY4" fmla="*/ 7743 h 20074"/>
                <a:gd name="connsiteX5" fmla="*/ 20762 w 34766"/>
                <a:gd name="connsiteY5" fmla="*/ 695 h 20074"/>
                <a:gd name="connsiteX6" fmla="*/ 13332 w 34766"/>
                <a:gd name="connsiteY6" fmla="*/ 695 h 20074"/>
                <a:gd name="connsiteX7" fmla="*/ 1235 w 34766"/>
                <a:gd name="connsiteY7" fmla="*/ 7743 h 20074"/>
                <a:gd name="connsiteX8" fmla="*/ 1235 w 34766"/>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6" h="20074">
                  <a:moveTo>
                    <a:pt x="1235" y="12029"/>
                  </a:moveTo>
                  <a:lnTo>
                    <a:pt x="13332" y="18983"/>
                  </a:lnTo>
                  <a:cubicBezTo>
                    <a:pt x="15656" y="20221"/>
                    <a:pt x="18437" y="20221"/>
                    <a:pt x="20762" y="18983"/>
                  </a:cubicBezTo>
                  <a:lnTo>
                    <a:pt x="32858" y="12029"/>
                  </a:lnTo>
                  <a:cubicBezTo>
                    <a:pt x="34954" y="10791"/>
                    <a:pt x="34954" y="8886"/>
                    <a:pt x="32858" y="7743"/>
                  </a:cubicBezTo>
                  <a:lnTo>
                    <a:pt x="20762" y="695"/>
                  </a:lnTo>
                  <a:cubicBezTo>
                    <a:pt x="18419" y="-448"/>
                    <a:pt x="15675" y="-448"/>
                    <a:pt x="13332" y="695"/>
                  </a:cubicBezTo>
                  <a:lnTo>
                    <a:pt x="1235" y="7743"/>
                  </a:lnTo>
                  <a:cubicBezTo>
                    <a:pt x="-860" y="8505"/>
                    <a:pt x="-860" y="10791"/>
                    <a:pt x="1235" y="12029"/>
                  </a:cubicBezTo>
                  <a:close/>
                </a:path>
              </a:pathLst>
            </a:custGeom>
            <a:solidFill>
              <a:srgbClr val="D1D9E8"/>
            </a:solidFill>
            <a:ln w="9525" cap="flat">
              <a:noFill/>
              <a:prstDash val="solid"/>
              <a:miter/>
            </a:ln>
          </p:spPr>
          <p:txBody>
            <a:bodyPr rtlCol="0" anchor="ctr"/>
            <a:lstStyle/>
            <a:p>
              <a:endParaRPr lang="zh-CN" altLang="en-US"/>
            </a:p>
          </p:txBody>
        </p:sp>
        <p:sp>
          <p:nvSpPr>
            <p:cNvPr id="698" name="iṧ1idè">
              <a:extLst>
                <a:ext uri="{FF2B5EF4-FFF2-40B4-BE49-F238E27FC236}">
                  <a16:creationId xmlns:a16="http://schemas.microsoft.com/office/drawing/2014/main" id="{DD6D111A-2534-4BDF-897E-49E58700A2A2}"/>
                </a:ext>
              </a:extLst>
            </p:cNvPr>
            <p:cNvSpPr/>
            <p:nvPr/>
          </p:nvSpPr>
          <p:spPr>
            <a:xfrm>
              <a:off x="5552566" y="5034006"/>
              <a:ext cx="109594" cy="53564"/>
            </a:xfrm>
            <a:custGeom>
              <a:avLst/>
              <a:gdLst>
                <a:gd name="connsiteX0" fmla="*/ -336 w 36004"/>
                <a:gd name="connsiteY0" fmla="*/ -163 h 17597"/>
                <a:gd name="connsiteX1" fmla="*/ -336 w 36004"/>
                <a:gd name="connsiteY1" fmla="*/ 7076 h 17597"/>
                <a:gd name="connsiteX2" fmla="*/ 1187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3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7 w 36004"/>
                <a:gd name="connsiteY13" fmla="*/ 2123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7" y="9267"/>
                  </a:cubicBezTo>
                  <a:lnTo>
                    <a:pt x="13856" y="16506"/>
                  </a:lnTo>
                  <a:cubicBezTo>
                    <a:pt x="16247" y="17744"/>
                    <a:pt x="19085" y="17744"/>
                    <a:pt x="21476" y="16506"/>
                  </a:cubicBezTo>
                  <a:lnTo>
                    <a:pt x="34144" y="9267"/>
                  </a:lnTo>
                  <a:cubicBezTo>
                    <a:pt x="35011" y="8819"/>
                    <a:pt x="35582" y="7953"/>
                    <a:pt x="35668" y="6981"/>
                  </a:cubicBezTo>
                  <a:lnTo>
                    <a:pt x="35668" y="-163"/>
                  </a:lnTo>
                  <a:cubicBezTo>
                    <a:pt x="35601" y="818"/>
                    <a:pt x="35020" y="1685"/>
                    <a:pt x="34144" y="2123"/>
                  </a:cubicBezTo>
                  <a:lnTo>
                    <a:pt x="31763" y="3457"/>
                  </a:lnTo>
                  <a:lnTo>
                    <a:pt x="21476" y="9362"/>
                  </a:lnTo>
                  <a:cubicBezTo>
                    <a:pt x="19085" y="10600"/>
                    <a:pt x="16247" y="10600"/>
                    <a:pt x="13856" y="9362"/>
                  </a:cubicBezTo>
                  <a:lnTo>
                    <a:pt x="3569" y="3457"/>
                  </a:lnTo>
                  <a:lnTo>
                    <a:pt x="1187"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99" name="îṩḷïďé">
              <a:extLst>
                <a:ext uri="{FF2B5EF4-FFF2-40B4-BE49-F238E27FC236}">
                  <a16:creationId xmlns:a16="http://schemas.microsoft.com/office/drawing/2014/main" id="{649061F3-B284-4E64-9A0C-F84B8CD2EC0E}"/>
                </a:ext>
              </a:extLst>
            </p:cNvPr>
            <p:cNvSpPr/>
            <p:nvPr/>
          </p:nvSpPr>
          <p:spPr>
            <a:xfrm>
              <a:off x="5629687" y="5046836"/>
              <a:ext cx="109740" cy="63639"/>
            </a:xfrm>
            <a:custGeom>
              <a:avLst/>
              <a:gdLst>
                <a:gd name="connsiteX0" fmla="*/ -336 w 36052"/>
                <a:gd name="connsiteY0" fmla="*/ 10291 h 20907"/>
                <a:gd name="connsiteX1" fmla="*/ 1283 w 36052"/>
                <a:gd name="connsiteY1" fmla="*/ 12577 h 20907"/>
                <a:gd name="connsiteX2" fmla="*/ 3569 w 36052"/>
                <a:gd name="connsiteY2" fmla="*/ 13911 h 20907"/>
                <a:gd name="connsiteX3" fmla="*/ 13856 w 36052"/>
                <a:gd name="connsiteY3" fmla="*/ 19816 h 20907"/>
                <a:gd name="connsiteX4" fmla="*/ 21571 w 36052"/>
                <a:gd name="connsiteY4" fmla="*/ 19816 h 20907"/>
                <a:gd name="connsiteX5" fmla="*/ 31858 w 36052"/>
                <a:gd name="connsiteY5" fmla="*/ 13911 h 20907"/>
                <a:gd name="connsiteX6" fmla="*/ 34144 w 36052"/>
                <a:gd name="connsiteY6" fmla="*/ 12577 h 20907"/>
                <a:gd name="connsiteX7" fmla="*/ 35573 w 36052"/>
                <a:gd name="connsiteY7" fmla="*/ 9529 h 20907"/>
                <a:gd name="connsiteX8" fmla="*/ 34144 w 36052"/>
                <a:gd name="connsiteY8" fmla="*/ 8101 h 20907"/>
                <a:gd name="connsiteX9" fmla="*/ 21571 w 36052"/>
                <a:gd name="connsiteY9" fmla="*/ 766 h 20907"/>
                <a:gd name="connsiteX10" fmla="*/ 13856 w 36052"/>
                <a:gd name="connsiteY10" fmla="*/ 766 h 20907"/>
                <a:gd name="connsiteX11" fmla="*/ 1283 w 36052"/>
                <a:gd name="connsiteY11" fmla="*/ 8101 h 20907"/>
                <a:gd name="connsiteX12" fmla="*/ -336 w 36052"/>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907">
                  <a:moveTo>
                    <a:pt x="-336" y="10291"/>
                  </a:moveTo>
                  <a:cubicBezTo>
                    <a:pt x="-231" y="11282"/>
                    <a:pt x="378" y="12149"/>
                    <a:pt x="1283" y="12577"/>
                  </a:cubicBezTo>
                  <a:lnTo>
                    <a:pt x="3569" y="13911"/>
                  </a:lnTo>
                  <a:lnTo>
                    <a:pt x="13856" y="19816"/>
                  </a:lnTo>
                  <a:cubicBezTo>
                    <a:pt x="16275" y="21054"/>
                    <a:pt x="19152" y="21054"/>
                    <a:pt x="21571" y="19816"/>
                  </a:cubicBezTo>
                  <a:lnTo>
                    <a:pt x="31858" y="13911"/>
                  </a:lnTo>
                  <a:lnTo>
                    <a:pt x="34144" y="12577"/>
                  </a:lnTo>
                  <a:cubicBezTo>
                    <a:pt x="35382" y="12129"/>
                    <a:pt x="36021" y="10758"/>
                    <a:pt x="35573" y="9529"/>
                  </a:cubicBezTo>
                  <a:cubicBezTo>
                    <a:pt x="35325" y="8862"/>
                    <a:pt x="34811" y="8339"/>
                    <a:pt x="34144" y="8101"/>
                  </a:cubicBezTo>
                  <a:lnTo>
                    <a:pt x="21571" y="766"/>
                  </a:lnTo>
                  <a:cubicBezTo>
                    <a:pt x="19152" y="-472"/>
                    <a:pt x="16275" y="-472"/>
                    <a:pt x="13856" y="766"/>
                  </a:cubicBezTo>
                  <a:lnTo>
                    <a:pt x="1283" y="8101"/>
                  </a:lnTo>
                  <a:cubicBezTo>
                    <a:pt x="407" y="8510"/>
                    <a:pt x="-203" y="933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700" name="iŝļíḍé">
              <a:extLst>
                <a:ext uri="{FF2B5EF4-FFF2-40B4-BE49-F238E27FC236}">
                  <a16:creationId xmlns:a16="http://schemas.microsoft.com/office/drawing/2014/main" id="{84D6CD58-E516-415C-96FC-2D75C5043732}"/>
                </a:ext>
              </a:extLst>
            </p:cNvPr>
            <p:cNvSpPr/>
            <p:nvPr/>
          </p:nvSpPr>
          <p:spPr>
            <a:xfrm>
              <a:off x="5631791" y="5048215"/>
              <a:ext cx="105679" cy="61101"/>
            </a:xfrm>
            <a:custGeom>
              <a:avLst/>
              <a:gdLst>
                <a:gd name="connsiteX0" fmla="*/ 1164 w 34718"/>
                <a:gd name="connsiteY0" fmla="*/ 12029 h 20073"/>
                <a:gd name="connsiteX1" fmla="*/ 13260 w 34718"/>
                <a:gd name="connsiteY1" fmla="*/ 18983 h 20073"/>
                <a:gd name="connsiteX2" fmla="*/ 20690 w 34718"/>
                <a:gd name="connsiteY2" fmla="*/ 18983 h 20073"/>
                <a:gd name="connsiteX3" fmla="*/ 32882 w 34718"/>
                <a:gd name="connsiteY3" fmla="*/ 12029 h 20073"/>
                <a:gd name="connsiteX4" fmla="*/ 32882 w 34718"/>
                <a:gd name="connsiteY4" fmla="*/ 7743 h 20073"/>
                <a:gd name="connsiteX5" fmla="*/ 20690 w 34718"/>
                <a:gd name="connsiteY5" fmla="*/ 695 h 20073"/>
                <a:gd name="connsiteX6" fmla="*/ 13260 w 34718"/>
                <a:gd name="connsiteY6" fmla="*/ 695 h 20073"/>
                <a:gd name="connsiteX7" fmla="*/ 1164 w 34718"/>
                <a:gd name="connsiteY7" fmla="*/ 7743 h 20073"/>
                <a:gd name="connsiteX8" fmla="*/ 1164 w 34718"/>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18" h="20073">
                  <a:moveTo>
                    <a:pt x="1164" y="12029"/>
                  </a:moveTo>
                  <a:lnTo>
                    <a:pt x="13260" y="18983"/>
                  </a:lnTo>
                  <a:cubicBezTo>
                    <a:pt x="15585" y="20221"/>
                    <a:pt x="18366" y="20221"/>
                    <a:pt x="20690" y="18983"/>
                  </a:cubicBezTo>
                  <a:lnTo>
                    <a:pt x="32882" y="12029"/>
                  </a:lnTo>
                  <a:cubicBezTo>
                    <a:pt x="34882" y="10791"/>
                    <a:pt x="34882" y="8886"/>
                    <a:pt x="32882" y="7743"/>
                  </a:cubicBezTo>
                  <a:lnTo>
                    <a:pt x="20690" y="695"/>
                  </a:lnTo>
                  <a:cubicBezTo>
                    <a:pt x="18347" y="-448"/>
                    <a:pt x="15604" y="-448"/>
                    <a:pt x="13260" y="695"/>
                  </a:cubicBezTo>
                  <a:lnTo>
                    <a:pt x="1164" y="7743"/>
                  </a:lnTo>
                  <a:cubicBezTo>
                    <a:pt x="-836" y="8886"/>
                    <a:pt x="-836" y="10791"/>
                    <a:pt x="1164" y="12029"/>
                  </a:cubicBezTo>
                  <a:close/>
                </a:path>
              </a:pathLst>
            </a:custGeom>
            <a:solidFill>
              <a:srgbClr val="D1D9E8"/>
            </a:solidFill>
            <a:ln w="9525" cap="flat">
              <a:noFill/>
              <a:prstDash val="solid"/>
              <a:miter/>
            </a:ln>
          </p:spPr>
          <p:txBody>
            <a:bodyPr rtlCol="0" anchor="ctr"/>
            <a:lstStyle/>
            <a:p>
              <a:endParaRPr lang="zh-CN" altLang="en-US"/>
            </a:p>
          </p:txBody>
        </p:sp>
        <p:sp>
          <p:nvSpPr>
            <p:cNvPr id="701" name="íśľïḍè">
              <a:extLst>
                <a:ext uri="{FF2B5EF4-FFF2-40B4-BE49-F238E27FC236}">
                  <a16:creationId xmlns:a16="http://schemas.microsoft.com/office/drawing/2014/main" id="{1FA15F51-98B4-44E8-84CC-9B5580DCA6D2}"/>
                </a:ext>
              </a:extLst>
            </p:cNvPr>
            <p:cNvSpPr/>
            <p:nvPr/>
          </p:nvSpPr>
          <p:spPr>
            <a:xfrm>
              <a:off x="5629687" y="5078658"/>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4 w 36099"/>
                <a:gd name="connsiteY6" fmla="*/ 6981 h 17597"/>
                <a:gd name="connsiteX7" fmla="*/ 35764 w 36099"/>
                <a:gd name="connsiteY7" fmla="*/ -163 h 17597"/>
                <a:gd name="connsiteX8" fmla="*/ 34144 w 36099"/>
                <a:gd name="connsiteY8" fmla="*/ 2124 h 17597"/>
                <a:gd name="connsiteX9" fmla="*/ 31858 w 36099"/>
                <a:gd name="connsiteY9" fmla="*/ 3457 h 17597"/>
                <a:gd name="connsiteX10" fmla="*/ 21571 w 36099"/>
                <a:gd name="connsiteY10" fmla="*/ 9362 h 17597"/>
                <a:gd name="connsiteX11" fmla="*/ 13856 w 36099"/>
                <a:gd name="connsiteY11" fmla="*/ 9362 h 17597"/>
                <a:gd name="connsiteX12" fmla="*/ 3569 w 36099"/>
                <a:gd name="connsiteY12" fmla="*/ 3457 h 17597"/>
                <a:gd name="connsiteX13" fmla="*/ 1283 w 36099"/>
                <a:gd name="connsiteY13" fmla="*/ 2124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03" y="8029"/>
                    <a:pt x="407" y="8858"/>
                    <a:pt x="1283" y="9267"/>
                  </a:cubicBezTo>
                  <a:lnTo>
                    <a:pt x="13856" y="16506"/>
                  </a:lnTo>
                  <a:cubicBezTo>
                    <a:pt x="16275" y="17744"/>
                    <a:pt x="19152" y="17744"/>
                    <a:pt x="21571" y="16506"/>
                  </a:cubicBezTo>
                  <a:lnTo>
                    <a:pt x="34144" y="9267"/>
                  </a:lnTo>
                  <a:cubicBezTo>
                    <a:pt x="35030" y="8829"/>
                    <a:pt x="35640" y="7972"/>
                    <a:pt x="35764" y="6981"/>
                  </a:cubicBezTo>
                  <a:lnTo>
                    <a:pt x="35764" y="-163"/>
                  </a:lnTo>
                  <a:cubicBezTo>
                    <a:pt x="35659" y="828"/>
                    <a:pt x="35049" y="1695"/>
                    <a:pt x="34144" y="2124"/>
                  </a:cubicBezTo>
                  <a:lnTo>
                    <a:pt x="31858" y="3457"/>
                  </a:lnTo>
                  <a:lnTo>
                    <a:pt x="21571" y="9362"/>
                  </a:lnTo>
                  <a:cubicBezTo>
                    <a:pt x="19152" y="10601"/>
                    <a:pt x="16275" y="10601"/>
                    <a:pt x="13856" y="9362"/>
                  </a:cubicBezTo>
                  <a:lnTo>
                    <a:pt x="3569" y="3457"/>
                  </a:lnTo>
                  <a:lnTo>
                    <a:pt x="1283" y="2124"/>
                  </a:lnTo>
                  <a:cubicBezTo>
                    <a:pt x="378" y="1695"/>
                    <a:pt x="-231"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02" name="îṡḻiḍè">
              <a:extLst>
                <a:ext uri="{FF2B5EF4-FFF2-40B4-BE49-F238E27FC236}">
                  <a16:creationId xmlns:a16="http://schemas.microsoft.com/office/drawing/2014/main" id="{38BF5413-1691-43E3-9BB7-047D417A7722}"/>
                </a:ext>
              </a:extLst>
            </p:cNvPr>
            <p:cNvSpPr/>
            <p:nvPr/>
          </p:nvSpPr>
          <p:spPr>
            <a:xfrm>
              <a:off x="5706230" y="5091488"/>
              <a:ext cx="109594" cy="63639"/>
            </a:xfrm>
            <a:custGeom>
              <a:avLst/>
              <a:gdLst>
                <a:gd name="connsiteX0" fmla="*/ -336 w 36004"/>
                <a:gd name="connsiteY0" fmla="*/ 10291 h 20907"/>
                <a:gd name="connsiteX1" fmla="*/ 1188 w 36004"/>
                <a:gd name="connsiteY1" fmla="*/ 12577 h 20907"/>
                <a:gd name="connsiteX2" fmla="*/ 3569 w 36004"/>
                <a:gd name="connsiteY2" fmla="*/ 13911 h 20907"/>
                <a:gd name="connsiteX3" fmla="*/ 13856 w 36004"/>
                <a:gd name="connsiteY3" fmla="*/ 19816 h 20907"/>
                <a:gd name="connsiteX4" fmla="*/ 21476 w 36004"/>
                <a:gd name="connsiteY4" fmla="*/ 19816 h 20907"/>
                <a:gd name="connsiteX5" fmla="*/ 31763 w 36004"/>
                <a:gd name="connsiteY5" fmla="*/ 13911 h 20907"/>
                <a:gd name="connsiteX6" fmla="*/ 34144 w 36004"/>
                <a:gd name="connsiteY6" fmla="*/ 12577 h 20907"/>
                <a:gd name="connsiteX7" fmla="*/ 35668 w 36004"/>
                <a:gd name="connsiteY7" fmla="*/ 10291 h 20907"/>
                <a:gd name="connsiteX8" fmla="*/ 34144 w 36004"/>
                <a:gd name="connsiteY8" fmla="*/ 8100 h 20907"/>
                <a:gd name="connsiteX9" fmla="*/ 21476 w 36004"/>
                <a:gd name="connsiteY9" fmla="*/ 766 h 20907"/>
                <a:gd name="connsiteX10" fmla="*/ 13856 w 36004"/>
                <a:gd name="connsiteY10" fmla="*/ 766 h 20907"/>
                <a:gd name="connsiteX11" fmla="*/ 1188 w 36004"/>
                <a:gd name="connsiteY11" fmla="*/ 8100 h 20907"/>
                <a:gd name="connsiteX12" fmla="*/ -336 w 36004"/>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907">
                  <a:moveTo>
                    <a:pt x="-336" y="10291"/>
                  </a:moveTo>
                  <a:cubicBezTo>
                    <a:pt x="-270" y="11272"/>
                    <a:pt x="311" y="12139"/>
                    <a:pt x="1188" y="12577"/>
                  </a:cubicBezTo>
                  <a:lnTo>
                    <a:pt x="3569" y="13911"/>
                  </a:lnTo>
                  <a:lnTo>
                    <a:pt x="13856" y="19816"/>
                  </a:lnTo>
                  <a:cubicBezTo>
                    <a:pt x="16247" y="21054"/>
                    <a:pt x="19085" y="21054"/>
                    <a:pt x="21476" y="19816"/>
                  </a:cubicBezTo>
                  <a:lnTo>
                    <a:pt x="31763" y="13911"/>
                  </a:lnTo>
                  <a:lnTo>
                    <a:pt x="34144" y="12577"/>
                  </a:lnTo>
                  <a:cubicBezTo>
                    <a:pt x="35021" y="12139"/>
                    <a:pt x="35602" y="11272"/>
                    <a:pt x="35668" y="10291"/>
                  </a:cubicBezTo>
                  <a:cubicBezTo>
                    <a:pt x="35611" y="9339"/>
                    <a:pt x="35021" y="8491"/>
                    <a:pt x="34144" y="8100"/>
                  </a:cubicBezTo>
                  <a:lnTo>
                    <a:pt x="21476" y="766"/>
                  </a:lnTo>
                  <a:cubicBezTo>
                    <a:pt x="19085" y="-472"/>
                    <a:pt x="16247" y="-472"/>
                    <a:pt x="13856" y="766"/>
                  </a:cubicBezTo>
                  <a:lnTo>
                    <a:pt x="1188" y="8100"/>
                  </a:lnTo>
                  <a:cubicBezTo>
                    <a:pt x="311" y="8491"/>
                    <a:pt x="-279"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703" name="ísḷiḑê">
              <a:extLst>
                <a:ext uri="{FF2B5EF4-FFF2-40B4-BE49-F238E27FC236}">
                  <a16:creationId xmlns:a16="http://schemas.microsoft.com/office/drawing/2014/main" id="{18557B00-E9C7-4D8C-A348-9AD6131757A5}"/>
                </a:ext>
              </a:extLst>
            </p:cNvPr>
            <p:cNvSpPr/>
            <p:nvPr/>
          </p:nvSpPr>
          <p:spPr>
            <a:xfrm>
              <a:off x="5708114" y="5092647"/>
              <a:ext cx="106693" cy="61101"/>
            </a:xfrm>
            <a:custGeom>
              <a:avLst/>
              <a:gdLst>
                <a:gd name="connsiteX0" fmla="*/ 1521 w 35051"/>
                <a:gd name="connsiteY0" fmla="*/ 12006 h 20073"/>
                <a:gd name="connsiteX1" fmla="*/ 13618 w 35051"/>
                <a:gd name="connsiteY1" fmla="*/ 19054 h 20073"/>
                <a:gd name="connsiteX2" fmla="*/ 21047 w 35051"/>
                <a:gd name="connsiteY2" fmla="*/ 19054 h 20073"/>
                <a:gd name="connsiteX3" fmla="*/ 33144 w 35051"/>
                <a:gd name="connsiteY3" fmla="*/ 12006 h 20073"/>
                <a:gd name="connsiteX4" fmla="*/ 33144 w 35051"/>
                <a:gd name="connsiteY4" fmla="*/ 7719 h 20073"/>
                <a:gd name="connsiteX5" fmla="*/ 21047 w 35051"/>
                <a:gd name="connsiteY5" fmla="*/ 766 h 20073"/>
                <a:gd name="connsiteX6" fmla="*/ 13618 w 35051"/>
                <a:gd name="connsiteY6" fmla="*/ 766 h 20073"/>
                <a:gd name="connsiteX7" fmla="*/ 1521 w 35051"/>
                <a:gd name="connsiteY7" fmla="*/ 7719 h 20073"/>
                <a:gd name="connsiteX8" fmla="*/ 1521 w 35051"/>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051" h="20073">
                  <a:moveTo>
                    <a:pt x="1521" y="12006"/>
                  </a:moveTo>
                  <a:lnTo>
                    <a:pt x="13618" y="19054"/>
                  </a:lnTo>
                  <a:cubicBezTo>
                    <a:pt x="15961" y="20197"/>
                    <a:pt x="18704" y="20197"/>
                    <a:pt x="21047" y="19054"/>
                  </a:cubicBezTo>
                  <a:lnTo>
                    <a:pt x="33144" y="12006"/>
                  </a:lnTo>
                  <a:cubicBezTo>
                    <a:pt x="35239" y="10863"/>
                    <a:pt x="35239" y="8957"/>
                    <a:pt x="33144" y="7719"/>
                  </a:cubicBezTo>
                  <a:lnTo>
                    <a:pt x="21047" y="766"/>
                  </a:lnTo>
                  <a:cubicBezTo>
                    <a:pt x="18723" y="-472"/>
                    <a:pt x="15942" y="-472"/>
                    <a:pt x="13618" y="766"/>
                  </a:cubicBezTo>
                  <a:lnTo>
                    <a:pt x="1521" y="7719"/>
                  </a:lnTo>
                  <a:cubicBezTo>
                    <a:pt x="-955" y="8957"/>
                    <a:pt x="-955" y="10863"/>
                    <a:pt x="1521" y="12006"/>
                  </a:cubicBezTo>
                  <a:close/>
                </a:path>
              </a:pathLst>
            </a:custGeom>
            <a:solidFill>
              <a:srgbClr val="D1D9E8"/>
            </a:solidFill>
            <a:ln w="9525" cap="flat">
              <a:noFill/>
              <a:prstDash val="solid"/>
              <a:miter/>
            </a:ln>
          </p:spPr>
          <p:txBody>
            <a:bodyPr rtlCol="0" anchor="ctr"/>
            <a:lstStyle/>
            <a:p>
              <a:endParaRPr lang="zh-CN" altLang="en-US"/>
            </a:p>
          </p:txBody>
        </p:sp>
        <p:sp>
          <p:nvSpPr>
            <p:cNvPr id="704" name="ïşḷiḓê">
              <a:extLst>
                <a:ext uri="{FF2B5EF4-FFF2-40B4-BE49-F238E27FC236}">
                  <a16:creationId xmlns:a16="http://schemas.microsoft.com/office/drawing/2014/main" id="{88E711A4-B166-45BB-AEB6-C435E71E7153}"/>
                </a:ext>
              </a:extLst>
            </p:cNvPr>
            <p:cNvSpPr/>
            <p:nvPr/>
          </p:nvSpPr>
          <p:spPr>
            <a:xfrm>
              <a:off x="5706230" y="5123306"/>
              <a:ext cx="109594" cy="54142"/>
            </a:xfrm>
            <a:custGeom>
              <a:avLst/>
              <a:gdLst>
                <a:gd name="connsiteX0" fmla="*/ -336 w 36004"/>
                <a:gd name="connsiteY0" fmla="*/ -163 h 17787"/>
                <a:gd name="connsiteX1" fmla="*/ -336 w 36004"/>
                <a:gd name="connsiteY1" fmla="*/ 7267 h 17787"/>
                <a:gd name="connsiteX2" fmla="*/ 1188 w 36004"/>
                <a:gd name="connsiteY2" fmla="*/ 9458 h 17787"/>
                <a:gd name="connsiteX3" fmla="*/ 13856 w 36004"/>
                <a:gd name="connsiteY3" fmla="*/ 16697 h 17787"/>
                <a:gd name="connsiteX4" fmla="*/ 21476 w 36004"/>
                <a:gd name="connsiteY4" fmla="*/ 16697 h 17787"/>
                <a:gd name="connsiteX5" fmla="*/ 34144 w 36004"/>
                <a:gd name="connsiteY5" fmla="*/ 9458 h 17787"/>
                <a:gd name="connsiteX6" fmla="*/ 35668 w 36004"/>
                <a:gd name="connsiteY6" fmla="*/ 7172 h 17787"/>
                <a:gd name="connsiteX7" fmla="*/ 35668 w 36004"/>
                <a:gd name="connsiteY7" fmla="*/ 28 h 17787"/>
                <a:gd name="connsiteX8" fmla="*/ 34144 w 36004"/>
                <a:gd name="connsiteY8" fmla="*/ 2314 h 17787"/>
                <a:gd name="connsiteX9" fmla="*/ 31763 w 36004"/>
                <a:gd name="connsiteY9" fmla="*/ 3647 h 17787"/>
                <a:gd name="connsiteX10" fmla="*/ 21476 w 36004"/>
                <a:gd name="connsiteY10" fmla="*/ 9553 h 17787"/>
                <a:gd name="connsiteX11" fmla="*/ 13856 w 36004"/>
                <a:gd name="connsiteY11" fmla="*/ 9553 h 17787"/>
                <a:gd name="connsiteX12" fmla="*/ 3569 w 36004"/>
                <a:gd name="connsiteY12" fmla="*/ 3647 h 17787"/>
                <a:gd name="connsiteX13" fmla="*/ 1188 w 36004"/>
                <a:gd name="connsiteY13" fmla="*/ 2314 h 17787"/>
                <a:gd name="connsiteX14" fmla="*/ -336 w 36004"/>
                <a:gd name="connsiteY14" fmla="*/ -163 h 17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787">
                  <a:moveTo>
                    <a:pt x="-336" y="-163"/>
                  </a:moveTo>
                  <a:lnTo>
                    <a:pt x="-336" y="7267"/>
                  </a:lnTo>
                  <a:cubicBezTo>
                    <a:pt x="-241" y="8210"/>
                    <a:pt x="340" y="9039"/>
                    <a:pt x="1188" y="9458"/>
                  </a:cubicBezTo>
                  <a:lnTo>
                    <a:pt x="13856" y="16697"/>
                  </a:lnTo>
                  <a:cubicBezTo>
                    <a:pt x="16247" y="17935"/>
                    <a:pt x="19085" y="17935"/>
                    <a:pt x="21476" y="16697"/>
                  </a:cubicBezTo>
                  <a:lnTo>
                    <a:pt x="34144" y="9458"/>
                  </a:lnTo>
                  <a:cubicBezTo>
                    <a:pt x="35011" y="9010"/>
                    <a:pt x="35582" y="8143"/>
                    <a:pt x="35668" y="7172"/>
                  </a:cubicBezTo>
                  <a:lnTo>
                    <a:pt x="35668" y="28"/>
                  </a:lnTo>
                  <a:cubicBezTo>
                    <a:pt x="35602" y="1009"/>
                    <a:pt x="35021" y="1876"/>
                    <a:pt x="34144" y="2314"/>
                  </a:cubicBezTo>
                  <a:lnTo>
                    <a:pt x="31763" y="3647"/>
                  </a:lnTo>
                  <a:lnTo>
                    <a:pt x="21476" y="9553"/>
                  </a:lnTo>
                  <a:cubicBezTo>
                    <a:pt x="19085" y="10791"/>
                    <a:pt x="16247" y="10791"/>
                    <a:pt x="13856" y="9553"/>
                  </a:cubicBezTo>
                  <a:lnTo>
                    <a:pt x="3569" y="3647"/>
                  </a:lnTo>
                  <a:lnTo>
                    <a:pt x="1188" y="2314"/>
                  </a:lnTo>
                  <a:cubicBezTo>
                    <a:pt x="254" y="1847"/>
                    <a:pt x="-336" y="885"/>
                    <a:pt x="-336" y="-163"/>
                  </a:cubicBezTo>
                  <a:close/>
                </a:path>
              </a:pathLst>
            </a:custGeom>
            <a:solidFill>
              <a:srgbClr val="BF4200"/>
            </a:solidFill>
            <a:ln w="9525" cap="flat">
              <a:noFill/>
              <a:prstDash val="solid"/>
              <a:miter/>
            </a:ln>
          </p:spPr>
          <p:txBody>
            <a:bodyPr rtlCol="0" anchor="ctr"/>
            <a:lstStyle/>
            <a:p>
              <a:endParaRPr lang="zh-CN" altLang="en-US"/>
            </a:p>
          </p:txBody>
        </p:sp>
        <p:sp>
          <p:nvSpPr>
            <p:cNvPr id="705" name="ïṩḷîḋe">
              <a:extLst>
                <a:ext uri="{FF2B5EF4-FFF2-40B4-BE49-F238E27FC236}">
                  <a16:creationId xmlns:a16="http://schemas.microsoft.com/office/drawing/2014/main" id="{CA04ECC8-0A7E-4661-86D6-300386EEE136}"/>
                </a:ext>
              </a:extLst>
            </p:cNvPr>
            <p:cNvSpPr/>
            <p:nvPr/>
          </p:nvSpPr>
          <p:spPr>
            <a:xfrm>
              <a:off x="5784224" y="5136136"/>
              <a:ext cx="109883" cy="63639"/>
            </a:xfrm>
            <a:custGeom>
              <a:avLst/>
              <a:gdLst>
                <a:gd name="connsiteX0" fmla="*/ -336 w 36099"/>
                <a:gd name="connsiteY0" fmla="*/ 10291 h 20907"/>
                <a:gd name="connsiteX1" fmla="*/ 1283 w 36099"/>
                <a:gd name="connsiteY1" fmla="*/ 12577 h 20907"/>
                <a:gd name="connsiteX2" fmla="*/ 3569 w 36099"/>
                <a:gd name="connsiteY2" fmla="*/ 13911 h 20907"/>
                <a:gd name="connsiteX3" fmla="*/ 13856 w 36099"/>
                <a:gd name="connsiteY3" fmla="*/ 19816 h 20907"/>
                <a:gd name="connsiteX4" fmla="*/ 21571 w 36099"/>
                <a:gd name="connsiteY4" fmla="*/ 19816 h 20907"/>
                <a:gd name="connsiteX5" fmla="*/ 31858 w 36099"/>
                <a:gd name="connsiteY5" fmla="*/ 13911 h 20907"/>
                <a:gd name="connsiteX6" fmla="*/ 34144 w 36099"/>
                <a:gd name="connsiteY6" fmla="*/ 12577 h 20907"/>
                <a:gd name="connsiteX7" fmla="*/ 35764 w 36099"/>
                <a:gd name="connsiteY7" fmla="*/ 10291 h 20907"/>
                <a:gd name="connsiteX8" fmla="*/ 34144 w 36099"/>
                <a:gd name="connsiteY8" fmla="*/ 8100 h 20907"/>
                <a:gd name="connsiteX9" fmla="*/ 21571 w 36099"/>
                <a:gd name="connsiteY9" fmla="*/ 766 h 20907"/>
                <a:gd name="connsiteX10" fmla="*/ 13856 w 36099"/>
                <a:gd name="connsiteY10" fmla="*/ 766 h 20907"/>
                <a:gd name="connsiteX11" fmla="*/ 1283 w 36099"/>
                <a:gd name="connsiteY11" fmla="*/ 8100 h 20907"/>
                <a:gd name="connsiteX12" fmla="*/ -336 w 36099"/>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99" h="20907">
                  <a:moveTo>
                    <a:pt x="-336" y="10291"/>
                  </a:moveTo>
                  <a:cubicBezTo>
                    <a:pt x="-232" y="11282"/>
                    <a:pt x="378" y="12148"/>
                    <a:pt x="1283" y="12577"/>
                  </a:cubicBezTo>
                  <a:lnTo>
                    <a:pt x="3569" y="13911"/>
                  </a:lnTo>
                  <a:lnTo>
                    <a:pt x="13856" y="19816"/>
                  </a:lnTo>
                  <a:cubicBezTo>
                    <a:pt x="16275" y="21054"/>
                    <a:pt x="19152" y="21054"/>
                    <a:pt x="21571" y="19816"/>
                  </a:cubicBezTo>
                  <a:lnTo>
                    <a:pt x="31858" y="13911"/>
                  </a:lnTo>
                  <a:lnTo>
                    <a:pt x="34144" y="12577"/>
                  </a:lnTo>
                  <a:cubicBezTo>
                    <a:pt x="35077" y="12187"/>
                    <a:pt x="35697" y="11301"/>
                    <a:pt x="35764" y="10291"/>
                  </a:cubicBezTo>
                  <a:cubicBezTo>
                    <a:pt x="35687" y="9310"/>
                    <a:pt x="35059" y="8462"/>
                    <a:pt x="34144" y="8100"/>
                  </a:cubicBezTo>
                  <a:lnTo>
                    <a:pt x="21571" y="766"/>
                  </a:lnTo>
                  <a:cubicBezTo>
                    <a:pt x="19152" y="-472"/>
                    <a:pt x="16275" y="-472"/>
                    <a:pt x="13856" y="766"/>
                  </a:cubicBezTo>
                  <a:lnTo>
                    <a:pt x="1283" y="8100"/>
                  </a:lnTo>
                  <a:cubicBezTo>
                    <a:pt x="397" y="8491"/>
                    <a:pt x="-222"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706" name="íṧ1iḑè">
              <a:extLst>
                <a:ext uri="{FF2B5EF4-FFF2-40B4-BE49-F238E27FC236}">
                  <a16:creationId xmlns:a16="http://schemas.microsoft.com/office/drawing/2014/main" id="{4A5EE799-FEDC-454A-B8F7-D23BCDB04B26}"/>
                </a:ext>
              </a:extLst>
            </p:cNvPr>
            <p:cNvSpPr/>
            <p:nvPr/>
          </p:nvSpPr>
          <p:spPr>
            <a:xfrm>
              <a:off x="5786395" y="5137296"/>
              <a:ext cx="105828" cy="61682"/>
            </a:xfrm>
            <a:custGeom>
              <a:avLst/>
              <a:gdLst>
                <a:gd name="connsiteX0" fmla="*/ 1141 w 34767"/>
                <a:gd name="connsiteY0" fmla="*/ 12196 h 20264"/>
                <a:gd name="connsiteX1" fmla="*/ 13333 w 34767"/>
                <a:gd name="connsiteY1" fmla="*/ 19244 h 20264"/>
                <a:gd name="connsiteX2" fmla="*/ 20763 w 34767"/>
                <a:gd name="connsiteY2" fmla="*/ 19244 h 20264"/>
                <a:gd name="connsiteX3" fmla="*/ 32859 w 34767"/>
                <a:gd name="connsiteY3" fmla="*/ 12196 h 20264"/>
                <a:gd name="connsiteX4" fmla="*/ 32859 w 34767"/>
                <a:gd name="connsiteY4" fmla="*/ 7910 h 20264"/>
                <a:gd name="connsiteX5" fmla="*/ 20953 w 34767"/>
                <a:gd name="connsiteY5" fmla="*/ 766 h 20264"/>
                <a:gd name="connsiteX6" fmla="*/ 13523 w 34767"/>
                <a:gd name="connsiteY6" fmla="*/ 766 h 20264"/>
                <a:gd name="connsiteX7" fmla="*/ 1331 w 34767"/>
                <a:gd name="connsiteY7" fmla="*/ 7719 h 20264"/>
                <a:gd name="connsiteX8" fmla="*/ 1141 w 34767"/>
                <a:gd name="connsiteY8" fmla="*/ 12196 h 20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7" h="20264">
                  <a:moveTo>
                    <a:pt x="1141" y="12196"/>
                  </a:moveTo>
                  <a:lnTo>
                    <a:pt x="13333" y="19244"/>
                  </a:lnTo>
                  <a:cubicBezTo>
                    <a:pt x="15676" y="20387"/>
                    <a:pt x="18419" y="20387"/>
                    <a:pt x="20763" y="19244"/>
                  </a:cubicBezTo>
                  <a:lnTo>
                    <a:pt x="32859" y="12196"/>
                  </a:lnTo>
                  <a:cubicBezTo>
                    <a:pt x="34955" y="11053"/>
                    <a:pt x="34955" y="9148"/>
                    <a:pt x="32859" y="7910"/>
                  </a:cubicBezTo>
                  <a:lnTo>
                    <a:pt x="20953" y="766"/>
                  </a:lnTo>
                  <a:cubicBezTo>
                    <a:pt x="18629" y="-472"/>
                    <a:pt x="15847" y="-472"/>
                    <a:pt x="13523" y="766"/>
                  </a:cubicBezTo>
                  <a:lnTo>
                    <a:pt x="1331" y="7719"/>
                  </a:lnTo>
                  <a:cubicBezTo>
                    <a:pt x="-859" y="8958"/>
                    <a:pt x="-859" y="10862"/>
                    <a:pt x="1141" y="12196"/>
                  </a:cubicBezTo>
                  <a:close/>
                </a:path>
              </a:pathLst>
            </a:custGeom>
            <a:solidFill>
              <a:srgbClr val="D1D9E8"/>
            </a:solidFill>
            <a:ln w="9525" cap="flat">
              <a:noFill/>
              <a:prstDash val="solid"/>
              <a:miter/>
            </a:ln>
          </p:spPr>
          <p:txBody>
            <a:bodyPr rtlCol="0" anchor="ctr"/>
            <a:lstStyle/>
            <a:p>
              <a:endParaRPr lang="zh-CN" altLang="en-US"/>
            </a:p>
          </p:txBody>
        </p:sp>
        <p:sp>
          <p:nvSpPr>
            <p:cNvPr id="707" name="ïṡľîḋé">
              <a:extLst>
                <a:ext uri="{FF2B5EF4-FFF2-40B4-BE49-F238E27FC236}">
                  <a16:creationId xmlns:a16="http://schemas.microsoft.com/office/drawing/2014/main" id="{7CC78594-D98B-42FD-844E-239DC8C7754A}"/>
                </a:ext>
              </a:extLst>
            </p:cNvPr>
            <p:cNvSpPr/>
            <p:nvPr/>
          </p:nvSpPr>
          <p:spPr>
            <a:xfrm>
              <a:off x="5784224" y="5167957"/>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4 w 36099"/>
                <a:gd name="connsiteY6" fmla="*/ 6981 h 17597"/>
                <a:gd name="connsiteX7" fmla="*/ 35764 w 36099"/>
                <a:gd name="connsiteY7" fmla="*/ -163 h 17597"/>
                <a:gd name="connsiteX8" fmla="*/ 34144 w 36099"/>
                <a:gd name="connsiteY8" fmla="*/ 2123 h 17597"/>
                <a:gd name="connsiteX9" fmla="*/ 31858 w 36099"/>
                <a:gd name="connsiteY9" fmla="*/ 3457 h 17597"/>
                <a:gd name="connsiteX10" fmla="*/ 21571 w 36099"/>
                <a:gd name="connsiteY10" fmla="*/ 9362 h 17597"/>
                <a:gd name="connsiteX11" fmla="*/ 13856 w 36099"/>
                <a:gd name="connsiteY11" fmla="*/ 9362 h 17597"/>
                <a:gd name="connsiteX12" fmla="*/ 3569 w 36099"/>
                <a:gd name="connsiteY12" fmla="*/ 3457 h 17597"/>
                <a:gd name="connsiteX13" fmla="*/ 1283 w 36099"/>
                <a:gd name="connsiteY13" fmla="*/ 2123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03" y="8029"/>
                    <a:pt x="407" y="8857"/>
                    <a:pt x="1283" y="9267"/>
                  </a:cubicBezTo>
                  <a:lnTo>
                    <a:pt x="13856" y="16506"/>
                  </a:lnTo>
                  <a:cubicBezTo>
                    <a:pt x="16275" y="17744"/>
                    <a:pt x="19152" y="17744"/>
                    <a:pt x="21571" y="16506"/>
                  </a:cubicBezTo>
                  <a:lnTo>
                    <a:pt x="34144" y="9267"/>
                  </a:lnTo>
                  <a:cubicBezTo>
                    <a:pt x="35059" y="8857"/>
                    <a:pt x="35678" y="7981"/>
                    <a:pt x="35764" y="6981"/>
                  </a:cubicBezTo>
                  <a:lnTo>
                    <a:pt x="35764" y="-163"/>
                  </a:lnTo>
                  <a:cubicBezTo>
                    <a:pt x="35697" y="847"/>
                    <a:pt x="35077" y="1733"/>
                    <a:pt x="34144" y="2123"/>
                  </a:cubicBezTo>
                  <a:lnTo>
                    <a:pt x="31858" y="3457"/>
                  </a:lnTo>
                  <a:lnTo>
                    <a:pt x="21571" y="9362"/>
                  </a:lnTo>
                  <a:cubicBezTo>
                    <a:pt x="19152" y="10601"/>
                    <a:pt x="16275" y="10601"/>
                    <a:pt x="13856" y="9362"/>
                  </a:cubicBezTo>
                  <a:lnTo>
                    <a:pt x="3569" y="3457"/>
                  </a:lnTo>
                  <a:lnTo>
                    <a:pt x="1283" y="2123"/>
                  </a:lnTo>
                  <a:cubicBezTo>
                    <a:pt x="378" y="1695"/>
                    <a:pt x="-232"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08" name="íṩ1íḍê">
              <a:extLst>
                <a:ext uri="{FF2B5EF4-FFF2-40B4-BE49-F238E27FC236}">
                  <a16:creationId xmlns:a16="http://schemas.microsoft.com/office/drawing/2014/main" id="{32DBC4E1-F499-4602-A8C0-21D91E071DC1}"/>
                </a:ext>
              </a:extLst>
            </p:cNvPr>
            <p:cNvSpPr/>
            <p:nvPr/>
          </p:nvSpPr>
          <p:spPr>
            <a:xfrm>
              <a:off x="5861634" y="5180787"/>
              <a:ext cx="109362" cy="63588"/>
            </a:xfrm>
            <a:custGeom>
              <a:avLst/>
              <a:gdLst>
                <a:gd name="connsiteX0" fmla="*/ -336 w 35928"/>
                <a:gd name="connsiteY0" fmla="*/ 10291 h 20890"/>
                <a:gd name="connsiteX1" fmla="*/ 1188 w 35928"/>
                <a:gd name="connsiteY1" fmla="*/ 12482 h 20890"/>
                <a:gd name="connsiteX2" fmla="*/ 3569 w 35928"/>
                <a:gd name="connsiteY2" fmla="*/ 13910 h 20890"/>
                <a:gd name="connsiteX3" fmla="*/ 13856 w 35928"/>
                <a:gd name="connsiteY3" fmla="*/ 19721 h 20890"/>
                <a:gd name="connsiteX4" fmla="*/ 21476 w 35928"/>
                <a:gd name="connsiteY4" fmla="*/ 19721 h 20890"/>
                <a:gd name="connsiteX5" fmla="*/ 31763 w 35928"/>
                <a:gd name="connsiteY5" fmla="*/ 13910 h 20890"/>
                <a:gd name="connsiteX6" fmla="*/ 34144 w 35928"/>
                <a:gd name="connsiteY6" fmla="*/ 12482 h 20890"/>
                <a:gd name="connsiteX7" fmla="*/ 35402 w 35928"/>
                <a:gd name="connsiteY7" fmla="*/ 9358 h 20890"/>
                <a:gd name="connsiteX8" fmla="*/ 34144 w 35928"/>
                <a:gd name="connsiteY8" fmla="*/ 8100 h 20890"/>
                <a:gd name="connsiteX9" fmla="*/ 21476 w 35928"/>
                <a:gd name="connsiteY9" fmla="*/ 766 h 20890"/>
                <a:gd name="connsiteX10" fmla="*/ 13856 w 35928"/>
                <a:gd name="connsiteY10" fmla="*/ 766 h 20890"/>
                <a:gd name="connsiteX11" fmla="*/ 1188 w 35928"/>
                <a:gd name="connsiteY11" fmla="*/ 8100 h 20890"/>
                <a:gd name="connsiteX12" fmla="*/ -336 w 35928"/>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928" h="20890">
                  <a:moveTo>
                    <a:pt x="-336" y="10291"/>
                  </a:moveTo>
                  <a:cubicBezTo>
                    <a:pt x="-298" y="11253"/>
                    <a:pt x="292" y="12110"/>
                    <a:pt x="1188" y="12482"/>
                  </a:cubicBezTo>
                  <a:lnTo>
                    <a:pt x="3569" y="13910"/>
                  </a:lnTo>
                  <a:lnTo>
                    <a:pt x="13856" y="19721"/>
                  </a:lnTo>
                  <a:cubicBezTo>
                    <a:pt x="16218" y="21064"/>
                    <a:pt x="19114" y="21064"/>
                    <a:pt x="21476" y="19721"/>
                  </a:cubicBezTo>
                  <a:lnTo>
                    <a:pt x="31763" y="13910"/>
                  </a:lnTo>
                  <a:lnTo>
                    <a:pt x="34144" y="12482"/>
                  </a:lnTo>
                  <a:cubicBezTo>
                    <a:pt x="35354" y="11968"/>
                    <a:pt x="35916" y="10567"/>
                    <a:pt x="35402" y="9358"/>
                  </a:cubicBezTo>
                  <a:cubicBezTo>
                    <a:pt x="35164" y="8796"/>
                    <a:pt x="34706" y="8338"/>
                    <a:pt x="34144" y="8100"/>
                  </a:cubicBezTo>
                  <a:lnTo>
                    <a:pt x="21476" y="766"/>
                  </a:lnTo>
                  <a:cubicBezTo>
                    <a:pt x="19085" y="-472"/>
                    <a:pt x="16247" y="-472"/>
                    <a:pt x="13856" y="766"/>
                  </a:cubicBezTo>
                  <a:lnTo>
                    <a:pt x="1188" y="8100"/>
                  </a:lnTo>
                  <a:cubicBezTo>
                    <a:pt x="292" y="8472"/>
                    <a:pt x="-298"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709" name="ïS1ïḍé">
              <a:extLst>
                <a:ext uri="{FF2B5EF4-FFF2-40B4-BE49-F238E27FC236}">
                  <a16:creationId xmlns:a16="http://schemas.microsoft.com/office/drawing/2014/main" id="{9D66241F-5565-4851-BC76-A89778898827}"/>
                </a:ext>
              </a:extLst>
            </p:cNvPr>
            <p:cNvSpPr/>
            <p:nvPr/>
          </p:nvSpPr>
          <p:spPr>
            <a:xfrm>
              <a:off x="5863519" y="5181944"/>
              <a:ext cx="105898" cy="61104"/>
            </a:xfrm>
            <a:custGeom>
              <a:avLst/>
              <a:gdLst>
                <a:gd name="connsiteX0" fmla="*/ 1235 w 34790"/>
                <a:gd name="connsiteY0" fmla="*/ 12006 h 20074"/>
                <a:gd name="connsiteX1" fmla="*/ 13332 w 34790"/>
                <a:gd name="connsiteY1" fmla="*/ 19054 h 20074"/>
                <a:gd name="connsiteX2" fmla="*/ 20762 w 34790"/>
                <a:gd name="connsiteY2" fmla="*/ 19054 h 20074"/>
                <a:gd name="connsiteX3" fmla="*/ 32954 w 34790"/>
                <a:gd name="connsiteY3" fmla="*/ 12006 h 20074"/>
                <a:gd name="connsiteX4" fmla="*/ 32954 w 34790"/>
                <a:gd name="connsiteY4" fmla="*/ 7719 h 20074"/>
                <a:gd name="connsiteX5" fmla="*/ 20762 w 34790"/>
                <a:gd name="connsiteY5" fmla="*/ 766 h 20074"/>
                <a:gd name="connsiteX6" fmla="*/ 13332 w 34790"/>
                <a:gd name="connsiteY6" fmla="*/ 766 h 20074"/>
                <a:gd name="connsiteX7" fmla="*/ 1235 w 34790"/>
                <a:gd name="connsiteY7" fmla="*/ 7719 h 20074"/>
                <a:gd name="connsiteX8" fmla="*/ 1235 w 34790"/>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4">
                  <a:moveTo>
                    <a:pt x="1235" y="12006"/>
                  </a:moveTo>
                  <a:lnTo>
                    <a:pt x="13332" y="19054"/>
                  </a:lnTo>
                  <a:cubicBezTo>
                    <a:pt x="15675" y="20197"/>
                    <a:pt x="18419" y="20197"/>
                    <a:pt x="20762" y="19054"/>
                  </a:cubicBezTo>
                  <a:lnTo>
                    <a:pt x="32954" y="12006"/>
                  </a:lnTo>
                  <a:cubicBezTo>
                    <a:pt x="34954" y="10863"/>
                    <a:pt x="34954" y="8958"/>
                    <a:pt x="32954" y="7719"/>
                  </a:cubicBezTo>
                  <a:lnTo>
                    <a:pt x="20762" y="766"/>
                  </a:lnTo>
                  <a:cubicBezTo>
                    <a:pt x="18437" y="-472"/>
                    <a:pt x="15656" y="-472"/>
                    <a:pt x="13332" y="766"/>
                  </a:cubicBezTo>
                  <a:lnTo>
                    <a:pt x="1235" y="7719"/>
                  </a:lnTo>
                  <a:cubicBezTo>
                    <a:pt x="-860" y="8958"/>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710" name="ïṡļîďê">
              <a:extLst>
                <a:ext uri="{FF2B5EF4-FFF2-40B4-BE49-F238E27FC236}">
                  <a16:creationId xmlns:a16="http://schemas.microsoft.com/office/drawing/2014/main" id="{0FAA26E7-5C15-4DD0-B9A3-032D8165BDF5}"/>
                </a:ext>
              </a:extLst>
            </p:cNvPr>
            <p:cNvSpPr/>
            <p:nvPr/>
          </p:nvSpPr>
          <p:spPr>
            <a:xfrm>
              <a:off x="5861634" y="5212606"/>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028 h 17597"/>
                <a:gd name="connsiteX9" fmla="*/ 31763 w 36004"/>
                <a:gd name="connsiteY9" fmla="*/ 3457 h 17597"/>
                <a:gd name="connsiteX10" fmla="*/ 21476 w 36004"/>
                <a:gd name="connsiteY10" fmla="*/ 9267 h 17597"/>
                <a:gd name="connsiteX11" fmla="*/ 13856 w 36004"/>
                <a:gd name="connsiteY11" fmla="*/ 9267 h 17597"/>
                <a:gd name="connsiteX12" fmla="*/ 3569 w 36004"/>
                <a:gd name="connsiteY12" fmla="*/ 3457 h 17597"/>
                <a:gd name="connsiteX13" fmla="*/ 1188 w 36004"/>
                <a:gd name="connsiteY13" fmla="*/ 2028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20"/>
                    <a:pt x="35583" y="7953"/>
                    <a:pt x="35668" y="6981"/>
                  </a:cubicBezTo>
                  <a:lnTo>
                    <a:pt x="35668" y="-163"/>
                  </a:lnTo>
                  <a:cubicBezTo>
                    <a:pt x="35630" y="800"/>
                    <a:pt x="35040" y="1657"/>
                    <a:pt x="34144" y="2028"/>
                  </a:cubicBezTo>
                  <a:lnTo>
                    <a:pt x="31763" y="3457"/>
                  </a:lnTo>
                  <a:lnTo>
                    <a:pt x="21476" y="9267"/>
                  </a:lnTo>
                  <a:cubicBezTo>
                    <a:pt x="19114" y="10610"/>
                    <a:pt x="16218" y="10610"/>
                    <a:pt x="13856" y="9267"/>
                  </a:cubicBezTo>
                  <a:lnTo>
                    <a:pt x="3569" y="3457"/>
                  </a:lnTo>
                  <a:lnTo>
                    <a:pt x="1188" y="2028"/>
                  </a:lnTo>
                  <a:cubicBezTo>
                    <a:pt x="292" y="1657"/>
                    <a:pt x="-298" y="800"/>
                    <a:pt x="-336" y="-163"/>
                  </a:cubicBezTo>
                  <a:close/>
                </a:path>
              </a:pathLst>
            </a:custGeom>
            <a:solidFill>
              <a:srgbClr val="BF4200"/>
            </a:solidFill>
            <a:ln w="9525" cap="flat">
              <a:noFill/>
              <a:prstDash val="solid"/>
              <a:miter/>
            </a:ln>
          </p:spPr>
          <p:txBody>
            <a:bodyPr rtlCol="0" anchor="ctr"/>
            <a:lstStyle/>
            <a:p>
              <a:endParaRPr lang="zh-CN" altLang="en-US"/>
            </a:p>
          </p:txBody>
        </p:sp>
        <p:sp>
          <p:nvSpPr>
            <p:cNvPr id="711" name="î$1ïḓé">
              <a:extLst>
                <a:ext uri="{FF2B5EF4-FFF2-40B4-BE49-F238E27FC236}">
                  <a16:creationId xmlns:a16="http://schemas.microsoft.com/office/drawing/2014/main" id="{36CC1510-06C2-4A52-91E8-9B6439EFC445}"/>
                </a:ext>
              </a:extLst>
            </p:cNvPr>
            <p:cNvSpPr/>
            <p:nvPr/>
          </p:nvSpPr>
          <p:spPr>
            <a:xfrm>
              <a:off x="5938177" y="5225436"/>
              <a:ext cx="109594" cy="63588"/>
            </a:xfrm>
            <a:custGeom>
              <a:avLst/>
              <a:gdLst>
                <a:gd name="connsiteX0" fmla="*/ -336 w 36004"/>
                <a:gd name="connsiteY0" fmla="*/ 10291 h 20890"/>
                <a:gd name="connsiteX1" fmla="*/ 1188 w 36004"/>
                <a:gd name="connsiteY1" fmla="*/ 12482 h 20890"/>
                <a:gd name="connsiteX2" fmla="*/ 3569 w 36004"/>
                <a:gd name="connsiteY2" fmla="*/ 13911 h 20890"/>
                <a:gd name="connsiteX3" fmla="*/ 13856 w 36004"/>
                <a:gd name="connsiteY3" fmla="*/ 19721 h 20890"/>
                <a:gd name="connsiteX4" fmla="*/ 21476 w 36004"/>
                <a:gd name="connsiteY4" fmla="*/ 19721 h 20890"/>
                <a:gd name="connsiteX5" fmla="*/ 31763 w 36004"/>
                <a:gd name="connsiteY5" fmla="*/ 13911 h 20890"/>
                <a:gd name="connsiteX6" fmla="*/ 34144 w 36004"/>
                <a:gd name="connsiteY6" fmla="*/ 12482 h 20890"/>
                <a:gd name="connsiteX7" fmla="*/ 35668 w 36004"/>
                <a:gd name="connsiteY7" fmla="*/ 10291 h 20890"/>
                <a:gd name="connsiteX8" fmla="*/ 34144 w 36004"/>
                <a:gd name="connsiteY8" fmla="*/ 8005 h 20890"/>
                <a:gd name="connsiteX9" fmla="*/ 21476 w 36004"/>
                <a:gd name="connsiteY9" fmla="*/ 766 h 20890"/>
                <a:gd name="connsiteX10" fmla="*/ 13856 w 36004"/>
                <a:gd name="connsiteY10" fmla="*/ 766 h 20890"/>
                <a:gd name="connsiteX11" fmla="*/ 1188 w 36004"/>
                <a:gd name="connsiteY11" fmla="*/ 8005 h 20890"/>
                <a:gd name="connsiteX12" fmla="*/ -336 w 36004"/>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291"/>
                  </a:moveTo>
                  <a:cubicBezTo>
                    <a:pt x="-279" y="11244"/>
                    <a:pt x="311" y="12091"/>
                    <a:pt x="1188" y="12482"/>
                  </a:cubicBezTo>
                  <a:lnTo>
                    <a:pt x="3569" y="13911"/>
                  </a:lnTo>
                  <a:lnTo>
                    <a:pt x="13856" y="19721"/>
                  </a:lnTo>
                  <a:cubicBezTo>
                    <a:pt x="16218" y="21064"/>
                    <a:pt x="19114" y="21064"/>
                    <a:pt x="21476" y="19721"/>
                  </a:cubicBezTo>
                  <a:lnTo>
                    <a:pt x="31763" y="13911"/>
                  </a:lnTo>
                  <a:lnTo>
                    <a:pt x="34144" y="12482"/>
                  </a:lnTo>
                  <a:cubicBezTo>
                    <a:pt x="35021" y="12091"/>
                    <a:pt x="35611" y="11253"/>
                    <a:pt x="35668" y="10291"/>
                  </a:cubicBezTo>
                  <a:cubicBezTo>
                    <a:pt x="35602" y="9310"/>
                    <a:pt x="35021" y="8443"/>
                    <a:pt x="34144" y="8005"/>
                  </a:cubicBezTo>
                  <a:lnTo>
                    <a:pt x="21476" y="766"/>
                  </a:lnTo>
                  <a:cubicBezTo>
                    <a:pt x="19085" y="-472"/>
                    <a:pt x="16247" y="-472"/>
                    <a:pt x="13856" y="766"/>
                  </a:cubicBezTo>
                  <a:lnTo>
                    <a:pt x="1188" y="8005"/>
                  </a:lnTo>
                  <a:cubicBezTo>
                    <a:pt x="311" y="8443"/>
                    <a:pt x="-270" y="9310"/>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712" name="íśļídè">
              <a:extLst>
                <a:ext uri="{FF2B5EF4-FFF2-40B4-BE49-F238E27FC236}">
                  <a16:creationId xmlns:a16="http://schemas.microsoft.com/office/drawing/2014/main" id="{E1AC06DC-F730-4EA8-B4CD-4F038A553FBD}"/>
                </a:ext>
              </a:extLst>
            </p:cNvPr>
            <p:cNvSpPr/>
            <p:nvPr/>
          </p:nvSpPr>
          <p:spPr>
            <a:xfrm>
              <a:off x="5939991" y="5226595"/>
              <a:ext cx="106766" cy="61101"/>
            </a:xfrm>
            <a:custGeom>
              <a:avLst/>
              <a:gdLst>
                <a:gd name="connsiteX0" fmla="*/ 1450 w 35075"/>
                <a:gd name="connsiteY0" fmla="*/ 12006 h 20073"/>
                <a:gd name="connsiteX1" fmla="*/ 13642 w 35075"/>
                <a:gd name="connsiteY1" fmla="*/ 19054 h 20073"/>
                <a:gd name="connsiteX2" fmla="*/ 21071 w 35075"/>
                <a:gd name="connsiteY2" fmla="*/ 19054 h 20073"/>
                <a:gd name="connsiteX3" fmla="*/ 33168 w 35075"/>
                <a:gd name="connsiteY3" fmla="*/ 12006 h 20073"/>
                <a:gd name="connsiteX4" fmla="*/ 33168 w 35075"/>
                <a:gd name="connsiteY4" fmla="*/ 7719 h 20073"/>
                <a:gd name="connsiteX5" fmla="*/ 21071 w 35075"/>
                <a:gd name="connsiteY5" fmla="*/ 766 h 20073"/>
                <a:gd name="connsiteX6" fmla="*/ 13642 w 35075"/>
                <a:gd name="connsiteY6" fmla="*/ 766 h 20073"/>
                <a:gd name="connsiteX7" fmla="*/ 1450 w 35075"/>
                <a:gd name="connsiteY7" fmla="*/ 7719 h 20073"/>
                <a:gd name="connsiteX8" fmla="*/ 1450 w 35075"/>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075" h="20073">
                  <a:moveTo>
                    <a:pt x="1450" y="12006"/>
                  </a:moveTo>
                  <a:lnTo>
                    <a:pt x="13642" y="19054"/>
                  </a:lnTo>
                  <a:cubicBezTo>
                    <a:pt x="15985" y="20197"/>
                    <a:pt x="18728" y="20197"/>
                    <a:pt x="21071" y="19054"/>
                  </a:cubicBezTo>
                  <a:lnTo>
                    <a:pt x="33168" y="12006"/>
                  </a:lnTo>
                  <a:cubicBezTo>
                    <a:pt x="35263" y="10863"/>
                    <a:pt x="35263" y="8957"/>
                    <a:pt x="33168" y="7719"/>
                  </a:cubicBezTo>
                  <a:lnTo>
                    <a:pt x="21071" y="766"/>
                  </a:lnTo>
                  <a:cubicBezTo>
                    <a:pt x="18747" y="-472"/>
                    <a:pt x="15966" y="-472"/>
                    <a:pt x="13642" y="766"/>
                  </a:cubicBezTo>
                  <a:lnTo>
                    <a:pt x="1450" y="7719"/>
                  </a:lnTo>
                  <a:cubicBezTo>
                    <a:pt x="-932" y="8957"/>
                    <a:pt x="-932" y="10863"/>
                    <a:pt x="1450" y="12006"/>
                  </a:cubicBezTo>
                  <a:close/>
                </a:path>
              </a:pathLst>
            </a:custGeom>
            <a:solidFill>
              <a:srgbClr val="D1D9E8"/>
            </a:solidFill>
            <a:ln w="9525" cap="flat">
              <a:noFill/>
              <a:prstDash val="solid"/>
              <a:miter/>
            </a:ln>
          </p:spPr>
          <p:txBody>
            <a:bodyPr rtlCol="0" anchor="ctr"/>
            <a:lstStyle/>
            <a:p>
              <a:endParaRPr lang="zh-CN" altLang="en-US"/>
            </a:p>
          </p:txBody>
        </p:sp>
        <p:sp>
          <p:nvSpPr>
            <p:cNvPr id="713" name="íṡļiḓe">
              <a:extLst>
                <a:ext uri="{FF2B5EF4-FFF2-40B4-BE49-F238E27FC236}">
                  <a16:creationId xmlns:a16="http://schemas.microsoft.com/office/drawing/2014/main" id="{ABCBD151-9D9E-46AB-9A37-DB31ACD09BDE}"/>
                </a:ext>
              </a:extLst>
            </p:cNvPr>
            <p:cNvSpPr/>
            <p:nvPr/>
          </p:nvSpPr>
          <p:spPr>
            <a:xfrm>
              <a:off x="5938177" y="5257257"/>
              <a:ext cx="109594" cy="53564"/>
            </a:xfrm>
            <a:custGeom>
              <a:avLst/>
              <a:gdLst>
                <a:gd name="connsiteX0" fmla="*/ -336 w 36004"/>
                <a:gd name="connsiteY0" fmla="*/ -163 h 17597"/>
                <a:gd name="connsiteX1" fmla="*/ -336 w 36004"/>
                <a:gd name="connsiteY1" fmla="*/ 6981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028 h 17597"/>
                <a:gd name="connsiteX9" fmla="*/ 31763 w 36004"/>
                <a:gd name="connsiteY9" fmla="*/ 3457 h 17597"/>
                <a:gd name="connsiteX10" fmla="*/ 21476 w 36004"/>
                <a:gd name="connsiteY10" fmla="*/ 9267 h 17597"/>
                <a:gd name="connsiteX11" fmla="*/ 13856 w 36004"/>
                <a:gd name="connsiteY11" fmla="*/ 9267 h 17597"/>
                <a:gd name="connsiteX12" fmla="*/ 3569 w 36004"/>
                <a:gd name="connsiteY12" fmla="*/ 3457 h 17597"/>
                <a:gd name="connsiteX13" fmla="*/ 1188 w 36004"/>
                <a:gd name="connsiteY13" fmla="*/ 2028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6981"/>
                  </a:lnTo>
                  <a:cubicBezTo>
                    <a:pt x="-270" y="7962"/>
                    <a:pt x="311" y="8829"/>
                    <a:pt x="1188" y="9267"/>
                  </a:cubicBezTo>
                  <a:lnTo>
                    <a:pt x="13856" y="16506"/>
                  </a:lnTo>
                  <a:cubicBezTo>
                    <a:pt x="16247" y="17744"/>
                    <a:pt x="19085" y="17744"/>
                    <a:pt x="21476" y="16506"/>
                  </a:cubicBezTo>
                  <a:lnTo>
                    <a:pt x="34144" y="9267"/>
                  </a:lnTo>
                  <a:cubicBezTo>
                    <a:pt x="35011" y="8819"/>
                    <a:pt x="35582" y="7953"/>
                    <a:pt x="35668" y="6981"/>
                  </a:cubicBezTo>
                  <a:lnTo>
                    <a:pt x="35668" y="-163"/>
                  </a:lnTo>
                  <a:cubicBezTo>
                    <a:pt x="35611" y="790"/>
                    <a:pt x="35021" y="1638"/>
                    <a:pt x="34144" y="2028"/>
                  </a:cubicBezTo>
                  <a:lnTo>
                    <a:pt x="31763" y="3457"/>
                  </a:lnTo>
                  <a:lnTo>
                    <a:pt x="21476" y="9267"/>
                  </a:lnTo>
                  <a:cubicBezTo>
                    <a:pt x="19114" y="10610"/>
                    <a:pt x="16218" y="10610"/>
                    <a:pt x="13856" y="9267"/>
                  </a:cubicBezTo>
                  <a:lnTo>
                    <a:pt x="3569" y="3457"/>
                  </a:lnTo>
                  <a:lnTo>
                    <a:pt x="1188" y="2028"/>
                  </a:lnTo>
                  <a:cubicBezTo>
                    <a:pt x="311" y="1638"/>
                    <a:pt x="-279" y="800"/>
                    <a:pt x="-336" y="-163"/>
                  </a:cubicBezTo>
                  <a:close/>
                </a:path>
              </a:pathLst>
            </a:custGeom>
            <a:solidFill>
              <a:srgbClr val="BF4200"/>
            </a:solidFill>
            <a:ln w="9525" cap="flat">
              <a:noFill/>
              <a:prstDash val="solid"/>
              <a:miter/>
            </a:ln>
          </p:spPr>
          <p:txBody>
            <a:bodyPr rtlCol="0" anchor="ctr"/>
            <a:lstStyle/>
            <a:p>
              <a:endParaRPr lang="zh-CN" altLang="en-US"/>
            </a:p>
          </p:txBody>
        </p:sp>
        <p:sp>
          <p:nvSpPr>
            <p:cNvPr id="714" name="ïṥ1iḓè">
              <a:extLst>
                <a:ext uri="{FF2B5EF4-FFF2-40B4-BE49-F238E27FC236}">
                  <a16:creationId xmlns:a16="http://schemas.microsoft.com/office/drawing/2014/main" id="{88DA513E-BD49-44D4-AAD5-CD6C1BA9C2EC}"/>
                </a:ext>
              </a:extLst>
            </p:cNvPr>
            <p:cNvSpPr/>
            <p:nvPr/>
          </p:nvSpPr>
          <p:spPr>
            <a:xfrm>
              <a:off x="6016172" y="5270087"/>
              <a:ext cx="109594" cy="63588"/>
            </a:xfrm>
            <a:custGeom>
              <a:avLst/>
              <a:gdLst>
                <a:gd name="connsiteX0" fmla="*/ -336 w 36004"/>
                <a:gd name="connsiteY0" fmla="*/ 10196 h 20890"/>
                <a:gd name="connsiteX1" fmla="*/ 1283 w 36004"/>
                <a:gd name="connsiteY1" fmla="*/ 12482 h 20890"/>
                <a:gd name="connsiteX2" fmla="*/ 3569 w 36004"/>
                <a:gd name="connsiteY2" fmla="*/ 13815 h 20890"/>
                <a:gd name="connsiteX3" fmla="*/ 13856 w 36004"/>
                <a:gd name="connsiteY3" fmla="*/ 19721 h 20890"/>
                <a:gd name="connsiteX4" fmla="*/ 21571 w 36004"/>
                <a:gd name="connsiteY4" fmla="*/ 19721 h 20890"/>
                <a:gd name="connsiteX5" fmla="*/ 31858 w 36004"/>
                <a:gd name="connsiteY5" fmla="*/ 13815 h 20890"/>
                <a:gd name="connsiteX6" fmla="*/ 34144 w 36004"/>
                <a:gd name="connsiteY6" fmla="*/ 12482 h 20890"/>
                <a:gd name="connsiteX7" fmla="*/ 35668 w 36004"/>
                <a:gd name="connsiteY7" fmla="*/ 10196 h 20890"/>
                <a:gd name="connsiteX8" fmla="*/ 34144 w 36004"/>
                <a:gd name="connsiteY8" fmla="*/ 8005 h 20890"/>
                <a:gd name="connsiteX9" fmla="*/ 21571 w 36004"/>
                <a:gd name="connsiteY9" fmla="*/ 766 h 20890"/>
                <a:gd name="connsiteX10" fmla="*/ 13856 w 36004"/>
                <a:gd name="connsiteY10" fmla="*/ 766 h 20890"/>
                <a:gd name="connsiteX11" fmla="*/ 1283 w 36004"/>
                <a:gd name="connsiteY11" fmla="*/ 8005 h 20890"/>
                <a:gd name="connsiteX12" fmla="*/ -336 w 36004"/>
                <a:gd name="connsiteY12" fmla="*/ 10196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196"/>
                  </a:moveTo>
                  <a:cubicBezTo>
                    <a:pt x="-298" y="11215"/>
                    <a:pt x="340" y="12110"/>
                    <a:pt x="1283" y="12482"/>
                  </a:cubicBezTo>
                  <a:lnTo>
                    <a:pt x="3569" y="13815"/>
                  </a:lnTo>
                  <a:lnTo>
                    <a:pt x="13856" y="19721"/>
                  </a:lnTo>
                  <a:cubicBezTo>
                    <a:pt x="16256" y="21064"/>
                    <a:pt x="19171" y="21064"/>
                    <a:pt x="21571" y="19721"/>
                  </a:cubicBezTo>
                  <a:lnTo>
                    <a:pt x="31858" y="13815"/>
                  </a:lnTo>
                  <a:lnTo>
                    <a:pt x="34144" y="12482"/>
                  </a:lnTo>
                  <a:cubicBezTo>
                    <a:pt x="35049" y="12082"/>
                    <a:pt x="35640" y="11186"/>
                    <a:pt x="35668" y="10196"/>
                  </a:cubicBezTo>
                  <a:cubicBezTo>
                    <a:pt x="35573" y="9253"/>
                    <a:pt x="34992" y="8424"/>
                    <a:pt x="34144" y="8005"/>
                  </a:cubicBezTo>
                  <a:lnTo>
                    <a:pt x="21571" y="766"/>
                  </a:lnTo>
                  <a:cubicBezTo>
                    <a:pt x="19152" y="-472"/>
                    <a:pt x="16275" y="-472"/>
                    <a:pt x="13856" y="766"/>
                  </a:cubicBezTo>
                  <a:lnTo>
                    <a:pt x="1283" y="8005"/>
                  </a:lnTo>
                  <a:cubicBezTo>
                    <a:pt x="378" y="8386"/>
                    <a:pt x="-241" y="9224"/>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715" name="ïṣľîḋe">
              <a:extLst>
                <a:ext uri="{FF2B5EF4-FFF2-40B4-BE49-F238E27FC236}">
                  <a16:creationId xmlns:a16="http://schemas.microsoft.com/office/drawing/2014/main" id="{FDB4F631-4094-441E-8CCA-6713AA610FCE}"/>
                </a:ext>
              </a:extLst>
            </p:cNvPr>
            <p:cNvSpPr/>
            <p:nvPr/>
          </p:nvSpPr>
          <p:spPr>
            <a:xfrm>
              <a:off x="6018302" y="5271247"/>
              <a:ext cx="105618" cy="61101"/>
            </a:xfrm>
            <a:custGeom>
              <a:avLst/>
              <a:gdLst>
                <a:gd name="connsiteX0" fmla="*/ 1154 w 34698"/>
                <a:gd name="connsiteY0" fmla="*/ 12006 h 20073"/>
                <a:gd name="connsiteX1" fmla="*/ 13251 w 34698"/>
                <a:gd name="connsiteY1" fmla="*/ 19054 h 20073"/>
                <a:gd name="connsiteX2" fmla="*/ 20680 w 34698"/>
                <a:gd name="connsiteY2" fmla="*/ 19054 h 20073"/>
                <a:gd name="connsiteX3" fmla="*/ 32872 w 34698"/>
                <a:gd name="connsiteY3" fmla="*/ 12006 h 20073"/>
                <a:gd name="connsiteX4" fmla="*/ 34215 w 34698"/>
                <a:gd name="connsiteY4" fmla="*/ 9072 h 20073"/>
                <a:gd name="connsiteX5" fmla="*/ 32872 w 34698"/>
                <a:gd name="connsiteY5" fmla="*/ 7719 h 20073"/>
                <a:gd name="connsiteX6" fmla="*/ 20680 w 34698"/>
                <a:gd name="connsiteY6" fmla="*/ 766 h 20073"/>
                <a:gd name="connsiteX7" fmla="*/ 13251 w 34698"/>
                <a:gd name="connsiteY7" fmla="*/ 766 h 20073"/>
                <a:gd name="connsiteX8" fmla="*/ 1154 w 34698"/>
                <a:gd name="connsiteY8" fmla="*/ 7719 h 20073"/>
                <a:gd name="connsiteX9" fmla="*/ -189 w 34698"/>
                <a:gd name="connsiteY9" fmla="*/ 10653 h 20073"/>
                <a:gd name="connsiteX10" fmla="*/ 1154 w 34698"/>
                <a:gd name="connsiteY10"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698" h="20073">
                  <a:moveTo>
                    <a:pt x="1154" y="12006"/>
                  </a:moveTo>
                  <a:lnTo>
                    <a:pt x="13251" y="19054"/>
                  </a:lnTo>
                  <a:cubicBezTo>
                    <a:pt x="15594" y="20197"/>
                    <a:pt x="18337" y="20197"/>
                    <a:pt x="20680" y="19054"/>
                  </a:cubicBezTo>
                  <a:lnTo>
                    <a:pt x="32872" y="12006"/>
                  </a:lnTo>
                  <a:cubicBezTo>
                    <a:pt x="34053" y="11567"/>
                    <a:pt x="34663" y="10253"/>
                    <a:pt x="34215" y="9072"/>
                  </a:cubicBezTo>
                  <a:cubicBezTo>
                    <a:pt x="33987" y="8443"/>
                    <a:pt x="33491" y="7948"/>
                    <a:pt x="32872" y="7719"/>
                  </a:cubicBezTo>
                  <a:lnTo>
                    <a:pt x="20680" y="766"/>
                  </a:lnTo>
                  <a:cubicBezTo>
                    <a:pt x="18356" y="-472"/>
                    <a:pt x="15575" y="-472"/>
                    <a:pt x="13251" y="766"/>
                  </a:cubicBezTo>
                  <a:lnTo>
                    <a:pt x="1154" y="7719"/>
                  </a:lnTo>
                  <a:cubicBezTo>
                    <a:pt x="-27" y="8158"/>
                    <a:pt x="-637" y="9472"/>
                    <a:pt x="-189" y="10653"/>
                  </a:cubicBezTo>
                  <a:cubicBezTo>
                    <a:pt x="40" y="11281"/>
                    <a:pt x="535" y="11777"/>
                    <a:pt x="1154" y="12006"/>
                  </a:cubicBezTo>
                  <a:close/>
                </a:path>
              </a:pathLst>
            </a:custGeom>
            <a:solidFill>
              <a:srgbClr val="D1D9E8"/>
            </a:solidFill>
            <a:ln w="9525" cap="flat">
              <a:noFill/>
              <a:prstDash val="solid"/>
              <a:miter/>
            </a:ln>
          </p:spPr>
          <p:txBody>
            <a:bodyPr rtlCol="0" anchor="ctr"/>
            <a:lstStyle/>
            <a:p>
              <a:endParaRPr lang="zh-CN" altLang="en-US"/>
            </a:p>
          </p:txBody>
        </p:sp>
        <p:sp>
          <p:nvSpPr>
            <p:cNvPr id="716" name="ïṡľíďe">
              <a:extLst>
                <a:ext uri="{FF2B5EF4-FFF2-40B4-BE49-F238E27FC236}">
                  <a16:creationId xmlns:a16="http://schemas.microsoft.com/office/drawing/2014/main" id="{9BAFDF80-C007-4444-8CA6-988D5E1FE504}"/>
                </a:ext>
              </a:extLst>
            </p:cNvPr>
            <p:cNvSpPr/>
            <p:nvPr/>
          </p:nvSpPr>
          <p:spPr>
            <a:xfrm>
              <a:off x="6016172" y="5301616"/>
              <a:ext cx="109594" cy="53801"/>
            </a:xfrm>
            <a:custGeom>
              <a:avLst/>
              <a:gdLst>
                <a:gd name="connsiteX0" fmla="*/ -336 w 36004"/>
                <a:gd name="connsiteY0" fmla="*/ -163 h 17675"/>
                <a:gd name="connsiteX1" fmla="*/ -336 w 36004"/>
                <a:gd name="connsiteY1" fmla="*/ 7076 h 17675"/>
                <a:gd name="connsiteX2" fmla="*/ 1283 w 36004"/>
                <a:gd name="connsiteY2" fmla="*/ 9267 h 17675"/>
                <a:gd name="connsiteX3" fmla="*/ 13856 w 36004"/>
                <a:gd name="connsiteY3" fmla="*/ 16506 h 17675"/>
                <a:gd name="connsiteX4" fmla="*/ 21571 w 36004"/>
                <a:gd name="connsiteY4" fmla="*/ 16506 h 17675"/>
                <a:gd name="connsiteX5" fmla="*/ 34144 w 36004"/>
                <a:gd name="connsiteY5" fmla="*/ 9267 h 17675"/>
                <a:gd name="connsiteX6" fmla="*/ 35668 w 36004"/>
                <a:gd name="connsiteY6" fmla="*/ 7076 h 17675"/>
                <a:gd name="connsiteX7" fmla="*/ 35668 w 36004"/>
                <a:gd name="connsiteY7" fmla="*/ -163 h 17675"/>
                <a:gd name="connsiteX8" fmla="*/ 34144 w 36004"/>
                <a:gd name="connsiteY8" fmla="*/ 2123 h 17675"/>
                <a:gd name="connsiteX9" fmla="*/ 31858 w 36004"/>
                <a:gd name="connsiteY9" fmla="*/ 3457 h 17675"/>
                <a:gd name="connsiteX10" fmla="*/ 21571 w 36004"/>
                <a:gd name="connsiteY10" fmla="*/ 9362 h 17675"/>
                <a:gd name="connsiteX11" fmla="*/ 13856 w 36004"/>
                <a:gd name="connsiteY11" fmla="*/ 9362 h 17675"/>
                <a:gd name="connsiteX12" fmla="*/ 3569 w 36004"/>
                <a:gd name="connsiteY12" fmla="*/ 3457 h 17675"/>
                <a:gd name="connsiteX13" fmla="*/ 1283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79" y="8067"/>
                    <a:pt x="349" y="8924"/>
                    <a:pt x="1283" y="9267"/>
                  </a:cubicBezTo>
                  <a:lnTo>
                    <a:pt x="13856" y="16506"/>
                  </a:lnTo>
                  <a:cubicBezTo>
                    <a:pt x="16256" y="17849"/>
                    <a:pt x="19171" y="17849"/>
                    <a:pt x="21571" y="16506"/>
                  </a:cubicBezTo>
                  <a:lnTo>
                    <a:pt x="34144" y="9267"/>
                  </a:lnTo>
                  <a:cubicBezTo>
                    <a:pt x="35021" y="8877"/>
                    <a:pt x="35611" y="8029"/>
                    <a:pt x="35668" y="7076"/>
                  </a:cubicBezTo>
                  <a:lnTo>
                    <a:pt x="35668" y="-163"/>
                  </a:lnTo>
                  <a:cubicBezTo>
                    <a:pt x="35640" y="828"/>
                    <a:pt x="35049" y="1723"/>
                    <a:pt x="34144" y="2123"/>
                  </a:cubicBezTo>
                  <a:lnTo>
                    <a:pt x="31858" y="3457"/>
                  </a:lnTo>
                  <a:lnTo>
                    <a:pt x="21571" y="9362"/>
                  </a:lnTo>
                  <a:cubicBezTo>
                    <a:pt x="19171" y="10705"/>
                    <a:pt x="16256" y="10705"/>
                    <a:pt x="13856" y="9362"/>
                  </a:cubicBezTo>
                  <a:lnTo>
                    <a:pt x="3569" y="3457"/>
                  </a:lnTo>
                  <a:lnTo>
                    <a:pt x="1283" y="2123"/>
                  </a:lnTo>
                  <a:cubicBezTo>
                    <a:pt x="340" y="1752"/>
                    <a:pt x="-298" y="856"/>
                    <a:pt x="-336" y="-163"/>
                  </a:cubicBezTo>
                  <a:close/>
                </a:path>
              </a:pathLst>
            </a:custGeom>
            <a:solidFill>
              <a:srgbClr val="BF4200"/>
            </a:solidFill>
            <a:ln w="9525" cap="flat">
              <a:noFill/>
              <a:prstDash val="solid"/>
              <a:miter/>
            </a:ln>
          </p:spPr>
          <p:txBody>
            <a:bodyPr rtlCol="0" anchor="ctr"/>
            <a:lstStyle/>
            <a:p>
              <a:endParaRPr lang="zh-CN" altLang="en-US"/>
            </a:p>
          </p:txBody>
        </p:sp>
        <p:sp>
          <p:nvSpPr>
            <p:cNvPr id="717" name="îṩḷíďe">
              <a:extLst>
                <a:ext uri="{FF2B5EF4-FFF2-40B4-BE49-F238E27FC236}">
                  <a16:creationId xmlns:a16="http://schemas.microsoft.com/office/drawing/2014/main" id="{A16F4784-E2F8-4468-BD19-2E135638C365}"/>
                </a:ext>
              </a:extLst>
            </p:cNvPr>
            <p:cNvSpPr/>
            <p:nvPr/>
          </p:nvSpPr>
          <p:spPr>
            <a:xfrm>
              <a:off x="6093582" y="5314735"/>
              <a:ext cx="109740" cy="63588"/>
            </a:xfrm>
            <a:custGeom>
              <a:avLst/>
              <a:gdLst>
                <a:gd name="connsiteX0" fmla="*/ -336 w 36052"/>
                <a:gd name="connsiteY0" fmla="*/ 10196 h 20890"/>
                <a:gd name="connsiteX1" fmla="*/ 1188 w 36052"/>
                <a:gd name="connsiteY1" fmla="*/ 12482 h 20890"/>
                <a:gd name="connsiteX2" fmla="*/ 3569 w 36052"/>
                <a:gd name="connsiteY2" fmla="*/ 13815 h 20890"/>
                <a:gd name="connsiteX3" fmla="*/ 13856 w 36052"/>
                <a:gd name="connsiteY3" fmla="*/ 19721 h 20890"/>
                <a:gd name="connsiteX4" fmla="*/ 21476 w 36052"/>
                <a:gd name="connsiteY4" fmla="*/ 19721 h 20890"/>
                <a:gd name="connsiteX5" fmla="*/ 31763 w 36052"/>
                <a:gd name="connsiteY5" fmla="*/ 13815 h 20890"/>
                <a:gd name="connsiteX6" fmla="*/ 34144 w 36052"/>
                <a:gd name="connsiteY6" fmla="*/ 12482 h 20890"/>
                <a:gd name="connsiteX7" fmla="*/ 35573 w 36052"/>
                <a:gd name="connsiteY7" fmla="*/ 9434 h 20890"/>
                <a:gd name="connsiteX8" fmla="*/ 34144 w 36052"/>
                <a:gd name="connsiteY8" fmla="*/ 8005 h 20890"/>
                <a:gd name="connsiteX9" fmla="*/ 21476 w 36052"/>
                <a:gd name="connsiteY9" fmla="*/ 766 h 20890"/>
                <a:gd name="connsiteX10" fmla="*/ 13856 w 36052"/>
                <a:gd name="connsiteY10" fmla="*/ 766 h 20890"/>
                <a:gd name="connsiteX11" fmla="*/ 1188 w 36052"/>
                <a:gd name="connsiteY11" fmla="*/ 8005 h 20890"/>
                <a:gd name="connsiteX12" fmla="*/ -336 w 36052"/>
                <a:gd name="connsiteY12" fmla="*/ 10196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90">
                  <a:moveTo>
                    <a:pt x="-336" y="10196"/>
                  </a:moveTo>
                  <a:cubicBezTo>
                    <a:pt x="-269" y="11177"/>
                    <a:pt x="312" y="12044"/>
                    <a:pt x="1188" y="12482"/>
                  </a:cubicBezTo>
                  <a:lnTo>
                    <a:pt x="3569" y="13815"/>
                  </a:lnTo>
                  <a:lnTo>
                    <a:pt x="13856" y="19721"/>
                  </a:lnTo>
                  <a:cubicBezTo>
                    <a:pt x="16218" y="21064"/>
                    <a:pt x="19114" y="21064"/>
                    <a:pt x="21476" y="19721"/>
                  </a:cubicBezTo>
                  <a:lnTo>
                    <a:pt x="31763" y="13815"/>
                  </a:lnTo>
                  <a:lnTo>
                    <a:pt x="34144" y="12482"/>
                  </a:lnTo>
                  <a:cubicBezTo>
                    <a:pt x="35382" y="12034"/>
                    <a:pt x="36021" y="10663"/>
                    <a:pt x="35573" y="9434"/>
                  </a:cubicBezTo>
                  <a:cubicBezTo>
                    <a:pt x="35325" y="8767"/>
                    <a:pt x="34811" y="8243"/>
                    <a:pt x="34144" y="8005"/>
                  </a:cubicBezTo>
                  <a:lnTo>
                    <a:pt x="21476" y="766"/>
                  </a:lnTo>
                  <a:cubicBezTo>
                    <a:pt x="19085" y="-472"/>
                    <a:pt x="16247" y="-472"/>
                    <a:pt x="13856" y="766"/>
                  </a:cubicBezTo>
                  <a:lnTo>
                    <a:pt x="1188" y="8005"/>
                  </a:lnTo>
                  <a:cubicBezTo>
                    <a:pt x="340" y="8424"/>
                    <a:pt x="-241" y="925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718" name="iṡḻïḍe">
              <a:extLst>
                <a:ext uri="{FF2B5EF4-FFF2-40B4-BE49-F238E27FC236}">
                  <a16:creationId xmlns:a16="http://schemas.microsoft.com/office/drawing/2014/main" id="{C4177F47-5A50-47EE-AD7D-DDCB2E3BE2F5}"/>
                </a:ext>
              </a:extLst>
            </p:cNvPr>
            <p:cNvSpPr/>
            <p:nvPr/>
          </p:nvSpPr>
          <p:spPr>
            <a:xfrm>
              <a:off x="6095426" y="5315822"/>
              <a:ext cx="105618" cy="61174"/>
            </a:xfrm>
            <a:custGeom>
              <a:avLst/>
              <a:gdLst>
                <a:gd name="connsiteX0" fmla="*/ 1154 w 34698"/>
                <a:gd name="connsiteY0" fmla="*/ 12030 h 20097"/>
                <a:gd name="connsiteX1" fmla="*/ 13346 w 34698"/>
                <a:gd name="connsiteY1" fmla="*/ 19078 h 20097"/>
                <a:gd name="connsiteX2" fmla="*/ 20776 w 34698"/>
                <a:gd name="connsiteY2" fmla="*/ 19078 h 20097"/>
                <a:gd name="connsiteX3" fmla="*/ 32872 w 34698"/>
                <a:gd name="connsiteY3" fmla="*/ 12030 h 20097"/>
                <a:gd name="connsiteX4" fmla="*/ 34215 w 34698"/>
                <a:gd name="connsiteY4" fmla="*/ 9096 h 20097"/>
                <a:gd name="connsiteX5" fmla="*/ 32872 w 34698"/>
                <a:gd name="connsiteY5" fmla="*/ 7743 h 20097"/>
                <a:gd name="connsiteX6" fmla="*/ 20776 w 34698"/>
                <a:gd name="connsiteY6" fmla="*/ 695 h 20097"/>
                <a:gd name="connsiteX7" fmla="*/ 13346 w 34698"/>
                <a:gd name="connsiteY7" fmla="*/ 695 h 20097"/>
                <a:gd name="connsiteX8" fmla="*/ 1154 w 34698"/>
                <a:gd name="connsiteY8" fmla="*/ 7743 h 20097"/>
                <a:gd name="connsiteX9" fmla="*/ -189 w 34698"/>
                <a:gd name="connsiteY9" fmla="*/ 10686 h 20097"/>
                <a:gd name="connsiteX10" fmla="*/ 1154 w 34698"/>
                <a:gd name="connsiteY10" fmla="*/ 12030 h 20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698" h="20097">
                  <a:moveTo>
                    <a:pt x="1154" y="12030"/>
                  </a:moveTo>
                  <a:lnTo>
                    <a:pt x="13346" y="19078"/>
                  </a:lnTo>
                  <a:cubicBezTo>
                    <a:pt x="15689" y="20221"/>
                    <a:pt x="18432" y="20221"/>
                    <a:pt x="20776" y="19078"/>
                  </a:cubicBezTo>
                  <a:lnTo>
                    <a:pt x="32872" y="12030"/>
                  </a:lnTo>
                  <a:cubicBezTo>
                    <a:pt x="34053" y="11591"/>
                    <a:pt x="34663" y="10277"/>
                    <a:pt x="34215" y="9096"/>
                  </a:cubicBezTo>
                  <a:cubicBezTo>
                    <a:pt x="33987" y="8467"/>
                    <a:pt x="33491" y="7972"/>
                    <a:pt x="32872" y="7743"/>
                  </a:cubicBezTo>
                  <a:lnTo>
                    <a:pt x="20776" y="695"/>
                  </a:lnTo>
                  <a:cubicBezTo>
                    <a:pt x="18432" y="-448"/>
                    <a:pt x="15689" y="-448"/>
                    <a:pt x="13346" y="695"/>
                  </a:cubicBezTo>
                  <a:lnTo>
                    <a:pt x="1154" y="7743"/>
                  </a:lnTo>
                  <a:cubicBezTo>
                    <a:pt x="-27" y="8181"/>
                    <a:pt x="-637" y="9496"/>
                    <a:pt x="-189" y="10686"/>
                  </a:cubicBezTo>
                  <a:cubicBezTo>
                    <a:pt x="40" y="11305"/>
                    <a:pt x="525" y="11801"/>
                    <a:pt x="1154" y="12030"/>
                  </a:cubicBezTo>
                  <a:close/>
                </a:path>
              </a:pathLst>
            </a:custGeom>
            <a:solidFill>
              <a:srgbClr val="D1D9E8"/>
            </a:solidFill>
            <a:ln w="9525" cap="flat">
              <a:noFill/>
              <a:prstDash val="solid"/>
              <a:miter/>
            </a:ln>
          </p:spPr>
          <p:txBody>
            <a:bodyPr rtlCol="0" anchor="ctr"/>
            <a:lstStyle/>
            <a:p>
              <a:endParaRPr lang="zh-CN" altLang="en-US"/>
            </a:p>
          </p:txBody>
        </p:sp>
        <p:sp>
          <p:nvSpPr>
            <p:cNvPr id="719" name="ïšḷíḓè">
              <a:extLst>
                <a:ext uri="{FF2B5EF4-FFF2-40B4-BE49-F238E27FC236}">
                  <a16:creationId xmlns:a16="http://schemas.microsoft.com/office/drawing/2014/main" id="{AE9A3FCB-D92D-4FE3-B558-873297612735}"/>
                </a:ext>
              </a:extLst>
            </p:cNvPr>
            <p:cNvSpPr/>
            <p:nvPr/>
          </p:nvSpPr>
          <p:spPr>
            <a:xfrm>
              <a:off x="6093582" y="5346267"/>
              <a:ext cx="109594" cy="53801"/>
            </a:xfrm>
            <a:custGeom>
              <a:avLst/>
              <a:gdLst>
                <a:gd name="connsiteX0" fmla="*/ -336 w 36004"/>
                <a:gd name="connsiteY0" fmla="*/ -163 h 17675"/>
                <a:gd name="connsiteX1" fmla="*/ -336 w 36004"/>
                <a:gd name="connsiteY1" fmla="*/ 7076 h 17675"/>
                <a:gd name="connsiteX2" fmla="*/ 1188 w 36004"/>
                <a:gd name="connsiteY2" fmla="*/ 9267 h 17675"/>
                <a:gd name="connsiteX3" fmla="*/ 13856 w 36004"/>
                <a:gd name="connsiteY3" fmla="*/ 16506 h 17675"/>
                <a:gd name="connsiteX4" fmla="*/ 21476 w 36004"/>
                <a:gd name="connsiteY4" fmla="*/ 16506 h 17675"/>
                <a:gd name="connsiteX5" fmla="*/ 34144 w 36004"/>
                <a:gd name="connsiteY5" fmla="*/ 9267 h 17675"/>
                <a:gd name="connsiteX6" fmla="*/ 35668 w 36004"/>
                <a:gd name="connsiteY6" fmla="*/ 7076 h 17675"/>
                <a:gd name="connsiteX7" fmla="*/ 35668 w 36004"/>
                <a:gd name="connsiteY7" fmla="*/ -163 h 17675"/>
                <a:gd name="connsiteX8" fmla="*/ 34144 w 36004"/>
                <a:gd name="connsiteY8" fmla="*/ 2123 h 17675"/>
                <a:gd name="connsiteX9" fmla="*/ 31763 w 36004"/>
                <a:gd name="connsiteY9" fmla="*/ 3457 h 17675"/>
                <a:gd name="connsiteX10" fmla="*/ 21476 w 36004"/>
                <a:gd name="connsiteY10" fmla="*/ 9362 h 17675"/>
                <a:gd name="connsiteX11" fmla="*/ 13856 w 36004"/>
                <a:gd name="connsiteY11" fmla="*/ 9362 h 17675"/>
                <a:gd name="connsiteX12" fmla="*/ 3569 w 36004"/>
                <a:gd name="connsiteY12" fmla="*/ 3457 h 17675"/>
                <a:gd name="connsiteX13" fmla="*/ 1188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79" y="8038"/>
                    <a:pt x="312" y="8877"/>
                    <a:pt x="1188" y="9267"/>
                  </a:cubicBezTo>
                  <a:lnTo>
                    <a:pt x="13856" y="16506"/>
                  </a:lnTo>
                  <a:cubicBezTo>
                    <a:pt x="16218" y="17849"/>
                    <a:pt x="19114" y="17849"/>
                    <a:pt x="21476" y="16506"/>
                  </a:cubicBezTo>
                  <a:lnTo>
                    <a:pt x="34144" y="9267"/>
                  </a:lnTo>
                  <a:cubicBezTo>
                    <a:pt x="35021" y="8877"/>
                    <a:pt x="35611" y="8038"/>
                    <a:pt x="35668" y="7076"/>
                  </a:cubicBezTo>
                  <a:lnTo>
                    <a:pt x="35668" y="-163"/>
                  </a:lnTo>
                  <a:cubicBezTo>
                    <a:pt x="35602" y="818"/>
                    <a:pt x="35021" y="1685"/>
                    <a:pt x="34144" y="2123"/>
                  </a:cubicBezTo>
                  <a:lnTo>
                    <a:pt x="31763" y="3457"/>
                  </a:lnTo>
                  <a:lnTo>
                    <a:pt x="21476" y="9362"/>
                  </a:lnTo>
                  <a:cubicBezTo>
                    <a:pt x="19114" y="10705"/>
                    <a:pt x="16218" y="10705"/>
                    <a:pt x="13856" y="9362"/>
                  </a:cubicBezTo>
                  <a:lnTo>
                    <a:pt x="3569" y="3457"/>
                  </a:lnTo>
                  <a:lnTo>
                    <a:pt x="1188" y="2123"/>
                  </a:lnTo>
                  <a:cubicBezTo>
                    <a:pt x="312"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20" name="ïṣľïďe">
              <a:extLst>
                <a:ext uri="{FF2B5EF4-FFF2-40B4-BE49-F238E27FC236}">
                  <a16:creationId xmlns:a16="http://schemas.microsoft.com/office/drawing/2014/main" id="{2327C3B3-EC49-4358-AEF6-30541FC1F3CB}"/>
                </a:ext>
              </a:extLst>
            </p:cNvPr>
            <p:cNvSpPr/>
            <p:nvPr/>
          </p:nvSpPr>
          <p:spPr>
            <a:xfrm>
              <a:off x="6170124" y="5359384"/>
              <a:ext cx="140036" cy="80688"/>
            </a:xfrm>
            <a:custGeom>
              <a:avLst/>
              <a:gdLst>
                <a:gd name="connsiteX0" fmla="*/ -336 w 46005"/>
                <a:gd name="connsiteY0" fmla="*/ 10196 h 26508"/>
                <a:gd name="connsiteX1" fmla="*/ 1283 w 46005"/>
                <a:gd name="connsiteY1" fmla="*/ 12482 h 26508"/>
                <a:gd name="connsiteX2" fmla="*/ 3569 w 46005"/>
                <a:gd name="connsiteY2" fmla="*/ 13815 h 26508"/>
                <a:gd name="connsiteX3" fmla="*/ 23762 w 46005"/>
                <a:gd name="connsiteY3" fmla="*/ 25531 h 26508"/>
                <a:gd name="connsiteX4" fmla="*/ 31477 w 46005"/>
                <a:gd name="connsiteY4" fmla="*/ 25531 h 26508"/>
                <a:gd name="connsiteX5" fmla="*/ 41764 w 46005"/>
                <a:gd name="connsiteY5" fmla="*/ 19530 h 26508"/>
                <a:gd name="connsiteX6" fmla="*/ 44146 w 46005"/>
                <a:gd name="connsiteY6" fmla="*/ 18197 h 26508"/>
                <a:gd name="connsiteX7" fmla="*/ 45669 w 46005"/>
                <a:gd name="connsiteY7" fmla="*/ 16578 h 26508"/>
                <a:gd name="connsiteX8" fmla="*/ 45669 w 46005"/>
                <a:gd name="connsiteY8" fmla="*/ 15435 h 26508"/>
                <a:gd name="connsiteX9" fmla="*/ 44146 w 46005"/>
                <a:gd name="connsiteY9" fmla="*/ 13720 h 26508"/>
                <a:gd name="connsiteX10" fmla="*/ 21571 w 46005"/>
                <a:gd name="connsiteY10" fmla="*/ 766 h 26508"/>
                <a:gd name="connsiteX11" fmla="*/ 13856 w 46005"/>
                <a:gd name="connsiteY11" fmla="*/ 766 h 26508"/>
                <a:gd name="connsiteX12" fmla="*/ 1283 w 46005"/>
                <a:gd name="connsiteY12" fmla="*/ 8005 h 26508"/>
                <a:gd name="connsiteX13" fmla="*/ -336 w 46005"/>
                <a:gd name="connsiteY13" fmla="*/ 10196 h 26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005" h="26508">
                  <a:moveTo>
                    <a:pt x="-336" y="10196"/>
                  </a:moveTo>
                  <a:cubicBezTo>
                    <a:pt x="-270" y="11206"/>
                    <a:pt x="359" y="12091"/>
                    <a:pt x="1283" y="12482"/>
                  </a:cubicBezTo>
                  <a:lnTo>
                    <a:pt x="3569" y="13815"/>
                  </a:lnTo>
                  <a:lnTo>
                    <a:pt x="23762" y="25531"/>
                  </a:lnTo>
                  <a:cubicBezTo>
                    <a:pt x="26219" y="26617"/>
                    <a:pt x="29020" y="26617"/>
                    <a:pt x="31477" y="25531"/>
                  </a:cubicBezTo>
                  <a:lnTo>
                    <a:pt x="41764" y="19530"/>
                  </a:lnTo>
                  <a:lnTo>
                    <a:pt x="44146" y="18197"/>
                  </a:lnTo>
                  <a:cubicBezTo>
                    <a:pt x="44860" y="17892"/>
                    <a:pt x="45412" y="17311"/>
                    <a:pt x="45669" y="16578"/>
                  </a:cubicBezTo>
                  <a:lnTo>
                    <a:pt x="45669" y="15435"/>
                  </a:lnTo>
                  <a:cubicBezTo>
                    <a:pt x="45384" y="14692"/>
                    <a:pt x="44841" y="14082"/>
                    <a:pt x="44146" y="13720"/>
                  </a:cubicBezTo>
                  <a:lnTo>
                    <a:pt x="21571" y="766"/>
                  </a:lnTo>
                  <a:cubicBezTo>
                    <a:pt x="19152" y="-472"/>
                    <a:pt x="16275" y="-472"/>
                    <a:pt x="13856" y="766"/>
                  </a:cubicBezTo>
                  <a:lnTo>
                    <a:pt x="1283" y="8005"/>
                  </a:lnTo>
                  <a:cubicBezTo>
                    <a:pt x="387" y="8386"/>
                    <a:pt x="-241" y="9224"/>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721" name="iṧ1íḑé">
              <a:extLst>
                <a:ext uri="{FF2B5EF4-FFF2-40B4-BE49-F238E27FC236}">
                  <a16:creationId xmlns:a16="http://schemas.microsoft.com/office/drawing/2014/main" id="{2B4EA32B-C625-4A74-9EB3-91D7A807A7E0}"/>
                </a:ext>
              </a:extLst>
            </p:cNvPr>
            <p:cNvSpPr/>
            <p:nvPr/>
          </p:nvSpPr>
          <p:spPr>
            <a:xfrm>
              <a:off x="6172836" y="5359892"/>
              <a:ext cx="136018" cy="78570"/>
            </a:xfrm>
            <a:custGeom>
              <a:avLst/>
              <a:gdLst>
                <a:gd name="connsiteX0" fmla="*/ 23252 w 44685"/>
                <a:gd name="connsiteY0" fmla="*/ 24793 h 25812"/>
                <a:gd name="connsiteX1" fmla="*/ 1154 w 44685"/>
                <a:gd name="connsiteY1" fmla="*/ 12029 h 25812"/>
                <a:gd name="connsiteX2" fmla="*/ -189 w 44685"/>
                <a:gd name="connsiteY2" fmla="*/ 9096 h 25812"/>
                <a:gd name="connsiteX3" fmla="*/ 1154 w 44685"/>
                <a:gd name="connsiteY3" fmla="*/ 7743 h 25812"/>
                <a:gd name="connsiteX4" fmla="*/ 13250 w 44685"/>
                <a:gd name="connsiteY4" fmla="*/ 695 h 25812"/>
                <a:gd name="connsiteX5" fmla="*/ 20680 w 44685"/>
                <a:gd name="connsiteY5" fmla="*/ 695 h 25812"/>
                <a:gd name="connsiteX6" fmla="*/ 42778 w 44685"/>
                <a:gd name="connsiteY6" fmla="*/ 13458 h 25812"/>
                <a:gd name="connsiteX7" fmla="*/ 42778 w 44685"/>
                <a:gd name="connsiteY7" fmla="*/ 17744 h 25812"/>
                <a:gd name="connsiteX8" fmla="*/ 30681 w 44685"/>
                <a:gd name="connsiteY8" fmla="*/ 24793 h 25812"/>
                <a:gd name="connsiteX9" fmla="*/ 23252 w 44685"/>
                <a:gd name="connsiteY9" fmla="*/ 24793 h 25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4685" h="25812">
                  <a:moveTo>
                    <a:pt x="23252" y="24793"/>
                  </a:moveTo>
                  <a:lnTo>
                    <a:pt x="1154" y="12029"/>
                  </a:lnTo>
                  <a:cubicBezTo>
                    <a:pt x="-27" y="11591"/>
                    <a:pt x="-637" y="10277"/>
                    <a:pt x="-189" y="9096"/>
                  </a:cubicBezTo>
                  <a:cubicBezTo>
                    <a:pt x="39" y="8467"/>
                    <a:pt x="535" y="7972"/>
                    <a:pt x="1154" y="7743"/>
                  </a:cubicBezTo>
                  <a:lnTo>
                    <a:pt x="13250" y="695"/>
                  </a:lnTo>
                  <a:cubicBezTo>
                    <a:pt x="15594" y="-448"/>
                    <a:pt x="18337" y="-448"/>
                    <a:pt x="20680" y="695"/>
                  </a:cubicBezTo>
                  <a:lnTo>
                    <a:pt x="42778" y="13458"/>
                  </a:lnTo>
                  <a:cubicBezTo>
                    <a:pt x="44873" y="14696"/>
                    <a:pt x="44873" y="16601"/>
                    <a:pt x="42778" y="17744"/>
                  </a:cubicBezTo>
                  <a:lnTo>
                    <a:pt x="30681" y="24793"/>
                  </a:lnTo>
                  <a:cubicBezTo>
                    <a:pt x="28338" y="25936"/>
                    <a:pt x="25595" y="25936"/>
                    <a:pt x="23252" y="24793"/>
                  </a:cubicBezTo>
                  <a:close/>
                </a:path>
              </a:pathLst>
            </a:custGeom>
            <a:solidFill>
              <a:srgbClr val="D1D9E8"/>
            </a:solidFill>
            <a:ln w="9525" cap="flat">
              <a:noFill/>
              <a:prstDash val="solid"/>
              <a:miter/>
            </a:ln>
          </p:spPr>
          <p:txBody>
            <a:bodyPr rtlCol="0" anchor="ctr"/>
            <a:lstStyle/>
            <a:p>
              <a:endParaRPr lang="zh-CN" altLang="en-US"/>
            </a:p>
          </p:txBody>
        </p:sp>
        <p:sp>
          <p:nvSpPr>
            <p:cNvPr id="722" name="ïšľíḍe">
              <a:extLst>
                <a:ext uri="{FF2B5EF4-FFF2-40B4-BE49-F238E27FC236}">
                  <a16:creationId xmlns:a16="http://schemas.microsoft.com/office/drawing/2014/main" id="{3C6EFFCF-C920-4B79-9C79-BED7046010F3}"/>
                </a:ext>
              </a:extLst>
            </p:cNvPr>
            <p:cNvSpPr/>
            <p:nvPr/>
          </p:nvSpPr>
          <p:spPr>
            <a:xfrm>
              <a:off x="6170124" y="5390916"/>
              <a:ext cx="140036" cy="71249"/>
            </a:xfrm>
            <a:custGeom>
              <a:avLst/>
              <a:gdLst>
                <a:gd name="connsiteX0" fmla="*/ -336 w 46005"/>
                <a:gd name="connsiteY0" fmla="*/ -163 h 23407"/>
                <a:gd name="connsiteX1" fmla="*/ -336 w 46005"/>
                <a:gd name="connsiteY1" fmla="*/ 7076 h 23407"/>
                <a:gd name="connsiteX2" fmla="*/ 1283 w 46005"/>
                <a:gd name="connsiteY2" fmla="*/ 9267 h 23407"/>
                <a:gd name="connsiteX3" fmla="*/ 23762 w 46005"/>
                <a:gd name="connsiteY3" fmla="*/ 22316 h 23407"/>
                <a:gd name="connsiteX4" fmla="*/ 31477 w 46005"/>
                <a:gd name="connsiteY4" fmla="*/ 22316 h 23407"/>
                <a:gd name="connsiteX5" fmla="*/ 44146 w 46005"/>
                <a:gd name="connsiteY5" fmla="*/ 14982 h 23407"/>
                <a:gd name="connsiteX6" fmla="*/ 45669 w 46005"/>
                <a:gd name="connsiteY6" fmla="*/ 13363 h 23407"/>
                <a:gd name="connsiteX7" fmla="*/ 45669 w 46005"/>
                <a:gd name="connsiteY7" fmla="*/ 6219 h 23407"/>
                <a:gd name="connsiteX8" fmla="*/ 44146 w 46005"/>
                <a:gd name="connsiteY8" fmla="*/ 7838 h 23407"/>
                <a:gd name="connsiteX9" fmla="*/ 41764 w 46005"/>
                <a:gd name="connsiteY9" fmla="*/ 9172 h 23407"/>
                <a:gd name="connsiteX10" fmla="*/ 31477 w 46005"/>
                <a:gd name="connsiteY10" fmla="*/ 15172 h 23407"/>
                <a:gd name="connsiteX11" fmla="*/ 23762 w 46005"/>
                <a:gd name="connsiteY11" fmla="*/ 15172 h 23407"/>
                <a:gd name="connsiteX12" fmla="*/ 3569 w 46005"/>
                <a:gd name="connsiteY12" fmla="*/ 3457 h 23407"/>
                <a:gd name="connsiteX13" fmla="*/ 1283 w 46005"/>
                <a:gd name="connsiteY13" fmla="*/ 2123 h 23407"/>
                <a:gd name="connsiteX14" fmla="*/ -336 w 46005"/>
                <a:gd name="connsiteY14" fmla="*/ -163 h 234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6005" h="23407">
                  <a:moveTo>
                    <a:pt x="-336" y="-163"/>
                  </a:moveTo>
                  <a:lnTo>
                    <a:pt x="-336" y="7076"/>
                  </a:lnTo>
                  <a:cubicBezTo>
                    <a:pt x="-260" y="8057"/>
                    <a:pt x="369" y="8905"/>
                    <a:pt x="1283" y="9267"/>
                  </a:cubicBezTo>
                  <a:lnTo>
                    <a:pt x="23762" y="22316"/>
                  </a:lnTo>
                  <a:cubicBezTo>
                    <a:pt x="26181" y="23555"/>
                    <a:pt x="29058" y="23555"/>
                    <a:pt x="31477" y="22316"/>
                  </a:cubicBezTo>
                  <a:lnTo>
                    <a:pt x="44146" y="14982"/>
                  </a:lnTo>
                  <a:cubicBezTo>
                    <a:pt x="44822" y="14629"/>
                    <a:pt x="45355" y="14058"/>
                    <a:pt x="45669" y="13363"/>
                  </a:cubicBezTo>
                  <a:lnTo>
                    <a:pt x="45669" y="6219"/>
                  </a:lnTo>
                  <a:cubicBezTo>
                    <a:pt x="45412" y="6952"/>
                    <a:pt x="44860" y="7533"/>
                    <a:pt x="44146" y="7838"/>
                  </a:cubicBezTo>
                  <a:lnTo>
                    <a:pt x="41764" y="9172"/>
                  </a:lnTo>
                  <a:lnTo>
                    <a:pt x="31477" y="15172"/>
                  </a:lnTo>
                  <a:cubicBezTo>
                    <a:pt x="29020" y="16258"/>
                    <a:pt x="26219" y="16258"/>
                    <a:pt x="23762" y="15172"/>
                  </a:cubicBezTo>
                  <a:lnTo>
                    <a:pt x="3569" y="3457"/>
                  </a:lnTo>
                  <a:lnTo>
                    <a:pt x="1283" y="2123"/>
                  </a:lnTo>
                  <a:cubicBezTo>
                    <a:pt x="359" y="1733"/>
                    <a:pt x="-270" y="847"/>
                    <a:pt x="-336" y="-163"/>
                  </a:cubicBezTo>
                  <a:close/>
                </a:path>
              </a:pathLst>
            </a:custGeom>
            <a:solidFill>
              <a:srgbClr val="BF4200"/>
            </a:solidFill>
            <a:ln w="9525" cap="flat">
              <a:noFill/>
              <a:prstDash val="solid"/>
              <a:miter/>
            </a:ln>
          </p:spPr>
          <p:txBody>
            <a:bodyPr rtlCol="0" anchor="ctr"/>
            <a:lstStyle/>
            <a:p>
              <a:endParaRPr lang="zh-CN" altLang="en-US"/>
            </a:p>
          </p:txBody>
        </p:sp>
        <p:sp>
          <p:nvSpPr>
            <p:cNvPr id="723" name="îṩļïďè">
              <a:extLst>
                <a:ext uri="{FF2B5EF4-FFF2-40B4-BE49-F238E27FC236}">
                  <a16:creationId xmlns:a16="http://schemas.microsoft.com/office/drawing/2014/main" id="{BFD1DF04-B970-4585-B02D-9EE43FC8FBFC}"/>
                </a:ext>
              </a:extLst>
            </p:cNvPr>
            <p:cNvSpPr/>
            <p:nvPr/>
          </p:nvSpPr>
          <p:spPr>
            <a:xfrm>
              <a:off x="4999080" y="4774588"/>
              <a:ext cx="140036" cy="81035"/>
            </a:xfrm>
            <a:custGeom>
              <a:avLst/>
              <a:gdLst>
                <a:gd name="connsiteX0" fmla="*/ -336 w 46005"/>
                <a:gd name="connsiteY0" fmla="*/ 10291 h 26622"/>
                <a:gd name="connsiteX1" fmla="*/ 1283 w 46005"/>
                <a:gd name="connsiteY1" fmla="*/ 12577 h 26622"/>
                <a:gd name="connsiteX2" fmla="*/ 3569 w 46005"/>
                <a:gd name="connsiteY2" fmla="*/ 13911 h 26622"/>
                <a:gd name="connsiteX3" fmla="*/ 23762 w 46005"/>
                <a:gd name="connsiteY3" fmla="*/ 25531 h 26622"/>
                <a:gd name="connsiteX4" fmla="*/ 31572 w 46005"/>
                <a:gd name="connsiteY4" fmla="*/ 25531 h 26622"/>
                <a:gd name="connsiteX5" fmla="*/ 41764 w 46005"/>
                <a:gd name="connsiteY5" fmla="*/ 19625 h 26622"/>
                <a:gd name="connsiteX6" fmla="*/ 44146 w 46005"/>
                <a:gd name="connsiteY6" fmla="*/ 18292 h 26622"/>
                <a:gd name="connsiteX7" fmla="*/ 45670 w 46005"/>
                <a:gd name="connsiteY7" fmla="*/ 16578 h 26622"/>
                <a:gd name="connsiteX8" fmla="*/ 45670 w 46005"/>
                <a:gd name="connsiteY8" fmla="*/ 15530 h 26622"/>
                <a:gd name="connsiteX9" fmla="*/ 44146 w 46005"/>
                <a:gd name="connsiteY9" fmla="*/ 13815 h 26622"/>
                <a:gd name="connsiteX10" fmla="*/ 21571 w 46005"/>
                <a:gd name="connsiteY10" fmla="*/ 766 h 26622"/>
                <a:gd name="connsiteX11" fmla="*/ 13856 w 46005"/>
                <a:gd name="connsiteY11" fmla="*/ 766 h 26622"/>
                <a:gd name="connsiteX12" fmla="*/ 1283 w 46005"/>
                <a:gd name="connsiteY12" fmla="*/ 8100 h 26622"/>
                <a:gd name="connsiteX13" fmla="*/ -336 w 46005"/>
                <a:gd name="connsiteY13" fmla="*/ 10291 h 26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005" h="26622">
                  <a:moveTo>
                    <a:pt x="-336" y="10291"/>
                  </a:moveTo>
                  <a:cubicBezTo>
                    <a:pt x="-231" y="11282"/>
                    <a:pt x="378" y="12148"/>
                    <a:pt x="1283" y="12577"/>
                  </a:cubicBezTo>
                  <a:lnTo>
                    <a:pt x="3569" y="13911"/>
                  </a:lnTo>
                  <a:lnTo>
                    <a:pt x="23762" y="25531"/>
                  </a:lnTo>
                  <a:cubicBezTo>
                    <a:pt x="26220" y="26769"/>
                    <a:pt x="29115" y="26769"/>
                    <a:pt x="31572" y="25531"/>
                  </a:cubicBezTo>
                  <a:lnTo>
                    <a:pt x="41764" y="19625"/>
                  </a:lnTo>
                  <a:lnTo>
                    <a:pt x="44146" y="18292"/>
                  </a:lnTo>
                  <a:cubicBezTo>
                    <a:pt x="44850" y="17930"/>
                    <a:pt x="45384" y="17321"/>
                    <a:pt x="45670" y="16578"/>
                  </a:cubicBezTo>
                  <a:lnTo>
                    <a:pt x="45670" y="15530"/>
                  </a:lnTo>
                  <a:cubicBezTo>
                    <a:pt x="45384" y="14787"/>
                    <a:pt x="44850" y="14177"/>
                    <a:pt x="44146" y="13815"/>
                  </a:cubicBezTo>
                  <a:lnTo>
                    <a:pt x="21571" y="766"/>
                  </a:lnTo>
                  <a:cubicBezTo>
                    <a:pt x="19152" y="-472"/>
                    <a:pt x="16275" y="-472"/>
                    <a:pt x="13856" y="766"/>
                  </a:cubicBezTo>
                  <a:lnTo>
                    <a:pt x="1283" y="8100"/>
                  </a:lnTo>
                  <a:cubicBezTo>
                    <a:pt x="397" y="8491"/>
                    <a:pt x="-222"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724" name="í$líḓè">
              <a:extLst>
                <a:ext uri="{FF2B5EF4-FFF2-40B4-BE49-F238E27FC236}">
                  <a16:creationId xmlns:a16="http://schemas.microsoft.com/office/drawing/2014/main" id="{42BB5702-613B-4259-BD74-D0CA2FFDF602}"/>
                </a:ext>
              </a:extLst>
            </p:cNvPr>
            <p:cNvSpPr/>
            <p:nvPr/>
          </p:nvSpPr>
          <p:spPr>
            <a:xfrm>
              <a:off x="5001183" y="4775747"/>
              <a:ext cx="136121" cy="78716"/>
            </a:xfrm>
            <a:custGeom>
              <a:avLst/>
              <a:gdLst>
                <a:gd name="connsiteX0" fmla="*/ 23262 w 44719"/>
                <a:gd name="connsiteY0" fmla="*/ 24769 h 25860"/>
                <a:gd name="connsiteX1" fmla="*/ 1164 w 44719"/>
                <a:gd name="connsiteY1" fmla="*/ 12006 h 25860"/>
                <a:gd name="connsiteX2" fmla="*/ 1164 w 44719"/>
                <a:gd name="connsiteY2" fmla="*/ 7719 h 25860"/>
                <a:gd name="connsiteX3" fmla="*/ 13356 w 44719"/>
                <a:gd name="connsiteY3" fmla="*/ 766 h 25860"/>
                <a:gd name="connsiteX4" fmla="*/ 20785 w 44719"/>
                <a:gd name="connsiteY4" fmla="*/ 766 h 25860"/>
                <a:gd name="connsiteX5" fmla="*/ 42883 w 44719"/>
                <a:gd name="connsiteY5" fmla="*/ 13530 h 25860"/>
                <a:gd name="connsiteX6" fmla="*/ 42883 w 44719"/>
                <a:gd name="connsiteY6" fmla="*/ 17816 h 25860"/>
                <a:gd name="connsiteX7" fmla="*/ 30691 w 44719"/>
                <a:gd name="connsiteY7" fmla="*/ 24769 h 25860"/>
                <a:gd name="connsiteX8" fmla="*/ 23262 w 44719"/>
                <a:gd name="connsiteY8" fmla="*/ 24769 h 25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719" h="25860">
                  <a:moveTo>
                    <a:pt x="23262" y="24769"/>
                  </a:moveTo>
                  <a:lnTo>
                    <a:pt x="1164" y="12006"/>
                  </a:lnTo>
                  <a:cubicBezTo>
                    <a:pt x="-836" y="10863"/>
                    <a:pt x="-836" y="8958"/>
                    <a:pt x="1164" y="7719"/>
                  </a:cubicBezTo>
                  <a:lnTo>
                    <a:pt x="13356" y="766"/>
                  </a:lnTo>
                  <a:cubicBezTo>
                    <a:pt x="15680" y="-472"/>
                    <a:pt x="18461" y="-472"/>
                    <a:pt x="20785" y="766"/>
                  </a:cubicBezTo>
                  <a:lnTo>
                    <a:pt x="42883" y="13530"/>
                  </a:lnTo>
                  <a:cubicBezTo>
                    <a:pt x="44884" y="14673"/>
                    <a:pt x="44884" y="16577"/>
                    <a:pt x="42883" y="17816"/>
                  </a:cubicBezTo>
                  <a:lnTo>
                    <a:pt x="30691" y="24769"/>
                  </a:lnTo>
                  <a:cubicBezTo>
                    <a:pt x="28367" y="26007"/>
                    <a:pt x="25586" y="26007"/>
                    <a:pt x="23262" y="24769"/>
                  </a:cubicBezTo>
                  <a:close/>
                </a:path>
              </a:pathLst>
            </a:custGeom>
            <a:solidFill>
              <a:srgbClr val="D1D9E8"/>
            </a:solidFill>
            <a:ln w="9525" cap="flat">
              <a:noFill/>
              <a:prstDash val="solid"/>
              <a:miter/>
            </a:ln>
          </p:spPr>
          <p:txBody>
            <a:bodyPr rtlCol="0" anchor="ctr"/>
            <a:lstStyle/>
            <a:p>
              <a:endParaRPr lang="zh-CN" altLang="en-US"/>
            </a:p>
          </p:txBody>
        </p:sp>
        <p:sp>
          <p:nvSpPr>
            <p:cNvPr id="725" name="íṥḷïḑè">
              <a:extLst>
                <a:ext uri="{FF2B5EF4-FFF2-40B4-BE49-F238E27FC236}">
                  <a16:creationId xmlns:a16="http://schemas.microsoft.com/office/drawing/2014/main" id="{F932B142-4D32-465F-8D6B-35AEC0A91430}"/>
                </a:ext>
              </a:extLst>
            </p:cNvPr>
            <p:cNvSpPr/>
            <p:nvPr/>
          </p:nvSpPr>
          <p:spPr>
            <a:xfrm>
              <a:off x="4999080" y="4806409"/>
              <a:ext cx="140036" cy="69806"/>
            </a:xfrm>
            <a:custGeom>
              <a:avLst/>
              <a:gdLst>
                <a:gd name="connsiteX0" fmla="*/ -336 w 46005"/>
                <a:gd name="connsiteY0" fmla="*/ -163 h 22933"/>
                <a:gd name="connsiteX1" fmla="*/ -336 w 46005"/>
                <a:gd name="connsiteY1" fmla="*/ 6600 h 22933"/>
                <a:gd name="connsiteX2" fmla="*/ 1283 w 46005"/>
                <a:gd name="connsiteY2" fmla="*/ 8886 h 22933"/>
                <a:gd name="connsiteX3" fmla="*/ 23762 w 46005"/>
                <a:gd name="connsiteY3" fmla="*/ 21935 h 22933"/>
                <a:gd name="connsiteX4" fmla="*/ 31572 w 46005"/>
                <a:gd name="connsiteY4" fmla="*/ 21935 h 22933"/>
                <a:gd name="connsiteX5" fmla="*/ 44146 w 46005"/>
                <a:gd name="connsiteY5" fmla="*/ 14601 h 22933"/>
                <a:gd name="connsiteX6" fmla="*/ 45670 w 46005"/>
                <a:gd name="connsiteY6" fmla="*/ 12982 h 22933"/>
                <a:gd name="connsiteX7" fmla="*/ 45670 w 46005"/>
                <a:gd name="connsiteY7" fmla="*/ 6600 h 22933"/>
                <a:gd name="connsiteX8" fmla="*/ 44146 w 46005"/>
                <a:gd name="connsiteY8" fmla="*/ 8314 h 22933"/>
                <a:gd name="connsiteX9" fmla="*/ 41764 w 46005"/>
                <a:gd name="connsiteY9" fmla="*/ 9648 h 22933"/>
                <a:gd name="connsiteX10" fmla="*/ 31572 w 46005"/>
                <a:gd name="connsiteY10" fmla="*/ 15554 h 22933"/>
                <a:gd name="connsiteX11" fmla="*/ 23762 w 46005"/>
                <a:gd name="connsiteY11" fmla="*/ 15554 h 22933"/>
                <a:gd name="connsiteX12" fmla="*/ 3379 w 46005"/>
                <a:gd name="connsiteY12" fmla="*/ 3457 h 22933"/>
                <a:gd name="connsiteX13" fmla="*/ 1093 w 46005"/>
                <a:gd name="connsiteY13" fmla="*/ 2123 h 22933"/>
                <a:gd name="connsiteX14" fmla="*/ -336 w 46005"/>
                <a:gd name="connsiteY14" fmla="*/ -163 h 229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6005" h="22933">
                  <a:moveTo>
                    <a:pt x="-336" y="-163"/>
                  </a:moveTo>
                  <a:lnTo>
                    <a:pt x="-336" y="6600"/>
                  </a:lnTo>
                  <a:cubicBezTo>
                    <a:pt x="-213" y="7581"/>
                    <a:pt x="397" y="8448"/>
                    <a:pt x="1283" y="8886"/>
                  </a:cubicBezTo>
                  <a:lnTo>
                    <a:pt x="23762" y="21935"/>
                  </a:lnTo>
                  <a:cubicBezTo>
                    <a:pt x="26248" y="23050"/>
                    <a:pt x="29087" y="23050"/>
                    <a:pt x="31572" y="21935"/>
                  </a:cubicBezTo>
                  <a:lnTo>
                    <a:pt x="44146" y="14601"/>
                  </a:lnTo>
                  <a:cubicBezTo>
                    <a:pt x="44822" y="14249"/>
                    <a:pt x="45355" y="13677"/>
                    <a:pt x="45670" y="12982"/>
                  </a:cubicBezTo>
                  <a:lnTo>
                    <a:pt x="45670" y="6600"/>
                  </a:lnTo>
                  <a:cubicBezTo>
                    <a:pt x="45384" y="7343"/>
                    <a:pt x="44850" y="7953"/>
                    <a:pt x="44146" y="8314"/>
                  </a:cubicBezTo>
                  <a:lnTo>
                    <a:pt x="41764" y="9648"/>
                  </a:lnTo>
                  <a:lnTo>
                    <a:pt x="31572" y="15554"/>
                  </a:lnTo>
                  <a:cubicBezTo>
                    <a:pt x="29115" y="16792"/>
                    <a:pt x="26220" y="16792"/>
                    <a:pt x="23762" y="15554"/>
                  </a:cubicBezTo>
                  <a:lnTo>
                    <a:pt x="3379" y="3457"/>
                  </a:lnTo>
                  <a:lnTo>
                    <a:pt x="1093" y="2123"/>
                  </a:lnTo>
                  <a:cubicBezTo>
                    <a:pt x="264" y="1647"/>
                    <a:pt x="-269" y="790"/>
                    <a:pt x="-336" y="-163"/>
                  </a:cubicBezTo>
                  <a:close/>
                </a:path>
              </a:pathLst>
            </a:custGeom>
            <a:solidFill>
              <a:srgbClr val="BF4200"/>
            </a:solidFill>
            <a:ln w="9525" cap="flat">
              <a:noFill/>
              <a:prstDash val="solid"/>
              <a:miter/>
            </a:ln>
          </p:spPr>
          <p:txBody>
            <a:bodyPr rtlCol="0" anchor="ctr"/>
            <a:lstStyle/>
            <a:p>
              <a:endParaRPr lang="zh-CN" altLang="en-US"/>
            </a:p>
          </p:txBody>
        </p:sp>
        <p:sp>
          <p:nvSpPr>
            <p:cNvPr id="726" name="îšļîde">
              <a:extLst>
                <a:ext uri="{FF2B5EF4-FFF2-40B4-BE49-F238E27FC236}">
                  <a16:creationId xmlns:a16="http://schemas.microsoft.com/office/drawing/2014/main" id="{E682B62B-E71D-4ED0-85D1-5DB3ECBA7565}"/>
                </a:ext>
              </a:extLst>
            </p:cNvPr>
            <p:cNvSpPr/>
            <p:nvPr/>
          </p:nvSpPr>
          <p:spPr>
            <a:xfrm>
              <a:off x="5107806" y="4836635"/>
              <a:ext cx="109594" cy="63639"/>
            </a:xfrm>
            <a:custGeom>
              <a:avLst/>
              <a:gdLst>
                <a:gd name="connsiteX0" fmla="*/ -336 w 36004"/>
                <a:gd name="connsiteY0" fmla="*/ 10291 h 20907"/>
                <a:gd name="connsiteX1" fmla="*/ 1188 w 36004"/>
                <a:gd name="connsiteY1" fmla="*/ 12577 h 20907"/>
                <a:gd name="connsiteX2" fmla="*/ 3569 w 36004"/>
                <a:gd name="connsiteY2" fmla="*/ 13911 h 20907"/>
                <a:gd name="connsiteX3" fmla="*/ 13856 w 36004"/>
                <a:gd name="connsiteY3" fmla="*/ 19816 h 20907"/>
                <a:gd name="connsiteX4" fmla="*/ 21476 w 36004"/>
                <a:gd name="connsiteY4" fmla="*/ 19816 h 20907"/>
                <a:gd name="connsiteX5" fmla="*/ 31763 w 36004"/>
                <a:gd name="connsiteY5" fmla="*/ 13911 h 20907"/>
                <a:gd name="connsiteX6" fmla="*/ 34144 w 36004"/>
                <a:gd name="connsiteY6" fmla="*/ 12577 h 20907"/>
                <a:gd name="connsiteX7" fmla="*/ 35668 w 36004"/>
                <a:gd name="connsiteY7" fmla="*/ 10291 h 20907"/>
                <a:gd name="connsiteX8" fmla="*/ 34144 w 36004"/>
                <a:gd name="connsiteY8" fmla="*/ 8101 h 20907"/>
                <a:gd name="connsiteX9" fmla="*/ 21476 w 36004"/>
                <a:gd name="connsiteY9" fmla="*/ 766 h 20907"/>
                <a:gd name="connsiteX10" fmla="*/ 13856 w 36004"/>
                <a:gd name="connsiteY10" fmla="*/ 766 h 20907"/>
                <a:gd name="connsiteX11" fmla="*/ 1188 w 36004"/>
                <a:gd name="connsiteY11" fmla="*/ 8101 h 20907"/>
                <a:gd name="connsiteX12" fmla="*/ -336 w 36004"/>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907">
                  <a:moveTo>
                    <a:pt x="-336" y="10291"/>
                  </a:moveTo>
                  <a:cubicBezTo>
                    <a:pt x="-269" y="11272"/>
                    <a:pt x="312" y="12139"/>
                    <a:pt x="1188" y="12577"/>
                  </a:cubicBezTo>
                  <a:lnTo>
                    <a:pt x="3569" y="13911"/>
                  </a:lnTo>
                  <a:lnTo>
                    <a:pt x="13856" y="19816"/>
                  </a:lnTo>
                  <a:cubicBezTo>
                    <a:pt x="16247" y="21054"/>
                    <a:pt x="19085" y="21054"/>
                    <a:pt x="21476" y="19816"/>
                  </a:cubicBezTo>
                  <a:lnTo>
                    <a:pt x="31763" y="13911"/>
                  </a:lnTo>
                  <a:lnTo>
                    <a:pt x="34144" y="12577"/>
                  </a:lnTo>
                  <a:cubicBezTo>
                    <a:pt x="35021" y="12139"/>
                    <a:pt x="35602" y="11272"/>
                    <a:pt x="35668" y="10291"/>
                  </a:cubicBezTo>
                  <a:cubicBezTo>
                    <a:pt x="35611" y="9339"/>
                    <a:pt x="35021" y="8491"/>
                    <a:pt x="34144" y="8101"/>
                  </a:cubicBezTo>
                  <a:lnTo>
                    <a:pt x="21476" y="766"/>
                  </a:lnTo>
                  <a:cubicBezTo>
                    <a:pt x="19085" y="-472"/>
                    <a:pt x="16247" y="-472"/>
                    <a:pt x="13856" y="766"/>
                  </a:cubicBezTo>
                  <a:lnTo>
                    <a:pt x="1188" y="8101"/>
                  </a:lnTo>
                  <a:cubicBezTo>
                    <a:pt x="312" y="8491"/>
                    <a:pt x="-279"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727" name="iŝḻíḓé">
              <a:extLst>
                <a:ext uri="{FF2B5EF4-FFF2-40B4-BE49-F238E27FC236}">
                  <a16:creationId xmlns:a16="http://schemas.microsoft.com/office/drawing/2014/main" id="{00958AEB-AB5F-43DE-AA7E-849008BF07A8}"/>
                </a:ext>
              </a:extLst>
            </p:cNvPr>
            <p:cNvSpPr/>
            <p:nvPr/>
          </p:nvSpPr>
          <p:spPr>
            <a:xfrm>
              <a:off x="5109690" y="4837795"/>
              <a:ext cx="105898" cy="61104"/>
            </a:xfrm>
            <a:custGeom>
              <a:avLst/>
              <a:gdLst>
                <a:gd name="connsiteX0" fmla="*/ 1235 w 34790"/>
                <a:gd name="connsiteY0" fmla="*/ 12006 h 20074"/>
                <a:gd name="connsiteX1" fmla="*/ 13332 w 34790"/>
                <a:gd name="connsiteY1" fmla="*/ 19054 h 20074"/>
                <a:gd name="connsiteX2" fmla="*/ 20762 w 34790"/>
                <a:gd name="connsiteY2" fmla="*/ 19054 h 20074"/>
                <a:gd name="connsiteX3" fmla="*/ 32954 w 34790"/>
                <a:gd name="connsiteY3" fmla="*/ 12006 h 20074"/>
                <a:gd name="connsiteX4" fmla="*/ 32954 w 34790"/>
                <a:gd name="connsiteY4" fmla="*/ 7719 h 20074"/>
                <a:gd name="connsiteX5" fmla="*/ 20762 w 34790"/>
                <a:gd name="connsiteY5" fmla="*/ 766 h 20074"/>
                <a:gd name="connsiteX6" fmla="*/ 13332 w 34790"/>
                <a:gd name="connsiteY6" fmla="*/ 766 h 20074"/>
                <a:gd name="connsiteX7" fmla="*/ 1235 w 34790"/>
                <a:gd name="connsiteY7" fmla="*/ 7719 h 20074"/>
                <a:gd name="connsiteX8" fmla="*/ 1235 w 34790"/>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4">
                  <a:moveTo>
                    <a:pt x="1235" y="12006"/>
                  </a:moveTo>
                  <a:lnTo>
                    <a:pt x="13332" y="19054"/>
                  </a:lnTo>
                  <a:cubicBezTo>
                    <a:pt x="15675" y="20197"/>
                    <a:pt x="18419" y="20197"/>
                    <a:pt x="20762" y="19054"/>
                  </a:cubicBezTo>
                  <a:lnTo>
                    <a:pt x="32954" y="12006"/>
                  </a:lnTo>
                  <a:cubicBezTo>
                    <a:pt x="34954" y="10863"/>
                    <a:pt x="34954" y="8957"/>
                    <a:pt x="32954" y="7719"/>
                  </a:cubicBezTo>
                  <a:lnTo>
                    <a:pt x="20762" y="766"/>
                  </a:lnTo>
                  <a:cubicBezTo>
                    <a:pt x="18437" y="-472"/>
                    <a:pt x="15656" y="-472"/>
                    <a:pt x="13332" y="766"/>
                  </a:cubicBezTo>
                  <a:lnTo>
                    <a:pt x="1235" y="7719"/>
                  </a:lnTo>
                  <a:cubicBezTo>
                    <a:pt x="-860" y="8957"/>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728" name="îṡľíḓe">
              <a:extLst>
                <a:ext uri="{FF2B5EF4-FFF2-40B4-BE49-F238E27FC236}">
                  <a16:creationId xmlns:a16="http://schemas.microsoft.com/office/drawing/2014/main" id="{CE218FC2-88ED-4F75-A550-5B1D498B5BC5}"/>
                </a:ext>
              </a:extLst>
            </p:cNvPr>
            <p:cNvSpPr/>
            <p:nvPr/>
          </p:nvSpPr>
          <p:spPr>
            <a:xfrm>
              <a:off x="5107806" y="4868453"/>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4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4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3" y="7953"/>
                    <a:pt x="35668" y="6981"/>
                  </a:cubicBezTo>
                  <a:lnTo>
                    <a:pt x="35668" y="-163"/>
                  </a:lnTo>
                  <a:cubicBezTo>
                    <a:pt x="35602" y="818"/>
                    <a:pt x="35021" y="1685"/>
                    <a:pt x="34144" y="2124"/>
                  </a:cubicBezTo>
                  <a:lnTo>
                    <a:pt x="31763" y="3457"/>
                  </a:lnTo>
                  <a:lnTo>
                    <a:pt x="21476" y="9362"/>
                  </a:lnTo>
                  <a:cubicBezTo>
                    <a:pt x="19085" y="10601"/>
                    <a:pt x="16247" y="10601"/>
                    <a:pt x="13856" y="9362"/>
                  </a:cubicBezTo>
                  <a:lnTo>
                    <a:pt x="3569" y="3457"/>
                  </a:lnTo>
                  <a:lnTo>
                    <a:pt x="1188" y="2124"/>
                  </a:lnTo>
                  <a:cubicBezTo>
                    <a:pt x="312"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29" name="ïšḷiḍé">
              <a:extLst>
                <a:ext uri="{FF2B5EF4-FFF2-40B4-BE49-F238E27FC236}">
                  <a16:creationId xmlns:a16="http://schemas.microsoft.com/office/drawing/2014/main" id="{45ECB459-51E0-4AFE-85A9-1DFDD17DDBC3}"/>
                </a:ext>
              </a:extLst>
            </p:cNvPr>
            <p:cNvSpPr/>
            <p:nvPr/>
          </p:nvSpPr>
          <p:spPr>
            <a:xfrm>
              <a:off x="5184348" y="4882154"/>
              <a:ext cx="109594" cy="63639"/>
            </a:xfrm>
            <a:custGeom>
              <a:avLst/>
              <a:gdLst>
                <a:gd name="connsiteX0" fmla="*/ -336 w 36004"/>
                <a:gd name="connsiteY0" fmla="*/ 10291 h 20907"/>
                <a:gd name="connsiteX1" fmla="*/ 1188 w 36004"/>
                <a:gd name="connsiteY1" fmla="*/ 12577 h 20907"/>
                <a:gd name="connsiteX2" fmla="*/ 3569 w 36004"/>
                <a:gd name="connsiteY2" fmla="*/ 13911 h 20907"/>
                <a:gd name="connsiteX3" fmla="*/ 13856 w 36004"/>
                <a:gd name="connsiteY3" fmla="*/ 19816 h 20907"/>
                <a:gd name="connsiteX4" fmla="*/ 21476 w 36004"/>
                <a:gd name="connsiteY4" fmla="*/ 19816 h 20907"/>
                <a:gd name="connsiteX5" fmla="*/ 31763 w 36004"/>
                <a:gd name="connsiteY5" fmla="*/ 13911 h 20907"/>
                <a:gd name="connsiteX6" fmla="*/ 34049 w 36004"/>
                <a:gd name="connsiteY6" fmla="*/ 12577 h 20907"/>
                <a:gd name="connsiteX7" fmla="*/ 35668 w 36004"/>
                <a:gd name="connsiteY7" fmla="*/ 10291 h 20907"/>
                <a:gd name="connsiteX8" fmla="*/ 34049 w 36004"/>
                <a:gd name="connsiteY8" fmla="*/ 8100 h 20907"/>
                <a:gd name="connsiteX9" fmla="*/ 21476 w 36004"/>
                <a:gd name="connsiteY9" fmla="*/ 766 h 20907"/>
                <a:gd name="connsiteX10" fmla="*/ 13856 w 36004"/>
                <a:gd name="connsiteY10" fmla="*/ 766 h 20907"/>
                <a:gd name="connsiteX11" fmla="*/ 1188 w 36004"/>
                <a:gd name="connsiteY11" fmla="*/ 8100 h 20907"/>
                <a:gd name="connsiteX12" fmla="*/ -336 w 36004"/>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907">
                  <a:moveTo>
                    <a:pt x="-336" y="10291"/>
                  </a:moveTo>
                  <a:cubicBezTo>
                    <a:pt x="-270" y="11272"/>
                    <a:pt x="311" y="12139"/>
                    <a:pt x="1188" y="12577"/>
                  </a:cubicBezTo>
                  <a:lnTo>
                    <a:pt x="3569" y="13911"/>
                  </a:lnTo>
                  <a:lnTo>
                    <a:pt x="13856" y="19816"/>
                  </a:lnTo>
                  <a:cubicBezTo>
                    <a:pt x="16247" y="21054"/>
                    <a:pt x="19085" y="21054"/>
                    <a:pt x="21476" y="19816"/>
                  </a:cubicBezTo>
                  <a:lnTo>
                    <a:pt x="31763" y="13911"/>
                  </a:lnTo>
                  <a:lnTo>
                    <a:pt x="34049" y="12577"/>
                  </a:lnTo>
                  <a:cubicBezTo>
                    <a:pt x="34973" y="12187"/>
                    <a:pt x="35602" y="11301"/>
                    <a:pt x="35668" y="10291"/>
                  </a:cubicBezTo>
                  <a:cubicBezTo>
                    <a:pt x="35592" y="9310"/>
                    <a:pt x="34963" y="8462"/>
                    <a:pt x="34049" y="8100"/>
                  </a:cubicBezTo>
                  <a:lnTo>
                    <a:pt x="21476" y="766"/>
                  </a:lnTo>
                  <a:cubicBezTo>
                    <a:pt x="19085" y="-472"/>
                    <a:pt x="16247" y="-472"/>
                    <a:pt x="13856" y="766"/>
                  </a:cubicBezTo>
                  <a:lnTo>
                    <a:pt x="1188" y="8100"/>
                  </a:lnTo>
                  <a:cubicBezTo>
                    <a:pt x="311" y="8491"/>
                    <a:pt x="-279"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730" name="ïš1îde">
              <a:extLst>
                <a:ext uri="{FF2B5EF4-FFF2-40B4-BE49-F238E27FC236}">
                  <a16:creationId xmlns:a16="http://schemas.microsoft.com/office/drawing/2014/main" id="{7ACA539A-A8E4-4295-973C-02E72437392C}"/>
                </a:ext>
              </a:extLst>
            </p:cNvPr>
            <p:cNvSpPr/>
            <p:nvPr/>
          </p:nvSpPr>
          <p:spPr>
            <a:xfrm>
              <a:off x="5186163" y="4882443"/>
              <a:ext cx="106766" cy="61101"/>
            </a:xfrm>
            <a:custGeom>
              <a:avLst/>
              <a:gdLst>
                <a:gd name="connsiteX0" fmla="*/ 1450 w 35075"/>
                <a:gd name="connsiteY0" fmla="*/ 12006 h 20073"/>
                <a:gd name="connsiteX1" fmla="*/ 13642 w 35075"/>
                <a:gd name="connsiteY1" fmla="*/ 19054 h 20073"/>
                <a:gd name="connsiteX2" fmla="*/ 21071 w 35075"/>
                <a:gd name="connsiteY2" fmla="*/ 19054 h 20073"/>
                <a:gd name="connsiteX3" fmla="*/ 33168 w 35075"/>
                <a:gd name="connsiteY3" fmla="*/ 12006 h 20073"/>
                <a:gd name="connsiteX4" fmla="*/ 33168 w 35075"/>
                <a:gd name="connsiteY4" fmla="*/ 7719 h 20073"/>
                <a:gd name="connsiteX5" fmla="*/ 21071 w 35075"/>
                <a:gd name="connsiteY5" fmla="*/ 766 h 20073"/>
                <a:gd name="connsiteX6" fmla="*/ 13642 w 35075"/>
                <a:gd name="connsiteY6" fmla="*/ 766 h 20073"/>
                <a:gd name="connsiteX7" fmla="*/ 1450 w 35075"/>
                <a:gd name="connsiteY7" fmla="*/ 7719 h 20073"/>
                <a:gd name="connsiteX8" fmla="*/ 1450 w 35075"/>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075" h="20073">
                  <a:moveTo>
                    <a:pt x="1450" y="12006"/>
                  </a:moveTo>
                  <a:lnTo>
                    <a:pt x="13642" y="19054"/>
                  </a:lnTo>
                  <a:cubicBezTo>
                    <a:pt x="15985" y="20197"/>
                    <a:pt x="18728" y="20197"/>
                    <a:pt x="21071" y="19054"/>
                  </a:cubicBezTo>
                  <a:lnTo>
                    <a:pt x="33168" y="12006"/>
                  </a:lnTo>
                  <a:cubicBezTo>
                    <a:pt x="35263" y="10863"/>
                    <a:pt x="35263" y="8957"/>
                    <a:pt x="33168" y="7719"/>
                  </a:cubicBezTo>
                  <a:lnTo>
                    <a:pt x="21071" y="766"/>
                  </a:lnTo>
                  <a:cubicBezTo>
                    <a:pt x="18747" y="-472"/>
                    <a:pt x="15966" y="-472"/>
                    <a:pt x="13642" y="766"/>
                  </a:cubicBezTo>
                  <a:lnTo>
                    <a:pt x="1450" y="7719"/>
                  </a:lnTo>
                  <a:cubicBezTo>
                    <a:pt x="-932" y="8957"/>
                    <a:pt x="-932" y="10863"/>
                    <a:pt x="1450" y="12006"/>
                  </a:cubicBezTo>
                  <a:close/>
                </a:path>
              </a:pathLst>
            </a:custGeom>
            <a:solidFill>
              <a:srgbClr val="D1D9E8"/>
            </a:solidFill>
            <a:ln w="9525" cap="flat">
              <a:noFill/>
              <a:prstDash val="solid"/>
              <a:miter/>
            </a:ln>
          </p:spPr>
          <p:txBody>
            <a:bodyPr rtlCol="0" anchor="ctr"/>
            <a:lstStyle/>
            <a:p>
              <a:endParaRPr lang="zh-CN" altLang="en-US"/>
            </a:p>
          </p:txBody>
        </p:sp>
        <p:sp>
          <p:nvSpPr>
            <p:cNvPr id="731" name="ïSliḓé">
              <a:extLst>
                <a:ext uri="{FF2B5EF4-FFF2-40B4-BE49-F238E27FC236}">
                  <a16:creationId xmlns:a16="http://schemas.microsoft.com/office/drawing/2014/main" id="{37FF4F82-FF48-4170-866A-D5DCE5352208}"/>
                </a:ext>
              </a:extLst>
            </p:cNvPr>
            <p:cNvSpPr/>
            <p:nvPr/>
          </p:nvSpPr>
          <p:spPr>
            <a:xfrm>
              <a:off x="5184348" y="4913975"/>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049 w 36004"/>
                <a:gd name="connsiteY5" fmla="*/ 9267 h 17597"/>
                <a:gd name="connsiteX6" fmla="*/ 35668 w 36004"/>
                <a:gd name="connsiteY6" fmla="*/ 6981 h 17597"/>
                <a:gd name="connsiteX7" fmla="*/ 35668 w 36004"/>
                <a:gd name="connsiteY7" fmla="*/ -163 h 17597"/>
                <a:gd name="connsiteX8" fmla="*/ 34049 w 36004"/>
                <a:gd name="connsiteY8" fmla="*/ 2123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3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049" y="9267"/>
                  </a:lnTo>
                  <a:cubicBezTo>
                    <a:pt x="34963" y="8857"/>
                    <a:pt x="35582" y="7981"/>
                    <a:pt x="35668" y="6981"/>
                  </a:cubicBezTo>
                  <a:lnTo>
                    <a:pt x="35668" y="-163"/>
                  </a:lnTo>
                  <a:cubicBezTo>
                    <a:pt x="35602" y="847"/>
                    <a:pt x="34973" y="1733"/>
                    <a:pt x="34049" y="2123"/>
                  </a:cubicBezTo>
                  <a:lnTo>
                    <a:pt x="31763" y="3457"/>
                  </a:lnTo>
                  <a:lnTo>
                    <a:pt x="21476" y="9362"/>
                  </a:lnTo>
                  <a:cubicBezTo>
                    <a:pt x="19085" y="10601"/>
                    <a:pt x="16247" y="10601"/>
                    <a:pt x="13856" y="9362"/>
                  </a:cubicBezTo>
                  <a:lnTo>
                    <a:pt x="3569" y="3457"/>
                  </a:lnTo>
                  <a:lnTo>
                    <a:pt x="1188"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32" name="îşlíďe">
              <a:extLst>
                <a:ext uri="{FF2B5EF4-FFF2-40B4-BE49-F238E27FC236}">
                  <a16:creationId xmlns:a16="http://schemas.microsoft.com/office/drawing/2014/main" id="{3EB3ED79-19CA-45E7-942A-9D88B0E92A9C}"/>
                </a:ext>
              </a:extLst>
            </p:cNvPr>
            <p:cNvSpPr/>
            <p:nvPr/>
          </p:nvSpPr>
          <p:spPr>
            <a:xfrm>
              <a:off x="5262343" y="4925935"/>
              <a:ext cx="109362" cy="63588"/>
            </a:xfrm>
            <a:custGeom>
              <a:avLst/>
              <a:gdLst>
                <a:gd name="connsiteX0" fmla="*/ -336 w 35928"/>
                <a:gd name="connsiteY0" fmla="*/ 10291 h 20890"/>
                <a:gd name="connsiteX1" fmla="*/ 1188 w 35928"/>
                <a:gd name="connsiteY1" fmla="*/ 12482 h 20890"/>
                <a:gd name="connsiteX2" fmla="*/ 3569 w 35928"/>
                <a:gd name="connsiteY2" fmla="*/ 13911 h 20890"/>
                <a:gd name="connsiteX3" fmla="*/ 13856 w 35928"/>
                <a:gd name="connsiteY3" fmla="*/ 19721 h 20890"/>
                <a:gd name="connsiteX4" fmla="*/ 21476 w 35928"/>
                <a:gd name="connsiteY4" fmla="*/ 19721 h 20890"/>
                <a:gd name="connsiteX5" fmla="*/ 31763 w 35928"/>
                <a:gd name="connsiteY5" fmla="*/ 13911 h 20890"/>
                <a:gd name="connsiteX6" fmla="*/ 34144 w 35928"/>
                <a:gd name="connsiteY6" fmla="*/ 12482 h 20890"/>
                <a:gd name="connsiteX7" fmla="*/ 35401 w 35928"/>
                <a:gd name="connsiteY7" fmla="*/ 9357 h 20890"/>
                <a:gd name="connsiteX8" fmla="*/ 34144 w 35928"/>
                <a:gd name="connsiteY8" fmla="*/ 8100 h 20890"/>
                <a:gd name="connsiteX9" fmla="*/ 21476 w 35928"/>
                <a:gd name="connsiteY9" fmla="*/ 766 h 20890"/>
                <a:gd name="connsiteX10" fmla="*/ 13856 w 35928"/>
                <a:gd name="connsiteY10" fmla="*/ 766 h 20890"/>
                <a:gd name="connsiteX11" fmla="*/ 1188 w 35928"/>
                <a:gd name="connsiteY11" fmla="*/ 8100 h 20890"/>
                <a:gd name="connsiteX12" fmla="*/ -336 w 35928"/>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928" h="20890">
                  <a:moveTo>
                    <a:pt x="-336" y="10291"/>
                  </a:moveTo>
                  <a:cubicBezTo>
                    <a:pt x="-298" y="11253"/>
                    <a:pt x="292" y="12110"/>
                    <a:pt x="1188" y="12482"/>
                  </a:cubicBezTo>
                  <a:lnTo>
                    <a:pt x="3569" y="13911"/>
                  </a:lnTo>
                  <a:lnTo>
                    <a:pt x="13856" y="19721"/>
                  </a:lnTo>
                  <a:cubicBezTo>
                    <a:pt x="16218" y="21064"/>
                    <a:pt x="19114" y="21064"/>
                    <a:pt x="21476" y="19721"/>
                  </a:cubicBezTo>
                  <a:lnTo>
                    <a:pt x="31763" y="13911"/>
                  </a:lnTo>
                  <a:lnTo>
                    <a:pt x="34144" y="12482"/>
                  </a:lnTo>
                  <a:cubicBezTo>
                    <a:pt x="35354" y="11967"/>
                    <a:pt x="35916" y="10567"/>
                    <a:pt x="35401" y="9357"/>
                  </a:cubicBezTo>
                  <a:cubicBezTo>
                    <a:pt x="35163" y="8796"/>
                    <a:pt x="34706" y="8338"/>
                    <a:pt x="34144" y="8100"/>
                  </a:cubicBezTo>
                  <a:lnTo>
                    <a:pt x="21476" y="766"/>
                  </a:lnTo>
                  <a:cubicBezTo>
                    <a:pt x="19085" y="-472"/>
                    <a:pt x="16247" y="-472"/>
                    <a:pt x="13856" y="766"/>
                  </a:cubicBezTo>
                  <a:lnTo>
                    <a:pt x="1188" y="8100"/>
                  </a:lnTo>
                  <a:cubicBezTo>
                    <a:pt x="292" y="8472"/>
                    <a:pt x="-298"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733" name="ísľîḓè">
              <a:extLst>
                <a:ext uri="{FF2B5EF4-FFF2-40B4-BE49-F238E27FC236}">
                  <a16:creationId xmlns:a16="http://schemas.microsoft.com/office/drawing/2014/main" id="{3FB93348-B9D5-40E4-8F2D-BA40A8E211D0}"/>
                </a:ext>
              </a:extLst>
            </p:cNvPr>
            <p:cNvSpPr/>
            <p:nvPr/>
          </p:nvSpPr>
          <p:spPr>
            <a:xfrm>
              <a:off x="5264154" y="4927094"/>
              <a:ext cx="105895" cy="61101"/>
            </a:xfrm>
            <a:custGeom>
              <a:avLst/>
              <a:gdLst>
                <a:gd name="connsiteX0" fmla="*/ 1164 w 34789"/>
                <a:gd name="connsiteY0" fmla="*/ 12006 h 20073"/>
                <a:gd name="connsiteX1" fmla="*/ 13356 w 34789"/>
                <a:gd name="connsiteY1" fmla="*/ 19054 h 20073"/>
                <a:gd name="connsiteX2" fmla="*/ 20785 w 34789"/>
                <a:gd name="connsiteY2" fmla="*/ 19054 h 20073"/>
                <a:gd name="connsiteX3" fmla="*/ 32882 w 34789"/>
                <a:gd name="connsiteY3" fmla="*/ 12006 h 20073"/>
                <a:gd name="connsiteX4" fmla="*/ 32882 w 34789"/>
                <a:gd name="connsiteY4" fmla="*/ 7719 h 20073"/>
                <a:gd name="connsiteX5" fmla="*/ 20785 w 34789"/>
                <a:gd name="connsiteY5" fmla="*/ 766 h 20073"/>
                <a:gd name="connsiteX6" fmla="*/ 13356 w 34789"/>
                <a:gd name="connsiteY6" fmla="*/ 766 h 20073"/>
                <a:gd name="connsiteX7" fmla="*/ 1164 w 34789"/>
                <a:gd name="connsiteY7" fmla="*/ 7719 h 20073"/>
                <a:gd name="connsiteX8" fmla="*/ 1164 w 34789"/>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89" h="20073">
                  <a:moveTo>
                    <a:pt x="1164" y="12006"/>
                  </a:moveTo>
                  <a:lnTo>
                    <a:pt x="13356" y="19054"/>
                  </a:lnTo>
                  <a:cubicBezTo>
                    <a:pt x="15699" y="20197"/>
                    <a:pt x="18442" y="20197"/>
                    <a:pt x="20785" y="19054"/>
                  </a:cubicBezTo>
                  <a:lnTo>
                    <a:pt x="32882" y="12006"/>
                  </a:lnTo>
                  <a:cubicBezTo>
                    <a:pt x="34977" y="10862"/>
                    <a:pt x="34977" y="8958"/>
                    <a:pt x="32882" y="7719"/>
                  </a:cubicBezTo>
                  <a:lnTo>
                    <a:pt x="20785" y="766"/>
                  </a:lnTo>
                  <a:cubicBezTo>
                    <a:pt x="18461" y="-472"/>
                    <a:pt x="15680" y="-472"/>
                    <a:pt x="13356" y="766"/>
                  </a:cubicBezTo>
                  <a:lnTo>
                    <a:pt x="1164" y="7719"/>
                  </a:lnTo>
                  <a:cubicBezTo>
                    <a:pt x="-836" y="8958"/>
                    <a:pt x="-836" y="10862"/>
                    <a:pt x="1164" y="12006"/>
                  </a:cubicBezTo>
                  <a:close/>
                </a:path>
              </a:pathLst>
            </a:custGeom>
            <a:solidFill>
              <a:srgbClr val="D1D9E8"/>
            </a:solidFill>
            <a:ln w="9525" cap="flat">
              <a:noFill/>
              <a:prstDash val="solid"/>
              <a:miter/>
            </a:ln>
          </p:spPr>
          <p:txBody>
            <a:bodyPr rtlCol="0" anchor="ctr"/>
            <a:lstStyle/>
            <a:p>
              <a:endParaRPr lang="zh-CN" altLang="en-US"/>
            </a:p>
          </p:txBody>
        </p:sp>
        <p:sp>
          <p:nvSpPr>
            <p:cNvPr id="734" name="ïşḷíďé">
              <a:extLst>
                <a:ext uri="{FF2B5EF4-FFF2-40B4-BE49-F238E27FC236}">
                  <a16:creationId xmlns:a16="http://schemas.microsoft.com/office/drawing/2014/main" id="{551F6F8C-7868-40C9-A4E1-F87D00AD81F3}"/>
                </a:ext>
              </a:extLst>
            </p:cNvPr>
            <p:cNvSpPr/>
            <p:nvPr/>
          </p:nvSpPr>
          <p:spPr>
            <a:xfrm>
              <a:off x="5262343" y="4957756"/>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028 h 17597"/>
                <a:gd name="connsiteX9" fmla="*/ 31763 w 36004"/>
                <a:gd name="connsiteY9" fmla="*/ 3457 h 17597"/>
                <a:gd name="connsiteX10" fmla="*/ 21476 w 36004"/>
                <a:gd name="connsiteY10" fmla="*/ 9267 h 17597"/>
                <a:gd name="connsiteX11" fmla="*/ 13856 w 36004"/>
                <a:gd name="connsiteY11" fmla="*/ 9267 h 17597"/>
                <a:gd name="connsiteX12" fmla="*/ 3569 w 36004"/>
                <a:gd name="connsiteY12" fmla="*/ 3457 h 17597"/>
                <a:gd name="connsiteX13" fmla="*/ 1188 w 36004"/>
                <a:gd name="connsiteY13" fmla="*/ 2028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2" y="7953"/>
                    <a:pt x="35668" y="6981"/>
                  </a:cubicBezTo>
                  <a:lnTo>
                    <a:pt x="35668" y="-163"/>
                  </a:lnTo>
                  <a:cubicBezTo>
                    <a:pt x="35630" y="799"/>
                    <a:pt x="35039" y="1656"/>
                    <a:pt x="34144" y="2028"/>
                  </a:cubicBezTo>
                  <a:lnTo>
                    <a:pt x="31763" y="3457"/>
                  </a:lnTo>
                  <a:lnTo>
                    <a:pt x="21476" y="9267"/>
                  </a:lnTo>
                  <a:cubicBezTo>
                    <a:pt x="19114" y="10610"/>
                    <a:pt x="16218" y="10610"/>
                    <a:pt x="13856" y="9267"/>
                  </a:cubicBezTo>
                  <a:lnTo>
                    <a:pt x="3569" y="3457"/>
                  </a:lnTo>
                  <a:lnTo>
                    <a:pt x="1188" y="2028"/>
                  </a:lnTo>
                  <a:cubicBezTo>
                    <a:pt x="292" y="1656"/>
                    <a:pt x="-298" y="799"/>
                    <a:pt x="-336" y="-163"/>
                  </a:cubicBezTo>
                  <a:close/>
                </a:path>
              </a:pathLst>
            </a:custGeom>
            <a:solidFill>
              <a:srgbClr val="BF4200"/>
            </a:solidFill>
            <a:ln w="9525" cap="flat">
              <a:noFill/>
              <a:prstDash val="solid"/>
              <a:miter/>
            </a:ln>
          </p:spPr>
          <p:txBody>
            <a:bodyPr rtlCol="0" anchor="ctr"/>
            <a:lstStyle/>
            <a:p>
              <a:endParaRPr lang="zh-CN" altLang="en-US"/>
            </a:p>
          </p:txBody>
        </p:sp>
        <p:sp>
          <p:nvSpPr>
            <p:cNvPr id="735" name="îṩľïḑè">
              <a:extLst>
                <a:ext uri="{FF2B5EF4-FFF2-40B4-BE49-F238E27FC236}">
                  <a16:creationId xmlns:a16="http://schemas.microsoft.com/office/drawing/2014/main" id="{41680ECD-4712-48AA-9682-CDCF19CAA5C2}"/>
                </a:ext>
              </a:extLst>
            </p:cNvPr>
            <p:cNvSpPr/>
            <p:nvPr/>
          </p:nvSpPr>
          <p:spPr>
            <a:xfrm>
              <a:off x="5339464" y="4970583"/>
              <a:ext cx="109594" cy="63588"/>
            </a:xfrm>
            <a:custGeom>
              <a:avLst/>
              <a:gdLst>
                <a:gd name="connsiteX0" fmla="*/ -336 w 36004"/>
                <a:gd name="connsiteY0" fmla="*/ 10291 h 20890"/>
                <a:gd name="connsiteX1" fmla="*/ 1283 w 36004"/>
                <a:gd name="connsiteY1" fmla="*/ 12482 h 20890"/>
                <a:gd name="connsiteX2" fmla="*/ 3569 w 36004"/>
                <a:gd name="connsiteY2" fmla="*/ 13815 h 20890"/>
                <a:gd name="connsiteX3" fmla="*/ 13856 w 36004"/>
                <a:gd name="connsiteY3" fmla="*/ 19721 h 20890"/>
                <a:gd name="connsiteX4" fmla="*/ 21571 w 36004"/>
                <a:gd name="connsiteY4" fmla="*/ 19721 h 20890"/>
                <a:gd name="connsiteX5" fmla="*/ 31858 w 36004"/>
                <a:gd name="connsiteY5" fmla="*/ 13815 h 20890"/>
                <a:gd name="connsiteX6" fmla="*/ 34144 w 36004"/>
                <a:gd name="connsiteY6" fmla="*/ 12482 h 20890"/>
                <a:gd name="connsiteX7" fmla="*/ 35668 w 36004"/>
                <a:gd name="connsiteY7" fmla="*/ 10291 h 20890"/>
                <a:gd name="connsiteX8" fmla="*/ 34144 w 36004"/>
                <a:gd name="connsiteY8" fmla="*/ 8005 h 20890"/>
                <a:gd name="connsiteX9" fmla="*/ 21571 w 36004"/>
                <a:gd name="connsiteY9" fmla="*/ 766 h 20890"/>
                <a:gd name="connsiteX10" fmla="*/ 13856 w 36004"/>
                <a:gd name="connsiteY10" fmla="*/ 766 h 20890"/>
                <a:gd name="connsiteX11" fmla="*/ 1283 w 36004"/>
                <a:gd name="connsiteY11" fmla="*/ 8005 h 20890"/>
                <a:gd name="connsiteX12" fmla="*/ -336 w 36004"/>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291"/>
                  </a:moveTo>
                  <a:cubicBezTo>
                    <a:pt x="-260" y="11272"/>
                    <a:pt x="369" y="12120"/>
                    <a:pt x="1283" y="12482"/>
                  </a:cubicBezTo>
                  <a:lnTo>
                    <a:pt x="3569" y="13815"/>
                  </a:lnTo>
                  <a:lnTo>
                    <a:pt x="13856" y="19721"/>
                  </a:lnTo>
                  <a:cubicBezTo>
                    <a:pt x="16256" y="21064"/>
                    <a:pt x="19171" y="21064"/>
                    <a:pt x="21571" y="19721"/>
                  </a:cubicBezTo>
                  <a:lnTo>
                    <a:pt x="31858" y="13815"/>
                  </a:lnTo>
                  <a:lnTo>
                    <a:pt x="34144" y="12482"/>
                  </a:lnTo>
                  <a:cubicBezTo>
                    <a:pt x="35021" y="12091"/>
                    <a:pt x="35611" y="11253"/>
                    <a:pt x="35668" y="10291"/>
                  </a:cubicBezTo>
                  <a:cubicBezTo>
                    <a:pt x="35601" y="9310"/>
                    <a:pt x="35021" y="8443"/>
                    <a:pt x="34144" y="8005"/>
                  </a:cubicBezTo>
                  <a:lnTo>
                    <a:pt x="21571" y="766"/>
                  </a:lnTo>
                  <a:cubicBezTo>
                    <a:pt x="19152" y="-472"/>
                    <a:pt x="16275" y="-472"/>
                    <a:pt x="13856" y="766"/>
                  </a:cubicBezTo>
                  <a:lnTo>
                    <a:pt x="1283" y="8005"/>
                  </a:lnTo>
                  <a:cubicBezTo>
                    <a:pt x="349" y="8396"/>
                    <a:pt x="-270" y="9281"/>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736" name="iṡḷïḋê">
              <a:extLst>
                <a:ext uri="{FF2B5EF4-FFF2-40B4-BE49-F238E27FC236}">
                  <a16:creationId xmlns:a16="http://schemas.microsoft.com/office/drawing/2014/main" id="{869809BB-92F1-4986-80AD-A9069C3F36E1}"/>
                </a:ext>
              </a:extLst>
            </p:cNvPr>
            <p:cNvSpPr/>
            <p:nvPr/>
          </p:nvSpPr>
          <p:spPr>
            <a:xfrm>
              <a:off x="5341348" y="4971743"/>
              <a:ext cx="105898" cy="61104"/>
            </a:xfrm>
            <a:custGeom>
              <a:avLst/>
              <a:gdLst>
                <a:gd name="connsiteX0" fmla="*/ 1235 w 34790"/>
                <a:gd name="connsiteY0" fmla="*/ 12006 h 20074"/>
                <a:gd name="connsiteX1" fmla="*/ 13332 w 34790"/>
                <a:gd name="connsiteY1" fmla="*/ 19054 h 20074"/>
                <a:gd name="connsiteX2" fmla="*/ 20762 w 34790"/>
                <a:gd name="connsiteY2" fmla="*/ 19054 h 20074"/>
                <a:gd name="connsiteX3" fmla="*/ 32954 w 34790"/>
                <a:gd name="connsiteY3" fmla="*/ 12006 h 20074"/>
                <a:gd name="connsiteX4" fmla="*/ 32954 w 34790"/>
                <a:gd name="connsiteY4" fmla="*/ 7719 h 20074"/>
                <a:gd name="connsiteX5" fmla="*/ 20762 w 34790"/>
                <a:gd name="connsiteY5" fmla="*/ 766 h 20074"/>
                <a:gd name="connsiteX6" fmla="*/ 13332 w 34790"/>
                <a:gd name="connsiteY6" fmla="*/ 766 h 20074"/>
                <a:gd name="connsiteX7" fmla="*/ 1235 w 34790"/>
                <a:gd name="connsiteY7" fmla="*/ 7719 h 20074"/>
                <a:gd name="connsiteX8" fmla="*/ 1235 w 34790"/>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4">
                  <a:moveTo>
                    <a:pt x="1235" y="12006"/>
                  </a:moveTo>
                  <a:lnTo>
                    <a:pt x="13332" y="19054"/>
                  </a:lnTo>
                  <a:cubicBezTo>
                    <a:pt x="15675" y="20197"/>
                    <a:pt x="18419" y="20197"/>
                    <a:pt x="20762" y="19054"/>
                  </a:cubicBezTo>
                  <a:lnTo>
                    <a:pt x="32954" y="12006"/>
                  </a:lnTo>
                  <a:cubicBezTo>
                    <a:pt x="34954" y="10863"/>
                    <a:pt x="34954" y="8958"/>
                    <a:pt x="32954" y="7719"/>
                  </a:cubicBezTo>
                  <a:lnTo>
                    <a:pt x="20762" y="766"/>
                  </a:lnTo>
                  <a:cubicBezTo>
                    <a:pt x="18437" y="-472"/>
                    <a:pt x="15656" y="-472"/>
                    <a:pt x="13332" y="766"/>
                  </a:cubicBezTo>
                  <a:lnTo>
                    <a:pt x="1235" y="7719"/>
                  </a:lnTo>
                  <a:cubicBezTo>
                    <a:pt x="-860" y="9434"/>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737" name="iṡļïḓê">
              <a:extLst>
                <a:ext uri="{FF2B5EF4-FFF2-40B4-BE49-F238E27FC236}">
                  <a16:creationId xmlns:a16="http://schemas.microsoft.com/office/drawing/2014/main" id="{DDA5E6AA-F7BC-41D7-B5FC-EB19B596CA59}"/>
                </a:ext>
              </a:extLst>
            </p:cNvPr>
            <p:cNvSpPr/>
            <p:nvPr/>
          </p:nvSpPr>
          <p:spPr>
            <a:xfrm>
              <a:off x="5339464" y="5001244"/>
              <a:ext cx="110464" cy="54724"/>
            </a:xfrm>
            <a:custGeom>
              <a:avLst/>
              <a:gdLst>
                <a:gd name="connsiteX0" fmla="*/ -336 w 36290"/>
                <a:gd name="connsiteY0" fmla="*/ 218 h 17978"/>
                <a:gd name="connsiteX1" fmla="*/ -336 w 36290"/>
                <a:gd name="connsiteY1" fmla="*/ 7362 h 17978"/>
                <a:gd name="connsiteX2" fmla="*/ 1283 w 36290"/>
                <a:gd name="connsiteY2" fmla="*/ 9648 h 17978"/>
                <a:gd name="connsiteX3" fmla="*/ 13856 w 36290"/>
                <a:gd name="connsiteY3" fmla="*/ 16887 h 17978"/>
                <a:gd name="connsiteX4" fmla="*/ 21571 w 36290"/>
                <a:gd name="connsiteY4" fmla="*/ 16887 h 17978"/>
                <a:gd name="connsiteX5" fmla="*/ 34430 w 36290"/>
                <a:gd name="connsiteY5" fmla="*/ 9267 h 17978"/>
                <a:gd name="connsiteX6" fmla="*/ 35954 w 36290"/>
                <a:gd name="connsiteY6" fmla="*/ 6981 h 17978"/>
                <a:gd name="connsiteX7" fmla="*/ 35954 w 36290"/>
                <a:gd name="connsiteY7" fmla="*/ -163 h 17978"/>
                <a:gd name="connsiteX8" fmla="*/ 34430 w 36290"/>
                <a:gd name="connsiteY8" fmla="*/ 2028 h 17978"/>
                <a:gd name="connsiteX9" fmla="*/ 32144 w 36290"/>
                <a:gd name="connsiteY9" fmla="*/ 3362 h 17978"/>
                <a:gd name="connsiteX10" fmla="*/ 21857 w 36290"/>
                <a:gd name="connsiteY10" fmla="*/ 9267 h 17978"/>
                <a:gd name="connsiteX11" fmla="*/ 14142 w 36290"/>
                <a:gd name="connsiteY11" fmla="*/ 9267 h 17978"/>
                <a:gd name="connsiteX12" fmla="*/ 3855 w 36290"/>
                <a:gd name="connsiteY12" fmla="*/ 3362 h 17978"/>
                <a:gd name="connsiteX13" fmla="*/ 1568 w 36290"/>
                <a:gd name="connsiteY13" fmla="*/ 2028 h 17978"/>
                <a:gd name="connsiteX14" fmla="*/ -336 w 36290"/>
                <a:gd name="connsiteY14" fmla="*/ 218 h 17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290" h="17978">
                  <a:moveTo>
                    <a:pt x="-336" y="218"/>
                  </a:moveTo>
                  <a:lnTo>
                    <a:pt x="-336" y="7362"/>
                  </a:lnTo>
                  <a:cubicBezTo>
                    <a:pt x="-270" y="8372"/>
                    <a:pt x="359" y="9257"/>
                    <a:pt x="1283" y="9648"/>
                  </a:cubicBezTo>
                  <a:lnTo>
                    <a:pt x="13856" y="16887"/>
                  </a:lnTo>
                  <a:cubicBezTo>
                    <a:pt x="16275" y="18125"/>
                    <a:pt x="19152" y="18125"/>
                    <a:pt x="21571" y="16887"/>
                  </a:cubicBezTo>
                  <a:lnTo>
                    <a:pt x="34430" y="9267"/>
                  </a:lnTo>
                  <a:cubicBezTo>
                    <a:pt x="35297" y="8819"/>
                    <a:pt x="35868" y="7953"/>
                    <a:pt x="35954" y="6981"/>
                  </a:cubicBezTo>
                  <a:lnTo>
                    <a:pt x="35954" y="-163"/>
                  </a:lnTo>
                  <a:cubicBezTo>
                    <a:pt x="35897" y="799"/>
                    <a:pt x="35306" y="1638"/>
                    <a:pt x="34430" y="2028"/>
                  </a:cubicBezTo>
                  <a:lnTo>
                    <a:pt x="32144" y="3362"/>
                  </a:lnTo>
                  <a:lnTo>
                    <a:pt x="21857" y="9267"/>
                  </a:lnTo>
                  <a:cubicBezTo>
                    <a:pt x="19457" y="10610"/>
                    <a:pt x="16542" y="10610"/>
                    <a:pt x="14142" y="9267"/>
                  </a:cubicBezTo>
                  <a:lnTo>
                    <a:pt x="3855" y="3362"/>
                  </a:lnTo>
                  <a:lnTo>
                    <a:pt x="1568" y="2028"/>
                  </a:lnTo>
                  <a:cubicBezTo>
                    <a:pt x="654" y="1818"/>
                    <a:pt x="-79" y="1123"/>
                    <a:pt x="-336" y="218"/>
                  </a:cubicBezTo>
                  <a:close/>
                </a:path>
              </a:pathLst>
            </a:custGeom>
            <a:solidFill>
              <a:srgbClr val="BF4200"/>
            </a:solidFill>
            <a:ln w="9525" cap="flat">
              <a:noFill/>
              <a:prstDash val="solid"/>
              <a:miter/>
            </a:ln>
          </p:spPr>
          <p:txBody>
            <a:bodyPr rtlCol="0" anchor="ctr"/>
            <a:lstStyle/>
            <a:p>
              <a:endParaRPr lang="zh-CN" altLang="en-US"/>
            </a:p>
          </p:txBody>
        </p:sp>
        <p:sp>
          <p:nvSpPr>
            <p:cNvPr id="738" name="ïṩḻîḓè">
              <a:extLst>
                <a:ext uri="{FF2B5EF4-FFF2-40B4-BE49-F238E27FC236}">
                  <a16:creationId xmlns:a16="http://schemas.microsoft.com/office/drawing/2014/main" id="{11AB723C-F5EC-4166-922C-18B6637B5766}"/>
                </a:ext>
              </a:extLst>
            </p:cNvPr>
            <p:cNvSpPr/>
            <p:nvPr/>
          </p:nvSpPr>
          <p:spPr>
            <a:xfrm>
              <a:off x="5416296" y="5015234"/>
              <a:ext cx="109594" cy="63588"/>
            </a:xfrm>
            <a:custGeom>
              <a:avLst/>
              <a:gdLst>
                <a:gd name="connsiteX0" fmla="*/ -336 w 36004"/>
                <a:gd name="connsiteY0" fmla="*/ 10196 h 20890"/>
                <a:gd name="connsiteX1" fmla="*/ 1188 w 36004"/>
                <a:gd name="connsiteY1" fmla="*/ 12482 h 20890"/>
                <a:gd name="connsiteX2" fmla="*/ 3569 w 36004"/>
                <a:gd name="connsiteY2" fmla="*/ 13815 h 20890"/>
                <a:gd name="connsiteX3" fmla="*/ 13856 w 36004"/>
                <a:gd name="connsiteY3" fmla="*/ 19721 h 20890"/>
                <a:gd name="connsiteX4" fmla="*/ 21476 w 36004"/>
                <a:gd name="connsiteY4" fmla="*/ 19721 h 20890"/>
                <a:gd name="connsiteX5" fmla="*/ 31763 w 36004"/>
                <a:gd name="connsiteY5" fmla="*/ 13815 h 20890"/>
                <a:gd name="connsiteX6" fmla="*/ 34144 w 36004"/>
                <a:gd name="connsiteY6" fmla="*/ 12482 h 20890"/>
                <a:gd name="connsiteX7" fmla="*/ 35668 w 36004"/>
                <a:gd name="connsiteY7" fmla="*/ 10196 h 20890"/>
                <a:gd name="connsiteX8" fmla="*/ 34144 w 36004"/>
                <a:gd name="connsiteY8" fmla="*/ 8005 h 20890"/>
                <a:gd name="connsiteX9" fmla="*/ 21476 w 36004"/>
                <a:gd name="connsiteY9" fmla="*/ 766 h 20890"/>
                <a:gd name="connsiteX10" fmla="*/ 13856 w 36004"/>
                <a:gd name="connsiteY10" fmla="*/ 766 h 20890"/>
                <a:gd name="connsiteX11" fmla="*/ 1188 w 36004"/>
                <a:gd name="connsiteY11" fmla="*/ 8005 h 20890"/>
                <a:gd name="connsiteX12" fmla="*/ -336 w 36004"/>
                <a:gd name="connsiteY12" fmla="*/ 10196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196"/>
                  </a:moveTo>
                  <a:cubicBezTo>
                    <a:pt x="-308" y="11186"/>
                    <a:pt x="283" y="12082"/>
                    <a:pt x="1188" y="12482"/>
                  </a:cubicBezTo>
                  <a:lnTo>
                    <a:pt x="3569" y="13815"/>
                  </a:lnTo>
                  <a:lnTo>
                    <a:pt x="13856" y="19721"/>
                  </a:lnTo>
                  <a:cubicBezTo>
                    <a:pt x="16218" y="21064"/>
                    <a:pt x="19114" y="21064"/>
                    <a:pt x="21476" y="19721"/>
                  </a:cubicBezTo>
                  <a:lnTo>
                    <a:pt x="31763" y="13815"/>
                  </a:lnTo>
                  <a:lnTo>
                    <a:pt x="34144" y="12482"/>
                  </a:lnTo>
                  <a:cubicBezTo>
                    <a:pt x="35049" y="12082"/>
                    <a:pt x="35640" y="11186"/>
                    <a:pt x="35668" y="10196"/>
                  </a:cubicBezTo>
                  <a:cubicBezTo>
                    <a:pt x="35573" y="9253"/>
                    <a:pt x="34992" y="8424"/>
                    <a:pt x="34144" y="8005"/>
                  </a:cubicBezTo>
                  <a:lnTo>
                    <a:pt x="21476" y="766"/>
                  </a:lnTo>
                  <a:cubicBezTo>
                    <a:pt x="19085" y="-472"/>
                    <a:pt x="16247" y="-472"/>
                    <a:pt x="13856" y="766"/>
                  </a:cubicBezTo>
                  <a:lnTo>
                    <a:pt x="1188" y="8005"/>
                  </a:lnTo>
                  <a:cubicBezTo>
                    <a:pt x="340" y="8424"/>
                    <a:pt x="-241" y="925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739" name="í$1ïḓe">
              <a:extLst>
                <a:ext uri="{FF2B5EF4-FFF2-40B4-BE49-F238E27FC236}">
                  <a16:creationId xmlns:a16="http://schemas.microsoft.com/office/drawing/2014/main" id="{63A36A64-1E52-4B38-BCDE-2B245F301AEF}"/>
                </a:ext>
              </a:extLst>
            </p:cNvPr>
            <p:cNvSpPr/>
            <p:nvPr/>
          </p:nvSpPr>
          <p:spPr>
            <a:xfrm>
              <a:off x="5419008" y="5016394"/>
              <a:ext cx="105329" cy="61101"/>
            </a:xfrm>
            <a:custGeom>
              <a:avLst/>
              <a:gdLst>
                <a:gd name="connsiteX0" fmla="*/ 1154 w 34603"/>
                <a:gd name="connsiteY0" fmla="*/ 12006 h 20073"/>
                <a:gd name="connsiteX1" fmla="*/ 13250 w 34603"/>
                <a:gd name="connsiteY1" fmla="*/ 19054 h 20073"/>
                <a:gd name="connsiteX2" fmla="*/ 20680 w 34603"/>
                <a:gd name="connsiteY2" fmla="*/ 19054 h 20073"/>
                <a:gd name="connsiteX3" fmla="*/ 32777 w 34603"/>
                <a:gd name="connsiteY3" fmla="*/ 12006 h 20073"/>
                <a:gd name="connsiteX4" fmla="*/ 34120 w 34603"/>
                <a:gd name="connsiteY4" fmla="*/ 9062 h 20073"/>
                <a:gd name="connsiteX5" fmla="*/ 32777 w 34603"/>
                <a:gd name="connsiteY5" fmla="*/ 7719 h 20073"/>
                <a:gd name="connsiteX6" fmla="*/ 20680 w 34603"/>
                <a:gd name="connsiteY6" fmla="*/ 766 h 20073"/>
                <a:gd name="connsiteX7" fmla="*/ 13250 w 34603"/>
                <a:gd name="connsiteY7" fmla="*/ 766 h 20073"/>
                <a:gd name="connsiteX8" fmla="*/ 1154 w 34603"/>
                <a:gd name="connsiteY8" fmla="*/ 7719 h 20073"/>
                <a:gd name="connsiteX9" fmla="*/ -189 w 34603"/>
                <a:gd name="connsiteY9" fmla="*/ 10653 h 20073"/>
                <a:gd name="connsiteX10" fmla="*/ 1154 w 34603"/>
                <a:gd name="connsiteY10"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603" h="20073">
                  <a:moveTo>
                    <a:pt x="1154" y="12006"/>
                  </a:moveTo>
                  <a:lnTo>
                    <a:pt x="13250" y="19054"/>
                  </a:lnTo>
                  <a:cubicBezTo>
                    <a:pt x="15594" y="20197"/>
                    <a:pt x="18337" y="20197"/>
                    <a:pt x="20680" y="19054"/>
                  </a:cubicBezTo>
                  <a:lnTo>
                    <a:pt x="32777" y="12006"/>
                  </a:lnTo>
                  <a:cubicBezTo>
                    <a:pt x="33958" y="11567"/>
                    <a:pt x="34567" y="10253"/>
                    <a:pt x="34120" y="9062"/>
                  </a:cubicBezTo>
                  <a:cubicBezTo>
                    <a:pt x="33891" y="8443"/>
                    <a:pt x="33396" y="7948"/>
                    <a:pt x="32777" y="7719"/>
                  </a:cubicBezTo>
                  <a:lnTo>
                    <a:pt x="20680" y="766"/>
                  </a:lnTo>
                  <a:cubicBezTo>
                    <a:pt x="18356" y="-472"/>
                    <a:pt x="15575" y="-472"/>
                    <a:pt x="13250" y="766"/>
                  </a:cubicBezTo>
                  <a:lnTo>
                    <a:pt x="1154" y="7719"/>
                  </a:lnTo>
                  <a:cubicBezTo>
                    <a:pt x="-27" y="8158"/>
                    <a:pt x="-637" y="9472"/>
                    <a:pt x="-189" y="10653"/>
                  </a:cubicBezTo>
                  <a:cubicBezTo>
                    <a:pt x="39" y="11282"/>
                    <a:pt x="535" y="11777"/>
                    <a:pt x="1154" y="12006"/>
                  </a:cubicBezTo>
                  <a:close/>
                </a:path>
              </a:pathLst>
            </a:custGeom>
            <a:solidFill>
              <a:srgbClr val="D1D9E8"/>
            </a:solidFill>
            <a:ln w="9525" cap="flat">
              <a:noFill/>
              <a:prstDash val="solid"/>
              <a:miter/>
            </a:ln>
          </p:spPr>
          <p:txBody>
            <a:bodyPr rtlCol="0" anchor="ctr"/>
            <a:lstStyle/>
            <a:p>
              <a:endParaRPr lang="zh-CN" altLang="en-US"/>
            </a:p>
          </p:txBody>
        </p:sp>
        <p:sp>
          <p:nvSpPr>
            <p:cNvPr id="740" name="iṥ1îḓè">
              <a:extLst>
                <a:ext uri="{FF2B5EF4-FFF2-40B4-BE49-F238E27FC236}">
                  <a16:creationId xmlns:a16="http://schemas.microsoft.com/office/drawing/2014/main" id="{90DB9E14-DBEB-45D1-914D-0A4BA3F412DB}"/>
                </a:ext>
              </a:extLst>
            </p:cNvPr>
            <p:cNvSpPr/>
            <p:nvPr/>
          </p:nvSpPr>
          <p:spPr>
            <a:xfrm>
              <a:off x="5416296" y="5046763"/>
              <a:ext cx="109594" cy="53804"/>
            </a:xfrm>
            <a:custGeom>
              <a:avLst/>
              <a:gdLst>
                <a:gd name="connsiteX0" fmla="*/ -336 w 36004"/>
                <a:gd name="connsiteY0" fmla="*/ -163 h 17676"/>
                <a:gd name="connsiteX1" fmla="*/ -336 w 36004"/>
                <a:gd name="connsiteY1" fmla="*/ 7076 h 17676"/>
                <a:gd name="connsiteX2" fmla="*/ 1188 w 36004"/>
                <a:gd name="connsiteY2" fmla="*/ 9267 h 17676"/>
                <a:gd name="connsiteX3" fmla="*/ 13856 w 36004"/>
                <a:gd name="connsiteY3" fmla="*/ 16506 h 17676"/>
                <a:gd name="connsiteX4" fmla="*/ 21476 w 36004"/>
                <a:gd name="connsiteY4" fmla="*/ 16506 h 17676"/>
                <a:gd name="connsiteX5" fmla="*/ 34144 w 36004"/>
                <a:gd name="connsiteY5" fmla="*/ 9267 h 17676"/>
                <a:gd name="connsiteX6" fmla="*/ 35668 w 36004"/>
                <a:gd name="connsiteY6" fmla="*/ 7076 h 17676"/>
                <a:gd name="connsiteX7" fmla="*/ 35668 w 36004"/>
                <a:gd name="connsiteY7" fmla="*/ -163 h 17676"/>
                <a:gd name="connsiteX8" fmla="*/ 34144 w 36004"/>
                <a:gd name="connsiteY8" fmla="*/ 2124 h 17676"/>
                <a:gd name="connsiteX9" fmla="*/ 31763 w 36004"/>
                <a:gd name="connsiteY9" fmla="*/ 3457 h 17676"/>
                <a:gd name="connsiteX10" fmla="*/ 21476 w 36004"/>
                <a:gd name="connsiteY10" fmla="*/ 9362 h 17676"/>
                <a:gd name="connsiteX11" fmla="*/ 13856 w 36004"/>
                <a:gd name="connsiteY11" fmla="*/ 9362 h 17676"/>
                <a:gd name="connsiteX12" fmla="*/ 3569 w 36004"/>
                <a:gd name="connsiteY12" fmla="*/ 3457 h 17676"/>
                <a:gd name="connsiteX13" fmla="*/ 1188 w 36004"/>
                <a:gd name="connsiteY13" fmla="*/ 2124 h 17676"/>
                <a:gd name="connsiteX14" fmla="*/ -336 w 36004"/>
                <a:gd name="connsiteY14" fmla="*/ -163 h 17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6">
                  <a:moveTo>
                    <a:pt x="-336" y="-163"/>
                  </a:moveTo>
                  <a:lnTo>
                    <a:pt x="-336" y="7076"/>
                  </a:lnTo>
                  <a:cubicBezTo>
                    <a:pt x="-298" y="8039"/>
                    <a:pt x="292" y="8896"/>
                    <a:pt x="1188" y="9267"/>
                  </a:cubicBezTo>
                  <a:lnTo>
                    <a:pt x="13856" y="16506"/>
                  </a:lnTo>
                  <a:cubicBezTo>
                    <a:pt x="16218" y="17849"/>
                    <a:pt x="19114" y="17849"/>
                    <a:pt x="21476" y="16506"/>
                  </a:cubicBezTo>
                  <a:lnTo>
                    <a:pt x="34144" y="9267"/>
                  </a:lnTo>
                  <a:cubicBezTo>
                    <a:pt x="35021" y="8877"/>
                    <a:pt x="35611" y="8039"/>
                    <a:pt x="35668" y="7076"/>
                  </a:cubicBezTo>
                  <a:lnTo>
                    <a:pt x="35668" y="-163"/>
                  </a:lnTo>
                  <a:cubicBezTo>
                    <a:pt x="35640" y="828"/>
                    <a:pt x="35049" y="1724"/>
                    <a:pt x="34144" y="2124"/>
                  </a:cubicBezTo>
                  <a:lnTo>
                    <a:pt x="31763" y="3457"/>
                  </a:lnTo>
                  <a:lnTo>
                    <a:pt x="21476" y="9362"/>
                  </a:lnTo>
                  <a:cubicBezTo>
                    <a:pt x="19114" y="10706"/>
                    <a:pt x="16218" y="10706"/>
                    <a:pt x="13856" y="9362"/>
                  </a:cubicBezTo>
                  <a:lnTo>
                    <a:pt x="3569" y="3457"/>
                  </a:lnTo>
                  <a:lnTo>
                    <a:pt x="1188" y="2124"/>
                  </a:lnTo>
                  <a:cubicBezTo>
                    <a:pt x="283" y="1724"/>
                    <a:pt x="-308"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41" name="iṧľiḍé">
              <a:extLst>
                <a:ext uri="{FF2B5EF4-FFF2-40B4-BE49-F238E27FC236}">
                  <a16:creationId xmlns:a16="http://schemas.microsoft.com/office/drawing/2014/main" id="{59696EA9-896D-400D-B028-03E79E259CDE}"/>
                </a:ext>
              </a:extLst>
            </p:cNvPr>
            <p:cNvSpPr/>
            <p:nvPr/>
          </p:nvSpPr>
          <p:spPr>
            <a:xfrm>
              <a:off x="5493998" y="5059883"/>
              <a:ext cx="109740" cy="63350"/>
            </a:xfrm>
            <a:custGeom>
              <a:avLst/>
              <a:gdLst>
                <a:gd name="connsiteX0" fmla="*/ -336 w 36052"/>
                <a:gd name="connsiteY0" fmla="*/ 10196 h 20812"/>
                <a:gd name="connsiteX1" fmla="*/ 1283 w 36052"/>
                <a:gd name="connsiteY1" fmla="*/ 12482 h 20812"/>
                <a:gd name="connsiteX2" fmla="*/ 3569 w 36052"/>
                <a:gd name="connsiteY2" fmla="*/ 13815 h 20812"/>
                <a:gd name="connsiteX3" fmla="*/ 13856 w 36052"/>
                <a:gd name="connsiteY3" fmla="*/ 19721 h 20812"/>
                <a:gd name="connsiteX4" fmla="*/ 21571 w 36052"/>
                <a:gd name="connsiteY4" fmla="*/ 19721 h 20812"/>
                <a:gd name="connsiteX5" fmla="*/ 31858 w 36052"/>
                <a:gd name="connsiteY5" fmla="*/ 13815 h 20812"/>
                <a:gd name="connsiteX6" fmla="*/ 34144 w 36052"/>
                <a:gd name="connsiteY6" fmla="*/ 12482 h 20812"/>
                <a:gd name="connsiteX7" fmla="*/ 35573 w 36052"/>
                <a:gd name="connsiteY7" fmla="*/ 9434 h 20812"/>
                <a:gd name="connsiteX8" fmla="*/ 34144 w 36052"/>
                <a:gd name="connsiteY8" fmla="*/ 8005 h 20812"/>
                <a:gd name="connsiteX9" fmla="*/ 21571 w 36052"/>
                <a:gd name="connsiteY9" fmla="*/ 766 h 20812"/>
                <a:gd name="connsiteX10" fmla="*/ 13856 w 36052"/>
                <a:gd name="connsiteY10" fmla="*/ 766 h 20812"/>
                <a:gd name="connsiteX11" fmla="*/ 1283 w 36052"/>
                <a:gd name="connsiteY11" fmla="*/ 8005 h 20812"/>
                <a:gd name="connsiteX12" fmla="*/ -336 w 36052"/>
                <a:gd name="connsiteY12" fmla="*/ 10196 h 20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12">
                  <a:moveTo>
                    <a:pt x="-336" y="10196"/>
                  </a:moveTo>
                  <a:cubicBezTo>
                    <a:pt x="-231" y="11186"/>
                    <a:pt x="378" y="12053"/>
                    <a:pt x="1283" y="12482"/>
                  </a:cubicBezTo>
                  <a:lnTo>
                    <a:pt x="3569" y="13815"/>
                  </a:lnTo>
                  <a:lnTo>
                    <a:pt x="13856" y="19721"/>
                  </a:lnTo>
                  <a:cubicBezTo>
                    <a:pt x="16275" y="20959"/>
                    <a:pt x="19152" y="20959"/>
                    <a:pt x="21571" y="19721"/>
                  </a:cubicBezTo>
                  <a:lnTo>
                    <a:pt x="31858" y="13815"/>
                  </a:lnTo>
                  <a:lnTo>
                    <a:pt x="34144" y="12482"/>
                  </a:lnTo>
                  <a:cubicBezTo>
                    <a:pt x="35382" y="12034"/>
                    <a:pt x="36021" y="10663"/>
                    <a:pt x="35573" y="9434"/>
                  </a:cubicBezTo>
                  <a:cubicBezTo>
                    <a:pt x="35325" y="8767"/>
                    <a:pt x="34811" y="8243"/>
                    <a:pt x="34144" y="8005"/>
                  </a:cubicBezTo>
                  <a:lnTo>
                    <a:pt x="21571" y="766"/>
                  </a:lnTo>
                  <a:cubicBezTo>
                    <a:pt x="19152" y="-472"/>
                    <a:pt x="16275" y="-472"/>
                    <a:pt x="13856" y="766"/>
                  </a:cubicBezTo>
                  <a:lnTo>
                    <a:pt x="1283" y="8005"/>
                  </a:lnTo>
                  <a:cubicBezTo>
                    <a:pt x="407" y="8415"/>
                    <a:pt x="-203" y="924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742" name="íṣḷîḑè">
              <a:extLst>
                <a:ext uri="{FF2B5EF4-FFF2-40B4-BE49-F238E27FC236}">
                  <a16:creationId xmlns:a16="http://schemas.microsoft.com/office/drawing/2014/main" id="{927C74EA-7C9A-470A-B6EA-1CF334DABAE0}"/>
                </a:ext>
              </a:extLst>
            </p:cNvPr>
            <p:cNvSpPr/>
            <p:nvPr/>
          </p:nvSpPr>
          <p:spPr>
            <a:xfrm>
              <a:off x="5496132" y="5060972"/>
              <a:ext cx="105618" cy="61174"/>
            </a:xfrm>
            <a:custGeom>
              <a:avLst/>
              <a:gdLst>
                <a:gd name="connsiteX0" fmla="*/ 1154 w 34698"/>
                <a:gd name="connsiteY0" fmla="*/ 12029 h 20097"/>
                <a:gd name="connsiteX1" fmla="*/ 13251 w 34698"/>
                <a:gd name="connsiteY1" fmla="*/ 19078 h 20097"/>
                <a:gd name="connsiteX2" fmla="*/ 20680 w 34698"/>
                <a:gd name="connsiteY2" fmla="*/ 19078 h 20097"/>
                <a:gd name="connsiteX3" fmla="*/ 32872 w 34698"/>
                <a:gd name="connsiteY3" fmla="*/ 12029 h 20097"/>
                <a:gd name="connsiteX4" fmla="*/ 34215 w 34698"/>
                <a:gd name="connsiteY4" fmla="*/ 9096 h 20097"/>
                <a:gd name="connsiteX5" fmla="*/ 32872 w 34698"/>
                <a:gd name="connsiteY5" fmla="*/ 7743 h 20097"/>
                <a:gd name="connsiteX6" fmla="*/ 20680 w 34698"/>
                <a:gd name="connsiteY6" fmla="*/ 695 h 20097"/>
                <a:gd name="connsiteX7" fmla="*/ 13251 w 34698"/>
                <a:gd name="connsiteY7" fmla="*/ 695 h 20097"/>
                <a:gd name="connsiteX8" fmla="*/ 1154 w 34698"/>
                <a:gd name="connsiteY8" fmla="*/ 7743 h 20097"/>
                <a:gd name="connsiteX9" fmla="*/ -189 w 34698"/>
                <a:gd name="connsiteY9" fmla="*/ 10677 h 20097"/>
                <a:gd name="connsiteX10" fmla="*/ 1154 w 34698"/>
                <a:gd name="connsiteY10" fmla="*/ 12029 h 20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698" h="20097">
                  <a:moveTo>
                    <a:pt x="1154" y="12029"/>
                  </a:moveTo>
                  <a:lnTo>
                    <a:pt x="13251" y="19078"/>
                  </a:lnTo>
                  <a:cubicBezTo>
                    <a:pt x="15594" y="20221"/>
                    <a:pt x="18337" y="20221"/>
                    <a:pt x="20680" y="19078"/>
                  </a:cubicBezTo>
                  <a:lnTo>
                    <a:pt x="32872" y="12029"/>
                  </a:lnTo>
                  <a:cubicBezTo>
                    <a:pt x="34053" y="11591"/>
                    <a:pt x="34663" y="10277"/>
                    <a:pt x="34215" y="9096"/>
                  </a:cubicBezTo>
                  <a:cubicBezTo>
                    <a:pt x="33986" y="8467"/>
                    <a:pt x="33491" y="7972"/>
                    <a:pt x="32872" y="7743"/>
                  </a:cubicBezTo>
                  <a:lnTo>
                    <a:pt x="20680" y="695"/>
                  </a:lnTo>
                  <a:cubicBezTo>
                    <a:pt x="18337" y="-448"/>
                    <a:pt x="15594" y="-448"/>
                    <a:pt x="13251" y="695"/>
                  </a:cubicBezTo>
                  <a:lnTo>
                    <a:pt x="1154" y="7743"/>
                  </a:lnTo>
                  <a:cubicBezTo>
                    <a:pt x="-27" y="8181"/>
                    <a:pt x="-637" y="9496"/>
                    <a:pt x="-189" y="10677"/>
                  </a:cubicBezTo>
                  <a:cubicBezTo>
                    <a:pt x="39" y="11305"/>
                    <a:pt x="535" y="11801"/>
                    <a:pt x="1154" y="12029"/>
                  </a:cubicBezTo>
                  <a:close/>
                </a:path>
              </a:pathLst>
            </a:custGeom>
            <a:solidFill>
              <a:srgbClr val="D1D9E8"/>
            </a:solidFill>
            <a:ln w="9525" cap="flat">
              <a:noFill/>
              <a:prstDash val="solid"/>
              <a:miter/>
            </a:ln>
          </p:spPr>
          <p:txBody>
            <a:bodyPr rtlCol="0" anchor="ctr"/>
            <a:lstStyle/>
            <a:p>
              <a:endParaRPr lang="zh-CN" altLang="en-US"/>
            </a:p>
          </p:txBody>
        </p:sp>
        <p:sp>
          <p:nvSpPr>
            <p:cNvPr id="743" name="îSlïḑé">
              <a:extLst>
                <a:ext uri="{FF2B5EF4-FFF2-40B4-BE49-F238E27FC236}">
                  <a16:creationId xmlns:a16="http://schemas.microsoft.com/office/drawing/2014/main" id="{42468E60-4921-4E25-88E4-BD2224C94268}"/>
                </a:ext>
              </a:extLst>
            </p:cNvPr>
            <p:cNvSpPr/>
            <p:nvPr/>
          </p:nvSpPr>
          <p:spPr>
            <a:xfrm>
              <a:off x="5493998" y="5091415"/>
              <a:ext cx="109883" cy="53801"/>
            </a:xfrm>
            <a:custGeom>
              <a:avLst/>
              <a:gdLst>
                <a:gd name="connsiteX0" fmla="*/ -336 w 36099"/>
                <a:gd name="connsiteY0" fmla="*/ -163 h 17675"/>
                <a:gd name="connsiteX1" fmla="*/ -336 w 36099"/>
                <a:gd name="connsiteY1" fmla="*/ 7076 h 17675"/>
                <a:gd name="connsiteX2" fmla="*/ 1283 w 36099"/>
                <a:gd name="connsiteY2" fmla="*/ 9267 h 17675"/>
                <a:gd name="connsiteX3" fmla="*/ 13856 w 36099"/>
                <a:gd name="connsiteY3" fmla="*/ 16506 h 17675"/>
                <a:gd name="connsiteX4" fmla="*/ 21571 w 36099"/>
                <a:gd name="connsiteY4" fmla="*/ 16506 h 17675"/>
                <a:gd name="connsiteX5" fmla="*/ 34144 w 36099"/>
                <a:gd name="connsiteY5" fmla="*/ 9267 h 17675"/>
                <a:gd name="connsiteX6" fmla="*/ 35764 w 36099"/>
                <a:gd name="connsiteY6" fmla="*/ 7076 h 17675"/>
                <a:gd name="connsiteX7" fmla="*/ 35764 w 36099"/>
                <a:gd name="connsiteY7" fmla="*/ -163 h 17675"/>
                <a:gd name="connsiteX8" fmla="*/ 34144 w 36099"/>
                <a:gd name="connsiteY8" fmla="*/ 2123 h 17675"/>
                <a:gd name="connsiteX9" fmla="*/ 31858 w 36099"/>
                <a:gd name="connsiteY9" fmla="*/ 3457 h 17675"/>
                <a:gd name="connsiteX10" fmla="*/ 21571 w 36099"/>
                <a:gd name="connsiteY10" fmla="*/ 9362 h 17675"/>
                <a:gd name="connsiteX11" fmla="*/ 13856 w 36099"/>
                <a:gd name="connsiteY11" fmla="*/ 9362 h 17675"/>
                <a:gd name="connsiteX12" fmla="*/ 3569 w 36099"/>
                <a:gd name="connsiteY12" fmla="*/ 3457 h 17675"/>
                <a:gd name="connsiteX13" fmla="*/ 1283 w 36099"/>
                <a:gd name="connsiteY13" fmla="*/ 2123 h 17675"/>
                <a:gd name="connsiteX14" fmla="*/ -336 w 36099"/>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675">
                  <a:moveTo>
                    <a:pt x="-336" y="-163"/>
                  </a:moveTo>
                  <a:lnTo>
                    <a:pt x="-336" y="7076"/>
                  </a:lnTo>
                  <a:cubicBezTo>
                    <a:pt x="-222" y="8038"/>
                    <a:pt x="397" y="8877"/>
                    <a:pt x="1283" y="9267"/>
                  </a:cubicBezTo>
                  <a:lnTo>
                    <a:pt x="13856" y="16506"/>
                  </a:lnTo>
                  <a:cubicBezTo>
                    <a:pt x="16256" y="17849"/>
                    <a:pt x="19171" y="17849"/>
                    <a:pt x="21571" y="16506"/>
                  </a:cubicBezTo>
                  <a:lnTo>
                    <a:pt x="34144" y="9267"/>
                  </a:lnTo>
                  <a:cubicBezTo>
                    <a:pt x="35030" y="8877"/>
                    <a:pt x="35649" y="8038"/>
                    <a:pt x="35764" y="7076"/>
                  </a:cubicBezTo>
                  <a:lnTo>
                    <a:pt x="35764" y="-163"/>
                  </a:lnTo>
                  <a:cubicBezTo>
                    <a:pt x="35659" y="828"/>
                    <a:pt x="35049" y="1695"/>
                    <a:pt x="34144" y="2123"/>
                  </a:cubicBezTo>
                  <a:lnTo>
                    <a:pt x="31858" y="3457"/>
                  </a:lnTo>
                  <a:lnTo>
                    <a:pt x="21571" y="9362"/>
                  </a:lnTo>
                  <a:cubicBezTo>
                    <a:pt x="19152" y="10601"/>
                    <a:pt x="16275" y="10601"/>
                    <a:pt x="13856" y="9362"/>
                  </a:cubicBezTo>
                  <a:lnTo>
                    <a:pt x="3569" y="3457"/>
                  </a:lnTo>
                  <a:lnTo>
                    <a:pt x="1283" y="2123"/>
                  </a:lnTo>
                  <a:cubicBezTo>
                    <a:pt x="378" y="1695"/>
                    <a:pt x="-231"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44" name="îšḷiḑè">
              <a:extLst>
                <a:ext uri="{FF2B5EF4-FFF2-40B4-BE49-F238E27FC236}">
                  <a16:creationId xmlns:a16="http://schemas.microsoft.com/office/drawing/2014/main" id="{DDFB7903-C374-4223-9C70-10657E43A362}"/>
                </a:ext>
              </a:extLst>
            </p:cNvPr>
            <p:cNvSpPr/>
            <p:nvPr/>
          </p:nvSpPr>
          <p:spPr>
            <a:xfrm>
              <a:off x="5571411" y="5104440"/>
              <a:ext cx="109740" cy="63445"/>
            </a:xfrm>
            <a:custGeom>
              <a:avLst/>
              <a:gdLst>
                <a:gd name="connsiteX0" fmla="*/ -336 w 36052"/>
                <a:gd name="connsiteY0" fmla="*/ 10227 h 20843"/>
                <a:gd name="connsiteX1" fmla="*/ 1188 w 36052"/>
                <a:gd name="connsiteY1" fmla="*/ 12513 h 20843"/>
                <a:gd name="connsiteX2" fmla="*/ 3569 w 36052"/>
                <a:gd name="connsiteY2" fmla="*/ 13846 h 20843"/>
                <a:gd name="connsiteX3" fmla="*/ 13856 w 36052"/>
                <a:gd name="connsiteY3" fmla="*/ 19752 h 20843"/>
                <a:gd name="connsiteX4" fmla="*/ 21476 w 36052"/>
                <a:gd name="connsiteY4" fmla="*/ 19752 h 20843"/>
                <a:gd name="connsiteX5" fmla="*/ 31763 w 36052"/>
                <a:gd name="connsiteY5" fmla="*/ 13846 h 20843"/>
                <a:gd name="connsiteX6" fmla="*/ 34144 w 36052"/>
                <a:gd name="connsiteY6" fmla="*/ 12513 h 20843"/>
                <a:gd name="connsiteX7" fmla="*/ 35573 w 36052"/>
                <a:gd name="connsiteY7" fmla="*/ 9465 h 20843"/>
                <a:gd name="connsiteX8" fmla="*/ 34144 w 36052"/>
                <a:gd name="connsiteY8" fmla="*/ 8036 h 20843"/>
                <a:gd name="connsiteX9" fmla="*/ 21476 w 36052"/>
                <a:gd name="connsiteY9" fmla="*/ 702 h 20843"/>
                <a:gd name="connsiteX10" fmla="*/ 13856 w 36052"/>
                <a:gd name="connsiteY10" fmla="*/ 702 h 20843"/>
                <a:gd name="connsiteX11" fmla="*/ 1188 w 36052"/>
                <a:gd name="connsiteY11" fmla="*/ 8036 h 20843"/>
                <a:gd name="connsiteX12" fmla="*/ -336 w 36052"/>
                <a:gd name="connsiteY12" fmla="*/ 10227 h 20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3">
                  <a:moveTo>
                    <a:pt x="-336" y="10227"/>
                  </a:moveTo>
                  <a:cubicBezTo>
                    <a:pt x="-270" y="11208"/>
                    <a:pt x="311" y="12075"/>
                    <a:pt x="1188" y="12513"/>
                  </a:cubicBezTo>
                  <a:lnTo>
                    <a:pt x="3569" y="13846"/>
                  </a:lnTo>
                  <a:lnTo>
                    <a:pt x="13856" y="19752"/>
                  </a:lnTo>
                  <a:cubicBezTo>
                    <a:pt x="16247" y="20990"/>
                    <a:pt x="19085" y="20990"/>
                    <a:pt x="21476" y="19752"/>
                  </a:cubicBezTo>
                  <a:lnTo>
                    <a:pt x="31763" y="13846"/>
                  </a:lnTo>
                  <a:lnTo>
                    <a:pt x="34144" y="12513"/>
                  </a:lnTo>
                  <a:cubicBezTo>
                    <a:pt x="35382" y="12065"/>
                    <a:pt x="36020" y="10694"/>
                    <a:pt x="35573" y="9465"/>
                  </a:cubicBezTo>
                  <a:cubicBezTo>
                    <a:pt x="35325" y="8798"/>
                    <a:pt x="34811" y="8274"/>
                    <a:pt x="34144"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745" name="i$ļîḑê">
              <a:extLst>
                <a:ext uri="{FF2B5EF4-FFF2-40B4-BE49-F238E27FC236}">
                  <a16:creationId xmlns:a16="http://schemas.microsoft.com/office/drawing/2014/main" id="{CC5B2D39-3831-48B7-9CEA-D3914233B968}"/>
                </a:ext>
              </a:extLst>
            </p:cNvPr>
            <p:cNvSpPr/>
            <p:nvPr/>
          </p:nvSpPr>
          <p:spPr>
            <a:xfrm>
              <a:off x="5573295" y="5105621"/>
              <a:ext cx="105825" cy="61101"/>
            </a:xfrm>
            <a:custGeom>
              <a:avLst/>
              <a:gdLst>
                <a:gd name="connsiteX0" fmla="*/ 1235 w 34766"/>
                <a:gd name="connsiteY0" fmla="*/ 12030 h 20073"/>
                <a:gd name="connsiteX1" fmla="*/ 13332 w 34766"/>
                <a:gd name="connsiteY1" fmla="*/ 18983 h 20073"/>
                <a:gd name="connsiteX2" fmla="*/ 20762 w 34766"/>
                <a:gd name="connsiteY2" fmla="*/ 18983 h 20073"/>
                <a:gd name="connsiteX3" fmla="*/ 32858 w 34766"/>
                <a:gd name="connsiteY3" fmla="*/ 12030 h 20073"/>
                <a:gd name="connsiteX4" fmla="*/ 32858 w 34766"/>
                <a:gd name="connsiteY4" fmla="*/ 7743 h 20073"/>
                <a:gd name="connsiteX5" fmla="*/ 20762 w 34766"/>
                <a:gd name="connsiteY5" fmla="*/ 695 h 20073"/>
                <a:gd name="connsiteX6" fmla="*/ 13332 w 34766"/>
                <a:gd name="connsiteY6" fmla="*/ 695 h 20073"/>
                <a:gd name="connsiteX7" fmla="*/ 1235 w 34766"/>
                <a:gd name="connsiteY7" fmla="*/ 7743 h 20073"/>
                <a:gd name="connsiteX8" fmla="*/ 1235 w 34766"/>
                <a:gd name="connsiteY8" fmla="*/ 12030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6" h="20073">
                  <a:moveTo>
                    <a:pt x="1235" y="12030"/>
                  </a:moveTo>
                  <a:lnTo>
                    <a:pt x="13332" y="18983"/>
                  </a:lnTo>
                  <a:cubicBezTo>
                    <a:pt x="15656" y="20221"/>
                    <a:pt x="18437" y="20221"/>
                    <a:pt x="20762" y="18983"/>
                  </a:cubicBezTo>
                  <a:lnTo>
                    <a:pt x="32858" y="12030"/>
                  </a:lnTo>
                  <a:cubicBezTo>
                    <a:pt x="34954" y="10791"/>
                    <a:pt x="34954" y="8886"/>
                    <a:pt x="32858" y="7743"/>
                  </a:cubicBezTo>
                  <a:lnTo>
                    <a:pt x="20762" y="695"/>
                  </a:lnTo>
                  <a:cubicBezTo>
                    <a:pt x="18419" y="-448"/>
                    <a:pt x="15675" y="-448"/>
                    <a:pt x="13332" y="695"/>
                  </a:cubicBezTo>
                  <a:lnTo>
                    <a:pt x="1235" y="7743"/>
                  </a:lnTo>
                  <a:cubicBezTo>
                    <a:pt x="-860" y="8886"/>
                    <a:pt x="-860" y="10791"/>
                    <a:pt x="1235" y="12030"/>
                  </a:cubicBezTo>
                  <a:close/>
                </a:path>
              </a:pathLst>
            </a:custGeom>
            <a:solidFill>
              <a:srgbClr val="D1D9E8"/>
            </a:solidFill>
            <a:ln w="9525" cap="flat">
              <a:noFill/>
              <a:prstDash val="solid"/>
              <a:miter/>
            </a:ln>
          </p:spPr>
          <p:txBody>
            <a:bodyPr rtlCol="0" anchor="ctr"/>
            <a:lstStyle/>
            <a:p>
              <a:endParaRPr lang="zh-CN" altLang="en-US"/>
            </a:p>
          </p:txBody>
        </p:sp>
        <p:sp>
          <p:nvSpPr>
            <p:cNvPr id="746" name="îṥḷiḓe">
              <a:extLst>
                <a:ext uri="{FF2B5EF4-FFF2-40B4-BE49-F238E27FC236}">
                  <a16:creationId xmlns:a16="http://schemas.microsoft.com/office/drawing/2014/main" id="{D82267E0-1868-4E72-A8F4-1E8C98462757}"/>
                </a:ext>
              </a:extLst>
            </p:cNvPr>
            <p:cNvSpPr/>
            <p:nvPr/>
          </p:nvSpPr>
          <p:spPr>
            <a:xfrm>
              <a:off x="5571411" y="5136063"/>
              <a:ext cx="109594" cy="53801"/>
            </a:xfrm>
            <a:custGeom>
              <a:avLst/>
              <a:gdLst>
                <a:gd name="connsiteX0" fmla="*/ -336 w 36004"/>
                <a:gd name="connsiteY0" fmla="*/ -163 h 17675"/>
                <a:gd name="connsiteX1" fmla="*/ -336 w 36004"/>
                <a:gd name="connsiteY1" fmla="*/ 7076 h 17675"/>
                <a:gd name="connsiteX2" fmla="*/ 1188 w 36004"/>
                <a:gd name="connsiteY2" fmla="*/ 9267 h 17675"/>
                <a:gd name="connsiteX3" fmla="*/ 13856 w 36004"/>
                <a:gd name="connsiteY3" fmla="*/ 16506 h 17675"/>
                <a:gd name="connsiteX4" fmla="*/ 21476 w 36004"/>
                <a:gd name="connsiteY4" fmla="*/ 16506 h 17675"/>
                <a:gd name="connsiteX5" fmla="*/ 34144 w 36004"/>
                <a:gd name="connsiteY5" fmla="*/ 9267 h 17675"/>
                <a:gd name="connsiteX6" fmla="*/ 35668 w 36004"/>
                <a:gd name="connsiteY6" fmla="*/ 6981 h 17675"/>
                <a:gd name="connsiteX7" fmla="*/ 35668 w 36004"/>
                <a:gd name="connsiteY7" fmla="*/ -163 h 17675"/>
                <a:gd name="connsiteX8" fmla="*/ 34144 w 36004"/>
                <a:gd name="connsiteY8" fmla="*/ 2123 h 17675"/>
                <a:gd name="connsiteX9" fmla="*/ 31763 w 36004"/>
                <a:gd name="connsiteY9" fmla="*/ 3457 h 17675"/>
                <a:gd name="connsiteX10" fmla="*/ 21476 w 36004"/>
                <a:gd name="connsiteY10" fmla="*/ 9362 h 17675"/>
                <a:gd name="connsiteX11" fmla="*/ 13856 w 36004"/>
                <a:gd name="connsiteY11" fmla="*/ 9362 h 17675"/>
                <a:gd name="connsiteX12" fmla="*/ 3569 w 36004"/>
                <a:gd name="connsiteY12" fmla="*/ 3457 h 17675"/>
                <a:gd name="connsiteX13" fmla="*/ 1188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79" y="8038"/>
                    <a:pt x="311" y="8877"/>
                    <a:pt x="1188" y="9267"/>
                  </a:cubicBezTo>
                  <a:lnTo>
                    <a:pt x="13856" y="16506"/>
                  </a:lnTo>
                  <a:cubicBezTo>
                    <a:pt x="16218" y="17849"/>
                    <a:pt x="19114" y="17849"/>
                    <a:pt x="21476" y="16506"/>
                  </a:cubicBezTo>
                  <a:lnTo>
                    <a:pt x="34144" y="9267"/>
                  </a:lnTo>
                  <a:cubicBezTo>
                    <a:pt x="35049" y="8867"/>
                    <a:pt x="35640" y="7972"/>
                    <a:pt x="35668" y="6981"/>
                  </a:cubicBezTo>
                  <a:lnTo>
                    <a:pt x="35668" y="-163"/>
                  </a:lnTo>
                  <a:cubicBezTo>
                    <a:pt x="35601" y="818"/>
                    <a:pt x="35021" y="1685"/>
                    <a:pt x="34144" y="2123"/>
                  </a:cubicBezTo>
                  <a:lnTo>
                    <a:pt x="31763" y="3457"/>
                  </a:lnTo>
                  <a:lnTo>
                    <a:pt x="21476" y="9362"/>
                  </a:lnTo>
                  <a:cubicBezTo>
                    <a:pt x="19085" y="10601"/>
                    <a:pt x="16247" y="10601"/>
                    <a:pt x="13856" y="9362"/>
                  </a:cubicBezTo>
                  <a:lnTo>
                    <a:pt x="3569" y="3457"/>
                  </a:lnTo>
                  <a:lnTo>
                    <a:pt x="1188"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47" name="íşḻíde">
              <a:extLst>
                <a:ext uri="{FF2B5EF4-FFF2-40B4-BE49-F238E27FC236}">
                  <a16:creationId xmlns:a16="http://schemas.microsoft.com/office/drawing/2014/main" id="{688CA885-4697-4E1E-BDEC-6258328FC44B}"/>
                </a:ext>
              </a:extLst>
            </p:cNvPr>
            <p:cNvSpPr/>
            <p:nvPr/>
          </p:nvSpPr>
          <p:spPr>
            <a:xfrm>
              <a:off x="5648243" y="5149240"/>
              <a:ext cx="109740" cy="63289"/>
            </a:xfrm>
            <a:custGeom>
              <a:avLst/>
              <a:gdLst>
                <a:gd name="connsiteX0" fmla="*/ -336 w 36052"/>
                <a:gd name="connsiteY0" fmla="*/ 10177 h 20792"/>
                <a:gd name="connsiteX1" fmla="*/ 1283 w 36052"/>
                <a:gd name="connsiteY1" fmla="*/ 12463 h 20792"/>
                <a:gd name="connsiteX2" fmla="*/ 3569 w 36052"/>
                <a:gd name="connsiteY2" fmla="*/ 13796 h 20792"/>
                <a:gd name="connsiteX3" fmla="*/ 13856 w 36052"/>
                <a:gd name="connsiteY3" fmla="*/ 19702 h 20792"/>
                <a:gd name="connsiteX4" fmla="*/ 21571 w 36052"/>
                <a:gd name="connsiteY4" fmla="*/ 19702 h 20792"/>
                <a:gd name="connsiteX5" fmla="*/ 31858 w 36052"/>
                <a:gd name="connsiteY5" fmla="*/ 13796 h 20792"/>
                <a:gd name="connsiteX6" fmla="*/ 34144 w 36052"/>
                <a:gd name="connsiteY6" fmla="*/ 12463 h 20792"/>
                <a:gd name="connsiteX7" fmla="*/ 35573 w 36052"/>
                <a:gd name="connsiteY7" fmla="*/ 9415 h 20792"/>
                <a:gd name="connsiteX8" fmla="*/ 34144 w 36052"/>
                <a:gd name="connsiteY8" fmla="*/ 7986 h 20792"/>
                <a:gd name="connsiteX9" fmla="*/ 21571 w 36052"/>
                <a:gd name="connsiteY9" fmla="*/ 652 h 20792"/>
                <a:gd name="connsiteX10" fmla="*/ 13856 w 36052"/>
                <a:gd name="connsiteY10" fmla="*/ 652 h 20792"/>
                <a:gd name="connsiteX11" fmla="*/ 1283 w 36052"/>
                <a:gd name="connsiteY11" fmla="*/ 7986 h 20792"/>
                <a:gd name="connsiteX12" fmla="*/ -336 w 36052"/>
                <a:gd name="connsiteY12" fmla="*/ 10177 h 20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792">
                  <a:moveTo>
                    <a:pt x="-336" y="10177"/>
                  </a:moveTo>
                  <a:cubicBezTo>
                    <a:pt x="-232" y="11167"/>
                    <a:pt x="378" y="12034"/>
                    <a:pt x="1283" y="12463"/>
                  </a:cubicBezTo>
                  <a:lnTo>
                    <a:pt x="3569" y="13796"/>
                  </a:lnTo>
                  <a:lnTo>
                    <a:pt x="13856" y="19702"/>
                  </a:lnTo>
                  <a:cubicBezTo>
                    <a:pt x="16275" y="20940"/>
                    <a:pt x="19152" y="20940"/>
                    <a:pt x="21571" y="19702"/>
                  </a:cubicBezTo>
                  <a:lnTo>
                    <a:pt x="31858" y="13796"/>
                  </a:lnTo>
                  <a:lnTo>
                    <a:pt x="34144" y="12463"/>
                  </a:lnTo>
                  <a:cubicBezTo>
                    <a:pt x="35382" y="12015"/>
                    <a:pt x="36020" y="10643"/>
                    <a:pt x="35573" y="9415"/>
                  </a:cubicBezTo>
                  <a:cubicBezTo>
                    <a:pt x="35325" y="8748"/>
                    <a:pt x="34811" y="8224"/>
                    <a:pt x="34144" y="7986"/>
                  </a:cubicBezTo>
                  <a:lnTo>
                    <a:pt x="21571" y="652"/>
                  </a:lnTo>
                  <a:cubicBezTo>
                    <a:pt x="19114" y="-434"/>
                    <a:pt x="16313" y="-434"/>
                    <a:pt x="13856" y="652"/>
                  </a:cubicBezTo>
                  <a:lnTo>
                    <a:pt x="1283" y="7986"/>
                  </a:lnTo>
                  <a:cubicBezTo>
                    <a:pt x="407" y="8396"/>
                    <a:pt x="-203" y="9224"/>
                    <a:pt x="-336" y="10177"/>
                  </a:cubicBezTo>
                  <a:close/>
                </a:path>
              </a:pathLst>
            </a:custGeom>
            <a:solidFill>
              <a:srgbClr val="FFFFFF"/>
            </a:solidFill>
            <a:ln w="9525" cap="flat">
              <a:noFill/>
              <a:prstDash val="solid"/>
              <a:miter/>
            </a:ln>
          </p:spPr>
          <p:txBody>
            <a:bodyPr rtlCol="0" anchor="ctr"/>
            <a:lstStyle/>
            <a:p>
              <a:endParaRPr lang="zh-CN" altLang="en-US"/>
            </a:p>
          </p:txBody>
        </p:sp>
        <p:sp>
          <p:nvSpPr>
            <p:cNvPr id="748" name="îŝḷîdé">
              <a:extLst>
                <a:ext uri="{FF2B5EF4-FFF2-40B4-BE49-F238E27FC236}">
                  <a16:creationId xmlns:a16="http://schemas.microsoft.com/office/drawing/2014/main" id="{EBE0AC25-5AF7-4E92-91C4-516BDBCFC911}"/>
                </a:ext>
              </a:extLst>
            </p:cNvPr>
            <p:cNvSpPr/>
            <p:nvPr/>
          </p:nvSpPr>
          <p:spPr>
            <a:xfrm>
              <a:off x="5649984" y="5150269"/>
              <a:ext cx="106330" cy="61104"/>
            </a:xfrm>
            <a:custGeom>
              <a:avLst/>
              <a:gdLst>
                <a:gd name="connsiteX0" fmla="*/ 1378 w 34932"/>
                <a:gd name="connsiteY0" fmla="*/ 12029 h 20074"/>
                <a:gd name="connsiteX1" fmla="*/ 13570 w 34932"/>
                <a:gd name="connsiteY1" fmla="*/ 18983 h 20074"/>
                <a:gd name="connsiteX2" fmla="*/ 21000 w 34932"/>
                <a:gd name="connsiteY2" fmla="*/ 18983 h 20074"/>
                <a:gd name="connsiteX3" fmla="*/ 33097 w 34932"/>
                <a:gd name="connsiteY3" fmla="*/ 12029 h 20074"/>
                <a:gd name="connsiteX4" fmla="*/ 33097 w 34932"/>
                <a:gd name="connsiteY4" fmla="*/ 7743 h 20074"/>
                <a:gd name="connsiteX5" fmla="*/ 21000 w 34932"/>
                <a:gd name="connsiteY5" fmla="*/ 695 h 20074"/>
                <a:gd name="connsiteX6" fmla="*/ 13570 w 34932"/>
                <a:gd name="connsiteY6" fmla="*/ 695 h 20074"/>
                <a:gd name="connsiteX7" fmla="*/ 1378 w 34932"/>
                <a:gd name="connsiteY7" fmla="*/ 7743 h 20074"/>
                <a:gd name="connsiteX8" fmla="*/ 1378 w 34932"/>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932" h="20074">
                  <a:moveTo>
                    <a:pt x="1378" y="12029"/>
                  </a:moveTo>
                  <a:lnTo>
                    <a:pt x="13570" y="18983"/>
                  </a:lnTo>
                  <a:cubicBezTo>
                    <a:pt x="15894" y="20221"/>
                    <a:pt x="18676" y="20221"/>
                    <a:pt x="21000" y="18983"/>
                  </a:cubicBezTo>
                  <a:lnTo>
                    <a:pt x="33097" y="12029"/>
                  </a:lnTo>
                  <a:cubicBezTo>
                    <a:pt x="35097" y="10791"/>
                    <a:pt x="35097" y="8886"/>
                    <a:pt x="33097" y="7743"/>
                  </a:cubicBezTo>
                  <a:lnTo>
                    <a:pt x="21000" y="695"/>
                  </a:lnTo>
                  <a:cubicBezTo>
                    <a:pt x="18656" y="-448"/>
                    <a:pt x="15913" y="-448"/>
                    <a:pt x="13570" y="695"/>
                  </a:cubicBezTo>
                  <a:lnTo>
                    <a:pt x="1378" y="7743"/>
                  </a:lnTo>
                  <a:cubicBezTo>
                    <a:pt x="-908" y="8886"/>
                    <a:pt x="-908" y="10791"/>
                    <a:pt x="1378" y="12029"/>
                  </a:cubicBezTo>
                  <a:close/>
                </a:path>
              </a:pathLst>
            </a:custGeom>
            <a:solidFill>
              <a:srgbClr val="D1D9E8"/>
            </a:solidFill>
            <a:ln w="9525" cap="flat">
              <a:noFill/>
              <a:prstDash val="solid"/>
              <a:miter/>
            </a:ln>
          </p:spPr>
          <p:txBody>
            <a:bodyPr rtlCol="0" anchor="ctr"/>
            <a:lstStyle/>
            <a:p>
              <a:endParaRPr lang="zh-CN" altLang="en-US"/>
            </a:p>
          </p:txBody>
        </p:sp>
        <p:sp>
          <p:nvSpPr>
            <p:cNvPr id="749" name="ïś1îďê">
              <a:extLst>
                <a:ext uri="{FF2B5EF4-FFF2-40B4-BE49-F238E27FC236}">
                  <a16:creationId xmlns:a16="http://schemas.microsoft.com/office/drawing/2014/main" id="{0D7796B6-D7C8-4F91-84EC-33815DAAA207}"/>
                </a:ext>
              </a:extLst>
            </p:cNvPr>
            <p:cNvSpPr/>
            <p:nvPr/>
          </p:nvSpPr>
          <p:spPr>
            <a:xfrm>
              <a:off x="5648240" y="5180714"/>
              <a:ext cx="109889" cy="54961"/>
            </a:xfrm>
            <a:custGeom>
              <a:avLst/>
              <a:gdLst>
                <a:gd name="connsiteX0" fmla="*/ -335 w 36101"/>
                <a:gd name="connsiteY0" fmla="*/ -163 h 18056"/>
                <a:gd name="connsiteX1" fmla="*/ -335 w 36101"/>
                <a:gd name="connsiteY1" fmla="*/ 7457 h 18056"/>
                <a:gd name="connsiteX2" fmla="*/ 1285 w 36101"/>
                <a:gd name="connsiteY2" fmla="*/ 9648 h 18056"/>
                <a:gd name="connsiteX3" fmla="*/ 13857 w 36101"/>
                <a:gd name="connsiteY3" fmla="*/ 16887 h 18056"/>
                <a:gd name="connsiteX4" fmla="*/ 21573 w 36101"/>
                <a:gd name="connsiteY4" fmla="*/ 16887 h 18056"/>
                <a:gd name="connsiteX5" fmla="*/ 34146 w 36101"/>
                <a:gd name="connsiteY5" fmla="*/ 9648 h 18056"/>
                <a:gd name="connsiteX6" fmla="*/ 35765 w 36101"/>
                <a:gd name="connsiteY6" fmla="*/ 7362 h 18056"/>
                <a:gd name="connsiteX7" fmla="*/ 35765 w 36101"/>
                <a:gd name="connsiteY7" fmla="*/ 218 h 18056"/>
                <a:gd name="connsiteX8" fmla="*/ 34146 w 36101"/>
                <a:gd name="connsiteY8" fmla="*/ 2504 h 18056"/>
                <a:gd name="connsiteX9" fmla="*/ 31860 w 36101"/>
                <a:gd name="connsiteY9" fmla="*/ 3838 h 18056"/>
                <a:gd name="connsiteX10" fmla="*/ 21573 w 36101"/>
                <a:gd name="connsiteY10" fmla="*/ 9743 h 18056"/>
                <a:gd name="connsiteX11" fmla="*/ 13857 w 36101"/>
                <a:gd name="connsiteY11" fmla="*/ 9743 h 18056"/>
                <a:gd name="connsiteX12" fmla="*/ 3571 w 36101"/>
                <a:gd name="connsiteY12" fmla="*/ 3838 h 18056"/>
                <a:gd name="connsiteX13" fmla="*/ 1285 w 36101"/>
                <a:gd name="connsiteY13" fmla="*/ 2504 h 18056"/>
                <a:gd name="connsiteX14" fmla="*/ -335 w 36101"/>
                <a:gd name="connsiteY14" fmla="*/ -163 h 18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101" h="18056">
                  <a:moveTo>
                    <a:pt x="-335" y="-163"/>
                  </a:moveTo>
                  <a:lnTo>
                    <a:pt x="-335" y="7457"/>
                  </a:lnTo>
                  <a:cubicBezTo>
                    <a:pt x="-201" y="8410"/>
                    <a:pt x="408" y="9239"/>
                    <a:pt x="1285" y="9648"/>
                  </a:cubicBezTo>
                  <a:lnTo>
                    <a:pt x="13857" y="16887"/>
                  </a:lnTo>
                  <a:cubicBezTo>
                    <a:pt x="16258" y="18230"/>
                    <a:pt x="19173" y="18230"/>
                    <a:pt x="21573" y="16887"/>
                  </a:cubicBezTo>
                  <a:lnTo>
                    <a:pt x="34146" y="9648"/>
                  </a:lnTo>
                  <a:cubicBezTo>
                    <a:pt x="35070" y="9257"/>
                    <a:pt x="35698" y="8372"/>
                    <a:pt x="35765" y="7362"/>
                  </a:cubicBezTo>
                  <a:lnTo>
                    <a:pt x="35765" y="218"/>
                  </a:lnTo>
                  <a:cubicBezTo>
                    <a:pt x="35698" y="1228"/>
                    <a:pt x="35070" y="2114"/>
                    <a:pt x="34146" y="2504"/>
                  </a:cubicBezTo>
                  <a:lnTo>
                    <a:pt x="31860" y="3838"/>
                  </a:lnTo>
                  <a:lnTo>
                    <a:pt x="21573" y="9743"/>
                  </a:lnTo>
                  <a:cubicBezTo>
                    <a:pt x="19153" y="10981"/>
                    <a:pt x="16277" y="10981"/>
                    <a:pt x="13857" y="9743"/>
                  </a:cubicBezTo>
                  <a:lnTo>
                    <a:pt x="3571" y="3838"/>
                  </a:lnTo>
                  <a:lnTo>
                    <a:pt x="1285" y="2504"/>
                  </a:lnTo>
                  <a:cubicBezTo>
                    <a:pt x="265" y="2018"/>
                    <a:pt x="-373" y="971"/>
                    <a:pt x="-335" y="-163"/>
                  </a:cubicBezTo>
                  <a:close/>
                </a:path>
              </a:pathLst>
            </a:custGeom>
            <a:solidFill>
              <a:srgbClr val="BF4200"/>
            </a:solidFill>
            <a:ln w="9525" cap="flat">
              <a:noFill/>
              <a:prstDash val="solid"/>
              <a:miter/>
            </a:ln>
          </p:spPr>
          <p:txBody>
            <a:bodyPr rtlCol="0" anchor="ctr"/>
            <a:lstStyle/>
            <a:p>
              <a:endParaRPr lang="zh-CN" altLang="en-US"/>
            </a:p>
          </p:txBody>
        </p:sp>
        <p:sp>
          <p:nvSpPr>
            <p:cNvPr id="750" name="îslïḓè">
              <a:extLst>
                <a:ext uri="{FF2B5EF4-FFF2-40B4-BE49-F238E27FC236}">
                  <a16:creationId xmlns:a16="http://schemas.microsoft.com/office/drawing/2014/main" id="{E3DEC783-FAC2-4F35-9CB8-20D881237EF0}"/>
                </a:ext>
              </a:extLst>
            </p:cNvPr>
            <p:cNvSpPr/>
            <p:nvPr/>
          </p:nvSpPr>
          <p:spPr>
            <a:xfrm>
              <a:off x="5725945" y="5193739"/>
              <a:ext cx="109740" cy="63445"/>
            </a:xfrm>
            <a:custGeom>
              <a:avLst/>
              <a:gdLst>
                <a:gd name="connsiteX0" fmla="*/ -336 w 36052"/>
                <a:gd name="connsiteY0" fmla="*/ 10227 h 20843"/>
                <a:gd name="connsiteX1" fmla="*/ 1188 w 36052"/>
                <a:gd name="connsiteY1" fmla="*/ 12513 h 20843"/>
                <a:gd name="connsiteX2" fmla="*/ 3569 w 36052"/>
                <a:gd name="connsiteY2" fmla="*/ 13846 h 20843"/>
                <a:gd name="connsiteX3" fmla="*/ 13856 w 36052"/>
                <a:gd name="connsiteY3" fmla="*/ 19752 h 20843"/>
                <a:gd name="connsiteX4" fmla="*/ 21476 w 36052"/>
                <a:gd name="connsiteY4" fmla="*/ 19752 h 20843"/>
                <a:gd name="connsiteX5" fmla="*/ 31763 w 36052"/>
                <a:gd name="connsiteY5" fmla="*/ 13846 h 20843"/>
                <a:gd name="connsiteX6" fmla="*/ 34144 w 36052"/>
                <a:gd name="connsiteY6" fmla="*/ 12513 h 20843"/>
                <a:gd name="connsiteX7" fmla="*/ 35573 w 36052"/>
                <a:gd name="connsiteY7" fmla="*/ 9465 h 20843"/>
                <a:gd name="connsiteX8" fmla="*/ 34144 w 36052"/>
                <a:gd name="connsiteY8" fmla="*/ 8036 h 20843"/>
                <a:gd name="connsiteX9" fmla="*/ 21476 w 36052"/>
                <a:gd name="connsiteY9" fmla="*/ 702 h 20843"/>
                <a:gd name="connsiteX10" fmla="*/ 13856 w 36052"/>
                <a:gd name="connsiteY10" fmla="*/ 702 h 20843"/>
                <a:gd name="connsiteX11" fmla="*/ 1188 w 36052"/>
                <a:gd name="connsiteY11" fmla="*/ 8036 h 20843"/>
                <a:gd name="connsiteX12" fmla="*/ -336 w 36052"/>
                <a:gd name="connsiteY12" fmla="*/ 10227 h 20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3">
                  <a:moveTo>
                    <a:pt x="-336" y="10227"/>
                  </a:moveTo>
                  <a:cubicBezTo>
                    <a:pt x="-269" y="11208"/>
                    <a:pt x="311" y="12075"/>
                    <a:pt x="1188" y="12513"/>
                  </a:cubicBezTo>
                  <a:lnTo>
                    <a:pt x="3569" y="13846"/>
                  </a:lnTo>
                  <a:lnTo>
                    <a:pt x="13856" y="19752"/>
                  </a:lnTo>
                  <a:cubicBezTo>
                    <a:pt x="16247" y="20990"/>
                    <a:pt x="19085" y="20990"/>
                    <a:pt x="21476" y="19752"/>
                  </a:cubicBezTo>
                  <a:lnTo>
                    <a:pt x="31763" y="13846"/>
                  </a:lnTo>
                  <a:lnTo>
                    <a:pt x="34144" y="12513"/>
                  </a:lnTo>
                  <a:cubicBezTo>
                    <a:pt x="35382" y="12065"/>
                    <a:pt x="36021" y="10694"/>
                    <a:pt x="35573" y="9465"/>
                  </a:cubicBezTo>
                  <a:cubicBezTo>
                    <a:pt x="35325" y="8798"/>
                    <a:pt x="34811" y="8274"/>
                    <a:pt x="34144"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751" name="ïṧ1iďê">
              <a:extLst>
                <a:ext uri="{FF2B5EF4-FFF2-40B4-BE49-F238E27FC236}">
                  <a16:creationId xmlns:a16="http://schemas.microsoft.com/office/drawing/2014/main" id="{196062B8-5CC3-414E-BB3D-236296D19742}"/>
                </a:ext>
              </a:extLst>
            </p:cNvPr>
            <p:cNvSpPr/>
            <p:nvPr/>
          </p:nvSpPr>
          <p:spPr>
            <a:xfrm>
              <a:off x="5727829" y="5195791"/>
              <a:ext cx="105898" cy="61101"/>
            </a:xfrm>
            <a:custGeom>
              <a:avLst/>
              <a:gdLst>
                <a:gd name="connsiteX0" fmla="*/ 1235 w 34790"/>
                <a:gd name="connsiteY0" fmla="*/ 12029 h 20073"/>
                <a:gd name="connsiteX1" fmla="*/ 13332 w 34790"/>
                <a:gd name="connsiteY1" fmla="*/ 18983 h 20073"/>
                <a:gd name="connsiteX2" fmla="*/ 20761 w 34790"/>
                <a:gd name="connsiteY2" fmla="*/ 18983 h 20073"/>
                <a:gd name="connsiteX3" fmla="*/ 32953 w 34790"/>
                <a:gd name="connsiteY3" fmla="*/ 12029 h 20073"/>
                <a:gd name="connsiteX4" fmla="*/ 32953 w 34790"/>
                <a:gd name="connsiteY4" fmla="*/ 7743 h 20073"/>
                <a:gd name="connsiteX5" fmla="*/ 20761 w 34790"/>
                <a:gd name="connsiteY5" fmla="*/ 695 h 20073"/>
                <a:gd name="connsiteX6" fmla="*/ 13332 w 34790"/>
                <a:gd name="connsiteY6" fmla="*/ 695 h 20073"/>
                <a:gd name="connsiteX7" fmla="*/ 1235 w 34790"/>
                <a:gd name="connsiteY7" fmla="*/ 7743 h 20073"/>
                <a:gd name="connsiteX8" fmla="*/ 1235 w 34790"/>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3">
                  <a:moveTo>
                    <a:pt x="1235" y="12029"/>
                  </a:moveTo>
                  <a:lnTo>
                    <a:pt x="13332" y="18983"/>
                  </a:lnTo>
                  <a:cubicBezTo>
                    <a:pt x="15656" y="20221"/>
                    <a:pt x="18437" y="20221"/>
                    <a:pt x="20761" y="18983"/>
                  </a:cubicBezTo>
                  <a:lnTo>
                    <a:pt x="32953" y="12029"/>
                  </a:lnTo>
                  <a:cubicBezTo>
                    <a:pt x="34954" y="10791"/>
                    <a:pt x="34954" y="8886"/>
                    <a:pt x="32953" y="7743"/>
                  </a:cubicBezTo>
                  <a:lnTo>
                    <a:pt x="20761" y="695"/>
                  </a:lnTo>
                  <a:cubicBezTo>
                    <a:pt x="18418" y="-448"/>
                    <a:pt x="15675" y="-448"/>
                    <a:pt x="13332" y="695"/>
                  </a:cubicBezTo>
                  <a:lnTo>
                    <a:pt x="1235" y="7743"/>
                  </a:lnTo>
                  <a:cubicBezTo>
                    <a:pt x="-860" y="8600"/>
                    <a:pt x="-860" y="10505"/>
                    <a:pt x="1235" y="12029"/>
                  </a:cubicBezTo>
                  <a:close/>
                </a:path>
              </a:pathLst>
            </a:custGeom>
            <a:solidFill>
              <a:srgbClr val="D1D9E8"/>
            </a:solidFill>
            <a:ln w="9525" cap="flat">
              <a:noFill/>
              <a:prstDash val="solid"/>
              <a:miter/>
            </a:ln>
          </p:spPr>
          <p:txBody>
            <a:bodyPr rtlCol="0" anchor="ctr"/>
            <a:lstStyle/>
            <a:p>
              <a:endParaRPr lang="zh-CN" altLang="en-US"/>
            </a:p>
          </p:txBody>
        </p:sp>
        <p:sp>
          <p:nvSpPr>
            <p:cNvPr id="752" name="îṩľiḑé">
              <a:extLst>
                <a:ext uri="{FF2B5EF4-FFF2-40B4-BE49-F238E27FC236}">
                  <a16:creationId xmlns:a16="http://schemas.microsoft.com/office/drawing/2014/main" id="{D84F20E0-0431-4D53-8BD4-8134669C4253}"/>
                </a:ext>
              </a:extLst>
            </p:cNvPr>
            <p:cNvSpPr/>
            <p:nvPr/>
          </p:nvSpPr>
          <p:spPr>
            <a:xfrm>
              <a:off x="5725945" y="5225363"/>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4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4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20"/>
                    <a:pt x="35582" y="7953"/>
                    <a:pt x="35668" y="6981"/>
                  </a:cubicBezTo>
                  <a:lnTo>
                    <a:pt x="35668" y="-163"/>
                  </a:lnTo>
                  <a:cubicBezTo>
                    <a:pt x="35602" y="818"/>
                    <a:pt x="35021" y="1685"/>
                    <a:pt x="34144" y="2124"/>
                  </a:cubicBezTo>
                  <a:lnTo>
                    <a:pt x="31763" y="3457"/>
                  </a:lnTo>
                  <a:lnTo>
                    <a:pt x="21476" y="9362"/>
                  </a:lnTo>
                  <a:cubicBezTo>
                    <a:pt x="19085" y="10601"/>
                    <a:pt x="16247" y="10601"/>
                    <a:pt x="13856" y="9362"/>
                  </a:cubicBezTo>
                  <a:lnTo>
                    <a:pt x="3569" y="3457"/>
                  </a:lnTo>
                  <a:lnTo>
                    <a:pt x="1188" y="2124"/>
                  </a:lnTo>
                  <a:cubicBezTo>
                    <a:pt x="311"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53" name="îṡḷîḍê">
              <a:extLst>
                <a:ext uri="{FF2B5EF4-FFF2-40B4-BE49-F238E27FC236}">
                  <a16:creationId xmlns:a16="http://schemas.microsoft.com/office/drawing/2014/main" id="{39B618A4-1EBC-4C34-8A77-911134B0F03A}"/>
                </a:ext>
              </a:extLst>
            </p:cNvPr>
            <p:cNvSpPr/>
            <p:nvPr/>
          </p:nvSpPr>
          <p:spPr>
            <a:xfrm>
              <a:off x="5803358" y="5238388"/>
              <a:ext cx="109447" cy="63445"/>
            </a:xfrm>
            <a:custGeom>
              <a:avLst/>
              <a:gdLst>
                <a:gd name="connsiteX0" fmla="*/ -336 w 35956"/>
                <a:gd name="connsiteY0" fmla="*/ 10227 h 20843"/>
                <a:gd name="connsiteX1" fmla="*/ 1188 w 35956"/>
                <a:gd name="connsiteY1" fmla="*/ 12513 h 20843"/>
                <a:gd name="connsiteX2" fmla="*/ 3569 w 35956"/>
                <a:gd name="connsiteY2" fmla="*/ 13846 h 20843"/>
                <a:gd name="connsiteX3" fmla="*/ 13856 w 35956"/>
                <a:gd name="connsiteY3" fmla="*/ 19752 h 20843"/>
                <a:gd name="connsiteX4" fmla="*/ 21476 w 35956"/>
                <a:gd name="connsiteY4" fmla="*/ 19752 h 20843"/>
                <a:gd name="connsiteX5" fmla="*/ 31763 w 35956"/>
                <a:gd name="connsiteY5" fmla="*/ 13846 h 20843"/>
                <a:gd name="connsiteX6" fmla="*/ 34049 w 35956"/>
                <a:gd name="connsiteY6" fmla="*/ 12513 h 20843"/>
                <a:gd name="connsiteX7" fmla="*/ 35477 w 35956"/>
                <a:gd name="connsiteY7" fmla="*/ 9465 h 20843"/>
                <a:gd name="connsiteX8" fmla="*/ 34049 w 35956"/>
                <a:gd name="connsiteY8" fmla="*/ 8036 h 20843"/>
                <a:gd name="connsiteX9" fmla="*/ 21476 w 35956"/>
                <a:gd name="connsiteY9" fmla="*/ 702 h 20843"/>
                <a:gd name="connsiteX10" fmla="*/ 13856 w 35956"/>
                <a:gd name="connsiteY10" fmla="*/ 702 h 20843"/>
                <a:gd name="connsiteX11" fmla="*/ 1188 w 35956"/>
                <a:gd name="connsiteY11" fmla="*/ 8036 h 20843"/>
                <a:gd name="connsiteX12" fmla="*/ -336 w 35956"/>
                <a:gd name="connsiteY12" fmla="*/ 10227 h 20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956" h="20843">
                  <a:moveTo>
                    <a:pt x="-336" y="10227"/>
                  </a:moveTo>
                  <a:cubicBezTo>
                    <a:pt x="-270" y="11208"/>
                    <a:pt x="311" y="12075"/>
                    <a:pt x="1188" y="12513"/>
                  </a:cubicBezTo>
                  <a:lnTo>
                    <a:pt x="3569" y="13846"/>
                  </a:lnTo>
                  <a:lnTo>
                    <a:pt x="13856" y="19752"/>
                  </a:lnTo>
                  <a:cubicBezTo>
                    <a:pt x="16247" y="20990"/>
                    <a:pt x="19085" y="20990"/>
                    <a:pt x="21476" y="19752"/>
                  </a:cubicBezTo>
                  <a:lnTo>
                    <a:pt x="31763" y="13846"/>
                  </a:lnTo>
                  <a:lnTo>
                    <a:pt x="34049" y="12513"/>
                  </a:lnTo>
                  <a:cubicBezTo>
                    <a:pt x="35287" y="12065"/>
                    <a:pt x="35925" y="10694"/>
                    <a:pt x="35477" y="9465"/>
                  </a:cubicBezTo>
                  <a:cubicBezTo>
                    <a:pt x="35230" y="8798"/>
                    <a:pt x="34716" y="8274"/>
                    <a:pt x="34049"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754" name="ïṥ1ïďè">
              <a:extLst>
                <a:ext uri="{FF2B5EF4-FFF2-40B4-BE49-F238E27FC236}">
                  <a16:creationId xmlns:a16="http://schemas.microsoft.com/office/drawing/2014/main" id="{66E77DE4-7691-4EC9-AAFB-FFC6EFB852B2}"/>
                </a:ext>
              </a:extLst>
            </p:cNvPr>
            <p:cNvSpPr/>
            <p:nvPr/>
          </p:nvSpPr>
          <p:spPr>
            <a:xfrm>
              <a:off x="5805170" y="5239572"/>
              <a:ext cx="105898" cy="61101"/>
            </a:xfrm>
            <a:custGeom>
              <a:avLst/>
              <a:gdLst>
                <a:gd name="connsiteX0" fmla="*/ 1164 w 34790"/>
                <a:gd name="connsiteY0" fmla="*/ 12029 h 20073"/>
                <a:gd name="connsiteX1" fmla="*/ 13356 w 34790"/>
                <a:gd name="connsiteY1" fmla="*/ 18982 h 20073"/>
                <a:gd name="connsiteX2" fmla="*/ 20785 w 34790"/>
                <a:gd name="connsiteY2" fmla="*/ 18982 h 20073"/>
                <a:gd name="connsiteX3" fmla="*/ 32882 w 34790"/>
                <a:gd name="connsiteY3" fmla="*/ 12029 h 20073"/>
                <a:gd name="connsiteX4" fmla="*/ 32882 w 34790"/>
                <a:gd name="connsiteY4" fmla="*/ 7743 h 20073"/>
                <a:gd name="connsiteX5" fmla="*/ 20785 w 34790"/>
                <a:gd name="connsiteY5" fmla="*/ 695 h 20073"/>
                <a:gd name="connsiteX6" fmla="*/ 13356 w 34790"/>
                <a:gd name="connsiteY6" fmla="*/ 695 h 20073"/>
                <a:gd name="connsiteX7" fmla="*/ 1164 w 34790"/>
                <a:gd name="connsiteY7" fmla="*/ 7743 h 20073"/>
                <a:gd name="connsiteX8" fmla="*/ 1164 w 34790"/>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3">
                  <a:moveTo>
                    <a:pt x="1164" y="12029"/>
                  </a:moveTo>
                  <a:lnTo>
                    <a:pt x="13356" y="18982"/>
                  </a:lnTo>
                  <a:cubicBezTo>
                    <a:pt x="15680" y="20221"/>
                    <a:pt x="18461" y="20221"/>
                    <a:pt x="20785" y="18982"/>
                  </a:cubicBezTo>
                  <a:lnTo>
                    <a:pt x="32882" y="12029"/>
                  </a:lnTo>
                  <a:cubicBezTo>
                    <a:pt x="34978" y="10791"/>
                    <a:pt x="34978" y="8886"/>
                    <a:pt x="32882" y="7743"/>
                  </a:cubicBezTo>
                  <a:lnTo>
                    <a:pt x="20785" y="695"/>
                  </a:lnTo>
                  <a:cubicBezTo>
                    <a:pt x="18442" y="-448"/>
                    <a:pt x="15699" y="-448"/>
                    <a:pt x="13356" y="695"/>
                  </a:cubicBezTo>
                  <a:lnTo>
                    <a:pt x="1164" y="7743"/>
                  </a:lnTo>
                  <a:cubicBezTo>
                    <a:pt x="-836" y="8886"/>
                    <a:pt x="-836" y="10791"/>
                    <a:pt x="1164" y="12029"/>
                  </a:cubicBezTo>
                  <a:close/>
                </a:path>
              </a:pathLst>
            </a:custGeom>
            <a:solidFill>
              <a:srgbClr val="D1D9E8"/>
            </a:solidFill>
            <a:ln w="9525" cap="flat">
              <a:noFill/>
              <a:prstDash val="solid"/>
              <a:miter/>
            </a:ln>
          </p:spPr>
          <p:txBody>
            <a:bodyPr rtlCol="0" anchor="ctr"/>
            <a:lstStyle/>
            <a:p>
              <a:endParaRPr lang="zh-CN" altLang="en-US"/>
            </a:p>
          </p:txBody>
        </p:sp>
        <p:sp>
          <p:nvSpPr>
            <p:cNvPr id="755" name="îsļïḑé">
              <a:extLst>
                <a:ext uri="{FF2B5EF4-FFF2-40B4-BE49-F238E27FC236}">
                  <a16:creationId xmlns:a16="http://schemas.microsoft.com/office/drawing/2014/main" id="{CD9273CC-D65A-40AC-A298-37CB0AC1F338}"/>
                </a:ext>
              </a:extLst>
            </p:cNvPr>
            <p:cNvSpPr/>
            <p:nvPr/>
          </p:nvSpPr>
          <p:spPr>
            <a:xfrm>
              <a:off x="5803358" y="5268854"/>
              <a:ext cx="109594" cy="53804"/>
            </a:xfrm>
            <a:custGeom>
              <a:avLst/>
              <a:gdLst>
                <a:gd name="connsiteX0" fmla="*/ -336 w 36004"/>
                <a:gd name="connsiteY0" fmla="*/ 218 h 17676"/>
                <a:gd name="connsiteX1" fmla="*/ -336 w 36004"/>
                <a:gd name="connsiteY1" fmla="*/ 7076 h 17676"/>
                <a:gd name="connsiteX2" fmla="*/ 1188 w 36004"/>
                <a:gd name="connsiteY2" fmla="*/ 9267 h 17676"/>
                <a:gd name="connsiteX3" fmla="*/ 13856 w 36004"/>
                <a:gd name="connsiteY3" fmla="*/ 16506 h 17676"/>
                <a:gd name="connsiteX4" fmla="*/ 21476 w 36004"/>
                <a:gd name="connsiteY4" fmla="*/ 16506 h 17676"/>
                <a:gd name="connsiteX5" fmla="*/ 34049 w 36004"/>
                <a:gd name="connsiteY5" fmla="*/ 9267 h 17676"/>
                <a:gd name="connsiteX6" fmla="*/ 35668 w 36004"/>
                <a:gd name="connsiteY6" fmla="*/ 6981 h 17676"/>
                <a:gd name="connsiteX7" fmla="*/ 35668 w 36004"/>
                <a:gd name="connsiteY7" fmla="*/ -163 h 17676"/>
                <a:gd name="connsiteX8" fmla="*/ 34049 w 36004"/>
                <a:gd name="connsiteY8" fmla="*/ 2124 h 17676"/>
                <a:gd name="connsiteX9" fmla="*/ 31763 w 36004"/>
                <a:gd name="connsiteY9" fmla="*/ 3457 h 17676"/>
                <a:gd name="connsiteX10" fmla="*/ 21476 w 36004"/>
                <a:gd name="connsiteY10" fmla="*/ 9362 h 17676"/>
                <a:gd name="connsiteX11" fmla="*/ 13856 w 36004"/>
                <a:gd name="connsiteY11" fmla="*/ 9362 h 17676"/>
                <a:gd name="connsiteX12" fmla="*/ 3569 w 36004"/>
                <a:gd name="connsiteY12" fmla="*/ 3457 h 17676"/>
                <a:gd name="connsiteX13" fmla="*/ 1188 w 36004"/>
                <a:gd name="connsiteY13" fmla="*/ 2124 h 17676"/>
                <a:gd name="connsiteX14" fmla="*/ -336 w 36004"/>
                <a:gd name="connsiteY14" fmla="*/ 218 h 17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6">
                  <a:moveTo>
                    <a:pt x="-336" y="218"/>
                  </a:moveTo>
                  <a:lnTo>
                    <a:pt x="-336" y="7076"/>
                  </a:lnTo>
                  <a:cubicBezTo>
                    <a:pt x="-279" y="8029"/>
                    <a:pt x="311" y="8877"/>
                    <a:pt x="1188" y="9267"/>
                  </a:cubicBezTo>
                  <a:lnTo>
                    <a:pt x="13856" y="16506"/>
                  </a:lnTo>
                  <a:cubicBezTo>
                    <a:pt x="16218" y="17849"/>
                    <a:pt x="19114" y="17849"/>
                    <a:pt x="21476" y="16506"/>
                  </a:cubicBezTo>
                  <a:lnTo>
                    <a:pt x="34049" y="9267"/>
                  </a:lnTo>
                  <a:cubicBezTo>
                    <a:pt x="34992" y="8896"/>
                    <a:pt x="35630" y="8000"/>
                    <a:pt x="35668" y="6981"/>
                  </a:cubicBezTo>
                  <a:lnTo>
                    <a:pt x="35668" y="-163"/>
                  </a:lnTo>
                  <a:cubicBezTo>
                    <a:pt x="35601" y="847"/>
                    <a:pt x="34973" y="1733"/>
                    <a:pt x="34049" y="2124"/>
                  </a:cubicBezTo>
                  <a:lnTo>
                    <a:pt x="31763" y="3457"/>
                  </a:lnTo>
                  <a:lnTo>
                    <a:pt x="21476" y="9362"/>
                  </a:lnTo>
                  <a:cubicBezTo>
                    <a:pt x="19085" y="10601"/>
                    <a:pt x="16247" y="10601"/>
                    <a:pt x="13856" y="9362"/>
                  </a:cubicBezTo>
                  <a:lnTo>
                    <a:pt x="3569" y="3457"/>
                  </a:lnTo>
                  <a:lnTo>
                    <a:pt x="1188" y="2124"/>
                  </a:lnTo>
                  <a:cubicBezTo>
                    <a:pt x="416" y="1761"/>
                    <a:pt x="-156" y="1057"/>
                    <a:pt x="-336" y="218"/>
                  </a:cubicBezTo>
                  <a:close/>
                </a:path>
              </a:pathLst>
            </a:custGeom>
            <a:solidFill>
              <a:srgbClr val="BF4200"/>
            </a:solidFill>
            <a:ln w="9525" cap="flat">
              <a:noFill/>
              <a:prstDash val="solid"/>
              <a:miter/>
            </a:ln>
          </p:spPr>
          <p:txBody>
            <a:bodyPr rtlCol="0" anchor="ctr"/>
            <a:lstStyle/>
            <a:p>
              <a:endParaRPr lang="zh-CN" altLang="en-US"/>
            </a:p>
          </p:txBody>
        </p:sp>
        <p:sp>
          <p:nvSpPr>
            <p:cNvPr id="756" name="ïṥ1îḍè">
              <a:extLst>
                <a:ext uri="{FF2B5EF4-FFF2-40B4-BE49-F238E27FC236}">
                  <a16:creationId xmlns:a16="http://schemas.microsoft.com/office/drawing/2014/main" id="{292D7253-DAD1-4D7B-9FBA-5238B7AAB45A}"/>
                </a:ext>
              </a:extLst>
            </p:cNvPr>
            <p:cNvSpPr/>
            <p:nvPr/>
          </p:nvSpPr>
          <p:spPr>
            <a:xfrm>
              <a:off x="5880190" y="5283039"/>
              <a:ext cx="109740" cy="63445"/>
            </a:xfrm>
            <a:custGeom>
              <a:avLst/>
              <a:gdLst>
                <a:gd name="connsiteX0" fmla="*/ -336 w 36052"/>
                <a:gd name="connsiteY0" fmla="*/ 10227 h 20843"/>
                <a:gd name="connsiteX1" fmla="*/ 1188 w 36052"/>
                <a:gd name="connsiteY1" fmla="*/ 12513 h 20843"/>
                <a:gd name="connsiteX2" fmla="*/ 3569 w 36052"/>
                <a:gd name="connsiteY2" fmla="*/ 13846 h 20843"/>
                <a:gd name="connsiteX3" fmla="*/ 13856 w 36052"/>
                <a:gd name="connsiteY3" fmla="*/ 19752 h 20843"/>
                <a:gd name="connsiteX4" fmla="*/ 21476 w 36052"/>
                <a:gd name="connsiteY4" fmla="*/ 19752 h 20843"/>
                <a:gd name="connsiteX5" fmla="*/ 31763 w 36052"/>
                <a:gd name="connsiteY5" fmla="*/ 13846 h 20843"/>
                <a:gd name="connsiteX6" fmla="*/ 34144 w 36052"/>
                <a:gd name="connsiteY6" fmla="*/ 12513 h 20843"/>
                <a:gd name="connsiteX7" fmla="*/ 35573 w 36052"/>
                <a:gd name="connsiteY7" fmla="*/ 9465 h 20843"/>
                <a:gd name="connsiteX8" fmla="*/ 34144 w 36052"/>
                <a:gd name="connsiteY8" fmla="*/ 8036 h 20843"/>
                <a:gd name="connsiteX9" fmla="*/ 21476 w 36052"/>
                <a:gd name="connsiteY9" fmla="*/ 702 h 20843"/>
                <a:gd name="connsiteX10" fmla="*/ 13856 w 36052"/>
                <a:gd name="connsiteY10" fmla="*/ 702 h 20843"/>
                <a:gd name="connsiteX11" fmla="*/ 1188 w 36052"/>
                <a:gd name="connsiteY11" fmla="*/ 8036 h 20843"/>
                <a:gd name="connsiteX12" fmla="*/ -336 w 36052"/>
                <a:gd name="connsiteY12" fmla="*/ 10227 h 20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3">
                  <a:moveTo>
                    <a:pt x="-336" y="10227"/>
                  </a:moveTo>
                  <a:cubicBezTo>
                    <a:pt x="-270" y="11208"/>
                    <a:pt x="311" y="12075"/>
                    <a:pt x="1188" y="12513"/>
                  </a:cubicBezTo>
                  <a:lnTo>
                    <a:pt x="3569" y="13846"/>
                  </a:lnTo>
                  <a:lnTo>
                    <a:pt x="13856" y="19752"/>
                  </a:lnTo>
                  <a:cubicBezTo>
                    <a:pt x="16247" y="20990"/>
                    <a:pt x="19085" y="20990"/>
                    <a:pt x="21476" y="19752"/>
                  </a:cubicBezTo>
                  <a:lnTo>
                    <a:pt x="31763" y="13846"/>
                  </a:lnTo>
                  <a:lnTo>
                    <a:pt x="34144" y="12513"/>
                  </a:lnTo>
                  <a:cubicBezTo>
                    <a:pt x="35382" y="12065"/>
                    <a:pt x="36020" y="10693"/>
                    <a:pt x="35573" y="9465"/>
                  </a:cubicBezTo>
                  <a:cubicBezTo>
                    <a:pt x="35325" y="8798"/>
                    <a:pt x="34811" y="8274"/>
                    <a:pt x="34144"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757" name="iṩḷîďé">
              <a:extLst>
                <a:ext uri="{FF2B5EF4-FFF2-40B4-BE49-F238E27FC236}">
                  <a16:creationId xmlns:a16="http://schemas.microsoft.com/office/drawing/2014/main" id="{2BDA689A-97F4-4FBB-9FC6-1F359020D99D}"/>
                </a:ext>
              </a:extLst>
            </p:cNvPr>
            <p:cNvSpPr/>
            <p:nvPr/>
          </p:nvSpPr>
          <p:spPr>
            <a:xfrm>
              <a:off x="5881931" y="5284220"/>
              <a:ext cx="106550" cy="61104"/>
            </a:xfrm>
            <a:custGeom>
              <a:avLst/>
              <a:gdLst>
                <a:gd name="connsiteX0" fmla="*/ 1378 w 35004"/>
                <a:gd name="connsiteY0" fmla="*/ 12029 h 20074"/>
                <a:gd name="connsiteX1" fmla="*/ 13570 w 35004"/>
                <a:gd name="connsiteY1" fmla="*/ 18983 h 20074"/>
                <a:gd name="connsiteX2" fmla="*/ 21000 w 35004"/>
                <a:gd name="connsiteY2" fmla="*/ 18983 h 20074"/>
                <a:gd name="connsiteX3" fmla="*/ 33097 w 35004"/>
                <a:gd name="connsiteY3" fmla="*/ 12029 h 20074"/>
                <a:gd name="connsiteX4" fmla="*/ 33097 w 35004"/>
                <a:gd name="connsiteY4" fmla="*/ 7743 h 20074"/>
                <a:gd name="connsiteX5" fmla="*/ 21000 w 35004"/>
                <a:gd name="connsiteY5" fmla="*/ 695 h 20074"/>
                <a:gd name="connsiteX6" fmla="*/ 13570 w 35004"/>
                <a:gd name="connsiteY6" fmla="*/ 695 h 20074"/>
                <a:gd name="connsiteX7" fmla="*/ 1378 w 35004"/>
                <a:gd name="connsiteY7" fmla="*/ 7743 h 20074"/>
                <a:gd name="connsiteX8" fmla="*/ 1378 w 35004"/>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004" h="20074">
                  <a:moveTo>
                    <a:pt x="1378" y="12029"/>
                  </a:moveTo>
                  <a:lnTo>
                    <a:pt x="13570" y="18983"/>
                  </a:lnTo>
                  <a:cubicBezTo>
                    <a:pt x="15894" y="20221"/>
                    <a:pt x="18676" y="20221"/>
                    <a:pt x="21000" y="18983"/>
                  </a:cubicBezTo>
                  <a:lnTo>
                    <a:pt x="33097" y="12029"/>
                  </a:lnTo>
                  <a:cubicBezTo>
                    <a:pt x="35192" y="10791"/>
                    <a:pt x="35192" y="8886"/>
                    <a:pt x="33097" y="7743"/>
                  </a:cubicBezTo>
                  <a:lnTo>
                    <a:pt x="21000" y="695"/>
                  </a:lnTo>
                  <a:cubicBezTo>
                    <a:pt x="18656" y="-448"/>
                    <a:pt x="15913" y="-448"/>
                    <a:pt x="13570" y="695"/>
                  </a:cubicBezTo>
                  <a:lnTo>
                    <a:pt x="1378" y="7743"/>
                  </a:lnTo>
                  <a:cubicBezTo>
                    <a:pt x="-908" y="8886"/>
                    <a:pt x="-908" y="10791"/>
                    <a:pt x="1378" y="12029"/>
                  </a:cubicBezTo>
                  <a:close/>
                </a:path>
              </a:pathLst>
            </a:custGeom>
            <a:solidFill>
              <a:srgbClr val="D1D9E8"/>
            </a:solidFill>
            <a:ln w="9525" cap="flat">
              <a:noFill/>
              <a:prstDash val="solid"/>
              <a:miter/>
            </a:ln>
          </p:spPr>
          <p:txBody>
            <a:bodyPr rtlCol="0" anchor="ctr"/>
            <a:lstStyle/>
            <a:p>
              <a:endParaRPr lang="zh-CN" altLang="en-US"/>
            </a:p>
          </p:txBody>
        </p:sp>
        <p:sp>
          <p:nvSpPr>
            <p:cNvPr id="758" name="íŝḷíďé">
              <a:extLst>
                <a:ext uri="{FF2B5EF4-FFF2-40B4-BE49-F238E27FC236}">
                  <a16:creationId xmlns:a16="http://schemas.microsoft.com/office/drawing/2014/main" id="{0672DC44-DFB5-4EE6-A7DC-62CEDDA27E7A}"/>
                </a:ext>
              </a:extLst>
            </p:cNvPr>
            <p:cNvSpPr/>
            <p:nvPr/>
          </p:nvSpPr>
          <p:spPr>
            <a:xfrm>
              <a:off x="5880190" y="5314662"/>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3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3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2" y="7953"/>
                    <a:pt x="35668" y="6981"/>
                  </a:cubicBezTo>
                  <a:lnTo>
                    <a:pt x="35668" y="-163"/>
                  </a:lnTo>
                  <a:cubicBezTo>
                    <a:pt x="35602" y="818"/>
                    <a:pt x="35021" y="1685"/>
                    <a:pt x="34144" y="2123"/>
                  </a:cubicBezTo>
                  <a:lnTo>
                    <a:pt x="31763" y="3457"/>
                  </a:lnTo>
                  <a:lnTo>
                    <a:pt x="21476" y="9362"/>
                  </a:lnTo>
                  <a:cubicBezTo>
                    <a:pt x="19085" y="10601"/>
                    <a:pt x="16247" y="10601"/>
                    <a:pt x="13856" y="9362"/>
                  </a:cubicBezTo>
                  <a:lnTo>
                    <a:pt x="3569" y="3457"/>
                  </a:lnTo>
                  <a:lnTo>
                    <a:pt x="1188"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59" name="ïsḷíde">
              <a:extLst>
                <a:ext uri="{FF2B5EF4-FFF2-40B4-BE49-F238E27FC236}">
                  <a16:creationId xmlns:a16="http://schemas.microsoft.com/office/drawing/2014/main" id="{ED7A2CB4-55DE-4FA9-B8AB-57A3CF3AEC20}"/>
                </a:ext>
              </a:extLst>
            </p:cNvPr>
            <p:cNvSpPr/>
            <p:nvPr/>
          </p:nvSpPr>
          <p:spPr>
            <a:xfrm>
              <a:off x="5957893" y="5327492"/>
              <a:ext cx="109594" cy="63639"/>
            </a:xfrm>
            <a:custGeom>
              <a:avLst/>
              <a:gdLst>
                <a:gd name="connsiteX0" fmla="*/ -336 w 36004"/>
                <a:gd name="connsiteY0" fmla="*/ 10291 h 20907"/>
                <a:gd name="connsiteX1" fmla="*/ 1188 w 36004"/>
                <a:gd name="connsiteY1" fmla="*/ 12577 h 20907"/>
                <a:gd name="connsiteX2" fmla="*/ 3569 w 36004"/>
                <a:gd name="connsiteY2" fmla="*/ 13910 h 20907"/>
                <a:gd name="connsiteX3" fmla="*/ 13856 w 36004"/>
                <a:gd name="connsiteY3" fmla="*/ 19816 h 20907"/>
                <a:gd name="connsiteX4" fmla="*/ 21476 w 36004"/>
                <a:gd name="connsiteY4" fmla="*/ 19816 h 20907"/>
                <a:gd name="connsiteX5" fmla="*/ 31763 w 36004"/>
                <a:gd name="connsiteY5" fmla="*/ 13910 h 20907"/>
                <a:gd name="connsiteX6" fmla="*/ 34144 w 36004"/>
                <a:gd name="connsiteY6" fmla="*/ 12577 h 20907"/>
                <a:gd name="connsiteX7" fmla="*/ 35668 w 36004"/>
                <a:gd name="connsiteY7" fmla="*/ 10291 h 20907"/>
                <a:gd name="connsiteX8" fmla="*/ 34144 w 36004"/>
                <a:gd name="connsiteY8" fmla="*/ 8100 h 20907"/>
                <a:gd name="connsiteX9" fmla="*/ 21476 w 36004"/>
                <a:gd name="connsiteY9" fmla="*/ 766 h 20907"/>
                <a:gd name="connsiteX10" fmla="*/ 13856 w 36004"/>
                <a:gd name="connsiteY10" fmla="*/ 766 h 20907"/>
                <a:gd name="connsiteX11" fmla="*/ 1188 w 36004"/>
                <a:gd name="connsiteY11" fmla="*/ 8100 h 20907"/>
                <a:gd name="connsiteX12" fmla="*/ -336 w 36004"/>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907">
                  <a:moveTo>
                    <a:pt x="-336" y="10291"/>
                  </a:moveTo>
                  <a:cubicBezTo>
                    <a:pt x="-269" y="11272"/>
                    <a:pt x="311" y="12139"/>
                    <a:pt x="1188" y="12577"/>
                  </a:cubicBezTo>
                  <a:lnTo>
                    <a:pt x="3569" y="13910"/>
                  </a:lnTo>
                  <a:lnTo>
                    <a:pt x="13856" y="19816"/>
                  </a:lnTo>
                  <a:cubicBezTo>
                    <a:pt x="16247" y="21054"/>
                    <a:pt x="19085" y="21054"/>
                    <a:pt x="21476" y="19816"/>
                  </a:cubicBezTo>
                  <a:lnTo>
                    <a:pt x="31763" y="13910"/>
                  </a:lnTo>
                  <a:lnTo>
                    <a:pt x="34144" y="12577"/>
                  </a:lnTo>
                  <a:cubicBezTo>
                    <a:pt x="35021" y="12139"/>
                    <a:pt x="35602" y="11272"/>
                    <a:pt x="35668" y="10291"/>
                  </a:cubicBezTo>
                  <a:cubicBezTo>
                    <a:pt x="35611" y="9339"/>
                    <a:pt x="35021" y="8491"/>
                    <a:pt x="34144" y="8100"/>
                  </a:cubicBezTo>
                  <a:lnTo>
                    <a:pt x="21476" y="766"/>
                  </a:lnTo>
                  <a:cubicBezTo>
                    <a:pt x="19085" y="-472"/>
                    <a:pt x="16247" y="-472"/>
                    <a:pt x="13856" y="766"/>
                  </a:cubicBezTo>
                  <a:lnTo>
                    <a:pt x="1188" y="8100"/>
                  </a:lnTo>
                  <a:cubicBezTo>
                    <a:pt x="311" y="8491"/>
                    <a:pt x="-279"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760" name="işḻîḋê">
              <a:extLst>
                <a:ext uri="{FF2B5EF4-FFF2-40B4-BE49-F238E27FC236}">
                  <a16:creationId xmlns:a16="http://schemas.microsoft.com/office/drawing/2014/main" id="{AEC3B2BC-6010-466F-9AEA-3F316BC7528C}"/>
                </a:ext>
              </a:extLst>
            </p:cNvPr>
            <p:cNvSpPr/>
            <p:nvPr/>
          </p:nvSpPr>
          <p:spPr>
            <a:xfrm>
              <a:off x="5959841" y="5328868"/>
              <a:ext cx="105761" cy="61104"/>
            </a:xfrm>
            <a:custGeom>
              <a:avLst/>
              <a:gdLst>
                <a:gd name="connsiteX0" fmla="*/ 1119 w 34745"/>
                <a:gd name="connsiteY0" fmla="*/ 12029 h 20074"/>
                <a:gd name="connsiteX1" fmla="*/ 13311 w 34745"/>
                <a:gd name="connsiteY1" fmla="*/ 18983 h 20074"/>
                <a:gd name="connsiteX2" fmla="*/ 20741 w 34745"/>
                <a:gd name="connsiteY2" fmla="*/ 18983 h 20074"/>
                <a:gd name="connsiteX3" fmla="*/ 32838 w 34745"/>
                <a:gd name="connsiteY3" fmla="*/ 12029 h 20074"/>
                <a:gd name="connsiteX4" fmla="*/ 32838 w 34745"/>
                <a:gd name="connsiteY4" fmla="*/ 7743 h 20074"/>
                <a:gd name="connsiteX5" fmla="*/ 21122 w 34745"/>
                <a:gd name="connsiteY5" fmla="*/ 695 h 20074"/>
                <a:gd name="connsiteX6" fmla="*/ 13692 w 34745"/>
                <a:gd name="connsiteY6" fmla="*/ 695 h 20074"/>
                <a:gd name="connsiteX7" fmla="*/ 1500 w 34745"/>
                <a:gd name="connsiteY7" fmla="*/ 7743 h 20074"/>
                <a:gd name="connsiteX8" fmla="*/ 1119 w 34745"/>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45" h="20074">
                  <a:moveTo>
                    <a:pt x="1119" y="12029"/>
                  </a:moveTo>
                  <a:lnTo>
                    <a:pt x="13311" y="18983"/>
                  </a:lnTo>
                  <a:cubicBezTo>
                    <a:pt x="15636" y="20221"/>
                    <a:pt x="18417" y="20221"/>
                    <a:pt x="20741" y="18983"/>
                  </a:cubicBezTo>
                  <a:lnTo>
                    <a:pt x="32838" y="12029"/>
                  </a:lnTo>
                  <a:cubicBezTo>
                    <a:pt x="34933" y="10791"/>
                    <a:pt x="34933" y="8886"/>
                    <a:pt x="32838" y="7743"/>
                  </a:cubicBezTo>
                  <a:lnTo>
                    <a:pt x="21122" y="695"/>
                  </a:lnTo>
                  <a:cubicBezTo>
                    <a:pt x="18779" y="-448"/>
                    <a:pt x="16036" y="-448"/>
                    <a:pt x="13692" y="695"/>
                  </a:cubicBezTo>
                  <a:lnTo>
                    <a:pt x="1500" y="7743"/>
                  </a:lnTo>
                  <a:cubicBezTo>
                    <a:pt x="-881" y="8886"/>
                    <a:pt x="-881" y="10791"/>
                    <a:pt x="1119" y="12029"/>
                  </a:cubicBezTo>
                  <a:close/>
                </a:path>
              </a:pathLst>
            </a:custGeom>
            <a:solidFill>
              <a:srgbClr val="D1D9E8"/>
            </a:solidFill>
            <a:ln w="9525" cap="flat">
              <a:noFill/>
              <a:prstDash val="solid"/>
              <a:miter/>
            </a:ln>
          </p:spPr>
          <p:txBody>
            <a:bodyPr rtlCol="0" anchor="ctr"/>
            <a:lstStyle/>
            <a:p>
              <a:endParaRPr lang="zh-CN" altLang="en-US"/>
            </a:p>
          </p:txBody>
        </p:sp>
        <p:sp>
          <p:nvSpPr>
            <p:cNvPr id="761" name="íṧḻïḍê">
              <a:extLst>
                <a:ext uri="{FF2B5EF4-FFF2-40B4-BE49-F238E27FC236}">
                  <a16:creationId xmlns:a16="http://schemas.microsoft.com/office/drawing/2014/main" id="{54C459E8-DDFA-43D9-A6BA-4F95DBF1A99A}"/>
                </a:ext>
              </a:extLst>
            </p:cNvPr>
            <p:cNvSpPr/>
            <p:nvPr/>
          </p:nvSpPr>
          <p:spPr>
            <a:xfrm>
              <a:off x="5957893" y="5359314"/>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4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4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20"/>
                    <a:pt x="35582" y="7953"/>
                    <a:pt x="35668" y="6981"/>
                  </a:cubicBezTo>
                  <a:lnTo>
                    <a:pt x="35668" y="-163"/>
                  </a:lnTo>
                  <a:cubicBezTo>
                    <a:pt x="35602" y="819"/>
                    <a:pt x="35021" y="1685"/>
                    <a:pt x="34144" y="2124"/>
                  </a:cubicBezTo>
                  <a:lnTo>
                    <a:pt x="31763" y="3457"/>
                  </a:lnTo>
                  <a:lnTo>
                    <a:pt x="21476" y="9362"/>
                  </a:lnTo>
                  <a:cubicBezTo>
                    <a:pt x="19085" y="10601"/>
                    <a:pt x="16247" y="10601"/>
                    <a:pt x="13856" y="9362"/>
                  </a:cubicBezTo>
                  <a:lnTo>
                    <a:pt x="3569" y="3457"/>
                  </a:lnTo>
                  <a:lnTo>
                    <a:pt x="1188" y="2124"/>
                  </a:lnTo>
                  <a:cubicBezTo>
                    <a:pt x="311" y="1685"/>
                    <a:pt x="-269" y="819"/>
                    <a:pt x="-336" y="-163"/>
                  </a:cubicBezTo>
                  <a:close/>
                </a:path>
              </a:pathLst>
            </a:custGeom>
            <a:solidFill>
              <a:srgbClr val="BF4200"/>
            </a:solidFill>
            <a:ln w="9525" cap="flat">
              <a:noFill/>
              <a:prstDash val="solid"/>
              <a:miter/>
            </a:ln>
          </p:spPr>
          <p:txBody>
            <a:bodyPr rtlCol="0" anchor="ctr"/>
            <a:lstStyle/>
            <a:p>
              <a:endParaRPr lang="zh-CN" altLang="en-US"/>
            </a:p>
          </p:txBody>
        </p:sp>
        <p:sp>
          <p:nvSpPr>
            <p:cNvPr id="762" name="íşḻîḍê">
              <a:extLst>
                <a:ext uri="{FF2B5EF4-FFF2-40B4-BE49-F238E27FC236}">
                  <a16:creationId xmlns:a16="http://schemas.microsoft.com/office/drawing/2014/main" id="{51A328CD-D0DB-4693-A594-CD23A1F004A9}"/>
                </a:ext>
              </a:extLst>
            </p:cNvPr>
            <p:cNvSpPr/>
            <p:nvPr/>
          </p:nvSpPr>
          <p:spPr>
            <a:xfrm>
              <a:off x="6035595" y="5373498"/>
              <a:ext cx="197155" cy="113892"/>
            </a:xfrm>
            <a:custGeom>
              <a:avLst/>
              <a:gdLst>
                <a:gd name="connsiteX0" fmla="*/ -336 w 64770"/>
                <a:gd name="connsiteY0" fmla="*/ 10227 h 37416"/>
                <a:gd name="connsiteX1" fmla="*/ 1188 w 64770"/>
                <a:gd name="connsiteY1" fmla="*/ 12513 h 37416"/>
                <a:gd name="connsiteX2" fmla="*/ 3569 w 64770"/>
                <a:gd name="connsiteY2" fmla="*/ 13846 h 37416"/>
                <a:gd name="connsiteX3" fmla="*/ 42526 w 64770"/>
                <a:gd name="connsiteY3" fmla="*/ 36325 h 37416"/>
                <a:gd name="connsiteX4" fmla="*/ 50242 w 64770"/>
                <a:gd name="connsiteY4" fmla="*/ 36325 h 37416"/>
                <a:gd name="connsiteX5" fmla="*/ 60433 w 64770"/>
                <a:gd name="connsiteY5" fmla="*/ 30420 h 37416"/>
                <a:gd name="connsiteX6" fmla="*/ 62814 w 64770"/>
                <a:gd name="connsiteY6" fmla="*/ 28991 h 37416"/>
                <a:gd name="connsiteX7" fmla="*/ 64434 w 64770"/>
                <a:gd name="connsiteY7" fmla="*/ 27372 h 37416"/>
                <a:gd name="connsiteX8" fmla="*/ 64434 w 64770"/>
                <a:gd name="connsiteY8" fmla="*/ 26229 h 37416"/>
                <a:gd name="connsiteX9" fmla="*/ 62814 w 64770"/>
                <a:gd name="connsiteY9" fmla="*/ 24610 h 37416"/>
                <a:gd name="connsiteX10" fmla="*/ 21476 w 64770"/>
                <a:gd name="connsiteY10" fmla="*/ 702 h 37416"/>
                <a:gd name="connsiteX11" fmla="*/ 13856 w 64770"/>
                <a:gd name="connsiteY11" fmla="*/ 702 h 37416"/>
                <a:gd name="connsiteX12" fmla="*/ 1188 w 64770"/>
                <a:gd name="connsiteY12" fmla="*/ 8036 h 37416"/>
                <a:gd name="connsiteX13" fmla="*/ -336 w 64770"/>
                <a:gd name="connsiteY13" fmla="*/ 10227 h 37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4770" h="37416">
                  <a:moveTo>
                    <a:pt x="-336" y="10227"/>
                  </a:moveTo>
                  <a:cubicBezTo>
                    <a:pt x="-269" y="11208"/>
                    <a:pt x="312" y="12075"/>
                    <a:pt x="1188" y="12513"/>
                  </a:cubicBezTo>
                  <a:lnTo>
                    <a:pt x="3569" y="13846"/>
                  </a:lnTo>
                  <a:lnTo>
                    <a:pt x="42526" y="36325"/>
                  </a:lnTo>
                  <a:cubicBezTo>
                    <a:pt x="44946" y="37563"/>
                    <a:pt x="47822" y="37563"/>
                    <a:pt x="50242" y="36325"/>
                  </a:cubicBezTo>
                  <a:lnTo>
                    <a:pt x="60433" y="30420"/>
                  </a:lnTo>
                  <a:lnTo>
                    <a:pt x="62814" y="28991"/>
                  </a:lnTo>
                  <a:cubicBezTo>
                    <a:pt x="63529" y="28658"/>
                    <a:pt x="64100" y="28086"/>
                    <a:pt x="64434" y="27372"/>
                  </a:cubicBezTo>
                  <a:lnTo>
                    <a:pt x="64434" y="26229"/>
                  </a:lnTo>
                  <a:cubicBezTo>
                    <a:pt x="64043" y="25553"/>
                    <a:pt x="63491" y="25000"/>
                    <a:pt x="62814" y="24610"/>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763" name="isḷíḓe">
              <a:extLst>
                <a:ext uri="{FF2B5EF4-FFF2-40B4-BE49-F238E27FC236}">
                  <a16:creationId xmlns:a16="http://schemas.microsoft.com/office/drawing/2014/main" id="{071DD57A-0C44-4039-8C6D-74CCE1CD3299}"/>
                </a:ext>
              </a:extLst>
            </p:cNvPr>
            <p:cNvSpPr/>
            <p:nvPr/>
          </p:nvSpPr>
          <p:spPr>
            <a:xfrm>
              <a:off x="6037479" y="5374679"/>
              <a:ext cx="193168" cy="111551"/>
            </a:xfrm>
            <a:custGeom>
              <a:avLst/>
              <a:gdLst>
                <a:gd name="connsiteX0" fmla="*/ 42002 w 63460"/>
                <a:gd name="connsiteY0" fmla="*/ 35556 h 36647"/>
                <a:gd name="connsiteX1" fmla="*/ 1235 w 63460"/>
                <a:gd name="connsiteY1" fmla="*/ 12030 h 36647"/>
                <a:gd name="connsiteX2" fmla="*/ 1235 w 63460"/>
                <a:gd name="connsiteY2" fmla="*/ 7743 h 36647"/>
                <a:gd name="connsiteX3" fmla="*/ 13332 w 63460"/>
                <a:gd name="connsiteY3" fmla="*/ 695 h 36647"/>
                <a:gd name="connsiteX4" fmla="*/ 20762 w 63460"/>
                <a:gd name="connsiteY4" fmla="*/ 695 h 36647"/>
                <a:gd name="connsiteX5" fmla="*/ 61624 w 63460"/>
                <a:gd name="connsiteY5" fmla="*/ 24317 h 36647"/>
                <a:gd name="connsiteX6" fmla="*/ 61624 w 63460"/>
                <a:gd name="connsiteY6" fmla="*/ 28603 h 36647"/>
                <a:gd name="connsiteX7" fmla="*/ 49432 w 63460"/>
                <a:gd name="connsiteY7" fmla="*/ 35556 h 36647"/>
                <a:gd name="connsiteX8" fmla="*/ 42002 w 63460"/>
                <a:gd name="connsiteY8" fmla="*/ 35556 h 366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3460" h="36647">
                  <a:moveTo>
                    <a:pt x="42002" y="35556"/>
                  </a:moveTo>
                  <a:lnTo>
                    <a:pt x="1235" y="12030"/>
                  </a:lnTo>
                  <a:cubicBezTo>
                    <a:pt x="-860" y="10791"/>
                    <a:pt x="-860" y="8886"/>
                    <a:pt x="1235" y="7743"/>
                  </a:cubicBezTo>
                  <a:lnTo>
                    <a:pt x="13332" y="695"/>
                  </a:lnTo>
                  <a:cubicBezTo>
                    <a:pt x="15675" y="-448"/>
                    <a:pt x="18419" y="-448"/>
                    <a:pt x="20762" y="695"/>
                  </a:cubicBezTo>
                  <a:lnTo>
                    <a:pt x="61624" y="24317"/>
                  </a:lnTo>
                  <a:cubicBezTo>
                    <a:pt x="63624" y="25460"/>
                    <a:pt x="63624" y="27365"/>
                    <a:pt x="61624" y="28603"/>
                  </a:cubicBezTo>
                  <a:lnTo>
                    <a:pt x="49432" y="35556"/>
                  </a:lnTo>
                  <a:cubicBezTo>
                    <a:pt x="47108" y="36794"/>
                    <a:pt x="44327" y="36794"/>
                    <a:pt x="42002" y="35556"/>
                  </a:cubicBezTo>
                  <a:close/>
                </a:path>
              </a:pathLst>
            </a:custGeom>
            <a:solidFill>
              <a:srgbClr val="D1D9E8"/>
            </a:solidFill>
            <a:ln w="9525" cap="flat">
              <a:noFill/>
              <a:prstDash val="solid"/>
              <a:miter/>
            </a:ln>
          </p:spPr>
          <p:txBody>
            <a:bodyPr rtlCol="0" anchor="ctr"/>
            <a:lstStyle/>
            <a:p>
              <a:endParaRPr lang="zh-CN" altLang="en-US"/>
            </a:p>
          </p:txBody>
        </p:sp>
        <p:sp>
          <p:nvSpPr>
            <p:cNvPr id="764" name="îś1iďè">
              <a:extLst>
                <a:ext uri="{FF2B5EF4-FFF2-40B4-BE49-F238E27FC236}">
                  <a16:creationId xmlns:a16="http://schemas.microsoft.com/office/drawing/2014/main" id="{7D9D27D9-6748-4614-A112-2C98BE28EC17}"/>
                </a:ext>
              </a:extLst>
            </p:cNvPr>
            <p:cNvSpPr/>
            <p:nvPr/>
          </p:nvSpPr>
          <p:spPr>
            <a:xfrm>
              <a:off x="6035595" y="5405122"/>
              <a:ext cx="197155" cy="104011"/>
            </a:xfrm>
            <a:custGeom>
              <a:avLst/>
              <a:gdLst>
                <a:gd name="connsiteX0" fmla="*/ -336 w 64770"/>
                <a:gd name="connsiteY0" fmla="*/ -163 h 34170"/>
                <a:gd name="connsiteX1" fmla="*/ -336 w 64770"/>
                <a:gd name="connsiteY1" fmla="*/ 6981 h 34170"/>
                <a:gd name="connsiteX2" fmla="*/ 1188 w 64770"/>
                <a:gd name="connsiteY2" fmla="*/ 9267 h 34170"/>
                <a:gd name="connsiteX3" fmla="*/ 42526 w 64770"/>
                <a:gd name="connsiteY3" fmla="*/ 33080 h 34170"/>
                <a:gd name="connsiteX4" fmla="*/ 50242 w 64770"/>
                <a:gd name="connsiteY4" fmla="*/ 33080 h 34170"/>
                <a:gd name="connsiteX5" fmla="*/ 62814 w 64770"/>
                <a:gd name="connsiteY5" fmla="*/ 25841 h 34170"/>
                <a:gd name="connsiteX6" fmla="*/ 64434 w 64770"/>
                <a:gd name="connsiteY6" fmla="*/ 24221 h 34170"/>
                <a:gd name="connsiteX7" fmla="*/ 64434 w 64770"/>
                <a:gd name="connsiteY7" fmla="*/ 16982 h 34170"/>
                <a:gd name="connsiteX8" fmla="*/ 62814 w 64770"/>
                <a:gd name="connsiteY8" fmla="*/ 18602 h 34170"/>
                <a:gd name="connsiteX9" fmla="*/ 60433 w 64770"/>
                <a:gd name="connsiteY9" fmla="*/ 20030 h 34170"/>
                <a:gd name="connsiteX10" fmla="*/ 50242 w 64770"/>
                <a:gd name="connsiteY10" fmla="*/ 25936 h 34170"/>
                <a:gd name="connsiteX11" fmla="*/ 42526 w 64770"/>
                <a:gd name="connsiteY11" fmla="*/ 25936 h 34170"/>
                <a:gd name="connsiteX12" fmla="*/ 3569 w 64770"/>
                <a:gd name="connsiteY12" fmla="*/ 3457 h 34170"/>
                <a:gd name="connsiteX13" fmla="*/ 1188 w 64770"/>
                <a:gd name="connsiteY13" fmla="*/ 2123 h 34170"/>
                <a:gd name="connsiteX14" fmla="*/ -336 w 64770"/>
                <a:gd name="connsiteY14" fmla="*/ -163 h 341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4770" h="34170">
                  <a:moveTo>
                    <a:pt x="-336" y="-163"/>
                  </a:moveTo>
                  <a:lnTo>
                    <a:pt x="-336" y="6981"/>
                  </a:lnTo>
                  <a:cubicBezTo>
                    <a:pt x="-269" y="7962"/>
                    <a:pt x="312" y="8829"/>
                    <a:pt x="1188" y="9267"/>
                  </a:cubicBezTo>
                  <a:lnTo>
                    <a:pt x="42526" y="33080"/>
                  </a:lnTo>
                  <a:cubicBezTo>
                    <a:pt x="44946" y="34318"/>
                    <a:pt x="47822" y="34318"/>
                    <a:pt x="50242" y="33080"/>
                  </a:cubicBezTo>
                  <a:lnTo>
                    <a:pt x="62814" y="25841"/>
                  </a:lnTo>
                  <a:cubicBezTo>
                    <a:pt x="63443" y="25402"/>
                    <a:pt x="63996" y="24850"/>
                    <a:pt x="64434" y="24221"/>
                  </a:cubicBezTo>
                  <a:lnTo>
                    <a:pt x="64434" y="16982"/>
                  </a:lnTo>
                  <a:cubicBezTo>
                    <a:pt x="64100" y="17697"/>
                    <a:pt x="63529" y="18268"/>
                    <a:pt x="62814" y="18602"/>
                  </a:cubicBezTo>
                  <a:lnTo>
                    <a:pt x="60433" y="20030"/>
                  </a:lnTo>
                  <a:lnTo>
                    <a:pt x="50242" y="25936"/>
                  </a:lnTo>
                  <a:cubicBezTo>
                    <a:pt x="47822" y="27174"/>
                    <a:pt x="44946" y="27174"/>
                    <a:pt x="42526" y="25936"/>
                  </a:cubicBezTo>
                  <a:lnTo>
                    <a:pt x="3569" y="3457"/>
                  </a:lnTo>
                  <a:lnTo>
                    <a:pt x="1188" y="2123"/>
                  </a:lnTo>
                  <a:cubicBezTo>
                    <a:pt x="312"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65" name="ïṩľïḍè">
              <a:extLst>
                <a:ext uri="{FF2B5EF4-FFF2-40B4-BE49-F238E27FC236}">
                  <a16:creationId xmlns:a16="http://schemas.microsoft.com/office/drawing/2014/main" id="{04B388A3-46D6-45E3-9172-A529AA2E238C}"/>
                </a:ext>
              </a:extLst>
            </p:cNvPr>
            <p:cNvSpPr/>
            <p:nvPr/>
          </p:nvSpPr>
          <p:spPr>
            <a:xfrm>
              <a:off x="4920799" y="4820746"/>
              <a:ext cx="109740" cy="63289"/>
            </a:xfrm>
            <a:custGeom>
              <a:avLst/>
              <a:gdLst>
                <a:gd name="connsiteX0" fmla="*/ -336 w 36052"/>
                <a:gd name="connsiteY0" fmla="*/ 10177 h 20792"/>
                <a:gd name="connsiteX1" fmla="*/ 1283 w 36052"/>
                <a:gd name="connsiteY1" fmla="*/ 12463 h 20792"/>
                <a:gd name="connsiteX2" fmla="*/ 3569 w 36052"/>
                <a:gd name="connsiteY2" fmla="*/ 13796 h 20792"/>
                <a:gd name="connsiteX3" fmla="*/ 13856 w 36052"/>
                <a:gd name="connsiteY3" fmla="*/ 19702 h 20792"/>
                <a:gd name="connsiteX4" fmla="*/ 21571 w 36052"/>
                <a:gd name="connsiteY4" fmla="*/ 19702 h 20792"/>
                <a:gd name="connsiteX5" fmla="*/ 31858 w 36052"/>
                <a:gd name="connsiteY5" fmla="*/ 13796 h 20792"/>
                <a:gd name="connsiteX6" fmla="*/ 34144 w 36052"/>
                <a:gd name="connsiteY6" fmla="*/ 12463 h 20792"/>
                <a:gd name="connsiteX7" fmla="*/ 35573 w 36052"/>
                <a:gd name="connsiteY7" fmla="*/ 9415 h 20792"/>
                <a:gd name="connsiteX8" fmla="*/ 34144 w 36052"/>
                <a:gd name="connsiteY8" fmla="*/ 7986 h 20792"/>
                <a:gd name="connsiteX9" fmla="*/ 21571 w 36052"/>
                <a:gd name="connsiteY9" fmla="*/ 652 h 20792"/>
                <a:gd name="connsiteX10" fmla="*/ 13856 w 36052"/>
                <a:gd name="connsiteY10" fmla="*/ 652 h 20792"/>
                <a:gd name="connsiteX11" fmla="*/ 1283 w 36052"/>
                <a:gd name="connsiteY11" fmla="*/ 7986 h 20792"/>
                <a:gd name="connsiteX12" fmla="*/ -336 w 36052"/>
                <a:gd name="connsiteY12" fmla="*/ 10177 h 20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792">
                  <a:moveTo>
                    <a:pt x="-336" y="10177"/>
                  </a:moveTo>
                  <a:cubicBezTo>
                    <a:pt x="-232" y="11167"/>
                    <a:pt x="378" y="12034"/>
                    <a:pt x="1283" y="12463"/>
                  </a:cubicBezTo>
                  <a:lnTo>
                    <a:pt x="3569" y="13796"/>
                  </a:lnTo>
                  <a:lnTo>
                    <a:pt x="13856" y="19702"/>
                  </a:lnTo>
                  <a:cubicBezTo>
                    <a:pt x="16275" y="20940"/>
                    <a:pt x="19152" y="20940"/>
                    <a:pt x="21571" y="19702"/>
                  </a:cubicBezTo>
                  <a:lnTo>
                    <a:pt x="31858" y="13796"/>
                  </a:lnTo>
                  <a:lnTo>
                    <a:pt x="34144" y="12463"/>
                  </a:lnTo>
                  <a:cubicBezTo>
                    <a:pt x="35382" y="12015"/>
                    <a:pt x="36020" y="10643"/>
                    <a:pt x="35573" y="9415"/>
                  </a:cubicBezTo>
                  <a:cubicBezTo>
                    <a:pt x="35325" y="8748"/>
                    <a:pt x="34811" y="8224"/>
                    <a:pt x="34144" y="7986"/>
                  </a:cubicBezTo>
                  <a:lnTo>
                    <a:pt x="21571" y="652"/>
                  </a:lnTo>
                  <a:cubicBezTo>
                    <a:pt x="19114" y="-434"/>
                    <a:pt x="16313" y="-434"/>
                    <a:pt x="13856" y="652"/>
                  </a:cubicBezTo>
                  <a:lnTo>
                    <a:pt x="1283" y="7986"/>
                  </a:lnTo>
                  <a:cubicBezTo>
                    <a:pt x="407" y="8396"/>
                    <a:pt x="-203" y="9224"/>
                    <a:pt x="-336" y="10177"/>
                  </a:cubicBezTo>
                  <a:close/>
                </a:path>
              </a:pathLst>
            </a:custGeom>
            <a:solidFill>
              <a:srgbClr val="FFFFFF"/>
            </a:solidFill>
            <a:ln w="9525" cap="flat">
              <a:noFill/>
              <a:prstDash val="solid"/>
              <a:miter/>
            </a:ln>
          </p:spPr>
          <p:txBody>
            <a:bodyPr rtlCol="0" anchor="ctr"/>
            <a:lstStyle/>
            <a:p>
              <a:endParaRPr lang="zh-CN" altLang="en-US"/>
            </a:p>
          </p:txBody>
        </p:sp>
        <p:sp>
          <p:nvSpPr>
            <p:cNvPr id="766" name="íṩlïḋe">
              <a:extLst>
                <a:ext uri="{FF2B5EF4-FFF2-40B4-BE49-F238E27FC236}">
                  <a16:creationId xmlns:a16="http://schemas.microsoft.com/office/drawing/2014/main" id="{7539D7A0-EB84-49B5-93C0-DED68F7C194B}"/>
                </a:ext>
              </a:extLst>
            </p:cNvPr>
            <p:cNvSpPr/>
            <p:nvPr/>
          </p:nvSpPr>
          <p:spPr>
            <a:xfrm>
              <a:off x="4922902" y="4821774"/>
              <a:ext cx="105679" cy="61101"/>
            </a:xfrm>
            <a:custGeom>
              <a:avLst/>
              <a:gdLst>
                <a:gd name="connsiteX0" fmla="*/ 1164 w 34718"/>
                <a:gd name="connsiteY0" fmla="*/ 12029 h 20073"/>
                <a:gd name="connsiteX1" fmla="*/ 13261 w 34718"/>
                <a:gd name="connsiteY1" fmla="*/ 18982 h 20073"/>
                <a:gd name="connsiteX2" fmla="*/ 20690 w 34718"/>
                <a:gd name="connsiteY2" fmla="*/ 18982 h 20073"/>
                <a:gd name="connsiteX3" fmla="*/ 32882 w 34718"/>
                <a:gd name="connsiteY3" fmla="*/ 12029 h 20073"/>
                <a:gd name="connsiteX4" fmla="*/ 32882 w 34718"/>
                <a:gd name="connsiteY4" fmla="*/ 7743 h 20073"/>
                <a:gd name="connsiteX5" fmla="*/ 20690 w 34718"/>
                <a:gd name="connsiteY5" fmla="*/ 695 h 20073"/>
                <a:gd name="connsiteX6" fmla="*/ 13261 w 34718"/>
                <a:gd name="connsiteY6" fmla="*/ 695 h 20073"/>
                <a:gd name="connsiteX7" fmla="*/ 1164 w 34718"/>
                <a:gd name="connsiteY7" fmla="*/ 7743 h 20073"/>
                <a:gd name="connsiteX8" fmla="*/ 1164 w 34718"/>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18" h="20073">
                  <a:moveTo>
                    <a:pt x="1164" y="12029"/>
                  </a:moveTo>
                  <a:lnTo>
                    <a:pt x="13261" y="18982"/>
                  </a:lnTo>
                  <a:cubicBezTo>
                    <a:pt x="15585" y="20221"/>
                    <a:pt x="18366" y="20221"/>
                    <a:pt x="20690" y="18982"/>
                  </a:cubicBezTo>
                  <a:lnTo>
                    <a:pt x="32882" y="12029"/>
                  </a:lnTo>
                  <a:cubicBezTo>
                    <a:pt x="34882" y="10791"/>
                    <a:pt x="34882" y="8886"/>
                    <a:pt x="32882" y="7743"/>
                  </a:cubicBezTo>
                  <a:lnTo>
                    <a:pt x="20690" y="695"/>
                  </a:lnTo>
                  <a:cubicBezTo>
                    <a:pt x="18347" y="-448"/>
                    <a:pt x="15604" y="-448"/>
                    <a:pt x="13261" y="695"/>
                  </a:cubicBezTo>
                  <a:lnTo>
                    <a:pt x="1164" y="7743"/>
                  </a:lnTo>
                  <a:cubicBezTo>
                    <a:pt x="-836" y="8886"/>
                    <a:pt x="-836" y="11077"/>
                    <a:pt x="1164" y="12029"/>
                  </a:cubicBezTo>
                  <a:close/>
                </a:path>
              </a:pathLst>
            </a:custGeom>
            <a:solidFill>
              <a:srgbClr val="D1D9E8"/>
            </a:solidFill>
            <a:ln w="9525" cap="flat">
              <a:noFill/>
              <a:prstDash val="solid"/>
              <a:miter/>
            </a:ln>
          </p:spPr>
          <p:txBody>
            <a:bodyPr rtlCol="0" anchor="ctr"/>
            <a:lstStyle/>
            <a:p>
              <a:endParaRPr lang="zh-CN" altLang="en-US"/>
            </a:p>
          </p:txBody>
        </p:sp>
        <p:sp>
          <p:nvSpPr>
            <p:cNvPr id="767" name="îṩlïďe">
              <a:extLst>
                <a:ext uri="{FF2B5EF4-FFF2-40B4-BE49-F238E27FC236}">
                  <a16:creationId xmlns:a16="http://schemas.microsoft.com/office/drawing/2014/main" id="{1D5F43EE-1618-49B2-AA2A-0D77F4E30E8F}"/>
                </a:ext>
              </a:extLst>
            </p:cNvPr>
            <p:cNvSpPr/>
            <p:nvPr/>
          </p:nvSpPr>
          <p:spPr>
            <a:xfrm>
              <a:off x="4920799" y="4852217"/>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4 w 36099"/>
                <a:gd name="connsiteY6" fmla="*/ 6981 h 17597"/>
                <a:gd name="connsiteX7" fmla="*/ 35764 w 36099"/>
                <a:gd name="connsiteY7" fmla="*/ -163 h 17597"/>
                <a:gd name="connsiteX8" fmla="*/ 34144 w 36099"/>
                <a:gd name="connsiteY8" fmla="*/ 2123 h 17597"/>
                <a:gd name="connsiteX9" fmla="*/ 31858 w 36099"/>
                <a:gd name="connsiteY9" fmla="*/ 3457 h 17597"/>
                <a:gd name="connsiteX10" fmla="*/ 21571 w 36099"/>
                <a:gd name="connsiteY10" fmla="*/ 9362 h 17597"/>
                <a:gd name="connsiteX11" fmla="*/ 13856 w 36099"/>
                <a:gd name="connsiteY11" fmla="*/ 9362 h 17597"/>
                <a:gd name="connsiteX12" fmla="*/ 3569 w 36099"/>
                <a:gd name="connsiteY12" fmla="*/ 3457 h 17597"/>
                <a:gd name="connsiteX13" fmla="*/ 1283 w 36099"/>
                <a:gd name="connsiteY13" fmla="*/ 2123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03" y="8029"/>
                    <a:pt x="407" y="8857"/>
                    <a:pt x="1283" y="9267"/>
                  </a:cubicBezTo>
                  <a:lnTo>
                    <a:pt x="13856" y="16506"/>
                  </a:lnTo>
                  <a:cubicBezTo>
                    <a:pt x="16275" y="17744"/>
                    <a:pt x="19152" y="17744"/>
                    <a:pt x="21571" y="16506"/>
                  </a:cubicBezTo>
                  <a:lnTo>
                    <a:pt x="34144" y="9267"/>
                  </a:lnTo>
                  <a:cubicBezTo>
                    <a:pt x="35030" y="8829"/>
                    <a:pt x="35640" y="7962"/>
                    <a:pt x="35764" y="6981"/>
                  </a:cubicBezTo>
                  <a:lnTo>
                    <a:pt x="35764" y="-163"/>
                  </a:lnTo>
                  <a:cubicBezTo>
                    <a:pt x="35659" y="828"/>
                    <a:pt x="35049" y="1695"/>
                    <a:pt x="34144" y="2123"/>
                  </a:cubicBezTo>
                  <a:lnTo>
                    <a:pt x="31858" y="3457"/>
                  </a:lnTo>
                  <a:lnTo>
                    <a:pt x="21571" y="9362"/>
                  </a:lnTo>
                  <a:cubicBezTo>
                    <a:pt x="19152" y="10601"/>
                    <a:pt x="16275" y="10601"/>
                    <a:pt x="13856" y="9362"/>
                  </a:cubicBezTo>
                  <a:lnTo>
                    <a:pt x="3569" y="3457"/>
                  </a:lnTo>
                  <a:lnTo>
                    <a:pt x="1283" y="2123"/>
                  </a:lnTo>
                  <a:cubicBezTo>
                    <a:pt x="378" y="1695"/>
                    <a:pt x="-232"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68" name="îṩḷîḋe">
              <a:extLst>
                <a:ext uri="{FF2B5EF4-FFF2-40B4-BE49-F238E27FC236}">
                  <a16:creationId xmlns:a16="http://schemas.microsoft.com/office/drawing/2014/main" id="{720027C5-90CE-437D-9089-D36A073C7668}"/>
                </a:ext>
              </a:extLst>
            </p:cNvPr>
            <p:cNvSpPr/>
            <p:nvPr/>
          </p:nvSpPr>
          <p:spPr>
            <a:xfrm>
              <a:off x="4998212" y="4865047"/>
              <a:ext cx="109740" cy="63639"/>
            </a:xfrm>
            <a:custGeom>
              <a:avLst/>
              <a:gdLst>
                <a:gd name="connsiteX0" fmla="*/ -336 w 36052"/>
                <a:gd name="connsiteY0" fmla="*/ 10291 h 20907"/>
                <a:gd name="connsiteX1" fmla="*/ 1188 w 36052"/>
                <a:gd name="connsiteY1" fmla="*/ 12577 h 20907"/>
                <a:gd name="connsiteX2" fmla="*/ 3569 w 36052"/>
                <a:gd name="connsiteY2" fmla="*/ 13911 h 20907"/>
                <a:gd name="connsiteX3" fmla="*/ 13856 w 36052"/>
                <a:gd name="connsiteY3" fmla="*/ 19816 h 20907"/>
                <a:gd name="connsiteX4" fmla="*/ 21476 w 36052"/>
                <a:gd name="connsiteY4" fmla="*/ 19816 h 20907"/>
                <a:gd name="connsiteX5" fmla="*/ 31763 w 36052"/>
                <a:gd name="connsiteY5" fmla="*/ 13911 h 20907"/>
                <a:gd name="connsiteX6" fmla="*/ 34144 w 36052"/>
                <a:gd name="connsiteY6" fmla="*/ 12577 h 20907"/>
                <a:gd name="connsiteX7" fmla="*/ 35573 w 36052"/>
                <a:gd name="connsiteY7" fmla="*/ 9529 h 20907"/>
                <a:gd name="connsiteX8" fmla="*/ 34144 w 36052"/>
                <a:gd name="connsiteY8" fmla="*/ 8100 h 20907"/>
                <a:gd name="connsiteX9" fmla="*/ 21476 w 36052"/>
                <a:gd name="connsiteY9" fmla="*/ 766 h 20907"/>
                <a:gd name="connsiteX10" fmla="*/ 13856 w 36052"/>
                <a:gd name="connsiteY10" fmla="*/ 766 h 20907"/>
                <a:gd name="connsiteX11" fmla="*/ 1188 w 36052"/>
                <a:gd name="connsiteY11" fmla="*/ 8100 h 20907"/>
                <a:gd name="connsiteX12" fmla="*/ -336 w 36052"/>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907">
                  <a:moveTo>
                    <a:pt x="-336" y="10291"/>
                  </a:moveTo>
                  <a:cubicBezTo>
                    <a:pt x="-269" y="11272"/>
                    <a:pt x="312" y="12139"/>
                    <a:pt x="1188" y="12577"/>
                  </a:cubicBezTo>
                  <a:lnTo>
                    <a:pt x="3569" y="13911"/>
                  </a:lnTo>
                  <a:lnTo>
                    <a:pt x="13856" y="19816"/>
                  </a:lnTo>
                  <a:cubicBezTo>
                    <a:pt x="16247" y="21054"/>
                    <a:pt x="19085" y="21054"/>
                    <a:pt x="21476" y="19816"/>
                  </a:cubicBezTo>
                  <a:lnTo>
                    <a:pt x="31763" y="13911"/>
                  </a:lnTo>
                  <a:lnTo>
                    <a:pt x="34144" y="12577"/>
                  </a:lnTo>
                  <a:cubicBezTo>
                    <a:pt x="35382" y="12129"/>
                    <a:pt x="36021" y="10758"/>
                    <a:pt x="35573" y="9529"/>
                  </a:cubicBezTo>
                  <a:cubicBezTo>
                    <a:pt x="35325" y="8862"/>
                    <a:pt x="34811" y="8338"/>
                    <a:pt x="34144" y="8100"/>
                  </a:cubicBezTo>
                  <a:lnTo>
                    <a:pt x="21476" y="766"/>
                  </a:lnTo>
                  <a:cubicBezTo>
                    <a:pt x="19085" y="-472"/>
                    <a:pt x="16247" y="-472"/>
                    <a:pt x="13856" y="766"/>
                  </a:cubicBezTo>
                  <a:lnTo>
                    <a:pt x="1188" y="8100"/>
                  </a:lnTo>
                  <a:cubicBezTo>
                    <a:pt x="340" y="8519"/>
                    <a:pt x="-241" y="9348"/>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769" name="îṧlïdê">
              <a:extLst>
                <a:ext uri="{FF2B5EF4-FFF2-40B4-BE49-F238E27FC236}">
                  <a16:creationId xmlns:a16="http://schemas.microsoft.com/office/drawing/2014/main" id="{D296E0A0-D5E7-4207-9A7F-EFCE78822F3D}"/>
                </a:ext>
              </a:extLst>
            </p:cNvPr>
            <p:cNvSpPr/>
            <p:nvPr/>
          </p:nvSpPr>
          <p:spPr>
            <a:xfrm>
              <a:off x="5000096" y="4866426"/>
              <a:ext cx="105825" cy="61101"/>
            </a:xfrm>
            <a:custGeom>
              <a:avLst/>
              <a:gdLst>
                <a:gd name="connsiteX0" fmla="*/ 1235 w 34766"/>
                <a:gd name="connsiteY0" fmla="*/ 12030 h 20073"/>
                <a:gd name="connsiteX1" fmla="*/ 13332 w 34766"/>
                <a:gd name="connsiteY1" fmla="*/ 18983 h 20073"/>
                <a:gd name="connsiteX2" fmla="*/ 20761 w 34766"/>
                <a:gd name="connsiteY2" fmla="*/ 18983 h 20073"/>
                <a:gd name="connsiteX3" fmla="*/ 32858 w 34766"/>
                <a:gd name="connsiteY3" fmla="*/ 12030 h 20073"/>
                <a:gd name="connsiteX4" fmla="*/ 32858 w 34766"/>
                <a:gd name="connsiteY4" fmla="*/ 7743 h 20073"/>
                <a:gd name="connsiteX5" fmla="*/ 20761 w 34766"/>
                <a:gd name="connsiteY5" fmla="*/ 695 h 20073"/>
                <a:gd name="connsiteX6" fmla="*/ 13332 w 34766"/>
                <a:gd name="connsiteY6" fmla="*/ 695 h 20073"/>
                <a:gd name="connsiteX7" fmla="*/ 1235 w 34766"/>
                <a:gd name="connsiteY7" fmla="*/ 7743 h 20073"/>
                <a:gd name="connsiteX8" fmla="*/ 1235 w 34766"/>
                <a:gd name="connsiteY8" fmla="*/ 12030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6" h="20073">
                  <a:moveTo>
                    <a:pt x="1235" y="12030"/>
                  </a:moveTo>
                  <a:lnTo>
                    <a:pt x="13332" y="18983"/>
                  </a:lnTo>
                  <a:cubicBezTo>
                    <a:pt x="15656" y="20221"/>
                    <a:pt x="18437" y="20221"/>
                    <a:pt x="20761" y="18983"/>
                  </a:cubicBezTo>
                  <a:lnTo>
                    <a:pt x="32858" y="12030"/>
                  </a:lnTo>
                  <a:cubicBezTo>
                    <a:pt x="34954" y="10791"/>
                    <a:pt x="34954" y="8886"/>
                    <a:pt x="32858" y="7743"/>
                  </a:cubicBezTo>
                  <a:lnTo>
                    <a:pt x="20761" y="695"/>
                  </a:lnTo>
                  <a:cubicBezTo>
                    <a:pt x="18419" y="-448"/>
                    <a:pt x="15675" y="-448"/>
                    <a:pt x="13332" y="695"/>
                  </a:cubicBezTo>
                  <a:lnTo>
                    <a:pt x="1235" y="7743"/>
                  </a:lnTo>
                  <a:cubicBezTo>
                    <a:pt x="-860" y="8886"/>
                    <a:pt x="-860" y="10791"/>
                    <a:pt x="1235" y="12030"/>
                  </a:cubicBezTo>
                  <a:close/>
                </a:path>
              </a:pathLst>
            </a:custGeom>
            <a:solidFill>
              <a:srgbClr val="D1D9E8"/>
            </a:solidFill>
            <a:ln w="9525" cap="flat">
              <a:noFill/>
              <a:prstDash val="solid"/>
              <a:miter/>
            </a:ln>
          </p:spPr>
          <p:txBody>
            <a:bodyPr rtlCol="0" anchor="ctr"/>
            <a:lstStyle/>
            <a:p>
              <a:endParaRPr lang="zh-CN" altLang="en-US"/>
            </a:p>
          </p:txBody>
        </p:sp>
        <p:sp>
          <p:nvSpPr>
            <p:cNvPr id="770" name="î$ḻíďê">
              <a:extLst>
                <a:ext uri="{FF2B5EF4-FFF2-40B4-BE49-F238E27FC236}">
                  <a16:creationId xmlns:a16="http://schemas.microsoft.com/office/drawing/2014/main" id="{A5EA3187-8D26-44EB-A0BF-8BFA9FA1CFE6}"/>
                </a:ext>
              </a:extLst>
            </p:cNvPr>
            <p:cNvSpPr/>
            <p:nvPr/>
          </p:nvSpPr>
          <p:spPr>
            <a:xfrm>
              <a:off x="4998212" y="4896868"/>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3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3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3" y="7953"/>
                    <a:pt x="35668" y="6981"/>
                  </a:cubicBezTo>
                  <a:lnTo>
                    <a:pt x="35668" y="-163"/>
                  </a:lnTo>
                  <a:cubicBezTo>
                    <a:pt x="35602" y="818"/>
                    <a:pt x="35021" y="1685"/>
                    <a:pt x="34144" y="2123"/>
                  </a:cubicBezTo>
                  <a:lnTo>
                    <a:pt x="31763" y="3457"/>
                  </a:lnTo>
                  <a:lnTo>
                    <a:pt x="21476" y="9362"/>
                  </a:lnTo>
                  <a:cubicBezTo>
                    <a:pt x="19085" y="10601"/>
                    <a:pt x="16247" y="10601"/>
                    <a:pt x="13856" y="9362"/>
                  </a:cubicBezTo>
                  <a:lnTo>
                    <a:pt x="3569" y="3457"/>
                  </a:lnTo>
                  <a:lnTo>
                    <a:pt x="1188" y="2123"/>
                  </a:lnTo>
                  <a:cubicBezTo>
                    <a:pt x="312"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71" name="îṥľîḋê">
              <a:extLst>
                <a:ext uri="{FF2B5EF4-FFF2-40B4-BE49-F238E27FC236}">
                  <a16:creationId xmlns:a16="http://schemas.microsoft.com/office/drawing/2014/main" id="{E3F1E167-18E3-4513-AC3F-490566F5DE83}"/>
                </a:ext>
              </a:extLst>
            </p:cNvPr>
            <p:cNvSpPr/>
            <p:nvPr/>
          </p:nvSpPr>
          <p:spPr>
            <a:xfrm>
              <a:off x="5075333" y="4911147"/>
              <a:ext cx="109015" cy="63639"/>
            </a:xfrm>
            <a:custGeom>
              <a:avLst/>
              <a:gdLst>
                <a:gd name="connsiteX0" fmla="*/ -336 w 35814"/>
                <a:gd name="connsiteY0" fmla="*/ 10291 h 20907"/>
                <a:gd name="connsiteX1" fmla="*/ 1283 w 35814"/>
                <a:gd name="connsiteY1" fmla="*/ 12577 h 20907"/>
                <a:gd name="connsiteX2" fmla="*/ 3569 w 35814"/>
                <a:gd name="connsiteY2" fmla="*/ 13911 h 20907"/>
                <a:gd name="connsiteX3" fmla="*/ 13856 w 35814"/>
                <a:gd name="connsiteY3" fmla="*/ 19816 h 20907"/>
                <a:gd name="connsiteX4" fmla="*/ 21571 w 35814"/>
                <a:gd name="connsiteY4" fmla="*/ 19816 h 20907"/>
                <a:gd name="connsiteX5" fmla="*/ 31858 w 35814"/>
                <a:gd name="connsiteY5" fmla="*/ 13911 h 20907"/>
                <a:gd name="connsiteX6" fmla="*/ 34144 w 35814"/>
                <a:gd name="connsiteY6" fmla="*/ 12577 h 20907"/>
                <a:gd name="connsiteX7" fmla="*/ 35478 w 35814"/>
                <a:gd name="connsiteY7" fmla="*/ 10291 h 20907"/>
                <a:gd name="connsiteX8" fmla="*/ 33858 w 35814"/>
                <a:gd name="connsiteY8" fmla="*/ 8100 h 20907"/>
                <a:gd name="connsiteX9" fmla="*/ 21286 w 35814"/>
                <a:gd name="connsiteY9" fmla="*/ 766 h 20907"/>
                <a:gd name="connsiteX10" fmla="*/ 13570 w 35814"/>
                <a:gd name="connsiteY10" fmla="*/ 766 h 20907"/>
                <a:gd name="connsiteX11" fmla="*/ 997 w 35814"/>
                <a:gd name="connsiteY11" fmla="*/ 8100 h 20907"/>
                <a:gd name="connsiteX12" fmla="*/ -336 w 35814"/>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814" h="20907">
                  <a:moveTo>
                    <a:pt x="-336" y="10291"/>
                  </a:moveTo>
                  <a:cubicBezTo>
                    <a:pt x="-231" y="11282"/>
                    <a:pt x="378" y="12149"/>
                    <a:pt x="1283" y="12577"/>
                  </a:cubicBezTo>
                  <a:lnTo>
                    <a:pt x="3569" y="13911"/>
                  </a:lnTo>
                  <a:lnTo>
                    <a:pt x="13856" y="19816"/>
                  </a:lnTo>
                  <a:cubicBezTo>
                    <a:pt x="16275" y="21054"/>
                    <a:pt x="19152" y="21054"/>
                    <a:pt x="21571" y="19816"/>
                  </a:cubicBezTo>
                  <a:lnTo>
                    <a:pt x="31858" y="13911"/>
                  </a:lnTo>
                  <a:lnTo>
                    <a:pt x="34144" y="12577"/>
                  </a:lnTo>
                  <a:cubicBezTo>
                    <a:pt x="34964" y="12101"/>
                    <a:pt x="35468" y="11234"/>
                    <a:pt x="35478" y="10291"/>
                  </a:cubicBezTo>
                  <a:cubicBezTo>
                    <a:pt x="35402" y="9310"/>
                    <a:pt x="34773" y="8462"/>
                    <a:pt x="33858" y="8100"/>
                  </a:cubicBezTo>
                  <a:lnTo>
                    <a:pt x="21286" y="766"/>
                  </a:lnTo>
                  <a:cubicBezTo>
                    <a:pt x="18866" y="-472"/>
                    <a:pt x="15990" y="-472"/>
                    <a:pt x="13570" y="766"/>
                  </a:cubicBezTo>
                  <a:lnTo>
                    <a:pt x="997" y="8100"/>
                  </a:lnTo>
                  <a:cubicBezTo>
                    <a:pt x="216" y="8567"/>
                    <a:pt x="-279" y="9386"/>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772" name="ïṡḷîḑè">
              <a:extLst>
                <a:ext uri="{FF2B5EF4-FFF2-40B4-BE49-F238E27FC236}">
                  <a16:creationId xmlns:a16="http://schemas.microsoft.com/office/drawing/2014/main" id="{8897BE13-B5A0-46CE-9E47-8D566C462FEC}"/>
                </a:ext>
              </a:extLst>
            </p:cNvPr>
            <p:cNvSpPr/>
            <p:nvPr/>
          </p:nvSpPr>
          <p:spPr>
            <a:xfrm>
              <a:off x="5077437" y="4910858"/>
              <a:ext cx="105679" cy="61104"/>
            </a:xfrm>
            <a:custGeom>
              <a:avLst/>
              <a:gdLst>
                <a:gd name="connsiteX0" fmla="*/ 1164 w 34718"/>
                <a:gd name="connsiteY0" fmla="*/ 12006 h 20074"/>
                <a:gd name="connsiteX1" fmla="*/ 13356 w 34718"/>
                <a:gd name="connsiteY1" fmla="*/ 19054 h 20074"/>
                <a:gd name="connsiteX2" fmla="*/ 20785 w 34718"/>
                <a:gd name="connsiteY2" fmla="*/ 19054 h 20074"/>
                <a:gd name="connsiteX3" fmla="*/ 32882 w 34718"/>
                <a:gd name="connsiteY3" fmla="*/ 12006 h 20074"/>
                <a:gd name="connsiteX4" fmla="*/ 32882 w 34718"/>
                <a:gd name="connsiteY4" fmla="*/ 7719 h 20074"/>
                <a:gd name="connsiteX5" fmla="*/ 20785 w 34718"/>
                <a:gd name="connsiteY5" fmla="*/ 766 h 20074"/>
                <a:gd name="connsiteX6" fmla="*/ 13356 w 34718"/>
                <a:gd name="connsiteY6" fmla="*/ 766 h 20074"/>
                <a:gd name="connsiteX7" fmla="*/ 1164 w 34718"/>
                <a:gd name="connsiteY7" fmla="*/ 7719 h 20074"/>
                <a:gd name="connsiteX8" fmla="*/ 1164 w 34718"/>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18" h="20074">
                  <a:moveTo>
                    <a:pt x="1164" y="12006"/>
                  </a:moveTo>
                  <a:lnTo>
                    <a:pt x="13356" y="19054"/>
                  </a:lnTo>
                  <a:cubicBezTo>
                    <a:pt x="15699" y="20197"/>
                    <a:pt x="18442" y="20197"/>
                    <a:pt x="20785" y="19054"/>
                  </a:cubicBezTo>
                  <a:lnTo>
                    <a:pt x="32882" y="12006"/>
                  </a:lnTo>
                  <a:cubicBezTo>
                    <a:pt x="34882" y="10863"/>
                    <a:pt x="34882" y="8958"/>
                    <a:pt x="32882" y="7719"/>
                  </a:cubicBezTo>
                  <a:lnTo>
                    <a:pt x="20785" y="766"/>
                  </a:lnTo>
                  <a:cubicBezTo>
                    <a:pt x="18461" y="-472"/>
                    <a:pt x="15680" y="-472"/>
                    <a:pt x="13356" y="766"/>
                  </a:cubicBezTo>
                  <a:lnTo>
                    <a:pt x="1164" y="7719"/>
                  </a:lnTo>
                  <a:cubicBezTo>
                    <a:pt x="-836" y="8958"/>
                    <a:pt x="-836" y="10863"/>
                    <a:pt x="1164" y="12006"/>
                  </a:cubicBezTo>
                  <a:close/>
                </a:path>
              </a:pathLst>
            </a:custGeom>
            <a:solidFill>
              <a:srgbClr val="D1D9E8"/>
            </a:solidFill>
            <a:ln w="9525" cap="flat">
              <a:noFill/>
              <a:prstDash val="solid"/>
              <a:miter/>
            </a:ln>
          </p:spPr>
          <p:txBody>
            <a:bodyPr rtlCol="0" anchor="ctr"/>
            <a:lstStyle/>
            <a:p>
              <a:endParaRPr lang="zh-CN" altLang="en-US"/>
            </a:p>
          </p:txBody>
        </p:sp>
        <p:sp>
          <p:nvSpPr>
            <p:cNvPr id="773" name="ïŝľiḑé">
              <a:extLst>
                <a:ext uri="{FF2B5EF4-FFF2-40B4-BE49-F238E27FC236}">
                  <a16:creationId xmlns:a16="http://schemas.microsoft.com/office/drawing/2014/main" id="{B392D23A-7B7B-4934-960E-4E73E80226E8}"/>
                </a:ext>
              </a:extLst>
            </p:cNvPr>
            <p:cNvSpPr/>
            <p:nvPr/>
          </p:nvSpPr>
          <p:spPr>
            <a:xfrm>
              <a:off x="5075333" y="4942968"/>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4 w 36099"/>
                <a:gd name="connsiteY6" fmla="*/ 6981 h 17597"/>
                <a:gd name="connsiteX7" fmla="*/ 35764 w 36099"/>
                <a:gd name="connsiteY7" fmla="*/ -163 h 17597"/>
                <a:gd name="connsiteX8" fmla="*/ 34144 w 36099"/>
                <a:gd name="connsiteY8" fmla="*/ 2123 h 17597"/>
                <a:gd name="connsiteX9" fmla="*/ 31858 w 36099"/>
                <a:gd name="connsiteY9" fmla="*/ 3457 h 17597"/>
                <a:gd name="connsiteX10" fmla="*/ 21571 w 36099"/>
                <a:gd name="connsiteY10" fmla="*/ 9362 h 17597"/>
                <a:gd name="connsiteX11" fmla="*/ 13856 w 36099"/>
                <a:gd name="connsiteY11" fmla="*/ 9362 h 17597"/>
                <a:gd name="connsiteX12" fmla="*/ 3569 w 36099"/>
                <a:gd name="connsiteY12" fmla="*/ 3457 h 17597"/>
                <a:gd name="connsiteX13" fmla="*/ 1283 w 36099"/>
                <a:gd name="connsiteY13" fmla="*/ 2123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03" y="8038"/>
                    <a:pt x="407" y="8857"/>
                    <a:pt x="1283" y="9267"/>
                  </a:cubicBezTo>
                  <a:lnTo>
                    <a:pt x="13856" y="16506"/>
                  </a:lnTo>
                  <a:cubicBezTo>
                    <a:pt x="16275" y="17744"/>
                    <a:pt x="19152" y="17744"/>
                    <a:pt x="21571" y="16506"/>
                  </a:cubicBezTo>
                  <a:lnTo>
                    <a:pt x="34144" y="9267"/>
                  </a:lnTo>
                  <a:cubicBezTo>
                    <a:pt x="35059" y="8857"/>
                    <a:pt x="35678" y="7981"/>
                    <a:pt x="35764" y="6981"/>
                  </a:cubicBezTo>
                  <a:lnTo>
                    <a:pt x="35764" y="-163"/>
                  </a:lnTo>
                  <a:cubicBezTo>
                    <a:pt x="35697" y="847"/>
                    <a:pt x="35068" y="1733"/>
                    <a:pt x="34144" y="2123"/>
                  </a:cubicBezTo>
                  <a:lnTo>
                    <a:pt x="31858" y="3457"/>
                  </a:lnTo>
                  <a:lnTo>
                    <a:pt x="21571" y="9362"/>
                  </a:lnTo>
                  <a:cubicBezTo>
                    <a:pt x="19152" y="10601"/>
                    <a:pt x="16275" y="10601"/>
                    <a:pt x="13856" y="9362"/>
                  </a:cubicBezTo>
                  <a:lnTo>
                    <a:pt x="3569" y="3457"/>
                  </a:lnTo>
                  <a:lnTo>
                    <a:pt x="1283" y="2123"/>
                  </a:lnTo>
                  <a:cubicBezTo>
                    <a:pt x="378" y="1695"/>
                    <a:pt x="-231"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74" name="ïslíḋé">
              <a:extLst>
                <a:ext uri="{FF2B5EF4-FFF2-40B4-BE49-F238E27FC236}">
                  <a16:creationId xmlns:a16="http://schemas.microsoft.com/office/drawing/2014/main" id="{71B060B7-65A2-47F6-8352-3D76221B386F}"/>
                </a:ext>
              </a:extLst>
            </p:cNvPr>
            <p:cNvSpPr/>
            <p:nvPr/>
          </p:nvSpPr>
          <p:spPr>
            <a:xfrm>
              <a:off x="5152746" y="4953476"/>
              <a:ext cx="140036" cy="81035"/>
            </a:xfrm>
            <a:custGeom>
              <a:avLst/>
              <a:gdLst>
                <a:gd name="connsiteX0" fmla="*/ -336 w 46005"/>
                <a:gd name="connsiteY0" fmla="*/ 10196 h 26622"/>
                <a:gd name="connsiteX1" fmla="*/ 1283 w 46005"/>
                <a:gd name="connsiteY1" fmla="*/ 12482 h 26622"/>
                <a:gd name="connsiteX2" fmla="*/ 3569 w 46005"/>
                <a:gd name="connsiteY2" fmla="*/ 13815 h 26622"/>
                <a:gd name="connsiteX3" fmla="*/ 23762 w 46005"/>
                <a:gd name="connsiteY3" fmla="*/ 25531 h 26622"/>
                <a:gd name="connsiteX4" fmla="*/ 31477 w 46005"/>
                <a:gd name="connsiteY4" fmla="*/ 25531 h 26622"/>
                <a:gd name="connsiteX5" fmla="*/ 41764 w 46005"/>
                <a:gd name="connsiteY5" fmla="*/ 19530 h 26622"/>
                <a:gd name="connsiteX6" fmla="*/ 44145 w 46005"/>
                <a:gd name="connsiteY6" fmla="*/ 18197 h 26622"/>
                <a:gd name="connsiteX7" fmla="*/ 45669 w 46005"/>
                <a:gd name="connsiteY7" fmla="*/ 16578 h 26622"/>
                <a:gd name="connsiteX8" fmla="*/ 45669 w 46005"/>
                <a:gd name="connsiteY8" fmla="*/ 15435 h 26622"/>
                <a:gd name="connsiteX9" fmla="*/ 44145 w 46005"/>
                <a:gd name="connsiteY9" fmla="*/ 13720 h 26622"/>
                <a:gd name="connsiteX10" fmla="*/ 21571 w 46005"/>
                <a:gd name="connsiteY10" fmla="*/ 766 h 26622"/>
                <a:gd name="connsiteX11" fmla="*/ 13856 w 46005"/>
                <a:gd name="connsiteY11" fmla="*/ 766 h 26622"/>
                <a:gd name="connsiteX12" fmla="*/ 1283 w 46005"/>
                <a:gd name="connsiteY12" fmla="*/ 8005 h 26622"/>
                <a:gd name="connsiteX13" fmla="*/ -336 w 46005"/>
                <a:gd name="connsiteY13" fmla="*/ 10196 h 26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005" h="26622">
                  <a:moveTo>
                    <a:pt x="-336" y="10196"/>
                  </a:moveTo>
                  <a:cubicBezTo>
                    <a:pt x="-298" y="11215"/>
                    <a:pt x="340" y="12110"/>
                    <a:pt x="1283" y="12482"/>
                  </a:cubicBezTo>
                  <a:lnTo>
                    <a:pt x="3569" y="13815"/>
                  </a:lnTo>
                  <a:lnTo>
                    <a:pt x="23762" y="25531"/>
                  </a:lnTo>
                  <a:cubicBezTo>
                    <a:pt x="26181" y="26769"/>
                    <a:pt x="29058" y="26769"/>
                    <a:pt x="31477" y="25531"/>
                  </a:cubicBezTo>
                  <a:lnTo>
                    <a:pt x="41764" y="19530"/>
                  </a:lnTo>
                  <a:lnTo>
                    <a:pt x="44145" y="18197"/>
                  </a:lnTo>
                  <a:cubicBezTo>
                    <a:pt x="44860" y="17892"/>
                    <a:pt x="45412" y="17311"/>
                    <a:pt x="45669" y="16578"/>
                  </a:cubicBezTo>
                  <a:lnTo>
                    <a:pt x="45669" y="15435"/>
                  </a:lnTo>
                  <a:cubicBezTo>
                    <a:pt x="45384" y="14692"/>
                    <a:pt x="44850" y="14082"/>
                    <a:pt x="44145" y="13720"/>
                  </a:cubicBezTo>
                  <a:lnTo>
                    <a:pt x="21571" y="766"/>
                  </a:lnTo>
                  <a:cubicBezTo>
                    <a:pt x="19152" y="-472"/>
                    <a:pt x="16275" y="-472"/>
                    <a:pt x="13856" y="766"/>
                  </a:cubicBezTo>
                  <a:lnTo>
                    <a:pt x="1283" y="8005"/>
                  </a:lnTo>
                  <a:cubicBezTo>
                    <a:pt x="378" y="8386"/>
                    <a:pt x="-241" y="9224"/>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775" name="iṩľide">
              <a:extLst>
                <a:ext uri="{FF2B5EF4-FFF2-40B4-BE49-F238E27FC236}">
                  <a16:creationId xmlns:a16="http://schemas.microsoft.com/office/drawing/2014/main" id="{3CF7866E-A5F9-4F76-893F-B9D584EDAC8D}"/>
                </a:ext>
              </a:extLst>
            </p:cNvPr>
            <p:cNvSpPr/>
            <p:nvPr/>
          </p:nvSpPr>
          <p:spPr>
            <a:xfrm>
              <a:off x="5154880" y="4953984"/>
              <a:ext cx="136021" cy="78570"/>
            </a:xfrm>
            <a:custGeom>
              <a:avLst/>
              <a:gdLst>
                <a:gd name="connsiteX0" fmla="*/ 23252 w 44686"/>
                <a:gd name="connsiteY0" fmla="*/ 24793 h 25812"/>
                <a:gd name="connsiteX1" fmla="*/ 1154 w 44686"/>
                <a:gd name="connsiteY1" fmla="*/ 12029 h 25812"/>
                <a:gd name="connsiteX2" fmla="*/ -189 w 44686"/>
                <a:gd name="connsiteY2" fmla="*/ 9096 h 25812"/>
                <a:gd name="connsiteX3" fmla="*/ 1154 w 44686"/>
                <a:gd name="connsiteY3" fmla="*/ 7743 h 25812"/>
                <a:gd name="connsiteX4" fmla="*/ 13251 w 44686"/>
                <a:gd name="connsiteY4" fmla="*/ 695 h 25812"/>
                <a:gd name="connsiteX5" fmla="*/ 20680 w 44686"/>
                <a:gd name="connsiteY5" fmla="*/ 695 h 25812"/>
                <a:gd name="connsiteX6" fmla="*/ 42778 w 44686"/>
                <a:gd name="connsiteY6" fmla="*/ 13458 h 25812"/>
                <a:gd name="connsiteX7" fmla="*/ 42778 w 44686"/>
                <a:gd name="connsiteY7" fmla="*/ 17744 h 25812"/>
                <a:gd name="connsiteX8" fmla="*/ 30681 w 44686"/>
                <a:gd name="connsiteY8" fmla="*/ 24793 h 25812"/>
                <a:gd name="connsiteX9" fmla="*/ 23252 w 44686"/>
                <a:gd name="connsiteY9" fmla="*/ 24793 h 25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4686" h="25812">
                  <a:moveTo>
                    <a:pt x="23252" y="24793"/>
                  </a:moveTo>
                  <a:lnTo>
                    <a:pt x="1154" y="12029"/>
                  </a:lnTo>
                  <a:cubicBezTo>
                    <a:pt x="-27" y="11591"/>
                    <a:pt x="-637" y="10277"/>
                    <a:pt x="-189" y="9096"/>
                  </a:cubicBezTo>
                  <a:cubicBezTo>
                    <a:pt x="40" y="8467"/>
                    <a:pt x="535" y="7972"/>
                    <a:pt x="1154" y="7743"/>
                  </a:cubicBezTo>
                  <a:lnTo>
                    <a:pt x="13251" y="695"/>
                  </a:lnTo>
                  <a:cubicBezTo>
                    <a:pt x="15594" y="-448"/>
                    <a:pt x="18337" y="-448"/>
                    <a:pt x="20680" y="695"/>
                  </a:cubicBezTo>
                  <a:lnTo>
                    <a:pt x="42778" y="13458"/>
                  </a:lnTo>
                  <a:cubicBezTo>
                    <a:pt x="44874" y="14696"/>
                    <a:pt x="44874" y="16601"/>
                    <a:pt x="42778" y="17744"/>
                  </a:cubicBezTo>
                  <a:lnTo>
                    <a:pt x="30681" y="24793"/>
                  </a:lnTo>
                  <a:cubicBezTo>
                    <a:pt x="28338" y="25936"/>
                    <a:pt x="25595" y="25936"/>
                    <a:pt x="23252" y="24793"/>
                  </a:cubicBezTo>
                  <a:close/>
                </a:path>
              </a:pathLst>
            </a:custGeom>
            <a:solidFill>
              <a:srgbClr val="D1D9E8"/>
            </a:solidFill>
            <a:ln w="9525" cap="flat">
              <a:noFill/>
              <a:prstDash val="solid"/>
              <a:miter/>
            </a:ln>
          </p:spPr>
          <p:txBody>
            <a:bodyPr rtlCol="0" anchor="ctr"/>
            <a:lstStyle/>
            <a:p>
              <a:endParaRPr lang="zh-CN" altLang="en-US"/>
            </a:p>
          </p:txBody>
        </p:sp>
        <p:sp>
          <p:nvSpPr>
            <p:cNvPr id="776" name="iśľíḋè">
              <a:extLst>
                <a:ext uri="{FF2B5EF4-FFF2-40B4-BE49-F238E27FC236}">
                  <a16:creationId xmlns:a16="http://schemas.microsoft.com/office/drawing/2014/main" id="{3E9E979B-266C-49FC-AC2E-809C258F0A99}"/>
                </a:ext>
              </a:extLst>
            </p:cNvPr>
            <p:cNvSpPr/>
            <p:nvPr/>
          </p:nvSpPr>
          <p:spPr>
            <a:xfrm>
              <a:off x="5152746" y="4985008"/>
              <a:ext cx="140036" cy="71249"/>
            </a:xfrm>
            <a:custGeom>
              <a:avLst/>
              <a:gdLst>
                <a:gd name="connsiteX0" fmla="*/ -336 w 46005"/>
                <a:gd name="connsiteY0" fmla="*/ -163 h 23407"/>
                <a:gd name="connsiteX1" fmla="*/ -336 w 46005"/>
                <a:gd name="connsiteY1" fmla="*/ 7076 h 23407"/>
                <a:gd name="connsiteX2" fmla="*/ 1283 w 46005"/>
                <a:gd name="connsiteY2" fmla="*/ 9267 h 23407"/>
                <a:gd name="connsiteX3" fmla="*/ 23762 w 46005"/>
                <a:gd name="connsiteY3" fmla="*/ 22316 h 23407"/>
                <a:gd name="connsiteX4" fmla="*/ 31477 w 46005"/>
                <a:gd name="connsiteY4" fmla="*/ 22316 h 23407"/>
                <a:gd name="connsiteX5" fmla="*/ 44145 w 46005"/>
                <a:gd name="connsiteY5" fmla="*/ 14982 h 23407"/>
                <a:gd name="connsiteX6" fmla="*/ 45669 w 46005"/>
                <a:gd name="connsiteY6" fmla="*/ 13363 h 23407"/>
                <a:gd name="connsiteX7" fmla="*/ 45669 w 46005"/>
                <a:gd name="connsiteY7" fmla="*/ 6219 h 23407"/>
                <a:gd name="connsiteX8" fmla="*/ 44145 w 46005"/>
                <a:gd name="connsiteY8" fmla="*/ 7838 h 23407"/>
                <a:gd name="connsiteX9" fmla="*/ 41764 w 46005"/>
                <a:gd name="connsiteY9" fmla="*/ 9172 h 23407"/>
                <a:gd name="connsiteX10" fmla="*/ 31477 w 46005"/>
                <a:gd name="connsiteY10" fmla="*/ 15172 h 23407"/>
                <a:gd name="connsiteX11" fmla="*/ 23762 w 46005"/>
                <a:gd name="connsiteY11" fmla="*/ 15172 h 23407"/>
                <a:gd name="connsiteX12" fmla="*/ 3569 w 46005"/>
                <a:gd name="connsiteY12" fmla="*/ 3457 h 23407"/>
                <a:gd name="connsiteX13" fmla="*/ 1283 w 46005"/>
                <a:gd name="connsiteY13" fmla="*/ 2123 h 23407"/>
                <a:gd name="connsiteX14" fmla="*/ -336 w 46005"/>
                <a:gd name="connsiteY14" fmla="*/ -163 h 234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6005" h="23407">
                  <a:moveTo>
                    <a:pt x="-336" y="-163"/>
                  </a:moveTo>
                  <a:lnTo>
                    <a:pt x="-336" y="7076"/>
                  </a:lnTo>
                  <a:cubicBezTo>
                    <a:pt x="-260" y="8057"/>
                    <a:pt x="369" y="8905"/>
                    <a:pt x="1283" y="9267"/>
                  </a:cubicBezTo>
                  <a:lnTo>
                    <a:pt x="23762" y="22316"/>
                  </a:lnTo>
                  <a:cubicBezTo>
                    <a:pt x="26181" y="23555"/>
                    <a:pt x="29058" y="23555"/>
                    <a:pt x="31477" y="22316"/>
                  </a:cubicBezTo>
                  <a:lnTo>
                    <a:pt x="44145" y="14982"/>
                  </a:lnTo>
                  <a:cubicBezTo>
                    <a:pt x="44822" y="14629"/>
                    <a:pt x="45355" y="14058"/>
                    <a:pt x="45669" y="13363"/>
                  </a:cubicBezTo>
                  <a:lnTo>
                    <a:pt x="45669" y="6219"/>
                  </a:lnTo>
                  <a:cubicBezTo>
                    <a:pt x="45412" y="6952"/>
                    <a:pt x="44860" y="7533"/>
                    <a:pt x="44145" y="7838"/>
                  </a:cubicBezTo>
                  <a:lnTo>
                    <a:pt x="41764" y="9172"/>
                  </a:lnTo>
                  <a:lnTo>
                    <a:pt x="31477" y="15172"/>
                  </a:lnTo>
                  <a:cubicBezTo>
                    <a:pt x="29058" y="16411"/>
                    <a:pt x="26181" y="16411"/>
                    <a:pt x="23762" y="15172"/>
                  </a:cubicBezTo>
                  <a:lnTo>
                    <a:pt x="3569" y="3457"/>
                  </a:lnTo>
                  <a:lnTo>
                    <a:pt x="1283" y="2123"/>
                  </a:lnTo>
                  <a:cubicBezTo>
                    <a:pt x="340" y="1752"/>
                    <a:pt x="-298" y="856"/>
                    <a:pt x="-336" y="-163"/>
                  </a:cubicBezTo>
                  <a:close/>
                </a:path>
              </a:pathLst>
            </a:custGeom>
            <a:solidFill>
              <a:srgbClr val="BF4200"/>
            </a:solidFill>
            <a:ln w="9525" cap="flat">
              <a:noFill/>
              <a:prstDash val="solid"/>
              <a:miter/>
            </a:ln>
          </p:spPr>
          <p:txBody>
            <a:bodyPr rtlCol="0" anchor="ctr"/>
            <a:lstStyle/>
            <a:p>
              <a:endParaRPr lang="zh-CN" altLang="en-US"/>
            </a:p>
          </p:txBody>
        </p:sp>
        <p:sp>
          <p:nvSpPr>
            <p:cNvPr id="777" name="îşlïďê">
              <a:extLst>
                <a:ext uri="{FF2B5EF4-FFF2-40B4-BE49-F238E27FC236}">
                  <a16:creationId xmlns:a16="http://schemas.microsoft.com/office/drawing/2014/main" id="{ADCC4F74-B715-4A72-B74F-8D0A24CE443D}"/>
                </a:ext>
              </a:extLst>
            </p:cNvPr>
            <p:cNvSpPr/>
            <p:nvPr/>
          </p:nvSpPr>
          <p:spPr>
            <a:xfrm>
              <a:off x="5261180" y="5016300"/>
              <a:ext cx="505645" cy="291913"/>
            </a:xfrm>
            <a:custGeom>
              <a:avLst/>
              <a:gdLst>
                <a:gd name="connsiteX0" fmla="*/ -336 w 166116"/>
                <a:gd name="connsiteY0" fmla="*/ 10227 h 95900"/>
                <a:gd name="connsiteX1" fmla="*/ 1188 w 166116"/>
                <a:gd name="connsiteY1" fmla="*/ 12513 h 95900"/>
                <a:gd name="connsiteX2" fmla="*/ 3569 w 166116"/>
                <a:gd name="connsiteY2" fmla="*/ 13846 h 95900"/>
                <a:gd name="connsiteX3" fmla="*/ 143872 w 166116"/>
                <a:gd name="connsiteY3" fmla="*/ 94809 h 95900"/>
                <a:gd name="connsiteX4" fmla="*/ 151588 w 166116"/>
                <a:gd name="connsiteY4" fmla="*/ 94809 h 95900"/>
                <a:gd name="connsiteX5" fmla="*/ 161779 w 166116"/>
                <a:gd name="connsiteY5" fmla="*/ 88903 h 95900"/>
                <a:gd name="connsiteX6" fmla="*/ 164161 w 166116"/>
                <a:gd name="connsiteY6" fmla="*/ 87570 h 95900"/>
                <a:gd name="connsiteX7" fmla="*/ 165780 w 166116"/>
                <a:gd name="connsiteY7" fmla="*/ 85951 h 95900"/>
                <a:gd name="connsiteX8" fmla="*/ 165780 w 166116"/>
                <a:gd name="connsiteY8" fmla="*/ 84808 h 95900"/>
                <a:gd name="connsiteX9" fmla="*/ 164161 w 166116"/>
                <a:gd name="connsiteY9" fmla="*/ 83093 h 95900"/>
                <a:gd name="connsiteX10" fmla="*/ 21286 w 166116"/>
                <a:gd name="connsiteY10" fmla="*/ 702 h 95900"/>
                <a:gd name="connsiteX11" fmla="*/ 13665 w 166116"/>
                <a:gd name="connsiteY11" fmla="*/ 702 h 95900"/>
                <a:gd name="connsiteX12" fmla="*/ 997 w 166116"/>
                <a:gd name="connsiteY12" fmla="*/ 8036 h 95900"/>
                <a:gd name="connsiteX13" fmla="*/ -336 w 166116"/>
                <a:gd name="connsiteY13" fmla="*/ 10227 h 95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6116" h="95900">
                  <a:moveTo>
                    <a:pt x="-336" y="10227"/>
                  </a:moveTo>
                  <a:cubicBezTo>
                    <a:pt x="-269" y="11208"/>
                    <a:pt x="311" y="12075"/>
                    <a:pt x="1188" y="12513"/>
                  </a:cubicBezTo>
                  <a:lnTo>
                    <a:pt x="3569" y="13846"/>
                  </a:lnTo>
                  <a:lnTo>
                    <a:pt x="143872" y="94809"/>
                  </a:lnTo>
                  <a:cubicBezTo>
                    <a:pt x="146292" y="96047"/>
                    <a:pt x="149168" y="96047"/>
                    <a:pt x="151588" y="94809"/>
                  </a:cubicBezTo>
                  <a:lnTo>
                    <a:pt x="161779" y="88903"/>
                  </a:lnTo>
                  <a:lnTo>
                    <a:pt x="164161" y="87570"/>
                  </a:lnTo>
                  <a:cubicBezTo>
                    <a:pt x="164875" y="87236"/>
                    <a:pt x="165446" y="86665"/>
                    <a:pt x="165780" y="85951"/>
                  </a:cubicBezTo>
                  <a:lnTo>
                    <a:pt x="165780" y="84808"/>
                  </a:lnTo>
                  <a:cubicBezTo>
                    <a:pt x="165484" y="84046"/>
                    <a:pt x="164903" y="83436"/>
                    <a:pt x="164161" y="83093"/>
                  </a:cubicBezTo>
                  <a:lnTo>
                    <a:pt x="21286" y="702"/>
                  </a:lnTo>
                  <a:cubicBezTo>
                    <a:pt x="18876" y="-451"/>
                    <a:pt x="16075" y="-451"/>
                    <a:pt x="13665" y="702"/>
                  </a:cubicBezTo>
                  <a:lnTo>
                    <a:pt x="997" y="8036"/>
                  </a:lnTo>
                  <a:cubicBezTo>
                    <a:pt x="216" y="8503"/>
                    <a:pt x="-279" y="9322"/>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778" name="íşlïďè">
              <a:extLst>
                <a:ext uri="{FF2B5EF4-FFF2-40B4-BE49-F238E27FC236}">
                  <a16:creationId xmlns:a16="http://schemas.microsoft.com/office/drawing/2014/main" id="{70B64131-23E6-4B1F-B036-7D7B5362AEE3}"/>
                </a:ext>
              </a:extLst>
            </p:cNvPr>
            <p:cNvSpPr/>
            <p:nvPr/>
          </p:nvSpPr>
          <p:spPr>
            <a:xfrm>
              <a:off x="5263067" y="5017481"/>
              <a:ext cx="501657" cy="289569"/>
            </a:xfrm>
            <a:custGeom>
              <a:avLst/>
              <a:gdLst>
                <a:gd name="connsiteX0" fmla="*/ 143348 w 164806"/>
                <a:gd name="connsiteY0" fmla="*/ 94039 h 95130"/>
                <a:gd name="connsiteX1" fmla="*/ 1235 w 164806"/>
                <a:gd name="connsiteY1" fmla="*/ 12029 h 95130"/>
                <a:gd name="connsiteX2" fmla="*/ 1235 w 164806"/>
                <a:gd name="connsiteY2" fmla="*/ 7743 h 95130"/>
                <a:gd name="connsiteX3" fmla="*/ 13332 w 164806"/>
                <a:gd name="connsiteY3" fmla="*/ 695 h 95130"/>
                <a:gd name="connsiteX4" fmla="*/ 20761 w 164806"/>
                <a:gd name="connsiteY4" fmla="*/ 695 h 95130"/>
                <a:gd name="connsiteX5" fmla="*/ 162970 w 164806"/>
                <a:gd name="connsiteY5" fmla="*/ 82800 h 95130"/>
                <a:gd name="connsiteX6" fmla="*/ 162970 w 164806"/>
                <a:gd name="connsiteY6" fmla="*/ 87086 h 95130"/>
                <a:gd name="connsiteX7" fmla="*/ 150778 w 164806"/>
                <a:gd name="connsiteY7" fmla="*/ 94039 h 95130"/>
                <a:gd name="connsiteX8" fmla="*/ 143348 w 164806"/>
                <a:gd name="connsiteY8" fmla="*/ 94039 h 95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4806" h="95130">
                  <a:moveTo>
                    <a:pt x="143348" y="94039"/>
                  </a:moveTo>
                  <a:lnTo>
                    <a:pt x="1235" y="12029"/>
                  </a:lnTo>
                  <a:cubicBezTo>
                    <a:pt x="-860" y="10791"/>
                    <a:pt x="-860" y="8886"/>
                    <a:pt x="1235" y="7743"/>
                  </a:cubicBezTo>
                  <a:lnTo>
                    <a:pt x="13332" y="695"/>
                  </a:lnTo>
                  <a:cubicBezTo>
                    <a:pt x="15675" y="-448"/>
                    <a:pt x="18418" y="-448"/>
                    <a:pt x="20761" y="695"/>
                  </a:cubicBezTo>
                  <a:lnTo>
                    <a:pt x="162970" y="82800"/>
                  </a:lnTo>
                  <a:cubicBezTo>
                    <a:pt x="164970" y="83943"/>
                    <a:pt x="164970" y="85848"/>
                    <a:pt x="162970" y="87086"/>
                  </a:cubicBezTo>
                  <a:lnTo>
                    <a:pt x="150778" y="94039"/>
                  </a:lnTo>
                  <a:cubicBezTo>
                    <a:pt x="148454" y="95278"/>
                    <a:pt x="145672" y="95278"/>
                    <a:pt x="143348" y="94039"/>
                  </a:cubicBezTo>
                  <a:close/>
                </a:path>
              </a:pathLst>
            </a:custGeom>
            <a:solidFill>
              <a:srgbClr val="D1D9E8"/>
            </a:solidFill>
            <a:ln w="9525" cap="flat">
              <a:noFill/>
              <a:prstDash val="solid"/>
              <a:miter/>
            </a:ln>
          </p:spPr>
          <p:txBody>
            <a:bodyPr rtlCol="0" anchor="ctr"/>
            <a:lstStyle/>
            <a:p>
              <a:endParaRPr lang="zh-CN" altLang="en-US"/>
            </a:p>
          </p:txBody>
        </p:sp>
        <p:sp>
          <p:nvSpPr>
            <p:cNvPr id="779" name="îṥļíḓê">
              <a:extLst>
                <a:ext uri="{FF2B5EF4-FFF2-40B4-BE49-F238E27FC236}">
                  <a16:creationId xmlns:a16="http://schemas.microsoft.com/office/drawing/2014/main" id="{ECED8C06-AB4B-4A49-91EB-B07AAC223F6A}"/>
                </a:ext>
              </a:extLst>
            </p:cNvPr>
            <p:cNvSpPr/>
            <p:nvPr/>
          </p:nvSpPr>
          <p:spPr>
            <a:xfrm>
              <a:off x="5261180" y="5047923"/>
              <a:ext cx="506223" cy="281974"/>
            </a:xfrm>
            <a:custGeom>
              <a:avLst/>
              <a:gdLst>
                <a:gd name="connsiteX0" fmla="*/ -336 w 166306"/>
                <a:gd name="connsiteY0" fmla="*/ -163 h 92635"/>
                <a:gd name="connsiteX1" fmla="*/ -336 w 166306"/>
                <a:gd name="connsiteY1" fmla="*/ 6981 h 92635"/>
                <a:gd name="connsiteX2" fmla="*/ 1188 w 166306"/>
                <a:gd name="connsiteY2" fmla="*/ 9267 h 92635"/>
                <a:gd name="connsiteX3" fmla="*/ 144063 w 166306"/>
                <a:gd name="connsiteY3" fmla="*/ 91659 h 92635"/>
                <a:gd name="connsiteX4" fmla="*/ 151778 w 166306"/>
                <a:gd name="connsiteY4" fmla="*/ 91659 h 92635"/>
                <a:gd name="connsiteX5" fmla="*/ 164351 w 166306"/>
                <a:gd name="connsiteY5" fmla="*/ 84324 h 92635"/>
                <a:gd name="connsiteX6" fmla="*/ 165970 w 166306"/>
                <a:gd name="connsiteY6" fmla="*/ 82705 h 92635"/>
                <a:gd name="connsiteX7" fmla="*/ 165970 w 166306"/>
                <a:gd name="connsiteY7" fmla="*/ 75561 h 92635"/>
                <a:gd name="connsiteX8" fmla="*/ 164351 w 166306"/>
                <a:gd name="connsiteY8" fmla="*/ 77180 h 92635"/>
                <a:gd name="connsiteX9" fmla="*/ 161970 w 166306"/>
                <a:gd name="connsiteY9" fmla="*/ 78514 h 92635"/>
                <a:gd name="connsiteX10" fmla="*/ 151778 w 166306"/>
                <a:gd name="connsiteY10" fmla="*/ 84419 h 92635"/>
                <a:gd name="connsiteX11" fmla="*/ 144063 w 166306"/>
                <a:gd name="connsiteY11" fmla="*/ 84419 h 92635"/>
                <a:gd name="connsiteX12" fmla="*/ 3569 w 166306"/>
                <a:gd name="connsiteY12" fmla="*/ 3457 h 92635"/>
                <a:gd name="connsiteX13" fmla="*/ 1188 w 166306"/>
                <a:gd name="connsiteY13" fmla="*/ 2123 h 92635"/>
                <a:gd name="connsiteX14" fmla="*/ -336 w 166306"/>
                <a:gd name="connsiteY14" fmla="*/ -163 h 92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66306" h="92635">
                  <a:moveTo>
                    <a:pt x="-336" y="-163"/>
                  </a:moveTo>
                  <a:lnTo>
                    <a:pt x="-336" y="6981"/>
                  </a:lnTo>
                  <a:cubicBezTo>
                    <a:pt x="-251" y="7953"/>
                    <a:pt x="321" y="8819"/>
                    <a:pt x="1188" y="9267"/>
                  </a:cubicBezTo>
                  <a:lnTo>
                    <a:pt x="144063" y="91659"/>
                  </a:lnTo>
                  <a:cubicBezTo>
                    <a:pt x="146520" y="92744"/>
                    <a:pt x="149321" y="92744"/>
                    <a:pt x="151778" y="91659"/>
                  </a:cubicBezTo>
                  <a:lnTo>
                    <a:pt x="164351" y="84324"/>
                  </a:lnTo>
                  <a:cubicBezTo>
                    <a:pt x="165066" y="83991"/>
                    <a:pt x="165637" y="83419"/>
                    <a:pt x="165970" y="82705"/>
                  </a:cubicBezTo>
                  <a:lnTo>
                    <a:pt x="165970" y="75561"/>
                  </a:lnTo>
                  <a:cubicBezTo>
                    <a:pt x="165637" y="76275"/>
                    <a:pt x="165066" y="76847"/>
                    <a:pt x="164351" y="77180"/>
                  </a:cubicBezTo>
                  <a:lnTo>
                    <a:pt x="161970" y="78514"/>
                  </a:lnTo>
                  <a:lnTo>
                    <a:pt x="151778" y="84419"/>
                  </a:lnTo>
                  <a:cubicBezTo>
                    <a:pt x="149359" y="85658"/>
                    <a:pt x="146482" y="85658"/>
                    <a:pt x="144063" y="84419"/>
                  </a:cubicBezTo>
                  <a:lnTo>
                    <a:pt x="3569" y="3457"/>
                  </a:lnTo>
                  <a:lnTo>
                    <a:pt x="1188" y="2123"/>
                  </a:lnTo>
                  <a:cubicBezTo>
                    <a:pt x="311"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80" name="îslïḍé">
              <a:extLst>
                <a:ext uri="{FF2B5EF4-FFF2-40B4-BE49-F238E27FC236}">
                  <a16:creationId xmlns:a16="http://schemas.microsoft.com/office/drawing/2014/main" id="{27F7D28B-2636-47A5-BC3F-FD044A2AB783}"/>
                </a:ext>
              </a:extLst>
            </p:cNvPr>
            <p:cNvSpPr/>
            <p:nvPr/>
          </p:nvSpPr>
          <p:spPr>
            <a:xfrm>
              <a:off x="5735223" y="5289705"/>
              <a:ext cx="109740" cy="63445"/>
            </a:xfrm>
            <a:custGeom>
              <a:avLst/>
              <a:gdLst>
                <a:gd name="connsiteX0" fmla="*/ -336 w 36052"/>
                <a:gd name="connsiteY0" fmla="*/ 10227 h 20843"/>
                <a:gd name="connsiteX1" fmla="*/ 1188 w 36052"/>
                <a:gd name="connsiteY1" fmla="*/ 12513 h 20843"/>
                <a:gd name="connsiteX2" fmla="*/ 3569 w 36052"/>
                <a:gd name="connsiteY2" fmla="*/ 13846 h 20843"/>
                <a:gd name="connsiteX3" fmla="*/ 13856 w 36052"/>
                <a:gd name="connsiteY3" fmla="*/ 19752 h 20843"/>
                <a:gd name="connsiteX4" fmla="*/ 21476 w 36052"/>
                <a:gd name="connsiteY4" fmla="*/ 19752 h 20843"/>
                <a:gd name="connsiteX5" fmla="*/ 31763 w 36052"/>
                <a:gd name="connsiteY5" fmla="*/ 13846 h 20843"/>
                <a:gd name="connsiteX6" fmla="*/ 34144 w 36052"/>
                <a:gd name="connsiteY6" fmla="*/ 12513 h 20843"/>
                <a:gd name="connsiteX7" fmla="*/ 35573 w 36052"/>
                <a:gd name="connsiteY7" fmla="*/ 9465 h 20843"/>
                <a:gd name="connsiteX8" fmla="*/ 34144 w 36052"/>
                <a:gd name="connsiteY8" fmla="*/ 8036 h 20843"/>
                <a:gd name="connsiteX9" fmla="*/ 21476 w 36052"/>
                <a:gd name="connsiteY9" fmla="*/ 702 h 20843"/>
                <a:gd name="connsiteX10" fmla="*/ 13856 w 36052"/>
                <a:gd name="connsiteY10" fmla="*/ 702 h 20843"/>
                <a:gd name="connsiteX11" fmla="*/ 1188 w 36052"/>
                <a:gd name="connsiteY11" fmla="*/ 8036 h 20843"/>
                <a:gd name="connsiteX12" fmla="*/ -336 w 36052"/>
                <a:gd name="connsiteY12" fmla="*/ 10227 h 20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3">
                  <a:moveTo>
                    <a:pt x="-336" y="10227"/>
                  </a:moveTo>
                  <a:cubicBezTo>
                    <a:pt x="-270" y="11208"/>
                    <a:pt x="311" y="12075"/>
                    <a:pt x="1188" y="12513"/>
                  </a:cubicBezTo>
                  <a:lnTo>
                    <a:pt x="3569" y="13846"/>
                  </a:lnTo>
                  <a:lnTo>
                    <a:pt x="13856" y="19752"/>
                  </a:lnTo>
                  <a:cubicBezTo>
                    <a:pt x="16247" y="20990"/>
                    <a:pt x="19085" y="20990"/>
                    <a:pt x="21476" y="19752"/>
                  </a:cubicBezTo>
                  <a:lnTo>
                    <a:pt x="31763" y="13846"/>
                  </a:lnTo>
                  <a:lnTo>
                    <a:pt x="34144" y="12513"/>
                  </a:lnTo>
                  <a:cubicBezTo>
                    <a:pt x="35382" y="12065"/>
                    <a:pt x="36020" y="10694"/>
                    <a:pt x="35573" y="9465"/>
                  </a:cubicBezTo>
                  <a:cubicBezTo>
                    <a:pt x="35325" y="8798"/>
                    <a:pt x="34811" y="8274"/>
                    <a:pt x="34144"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781" name="îṣlîḍè">
              <a:extLst>
                <a:ext uri="{FF2B5EF4-FFF2-40B4-BE49-F238E27FC236}">
                  <a16:creationId xmlns:a16="http://schemas.microsoft.com/office/drawing/2014/main" id="{A419EBA3-666B-4FE5-B4D0-839476ED0445}"/>
                </a:ext>
              </a:extLst>
            </p:cNvPr>
            <p:cNvSpPr/>
            <p:nvPr/>
          </p:nvSpPr>
          <p:spPr>
            <a:xfrm>
              <a:off x="5736818" y="5290889"/>
              <a:ext cx="105898" cy="61104"/>
            </a:xfrm>
            <a:custGeom>
              <a:avLst/>
              <a:gdLst>
                <a:gd name="connsiteX0" fmla="*/ 1235 w 34790"/>
                <a:gd name="connsiteY0" fmla="*/ 12029 h 20074"/>
                <a:gd name="connsiteX1" fmla="*/ 13332 w 34790"/>
                <a:gd name="connsiteY1" fmla="*/ 18983 h 20074"/>
                <a:gd name="connsiteX2" fmla="*/ 20761 w 34790"/>
                <a:gd name="connsiteY2" fmla="*/ 18983 h 20074"/>
                <a:gd name="connsiteX3" fmla="*/ 32953 w 34790"/>
                <a:gd name="connsiteY3" fmla="*/ 12029 h 20074"/>
                <a:gd name="connsiteX4" fmla="*/ 32953 w 34790"/>
                <a:gd name="connsiteY4" fmla="*/ 7743 h 20074"/>
                <a:gd name="connsiteX5" fmla="*/ 20761 w 34790"/>
                <a:gd name="connsiteY5" fmla="*/ 695 h 20074"/>
                <a:gd name="connsiteX6" fmla="*/ 13332 w 34790"/>
                <a:gd name="connsiteY6" fmla="*/ 695 h 20074"/>
                <a:gd name="connsiteX7" fmla="*/ 1235 w 34790"/>
                <a:gd name="connsiteY7" fmla="*/ 7743 h 20074"/>
                <a:gd name="connsiteX8" fmla="*/ 1235 w 34790"/>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4">
                  <a:moveTo>
                    <a:pt x="1235" y="12029"/>
                  </a:moveTo>
                  <a:lnTo>
                    <a:pt x="13332" y="18983"/>
                  </a:lnTo>
                  <a:cubicBezTo>
                    <a:pt x="15656" y="20221"/>
                    <a:pt x="18437" y="20221"/>
                    <a:pt x="20761" y="18983"/>
                  </a:cubicBezTo>
                  <a:lnTo>
                    <a:pt x="32953" y="12029"/>
                  </a:lnTo>
                  <a:cubicBezTo>
                    <a:pt x="34954" y="10791"/>
                    <a:pt x="34954" y="8886"/>
                    <a:pt x="32953" y="7743"/>
                  </a:cubicBezTo>
                  <a:lnTo>
                    <a:pt x="20761" y="695"/>
                  </a:lnTo>
                  <a:cubicBezTo>
                    <a:pt x="18418" y="-448"/>
                    <a:pt x="15675" y="-448"/>
                    <a:pt x="13332" y="695"/>
                  </a:cubicBezTo>
                  <a:lnTo>
                    <a:pt x="1235" y="7743"/>
                  </a:lnTo>
                  <a:cubicBezTo>
                    <a:pt x="-860" y="9362"/>
                    <a:pt x="-860" y="10791"/>
                    <a:pt x="1235" y="12029"/>
                  </a:cubicBezTo>
                  <a:close/>
                </a:path>
              </a:pathLst>
            </a:custGeom>
            <a:solidFill>
              <a:srgbClr val="D1D9E8"/>
            </a:solidFill>
            <a:ln w="9525" cap="flat">
              <a:noFill/>
              <a:prstDash val="solid"/>
              <a:miter/>
            </a:ln>
          </p:spPr>
          <p:txBody>
            <a:bodyPr rtlCol="0" anchor="ctr"/>
            <a:lstStyle/>
            <a:p>
              <a:endParaRPr lang="zh-CN" altLang="en-US"/>
            </a:p>
          </p:txBody>
        </p:sp>
        <p:sp>
          <p:nvSpPr>
            <p:cNvPr id="782" name="ïṩľïḑé">
              <a:extLst>
                <a:ext uri="{FF2B5EF4-FFF2-40B4-BE49-F238E27FC236}">
                  <a16:creationId xmlns:a16="http://schemas.microsoft.com/office/drawing/2014/main" id="{2FA2C075-7330-4BD4-AFA1-C4A750A28101}"/>
                </a:ext>
              </a:extLst>
            </p:cNvPr>
            <p:cNvSpPr/>
            <p:nvPr/>
          </p:nvSpPr>
          <p:spPr>
            <a:xfrm>
              <a:off x="5735223" y="5321332"/>
              <a:ext cx="109594" cy="53804"/>
            </a:xfrm>
            <a:custGeom>
              <a:avLst/>
              <a:gdLst>
                <a:gd name="connsiteX0" fmla="*/ -336 w 36004"/>
                <a:gd name="connsiteY0" fmla="*/ -163 h 17676"/>
                <a:gd name="connsiteX1" fmla="*/ -336 w 36004"/>
                <a:gd name="connsiteY1" fmla="*/ 7076 h 17676"/>
                <a:gd name="connsiteX2" fmla="*/ 1188 w 36004"/>
                <a:gd name="connsiteY2" fmla="*/ 9267 h 17676"/>
                <a:gd name="connsiteX3" fmla="*/ 13856 w 36004"/>
                <a:gd name="connsiteY3" fmla="*/ 16506 h 17676"/>
                <a:gd name="connsiteX4" fmla="*/ 21476 w 36004"/>
                <a:gd name="connsiteY4" fmla="*/ 16506 h 17676"/>
                <a:gd name="connsiteX5" fmla="*/ 34144 w 36004"/>
                <a:gd name="connsiteY5" fmla="*/ 9267 h 17676"/>
                <a:gd name="connsiteX6" fmla="*/ 35668 w 36004"/>
                <a:gd name="connsiteY6" fmla="*/ 6981 h 17676"/>
                <a:gd name="connsiteX7" fmla="*/ 35668 w 36004"/>
                <a:gd name="connsiteY7" fmla="*/ -163 h 17676"/>
                <a:gd name="connsiteX8" fmla="*/ 34144 w 36004"/>
                <a:gd name="connsiteY8" fmla="*/ 2124 h 17676"/>
                <a:gd name="connsiteX9" fmla="*/ 31763 w 36004"/>
                <a:gd name="connsiteY9" fmla="*/ 3457 h 17676"/>
                <a:gd name="connsiteX10" fmla="*/ 21476 w 36004"/>
                <a:gd name="connsiteY10" fmla="*/ 9362 h 17676"/>
                <a:gd name="connsiteX11" fmla="*/ 13856 w 36004"/>
                <a:gd name="connsiteY11" fmla="*/ 9362 h 17676"/>
                <a:gd name="connsiteX12" fmla="*/ 3569 w 36004"/>
                <a:gd name="connsiteY12" fmla="*/ 3457 h 17676"/>
                <a:gd name="connsiteX13" fmla="*/ 1188 w 36004"/>
                <a:gd name="connsiteY13" fmla="*/ 2124 h 17676"/>
                <a:gd name="connsiteX14" fmla="*/ -336 w 36004"/>
                <a:gd name="connsiteY14" fmla="*/ -163 h 17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6">
                  <a:moveTo>
                    <a:pt x="-336" y="-163"/>
                  </a:moveTo>
                  <a:lnTo>
                    <a:pt x="-336" y="7076"/>
                  </a:lnTo>
                  <a:cubicBezTo>
                    <a:pt x="-279" y="8029"/>
                    <a:pt x="311" y="8877"/>
                    <a:pt x="1188" y="9267"/>
                  </a:cubicBezTo>
                  <a:lnTo>
                    <a:pt x="13856" y="16506"/>
                  </a:lnTo>
                  <a:cubicBezTo>
                    <a:pt x="16218" y="17849"/>
                    <a:pt x="19114" y="17849"/>
                    <a:pt x="21476" y="16506"/>
                  </a:cubicBezTo>
                  <a:lnTo>
                    <a:pt x="34144" y="9267"/>
                  </a:lnTo>
                  <a:cubicBezTo>
                    <a:pt x="35049" y="8867"/>
                    <a:pt x="35640" y="7972"/>
                    <a:pt x="35668" y="6981"/>
                  </a:cubicBezTo>
                  <a:lnTo>
                    <a:pt x="35668" y="-163"/>
                  </a:lnTo>
                  <a:cubicBezTo>
                    <a:pt x="35602" y="819"/>
                    <a:pt x="35021" y="1685"/>
                    <a:pt x="34144" y="2124"/>
                  </a:cubicBezTo>
                  <a:lnTo>
                    <a:pt x="31763" y="3457"/>
                  </a:lnTo>
                  <a:lnTo>
                    <a:pt x="21476" y="9362"/>
                  </a:lnTo>
                  <a:cubicBezTo>
                    <a:pt x="19085" y="10601"/>
                    <a:pt x="16247" y="10601"/>
                    <a:pt x="13856" y="9362"/>
                  </a:cubicBezTo>
                  <a:lnTo>
                    <a:pt x="3569" y="3457"/>
                  </a:lnTo>
                  <a:lnTo>
                    <a:pt x="1188" y="2124"/>
                  </a:lnTo>
                  <a:cubicBezTo>
                    <a:pt x="311" y="1685"/>
                    <a:pt x="-270" y="819"/>
                    <a:pt x="-336" y="-163"/>
                  </a:cubicBezTo>
                  <a:close/>
                </a:path>
              </a:pathLst>
            </a:custGeom>
            <a:solidFill>
              <a:srgbClr val="BF4200"/>
            </a:solidFill>
            <a:ln w="9525" cap="flat">
              <a:noFill/>
              <a:prstDash val="solid"/>
              <a:miter/>
            </a:ln>
          </p:spPr>
          <p:txBody>
            <a:bodyPr rtlCol="0" anchor="ctr"/>
            <a:lstStyle/>
            <a:p>
              <a:endParaRPr lang="zh-CN" altLang="en-US"/>
            </a:p>
          </p:txBody>
        </p:sp>
        <p:sp>
          <p:nvSpPr>
            <p:cNvPr id="783" name="íşlídè">
              <a:extLst>
                <a:ext uri="{FF2B5EF4-FFF2-40B4-BE49-F238E27FC236}">
                  <a16:creationId xmlns:a16="http://schemas.microsoft.com/office/drawing/2014/main" id="{E3A65BA0-C3E1-4C3A-8966-C537DC70B9D7}"/>
                </a:ext>
              </a:extLst>
            </p:cNvPr>
            <p:cNvSpPr/>
            <p:nvPr/>
          </p:nvSpPr>
          <p:spPr>
            <a:xfrm>
              <a:off x="5812636" y="5334451"/>
              <a:ext cx="108202" cy="63588"/>
            </a:xfrm>
            <a:custGeom>
              <a:avLst/>
              <a:gdLst>
                <a:gd name="connsiteX0" fmla="*/ -336 w 35547"/>
                <a:gd name="connsiteY0" fmla="*/ 10291 h 20890"/>
                <a:gd name="connsiteX1" fmla="*/ 1187 w 35547"/>
                <a:gd name="connsiteY1" fmla="*/ 12482 h 20890"/>
                <a:gd name="connsiteX2" fmla="*/ 3569 w 35547"/>
                <a:gd name="connsiteY2" fmla="*/ 13911 h 20890"/>
                <a:gd name="connsiteX3" fmla="*/ 13856 w 35547"/>
                <a:gd name="connsiteY3" fmla="*/ 19721 h 20890"/>
                <a:gd name="connsiteX4" fmla="*/ 21476 w 35547"/>
                <a:gd name="connsiteY4" fmla="*/ 19721 h 20890"/>
                <a:gd name="connsiteX5" fmla="*/ 31382 w 35547"/>
                <a:gd name="connsiteY5" fmla="*/ 14101 h 20890"/>
                <a:gd name="connsiteX6" fmla="*/ 33763 w 35547"/>
                <a:gd name="connsiteY6" fmla="*/ 12672 h 20890"/>
                <a:gd name="connsiteX7" fmla="*/ 35020 w 35547"/>
                <a:gd name="connsiteY7" fmla="*/ 9548 h 20890"/>
                <a:gd name="connsiteX8" fmla="*/ 33763 w 35547"/>
                <a:gd name="connsiteY8" fmla="*/ 8291 h 20890"/>
                <a:gd name="connsiteX9" fmla="*/ 21857 w 35547"/>
                <a:gd name="connsiteY9" fmla="*/ 766 h 20890"/>
                <a:gd name="connsiteX10" fmla="*/ 14237 w 35547"/>
                <a:gd name="connsiteY10" fmla="*/ 766 h 20890"/>
                <a:gd name="connsiteX11" fmla="*/ 1568 w 35547"/>
                <a:gd name="connsiteY11" fmla="*/ 8100 h 20890"/>
                <a:gd name="connsiteX12" fmla="*/ -336 w 35547"/>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547" h="20890">
                  <a:moveTo>
                    <a:pt x="-336" y="10291"/>
                  </a:moveTo>
                  <a:cubicBezTo>
                    <a:pt x="-298" y="11253"/>
                    <a:pt x="292" y="12110"/>
                    <a:pt x="1187" y="12482"/>
                  </a:cubicBezTo>
                  <a:lnTo>
                    <a:pt x="3569" y="13911"/>
                  </a:lnTo>
                  <a:lnTo>
                    <a:pt x="13856" y="19721"/>
                  </a:lnTo>
                  <a:cubicBezTo>
                    <a:pt x="16218" y="21064"/>
                    <a:pt x="19114" y="21064"/>
                    <a:pt x="21476" y="19721"/>
                  </a:cubicBezTo>
                  <a:lnTo>
                    <a:pt x="31382" y="14101"/>
                  </a:lnTo>
                  <a:lnTo>
                    <a:pt x="33763" y="12672"/>
                  </a:lnTo>
                  <a:cubicBezTo>
                    <a:pt x="34973" y="12158"/>
                    <a:pt x="35535" y="10758"/>
                    <a:pt x="35020" y="9548"/>
                  </a:cubicBezTo>
                  <a:cubicBezTo>
                    <a:pt x="34782" y="8986"/>
                    <a:pt x="34325" y="8529"/>
                    <a:pt x="33763" y="8291"/>
                  </a:cubicBezTo>
                  <a:lnTo>
                    <a:pt x="21857" y="766"/>
                  </a:lnTo>
                  <a:cubicBezTo>
                    <a:pt x="19466" y="-472"/>
                    <a:pt x="16627" y="-472"/>
                    <a:pt x="14237" y="766"/>
                  </a:cubicBezTo>
                  <a:lnTo>
                    <a:pt x="1568" y="8100"/>
                  </a:lnTo>
                  <a:cubicBezTo>
                    <a:pt x="530" y="8338"/>
                    <a:pt x="-241" y="9224"/>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784" name="í$ľiḑé">
              <a:extLst>
                <a:ext uri="{FF2B5EF4-FFF2-40B4-BE49-F238E27FC236}">
                  <a16:creationId xmlns:a16="http://schemas.microsoft.com/office/drawing/2014/main" id="{11DBEB68-2D0A-42DB-8E1B-E47D7A5160E3}"/>
                </a:ext>
              </a:extLst>
            </p:cNvPr>
            <p:cNvSpPr/>
            <p:nvPr/>
          </p:nvSpPr>
          <p:spPr>
            <a:xfrm>
              <a:off x="5814521" y="5335611"/>
              <a:ext cx="105825" cy="61101"/>
            </a:xfrm>
            <a:custGeom>
              <a:avLst/>
              <a:gdLst>
                <a:gd name="connsiteX0" fmla="*/ 1235 w 34766"/>
                <a:gd name="connsiteY0" fmla="*/ 12006 h 20073"/>
                <a:gd name="connsiteX1" fmla="*/ 13332 w 34766"/>
                <a:gd name="connsiteY1" fmla="*/ 19054 h 20073"/>
                <a:gd name="connsiteX2" fmla="*/ 20762 w 34766"/>
                <a:gd name="connsiteY2" fmla="*/ 19054 h 20073"/>
                <a:gd name="connsiteX3" fmla="*/ 32858 w 34766"/>
                <a:gd name="connsiteY3" fmla="*/ 12006 h 20073"/>
                <a:gd name="connsiteX4" fmla="*/ 32858 w 34766"/>
                <a:gd name="connsiteY4" fmla="*/ 7719 h 20073"/>
                <a:gd name="connsiteX5" fmla="*/ 20762 w 34766"/>
                <a:gd name="connsiteY5" fmla="*/ 766 h 20073"/>
                <a:gd name="connsiteX6" fmla="*/ 13332 w 34766"/>
                <a:gd name="connsiteY6" fmla="*/ 766 h 20073"/>
                <a:gd name="connsiteX7" fmla="*/ 1235 w 34766"/>
                <a:gd name="connsiteY7" fmla="*/ 7719 h 20073"/>
                <a:gd name="connsiteX8" fmla="*/ 1235 w 34766"/>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6" h="20073">
                  <a:moveTo>
                    <a:pt x="1235" y="12006"/>
                  </a:moveTo>
                  <a:lnTo>
                    <a:pt x="13332" y="19054"/>
                  </a:lnTo>
                  <a:cubicBezTo>
                    <a:pt x="15675" y="20197"/>
                    <a:pt x="18419" y="20197"/>
                    <a:pt x="20762" y="19054"/>
                  </a:cubicBezTo>
                  <a:lnTo>
                    <a:pt x="32858" y="12006"/>
                  </a:lnTo>
                  <a:cubicBezTo>
                    <a:pt x="34954" y="10863"/>
                    <a:pt x="34954" y="8957"/>
                    <a:pt x="32858" y="7719"/>
                  </a:cubicBezTo>
                  <a:lnTo>
                    <a:pt x="20762" y="766"/>
                  </a:lnTo>
                  <a:cubicBezTo>
                    <a:pt x="18437" y="-472"/>
                    <a:pt x="15656" y="-472"/>
                    <a:pt x="13332" y="766"/>
                  </a:cubicBezTo>
                  <a:lnTo>
                    <a:pt x="1235" y="7719"/>
                  </a:lnTo>
                  <a:cubicBezTo>
                    <a:pt x="-860" y="8957"/>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785" name="îṧļîḑe">
              <a:extLst>
                <a:ext uri="{FF2B5EF4-FFF2-40B4-BE49-F238E27FC236}">
                  <a16:creationId xmlns:a16="http://schemas.microsoft.com/office/drawing/2014/main" id="{C5537C90-9E55-421D-BA35-C043D68A67DB}"/>
                </a:ext>
              </a:extLst>
            </p:cNvPr>
            <p:cNvSpPr/>
            <p:nvPr/>
          </p:nvSpPr>
          <p:spPr>
            <a:xfrm>
              <a:off x="5812591" y="5366272"/>
              <a:ext cx="109639" cy="53564"/>
            </a:xfrm>
            <a:custGeom>
              <a:avLst/>
              <a:gdLst>
                <a:gd name="connsiteX0" fmla="*/ -321 w 36019"/>
                <a:gd name="connsiteY0" fmla="*/ -163 h 17597"/>
                <a:gd name="connsiteX1" fmla="*/ -321 w 36019"/>
                <a:gd name="connsiteY1" fmla="*/ 7076 h 17597"/>
                <a:gd name="connsiteX2" fmla="*/ 1203 w 36019"/>
                <a:gd name="connsiteY2" fmla="*/ 9267 h 17597"/>
                <a:gd name="connsiteX3" fmla="*/ 13871 w 36019"/>
                <a:gd name="connsiteY3" fmla="*/ 16506 h 17597"/>
                <a:gd name="connsiteX4" fmla="*/ 21491 w 36019"/>
                <a:gd name="connsiteY4" fmla="*/ 16506 h 17597"/>
                <a:gd name="connsiteX5" fmla="*/ 34159 w 36019"/>
                <a:gd name="connsiteY5" fmla="*/ 9267 h 17597"/>
                <a:gd name="connsiteX6" fmla="*/ 35684 w 36019"/>
                <a:gd name="connsiteY6" fmla="*/ 6981 h 17597"/>
                <a:gd name="connsiteX7" fmla="*/ 35684 w 36019"/>
                <a:gd name="connsiteY7" fmla="*/ -163 h 17597"/>
                <a:gd name="connsiteX8" fmla="*/ 34159 w 36019"/>
                <a:gd name="connsiteY8" fmla="*/ 2028 h 17597"/>
                <a:gd name="connsiteX9" fmla="*/ 31397 w 36019"/>
                <a:gd name="connsiteY9" fmla="*/ 3647 h 17597"/>
                <a:gd name="connsiteX10" fmla="*/ 21110 w 36019"/>
                <a:gd name="connsiteY10" fmla="*/ 9457 h 17597"/>
                <a:gd name="connsiteX11" fmla="*/ 13490 w 36019"/>
                <a:gd name="connsiteY11" fmla="*/ 9457 h 17597"/>
                <a:gd name="connsiteX12" fmla="*/ 3203 w 36019"/>
                <a:gd name="connsiteY12" fmla="*/ 3647 h 17597"/>
                <a:gd name="connsiteX13" fmla="*/ 822 w 36019"/>
                <a:gd name="connsiteY13" fmla="*/ 2219 h 17597"/>
                <a:gd name="connsiteX14" fmla="*/ -321 w 3601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19" h="17597">
                  <a:moveTo>
                    <a:pt x="-321" y="-163"/>
                  </a:moveTo>
                  <a:lnTo>
                    <a:pt x="-321" y="7076"/>
                  </a:lnTo>
                  <a:cubicBezTo>
                    <a:pt x="-226" y="8019"/>
                    <a:pt x="355" y="8848"/>
                    <a:pt x="1203" y="9267"/>
                  </a:cubicBezTo>
                  <a:lnTo>
                    <a:pt x="13871" y="16506"/>
                  </a:lnTo>
                  <a:cubicBezTo>
                    <a:pt x="16262" y="17744"/>
                    <a:pt x="19101" y="17744"/>
                    <a:pt x="21491" y="16506"/>
                  </a:cubicBezTo>
                  <a:lnTo>
                    <a:pt x="34159" y="9267"/>
                  </a:lnTo>
                  <a:cubicBezTo>
                    <a:pt x="35026" y="8819"/>
                    <a:pt x="35598" y="7953"/>
                    <a:pt x="35684" y="6981"/>
                  </a:cubicBezTo>
                  <a:lnTo>
                    <a:pt x="35684" y="-163"/>
                  </a:lnTo>
                  <a:cubicBezTo>
                    <a:pt x="35645" y="799"/>
                    <a:pt x="35055" y="1656"/>
                    <a:pt x="34159" y="2028"/>
                  </a:cubicBezTo>
                  <a:lnTo>
                    <a:pt x="31397" y="3647"/>
                  </a:lnTo>
                  <a:lnTo>
                    <a:pt x="21110" y="9457"/>
                  </a:lnTo>
                  <a:cubicBezTo>
                    <a:pt x="18748" y="10801"/>
                    <a:pt x="15852" y="10801"/>
                    <a:pt x="13490" y="9457"/>
                  </a:cubicBezTo>
                  <a:lnTo>
                    <a:pt x="3203" y="3647"/>
                  </a:lnTo>
                  <a:lnTo>
                    <a:pt x="822" y="2219"/>
                  </a:lnTo>
                  <a:cubicBezTo>
                    <a:pt x="12" y="1714"/>
                    <a:pt x="-426" y="780"/>
                    <a:pt x="-321" y="-163"/>
                  </a:cubicBezTo>
                  <a:close/>
                </a:path>
              </a:pathLst>
            </a:custGeom>
            <a:solidFill>
              <a:srgbClr val="BF4200"/>
            </a:solidFill>
            <a:ln w="9525" cap="flat">
              <a:noFill/>
              <a:prstDash val="solid"/>
              <a:miter/>
            </a:ln>
          </p:spPr>
          <p:txBody>
            <a:bodyPr rtlCol="0" anchor="ctr"/>
            <a:lstStyle/>
            <a:p>
              <a:endParaRPr lang="zh-CN" altLang="en-US"/>
            </a:p>
          </p:txBody>
        </p:sp>
        <p:sp>
          <p:nvSpPr>
            <p:cNvPr id="786" name="iṣļîḋè">
              <a:extLst>
                <a:ext uri="{FF2B5EF4-FFF2-40B4-BE49-F238E27FC236}">
                  <a16:creationId xmlns:a16="http://schemas.microsoft.com/office/drawing/2014/main" id="{63566C68-D1FD-4277-A6E3-EF17EFE1B74B}"/>
                </a:ext>
              </a:extLst>
            </p:cNvPr>
            <p:cNvSpPr/>
            <p:nvPr/>
          </p:nvSpPr>
          <p:spPr>
            <a:xfrm>
              <a:off x="5889757" y="5379102"/>
              <a:ext cx="109450" cy="63350"/>
            </a:xfrm>
            <a:custGeom>
              <a:avLst/>
              <a:gdLst>
                <a:gd name="connsiteX0" fmla="*/ -336 w 35957"/>
                <a:gd name="connsiteY0" fmla="*/ 10196 h 20812"/>
                <a:gd name="connsiteX1" fmla="*/ 1188 w 35957"/>
                <a:gd name="connsiteY1" fmla="*/ 12482 h 20812"/>
                <a:gd name="connsiteX2" fmla="*/ 3569 w 35957"/>
                <a:gd name="connsiteY2" fmla="*/ 13815 h 20812"/>
                <a:gd name="connsiteX3" fmla="*/ 13761 w 35957"/>
                <a:gd name="connsiteY3" fmla="*/ 19721 h 20812"/>
                <a:gd name="connsiteX4" fmla="*/ 21476 w 35957"/>
                <a:gd name="connsiteY4" fmla="*/ 19721 h 20812"/>
                <a:gd name="connsiteX5" fmla="*/ 31763 w 35957"/>
                <a:gd name="connsiteY5" fmla="*/ 13815 h 20812"/>
                <a:gd name="connsiteX6" fmla="*/ 34049 w 35957"/>
                <a:gd name="connsiteY6" fmla="*/ 12482 h 20812"/>
                <a:gd name="connsiteX7" fmla="*/ 35478 w 35957"/>
                <a:gd name="connsiteY7" fmla="*/ 9434 h 20812"/>
                <a:gd name="connsiteX8" fmla="*/ 34049 w 35957"/>
                <a:gd name="connsiteY8" fmla="*/ 8005 h 20812"/>
                <a:gd name="connsiteX9" fmla="*/ 21476 w 35957"/>
                <a:gd name="connsiteY9" fmla="*/ 766 h 20812"/>
                <a:gd name="connsiteX10" fmla="*/ 13761 w 35957"/>
                <a:gd name="connsiteY10" fmla="*/ 766 h 20812"/>
                <a:gd name="connsiteX11" fmla="*/ 1188 w 35957"/>
                <a:gd name="connsiteY11" fmla="*/ 8005 h 20812"/>
                <a:gd name="connsiteX12" fmla="*/ -336 w 35957"/>
                <a:gd name="connsiteY12" fmla="*/ 10196 h 20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957" h="20812">
                  <a:moveTo>
                    <a:pt x="-336" y="10196"/>
                  </a:moveTo>
                  <a:cubicBezTo>
                    <a:pt x="-269" y="11177"/>
                    <a:pt x="312" y="12044"/>
                    <a:pt x="1188" y="12482"/>
                  </a:cubicBezTo>
                  <a:lnTo>
                    <a:pt x="3569" y="13815"/>
                  </a:lnTo>
                  <a:lnTo>
                    <a:pt x="13761" y="19721"/>
                  </a:lnTo>
                  <a:cubicBezTo>
                    <a:pt x="16180" y="20959"/>
                    <a:pt x="19057" y="20959"/>
                    <a:pt x="21476" y="19721"/>
                  </a:cubicBezTo>
                  <a:lnTo>
                    <a:pt x="31763" y="13815"/>
                  </a:lnTo>
                  <a:lnTo>
                    <a:pt x="34049" y="12482"/>
                  </a:lnTo>
                  <a:cubicBezTo>
                    <a:pt x="35287" y="12034"/>
                    <a:pt x="35925" y="10662"/>
                    <a:pt x="35478" y="9434"/>
                  </a:cubicBezTo>
                  <a:cubicBezTo>
                    <a:pt x="35230" y="8767"/>
                    <a:pt x="34716" y="8243"/>
                    <a:pt x="34049" y="8005"/>
                  </a:cubicBezTo>
                  <a:lnTo>
                    <a:pt x="21476" y="766"/>
                  </a:lnTo>
                  <a:cubicBezTo>
                    <a:pt x="19057" y="-472"/>
                    <a:pt x="16180" y="-472"/>
                    <a:pt x="13761" y="766"/>
                  </a:cubicBezTo>
                  <a:lnTo>
                    <a:pt x="1188" y="8005"/>
                  </a:lnTo>
                  <a:cubicBezTo>
                    <a:pt x="340" y="8424"/>
                    <a:pt x="-241" y="925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787" name="îŝļïdé">
              <a:extLst>
                <a:ext uri="{FF2B5EF4-FFF2-40B4-BE49-F238E27FC236}">
                  <a16:creationId xmlns:a16="http://schemas.microsoft.com/office/drawing/2014/main" id="{EFFC3D8F-9F4D-4ED2-99EE-199335A81C1E}"/>
                </a:ext>
              </a:extLst>
            </p:cNvPr>
            <p:cNvSpPr/>
            <p:nvPr/>
          </p:nvSpPr>
          <p:spPr>
            <a:xfrm>
              <a:off x="5891602" y="5380189"/>
              <a:ext cx="105618" cy="61174"/>
            </a:xfrm>
            <a:custGeom>
              <a:avLst/>
              <a:gdLst>
                <a:gd name="connsiteX0" fmla="*/ 1154 w 34698"/>
                <a:gd name="connsiteY0" fmla="*/ 12029 h 20097"/>
                <a:gd name="connsiteX1" fmla="*/ 13346 w 34698"/>
                <a:gd name="connsiteY1" fmla="*/ 19078 h 20097"/>
                <a:gd name="connsiteX2" fmla="*/ 20775 w 34698"/>
                <a:gd name="connsiteY2" fmla="*/ 19078 h 20097"/>
                <a:gd name="connsiteX3" fmla="*/ 32872 w 34698"/>
                <a:gd name="connsiteY3" fmla="*/ 12029 h 20097"/>
                <a:gd name="connsiteX4" fmla="*/ 34215 w 34698"/>
                <a:gd name="connsiteY4" fmla="*/ 9086 h 20097"/>
                <a:gd name="connsiteX5" fmla="*/ 32872 w 34698"/>
                <a:gd name="connsiteY5" fmla="*/ 7743 h 20097"/>
                <a:gd name="connsiteX6" fmla="*/ 20775 w 34698"/>
                <a:gd name="connsiteY6" fmla="*/ 695 h 20097"/>
                <a:gd name="connsiteX7" fmla="*/ 13346 w 34698"/>
                <a:gd name="connsiteY7" fmla="*/ 695 h 20097"/>
                <a:gd name="connsiteX8" fmla="*/ 1154 w 34698"/>
                <a:gd name="connsiteY8" fmla="*/ 7743 h 20097"/>
                <a:gd name="connsiteX9" fmla="*/ -189 w 34698"/>
                <a:gd name="connsiteY9" fmla="*/ 10686 h 20097"/>
                <a:gd name="connsiteX10" fmla="*/ 1154 w 34698"/>
                <a:gd name="connsiteY10" fmla="*/ 12029 h 20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698" h="20097">
                  <a:moveTo>
                    <a:pt x="1154" y="12029"/>
                  </a:moveTo>
                  <a:lnTo>
                    <a:pt x="13346" y="19078"/>
                  </a:lnTo>
                  <a:cubicBezTo>
                    <a:pt x="15689" y="20221"/>
                    <a:pt x="18432" y="20221"/>
                    <a:pt x="20775" y="19078"/>
                  </a:cubicBezTo>
                  <a:lnTo>
                    <a:pt x="32872" y="12029"/>
                  </a:lnTo>
                  <a:cubicBezTo>
                    <a:pt x="34053" y="11591"/>
                    <a:pt x="34663" y="10277"/>
                    <a:pt x="34215" y="9086"/>
                  </a:cubicBezTo>
                  <a:cubicBezTo>
                    <a:pt x="33987" y="8467"/>
                    <a:pt x="33491" y="7972"/>
                    <a:pt x="32872" y="7743"/>
                  </a:cubicBezTo>
                  <a:lnTo>
                    <a:pt x="20775" y="695"/>
                  </a:lnTo>
                  <a:cubicBezTo>
                    <a:pt x="18432" y="-448"/>
                    <a:pt x="15689" y="-448"/>
                    <a:pt x="13346" y="695"/>
                  </a:cubicBezTo>
                  <a:lnTo>
                    <a:pt x="1154" y="7743"/>
                  </a:lnTo>
                  <a:cubicBezTo>
                    <a:pt x="-27" y="8181"/>
                    <a:pt x="-637" y="9496"/>
                    <a:pt x="-189" y="10686"/>
                  </a:cubicBezTo>
                  <a:cubicBezTo>
                    <a:pt x="40" y="11305"/>
                    <a:pt x="525" y="11801"/>
                    <a:pt x="1154" y="12029"/>
                  </a:cubicBezTo>
                  <a:close/>
                </a:path>
              </a:pathLst>
            </a:custGeom>
            <a:solidFill>
              <a:srgbClr val="D1D9E8"/>
            </a:solidFill>
            <a:ln w="9525" cap="flat">
              <a:noFill/>
              <a:prstDash val="solid"/>
              <a:miter/>
            </a:ln>
          </p:spPr>
          <p:txBody>
            <a:bodyPr rtlCol="0" anchor="ctr"/>
            <a:lstStyle/>
            <a:p>
              <a:endParaRPr lang="zh-CN" altLang="en-US"/>
            </a:p>
          </p:txBody>
        </p:sp>
        <p:sp>
          <p:nvSpPr>
            <p:cNvPr id="788" name="ïṣḻïdé">
              <a:extLst>
                <a:ext uri="{FF2B5EF4-FFF2-40B4-BE49-F238E27FC236}">
                  <a16:creationId xmlns:a16="http://schemas.microsoft.com/office/drawing/2014/main" id="{5C282766-58CD-4819-880B-9FFB23DE5FC5}"/>
                </a:ext>
              </a:extLst>
            </p:cNvPr>
            <p:cNvSpPr/>
            <p:nvPr/>
          </p:nvSpPr>
          <p:spPr>
            <a:xfrm>
              <a:off x="5889757" y="5410631"/>
              <a:ext cx="109594" cy="53801"/>
            </a:xfrm>
            <a:custGeom>
              <a:avLst/>
              <a:gdLst>
                <a:gd name="connsiteX0" fmla="*/ -336 w 36004"/>
                <a:gd name="connsiteY0" fmla="*/ -163 h 17675"/>
                <a:gd name="connsiteX1" fmla="*/ -336 w 36004"/>
                <a:gd name="connsiteY1" fmla="*/ 7076 h 17675"/>
                <a:gd name="connsiteX2" fmla="*/ 1188 w 36004"/>
                <a:gd name="connsiteY2" fmla="*/ 9267 h 17675"/>
                <a:gd name="connsiteX3" fmla="*/ 13761 w 36004"/>
                <a:gd name="connsiteY3" fmla="*/ 16506 h 17675"/>
                <a:gd name="connsiteX4" fmla="*/ 21476 w 36004"/>
                <a:gd name="connsiteY4" fmla="*/ 16506 h 17675"/>
                <a:gd name="connsiteX5" fmla="*/ 34049 w 36004"/>
                <a:gd name="connsiteY5" fmla="*/ 9267 h 17675"/>
                <a:gd name="connsiteX6" fmla="*/ 35668 w 36004"/>
                <a:gd name="connsiteY6" fmla="*/ 7076 h 17675"/>
                <a:gd name="connsiteX7" fmla="*/ 35668 w 36004"/>
                <a:gd name="connsiteY7" fmla="*/ -163 h 17675"/>
                <a:gd name="connsiteX8" fmla="*/ 34049 w 36004"/>
                <a:gd name="connsiteY8" fmla="*/ 2123 h 17675"/>
                <a:gd name="connsiteX9" fmla="*/ 31763 w 36004"/>
                <a:gd name="connsiteY9" fmla="*/ 3457 h 17675"/>
                <a:gd name="connsiteX10" fmla="*/ 21476 w 36004"/>
                <a:gd name="connsiteY10" fmla="*/ 9362 h 17675"/>
                <a:gd name="connsiteX11" fmla="*/ 13761 w 36004"/>
                <a:gd name="connsiteY11" fmla="*/ 9362 h 17675"/>
                <a:gd name="connsiteX12" fmla="*/ 3569 w 36004"/>
                <a:gd name="connsiteY12" fmla="*/ 3457 h 17675"/>
                <a:gd name="connsiteX13" fmla="*/ 1188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79" y="8038"/>
                    <a:pt x="312" y="8877"/>
                    <a:pt x="1188" y="9267"/>
                  </a:cubicBezTo>
                  <a:lnTo>
                    <a:pt x="13761" y="16506"/>
                  </a:lnTo>
                  <a:cubicBezTo>
                    <a:pt x="16161" y="17849"/>
                    <a:pt x="19076" y="17849"/>
                    <a:pt x="21476" y="16506"/>
                  </a:cubicBezTo>
                  <a:lnTo>
                    <a:pt x="34049" y="9267"/>
                  </a:lnTo>
                  <a:cubicBezTo>
                    <a:pt x="34964" y="8905"/>
                    <a:pt x="35592" y="8058"/>
                    <a:pt x="35668" y="7076"/>
                  </a:cubicBezTo>
                  <a:lnTo>
                    <a:pt x="35668" y="-163"/>
                  </a:lnTo>
                  <a:cubicBezTo>
                    <a:pt x="35602" y="847"/>
                    <a:pt x="34973" y="1733"/>
                    <a:pt x="34049" y="2123"/>
                  </a:cubicBezTo>
                  <a:lnTo>
                    <a:pt x="31763" y="3457"/>
                  </a:lnTo>
                  <a:lnTo>
                    <a:pt x="21476" y="9362"/>
                  </a:lnTo>
                  <a:cubicBezTo>
                    <a:pt x="19057" y="10601"/>
                    <a:pt x="16180" y="10601"/>
                    <a:pt x="13761" y="9362"/>
                  </a:cubicBezTo>
                  <a:lnTo>
                    <a:pt x="3569" y="3457"/>
                  </a:lnTo>
                  <a:lnTo>
                    <a:pt x="1188" y="2123"/>
                  </a:lnTo>
                  <a:cubicBezTo>
                    <a:pt x="312"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89" name="îś1ïḍe">
              <a:extLst>
                <a:ext uri="{FF2B5EF4-FFF2-40B4-BE49-F238E27FC236}">
                  <a16:creationId xmlns:a16="http://schemas.microsoft.com/office/drawing/2014/main" id="{DE082C42-174D-4580-ACD5-0752B0C76AFA}"/>
                </a:ext>
              </a:extLst>
            </p:cNvPr>
            <p:cNvSpPr/>
            <p:nvPr/>
          </p:nvSpPr>
          <p:spPr>
            <a:xfrm>
              <a:off x="5997905" y="5423656"/>
              <a:ext cx="78716" cy="45467"/>
            </a:xfrm>
            <a:custGeom>
              <a:avLst/>
              <a:gdLst>
                <a:gd name="connsiteX0" fmla="*/ -336 w 25860"/>
                <a:gd name="connsiteY0" fmla="*/ 4321 h 14937"/>
                <a:gd name="connsiteX1" fmla="*/ 1283 w 25860"/>
                <a:gd name="connsiteY1" fmla="*/ 6607 h 14937"/>
                <a:gd name="connsiteX2" fmla="*/ 3569 w 25860"/>
                <a:gd name="connsiteY2" fmla="*/ 7941 h 14937"/>
                <a:gd name="connsiteX3" fmla="*/ 13856 w 25860"/>
                <a:gd name="connsiteY3" fmla="*/ 13846 h 14937"/>
                <a:gd name="connsiteX4" fmla="*/ 21571 w 25860"/>
                <a:gd name="connsiteY4" fmla="*/ 13846 h 14937"/>
                <a:gd name="connsiteX5" fmla="*/ 21571 w 25860"/>
                <a:gd name="connsiteY5" fmla="*/ 13846 h 14937"/>
                <a:gd name="connsiteX6" fmla="*/ 23952 w 25860"/>
                <a:gd name="connsiteY6" fmla="*/ 12513 h 14937"/>
                <a:gd name="connsiteX7" fmla="*/ 25381 w 25860"/>
                <a:gd name="connsiteY7" fmla="*/ 9465 h 14937"/>
                <a:gd name="connsiteX8" fmla="*/ 23952 w 25860"/>
                <a:gd name="connsiteY8" fmla="*/ 8036 h 14937"/>
                <a:gd name="connsiteX9" fmla="*/ 11284 w 25860"/>
                <a:gd name="connsiteY9" fmla="*/ 702 h 14937"/>
                <a:gd name="connsiteX10" fmla="*/ 3664 w 25860"/>
                <a:gd name="connsiteY10" fmla="*/ 702 h 14937"/>
                <a:gd name="connsiteX11" fmla="*/ 1283 w 25860"/>
                <a:gd name="connsiteY11" fmla="*/ 2130 h 14937"/>
                <a:gd name="connsiteX12" fmla="*/ -336 w 25860"/>
                <a:gd name="connsiteY12" fmla="*/ 4321 h 149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5860" h="14937">
                  <a:moveTo>
                    <a:pt x="-336" y="4321"/>
                  </a:moveTo>
                  <a:cubicBezTo>
                    <a:pt x="-231" y="5312"/>
                    <a:pt x="378" y="6178"/>
                    <a:pt x="1283" y="6607"/>
                  </a:cubicBezTo>
                  <a:lnTo>
                    <a:pt x="3569" y="7941"/>
                  </a:lnTo>
                  <a:lnTo>
                    <a:pt x="13856" y="13846"/>
                  </a:lnTo>
                  <a:cubicBezTo>
                    <a:pt x="16275" y="15084"/>
                    <a:pt x="19152" y="15084"/>
                    <a:pt x="21571" y="13846"/>
                  </a:cubicBezTo>
                  <a:lnTo>
                    <a:pt x="21571" y="13846"/>
                  </a:lnTo>
                  <a:lnTo>
                    <a:pt x="23952" y="12513"/>
                  </a:lnTo>
                  <a:cubicBezTo>
                    <a:pt x="25191" y="12065"/>
                    <a:pt x="25829" y="10693"/>
                    <a:pt x="25381" y="9465"/>
                  </a:cubicBezTo>
                  <a:cubicBezTo>
                    <a:pt x="25134" y="8798"/>
                    <a:pt x="24619" y="8274"/>
                    <a:pt x="23952" y="8036"/>
                  </a:cubicBezTo>
                  <a:lnTo>
                    <a:pt x="11284" y="702"/>
                  </a:lnTo>
                  <a:cubicBezTo>
                    <a:pt x="8874" y="-451"/>
                    <a:pt x="6074" y="-451"/>
                    <a:pt x="3664" y="702"/>
                  </a:cubicBezTo>
                  <a:lnTo>
                    <a:pt x="1283" y="2130"/>
                  </a:lnTo>
                  <a:cubicBezTo>
                    <a:pt x="397" y="2521"/>
                    <a:pt x="-222" y="3359"/>
                    <a:pt x="-336" y="4321"/>
                  </a:cubicBezTo>
                  <a:close/>
                </a:path>
              </a:pathLst>
            </a:custGeom>
            <a:solidFill>
              <a:srgbClr val="FFFFFF"/>
            </a:solidFill>
            <a:ln w="9525" cap="flat">
              <a:noFill/>
              <a:prstDash val="solid"/>
              <a:miter/>
            </a:ln>
          </p:spPr>
          <p:txBody>
            <a:bodyPr rtlCol="0" anchor="ctr"/>
            <a:lstStyle/>
            <a:p>
              <a:endParaRPr lang="zh-CN" altLang="en-US"/>
            </a:p>
          </p:txBody>
        </p:sp>
        <p:sp>
          <p:nvSpPr>
            <p:cNvPr id="790" name="iṥ1îdé">
              <a:extLst>
                <a:ext uri="{FF2B5EF4-FFF2-40B4-BE49-F238E27FC236}">
                  <a16:creationId xmlns:a16="http://schemas.microsoft.com/office/drawing/2014/main" id="{36FA47B0-500F-4D49-980E-6E2BA962E36C}"/>
                </a:ext>
              </a:extLst>
            </p:cNvPr>
            <p:cNvSpPr/>
            <p:nvPr/>
          </p:nvSpPr>
          <p:spPr>
            <a:xfrm>
              <a:off x="6000005" y="5424837"/>
              <a:ext cx="74585" cy="42910"/>
            </a:xfrm>
            <a:custGeom>
              <a:avLst/>
              <a:gdLst>
                <a:gd name="connsiteX0" fmla="*/ 1164 w 24503"/>
                <a:gd name="connsiteY0" fmla="*/ 6029 h 14097"/>
                <a:gd name="connsiteX1" fmla="*/ 13261 w 24503"/>
                <a:gd name="connsiteY1" fmla="*/ 13077 h 14097"/>
                <a:gd name="connsiteX2" fmla="*/ 20690 w 24503"/>
                <a:gd name="connsiteY2" fmla="*/ 13077 h 14097"/>
                <a:gd name="connsiteX3" fmla="*/ 22595 w 24503"/>
                <a:gd name="connsiteY3" fmla="*/ 12029 h 14097"/>
                <a:gd name="connsiteX4" fmla="*/ 22595 w 24503"/>
                <a:gd name="connsiteY4" fmla="*/ 7743 h 14097"/>
                <a:gd name="connsiteX5" fmla="*/ 10498 w 24503"/>
                <a:gd name="connsiteY5" fmla="*/ 695 h 14097"/>
                <a:gd name="connsiteX6" fmla="*/ 3069 w 24503"/>
                <a:gd name="connsiteY6" fmla="*/ 695 h 14097"/>
                <a:gd name="connsiteX7" fmla="*/ 1164 w 24503"/>
                <a:gd name="connsiteY7" fmla="*/ 1742 h 14097"/>
                <a:gd name="connsiteX8" fmla="*/ 1164 w 24503"/>
                <a:gd name="connsiteY8" fmla="*/ 6029 h 14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503" h="14097">
                  <a:moveTo>
                    <a:pt x="1164" y="6029"/>
                  </a:moveTo>
                  <a:lnTo>
                    <a:pt x="13261" y="13077"/>
                  </a:lnTo>
                  <a:cubicBezTo>
                    <a:pt x="15604" y="14220"/>
                    <a:pt x="18347" y="14220"/>
                    <a:pt x="20690" y="13077"/>
                  </a:cubicBezTo>
                  <a:lnTo>
                    <a:pt x="22595" y="12029"/>
                  </a:lnTo>
                  <a:cubicBezTo>
                    <a:pt x="24691" y="10791"/>
                    <a:pt x="24691" y="8886"/>
                    <a:pt x="22595" y="7743"/>
                  </a:cubicBezTo>
                  <a:lnTo>
                    <a:pt x="10498" y="695"/>
                  </a:lnTo>
                  <a:cubicBezTo>
                    <a:pt x="8155" y="-448"/>
                    <a:pt x="5412" y="-448"/>
                    <a:pt x="3069" y="695"/>
                  </a:cubicBezTo>
                  <a:lnTo>
                    <a:pt x="1164" y="1742"/>
                  </a:lnTo>
                  <a:cubicBezTo>
                    <a:pt x="-836" y="3457"/>
                    <a:pt x="-836" y="4886"/>
                    <a:pt x="1164" y="6029"/>
                  </a:cubicBezTo>
                  <a:close/>
                </a:path>
              </a:pathLst>
            </a:custGeom>
            <a:solidFill>
              <a:srgbClr val="D1D9E8"/>
            </a:solidFill>
            <a:ln w="9525" cap="flat">
              <a:noFill/>
              <a:prstDash val="solid"/>
              <a:miter/>
            </a:ln>
          </p:spPr>
          <p:txBody>
            <a:bodyPr rtlCol="0" anchor="ctr"/>
            <a:lstStyle/>
            <a:p>
              <a:endParaRPr lang="zh-CN" altLang="en-US"/>
            </a:p>
          </p:txBody>
        </p:sp>
        <p:sp>
          <p:nvSpPr>
            <p:cNvPr id="791" name="î$ḷíďê">
              <a:extLst>
                <a:ext uri="{FF2B5EF4-FFF2-40B4-BE49-F238E27FC236}">
                  <a16:creationId xmlns:a16="http://schemas.microsoft.com/office/drawing/2014/main" id="{CCC638CA-300F-42BE-9FF5-B85462D88B9A}"/>
                </a:ext>
              </a:extLst>
            </p:cNvPr>
            <p:cNvSpPr/>
            <p:nvPr/>
          </p:nvSpPr>
          <p:spPr>
            <a:xfrm>
              <a:off x="5997905" y="5437305"/>
              <a:ext cx="78570" cy="53564"/>
            </a:xfrm>
            <a:custGeom>
              <a:avLst/>
              <a:gdLst>
                <a:gd name="connsiteX0" fmla="*/ -336 w 25812"/>
                <a:gd name="connsiteY0" fmla="*/ -163 h 17597"/>
                <a:gd name="connsiteX1" fmla="*/ -336 w 25812"/>
                <a:gd name="connsiteY1" fmla="*/ 7076 h 17597"/>
                <a:gd name="connsiteX2" fmla="*/ 1283 w 25812"/>
                <a:gd name="connsiteY2" fmla="*/ 9267 h 17597"/>
                <a:gd name="connsiteX3" fmla="*/ 13856 w 25812"/>
                <a:gd name="connsiteY3" fmla="*/ 16506 h 17597"/>
                <a:gd name="connsiteX4" fmla="*/ 21571 w 25812"/>
                <a:gd name="connsiteY4" fmla="*/ 16506 h 17597"/>
                <a:gd name="connsiteX5" fmla="*/ 23952 w 25812"/>
                <a:gd name="connsiteY5" fmla="*/ 15173 h 17597"/>
                <a:gd name="connsiteX6" fmla="*/ 25476 w 25812"/>
                <a:gd name="connsiteY6" fmla="*/ 12887 h 17597"/>
                <a:gd name="connsiteX7" fmla="*/ 25476 w 25812"/>
                <a:gd name="connsiteY7" fmla="*/ 5743 h 17597"/>
                <a:gd name="connsiteX8" fmla="*/ 23952 w 25812"/>
                <a:gd name="connsiteY8" fmla="*/ 8029 h 17597"/>
                <a:gd name="connsiteX9" fmla="*/ 21571 w 25812"/>
                <a:gd name="connsiteY9" fmla="*/ 9362 h 17597"/>
                <a:gd name="connsiteX10" fmla="*/ 21571 w 25812"/>
                <a:gd name="connsiteY10" fmla="*/ 9362 h 17597"/>
                <a:gd name="connsiteX11" fmla="*/ 13856 w 25812"/>
                <a:gd name="connsiteY11" fmla="*/ 9362 h 17597"/>
                <a:gd name="connsiteX12" fmla="*/ 3569 w 25812"/>
                <a:gd name="connsiteY12" fmla="*/ 3457 h 17597"/>
                <a:gd name="connsiteX13" fmla="*/ 1283 w 25812"/>
                <a:gd name="connsiteY13" fmla="*/ 2124 h 17597"/>
                <a:gd name="connsiteX14" fmla="*/ -336 w 25812"/>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5812" h="17597">
                  <a:moveTo>
                    <a:pt x="-336" y="-163"/>
                  </a:moveTo>
                  <a:lnTo>
                    <a:pt x="-336" y="7076"/>
                  </a:lnTo>
                  <a:cubicBezTo>
                    <a:pt x="-203" y="8029"/>
                    <a:pt x="407" y="8858"/>
                    <a:pt x="1283" y="9267"/>
                  </a:cubicBezTo>
                  <a:lnTo>
                    <a:pt x="13856" y="16506"/>
                  </a:lnTo>
                  <a:cubicBezTo>
                    <a:pt x="16275" y="17744"/>
                    <a:pt x="19152" y="17744"/>
                    <a:pt x="21571" y="16506"/>
                  </a:cubicBezTo>
                  <a:lnTo>
                    <a:pt x="23952" y="15173"/>
                  </a:lnTo>
                  <a:cubicBezTo>
                    <a:pt x="24819" y="14725"/>
                    <a:pt x="25391" y="13858"/>
                    <a:pt x="25476" y="12887"/>
                  </a:cubicBezTo>
                  <a:lnTo>
                    <a:pt x="25476" y="5743"/>
                  </a:lnTo>
                  <a:cubicBezTo>
                    <a:pt x="25410" y="6724"/>
                    <a:pt x="24829" y="7591"/>
                    <a:pt x="23952" y="8029"/>
                  </a:cubicBezTo>
                  <a:lnTo>
                    <a:pt x="21571" y="9362"/>
                  </a:lnTo>
                  <a:lnTo>
                    <a:pt x="21571" y="9362"/>
                  </a:lnTo>
                  <a:cubicBezTo>
                    <a:pt x="19152" y="10601"/>
                    <a:pt x="16275" y="10601"/>
                    <a:pt x="13856" y="9362"/>
                  </a:cubicBezTo>
                  <a:lnTo>
                    <a:pt x="3569" y="3457"/>
                  </a:lnTo>
                  <a:lnTo>
                    <a:pt x="1283" y="2124"/>
                  </a:lnTo>
                  <a:cubicBezTo>
                    <a:pt x="378" y="1695"/>
                    <a:pt x="-231"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92" name="iṧḷïḓè">
              <a:extLst>
                <a:ext uri="{FF2B5EF4-FFF2-40B4-BE49-F238E27FC236}">
                  <a16:creationId xmlns:a16="http://schemas.microsoft.com/office/drawing/2014/main" id="{F5E83523-9450-49B7-91EB-01D2E70E1E39}"/>
                </a:ext>
              </a:extLst>
            </p:cNvPr>
            <p:cNvSpPr/>
            <p:nvPr/>
          </p:nvSpPr>
          <p:spPr>
            <a:xfrm>
              <a:off x="5967170" y="5441436"/>
              <a:ext cx="78603" cy="45902"/>
            </a:xfrm>
            <a:custGeom>
              <a:avLst/>
              <a:gdLst>
                <a:gd name="connsiteX0" fmla="*/ -336 w 25823"/>
                <a:gd name="connsiteY0" fmla="*/ 4386 h 15080"/>
                <a:gd name="connsiteX1" fmla="*/ 1283 w 25823"/>
                <a:gd name="connsiteY1" fmla="*/ 6672 h 15080"/>
                <a:gd name="connsiteX2" fmla="*/ 3569 w 25823"/>
                <a:gd name="connsiteY2" fmla="*/ 8005 h 15080"/>
                <a:gd name="connsiteX3" fmla="*/ 13856 w 25823"/>
                <a:gd name="connsiteY3" fmla="*/ 13911 h 15080"/>
                <a:gd name="connsiteX4" fmla="*/ 21571 w 25823"/>
                <a:gd name="connsiteY4" fmla="*/ 13911 h 15080"/>
                <a:gd name="connsiteX5" fmla="*/ 21571 w 25823"/>
                <a:gd name="connsiteY5" fmla="*/ 13911 h 15080"/>
                <a:gd name="connsiteX6" fmla="*/ 23857 w 25823"/>
                <a:gd name="connsiteY6" fmla="*/ 12482 h 15080"/>
                <a:gd name="connsiteX7" fmla="*/ 25391 w 25823"/>
                <a:gd name="connsiteY7" fmla="*/ 9634 h 15080"/>
                <a:gd name="connsiteX8" fmla="*/ 23857 w 25823"/>
                <a:gd name="connsiteY8" fmla="*/ 8100 h 15080"/>
                <a:gd name="connsiteX9" fmla="*/ 11284 w 25823"/>
                <a:gd name="connsiteY9" fmla="*/ 766 h 15080"/>
                <a:gd name="connsiteX10" fmla="*/ 3569 w 25823"/>
                <a:gd name="connsiteY10" fmla="*/ 766 h 15080"/>
                <a:gd name="connsiteX11" fmla="*/ 1283 w 25823"/>
                <a:gd name="connsiteY11" fmla="*/ 2099 h 15080"/>
                <a:gd name="connsiteX12" fmla="*/ -336 w 25823"/>
                <a:gd name="connsiteY12" fmla="*/ 4386 h 15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5823" h="15080">
                  <a:moveTo>
                    <a:pt x="-336" y="4386"/>
                  </a:moveTo>
                  <a:cubicBezTo>
                    <a:pt x="-298" y="5405"/>
                    <a:pt x="340" y="6300"/>
                    <a:pt x="1283" y="6672"/>
                  </a:cubicBezTo>
                  <a:lnTo>
                    <a:pt x="3569" y="8005"/>
                  </a:lnTo>
                  <a:lnTo>
                    <a:pt x="13856" y="13911"/>
                  </a:lnTo>
                  <a:cubicBezTo>
                    <a:pt x="16256" y="15254"/>
                    <a:pt x="19171" y="15254"/>
                    <a:pt x="21571" y="13911"/>
                  </a:cubicBezTo>
                  <a:lnTo>
                    <a:pt x="21571" y="13911"/>
                  </a:lnTo>
                  <a:lnTo>
                    <a:pt x="23857" y="12482"/>
                  </a:lnTo>
                  <a:cubicBezTo>
                    <a:pt x="25067" y="12120"/>
                    <a:pt x="25753" y="10843"/>
                    <a:pt x="25391" y="9634"/>
                  </a:cubicBezTo>
                  <a:cubicBezTo>
                    <a:pt x="25172" y="8900"/>
                    <a:pt x="24600" y="8319"/>
                    <a:pt x="23857" y="8100"/>
                  </a:cubicBezTo>
                  <a:lnTo>
                    <a:pt x="11284" y="766"/>
                  </a:lnTo>
                  <a:cubicBezTo>
                    <a:pt x="8865" y="-472"/>
                    <a:pt x="5988" y="-472"/>
                    <a:pt x="3569" y="766"/>
                  </a:cubicBezTo>
                  <a:lnTo>
                    <a:pt x="1283" y="2099"/>
                  </a:lnTo>
                  <a:cubicBezTo>
                    <a:pt x="359" y="2490"/>
                    <a:pt x="-270" y="3376"/>
                    <a:pt x="-336" y="4386"/>
                  </a:cubicBezTo>
                  <a:close/>
                </a:path>
              </a:pathLst>
            </a:custGeom>
            <a:solidFill>
              <a:srgbClr val="FFFFFF"/>
            </a:solidFill>
            <a:ln w="9525" cap="flat">
              <a:noFill/>
              <a:prstDash val="solid"/>
              <a:miter/>
            </a:ln>
          </p:spPr>
          <p:txBody>
            <a:bodyPr rtlCol="0" anchor="ctr"/>
            <a:lstStyle/>
            <a:p>
              <a:endParaRPr lang="zh-CN" altLang="en-US"/>
            </a:p>
          </p:txBody>
        </p:sp>
        <p:sp>
          <p:nvSpPr>
            <p:cNvPr id="793" name="ïṣ1ïdê">
              <a:extLst>
                <a:ext uri="{FF2B5EF4-FFF2-40B4-BE49-F238E27FC236}">
                  <a16:creationId xmlns:a16="http://schemas.microsoft.com/office/drawing/2014/main" id="{B6893468-5703-4826-B42C-C3CC0145243B}"/>
                </a:ext>
              </a:extLst>
            </p:cNvPr>
            <p:cNvSpPr/>
            <p:nvPr/>
          </p:nvSpPr>
          <p:spPr>
            <a:xfrm>
              <a:off x="5968692" y="5442885"/>
              <a:ext cx="74585" cy="43126"/>
            </a:xfrm>
            <a:custGeom>
              <a:avLst/>
              <a:gdLst>
                <a:gd name="connsiteX0" fmla="*/ 1164 w 24503"/>
                <a:gd name="connsiteY0" fmla="*/ 6100 h 14168"/>
                <a:gd name="connsiteX1" fmla="*/ 13261 w 24503"/>
                <a:gd name="connsiteY1" fmla="*/ 13149 h 14168"/>
                <a:gd name="connsiteX2" fmla="*/ 20690 w 24503"/>
                <a:gd name="connsiteY2" fmla="*/ 13149 h 14168"/>
                <a:gd name="connsiteX3" fmla="*/ 22595 w 24503"/>
                <a:gd name="connsiteY3" fmla="*/ 12006 h 14168"/>
                <a:gd name="connsiteX4" fmla="*/ 22595 w 24503"/>
                <a:gd name="connsiteY4" fmla="*/ 7719 h 14168"/>
                <a:gd name="connsiteX5" fmla="*/ 10498 w 24503"/>
                <a:gd name="connsiteY5" fmla="*/ 766 h 14168"/>
                <a:gd name="connsiteX6" fmla="*/ 3069 w 24503"/>
                <a:gd name="connsiteY6" fmla="*/ 766 h 14168"/>
                <a:gd name="connsiteX7" fmla="*/ 1164 w 24503"/>
                <a:gd name="connsiteY7" fmla="*/ 1814 h 14168"/>
                <a:gd name="connsiteX8" fmla="*/ 1164 w 24503"/>
                <a:gd name="connsiteY8" fmla="*/ 6100 h 14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503" h="14168">
                  <a:moveTo>
                    <a:pt x="1164" y="6100"/>
                  </a:moveTo>
                  <a:lnTo>
                    <a:pt x="13261" y="13149"/>
                  </a:lnTo>
                  <a:cubicBezTo>
                    <a:pt x="15604" y="14292"/>
                    <a:pt x="18347" y="14292"/>
                    <a:pt x="20690" y="13149"/>
                  </a:cubicBezTo>
                  <a:lnTo>
                    <a:pt x="22595" y="12006"/>
                  </a:lnTo>
                  <a:cubicBezTo>
                    <a:pt x="24691" y="10863"/>
                    <a:pt x="24691" y="8958"/>
                    <a:pt x="22595" y="7719"/>
                  </a:cubicBezTo>
                  <a:lnTo>
                    <a:pt x="10498" y="766"/>
                  </a:lnTo>
                  <a:cubicBezTo>
                    <a:pt x="8174" y="-472"/>
                    <a:pt x="5393" y="-472"/>
                    <a:pt x="3069" y="766"/>
                  </a:cubicBezTo>
                  <a:lnTo>
                    <a:pt x="1164" y="1814"/>
                  </a:lnTo>
                  <a:cubicBezTo>
                    <a:pt x="-836" y="3052"/>
                    <a:pt x="-836" y="4957"/>
                    <a:pt x="1164" y="6100"/>
                  </a:cubicBezTo>
                  <a:close/>
                </a:path>
              </a:pathLst>
            </a:custGeom>
            <a:solidFill>
              <a:srgbClr val="D1D9E8"/>
            </a:solidFill>
            <a:ln w="9525" cap="flat">
              <a:noFill/>
              <a:prstDash val="solid"/>
              <a:miter/>
            </a:ln>
          </p:spPr>
          <p:txBody>
            <a:bodyPr rtlCol="0" anchor="ctr"/>
            <a:lstStyle/>
            <a:p>
              <a:endParaRPr lang="zh-CN" altLang="en-US"/>
            </a:p>
          </p:txBody>
        </p:sp>
        <p:sp>
          <p:nvSpPr>
            <p:cNvPr id="794" name="îŝḷïďè">
              <a:extLst>
                <a:ext uri="{FF2B5EF4-FFF2-40B4-BE49-F238E27FC236}">
                  <a16:creationId xmlns:a16="http://schemas.microsoft.com/office/drawing/2014/main" id="{624DE2D7-5E3D-47EE-AB25-A7DFCCE78D52}"/>
                </a:ext>
              </a:extLst>
            </p:cNvPr>
            <p:cNvSpPr/>
            <p:nvPr/>
          </p:nvSpPr>
          <p:spPr>
            <a:xfrm>
              <a:off x="5967170" y="5455283"/>
              <a:ext cx="78570" cy="53801"/>
            </a:xfrm>
            <a:custGeom>
              <a:avLst/>
              <a:gdLst>
                <a:gd name="connsiteX0" fmla="*/ -336 w 25812"/>
                <a:gd name="connsiteY0" fmla="*/ -163 h 17675"/>
                <a:gd name="connsiteX1" fmla="*/ -336 w 25812"/>
                <a:gd name="connsiteY1" fmla="*/ 7076 h 17675"/>
                <a:gd name="connsiteX2" fmla="*/ 1283 w 25812"/>
                <a:gd name="connsiteY2" fmla="*/ 9267 h 17675"/>
                <a:gd name="connsiteX3" fmla="*/ 13856 w 25812"/>
                <a:gd name="connsiteY3" fmla="*/ 16506 h 17675"/>
                <a:gd name="connsiteX4" fmla="*/ 21571 w 25812"/>
                <a:gd name="connsiteY4" fmla="*/ 16506 h 17675"/>
                <a:gd name="connsiteX5" fmla="*/ 23857 w 25812"/>
                <a:gd name="connsiteY5" fmla="*/ 15268 h 17675"/>
                <a:gd name="connsiteX6" fmla="*/ 25476 w 25812"/>
                <a:gd name="connsiteY6" fmla="*/ 12982 h 17675"/>
                <a:gd name="connsiteX7" fmla="*/ 25476 w 25812"/>
                <a:gd name="connsiteY7" fmla="*/ 5838 h 17675"/>
                <a:gd name="connsiteX8" fmla="*/ 23857 w 25812"/>
                <a:gd name="connsiteY8" fmla="*/ 8029 h 17675"/>
                <a:gd name="connsiteX9" fmla="*/ 21571 w 25812"/>
                <a:gd name="connsiteY9" fmla="*/ 9457 h 17675"/>
                <a:gd name="connsiteX10" fmla="*/ 21571 w 25812"/>
                <a:gd name="connsiteY10" fmla="*/ 9457 h 17675"/>
                <a:gd name="connsiteX11" fmla="*/ 13856 w 25812"/>
                <a:gd name="connsiteY11" fmla="*/ 9457 h 17675"/>
                <a:gd name="connsiteX12" fmla="*/ 3569 w 25812"/>
                <a:gd name="connsiteY12" fmla="*/ 3552 h 17675"/>
                <a:gd name="connsiteX13" fmla="*/ 1283 w 25812"/>
                <a:gd name="connsiteY13" fmla="*/ 2219 h 17675"/>
                <a:gd name="connsiteX14" fmla="*/ -336 w 25812"/>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5812" h="17675">
                  <a:moveTo>
                    <a:pt x="-336" y="-163"/>
                  </a:moveTo>
                  <a:lnTo>
                    <a:pt x="-336" y="7076"/>
                  </a:lnTo>
                  <a:cubicBezTo>
                    <a:pt x="-279" y="8067"/>
                    <a:pt x="349" y="8924"/>
                    <a:pt x="1283" y="9267"/>
                  </a:cubicBezTo>
                  <a:lnTo>
                    <a:pt x="13856" y="16506"/>
                  </a:lnTo>
                  <a:cubicBezTo>
                    <a:pt x="16256" y="17849"/>
                    <a:pt x="19171" y="17849"/>
                    <a:pt x="21571" y="16506"/>
                  </a:cubicBezTo>
                  <a:lnTo>
                    <a:pt x="23857" y="15268"/>
                  </a:lnTo>
                  <a:cubicBezTo>
                    <a:pt x="24771" y="14858"/>
                    <a:pt x="25391" y="13982"/>
                    <a:pt x="25476" y="12982"/>
                  </a:cubicBezTo>
                  <a:lnTo>
                    <a:pt x="25476" y="5838"/>
                  </a:lnTo>
                  <a:cubicBezTo>
                    <a:pt x="25419" y="6829"/>
                    <a:pt x="24791" y="7686"/>
                    <a:pt x="23857" y="8029"/>
                  </a:cubicBezTo>
                  <a:lnTo>
                    <a:pt x="21571" y="9457"/>
                  </a:lnTo>
                  <a:lnTo>
                    <a:pt x="21571" y="9457"/>
                  </a:lnTo>
                  <a:cubicBezTo>
                    <a:pt x="19171" y="10801"/>
                    <a:pt x="16256" y="10801"/>
                    <a:pt x="13856" y="9457"/>
                  </a:cubicBezTo>
                  <a:lnTo>
                    <a:pt x="3569" y="3552"/>
                  </a:lnTo>
                  <a:lnTo>
                    <a:pt x="1283" y="2219"/>
                  </a:lnTo>
                  <a:cubicBezTo>
                    <a:pt x="311" y="1828"/>
                    <a:pt x="-336" y="885"/>
                    <a:pt x="-336" y="-163"/>
                  </a:cubicBezTo>
                  <a:close/>
                </a:path>
              </a:pathLst>
            </a:custGeom>
            <a:solidFill>
              <a:srgbClr val="BF4200"/>
            </a:solidFill>
            <a:ln w="9525" cap="flat">
              <a:noFill/>
              <a:prstDash val="solid"/>
              <a:miter/>
            </a:ln>
          </p:spPr>
          <p:txBody>
            <a:bodyPr rtlCol="0" anchor="ctr"/>
            <a:lstStyle/>
            <a:p>
              <a:endParaRPr lang="zh-CN" altLang="en-US"/>
            </a:p>
          </p:txBody>
        </p:sp>
        <p:sp>
          <p:nvSpPr>
            <p:cNvPr id="795" name="islíḋé">
              <a:extLst>
                <a:ext uri="{FF2B5EF4-FFF2-40B4-BE49-F238E27FC236}">
                  <a16:creationId xmlns:a16="http://schemas.microsoft.com/office/drawing/2014/main" id="{B15E2F62-4A7C-48F9-BBB5-624B381CE9E7}"/>
                </a:ext>
              </a:extLst>
            </p:cNvPr>
            <p:cNvSpPr/>
            <p:nvPr/>
          </p:nvSpPr>
          <p:spPr>
            <a:xfrm>
              <a:off x="6044294" y="5468110"/>
              <a:ext cx="109594" cy="63588"/>
            </a:xfrm>
            <a:custGeom>
              <a:avLst/>
              <a:gdLst>
                <a:gd name="connsiteX0" fmla="*/ -336 w 36004"/>
                <a:gd name="connsiteY0" fmla="*/ 10291 h 20890"/>
                <a:gd name="connsiteX1" fmla="*/ 1188 w 36004"/>
                <a:gd name="connsiteY1" fmla="*/ 12577 h 20890"/>
                <a:gd name="connsiteX2" fmla="*/ 3569 w 36004"/>
                <a:gd name="connsiteY2" fmla="*/ 13911 h 20890"/>
                <a:gd name="connsiteX3" fmla="*/ 13856 w 36004"/>
                <a:gd name="connsiteY3" fmla="*/ 19721 h 20890"/>
                <a:gd name="connsiteX4" fmla="*/ 21476 w 36004"/>
                <a:gd name="connsiteY4" fmla="*/ 19721 h 20890"/>
                <a:gd name="connsiteX5" fmla="*/ 31763 w 36004"/>
                <a:gd name="connsiteY5" fmla="*/ 13911 h 20890"/>
                <a:gd name="connsiteX6" fmla="*/ 34144 w 36004"/>
                <a:gd name="connsiteY6" fmla="*/ 12577 h 20890"/>
                <a:gd name="connsiteX7" fmla="*/ 35668 w 36004"/>
                <a:gd name="connsiteY7" fmla="*/ 10291 h 20890"/>
                <a:gd name="connsiteX8" fmla="*/ 34144 w 36004"/>
                <a:gd name="connsiteY8" fmla="*/ 8101 h 20890"/>
                <a:gd name="connsiteX9" fmla="*/ 21476 w 36004"/>
                <a:gd name="connsiteY9" fmla="*/ 766 h 20890"/>
                <a:gd name="connsiteX10" fmla="*/ 13856 w 36004"/>
                <a:gd name="connsiteY10" fmla="*/ 766 h 20890"/>
                <a:gd name="connsiteX11" fmla="*/ 1188 w 36004"/>
                <a:gd name="connsiteY11" fmla="*/ 8101 h 20890"/>
                <a:gd name="connsiteX12" fmla="*/ -336 w 36004"/>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291"/>
                  </a:moveTo>
                  <a:cubicBezTo>
                    <a:pt x="-270" y="11272"/>
                    <a:pt x="311" y="12139"/>
                    <a:pt x="1188" y="12577"/>
                  </a:cubicBezTo>
                  <a:lnTo>
                    <a:pt x="3569" y="13911"/>
                  </a:lnTo>
                  <a:lnTo>
                    <a:pt x="13856" y="19721"/>
                  </a:lnTo>
                  <a:cubicBezTo>
                    <a:pt x="16218" y="21064"/>
                    <a:pt x="19114" y="21064"/>
                    <a:pt x="21476" y="19721"/>
                  </a:cubicBezTo>
                  <a:lnTo>
                    <a:pt x="31763" y="13911"/>
                  </a:lnTo>
                  <a:lnTo>
                    <a:pt x="34144" y="12577"/>
                  </a:lnTo>
                  <a:cubicBezTo>
                    <a:pt x="35021" y="12139"/>
                    <a:pt x="35602" y="11272"/>
                    <a:pt x="35668" y="10291"/>
                  </a:cubicBezTo>
                  <a:cubicBezTo>
                    <a:pt x="35611" y="9339"/>
                    <a:pt x="35021" y="8491"/>
                    <a:pt x="34144" y="8101"/>
                  </a:cubicBezTo>
                  <a:lnTo>
                    <a:pt x="21476" y="766"/>
                  </a:lnTo>
                  <a:cubicBezTo>
                    <a:pt x="19085" y="-472"/>
                    <a:pt x="16247" y="-472"/>
                    <a:pt x="13856" y="766"/>
                  </a:cubicBezTo>
                  <a:lnTo>
                    <a:pt x="1188" y="8101"/>
                  </a:lnTo>
                  <a:cubicBezTo>
                    <a:pt x="311" y="8491"/>
                    <a:pt x="-279"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796" name="íşļïdê">
              <a:extLst>
                <a:ext uri="{FF2B5EF4-FFF2-40B4-BE49-F238E27FC236}">
                  <a16:creationId xmlns:a16="http://schemas.microsoft.com/office/drawing/2014/main" id="{EA1DC5C8-3296-475C-AA25-5F9B59ED2ABC}"/>
                </a:ext>
              </a:extLst>
            </p:cNvPr>
            <p:cNvSpPr/>
            <p:nvPr/>
          </p:nvSpPr>
          <p:spPr>
            <a:xfrm>
              <a:off x="6046179" y="5469269"/>
              <a:ext cx="105825" cy="61104"/>
            </a:xfrm>
            <a:custGeom>
              <a:avLst/>
              <a:gdLst>
                <a:gd name="connsiteX0" fmla="*/ 1235 w 34766"/>
                <a:gd name="connsiteY0" fmla="*/ 12006 h 20074"/>
                <a:gd name="connsiteX1" fmla="*/ 13332 w 34766"/>
                <a:gd name="connsiteY1" fmla="*/ 19054 h 20074"/>
                <a:gd name="connsiteX2" fmla="*/ 20761 w 34766"/>
                <a:gd name="connsiteY2" fmla="*/ 19054 h 20074"/>
                <a:gd name="connsiteX3" fmla="*/ 32858 w 34766"/>
                <a:gd name="connsiteY3" fmla="*/ 12006 h 20074"/>
                <a:gd name="connsiteX4" fmla="*/ 32858 w 34766"/>
                <a:gd name="connsiteY4" fmla="*/ 7719 h 20074"/>
                <a:gd name="connsiteX5" fmla="*/ 20761 w 34766"/>
                <a:gd name="connsiteY5" fmla="*/ 766 h 20074"/>
                <a:gd name="connsiteX6" fmla="*/ 13332 w 34766"/>
                <a:gd name="connsiteY6" fmla="*/ 766 h 20074"/>
                <a:gd name="connsiteX7" fmla="*/ 1235 w 34766"/>
                <a:gd name="connsiteY7" fmla="*/ 7719 h 20074"/>
                <a:gd name="connsiteX8" fmla="*/ 1235 w 34766"/>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6" h="20074">
                  <a:moveTo>
                    <a:pt x="1235" y="12006"/>
                  </a:moveTo>
                  <a:lnTo>
                    <a:pt x="13332" y="19054"/>
                  </a:lnTo>
                  <a:cubicBezTo>
                    <a:pt x="15675" y="20197"/>
                    <a:pt x="18418" y="20197"/>
                    <a:pt x="20761" y="19054"/>
                  </a:cubicBezTo>
                  <a:lnTo>
                    <a:pt x="32858" y="12006"/>
                  </a:lnTo>
                  <a:cubicBezTo>
                    <a:pt x="34954" y="10863"/>
                    <a:pt x="34954" y="8957"/>
                    <a:pt x="32858" y="7719"/>
                  </a:cubicBezTo>
                  <a:lnTo>
                    <a:pt x="20761" y="766"/>
                  </a:lnTo>
                  <a:cubicBezTo>
                    <a:pt x="18437" y="-472"/>
                    <a:pt x="15656" y="-472"/>
                    <a:pt x="13332" y="766"/>
                  </a:cubicBezTo>
                  <a:lnTo>
                    <a:pt x="1235" y="7719"/>
                  </a:lnTo>
                  <a:cubicBezTo>
                    <a:pt x="-860" y="8957"/>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797" name="îṣḷïḓè">
              <a:extLst>
                <a:ext uri="{FF2B5EF4-FFF2-40B4-BE49-F238E27FC236}">
                  <a16:creationId xmlns:a16="http://schemas.microsoft.com/office/drawing/2014/main" id="{324F7CB5-ED1E-4C42-94F3-222683A99F0B}"/>
                </a:ext>
              </a:extLst>
            </p:cNvPr>
            <p:cNvSpPr/>
            <p:nvPr/>
          </p:nvSpPr>
          <p:spPr>
            <a:xfrm>
              <a:off x="6044288" y="5499931"/>
              <a:ext cx="109600" cy="54435"/>
            </a:xfrm>
            <a:custGeom>
              <a:avLst/>
              <a:gdLst>
                <a:gd name="connsiteX0" fmla="*/ -335 w 36006"/>
                <a:gd name="connsiteY0" fmla="*/ -163 h 17883"/>
                <a:gd name="connsiteX1" fmla="*/ -335 w 36006"/>
                <a:gd name="connsiteY1" fmla="*/ 7362 h 17883"/>
                <a:gd name="connsiteX2" fmla="*/ 1189 w 36006"/>
                <a:gd name="connsiteY2" fmla="*/ 9553 h 17883"/>
                <a:gd name="connsiteX3" fmla="*/ 13858 w 36006"/>
                <a:gd name="connsiteY3" fmla="*/ 16792 h 17883"/>
                <a:gd name="connsiteX4" fmla="*/ 21478 w 36006"/>
                <a:gd name="connsiteY4" fmla="*/ 16792 h 17883"/>
                <a:gd name="connsiteX5" fmla="*/ 34146 w 36006"/>
                <a:gd name="connsiteY5" fmla="*/ 9553 h 17883"/>
                <a:gd name="connsiteX6" fmla="*/ 35670 w 36006"/>
                <a:gd name="connsiteY6" fmla="*/ 7267 h 17883"/>
                <a:gd name="connsiteX7" fmla="*/ 35670 w 36006"/>
                <a:gd name="connsiteY7" fmla="*/ 123 h 17883"/>
                <a:gd name="connsiteX8" fmla="*/ 34146 w 36006"/>
                <a:gd name="connsiteY8" fmla="*/ 2409 h 17883"/>
                <a:gd name="connsiteX9" fmla="*/ 31765 w 36006"/>
                <a:gd name="connsiteY9" fmla="*/ 3743 h 17883"/>
                <a:gd name="connsiteX10" fmla="*/ 21478 w 36006"/>
                <a:gd name="connsiteY10" fmla="*/ 9553 h 17883"/>
                <a:gd name="connsiteX11" fmla="*/ 13858 w 36006"/>
                <a:gd name="connsiteY11" fmla="*/ 9553 h 17883"/>
                <a:gd name="connsiteX12" fmla="*/ 3571 w 36006"/>
                <a:gd name="connsiteY12" fmla="*/ 3743 h 17883"/>
                <a:gd name="connsiteX13" fmla="*/ 1189 w 36006"/>
                <a:gd name="connsiteY13" fmla="*/ 2409 h 17883"/>
                <a:gd name="connsiteX14" fmla="*/ -335 w 36006"/>
                <a:gd name="connsiteY14" fmla="*/ -163 h 17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6" h="17883">
                  <a:moveTo>
                    <a:pt x="-335" y="-163"/>
                  </a:moveTo>
                  <a:lnTo>
                    <a:pt x="-335" y="7362"/>
                  </a:lnTo>
                  <a:cubicBezTo>
                    <a:pt x="-239" y="8305"/>
                    <a:pt x="342" y="9134"/>
                    <a:pt x="1189" y="9553"/>
                  </a:cubicBezTo>
                  <a:lnTo>
                    <a:pt x="13858" y="16792"/>
                  </a:lnTo>
                  <a:cubicBezTo>
                    <a:pt x="16248" y="18030"/>
                    <a:pt x="19087" y="18030"/>
                    <a:pt x="21478" y="16792"/>
                  </a:cubicBezTo>
                  <a:lnTo>
                    <a:pt x="34146" y="9553"/>
                  </a:lnTo>
                  <a:cubicBezTo>
                    <a:pt x="35013" y="9105"/>
                    <a:pt x="35584" y="8239"/>
                    <a:pt x="35670" y="7267"/>
                  </a:cubicBezTo>
                  <a:lnTo>
                    <a:pt x="35670" y="123"/>
                  </a:lnTo>
                  <a:cubicBezTo>
                    <a:pt x="35603" y="1104"/>
                    <a:pt x="35022" y="1971"/>
                    <a:pt x="34146" y="2409"/>
                  </a:cubicBezTo>
                  <a:lnTo>
                    <a:pt x="31765" y="3743"/>
                  </a:lnTo>
                  <a:lnTo>
                    <a:pt x="21478" y="9553"/>
                  </a:lnTo>
                  <a:cubicBezTo>
                    <a:pt x="19115" y="10896"/>
                    <a:pt x="16220" y="10896"/>
                    <a:pt x="13858" y="9553"/>
                  </a:cubicBezTo>
                  <a:lnTo>
                    <a:pt x="3571" y="3743"/>
                  </a:lnTo>
                  <a:lnTo>
                    <a:pt x="1189" y="2409"/>
                  </a:lnTo>
                  <a:cubicBezTo>
                    <a:pt x="218" y="1923"/>
                    <a:pt x="-373" y="923"/>
                    <a:pt x="-335" y="-163"/>
                  </a:cubicBezTo>
                  <a:close/>
                </a:path>
              </a:pathLst>
            </a:custGeom>
            <a:solidFill>
              <a:srgbClr val="BF4200"/>
            </a:solidFill>
            <a:ln w="9525" cap="flat">
              <a:noFill/>
              <a:prstDash val="solid"/>
              <a:miter/>
            </a:ln>
          </p:spPr>
          <p:txBody>
            <a:bodyPr rtlCol="0" anchor="ctr"/>
            <a:lstStyle/>
            <a:p>
              <a:endParaRPr lang="zh-CN" altLang="en-US"/>
            </a:p>
          </p:txBody>
        </p:sp>
        <p:sp>
          <p:nvSpPr>
            <p:cNvPr id="798" name="ïŝľîdê">
              <a:extLst>
                <a:ext uri="{FF2B5EF4-FFF2-40B4-BE49-F238E27FC236}">
                  <a16:creationId xmlns:a16="http://schemas.microsoft.com/office/drawing/2014/main" id="{34CA68B2-58AC-49D4-8884-C13252F074A8}"/>
                </a:ext>
              </a:extLst>
            </p:cNvPr>
            <p:cNvSpPr/>
            <p:nvPr/>
          </p:nvSpPr>
          <p:spPr>
            <a:xfrm>
              <a:off x="5927812" y="4346502"/>
              <a:ext cx="1038326" cy="599437"/>
            </a:xfrm>
            <a:custGeom>
              <a:avLst/>
              <a:gdLst>
                <a:gd name="connsiteX0" fmla="*/ 126894 w 341114"/>
                <a:gd name="connsiteY0" fmla="*/ 182551 h 196929"/>
                <a:gd name="connsiteX1" fmla="*/ 24310 w 341114"/>
                <a:gd name="connsiteY1" fmla="*/ 123305 h 196929"/>
                <a:gd name="connsiteX2" fmla="*/ 24310 w 341114"/>
                <a:gd name="connsiteY2" fmla="*/ 54630 h 196929"/>
                <a:gd name="connsiteX3" fmla="*/ 94509 w 341114"/>
                <a:gd name="connsiteY3" fmla="*/ 14053 h 196929"/>
                <a:gd name="connsiteX4" fmla="*/ 213571 w 341114"/>
                <a:gd name="connsiteY4" fmla="*/ 14053 h 196929"/>
                <a:gd name="connsiteX5" fmla="*/ 316060 w 341114"/>
                <a:gd name="connsiteY5" fmla="*/ 73299 h 196929"/>
                <a:gd name="connsiteX6" fmla="*/ 316060 w 341114"/>
                <a:gd name="connsiteY6" fmla="*/ 141974 h 196929"/>
                <a:gd name="connsiteX7" fmla="*/ 245861 w 341114"/>
                <a:gd name="connsiteY7" fmla="*/ 182551 h 196929"/>
                <a:gd name="connsiteX8" fmla="*/ 126894 w 341114"/>
                <a:gd name="connsiteY8" fmla="*/ 182551 h 196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1114" h="196929">
                  <a:moveTo>
                    <a:pt x="126894" y="182551"/>
                  </a:moveTo>
                  <a:lnTo>
                    <a:pt x="24310" y="123305"/>
                  </a:lnTo>
                  <a:cubicBezTo>
                    <a:pt x="-8552" y="104255"/>
                    <a:pt x="-8552" y="73585"/>
                    <a:pt x="24310" y="54630"/>
                  </a:cubicBezTo>
                  <a:lnTo>
                    <a:pt x="94509" y="14053"/>
                  </a:lnTo>
                  <a:cubicBezTo>
                    <a:pt x="131932" y="-4901"/>
                    <a:pt x="176148" y="-4901"/>
                    <a:pt x="213571" y="14053"/>
                  </a:cubicBezTo>
                  <a:lnTo>
                    <a:pt x="316060" y="73299"/>
                  </a:lnTo>
                  <a:cubicBezTo>
                    <a:pt x="349017" y="92349"/>
                    <a:pt x="349017" y="123019"/>
                    <a:pt x="316060" y="141974"/>
                  </a:cubicBezTo>
                  <a:lnTo>
                    <a:pt x="245861" y="182551"/>
                  </a:lnTo>
                  <a:cubicBezTo>
                    <a:pt x="208475" y="201506"/>
                    <a:pt x="164279" y="201506"/>
                    <a:pt x="126894" y="182551"/>
                  </a:cubicBezTo>
                  <a:close/>
                </a:path>
              </a:pathLst>
            </a:custGeom>
            <a:solidFill>
              <a:srgbClr val="BF4200"/>
            </a:solidFill>
            <a:ln w="9525" cap="flat">
              <a:noFill/>
              <a:prstDash val="solid"/>
              <a:miter/>
            </a:ln>
          </p:spPr>
          <p:txBody>
            <a:bodyPr rtlCol="0" anchor="ctr"/>
            <a:lstStyle/>
            <a:p>
              <a:endParaRPr lang="zh-CN" altLang="en-US"/>
            </a:p>
          </p:txBody>
        </p:sp>
        <p:sp>
          <p:nvSpPr>
            <p:cNvPr id="799" name="iśľidè">
              <a:extLst>
                <a:ext uri="{FF2B5EF4-FFF2-40B4-BE49-F238E27FC236}">
                  <a16:creationId xmlns:a16="http://schemas.microsoft.com/office/drawing/2014/main" id="{65E867A8-5334-46AE-B99E-C3A6429353C4}"/>
                </a:ext>
              </a:extLst>
            </p:cNvPr>
            <p:cNvSpPr/>
            <p:nvPr/>
          </p:nvSpPr>
          <p:spPr>
            <a:xfrm>
              <a:off x="5927812" y="4311710"/>
              <a:ext cx="1038326" cy="599437"/>
            </a:xfrm>
            <a:custGeom>
              <a:avLst/>
              <a:gdLst>
                <a:gd name="connsiteX0" fmla="*/ 126894 w 341114"/>
                <a:gd name="connsiteY0" fmla="*/ 182551 h 196929"/>
                <a:gd name="connsiteX1" fmla="*/ 24310 w 341114"/>
                <a:gd name="connsiteY1" fmla="*/ 123305 h 196929"/>
                <a:gd name="connsiteX2" fmla="*/ 24310 w 341114"/>
                <a:gd name="connsiteY2" fmla="*/ 54630 h 196929"/>
                <a:gd name="connsiteX3" fmla="*/ 94509 w 341114"/>
                <a:gd name="connsiteY3" fmla="*/ 14053 h 196929"/>
                <a:gd name="connsiteX4" fmla="*/ 213571 w 341114"/>
                <a:gd name="connsiteY4" fmla="*/ 14053 h 196929"/>
                <a:gd name="connsiteX5" fmla="*/ 316060 w 341114"/>
                <a:gd name="connsiteY5" fmla="*/ 73299 h 196929"/>
                <a:gd name="connsiteX6" fmla="*/ 316060 w 341114"/>
                <a:gd name="connsiteY6" fmla="*/ 141974 h 196929"/>
                <a:gd name="connsiteX7" fmla="*/ 245861 w 341114"/>
                <a:gd name="connsiteY7" fmla="*/ 182551 h 196929"/>
                <a:gd name="connsiteX8" fmla="*/ 126894 w 341114"/>
                <a:gd name="connsiteY8" fmla="*/ 182551 h 196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1114" h="196929">
                  <a:moveTo>
                    <a:pt x="126894" y="182551"/>
                  </a:moveTo>
                  <a:lnTo>
                    <a:pt x="24310" y="123305"/>
                  </a:lnTo>
                  <a:cubicBezTo>
                    <a:pt x="-8552" y="104255"/>
                    <a:pt x="-8552" y="73585"/>
                    <a:pt x="24310" y="54630"/>
                  </a:cubicBezTo>
                  <a:lnTo>
                    <a:pt x="94509" y="14053"/>
                  </a:lnTo>
                  <a:cubicBezTo>
                    <a:pt x="131932" y="-4901"/>
                    <a:pt x="176148" y="-4901"/>
                    <a:pt x="213571" y="14053"/>
                  </a:cubicBezTo>
                  <a:lnTo>
                    <a:pt x="316060" y="73299"/>
                  </a:lnTo>
                  <a:cubicBezTo>
                    <a:pt x="349017" y="92349"/>
                    <a:pt x="349017" y="123019"/>
                    <a:pt x="316060" y="141974"/>
                  </a:cubicBezTo>
                  <a:lnTo>
                    <a:pt x="245861" y="182551"/>
                  </a:lnTo>
                  <a:cubicBezTo>
                    <a:pt x="208475" y="201505"/>
                    <a:pt x="164279" y="201505"/>
                    <a:pt x="126894" y="182551"/>
                  </a:cubicBezTo>
                  <a:close/>
                </a:path>
              </a:pathLst>
            </a:custGeom>
            <a:solidFill>
              <a:srgbClr val="FF7D33"/>
            </a:solidFill>
            <a:ln w="9525" cap="flat">
              <a:noFill/>
              <a:prstDash val="solid"/>
              <a:miter/>
            </a:ln>
          </p:spPr>
          <p:txBody>
            <a:bodyPr rtlCol="0" anchor="ctr"/>
            <a:lstStyle/>
            <a:p>
              <a:endParaRPr lang="zh-CN" altLang="en-US"/>
            </a:p>
          </p:txBody>
        </p:sp>
        <p:sp>
          <p:nvSpPr>
            <p:cNvPr id="800" name="ïšlídé">
              <a:extLst>
                <a:ext uri="{FF2B5EF4-FFF2-40B4-BE49-F238E27FC236}">
                  <a16:creationId xmlns:a16="http://schemas.microsoft.com/office/drawing/2014/main" id="{07929FBF-E6DA-45B1-8304-362A633089AB}"/>
                </a:ext>
              </a:extLst>
            </p:cNvPr>
            <p:cNvSpPr/>
            <p:nvPr/>
          </p:nvSpPr>
          <p:spPr>
            <a:xfrm>
              <a:off x="6375915" y="4006641"/>
              <a:ext cx="260198" cy="150440"/>
            </a:xfrm>
            <a:custGeom>
              <a:avLst/>
              <a:gdLst>
                <a:gd name="connsiteX0" fmla="*/ 71979 w 85481"/>
                <a:gd name="connsiteY0" fmla="*/ 6737 h 49423"/>
                <a:gd name="connsiteX1" fmla="*/ 73218 w 85481"/>
                <a:gd name="connsiteY1" fmla="*/ 41694 h 49423"/>
                <a:gd name="connsiteX2" fmla="*/ 12829 w 85481"/>
                <a:gd name="connsiteY2" fmla="*/ 42361 h 49423"/>
                <a:gd name="connsiteX3" fmla="*/ 11591 w 85481"/>
                <a:gd name="connsiteY3" fmla="*/ 7404 h 49423"/>
                <a:gd name="connsiteX4" fmla="*/ 71979 w 85481"/>
                <a:gd name="connsiteY4" fmla="*/ 6737 h 49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481" h="49423">
                  <a:moveTo>
                    <a:pt x="71979" y="6737"/>
                  </a:moveTo>
                  <a:cubicBezTo>
                    <a:pt x="89029" y="16262"/>
                    <a:pt x="89601" y="31884"/>
                    <a:pt x="73218" y="41694"/>
                  </a:cubicBezTo>
                  <a:cubicBezTo>
                    <a:pt x="54349" y="51543"/>
                    <a:pt x="31908" y="51791"/>
                    <a:pt x="12829" y="42361"/>
                  </a:cubicBezTo>
                  <a:cubicBezTo>
                    <a:pt x="-4221" y="32836"/>
                    <a:pt x="-4792" y="17215"/>
                    <a:pt x="11591" y="7404"/>
                  </a:cubicBezTo>
                  <a:cubicBezTo>
                    <a:pt x="30460" y="-2445"/>
                    <a:pt x="52901" y="-2692"/>
                    <a:pt x="71979" y="6737"/>
                  </a:cubicBezTo>
                  <a:close/>
                </a:path>
              </a:pathLst>
            </a:custGeom>
            <a:solidFill>
              <a:srgbClr val="E73E1E"/>
            </a:solidFill>
            <a:ln w="9525" cap="flat">
              <a:noFill/>
              <a:prstDash val="solid"/>
              <a:miter/>
            </a:ln>
          </p:spPr>
          <p:txBody>
            <a:bodyPr rtlCol="0" anchor="ctr"/>
            <a:lstStyle/>
            <a:p>
              <a:endParaRPr lang="zh-CN" altLang="en-US"/>
            </a:p>
          </p:txBody>
        </p:sp>
        <p:sp>
          <p:nvSpPr>
            <p:cNvPr id="801" name="ïŝľiḑê">
              <a:extLst>
                <a:ext uri="{FF2B5EF4-FFF2-40B4-BE49-F238E27FC236}">
                  <a16:creationId xmlns:a16="http://schemas.microsoft.com/office/drawing/2014/main" id="{37C44FC7-80DB-4517-87F8-EE1F2D1C7CAE}"/>
                </a:ext>
              </a:extLst>
            </p:cNvPr>
            <p:cNvSpPr/>
            <p:nvPr/>
          </p:nvSpPr>
          <p:spPr>
            <a:xfrm>
              <a:off x="6375398" y="4081863"/>
              <a:ext cx="260070" cy="535488"/>
            </a:xfrm>
            <a:custGeom>
              <a:avLst/>
              <a:gdLst>
                <a:gd name="connsiteX0" fmla="*/ 85103 w 85439"/>
                <a:gd name="connsiteY0" fmla="*/ 151190 h 175920"/>
                <a:gd name="connsiteX1" fmla="*/ 85103 w 85439"/>
                <a:gd name="connsiteY1" fmla="*/ 123 h 175920"/>
                <a:gd name="connsiteX2" fmla="*/ 73197 w 85439"/>
                <a:gd name="connsiteY2" fmla="*/ 17173 h 175920"/>
                <a:gd name="connsiteX3" fmla="*/ 12808 w 85439"/>
                <a:gd name="connsiteY3" fmla="*/ 17744 h 175920"/>
                <a:gd name="connsiteX4" fmla="*/ -336 w 85439"/>
                <a:gd name="connsiteY4" fmla="*/ -163 h 175920"/>
                <a:gd name="connsiteX5" fmla="*/ -336 w 85439"/>
                <a:gd name="connsiteY5" fmla="*/ 150904 h 175920"/>
                <a:gd name="connsiteX6" fmla="*/ 12808 w 85439"/>
                <a:gd name="connsiteY6" fmla="*/ 168811 h 175920"/>
                <a:gd name="connsiteX7" fmla="*/ 73197 w 85439"/>
                <a:gd name="connsiteY7" fmla="*/ 168239 h 175920"/>
                <a:gd name="connsiteX8" fmla="*/ 85103 w 85439"/>
                <a:gd name="connsiteY8" fmla="*/ 151190 h 175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5439" h="175920">
                  <a:moveTo>
                    <a:pt x="85103" y="151190"/>
                  </a:moveTo>
                  <a:lnTo>
                    <a:pt x="85103" y="123"/>
                  </a:lnTo>
                  <a:cubicBezTo>
                    <a:pt x="84436" y="7515"/>
                    <a:pt x="79902" y="14001"/>
                    <a:pt x="73197" y="17173"/>
                  </a:cubicBezTo>
                  <a:cubicBezTo>
                    <a:pt x="54309" y="26993"/>
                    <a:pt x="31877" y="27203"/>
                    <a:pt x="12808" y="17744"/>
                  </a:cubicBezTo>
                  <a:cubicBezTo>
                    <a:pt x="5474" y="14639"/>
                    <a:pt x="426" y="7762"/>
                    <a:pt x="-336" y="-163"/>
                  </a:cubicBezTo>
                  <a:lnTo>
                    <a:pt x="-336" y="150904"/>
                  </a:lnTo>
                  <a:cubicBezTo>
                    <a:pt x="426" y="158829"/>
                    <a:pt x="5474" y="165706"/>
                    <a:pt x="12808" y="168811"/>
                  </a:cubicBezTo>
                  <a:cubicBezTo>
                    <a:pt x="31877" y="178269"/>
                    <a:pt x="54309" y="178059"/>
                    <a:pt x="73197" y="168239"/>
                  </a:cubicBezTo>
                  <a:cubicBezTo>
                    <a:pt x="79902" y="165068"/>
                    <a:pt x="84436" y="158581"/>
                    <a:pt x="85103" y="151190"/>
                  </a:cubicBezTo>
                  <a:close/>
                </a:path>
              </a:pathLst>
            </a:custGeom>
            <a:solidFill>
              <a:srgbClr val="BF4200"/>
            </a:solidFill>
            <a:ln w="9525" cap="flat">
              <a:noFill/>
              <a:prstDash val="solid"/>
              <a:miter/>
            </a:ln>
          </p:spPr>
          <p:txBody>
            <a:bodyPr rtlCol="0" anchor="ctr"/>
            <a:lstStyle/>
            <a:p>
              <a:endParaRPr lang="zh-CN" altLang="en-US"/>
            </a:p>
          </p:txBody>
        </p:sp>
        <p:sp>
          <p:nvSpPr>
            <p:cNvPr id="802" name="ïšļiḋè">
              <a:extLst>
                <a:ext uri="{FF2B5EF4-FFF2-40B4-BE49-F238E27FC236}">
                  <a16:creationId xmlns:a16="http://schemas.microsoft.com/office/drawing/2014/main" id="{62B5AA3F-B058-4E45-991D-FCF2CB2B88D6}"/>
                </a:ext>
              </a:extLst>
            </p:cNvPr>
            <p:cNvSpPr/>
            <p:nvPr/>
          </p:nvSpPr>
          <p:spPr>
            <a:xfrm>
              <a:off x="7368421" y="4755091"/>
              <a:ext cx="168451" cy="100264"/>
            </a:xfrm>
            <a:custGeom>
              <a:avLst/>
              <a:gdLst>
                <a:gd name="connsiteX0" fmla="*/ 32811 w 55340"/>
                <a:gd name="connsiteY0" fmla="*/ 27746 h 32939"/>
                <a:gd name="connsiteX1" fmla="*/ 32811 w 55340"/>
                <a:gd name="connsiteY1" fmla="*/ 27746 h 32939"/>
                <a:gd name="connsiteX2" fmla="*/ 36335 w 55340"/>
                <a:gd name="connsiteY2" fmla="*/ 25650 h 32939"/>
                <a:gd name="connsiteX3" fmla="*/ 44146 w 55340"/>
                <a:gd name="connsiteY3" fmla="*/ 20221 h 32939"/>
                <a:gd name="connsiteX4" fmla="*/ 50432 w 55340"/>
                <a:gd name="connsiteY4" fmla="*/ 13553 h 32939"/>
                <a:gd name="connsiteX5" fmla="*/ 53575 w 55340"/>
                <a:gd name="connsiteY5" fmla="*/ 7362 h 32939"/>
                <a:gd name="connsiteX6" fmla="*/ 55004 w 55340"/>
                <a:gd name="connsiteY6" fmla="*/ -163 h 32939"/>
                <a:gd name="connsiteX7" fmla="*/ 55004 w 55340"/>
                <a:gd name="connsiteY7" fmla="*/ -163 h 32939"/>
                <a:gd name="connsiteX8" fmla="*/ 53671 w 55340"/>
                <a:gd name="connsiteY8" fmla="*/ 2219 h 32939"/>
                <a:gd name="connsiteX9" fmla="*/ 53671 w 55340"/>
                <a:gd name="connsiteY9" fmla="*/ 2219 h 32939"/>
                <a:gd name="connsiteX10" fmla="*/ 53194 w 55340"/>
                <a:gd name="connsiteY10" fmla="*/ 2695 h 32939"/>
                <a:gd name="connsiteX11" fmla="*/ 53194 w 55340"/>
                <a:gd name="connsiteY11" fmla="*/ 2695 h 32939"/>
                <a:gd name="connsiteX12" fmla="*/ 52528 w 55340"/>
                <a:gd name="connsiteY12" fmla="*/ 3362 h 32939"/>
                <a:gd name="connsiteX13" fmla="*/ 51861 w 55340"/>
                <a:gd name="connsiteY13" fmla="*/ 3933 h 32939"/>
                <a:gd name="connsiteX14" fmla="*/ 49480 w 55340"/>
                <a:gd name="connsiteY14" fmla="*/ 5743 h 32939"/>
                <a:gd name="connsiteX15" fmla="*/ 48813 w 55340"/>
                <a:gd name="connsiteY15" fmla="*/ 6315 h 32939"/>
                <a:gd name="connsiteX16" fmla="*/ 48813 w 55340"/>
                <a:gd name="connsiteY16" fmla="*/ 6315 h 32939"/>
                <a:gd name="connsiteX17" fmla="*/ 48051 w 55340"/>
                <a:gd name="connsiteY17" fmla="*/ 6886 h 32939"/>
                <a:gd name="connsiteX18" fmla="*/ 45098 w 55340"/>
                <a:gd name="connsiteY18" fmla="*/ 8696 h 32939"/>
                <a:gd name="connsiteX19" fmla="*/ 41574 w 55340"/>
                <a:gd name="connsiteY19" fmla="*/ 10696 h 32939"/>
                <a:gd name="connsiteX20" fmla="*/ 23476 w 55340"/>
                <a:gd name="connsiteY20" fmla="*/ 16030 h 32939"/>
                <a:gd name="connsiteX21" fmla="*/ 23476 w 55340"/>
                <a:gd name="connsiteY21" fmla="*/ 16030 h 32939"/>
                <a:gd name="connsiteX22" fmla="*/ 22619 w 55340"/>
                <a:gd name="connsiteY22" fmla="*/ 21269 h 32939"/>
                <a:gd name="connsiteX23" fmla="*/ 22143 w 55340"/>
                <a:gd name="connsiteY23" fmla="*/ 22793 h 32939"/>
                <a:gd name="connsiteX24" fmla="*/ 22143 w 55340"/>
                <a:gd name="connsiteY24" fmla="*/ 22793 h 32939"/>
                <a:gd name="connsiteX25" fmla="*/ 21476 w 55340"/>
                <a:gd name="connsiteY25" fmla="*/ 24317 h 32939"/>
                <a:gd name="connsiteX26" fmla="*/ 21476 w 55340"/>
                <a:gd name="connsiteY26" fmla="*/ 24317 h 32939"/>
                <a:gd name="connsiteX27" fmla="*/ 16523 w 55340"/>
                <a:gd name="connsiteY27" fmla="*/ 29651 h 32939"/>
                <a:gd name="connsiteX28" fmla="*/ 9189 w 55340"/>
                <a:gd name="connsiteY28" fmla="*/ 31175 h 32939"/>
                <a:gd name="connsiteX29" fmla="*/ -336 w 55340"/>
                <a:gd name="connsiteY29" fmla="*/ 28222 h 32939"/>
                <a:gd name="connsiteX30" fmla="*/ 10903 w 55340"/>
                <a:gd name="connsiteY30" fmla="*/ 32699 h 32939"/>
                <a:gd name="connsiteX31" fmla="*/ 14142 w 55340"/>
                <a:gd name="connsiteY31" fmla="*/ 32699 h 32939"/>
                <a:gd name="connsiteX32" fmla="*/ 18333 w 55340"/>
                <a:gd name="connsiteY32" fmla="*/ 32223 h 32939"/>
                <a:gd name="connsiteX33" fmla="*/ 18333 w 55340"/>
                <a:gd name="connsiteY33" fmla="*/ 32223 h 32939"/>
                <a:gd name="connsiteX34" fmla="*/ 31858 w 55340"/>
                <a:gd name="connsiteY34" fmla="*/ 27269 h 32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55340" h="32939">
                  <a:moveTo>
                    <a:pt x="32811" y="27746"/>
                  </a:moveTo>
                  <a:lnTo>
                    <a:pt x="32811" y="27746"/>
                  </a:lnTo>
                  <a:lnTo>
                    <a:pt x="36335" y="25650"/>
                  </a:lnTo>
                  <a:cubicBezTo>
                    <a:pt x="39088" y="24069"/>
                    <a:pt x="41707" y="22259"/>
                    <a:pt x="44146" y="20221"/>
                  </a:cubicBezTo>
                  <a:cubicBezTo>
                    <a:pt x="46498" y="18259"/>
                    <a:pt x="48613" y="16020"/>
                    <a:pt x="50432" y="13553"/>
                  </a:cubicBezTo>
                  <a:cubicBezTo>
                    <a:pt x="51737" y="11629"/>
                    <a:pt x="52794" y="9553"/>
                    <a:pt x="53575" y="7362"/>
                  </a:cubicBezTo>
                  <a:cubicBezTo>
                    <a:pt x="54423" y="4933"/>
                    <a:pt x="54899" y="2400"/>
                    <a:pt x="55004" y="-163"/>
                  </a:cubicBezTo>
                  <a:lnTo>
                    <a:pt x="55004" y="-163"/>
                  </a:lnTo>
                  <a:cubicBezTo>
                    <a:pt x="54785" y="742"/>
                    <a:pt x="54328" y="1561"/>
                    <a:pt x="53671" y="2219"/>
                  </a:cubicBezTo>
                  <a:lnTo>
                    <a:pt x="53671" y="2219"/>
                  </a:lnTo>
                  <a:cubicBezTo>
                    <a:pt x="53671" y="2219"/>
                    <a:pt x="53671" y="2219"/>
                    <a:pt x="53194" y="2695"/>
                  </a:cubicBezTo>
                  <a:lnTo>
                    <a:pt x="53194" y="2695"/>
                  </a:lnTo>
                  <a:lnTo>
                    <a:pt x="52528" y="3362"/>
                  </a:lnTo>
                  <a:lnTo>
                    <a:pt x="51861" y="3933"/>
                  </a:lnTo>
                  <a:lnTo>
                    <a:pt x="49480" y="5743"/>
                  </a:lnTo>
                  <a:lnTo>
                    <a:pt x="48813" y="6315"/>
                  </a:lnTo>
                  <a:lnTo>
                    <a:pt x="48813" y="6315"/>
                  </a:lnTo>
                  <a:lnTo>
                    <a:pt x="48051" y="6886"/>
                  </a:lnTo>
                  <a:lnTo>
                    <a:pt x="45098" y="8696"/>
                  </a:lnTo>
                  <a:lnTo>
                    <a:pt x="41574" y="10696"/>
                  </a:lnTo>
                  <a:cubicBezTo>
                    <a:pt x="33954" y="15173"/>
                    <a:pt x="25762" y="17554"/>
                    <a:pt x="23476" y="16030"/>
                  </a:cubicBezTo>
                  <a:lnTo>
                    <a:pt x="23476" y="16030"/>
                  </a:lnTo>
                  <a:cubicBezTo>
                    <a:pt x="23305" y="17792"/>
                    <a:pt x="23019" y="19545"/>
                    <a:pt x="22619" y="21269"/>
                  </a:cubicBezTo>
                  <a:cubicBezTo>
                    <a:pt x="22619" y="21840"/>
                    <a:pt x="22619" y="22317"/>
                    <a:pt x="22143" y="22793"/>
                  </a:cubicBezTo>
                  <a:lnTo>
                    <a:pt x="22143" y="22793"/>
                  </a:lnTo>
                  <a:cubicBezTo>
                    <a:pt x="21981" y="23326"/>
                    <a:pt x="21752" y="23831"/>
                    <a:pt x="21476" y="24317"/>
                  </a:cubicBezTo>
                  <a:lnTo>
                    <a:pt x="21476" y="24317"/>
                  </a:lnTo>
                  <a:cubicBezTo>
                    <a:pt x="20352" y="26517"/>
                    <a:pt x="18638" y="28365"/>
                    <a:pt x="16523" y="29651"/>
                  </a:cubicBezTo>
                  <a:cubicBezTo>
                    <a:pt x="14275" y="30851"/>
                    <a:pt x="11732" y="31384"/>
                    <a:pt x="9189" y="31175"/>
                  </a:cubicBezTo>
                  <a:cubicBezTo>
                    <a:pt x="5826" y="30946"/>
                    <a:pt x="2569" y="29936"/>
                    <a:pt x="-336" y="28222"/>
                  </a:cubicBezTo>
                  <a:cubicBezTo>
                    <a:pt x="3159" y="30279"/>
                    <a:pt x="6950" y="31784"/>
                    <a:pt x="10903" y="32699"/>
                  </a:cubicBezTo>
                  <a:cubicBezTo>
                    <a:pt x="11979" y="32803"/>
                    <a:pt x="13065" y="32803"/>
                    <a:pt x="14142" y="32699"/>
                  </a:cubicBezTo>
                  <a:cubicBezTo>
                    <a:pt x="15551" y="32651"/>
                    <a:pt x="16952" y="32489"/>
                    <a:pt x="18333" y="32223"/>
                  </a:cubicBezTo>
                  <a:lnTo>
                    <a:pt x="18333" y="32223"/>
                  </a:lnTo>
                  <a:cubicBezTo>
                    <a:pt x="23076" y="31289"/>
                    <a:pt x="27639" y="29622"/>
                    <a:pt x="31858" y="27269"/>
                  </a:cubicBezTo>
                  <a:close/>
                </a:path>
              </a:pathLst>
            </a:custGeom>
            <a:solidFill>
              <a:srgbClr val="BF4200"/>
            </a:solidFill>
            <a:ln w="9525" cap="flat">
              <a:noFill/>
              <a:prstDash val="solid"/>
              <a:miter/>
            </a:ln>
          </p:spPr>
          <p:txBody>
            <a:bodyPr rtlCol="0" anchor="ctr"/>
            <a:lstStyle/>
            <a:p>
              <a:endParaRPr lang="zh-CN" altLang="en-US"/>
            </a:p>
          </p:txBody>
        </p:sp>
        <p:sp>
          <p:nvSpPr>
            <p:cNvPr id="803" name="iṣḻíďè">
              <a:extLst>
                <a:ext uri="{FF2B5EF4-FFF2-40B4-BE49-F238E27FC236}">
                  <a16:creationId xmlns:a16="http://schemas.microsoft.com/office/drawing/2014/main" id="{4E8CD3CF-EACD-428B-BC70-93E7F1F02D45}"/>
                </a:ext>
              </a:extLst>
            </p:cNvPr>
            <p:cNvSpPr/>
            <p:nvPr/>
          </p:nvSpPr>
          <p:spPr>
            <a:xfrm>
              <a:off x="5454710" y="1859559"/>
              <a:ext cx="166278" cy="110425"/>
            </a:xfrm>
            <a:custGeom>
              <a:avLst/>
              <a:gdLst>
                <a:gd name="connsiteX0" fmla="*/ 37621 w 54626"/>
                <a:gd name="connsiteY0" fmla="*/ 9826 h 36277"/>
                <a:gd name="connsiteX1" fmla="*/ 41050 w 54626"/>
                <a:gd name="connsiteY1" fmla="*/ 7825 h 36277"/>
                <a:gd name="connsiteX2" fmla="*/ 43622 w 54626"/>
                <a:gd name="connsiteY2" fmla="*/ 6492 h 36277"/>
                <a:gd name="connsiteX3" fmla="*/ 45241 w 54626"/>
                <a:gd name="connsiteY3" fmla="*/ 5635 h 36277"/>
                <a:gd name="connsiteX4" fmla="*/ 50671 w 54626"/>
                <a:gd name="connsiteY4" fmla="*/ 3634 h 36277"/>
                <a:gd name="connsiteX5" fmla="*/ 51147 w 54626"/>
                <a:gd name="connsiteY5" fmla="*/ 3634 h 36277"/>
                <a:gd name="connsiteX6" fmla="*/ 54290 w 54626"/>
                <a:gd name="connsiteY6" fmla="*/ 3634 h 36277"/>
                <a:gd name="connsiteX7" fmla="*/ 46099 w 54626"/>
                <a:gd name="connsiteY7" fmla="*/ 491 h 36277"/>
                <a:gd name="connsiteX8" fmla="*/ 38574 w 54626"/>
                <a:gd name="connsiteY8" fmla="*/ -80 h 36277"/>
                <a:gd name="connsiteX9" fmla="*/ 21238 w 54626"/>
                <a:gd name="connsiteY9" fmla="*/ 5730 h 36277"/>
                <a:gd name="connsiteX10" fmla="*/ 21238 w 54626"/>
                <a:gd name="connsiteY10" fmla="*/ 5730 h 36277"/>
                <a:gd name="connsiteX11" fmla="*/ 17809 w 54626"/>
                <a:gd name="connsiteY11" fmla="*/ 7730 h 36277"/>
                <a:gd name="connsiteX12" fmla="*/ 9522 w 54626"/>
                <a:gd name="connsiteY12" fmla="*/ 13540 h 36277"/>
                <a:gd name="connsiteX13" fmla="*/ 3141 w 54626"/>
                <a:gd name="connsiteY13" fmla="*/ 20684 h 36277"/>
                <a:gd name="connsiteX14" fmla="*/ 379 w 54626"/>
                <a:gd name="connsiteY14" fmla="*/ 27256 h 36277"/>
                <a:gd name="connsiteX15" fmla="*/ -288 w 54626"/>
                <a:gd name="connsiteY15" fmla="*/ 36115 h 36277"/>
                <a:gd name="connsiteX16" fmla="*/ 6855 w 54626"/>
                <a:gd name="connsiteY16" fmla="*/ 20970 h 36277"/>
                <a:gd name="connsiteX17" fmla="*/ 12380 w 54626"/>
                <a:gd name="connsiteY17" fmla="*/ 19446 h 36277"/>
                <a:gd name="connsiteX18" fmla="*/ 13047 w 54626"/>
                <a:gd name="connsiteY18" fmla="*/ 19446 h 36277"/>
                <a:gd name="connsiteX19" fmla="*/ 15428 w 54626"/>
                <a:gd name="connsiteY19" fmla="*/ 19446 h 36277"/>
                <a:gd name="connsiteX20" fmla="*/ 16666 w 54626"/>
                <a:gd name="connsiteY20" fmla="*/ 19446 h 36277"/>
                <a:gd name="connsiteX21" fmla="*/ 17428 w 54626"/>
                <a:gd name="connsiteY21" fmla="*/ 19446 h 36277"/>
                <a:gd name="connsiteX22" fmla="*/ 18095 w 54626"/>
                <a:gd name="connsiteY22" fmla="*/ 19446 h 36277"/>
                <a:gd name="connsiteX23" fmla="*/ 18857 w 54626"/>
                <a:gd name="connsiteY23" fmla="*/ 19446 h 36277"/>
                <a:gd name="connsiteX24" fmla="*/ 19619 w 54626"/>
                <a:gd name="connsiteY24" fmla="*/ 19446 h 36277"/>
                <a:gd name="connsiteX25" fmla="*/ 20571 w 54626"/>
                <a:gd name="connsiteY25" fmla="*/ 19446 h 36277"/>
                <a:gd name="connsiteX26" fmla="*/ 21524 w 54626"/>
                <a:gd name="connsiteY26" fmla="*/ 19446 h 36277"/>
                <a:gd name="connsiteX27" fmla="*/ 22191 w 54626"/>
                <a:gd name="connsiteY27" fmla="*/ 19446 h 36277"/>
                <a:gd name="connsiteX28" fmla="*/ 23905 w 54626"/>
                <a:gd name="connsiteY28" fmla="*/ 20303 h 36277"/>
                <a:gd name="connsiteX29" fmla="*/ 23905 w 54626"/>
                <a:gd name="connsiteY29" fmla="*/ 20303 h 36277"/>
                <a:gd name="connsiteX30" fmla="*/ 37621 w 54626"/>
                <a:gd name="connsiteY30" fmla="*/ 9826 h 36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54626" h="36277">
                  <a:moveTo>
                    <a:pt x="37621" y="9826"/>
                  </a:moveTo>
                  <a:lnTo>
                    <a:pt x="41050" y="7825"/>
                  </a:lnTo>
                  <a:lnTo>
                    <a:pt x="43622" y="6492"/>
                  </a:lnTo>
                  <a:cubicBezTo>
                    <a:pt x="44117" y="6130"/>
                    <a:pt x="44660" y="5844"/>
                    <a:pt x="45241" y="5635"/>
                  </a:cubicBezTo>
                  <a:cubicBezTo>
                    <a:pt x="46984" y="4806"/>
                    <a:pt x="48804" y="4139"/>
                    <a:pt x="50671" y="3634"/>
                  </a:cubicBezTo>
                  <a:lnTo>
                    <a:pt x="51147" y="3634"/>
                  </a:lnTo>
                  <a:lnTo>
                    <a:pt x="54290" y="3634"/>
                  </a:lnTo>
                  <a:cubicBezTo>
                    <a:pt x="51699" y="2244"/>
                    <a:pt x="48946" y="1196"/>
                    <a:pt x="46099" y="491"/>
                  </a:cubicBezTo>
                  <a:cubicBezTo>
                    <a:pt x="43641" y="-99"/>
                    <a:pt x="41098" y="-290"/>
                    <a:pt x="38574" y="-80"/>
                  </a:cubicBezTo>
                  <a:cubicBezTo>
                    <a:pt x="32440" y="567"/>
                    <a:pt x="26525" y="2549"/>
                    <a:pt x="21238" y="5730"/>
                  </a:cubicBezTo>
                  <a:lnTo>
                    <a:pt x="21238" y="5730"/>
                  </a:lnTo>
                  <a:lnTo>
                    <a:pt x="17809" y="7730"/>
                  </a:lnTo>
                  <a:cubicBezTo>
                    <a:pt x="14866" y="9397"/>
                    <a:pt x="12094" y="11340"/>
                    <a:pt x="9522" y="13540"/>
                  </a:cubicBezTo>
                  <a:cubicBezTo>
                    <a:pt x="7084" y="15626"/>
                    <a:pt x="4941" y="18027"/>
                    <a:pt x="3141" y="20684"/>
                  </a:cubicBezTo>
                  <a:cubicBezTo>
                    <a:pt x="1950" y="22751"/>
                    <a:pt x="1017" y="24961"/>
                    <a:pt x="379" y="27256"/>
                  </a:cubicBezTo>
                  <a:cubicBezTo>
                    <a:pt x="-117" y="30181"/>
                    <a:pt x="-345" y="33143"/>
                    <a:pt x="-288" y="36115"/>
                  </a:cubicBezTo>
                  <a:cubicBezTo>
                    <a:pt x="-736" y="30162"/>
                    <a:pt x="1969" y="24408"/>
                    <a:pt x="6855" y="20970"/>
                  </a:cubicBezTo>
                  <a:cubicBezTo>
                    <a:pt x="8551" y="20027"/>
                    <a:pt x="10447" y="19503"/>
                    <a:pt x="12380" y="19446"/>
                  </a:cubicBezTo>
                  <a:lnTo>
                    <a:pt x="13047" y="19446"/>
                  </a:lnTo>
                  <a:cubicBezTo>
                    <a:pt x="13837" y="19360"/>
                    <a:pt x="14638" y="19360"/>
                    <a:pt x="15428" y="19446"/>
                  </a:cubicBezTo>
                  <a:lnTo>
                    <a:pt x="16666" y="19446"/>
                  </a:lnTo>
                  <a:lnTo>
                    <a:pt x="17428" y="19446"/>
                  </a:lnTo>
                  <a:lnTo>
                    <a:pt x="18095" y="19446"/>
                  </a:lnTo>
                  <a:lnTo>
                    <a:pt x="18857" y="19446"/>
                  </a:lnTo>
                  <a:cubicBezTo>
                    <a:pt x="18857" y="19446"/>
                    <a:pt x="18857" y="19446"/>
                    <a:pt x="19619" y="19446"/>
                  </a:cubicBezTo>
                  <a:lnTo>
                    <a:pt x="20571" y="19446"/>
                  </a:lnTo>
                  <a:lnTo>
                    <a:pt x="21524" y="19446"/>
                  </a:lnTo>
                  <a:lnTo>
                    <a:pt x="22191" y="19446"/>
                  </a:lnTo>
                  <a:lnTo>
                    <a:pt x="23905" y="20303"/>
                  </a:lnTo>
                  <a:lnTo>
                    <a:pt x="23905" y="20303"/>
                  </a:lnTo>
                  <a:cubicBezTo>
                    <a:pt x="23620" y="20113"/>
                    <a:pt x="29906" y="14302"/>
                    <a:pt x="37621" y="9826"/>
                  </a:cubicBezTo>
                  <a:close/>
                </a:path>
              </a:pathLst>
            </a:custGeom>
            <a:solidFill>
              <a:srgbClr val="D9530B"/>
            </a:solidFill>
            <a:ln w="9525" cap="flat">
              <a:noFill/>
              <a:prstDash val="solid"/>
              <a:miter/>
            </a:ln>
          </p:spPr>
          <p:txBody>
            <a:bodyPr rtlCol="0" anchor="ctr"/>
            <a:lstStyle/>
            <a:p>
              <a:endParaRPr lang="zh-CN" altLang="en-US"/>
            </a:p>
          </p:txBody>
        </p:sp>
        <p:sp>
          <p:nvSpPr>
            <p:cNvPr id="804" name="ïṩ1íḋe">
              <a:extLst>
                <a:ext uri="{FF2B5EF4-FFF2-40B4-BE49-F238E27FC236}">
                  <a16:creationId xmlns:a16="http://schemas.microsoft.com/office/drawing/2014/main" id="{89BBFA73-B929-434E-8DAB-D73E5A956ADA}"/>
                </a:ext>
              </a:extLst>
            </p:cNvPr>
            <p:cNvSpPr/>
            <p:nvPr/>
          </p:nvSpPr>
          <p:spPr>
            <a:xfrm>
              <a:off x="5527630" y="1869668"/>
              <a:ext cx="1931250" cy="1119145"/>
            </a:xfrm>
            <a:custGeom>
              <a:avLst/>
              <a:gdLst>
                <a:gd name="connsiteX0" fmla="*/ 617265 w 634460"/>
                <a:gd name="connsiteY0" fmla="*/ 355025 h 367665"/>
                <a:gd name="connsiteX1" fmla="*/ 620694 w 634460"/>
                <a:gd name="connsiteY1" fmla="*/ 353024 h 367665"/>
                <a:gd name="connsiteX2" fmla="*/ 634124 w 634460"/>
                <a:gd name="connsiteY2" fmla="*/ 348738 h 367665"/>
                <a:gd name="connsiteX3" fmla="*/ 30525 w 634460"/>
                <a:gd name="connsiteY3" fmla="*/ -163 h 367665"/>
                <a:gd name="connsiteX4" fmla="*/ 27191 w 634460"/>
                <a:gd name="connsiteY4" fmla="*/ -163 h 367665"/>
                <a:gd name="connsiteX5" fmla="*/ 26715 w 634460"/>
                <a:gd name="connsiteY5" fmla="*/ -163 h 367665"/>
                <a:gd name="connsiteX6" fmla="*/ 21285 w 634460"/>
                <a:gd name="connsiteY6" fmla="*/ 1838 h 367665"/>
                <a:gd name="connsiteX7" fmla="*/ 19666 w 634460"/>
                <a:gd name="connsiteY7" fmla="*/ 2695 h 367665"/>
                <a:gd name="connsiteX8" fmla="*/ 17095 w 634460"/>
                <a:gd name="connsiteY8" fmla="*/ 4028 h 367665"/>
                <a:gd name="connsiteX9" fmla="*/ 13665 w 634460"/>
                <a:gd name="connsiteY9" fmla="*/ 6029 h 367665"/>
                <a:gd name="connsiteX10" fmla="*/ -336 w 634460"/>
                <a:gd name="connsiteY10" fmla="*/ 18983 h 367665"/>
                <a:gd name="connsiteX11" fmla="*/ 603263 w 634460"/>
                <a:gd name="connsiteY11" fmla="*/ 367502 h 367665"/>
                <a:gd name="connsiteX12" fmla="*/ 617265 w 634460"/>
                <a:gd name="connsiteY12" fmla="*/ 355025 h 3676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34460" h="367665">
                  <a:moveTo>
                    <a:pt x="617265" y="355025"/>
                  </a:moveTo>
                  <a:lnTo>
                    <a:pt x="620694" y="353024"/>
                  </a:lnTo>
                  <a:cubicBezTo>
                    <a:pt x="627075" y="349405"/>
                    <a:pt x="632409" y="347786"/>
                    <a:pt x="634124" y="348738"/>
                  </a:cubicBezTo>
                  <a:lnTo>
                    <a:pt x="30525" y="-163"/>
                  </a:lnTo>
                  <a:lnTo>
                    <a:pt x="27191" y="-163"/>
                  </a:lnTo>
                  <a:lnTo>
                    <a:pt x="26715" y="-163"/>
                  </a:lnTo>
                  <a:cubicBezTo>
                    <a:pt x="24848" y="342"/>
                    <a:pt x="23029" y="1009"/>
                    <a:pt x="21285" y="1838"/>
                  </a:cubicBezTo>
                  <a:cubicBezTo>
                    <a:pt x="20705" y="2047"/>
                    <a:pt x="20162" y="2333"/>
                    <a:pt x="19666" y="2695"/>
                  </a:cubicBezTo>
                  <a:lnTo>
                    <a:pt x="17095" y="4028"/>
                  </a:lnTo>
                  <a:lnTo>
                    <a:pt x="13665" y="6029"/>
                  </a:lnTo>
                  <a:cubicBezTo>
                    <a:pt x="5950" y="10505"/>
                    <a:pt x="-336" y="16316"/>
                    <a:pt x="-336" y="18983"/>
                  </a:cubicBezTo>
                  <a:lnTo>
                    <a:pt x="603263" y="367502"/>
                  </a:lnTo>
                  <a:cubicBezTo>
                    <a:pt x="603263" y="365312"/>
                    <a:pt x="609549" y="359501"/>
                    <a:pt x="617265" y="355025"/>
                  </a:cubicBezTo>
                  <a:close/>
                </a:path>
              </a:pathLst>
            </a:custGeom>
            <a:solidFill>
              <a:srgbClr val="FF7D33"/>
            </a:solidFill>
            <a:ln w="9525" cap="flat">
              <a:noFill/>
              <a:prstDash val="solid"/>
              <a:miter/>
            </a:ln>
          </p:spPr>
          <p:txBody>
            <a:bodyPr rtlCol="0" anchor="ctr"/>
            <a:lstStyle/>
            <a:p>
              <a:endParaRPr lang="zh-CN" altLang="en-US"/>
            </a:p>
          </p:txBody>
        </p:sp>
        <p:sp>
          <p:nvSpPr>
            <p:cNvPr id="805" name="i$ḻiďe">
              <a:extLst>
                <a:ext uri="{FF2B5EF4-FFF2-40B4-BE49-F238E27FC236}">
                  <a16:creationId xmlns:a16="http://schemas.microsoft.com/office/drawing/2014/main" id="{B21D6CF6-FFBE-41BF-9E8C-474C6E6F3B92}"/>
                </a:ext>
              </a:extLst>
            </p:cNvPr>
            <p:cNvSpPr/>
            <p:nvPr/>
          </p:nvSpPr>
          <p:spPr>
            <a:xfrm>
              <a:off x="7437716" y="3069702"/>
              <a:ext cx="97707" cy="1739361"/>
            </a:xfrm>
            <a:custGeom>
              <a:avLst/>
              <a:gdLst>
                <a:gd name="connsiteX0" fmla="*/ 18333 w 32099"/>
                <a:gd name="connsiteY0" fmla="*/ 564956 h 571420"/>
                <a:gd name="connsiteX1" fmla="*/ 21857 w 32099"/>
                <a:gd name="connsiteY1" fmla="*/ 562956 h 571420"/>
                <a:gd name="connsiteX2" fmla="*/ 24810 w 32099"/>
                <a:gd name="connsiteY2" fmla="*/ 561146 h 571420"/>
                <a:gd name="connsiteX3" fmla="*/ 25572 w 32099"/>
                <a:gd name="connsiteY3" fmla="*/ 560574 h 571420"/>
                <a:gd name="connsiteX4" fmla="*/ 25572 w 32099"/>
                <a:gd name="connsiteY4" fmla="*/ 560574 h 571420"/>
                <a:gd name="connsiteX5" fmla="*/ 26239 w 32099"/>
                <a:gd name="connsiteY5" fmla="*/ 560003 h 571420"/>
                <a:gd name="connsiteX6" fmla="*/ 28620 w 32099"/>
                <a:gd name="connsiteY6" fmla="*/ 558193 h 571420"/>
                <a:gd name="connsiteX7" fmla="*/ 29286 w 32099"/>
                <a:gd name="connsiteY7" fmla="*/ 557622 h 571420"/>
                <a:gd name="connsiteX8" fmla="*/ 29953 w 32099"/>
                <a:gd name="connsiteY8" fmla="*/ 556955 h 571420"/>
                <a:gd name="connsiteX9" fmla="*/ 29953 w 32099"/>
                <a:gd name="connsiteY9" fmla="*/ 556955 h 571420"/>
                <a:gd name="connsiteX10" fmla="*/ 30430 w 32099"/>
                <a:gd name="connsiteY10" fmla="*/ 556478 h 571420"/>
                <a:gd name="connsiteX11" fmla="*/ 30430 w 32099"/>
                <a:gd name="connsiteY11" fmla="*/ 556478 h 571420"/>
                <a:gd name="connsiteX12" fmla="*/ 31763 w 32099"/>
                <a:gd name="connsiteY12" fmla="*/ 554097 h 571420"/>
                <a:gd name="connsiteX13" fmla="*/ 31763 w 32099"/>
                <a:gd name="connsiteY13" fmla="*/ 554097 h 571420"/>
                <a:gd name="connsiteX14" fmla="*/ 31763 w 32099"/>
                <a:gd name="connsiteY14" fmla="*/ -163 h 571420"/>
                <a:gd name="connsiteX15" fmla="*/ 21285 w 32099"/>
                <a:gd name="connsiteY15" fmla="*/ 9362 h 571420"/>
                <a:gd name="connsiteX16" fmla="*/ 17856 w 32099"/>
                <a:gd name="connsiteY16" fmla="*/ 11363 h 571420"/>
                <a:gd name="connsiteX17" fmla="*/ -336 w 32099"/>
                <a:gd name="connsiteY17" fmla="*/ 16982 h 571420"/>
                <a:gd name="connsiteX18" fmla="*/ -336 w 32099"/>
                <a:gd name="connsiteY18" fmla="*/ 571147 h 571420"/>
                <a:gd name="connsiteX19" fmla="*/ -336 w 32099"/>
                <a:gd name="connsiteY19" fmla="*/ 571147 h 571420"/>
                <a:gd name="connsiteX20" fmla="*/ 18333 w 32099"/>
                <a:gd name="connsiteY20" fmla="*/ 564956 h 571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2099" h="571420">
                  <a:moveTo>
                    <a:pt x="18333" y="564956"/>
                  </a:moveTo>
                  <a:lnTo>
                    <a:pt x="21857" y="562956"/>
                  </a:lnTo>
                  <a:lnTo>
                    <a:pt x="24810" y="561146"/>
                  </a:lnTo>
                  <a:lnTo>
                    <a:pt x="25572" y="560574"/>
                  </a:lnTo>
                  <a:lnTo>
                    <a:pt x="25572" y="560574"/>
                  </a:lnTo>
                  <a:lnTo>
                    <a:pt x="26239" y="560003"/>
                  </a:lnTo>
                  <a:lnTo>
                    <a:pt x="28620" y="558193"/>
                  </a:lnTo>
                  <a:lnTo>
                    <a:pt x="29286" y="557622"/>
                  </a:lnTo>
                  <a:lnTo>
                    <a:pt x="29953" y="556955"/>
                  </a:lnTo>
                  <a:lnTo>
                    <a:pt x="29953" y="556955"/>
                  </a:lnTo>
                  <a:cubicBezTo>
                    <a:pt x="29953" y="556955"/>
                    <a:pt x="29953" y="556955"/>
                    <a:pt x="30430" y="556478"/>
                  </a:cubicBezTo>
                  <a:lnTo>
                    <a:pt x="30430" y="556478"/>
                  </a:lnTo>
                  <a:cubicBezTo>
                    <a:pt x="31087" y="555821"/>
                    <a:pt x="31544" y="555002"/>
                    <a:pt x="31763" y="554097"/>
                  </a:cubicBezTo>
                  <a:lnTo>
                    <a:pt x="31763" y="554097"/>
                  </a:lnTo>
                  <a:cubicBezTo>
                    <a:pt x="31763" y="321116"/>
                    <a:pt x="31763" y="232819"/>
                    <a:pt x="31763" y="-163"/>
                  </a:cubicBezTo>
                  <a:cubicBezTo>
                    <a:pt x="31763" y="1838"/>
                    <a:pt x="27667" y="5648"/>
                    <a:pt x="21285" y="9362"/>
                  </a:cubicBezTo>
                  <a:lnTo>
                    <a:pt x="17856" y="11363"/>
                  </a:lnTo>
                  <a:cubicBezTo>
                    <a:pt x="10046" y="15744"/>
                    <a:pt x="1950" y="18316"/>
                    <a:pt x="-336" y="16982"/>
                  </a:cubicBezTo>
                  <a:cubicBezTo>
                    <a:pt x="-336" y="249869"/>
                    <a:pt x="-336" y="338261"/>
                    <a:pt x="-336" y="571147"/>
                  </a:cubicBezTo>
                  <a:lnTo>
                    <a:pt x="-336" y="571147"/>
                  </a:lnTo>
                  <a:cubicBezTo>
                    <a:pt x="2331" y="571814"/>
                    <a:pt x="10713" y="569432"/>
                    <a:pt x="18333" y="564956"/>
                  </a:cubicBezTo>
                  <a:close/>
                </a:path>
              </a:pathLst>
            </a:custGeom>
            <a:solidFill>
              <a:srgbClr val="BF4200"/>
            </a:solidFill>
            <a:ln w="9525" cap="flat">
              <a:noFill/>
              <a:prstDash val="solid"/>
              <a:miter/>
            </a:ln>
          </p:spPr>
          <p:txBody>
            <a:bodyPr rtlCol="0" anchor="ctr"/>
            <a:lstStyle/>
            <a:p>
              <a:endParaRPr lang="zh-CN" altLang="en-US"/>
            </a:p>
          </p:txBody>
        </p:sp>
        <p:sp>
          <p:nvSpPr>
            <p:cNvPr id="806" name="îśľiḋe">
              <a:extLst>
                <a:ext uri="{FF2B5EF4-FFF2-40B4-BE49-F238E27FC236}">
                  <a16:creationId xmlns:a16="http://schemas.microsoft.com/office/drawing/2014/main" id="{9F780B28-95DD-4F56-8488-283BE4711079}"/>
                </a:ext>
              </a:extLst>
            </p:cNvPr>
            <p:cNvSpPr/>
            <p:nvPr/>
          </p:nvSpPr>
          <p:spPr>
            <a:xfrm>
              <a:off x="5452829" y="1919241"/>
              <a:ext cx="1985758" cy="2934488"/>
            </a:xfrm>
            <a:custGeom>
              <a:avLst/>
              <a:gdLst>
                <a:gd name="connsiteX0" fmla="*/ 6712 w 652367"/>
                <a:gd name="connsiteY0" fmla="*/ 593818 h 964047"/>
                <a:gd name="connsiteX1" fmla="*/ 22428 w 652367"/>
                <a:gd name="connsiteY1" fmla="*/ 611153 h 964047"/>
                <a:gd name="connsiteX2" fmla="*/ 24048 w 652367"/>
                <a:gd name="connsiteY2" fmla="*/ 612106 h 964047"/>
                <a:gd name="connsiteX3" fmla="*/ 627552 w 652367"/>
                <a:gd name="connsiteY3" fmla="*/ 960530 h 964047"/>
                <a:gd name="connsiteX4" fmla="*/ 652031 w 652367"/>
                <a:gd name="connsiteY4" fmla="*/ 946433 h 964047"/>
                <a:gd name="connsiteX5" fmla="*/ 652031 w 652367"/>
                <a:gd name="connsiteY5" fmla="*/ 393983 h 964047"/>
                <a:gd name="connsiteX6" fmla="*/ 652031 w 652367"/>
                <a:gd name="connsiteY6" fmla="*/ 392174 h 964047"/>
                <a:gd name="connsiteX7" fmla="*/ 644887 w 652367"/>
                <a:gd name="connsiteY7" fmla="*/ 369885 h 964047"/>
                <a:gd name="connsiteX8" fmla="*/ 627647 w 652367"/>
                <a:gd name="connsiteY8" fmla="*/ 351597 h 964047"/>
                <a:gd name="connsiteX9" fmla="*/ 24143 w 652367"/>
                <a:gd name="connsiteY9" fmla="*/ 3173 h 964047"/>
                <a:gd name="connsiteX10" fmla="*/ -336 w 652367"/>
                <a:gd name="connsiteY10" fmla="*/ 17365 h 964047"/>
                <a:gd name="connsiteX11" fmla="*/ -336 w 652367"/>
                <a:gd name="connsiteY11" fmla="*/ 569815 h 964047"/>
                <a:gd name="connsiteX12" fmla="*/ 6712 w 652367"/>
                <a:gd name="connsiteY12" fmla="*/ 593818 h 9640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2367" h="964047">
                  <a:moveTo>
                    <a:pt x="6712" y="593818"/>
                  </a:moveTo>
                  <a:cubicBezTo>
                    <a:pt x="10570" y="600714"/>
                    <a:pt x="15951" y="606639"/>
                    <a:pt x="22428" y="611153"/>
                  </a:cubicBezTo>
                  <a:lnTo>
                    <a:pt x="24048" y="612106"/>
                  </a:lnTo>
                  <a:lnTo>
                    <a:pt x="627552" y="960530"/>
                  </a:lnTo>
                  <a:cubicBezTo>
                    <a:pt x="641077" y="968341"/>
                    <a:pt x="652031" y="962054"/>
                    <a:pt x="652031" y="946433"/>
                  </a:cubicBezTo>
                  <a:lnTo>
                    <a:pt x="652031" y="393983"/>
                  </a:lnTo>
                  <a:cubicBezTo>
                    <a:pt x="651983" y="393383"/>
                    <a:pt x="651983" y="392774"/>
                    <a:pt x="652031" y="392174"/>
                  </a:cubicBezTo>
                  <a:cubicBezTo>
                    <a:pt x="651412" y="384287"/>
                    <a:pt x="648964" y="376657"/>
                    <a:pt x="644887" y="369885"/>
                  </a:cubicBezTo>
                  <a:cubicBezTo>
                    <a:pt x="640791" y="362418"/>
                    <a:pt x="634857" y="356122"/>
                    <a:pt x="627647" y="351597"/>
                  </a:cubicBezTo>
                  <a:lnTo>
                    <a:pt x="24143" y="3173"/>
                  </a:lnTo>
                  <a:cubicBezTo>
                    <a:pt x="10617" y="-4638"/>
                    <a:pt x="-336" y="1744"/>
                    <a:pt x="-336" y="17365"/>
                  </a:cubicBezTo>
                  <a:lnTo>
                    <a:pt x="-336" y="569815"/>
                  </a:lnTo>
                  <a:cubicBezTo>
                    <a:pt x="-89" y="578292"/>
                    <a:pt x="2340" y="586560"/>
                    <a:pt x="6712" y="593818"/>
                  </a:cubicBezTo>
                  <a:close/>
                </a:path>
              </a:pathLst>
            </a:custGeom>
            <a:solidFill>
              <a:srgbClr val="D9530B"/>
            </a:solidFill>
            <a:ln w="9525" cap="flat">
              <a:noFill/>
              <a:prstDash val="solid"/>
              <a:miter/>
            </a:ln>
          </p:spPr>
          <p:txBody>
            <a:bodyPr rtlCol="0" anchor="ctr"/>
            <a:lstStyle/>
            <a:p>
              <a:endParaRPr lang="zh-CN" altLang="en-US"/>
            </a:p>
          </p:txBody>
        </p:sp>
        <p:sp>
          <p:nvSpPr>
            <p:cNvPr id="807" name="ïš1îďe">
              <a:extLst>
                <a:ext uri="{FF2B5EF4-FFF2-40B4-BE49-F238E27FC236}">
                  <a16:creationId xmlns:a16="http://schemas.microsoft.com/office/drawing/2014/main" id="{8DCB870C-63AE-40BF-A678-4A1F4AF144D8}"/>
                </a:ext>
              </a:extLst>
            </p:cNvPr>
            <p:cNvSpPr/>
            <p:nvPr/>
          </p:nvSpPr>
          <p:spPr>
            <a:xfrm>
              <a:off x="5540969" y="2067691"/>
              <a:ext cx="1810348" cy="2427035"/>
            </a:xfrm>
            <a:custGeom>
              <a:avLst/>
              <a:gdLst>
                <a:gd name="connsiteX0" fmla="*/ 594741 w 594741"/>
                <a:gd name="connsiteY0" fmla="*/ 797338 h 797337"/>
                <a:gd name="connsiteX1" fmla="*/ 594741 w 594741"/>
                <a:gd name="connsiteY1" fmla="*/ 343376 h 797337"/>
                <a:gd name="connsiteX2" fmla="*/ 0 w 594741"/>
                <a:gd name="connsiteY2" fmla="*/ 0 h 797337"/>
                <a:gd name="connsiteX3" fmla="*/ 0 w 594741"/>
                <a:gd name="connsiteY3" fmla="*/ 453962 h 797337"/>
                <a:gd name="connsiteX4" fmla="*/ 594741 w 594741"/>
                <a:gd name="connsiteY4" fmla="*/ 797338 h 7973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4741" h="797337">
                  <a:moveTo>
                    <a:pt x="594741" y="797338"/>
                  </a:moveTo>
                  <a:lnTo>
                    <a:pt x="594741" y="343376"/>
                  </a:lnTo>
                  <a:lnTo>
                    <a:pt x="0" y="0"/>
                  </a:lnTo>
                  <a:lnTo>
                    <a:pt x="0" y="453962"/>
                  </a:lnTo>
                  <a:lnTo>
                    <a:pt x="594741" y="797338"/>
                  </a:lnTo>
                  <a:close/>
                </a:path>
              </a:pathLst>
            </a:custGeom>
            <a:solidFill>
              <a:srgbClr val="73A1FF"/>
            </a:solidFill>
            <a:ln w="9525" cap="flat">
              <a:noFill/>
              <a:prstDash val="solid"/>
              <a:miter/>
            </a:ln>
          </p:spPr>
          <p:txBody>
            <a:bodyPr rtlCol="0" anchor="ctr"/>
            <a:lstStyle/>
            <a:p>
              <a:endParaRPr lang="zh-CN" altLang="en-US"/>
            </a:p>
          </p:txBody>
        </p:sp>
        <p:sp>
          <p:nvSpPr>
            <p:cNvPr id="808" name="íş1iďè">
              <a:extLst>
                <a:ext uri="{FF2B5EF4-FFF2-40B4-BE49-F238E27FC236}">
                  <a16:creationId xmlns:a16="http://schemas.microsoft.com/office/drawing/2014/main" id="{CD7F518F-52F7-4056-8576-9F82939D0A0C}"/>
                </a:ext>
              </a:extLst>
            </p:cNvPr>
            <p:cNvSpPr/>
            <p:nvPr/>
          </p:nvSpPr>
          <p:spPr>
            <a:xfrm>
              <a:off x="6426426" y="2495140"/>
              <a:ext cx="39720" cy="50864"/>
            </a:xfrm>
            <a:custGeom>
              <a:avLst/>
              <a:gdLst>
                <a:gd name="connsiteX0" fmla="*/ 6236 w 13049"/>
                <a:gd name="connsiteY0" fmla="*/ 15716 h 16710"/>
                <a:gd name="connsiteX1" fmla="*/ 12713 w 13049"/>
                <a:gd name="connsiteY1" fmla="*/ 12002 h 16710"/>
                <a:gd name="connsiteX2" fmla="*/ 6236 w 13049"/>
                <a:gd name="connsiteY2" fmla="*/ 667 h 16710"/>
                <a:gd name="connsiteX3" fmla="*/ -336 w 13049"/>
                <a:gd name="connsiteY3" fmla="*/ 4477 h 16710"/>
                <a:gd name="connsiteX4" fmla="*/ 6236 w 13049"/>
                <a:gd name="connsiteY4" fmla="*/ 15716 h 167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49" h="16710">
                  <a:moveTo>
                    <a:pt x="6236" y="15716"/>
                  </a:moveTo>
                  <a:cubicBezTo>
                    <a:pt x="9760" y="17812"/>
                    <a:pt x="12713" y="15716"/>
                    <a:pt x="12713" y="12002"/>
                  </a:cubicBezTo>
                  <a:cubicBezTo>
                    <a:pt x="12446" y="7420"/>
                    <a:pt x="10046" y="3220"/>
                    <a:pt x="6236" y="667"/>
                  </a:cubicBezTo>
                  <a:cubicBezTo>
                    <a:pt x="2616" y="-1429"/>
                    <a:pt x="-336" y="667"/>
                    <a:pt x="-336" y="4477"/>
                  </a:cubicBezTo>
                  <a:cubicBezTo>
                    <a:pt x="-51" y="9049"/>
                    <a:pt x="2388" y="13221"/>
                    <a:pt x="6236" y="15716"/>
                  </a:cubicBezTo>
                  <a:close/>
                </a:path>
              </a:pathLst>
            </a:custGeom>
            <a:solidFill>
              <a:srgbClr val="BF4200"/>
            </a:solidFill>
            <a:ln w="9525" cap="flat">
              <a:noFill/>
              <a:prstDash val="solid"/>
              <a:miter/>
            </a:ln>
          </p:spPr>
          <p:txBody>
            <a:bodyPr rtlCol="0" anchor="ctr"/>
            <a:lstStyle/>
            <a:p>
              <a:endParaRPr lang="zh-CN" altLang="en-US"/>
            </a:p>
          </p:txBody>
        </p:sp>
        <p:sp>
          <p:nvSpPr>
            <p:cNvPr id="809" name="íṣḻïḑé">
              <a:extLst>
                <a:ext uri="{FF2B5EF4-FFF2-40B4-BE49-F238E27FC236}">
                  <a16:creationId xmlns:a16="http://schemas.microsoft.com/office/drawing/2014/main" id="{94F9CDCC-7441-4F07-9AE0-41224977642F}"/>
                </a:ext>
              </a:extLst>
            </p:cNvPr>
            <p:cNvSpPr/>
            <p:nvPr/>
          </p:nvSpPr>
          <p:spPr>
            <a:xfrm>
              <a:off x="6433966" y="2504747"/>
              <a:ext cx="24644" cy="31642"/>
            </a:xfrm>
            <a:custGeom>
              <a:avLst/>
              <a:gdLst>
                <a:gd name="connsiteX0" fmla="*/ 3759 w 8096"/>
                <a:gd name="connsiteY0" fmla="*/ 9703 h 10395"/>
                <a:gd name="connsiteX1" fmla="*/ 7760 w 8096"/>
                <a:gd name="connsiteY1" fmla="*/ 7416 h 10395"/>
                <a:gd name="connsiteX2" fmla="*/ 3759 w 8096"/>
                <a:gd name="connsiteY2" fmla="*/ 368 h 10395"/>
                <a:gd name="connsiteX3" fmla="*/ -336 w 8096"/>
                <a:gd name="connsiteY3" fmla="*/ 2654 h 10395"/>
                <a:gd name="connsiteX4" fmla="*/ 3759 w 8096"/>
                <a:gd name="connsiteY4" fmla="*/ 9703 h 103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96" h="10395">
                  <a:moveTo>
                    <a:pt x="3759" y="9703"/>
                  </a:moveTo>
                  <a:cubicBezTo>
                    <a:pt x="5950" y="11036"/>
                    <a:pt x="7760" y="9703"/>
                    <a:pt x="7760" y="7416"/>
                  </a:cubicBezTo>
                  <a:cubicBezTo>
                    <a:pt x="7645" y="4559"/>
                    <a:pt x="6150" y="1930"/>
                    <a:pt x="3759" y="368"/>
                  </a:cubicBezTo>
                  <a:cubicBezTo>
                    <a:pt x="1473" y="-965"/>
                    <a:pt x="-336" y="368"/>
                    <a:pt x="-336" y="2654"/>
                  </a:cubicBezTo>
                  <a:cubicBezTo>
                    <a:pt x="-213" y="5531"/>
                    <a:pt x="1321" y="8169"/>
                    <a:pt x="3759" y="9703"/>
                  </a:cubicBezTo>
                  <a:close/>
                </a:path>
              </a:pathLst>
            </a:custGeom>
            <a:solidFill>
              <a:srgbClr val="171A42"/>
            </a:solidFill>
            <a:ln w="9525" cap="flat">
              <a:noFill/>
              <a:prstDash val="solid"/>
              <a:miter/>
            </a:ln>
          </p:spPr>
          <p:txBody>
            <a:bodyPr rtlCol="0" anchor="ctr"/>
            <a:lstStyle/>
            <a:p>
              <a:endParaRPr lang="zh-CN" altLang="en-US"/>
            </a:p>
          </p:txBody>
        </p:sp>
        <p:sp>
          <p:nvSpPr>
            <p:cNvPr id="810" name="îṩľíďè">
              <a:extLst>
                <a:ext uri="{FF2B5EF4-FFF2-40B4-BE49-F238E27FC236}">
                  <a16:creationId xmlns:a16="http://schemas.microsoft.com/office/drawing/2014/main" id="{D0AD837C-F765-4C26-9E57-9EBF73F4055D}"/>
                </a:ext>
              </a:extLst>
            </p:cNvPr>
            <p:cNvSpPr/>
            <p:nvPr/>
          </p:nvSpPr>
          <p:spPr>
            <a:xfrm>
              <a:off x="5453100" y="1919957"/>
              <a:ext cx="1987164" cy="2935252"/>
            </a:xfrm>
            <a:custGeom>
              <a:avLst/>
              <a:gdLst>
                <a:gd name="connsiteX0" fmla="*/ 9005 w 652829"/>
                <a:gd name="connsiteY0" fmla="*/ 4938 h 964298"/>
                <a:gd name="connsiteX1" fmla="*/ 25388 w 652829"/>
                <a:gd name="connsiteY1" fmla="*/ 6557 h 964298"/>
                <a:gd name="connsiteX2" fmla="*/ 628891 w 652829"/>
                <a:gd name="connsiteY2" fmla="*/ 354791 h 964298"/>
                <a:gd name="connsiteX3" fmla="*/ 643846 w 652829"/>
                <a:gd name="connsiteY3" fmla="*/ 370222 h 964298"/>
                <a:gd name="connsiteX4" fmla="*/ 649751 w 652829"/>
                <a:gd name="connsiteY4" fmla="*/ 389272 h 964298"/>
                <a:gd name="connsiteX5" fmla="*/ 649751 w 652829"/>
                <a:gd name="connsiteY5" fmla="*/ 943246 h 964298"/>
                <a:gd name="connsiteX6" fmla="*/ 642893 w 652829"/>
                <a:gd name="connsiteY6" fmla="*/ 958295 h 964298"/>
                <a:gd name="connsiteX7" fmla="*/ 626510 w 652829"/>
                <a:gd name="connsiteY7" fmla="*/ 956676 h 964298"/>
                <a:gd name="connsiteX8" fmla="*/ 23006 w 652829"/>
                <a:gd name="connsiteY8" fmla="*/ 608251 h 964298"/>
                <a:gd name="connsiteX9" fmla="*/ 21578 w 652829"/>
                <a:gd name="connsiteY9" fmla="*/ 607394 h 964298"/>
                <a:gd name="connsiteX10" fmla="*/ 8147 w 652829"/>
                <a:gd name="connsiteY10" fmla="*/ 592821 h 964298"/>
                <a:gd name="connsiteX11" fmla="*/ 2147 w 652829"/>
                <a:gd name="connsiteY11" fmla="*/ 572152 h 964298"/>
                <a:gd name="connsiteX12" fmla="*/ 2147 w 652829"/>
                <a:gd name="connsiteY12" fmla="*/ 19702 h 964298"/>
                <a:gd name="connsiteX13" fmla="*/ 9005 w 652829"/>
                <a:gd name="connsiteY13" fmla="*/ 4652 h 964298"/>
                <a:gd name="connsiteX14" fmla="*/ 6909 w 652829"/>
                <a:gd name="connsiteY14" fmla="*/ 1318 h 964298"/>
                <a:gd name="connsiteX15" fmla="*/ -235 w 652829"/>
                <a:gd name="connsiteY15" fmla="*/ 17225 h 964298"/>
                <a:gd name="connsiteX16" fmla="*/ -235 w 652829"/>
                <a:gd name="connsiteY16" fmla="*/ 569675 h 964298"/>
                <a:gd name="connsiteX17" fmla="*/ 6909 w 652829"/>
                <a:gd name="connsiteY17" fmla="*/ 593773 h 964298"/>
                <a:gd name="connsiteX18" fmla="*/ 22625 w 652829"/>
                <a:gd name="connsiteY18" fmla="*/ 611109 h 964298"/>
                <a:gd name="connsiteX19" fmla="*/ 24245 w 652829"/>
                <a:gd name="connsiteY19" fmla="*/ 612061 h 964298"/>
                <a:gd name="connsiteX20" fmla="*/ 627748 w 652829"/>
                <a:gd name="connsiteY20" fmla="*/ 960486 h 964298"/>
                <a:gd name="connsiteX21" fmla="*/ 648846 w 652829"/>
                <a:gd name="connsiteY21" fmla="*/ 958971 h 964298"/>
                <a:gd name="connsiteX22" fmla="*/ 652228 w 652829"/>
                <a:gd name="connsiteY22" fmla="*/ 946389 h 964298"/>
                <a:gd name="connsiteX23" fmla="*/ 652228 w 652829"/>
                <a:gd name="connsiteY23" fmla="*/ 393939 h 964298"/>
                <a:gd name="connsiteX24" fmla="*/ 652228 w 652829"/>
                <a:gd name="connsiteY24" fmla="*/ 392129 h 964298"/>
                <a:gd name="connsiteX25" fmla="*/ 645084 w 652829"/>
                <a:gd name="connsiteY25" fmla="*/ 369841 h 964298"/>
                <a:gd name="connsiteX26" fmla="*/ 627844 w 652829"/>
                <a:gd name="connsiteY26" fmla="*/ 351553 h 964298"/>
                <a:gd name="connsiteX27" fmla="*/ 24340 w 652829"/>
                <a:gd name="connsiteY27" fmla="*/ 3128 h 964298"/>
                <a:gd name="connsiteX28" fmla="*/ 7004 w 652829"/>
                <a:gd name="connsiteY28" fmla="*/ 1414 h 964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652829" h="964298">
                  <a:moveTo>
                    <a:pt x="9005" y="4938"/>
                  </a:moveTo>
                  <a:cubicBezTo>
                    <a:pt x="14367" y="2519"/>
                    <a:pt x="20606" y="3128"/>
                    <a:pt x="25388" y="6557"/>
                  </a:cubicBezTo>
                  <a:lnTo>
                    <a:pt x="628891" y="354791"/>
                  </a:lnTo>
                  <a:cubicBezTo>
                    <a:pt x="635102" y="358592"/>
                    <a:pt x="640245" y="363897"/>
                    <a:pt x="643846" y="370222"/>
                  </a:cubicBezTo>
                  <a:cubicBezTo>
                    <a:pt x="647208" y="376051"/>
                    <a:pt x="649227" y="382566"/>
                    <a:pt x="649751" y="389272"/>
                  </a:cubicBezTo>
                  <a:lnTo>
                    <a:pt x="649751" y="943246"/>
                  </a:lnTo>
                  <a:cubicBezTo>
                    <a:pt x="650370" y="949132"/>
                    <a:pt x="647741" y="954895"/>
                    <a:pt x="642893" y="958295"/>
                  </a:cubicBezTo>
                  <a:cubicBezTo>
                    <a:pt x="637550" y="960800"/>
                    <a:pt x="631263" y="960181"/>
                    <a:pt x="626510" y="956676"/>
                  </a:cubicBezTo>
                  <a:lnTo>
                    <a:pt x="23006" y="608251"/>
                  </a:lnTo>
                  <a:lnTo>
                    <a:pt x="21578" y="607394"/>
                  </a:lnTo>
                  <a:cubicBezTo>
                    <a:pt x="16034" y="603641"/>
                    <a:pt x="11433" y="598650"/>
                    <a:pt x="8147" y="592821"/>
                  </a:cubicBezTo>
                  <a:cubicBezTo>
                    <a:pt x="4375" y="586573"/>
                    <a:pt x="2308" y="579448"/>
                    <a:pt x="2147" y="572152"/>
                  </a:cubicBezTo>
                  <a:lnTo>
                    <a:pt x="2147" y="19702"/>
                  </a:lnTo>
                  <a:cubicBezTo>
                    <a:pt x="1565" y="13815"/>
                    <a:pt x="4185" y="8072"/>
                    <a:pt x="9005" y="4652"/>
                  </a:cubicBezTo>
                  <a:close/>
                  <a:moveTo>
                    <a:pt x="6909" y="1318"/>
                  </a:moveTo>
                  <a:cubicBezTo>
                    <a:pt x="1823" y="4938"/>
                    <a:pt x="-911" y="11024"/>
                    <a:pt x="-235" y="17225"/>
                  </a:cubicBezTo>
                  <a:lnTo>
                    <a:pt x="-235" y="569675"/>
                  </a:lnTo>
                  <a:cubicBezTo>
                    <a:pt x="23" y="578191"/>
                    <a:pt x="2480" y="586496"/>
                    <a:pt x="6909" y="593773"/>
                  </a:cubicBezTo>
                  <a:cubicBezTo>
                    <a:pt x="10767" y="600670"/>
                    <a:pt x="16148" y="606594"/>
                    <a:pt x="22625" y="611109"/>
                  </a:cubicBezTo>
                  <a:lnTo>
                    <a:pt x="24245" y="612061"/>
                  </a:lnTo>
                  <a:lnTo>
                    <a:pt x="627748" y="960486"/>
                  </a:lnTo>
                  <a:cubicBezTo>
                    <a:pt x="633997" y="965896"/>
                    <a:pt x="643436" y="965210"/>
                    <a:pt x="648846" y="958971"/>
                  </a:cubicBezTo>
                  <a:cubicBezTo>
                    <a:pt x="651837" y="955514"/>
                    <a:pt x="653085" y="950875"/>
                    <a:pt x="652228" y="946389"/>
                  </a:cubicBezTo>
                  <a:lnTo>
                    <a:pt x="652228" y="393939"/>
                  </a:lnTo>
                  <a:cubicBezTo>
                    <a:pt x="652180" y="393339"/>
                    <a:pt x="652180" y="392729"/>
                    <a:pt x="652228" y="392129"/>
                  </a:cubicBezTo>
                  <a:cubicBezTo>
                    <a:pt x="651609" y="384242"/>
                    <a:pt x="649161" y="376613"/>
                    <a:pt x="645084" y="369841"/>
                  </a:cubicBezTo>
                  <a:cubicBezTo>
                    <a:pt x="640988" y="362373"/>
                    <a:pt x="635054" y="356077"/>
                    <a:pt x="627844" y="351553"/>
                  </a:cubicBezTo>
                  <a:lnTo>
                    <a:pt x="24340" y="3128"/>
                  </a:lnTo>
                  <a:cubicBezTo>
                    <a:pt x="19291" y="-539"/>
                    <a:pt x="12672" y="-1187"/>
                    <a:pt x="7004" y="1414"/>
                  </a:cubicBezTo>
                  <a:close/>
                </a:path>
              </a:pathLst>
            </a:custGeom>
            <a:solidFill>
              <a:srgbClr val="D1D9E8"/>
            </a:solidFill>
            <a:ln w="9525" cap="flat">
              <a:noFill/>
              <a:prstDash val="solid"/>
              <a:miter/>
            </a:ln>
          </p:spPr>
          <p:txBody>
            <a:bodyPr rtlCol="0" anchor="ctr"/>
            <a:lstStyle/>
            <a:p>
              <a:endParaRPr lang="zh-CN" altLang="en-US"/>
            </a:p>
          </p:txBody>
        </p:sp>
        <p:sp>
          <p:nvSpPr>
            <p:cNvPr id="811" name="ïṥḻíḍê">
              <a:extLst>
                <a:ext uri="{FF2B5EF4-FFF2-40B4-BE49-F238E27FC236}">
                  <a16:creationId xmlns:a16="http://schemas.microsoft.com/office/drawing/2014/main" id="{E579A483-10B4-42DB-9C39-A74477E3BE2E}"/>
                </a:ext>
              </a:extLst>
            </p:cNvPr>
            <p:cNvSpPr/>
            <p:nvPr/>
          </p:nvSpPr>
          <p:spPr>
            <a:xfrm>
              <a:off x="5541258" y="2067694"/>
              <a:ext cx="1810348" cy="2425586"/>
            </a:xfrm>
            <a:custGeom>
              <a:avLst/>
              <a:gdLst>
                <a:gd name="connsiteX0" fmla="*/ 2045 w 594741"/>
                <a:gd name="connsiteY0" fmla="*/ 4028 h 796861"/>
                <a:gd name="connsiteX1" fmla="*/ 591928 w 594741"/>
                <a:gd name="connsiteY1" fmla="*/ 344357 h 796861"/>
                <a:gd name="connsiteX2" fmla="*/ 591928 w 594741"/>
                <a:gd name="connsiteY2" fmla="*/ 792984 h 796861"/>
                <a:gd name="connsiteX3" fmla="*/ 2045 w 594741"/>
                <a:gd name="connsiteY3" fmla="*/ 452370 h 796861"/>
                <a:gd name="connsiteX4" fmla="*/ 2045 w 594741"/>
                <a:gd name="connsiteY4" fmla="*/ 4028 h 796861"/>
                <a:gd name="connsiteX5" fmla="*/ -336 w 594741"/>
                <a:gd name="connsiteY5" fmla="*/ -163 h 796861"/>
                <a:gd name="connsiteX6" fmla="*/ -336 w 594741"/>
                <a:gd name="connsiteY6" fmla="*/ 453799 h 796861"/>
                <a:gd name="connsiteX7" fmla="*/ 594405 w 594741"/>
                <a:gd name="connsiteY7" fmla="*/ 796699 h 796861"/>
                <a:gd name="connsiteX8" fmla="*/ 594405 w 594741"/>
                <a:gd name="connsiteY8" fmla="*/ 343214 h 796861"/>
                <a:gd name="connsiteX9" fmla="*/ -336 w 594741"/>
                <a:gd name="connsiteY9" fmla="*/ 314 h 796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94741" h="796861">
                  <a:moveTo>
                    <a:pt x="2045" y="4028"/>
                  </a:moveTo>
                  <a:lnTo>
                    <a:pt x="591928" y="344357"/>
                  </a:lnTo>
                  <a:lnTo>
                    <a:pt x="591928" y="792984"/>
                  </a:lnTo>
                  <a:lnTo>
                    <a:pt x="2045" y="452370"/>
                  </a:lnTo>
                  <a:lnTo>
                    <a:pt x="2045" y="4028"/>
                  </a:lnTo>
                  <a:close/>
                  <a:moveTo>
                    <a:pt x="-336" y="-163"/>
                  </a:moveTo>
                  <a:lnTo>
                    <a:pt x="-336" y="453799"/>
                  </a:lnTo>
                  <a:lnTo>
                    <a:pt x="594405" y="796699"/>
                  </a:lnTo>
                  <a:lnTo>
                    <a:pt x="594405" y="343214"/>
                  </a:lnTo>
                  <a:lnTo>
                    <a:pt x="-336" y="314"/>
                  </a:lnTo>
                  <a:close/>
                </a:path>
              </a:pathLst>
            </a:custGeom>
            <a:solidFill>
              <a:srgbClr val="316DE6"/>
            </a:solidFill>
            <a:ln w="9525" cap="flat">
              <a:noFill/>
              <a:prstDash val="solid"/>
              <a:miter/>
            </a:ln>
          </p:spPr>
          <p:txBody>
            <a:bodyPr rtlCol="0" anchor="ctr"/>
            <a:lstStyle/>
            <a:p>
              <a:endParaRPr lang="zh-CN" altLang="en-US"/>
            </a:p>
          </p:txBody>
        </p:sp>
        <p:sp>
          <p:nvSpPr>
            <p:cNvPr id="812" name="ïsľïḍe">
              <a:extLst>
                <a:ext uri="{FF2B5EF4-FFF2-40B4-BE49-F238E27FC236}">
                  <a16:creationId xmlns:a16="http://schemas.microsoft.com/office/drawing/2014/main" id="{F6936D73-B50B-46E0-9433-3B94B076AC93}"/>
                </a:ext>
              </a:extLst>
            </p:cNvPr>
            <p:cNvSpPr/>
            <p:nvPr/>
          </p:nvSpPr>
          <p:spPr>
            <a:xfrm>
              <a:off x="6693165" y="2844613"/>
              <a:ext cx="510479" cy="888747"/>
            </a:xfrm>
            <a:custGeom>
              <a:avLst/>
              <a:gdLst>
                <a:gd name="connsiteX0" fmla="*/ 167304 w 167704"/>
                <a:gd name="connsiteY0" fmla="*/ 111504 h 291974"/>
                <a:gd name="connsiteX1" fmla="*/ 167304 w 167704"/>
                <a:gd name="connsiteY1" fmla="*/ 268380 h 291974"/>
                <a:gd name="connsiteX2" fmla="*/ 160636 w 167704"/>
                <a:gd name="connsiteY2" fmla="*/ 284478 h 291974"/>
                <a:gd name="connsiteX3" fmla="*/ 158636 w 167704"/>
                <a:gd name="connsiteY3" fmla="*/ 285621 h 291974"/>
                <a:gd name="connsiteX4" fmla="*/ 147873 w 167704"/>
                <a:gd name="connsiteY4" fmla="*/ 291812 h 291974"/>
                <a:gd name="connsiteX5" fmla="*/ 152159 w 167704"/>
                <a:gd name="connsiteY5" fmla="*/ 286668 h 291974"/>
                <a:gd name="connsiteX6" fmla="*/ 154445 w 167704"/>
                <a:gd name="connsiteY6" fmla="*/ 275810 h 291974"/>
                <a:gd name="connsiteX7" fmla="*/ 154445 w 167704"/>
                <a:gd name="connsiteY7" fmla="*/ 118933 h 291974"/>
                <a:gd name="connsiteX8" fmla="*/ 152254 w 167704"/>
                <a:gd name="connsiteY8" fmla="*/ 105693 h 291974"/>
                <a:gd name="connsiteX9" fmla="*/ 128823 w 167704"/>
                <a:gd name="connsiteY9" fmla="*/ 74451 h 291974"/>
                <a:gd name="connsiteX10" fmla="*/ 17761 w 167704"/>
                <a:gd name="connsiteY10" fmla="*/ 10443 h 291974"/>
                <a:gd name="connsiteX11" fmla="*/ 7188 w 167704"/>
                <a:gd name="connsiteY11" fmla="*/ 6919 h 291974"/>
                <a:gd name="connsiteX12" fmla="*/ -336 w 167704"/>
                <a:gd name="connsiteY12" fmla="*/ 8634 h 291974"/>
                <a:gd name="connsiteX13" fmla="*/ 12046 w 167704"/>
                <a:gd name="connsiteY13" fmla="*/ 1490 h 291974"/>
                <a:gd name="connsiteX14" fmla="*/ 12046 w 167704"/>
                <a:gd name="connsiteY14" fmla="*/ 1490 h 291974"/>
                <a:gd name="connsiteX15" fmla="*/ 30239 w 167704"/>
                <a:gd name="connsiteY15" fmla="*/ 3300 h 291974"/>
                <a:gd name="connsiteX16" fmla="*/ 141205 w 167704"/>
                <a:gd name="connsiteY16" fmla="*/ 67403 h 291974"/>
                <a:gd name="connsiteX17" fmla="*/ 167304 w 167704"/>
                <a:gd name="connsiteY17" fmla="*/ 111504 h 2919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67704" h="291974">
                  <a:moveTo>
                    <a:pt x="167304" y="111504"/>
                  </a:moveTo>
                  <a:lnTo>
                    <a:pt x="167304" y="268380"/>
                  </a:lnTo>
                  <a:cubicBezTo>
                    <a:pt x="167808" y="274505"/>
                    <a:pt x="165322" y="280506"/>
                    <a:pt x="160636" y="284478"/>
                  </a:cubicBezTo>
                  <a:lnTo>
                    <a:pt x="158636" y="285621"/>
                  </a:lnTo>
                  <a:lnTo>
                    <a:pt x="147873" y="291812"/>
                  </a:lnTo>
                  <a:cubicBezTo>
                    <a:pt x="149711" y="290488"/>
                    <a:pt x="151187" y="288716"/>
                    <a:pt x="152159" y="286668"/>
                  </a:cubicBezTo>
                  <a:cubicBezTo>
                    <a:pt x="153797" y="283287"/>
                    <a:pt x="154578" y="279563"/>
                    <a:pt x="154445" y="275810"/>
                  </a:cubicBezTo>
                  <a:lnTo>
                    <a:pt x="154445" y="118933"/>
                  </a:lnTo>
                  <a:cubicBezTo>
                    <a:pt x="154397" y="114437"/>
                    <a:pt x="153664" y="109970"/>
                    <a:pt x="152254" y="105693"/>
                  </a:cubicBezTo>
                  <a:cubicBezTo>
                    <a:pt x="148358" y="92854"/>
                    <a:pt x="140062" y="81795"/>
                    <a:pt x="128823" y="74451"/>
                  </a:cubicBezTo>
                  <a:lnTo>
                    <a:pt x="17761" y="10443"/>
                  </a:lnTo>
                  <a:cubicBezTo>
                    <a:pt x="14561" y="8453"/>
                    <a:pt x="10941" y="7243"/>
                    <a:pt x="7188" y="6919"/>
                  </a:cubicBezTo>
                  <a:cubicBezTo>
                    <a:pt x="4569" y="6776"/>
                    <a:pt x="1959" y="7367"/>
                    <a:pt x="-336" y="8634"/>
                  </a:cubicBezTo>
                  <a:lnTo>
                    <a:pt x="12046" y="1490"/>
                  </a:lnTo>
                  <a:lnTo>
                    <a:pt x="12046" y="1490"/>
                  </a:lnTo>
                  <a:cubicBezTo>
                    <a:pt x="17990" y="-1244"/>
                    <a:pt x="24943" y="-549"/>
                    <a:pt x="30239" y="3300"/>
                  </a:cubicBezTo>
                  <a:lnTo>
                    <a:pt x="141205" y="67403"/>
                  </a:lnTo>
                  <a:cubicBezTo>
                    <a:pt x="156455" y="77080"/>
                    <a:pt x="166160" y="93473"/>
                    <a:pt x="167304" y="111504"/>
                  </a:cubicBezTo>
                  <a:close/>
                </a:path>
              </a:pathLst>
            </a:custGeom>
            <a:solidFill>
              <a:srgbClr val="D9530B"/>
            </a:solidFill>
            <a:ln w="9525" cap="flat">
              <a:noFill/>
              <a:prstDash val="solid"/>
              <a:miter/>
            </a:ln>
          </p:spPr>
          <p:txBody>
            <a:bodyPr rtlCol="0" anchor="ctr"/>
            <a:lstStyle/>
            <a:p>
              <a:endParaRPr lang="zh-CN" altLang="en-US"/>
            </a:p>
          </p:txBody>
        </p:sp>
        <p:sp>
          <p:nvSpPr>
            <p:cNvPr id="813" name="i$ļïďè">
              <a:extLst>
                <a:ext uri="{FF2B5EF4-FFF2-40B4-BE49-F238E27FC236}">
                  <a16:creationId xmlns:a16="http://schemas.microsoft.com/office/drawing/2014/main" id="{C4EB154B-4ED8-49ED-9D91-578475FE1BE5}"/>
                </a:ext>
              </a:extLst>
            </p:cNvPr>
            <p:cNvSpPr/>
            <p:nvPr/>
          </p:nvSpPr>
          <p:spPr>
            <a:xfrm>
              <a:off x="6669977" y="2868426"/>
              <a:ext cx="494331" cy="347114"/>
            </a:xfrm>
            <a:custGeom>
              <a:avLst/>
              <a:gdLst>
                <a:gd name="connsiteX0" fmla="*/ 162063 w 162399"/>
                <a:gd name="connsiteY0" fmla="*/ 111110 h 114035"/>
                <a:gd name="connsiteX1" fmla="*/ 162063 w 162399"/>
                <a:gd name="connsiteY1" fmla="*/ 113873 h 114035"/>
                <a:gd name="connsiteX2" fmla="*/ 12616 w 162399"/>
                <a:gd name="connsiteY2" fmla="*/ 28148 h 114035"/>
                <a:gd name="connsiteX3" fmla="*/ -243 w 162399"/>
                <a:gd name="connsiteY3" fmla="*/ 20718 h 114035"/>
                <a:gd name="connsiteX4" fmla="*/ -243 w 162399"/>
                <a:gd name="connsiteY4" fmla="*/ 17861 h 114035"/>
                <a:gd name="connsiteX5" fmla="*/ 6805 w 162399"/>
                <a:gd name="connsiteY5" fmla="*/ 1573 h 114035"/>
                <a:gd name="connsiteX6" fmla="*/ 7282 w 162399"/>
                <a:gd name="connsiteY6" fmla="*/ 1573 h 114035"/>
                <a:gd name="connsiteX7" fmla="*/ 14806 w 162399"/>
                <a:gd name="connsiteY7" fmla="*/ -142 h 114035"/>
                <a:gd name="connsiteX8" fmla="*/ 25379 w 162399"/>
                <a:gd name="connsiteY8" fmla="*/ 3383 h 114035"/>
                <a:gd name="connsiteX9" fmla="*/ 136441 w 162399"/>
                <a:gd name="connsiteY9" fmla="*/ 67391 h 114035"/>
                <a:gd name="connsiteX10" fmla="*/ 159872 w 162399"/>
                <a:gd name="connsiteY10" fmla="*/ 98633 h 114035"/>
                <a:gd name="connsiteX11" fmla="*/ 162063 w 162399"/>
                <a:gd name="connsiteY11" fmla="*/ 111110 h 1140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2399" h="114035">
                  <a:moveTo>
                    <a:pt x="162063" y="111110"/>
                  </a:moveTo>
                  <a:lnTo>
                    <a:pt x="162063" y="113873"/>
                  </a:lnTo>
                  <a:lnTo>
                    <a:pt x="12616" y="28148"/>
                  </a:lnTo>
                  <a:lnTo>
                    <a:pt x="-243" y="20718"/>
                  </a:lnTo>
                  <a:lnTo>
                    <a:pt x="-243" y="17861"/>
                  </a:lnTo>
                  <a:cubicBezTo>
                    <a:pt x="-881" y="11574"/>
                    <a:pt x="1786" y="5411"/>
                    <a:pt x="6805" y="1573"/>
                  </a:cubicBezTo>
                  <a:lnTo>
                    <a:pt x="7282" y="1573"/>
                  </a:lnTo>
                  <a:cubicBezTo>
                    <a:pt x="9577" y="306"/>
                    <a:pt x="12187" y="-285"/>
                    <a:pt x="14806" y="-142"/>
                  </a:cubicBezTo>
                  <a:cubicBezTo>
                    <a:pt x="18559" y="182"/>
                    <a:pt x="22179" y="1392"/>
                    <a:pt x="25379" y="3383"/>
                  </a:cubicBezTo>
                  <a:lnTo>
                    <a:pt x="136441" y="67391"/>
                  </a:lnTo>
                  <a:cubicBezTo>
                    <a:pt x="147680" y="74734"/>
                    <a:pt x="155976" y="85793"/>
                    <a:pt x="159872" y="98633"/>
                  </a:cubicBezTo>
                  <a:cubicBezTo>
                    <a:pt x="161206" y="102662"/>
                    <a:pt x="161939" y="106862"/>
                    <a:pt x="162063" y="111110"/>
                  </a:cubicBezTo>
                  <a:close/>
                </a:path>
              </a:pathLst>
            </a:custGeom>
            <a:solidFill>
              <a:srgbClr val="FF7D33"/>
            </a:solidFill>
            <a:ln w="9525" cap="flat">
              <a:noFill/>
              <a:prstDash val="solid"/>
              <a:miter/>
            </a:ln>
          </p:spPr>
          <p:txBody>
            <a:bodyPr rtlCol="0" anchor="ctr"/>
            <a:lstStyle/>
            <a:p>
              <a:endParaRPr lang="zh-CN" altLang="en-US"/>
            </a:p>
          </p:txBody>
        </p:sp>
        <p:sp>
          <p:nvSpPr>
            <p:cNvPr id="814" name="ïslíḓè">
              <a:extLst>
                <a:ext uri="{FF2B5EF4-FFF2-40B4-BE49-F238E27FC236}">
                  <a16:creationId xmlns:a16="http://schemas.microsoft.com/office/drawing/2014/main" id="{97F203B2-2BA3-44AA-816F-65A9CEF2DF4F}"/>
                </a:ext>
              </a:extLst>
            </p:cNvPr>
            <p:cNvSpPr/>
            <p:nvPr/>
          </p:nvSpPr>
          <p:spPr>
            <a:xfrm>
              <a:off x="6670263" y="3390952"/>
              <a:ext cx="494090" cy="349053"/>
            </a:xfrm>
            <a:custGeom>
              <a:avLst/>
              <a:gdLst>
                <a:gd name="connsiteX0" fmla="*/ 161970 w 162320"/>
                <a:gd name="connsiteY0" fmla="*/ 93468 h 114672"/>
                <a:gd name="connsiteX1" fmla="*/ 161970 w 162320"/>
                <a:gd name="connsiteY1" fmla="*/ 96326 h 114672"/>
                <a:gd name="connsiteX2" fmla="*/ 159684 w 162320"/>
                <a:gd name="connsiteY2" fmla="*/ 107184 h 114672"/>
                <a:gd name="connsiteX3" fmla="*/ 155397 w 162320"/>
                <a:gd name="connsiteY3" fmla="*/ 112328 h 114672"/>
                <a:gd name="connsiteX4" fmla="*/ 153302 w 162320"/>
                <a:gd name="connsiteY4" fmla="*/ 113471 h 114672"/>
                <a:gd name="connsiteX5" fmla="*/ 136347 w 162320"/>
                <a:gd name="connsiteY5" fmla="*/ 111185 h 114672"/>
                <a:gd name="connsiteX6" fmla="*/ 25286 w 162320"/>
                <a:gd name="connsiteY6" fmla="*/ 47081 h 114672"/>
                <a:gd name="connsiteX7" fmla="*/ -336 w 162320"/>
                <a:gd name="connsiteY7" fmla="*/ 2600 h 114672"/>
                <a:gd name="connsiteX8" fmla="*/ -336 w 162320"/>
                <a:gd name="connsiteY8" fmla="*/ -163 h 114672"/>
                <a:gd name="connsiteX9" fmla="*/ 14713 w 162320"/>
                <a:gd name="connsiteY9" fmla="*/ 8505 h 114672"/>
                <a:gd name="connsiteX10" fmla="*/ 25762 w 162320"/>
                <a:gd name="connsiteY10" fmla="*/ 14887 h 114672"/>
                <a:gd name="connsiteX11" fmla="*/ 37002 w 162320"/>
                <a:gd name="connsiteY11" fmla="*/ 21364 h 114672"/>
                <a:gd name="connsiteX12" fmla="*/ 128823 w 162320"/>
                <a:gd name="connsiteY12" fmla="*/ 74418 h 114672"/>
                <a:gd name="connsiteX13" fmla="*/ 141491 w 162320"/>
                <a:gd name="connsiteY13" fmla="*/ 81752 h 114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2320" h="114672">
                  <a:moveTo>
                    <a:pt x="161970" y="93468"/>
                  </a:moveTo>
                  <a:lnTo>
                    <a:pt x="161970" y="96326"/>
                  </a:lnTo>
                  <a:cubicBezTo>
                    <a:pt x="162103" y="100078"/>
                    <a:pt x="161322" y="103803"/>
                    <a:pt x="159684" y="107184"/>
                  </a:cubicBezTo>
                  <a:cubicBezTo>
                    <a:pt x="158712" y="109232"/>
                    <a:pt x="157236" y="111004"/>
                    <a:pt x="155397" y="112328"/>
                  </a:cubicBezTo>
                  <a:lnTo>
                    <a:pt x="153302" y="113471"/>
                  </a:lnTo>
                  <a:cubicBezTo>
                    <a:pt x="147606" y="115433"/>
                    <a:pt x="141320" y="114585"/>
                    <a:pt x="136347" y="111185"/>
                  </a:cubicBezTo>
                  <a:lnTo>
                    <a:pt x="25286" y="47081"/>
                  </a:lnTo>
                  <a:cubicBezTo>
                    <a:pt x="10189" y="37137"/>
                    <a:pt x="692" y="20640"/>
                    <a:pt x="-336" y="2600"/>
                  </a:cubicBezTo>
                  <a:lnTo>
                    <a:pt x="-336" y="-163"/>
                  </a:lnTo>
                  <a:lnTo>
                    <a:pt x="14713" y="8505"/>
                  </a:lnTo>
                  <a:lnTo>
                    <a:pt x="25762" y="14887"/>
                  </a:lnTo>
                  <a:lnTo>
                    <a:pt x="37002" y="21364"/>
                  </a:lnTo>
                  <a:lnTo>
                    <a:pt x="128823" y="74418"/>
                  </a:lnTo>
                  <a:lnTo>
                    <a:pt x="141491" y="81752"/>
                  </a:lnTo>
                  <a:close/>
                </a:path>
              </a:pathLst>
            </a:custGeom>
            <a:solidFill>
              <a:srgbClr val="FF7D33"/>
            </a:solidFill>
            <a:ln w="9525" cap="flat">
              <a:noFill/>
              <a:prstDash val="solid"/>
              <a:miter/>
            </a:ln>
          </p:spPr>
          <p:txBody>
            <a:bodyPr rtlCol="0" anchor="ctr"/>
            <a:lstStyle/>
            <a:p>
              <a:endParaRPr lang="zh-CN" altLang="en-US"/>
            </a:p>
          </p:txBody>
        </p:sp>
        <p:sp>
          <p:nvSpPr>
            <p:cNvPr id="815" name="íŝḷïḍé">
              <a:extLst>
                <a:ext uri="{FF2B5EF4-FFF2-40B4-BE49-F238E27FC236}">
                  <a16:creationId xmlns:a16="http://schemas.microsoft.com/office/drawing/2014/main" id="{6AFEC9CC-894A-47C0-985B-FD3C9BC1FC42}"/>
                </a:ext>
              </a:extLst>
            </p:cNvPr>
            <p:cNvSpPr/>
            <p:nvPr/>
          </p:nvSpPr>
          <p:spPr>
            <a:xfrm>
              <a:off x="6669971" y="2930245"/>
              <a:ext cx="494337" cy="745707"/>
            </a:xfrm>
            <a:custGeom>
              <a:avLst/>
              <a:gdLst>
                <a:gd name="connsiteX0" fmla="*/ 162401 w 162401"/>
                <a:gd name="connsiteY0" fmla="*/ 93726 h 244982"/>
                <a:gd name="connsiteX1" fmla="*/ 162401 w 162401"/>
                <a:gd name="connsiteY1" fmla="*/ 244983 h 244982"/>
                <a:gd name="connsiteX2" fmla="*/ 141922 w 162401"/>
                <a:gd name="connsiteY2" fmla="*/ 233172 h 244982"/>
                <a:gd name="connsiteX3" fmla="*/ 129254 w 162401"/>
                <a:gd name="connsiteY3" fmla="*/ 225838 h 244982"/>
                <a:gd name="connsiteX4" fmla="*/ 37433 w 162401"/>
                <a:gd name="connsiteY4" fmla="*/ 172879 h 244982"/>
                <a:gd name="connsiteX5" fmla="*/ 26194 w 162401"/>
                <a:gd name="connsiteY5" fmla="*/ 166306 h 244982"/>
                <a:gd name="connsiteX6" fmla="*/ 15050 w 162401"/>
                <a:gd name="connsiteY6" fmla="*/ 159925 h 244982"/>
                <a:gd name="connsiteX7" fmla="*/ 0 w 162401"/>
                <a:gd name="connsiteY7" fmla="*/ 151257 h 244982"/>
                <a:gd name="connsiteX8" fmla="*/ 0 w 162401"/>
                <a:gd name="connsiteY8" fmla="*/ 0 h 244982"/>
                <a:gd name="connsiteX9" fmla="*/ 12859 w 162401"/>
                <a:gd name="connsiteY9" fmla="*/ 7429 h 244982"/>
                <a:gd name="connsiteX10" fmla="*/ 162401 w 162401"/>
                <a:gd name="connsiteY10" fmla="*/ 93726 h 244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2401" h="244982">
                  <a:moveTo>
                    <a:pt x="162401" y="93726"/>
                  </a:moveTo>
                  <a:lnTo>
                    <a:pt x="162401" y="244983"/>
                  </a:lnTo>
                  <a:lnTo>
                    <a:pt x="141922" y="233172"/>
                  </a:lnTo>
                  <a:lnTo>
                    <a:pt x="129254" y="225838"/>
                  </a:lnTo>
                  <a:lnTo>
                    <a:pt x="37433" y="172879"/>
                  </a:lnTo>
                  <a:lnTo>
                    <a:pt x="26194" y="166306"/>
                  </a:lnTo>
                  <a:lnTo>
                    <a:pt x="15050" y="159925"/>
                  </a:lnTo>
                  <a:lnTo>
                    <a:pt x="0" y="151257"/>
                  </a:lnTo>
                  <a:lnTo>
                    <a:pt x="0" y="0"/>
                  </a:lnTo>
                  <a:lnTo>
                    <a:pt x="12859" y="7429"/>
                  </a:lnTo>
                  <a:lnTo>
                    <a:pt x="162401" y="93726"/>
                  </a:lnTo>
                  <a:close/>
                </a:path>
              </a:pathLst>
            </a:custGeom>
            <a:solidFill>
              <a:srgbClr val="EDF4FF"/>
            </a:solidFill>
            <a:ln w="9525" cap="flat">
              <a:noFill/>
              <a:prstDash val="solid"/>
              <a:miter/>
            </a:ln>
          </p:spPr>
          <p:txBody>
            <a:bodyPr rtlCol="0" anchor="ctr"/>
            <a:lstStyle/>
            <a:p>
              <a:endParaRPr lang="zh-CN" altLang="en-US"/>
            </a:p>
          </p:txBody>
        </p:sp>
        <p:sp>
          <p:nvSpPr>
            <p:cNvPr id="816" name="îṡḻîḓè">
              <a:extLst>
                <a:ext uri="{FF2B5EF4-FFF2-40B4-BE49-F238E27FC236}">
                  <a16:creationId xmlns:a16="http://schemas.microsoft.com/office/drawing/2014/main" id="{D5F2D606-37C9-46BD-9EF7-160DAF41903B}"/>
                </a:ext>
              </a:extLst>
            </p:cNvPr>
            <p:cNvSpPr/>
            <p:nvPr/>
          </p:nvSpPr>
          <p:spPr>
            <a:xfrm>
              <a:off x="6809955" y="3127117"/>
              <a:ext cx="227363" cy="241797"/>
            </a:xfrm>
            <a:custGeom>
              <a:avLst/>
              <a:gdLst>
                <a:gd name="connsiteX0" fmla="*/ 74358 w 74694"/>
                <a:gd name="connsiteY0" fmla="*/ 69749 h 79436"/>
                <a:gd name="connsiteX1" fmla="*/ 73215 w 74694"/>
                <a:gd name="connsiteY1" fmla="*/ 79274 h 79436"/>
                <a:gd name="connsiteX2" fmla="*/ 65595 w 74694"/>
                <a:gd name="connsiteY2" fmla="*/ 74988 h 79436"/>
                <a:gd name="connsiteX3" fmla="*/ 67119 w 74694"/>
                <a:gd name="connsiteY3" fmla="*/ 65463 h 79436"/>
                <a:gd name="connsiteX4" fmla="*/ 62261 w 74694"/>
                <a:gd name="connsiteY4" fmla="*/ 43841 h 79436"/>
                <a:gd name="connsiteX5" fmla="*/ 11779 w 74694"/>
                <a:gd name="connsiteY5" fmla="*/ 14599 h 79436"/>
                <a:gd name="connsiteX6" fmla="*/ 6921 w 74694"/>
                <a:gd name="connsiteY6" fmla="*/ 30697 h 79436"/>
                <a:gd name="connsiteX7" fmla="*/ 8350 w 74694"/>
                <a:gd name="connsiteY7" fmla="*/ 42222 h 79436"/>
                <a:gd name="connsiteX8" fmla="*/ 825 w 74694"/>
                <a:gd name="connsiteY8" fmla="*/ 37840 h 79436"/>
                <a:gd name="connsiteX9" fmla="*/ -318 w 74694"/>
                <a:gd name="connsiteY9" fmla="*/ 26506 h 79436"/>
                <a:gd name="connsiteX10" fmla="*/ 3397 w 74694"/>
                <a:gd name="connsiteY10" fmla="*/ 9837 h 79436"/>
                <a:gd name="connsiteX11" fmla="*/ 37020 w 74694"/>
                <a:gd name="connsiteY11" fmla="*/ 4884 h 79436"/>
                <a:gd name="connsiteX12" fmla="*/ 70548 w 74694"/>
                <a:gd name="connsiteY12" fmla="*/ 48604 h 79436"/>
                <a:gd name="connsiteX13" fmla="*/ 74358 w 74694"/>
                <a:gd name="connsiteY13" fmla="*/ 69749 h 794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4694" h="79436">
                  <a:moveTo>
                    <a:pt x="74358" y="69749"/>
                  </a:moveTo>
                  <a:cubicBezTo>
                    <a:pt x="74320" y="72959"/>
                    <a:pt x="73929" y="76150"/>
                    <a:pt x="73215" y="79274"/>
                  </a:cubicBezTo>
                  <a:lnTo>
                    <a:pt x="65595" y="74988"/>
                  </a:lnTo>
                  <a:cubicBezTo>
                    <a:pt x="66605" y="71911"/>
                    <a:pt x="67119" y="68701"/>
                    <a:pt x="67119" y="65463"/>
                  </a:cubicBezTo>
                  <a:cubicBezTo>
                    <a:pt x="66957" y="58005"/>
                    <a:pt x="65309" y="50652"/>
                    <a:pt x="62261" y="43841"/>
                  </a:cubicBezTo>
                  <a:lnTo>
                    <a:pt x="11779" y="14599"/>
                  </a:lnTo>
                  <a:cubicBezTo>
                    <a:pt x="8350" y="19238"/>
                    <a:pt x="6626" y="24934"/>
                    <a:pt x="6921" y="30697"/>
                  </a:cubicBezTo>
                  <a:cubicBezTo>
                    <a:pt x="6940" y="34583"/>
                    <a:pt x="7416" y="38450"/>
                    <a:pt x="8350" y="42222"/>
                  </a:cubicBezTo>
                  <a:lnTo>
                    <a:pt x="825" y="37840"/>
                  </a:lnTo>
                  <a:cubicBezTo>
                    <a:pt x="82" y="34107"/>
                    <a:pt x="-299" y="30316"/>
                    <a:pt x="-318" y="26506"/>
                  </a:cubicBezTo>
                  <a:cubicBezTo>
                    <a:pt x="-509" y="20724"/>
                    <a:pt x="777" y="14990"/>
                    <a:pt x="3397" y="9837"/>
                  </a:cubicBezTo>
                  <a:cubicBezTo>
                    <a:pt x="9493" y="-1022"/>
                    <a:pt x="22447" y="-3593"/>
                    <a:pt x="37020" y="4884"/>
                  </a:cubicBezTo>
                  <a:cubicBezTo>
                    <a:pt x="52879" y="15180"/>
                    <a:pt x="64719" y="30611"/>
                    <a:pt x="70548" y="48604"/>
                  </a:cubicBezTo>
                  <a:cubicBezTo>
                    <a:pt x="73006" y="55385"/>
                    <a:pt x="74292" y="62539"/>
                    <a:pt x="74358" y="69749"/>
                  </a:cubicBezTo>
                  <a:close/>
                </a:path>
              </a:pathLst>
            </a:custGeom>
            <a:solidFill>
              <a:srgbClr val="D9530B"/>
            </a:solidFill>
            <a:ln w="9525" cap="flat">
              <a:noFill/>
              <a:prstDash val="solid"/>
              <a:miter/>
            </a:ln>
          </p:spPr>
          <p:txBody>
            <a:bodyPr rtlCol="0" anchor="ctr"/>
            <a:lstStyle/>
            <a:p>
              <a:endParaRPr lang="zh-CN" altLang="en-US"/>
            </a:p>
          </p:txBody>
        </p:sp>
        <p:sp>
          <p:nvSpPr>
            <p:cNvPr id="817" name="íSľidê">
              <a:extLst>
                <a:ext uri="{FF2B5EF4-FFF2-40B4-BE49-F238E27FC236}">
                  <a16:creationId xmlns:a16="http://schemas.microsoft.com/office/drawing/2014/main" id="{90748980-C0CC-4962-8706-CA228CC9CD60}"/>
                </a:ext>
              </a:extLst>
            </p:cNvPr>
            <p:cNvSpPr/>
            <p:nvPr/>
          </p:nvSpPr>
          <p:spPr>
            <a:xfrm>
              <a:off x="6783917" y="3350940"/>
              <a:ext cx="279493" cy="267028"/>
            </a:xfrm>
            <a:custGeom>
              <a:avLst/>
              <a:gdLst>
                <a:gd name="connsiteX0" fmla="*/ 91485 w 91820"/>
                <a:gd name="connsiteY0" fmla="*/ 87563 h 87725"/>
                <a:gd name="connsiteX1" fmla="*/ -336 w 91820"/>
                <a:gd name="connsiteY1" fmla="*/ 34508 h 87725"/>
                <a:gd name="connsiteX2" fmla="*/ 19952 w 91820"/>
                <a:gd name="connsiteY2" fmla="*/ 409 h 87725"/>
                <a:gd name="connsiteX3" fmla="*/ 25762 w 91820"/>
                <a:gd name="connsiteY3" fmla="*/ -163 h 87725"/>
                <a:gd name="connsiteX4" fmla="*/ 33096 w 91820"/>
                <a:gd name="connsiteY4" fmla="*/ 790 h 87725"/>
                <a:gd name="connsiteX5" fmla="*/ 35192 w 91820"/>
                <a:gd name="connsiteY5" fmla="*/ 1266 h 87725"/>
                <a:gd name="connsiteX6" fmla="*/ 45574 w 91820"/>
                <a:gd name="connsiteY6" fmla="*/ 9458 h 87725"/>
                <a:gd name="connsiteX7" fmla="*/ 55956 w 91820"/>
                <a:gd name="connsiteY7" fmla="*/ 13363 h 87725"/>
                <a:gd name="connsiteX8" fmla="*/ 58052 w 91820"/>
                <a:gd name="connsiteY8" fmla="*/ 15077 h 87725"/>
                <a:gd name="connsiteX9" fmla="*/ 65386 w 91820"/>
                <a:gd name="connsiteY9" fmla="*/ 22697 h 87725"/>
                <a:gd name="connsiteX10" fmla="*/ 71101 w 91820"/>
                <a:gd name="connsiteY10" fmla="*/ 29936 h 87725"/>
                <a:gd name="connsiteX11" fmla="*/ 91485 w 91820"/>
                <a:gd name="connsiteY11" fmla="*/ 87563 h 87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1820" h="87725">
                  <a:moveTo>
                    <a:pt x="91485" y="87563"/>
                  </a:moveTo>
                  <a:lnTo>
                    <a:pt x="-336" y="34508"/>
                  </a:lnTo>
                  <a:cubicBezTo>
                    <a:pt x="-336" y="15458"/>
                    <a:pt x="7760" y="3266"/>
                    <a:pt x="19952" y="409"/>
                  </a:cubicBezTo>
                  <a:cubicBezTo>
                    <a:pt x="21866" y="28"/>
                    <a:pt x="23809" y="-163"/>
                    <a:pt x="25762" y="-163"/>
                  </a:cubicBezTo>
                  <a:cubicBezTo>
                    <a:pt x="28239" y="-163"/>
                    <a:pt x="30705" y="152"/>
                    <a:pt x="33096" y="790"/>
                  </a:cubicBezTo>
                  <a:lnTo>
                    <a:pt x="35192" y="1266"/>
                  </a:lnTo>
                  <a:cubicBezTo>
                    <a:pt x="38240" y="4476"/>
                    <a:pt x="41736" y="7238"/>
                    <a:pt x="45574" y="9458"/>
                  </a:cubicBezTo>
                  <a:cubicBezTo>
                    <a:pt x="48755" y="11401"/>
                    <a:pt x="52280" y="12725"/>
                    <a:pt x="55956" y="13363"/>
                  </a:cubicBezTo>
                  <a:lnTo>
                    <a:pt x="58052" y="15077"/>
                  </a:lnTo>
                  <a:cubicBezTo>
                    <a:pt x="60528" y="17459"/>
                    <a:pt x="63005" y="19935"/>
                    <a:pt x="65386" y="22697"/>
                  </a:cubicBezTo>
                  <a:cubicBezTo>
                    <a:pt x="67415" y="25012"/>
                    <a:pt x="69329" y="27422"/>
                    <a:pt x="71101" y="29936"/>
                  </a:cubicBezTo>
                  <a:cubicBezTo>
                    <a:pt x="83550" y="46653"/>
                    <a:pt x="90656" y="66741"/>
                    <a:pt x="91485" y="87563"/>
                  </a:cubicBezTo>
                  <a:close/>
                </a:path>
              </a:pathLst>
            </a:custGeom>
            <a:solidFill>
              <a:srgbClr val="316DE6"/>
            </a:solidFill>
            <a:ln w="9525" cap="flat">
              <a:noFill/>
              <a:prstDash val="solid"/>
              <a:miter/>
            </a:ln>
          </p:spPr>
          <p:txBody>
            <a:bodyPr rtlCol="0" anchor="ctr"/>
            <a:lstStyle/>
            <a:p>
              <a:endParaRPr lang="zh-CN" altLang="en-US"/>
            </a:p>
          </p:txBody>
        </p:sp>
        <p:sp>
          <p:nvSpPr>
            <p:cNvPr id="818" name="iŝ1ïḓè">
              <a:extLst>
                <a:ext uri="{FF2B5EF4-FFF2-40B4-BE49-F238E27FC236}">
                  <a16:creationId xmlns:a16="http://schemas.microsoft.com/office/drawing/2014/main" id="{27EE3898-6F5E-44B1-94B8-FBF0CE8F53D9}"/>
                </a:ext>
              </a:extLst>
            </p:cNvPr>
            <p:cNvSpPr/>
            <p:nvPr/>
          </p:nvSpPr>
          <p:spPr>
            <a:xfrm>
              <a:off x="6831944" y="3171762"/>
              <a:ext cx="183336" cy="220411"/>
            </a:xfrm>
            <a:custGeom>
              <a:avLst/>
              <a:gdLst>
                <a:gd name="connsiteX0" fmla="*/ 59894 w 60230"/>
                <a:gd name="connsiteY0" fmla="*/ 50987 h 72410"/>
                <a:gd name="connsiteX1" fmla="*/ 58370 w 60230"/>
                <a:gd name="connsiteY1" fmla="*/ 60512 h 72410"/>
                <a:gd name="connsiteX2" fmla="*/ 40177 w 60230"/>
                <a:gd name="connsiteY2" fmla="*/ 71942 h 72410"/>
                <a:gd name="connsiteX3" fmla="*/ 29795 w 60230"/>
                <a:gd name="connsiteY3" fmla="*/ 68036 h 72410"/>
                <a:gd name="connsiteX4" fmla="*/ 19413 w 60230"/>
                <a:gd name="connsiteY4" fmla="*/ 59845 h 72410"/>
                <a:gd name="connsiteX5" fmla="*/ 1125 w 60230"/>
                <a:gd name="connsiteY5" fmla="*/ 27460 h 72410"/>
                <a:gd name="connsiteX6" fmla="*/ -304 w 60230"/>
                <a:gd name="connsiteY6" fmla="*/ 15935 h 72410"/>
                <a:gd name="connsiteX7" fmla="*/ 4554 w 60230"/>
                <a:gd name="connsiteY7" fmla="*/ -163 h 72410"/>
                <a:gd name="connsiteX8" fmla="*/ 55037 w 60230"/>
                <a:gd name="connsiteY8" fmla="*/ 29079 h 72410"/>
                <a:gd name="connsiteX9" fmla="*/ 59894 w 60230"/>
                <a:gd name="connsiteY9" fmla="*/ 50987 h 72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0230" h="72410">
                  <a:moveTo>
                    <a:pt x="59894" y="50987"/>
                  </a:moveTo>
                  <a:cubicBezTo>
                    <a:pt x="59894" y="54225"/>
                    <a:pt x="59380" y="57435"/>
                    <a:pt x="58370" y="60512"/>
                  </a:cubicBezTo>
                  <a:cubicBezTo>
                    <a:pt x="56303" y="68551"/>
                    <a:pt x="48312" y="73570"/>
                    <a:pt x="40177" y="71942"/>
                  </a:cubicBezTo>
                  <a:cubicBezTo>
                    <a:pt x="36501" y="71303"/>
                    <a:pt x="32977" y="69979"/>
                    <a:pt x="29795" y="68036"/>
                  </a:cubicBezTo>
                  <a:cubicBezTo>
                    <a:pt x="25957" y="65817"/>
                    <a:pt x="22461" y="63055"/>
                    <a:pt x="19413" y="59845"/>
                  </a:cubicBezTo>
                  <a:cubicBezTo>
                    <a:pt x="10564" y="50853"/>
                    <a:pt x="4259" y="39680"/>
                    <a:pt x="1125" y="27460"/>
                  </a:cubicBezTo>
                  <a:cubicBezTo>
                    <a:pt x="191" y="23688"/>
                    <a:pt x="-285" y="19821"/>
                    <a:pt x="-304" y="15935"/>
                  </a:cubicBezTo>
                  <a:cubicBezTo>
                    <a:pt x="-599" y="10172"/>
                    <a:pt x="1125" y="4476"/>
                    <a:pt x="4554" y="-163"/>
                  </a:cubicBezTo>
                  <a:lnTo>
                    <a:pt x="55037" y="29079"/>
                  </a:lnTo>
                  <a:cubicBezTo>
                    <a:pt x="58123" y="35975"/>
                    <a:pt x="59770" y="43433"/>
                    <a:pt x="59894" y="50987"/>
                  </a:cubicBezTo>
                  <a:close/>
                </a:path>
              </a:pathLst>
            </a:custGeom>
            <a:solidFill>
              <a:srgbClr val="FFB4A1"/>
            </a:solidFill>
            <a:ln w="9525" cap="flat">
              <a:noFill/>
              <a:prstDash val="solid"/>
              <a:miter/>
            </a:ln>
          </p:spPr>
          <p:txBody>
            <a:bodyPr rtlCol="0" anchor="ctr"/>
            <a:lstStyle/>
            <a:p>
              <a:endParaRPr lang="zh-CN" altLang="en-US"/>
            </a:p>
          </p:txBody>
        </p:sp>
        <p:sp>
          <p:nvSpPr>
            <p:cNvPr id="819" name="išļiḍê">
              <a:extLst>
                <a:ext uri="{FF2B5EF4-FFF2-40B4-BE49-F238E27FC236}">
                  <a16:creationId xmlns:a16="http://schemas.microsoft.com/office/drawing/2014/main" id="{AF998AC8-7F03-4245-B791-5F03F65A5F5A}"/>
                </a:ext>
              </a:extLst>
            </p:cNvPr>
            <p:cNvSpPr/>
            <p:nvPr/>
          </p:nvSpPr>
          <p:spPr>
            <a:xfrm>
              <a:off x="7048915" y="3088934"/>
              <a:ext cx="80116" cy="105728"/>
            </a:xfrm>
            <a:custGeom>
              <a:avLst/>
              <a:gdLst>
                <a:gd name="connsiteX0" fmla="*/ 25953 w 26320"/>
                <a:gd name="connsiteY0" fmla="*/ 23523 h 34734"/>
                <a:gd name="connsiteX1" fmla="*/ 22429 w 26320"/>
                <a:gd name="connsiteY1" fmla="*/ 31715 h 34734"/>
                <a:gd name="connsiteX2" fmla="*/ 17475 w 26320"/>
                <a:gd name="connsiteY2" fmla="*/ 34572 h 34734"/>
                <a:gd name="connsiteX3" fmla="*/ 19380 w 26320"/>
                <a:gd name="connsiteY3" fmla="*/ 32572 h 34734"/>
                <a:gd name="connsiteX4" fmla="*/ 21000 w 26320"/>
                <a:gd name="connsiteY4" fmla="*/ 26381 h 34734"/>
                <a:gd name="connsiteX5" fmla="*/ 8331 w 26320"/>
                <a:gd name="connsiteY5" fmla="*/ 4378 h 34734"/>
                <a:gd name="connsiteX6" fmla="*/ 2140 w 26320"/>
                <a:gd name="connsiteY6" fmla="*/ 2664 h 34734"/>
                <a:gd name="connsiteX7" fmla="*/ -336 w 26320"/>
                <a:gd name="connsiteY7" fmla="*/ 3330 h 34734"/>
                <a:gd name="connsiteX8" fmla="*/ 3855 w 26320"/>
                <a:gd name="connsiteY8" fmla="*/ 949 h 34734"/>
                <a:gd name="connsiteX9" fmla="*/ 3855 w 26320"/>
                <a:gd name="connsiteY9" fmla="*/ 949 h 34734"/>
                <a:gd name="connsiteX10" fmla="*/ 4712 w 26320"/>
                <a:gd name="connsiteY10" fmla="*/ 378 h 34734"/>
                <a:gd name="connsiteX11" fmla="*/ 13284 w 26320"/>
                <a:gd name="connsiteY11" fmla="*/ 1521 h 34734"/>
                <a:gd name="connsiteX12" fmla="*/ 25953 w 26320"/>
                <a:gd name="connsiteY12" fmla="*/ 23523 h 34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320" h="34734">
                  <a:moveTo>
                    <a:pt x="25953" y="23523"/>
                  </a:moveTo>
                  <a:cubicBezTo>
                    <a:pt x="26210" y="26667"/>
                    <a:pt x="24886" y="29734"/>
                    <a:pt x="22429" y="31715"/>
                  </a:cubicBezTo>
                  <a:lnTo>
                    <a:pt x="17475" y="34572"/>
                  </a:lnTo>
                  <a:cubicBezTo>
                    <a:pt x="18266" y="34077"/>
                    <a:pt x="18923" y="33391"/>
                    <a:pt x="19380" y="32572"/>
                  </a:cubicBezTo>
                  <a:cubicBezTo>
                    <a:pt x="20533" y="30715"/>
                    <a:pt x="21095" y="28562"/>
                    <a:pt x="21000" y="26381"/>
                  </a:cubicBezTo>
                  <a:cubicBezTo>
                    <a:pt x="20447" y="17475"/>
                    <a:pt x="15761" y="9331"/>
                    <a:pt x="8331" y="4378"/>
                  </a:cubicBezTo>
                  <a:cubicBezTo>
                    <a:pt x="6464" y="3254"/>
                    <a:pt x="4322" y="2664"/>
                    <a:pt x="2140" y="2664"/>
                  </a:cubicBezTo>
                  <a:cubicBezTo>
                    <a:pt x="1283" y="2740"/>
                    <a:pt x="445" y="2968"/>
                    <a:pt x="-336" y="3330"/>
                  </a:cubicBezTo>
                  <a:lnTo>
                    <a:pt x="3855" y="949"/>
                  </a:lnTo>
                  <a:lnTo>
                    <a:pt x="3855" y="949"/>
                  </a:lnTo>
                  <a:lnTo>
                    <a:pt x="4712" y="378"/>
                  </a:lnTo>
                  <a:cubicBezTo>
                    <a:pt x="7588" y="-632"/>
                    <a:pt x="10779" y="-213"/>
                    <a:pt x="13284" y="1521"/>
                  </a:cubicBezTo>
                  <a:cubicBezTo>
                    <a:pt x="20790" y="6397"/>
                    <a:pt x="25505" y="14579"/>
                    <a:pt x="25953" y="23523"/>
                  </a:cubicBezTo>
                  <a:close/>
                </a:path>
              </a:pathLst>
            </a:custGeom>
            <a:solidFill>
              <a:srgbClr val="BF4200"/>
            </a:solidFill>
            <a:ln w="9525" cap="flat">
              <a:noFill/>
              <a:prstDash val="solid"/>
              <a:miter/>
            </a:ln>
          </p:spPr>
          <p:txBody>
            <a:bodyPr rtlCol="0" anchor="ctr"/>
            <a:lstStyle/>
            <a:p>
              <a:endParaRPr lang="zh-CN" altLang="en-US"/>
            </a:p>
          </p:txBody>
        </p:sp>
        <p:sp>
          <p:nvSpPr>
            <p:cNvPr id="820" name="iṥḷîďê">
              <a:extLst>
                <a:ext uri="{FF2B5EF4-FFF2-40B4-BE49-F238E27FC236}">
                  <a16:creationId xmlns:a16="http://schemas.microsoft.com/office/drawing/2014/main" id="{0FFA7302-59BD-4A1B-99D0-7449B4960359}"/>
                </a:ext>
              </a:extLst>
            </p:cNvPr>
            <p:cNvSpPr/>
            <p:nvPr/>
          </p:nvSpPr>
          <p:spPr>
            <a:xfrm>
              <a:off x="7035218" y="3097539"/>
              <a:ext cx="78670" cy="100237"/>
            </a:xfrm>
            <a:custGeom>
              <a:avLst/>
              <a:gdLst>
                <a:gd name="connsiteX0" fmla="*/ 25499 w 25845"/>
                <a:gd name="connsiteY0" fmla="*/ 23555 h 32930"/>
                <a:gd name="connsiteX1" fmla="*/ 23880 w 25845"/>
                <a:gd name="connsiteY1" fmla="*/ 29746 h 32930"/>
                <a:gd name="connsiteX2" fmla="*/ 21975 w 25845"/>
                <a:gd name="connsiteY2" fmla="*/ 31746 h 32930"/>
                <a:gd name="connsiteX3" fmla="*/ 12450 w 25845"/>
                <a:gd name="connsiteY3" fmla="*/ 30889 h 32930"/>
                <a:gd name="connsiteX4" fmla="*/ -313 w 25845"/>
                <a:gd name="connsiteY4" fmla="*/ 8886 h 32930"/>
                <a:gd name="connsiteX5" fmla="*/ 3020 w 25845"/>
                <a:gd name="connsiteY5" fmla="*/ 980 h 32930"/>
                <a:gd name="connsiteX6" fmla="*/ 3020 w 25845"/>
                <a:gd name="connsiteY6" fmla="*/ 980 h 32930"/>
                <a:gd name="connsiteX7" fmla="*/ 3782 w 25845"/>
                <a:gd name="connsiteY7" fmla="*/ 504 h 32930"/>
                <a:gd name="connsiteX8" fmla="*/ 6259 w 25845"/>
                <a:gd name="connsiteY8" fmla="*/ -163 h 32930"/>
                <a:gd name="connsiteX9" fmla="*/ 12450 w 25845"/>
                <a:gd name="connsiteY9" fmla="*/ 1552 h 32930"/>
                <a:gd name="connsiteX10" fmla="*/ 25499 w 25845"/>
                <a:gd name="connsiteY10" fmla="*/ 23555 h 329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5845" h="32930">
                  <a:moveTo>
                    <a:pt x="25499" y="23555"/>
                  </a:moveTo>
                  <a:cubicBezTo>
                    <a:pt x="25595" y="25736"/>
                    <a:pt x="25033" y="27888"/>
                    <a:pt x="23880" y="29746"/>
                  </a:cubicBezTo>
                  <a:cubicBezTo>
                    <a:pt x="23423" y="30565"/>
                    <a:pt x="22766" y="31251"/>
                    <a:pt x="21975" y="31746"/>
                  </a:cubicBezTo>
                  <a:cubicBezTo>
                    <a:pt x="18908" y="33375"/>
                    <a:pt x="15174" y="33032"/>
                    <a:pt x="12450" y="30889"/>
                  </a:cubicBezTo>
                  <a:cubicBezTo>
                    <a:pt x="4916" y="26022"/>
                    <a:pt x="172" y="17840"/>
                    <a:pt x="-313" y="8886"/>
                  </a:cubicBezTo>
                  <a:cubicBezTo>
                    <a:pt x="-523" y="5867"/>
                    <a:pt x="715" y="2933"/>
                    <a:pt x="3020" y="980"/>
                  </a:cubicBezTo>
                  <a:lnTo>
                    <a:pt x="3020" y="980"/>
                  </a:lnTo>
                  <a:lnTo>
                    <a:pt x="3782" y="504"/>
                  </a:lnTo>
                  <a:cubicBezTo>
                    <a:pt x="4563" y="142"/>
                    <a:pt x="5402" y="-86"/>
                    <a:pt x="6259" y="-163"/>
                  </a:cubicBezTo>
                  <a:cubicBezTo>
                    <a:pt x="8440" y="-163"/>
                    <a:pt x="10583" y="428"/>
                    <a:pt x="12450" y="1552"/>
                  </a:cubicBezTo>
                  <a:cubicBezTo>
                    <a:pt x="20023" y="6419"/>
                    <a:pt x="24861" y="14573"/>
                    <a:pt x="25499" y="23555"/>
                  </a:cubicBezTo>
                  <a:close/>
                </a:path>
              </a:pathLst>
            </a:custGeom>
            <a:solidFill>
              <a:srgbClr val="D9530B"/>
            </a:solidFill>
            <a:ln w="9525" cap="flat">
              <a:noFill/>
              <a:prstDash val="solid"/>
              <a:miter/>
            </a:ln>
          </p:spPr>
          <p:txBody>
            <a:bodyPr rtlCol="0" anchor="ctr"/>
            <a:lstStyle/>
            <a:p>
              <a:endParaRPr lang="zh-CN" altLang="en-US"/>
            </a:p>
          </p:txBody>
        </p:sp>
        <p:sp>
          <p:nvSpPr>
            <p:cNvPr id="821" name="í$ḷîde">
              <a:extLst>
                <a:ext uri="{FF2B5EF4-FFF2-40B4-BE49-F238E27FC236}">
                  <a16:creationId xmlns:a16="http://schemas.microsoft.com/office/drawing/2014/main" id="{265F52D0-5DDF-4A08-8A31-F429559AA622}"/>
                </a:ext>
              </a:extLst>
            </p:cNvPr>
            <p:cNvSpPr/>
            <p:nvPr/>
          </p:nvSpPr>
          <p:spPr>
            <a:xfrm>
              <a:off x="5661292" y="2264030"/>
              <a:ext cx="830368" cy="1632674"/>
            </a:xfrm>
            <a:custGeom>
              <a:avLst/>
              <a:gdLst>
                <a:gd name="connsiteX0" fmla="*/ -336 w 272795"/>
                <a:gd name="connsiteY0" fmla="*/ 357674 h 536371"/>
                <a:gd name="connsiteX1" fmla="*/ -336 w 272795"/>
                <a:gd name="connsiteY1" fmla="*/ 20966 h 536371"/>
                <a:gd name="connsiteX2" fmla="*/ 29096 w 272795"/>
                <a:gd name="connsiteY2" fmla="*/ 3916 h 536371"/>
                <a:gd name="connsiteX3" fmla="*/ 243027 w 272795"/>
                <a:gd name="connsiteY3" fmla="*/ 127455 h 536371"/>
                <a:gd name="connsiteX4" fmla="*/ 272460 w 272795"/>
                <a:gd name="connsiteY4" fmla="*/ 178509 h 536371"/>
                <a:gd name="connsiteX5" fmla="*/ 272460 w 272795"/>
                <a:gd name="connsiteY5" fmla="*/ 515123 h 536371"/>
                <a:gd name="connsiteX6" fmla="*/ 243027 w 272795"/>
                <a:gd name="connsiteY6" fmla="*/ 532172 h 536371"/>
                <a:gd name="connsiteX7" fmla="*/ 29191 w 272795"/>
                <a:gd name="connsiteY7" fmla="*/ 408347 h 536371"/>
                <a:gd name="connsiteX8" fmla="*/ -336 w 272795"/>
                <a:gd name="connsiteY8" fmla="*/ 357674 h 536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2795" h="536371">
                  <a:moveTo>
                    <a:pt x="-336" y="357674"/>
                  </a:moveTo>
                  <a:lnTo>
                    <a:pt x="-336" y="20966"/>
                  </a:lnTo>
                  <a:cubicBezTo>
                    <a:pt x="-336" y="1916"/>
                    <a:pt x="12808" y="-5514"/>
                    <a:pt x="29096" y="3916"/>
                  </a:cubicBezTo>
                  <a:lnTo>
                    <a:pt x="243027" y="127455"/>
                  </a:lnTo>
                  <a:cubicBezTo>
                    <a:pt x="260411" y="138809"/>
                    <a:pt x="271345" y="157773"/>
                    <a:pt x="272460" y="178509"/>
                  </a:cubicBezTo>
                  <a:lnTo>
                    <a:pt x="272460" y="515123"/>
                  </a:lnTo>
                  <a:cubicBezTo>
                    <a:pt x="272460" y="534173"/>
                    <a:pt x="259315" y="541507"/>
                    <a:pt x="243027" y="532172"/>
                  </a:cubicBezTo>
                  <a:lnTo>
                    <a:pt x="29191" y="408347"/>
                  </a:lnTo>
                  <a:cubicBezTo>
                    <a:pt x="11875" y="397089"/>
                    <a:pt x="921" y="378286"/>
                    <a:pt x="-336" y="357674"/>
                  </a:cubicBezTo>
                  <a:close/>
                </a:path>
              </a:pathLst>
            </a:custGeom>
            <a:solidFill>
              <a:srgbClr val="D1D9E8"/>
            </a:solidFill>
            <a:ln w="9525" cap="flat">
              <a:noFill/>
              <a:prstDash val="solid"/>
              <a:miter/>
            </a:ln>
          </p:spPr>
          <p:txBody>
            <a:bodyPr rtlCol="0" anchor="ctr"/>
            <a:lstStyle/>
            <a:p>
              <a:endParaRPr lang="zh-CN" altLang="en-US"/>
            </a:p>
          </p:txBody>
        </p:sp>
        <p:sp>
          <p:nvSpPr>
            <p:cNvPr id="822" name="iṩļíḍê">
              <a:extLst>
                <a:ext uri="{FF2B5EF4-FFF2-40B4-BE49-F238E27FC236}">
                  <a16:creationId xmlns:a16="http://schemas.microsoft.com/office/drawing/2014/main" id="{8C056275-4AD6-4C10-AAC2-85CA85873F13}"/>
                </a:ext>
              </a:extLst>
            </p:cNvPr>
            <p:cNvSpPr/>
            <p:nvPr/>
          </p:nvSpPr>
          <p:spPr>
            <a:xfrm>
              <a:off x="5643026" y="2274595"/>
              <a:ext cx="830368" cy="1633834"/>
            </a:xfrm>
            <a:custGeom>
              <a:avLst/>
              <a:gdLst>
                <a:gd name="connsiteX0" fmla="*/ -336 w 272795"/>
                <a:gd name="connsiteY0" fmla="*/ 357633 h 536752"/>
                <a:gd name="connsiteX1" fmla="*/ -336 w 272795"/>
                <a:gd name="connsiteY1" fmla="*/ 20924 h 536752"/>
                <a:gd name="connsiteX2" fmla="*/ 29191 w 272795"/>
                <a:gd name="connsiteY2" fmla="*/ 3874 h 536752"/>
                <a:gd name="connsiteX3" fmla="*/ 242932 w 272795"/>
                <a:gd name="connsiteY3" fmla="*/ 127699 h 536752"/>
                <a:gd name="connsiteX4" fmla="*/ 272460 w 272795"/>
                <a:gd name="connsiteY4" fmla="*/ 178753 h 536752"/>
                <a:gd name="connsiteX5" fmla="*/ 272460 w 272795"/>
                <a:gd name="connsiteY5" fmla="*/ 515462 h 536752"/>
                <a:gd name="connsiteX6" fmla="*/ 242932 w 272795"/>
                <a:gd name="connsiteY6" fmla="*/ 532512 h 536752"/>
                <a:gd name="connsiteX7" fmla="*/ 29191 w 272795"/>
                <a:gd name="connsiteY7" fmla="*/ 408687 h 536752"/>
                <a:gd name="connsiteX8" fmla="*/ -336 w 272795"/>
                <a:gd name="connsiteY8" fmla="*/ 357633 h 5367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2795" h="536752">
                  <a:moveTo>
                    <a:pt x="-336" y="357633"/>
                  </a:moveTo>
                  <a:lnTo>
                    <a:pt x="-336" y="20924"/>
                  </a:lnTo>
                  <a:cubicBezTo>
                    <a:pt x="-336" y="1874"/>
                    <a:pt x="12903" y="-5460"/>
                    <a:pt x="29191" y="3874"/>
                  </a:cubicBezTo>
                  <a:lnTo>
                    <a:pt x="242932" y="127699"/>
                  </a:lnTo>
                  <a:cubicBezTo>
                    <a:pt x="260344" y="139043"/>
                    <a:pt x="271307" y="158008"/>
                    <a:pt x="272460" y="178753"/>
                  </a:cubicBezTo>
                  <a:lnTo>
                    <a:pt x="272460" y="515462"/>
                  </a:lnTo>
                  <a:cubicBezTo>
                    <a:pt x="272460" y="534512"/>
                    <a:pt x="259220" y="541941"/>
                    <a:pt x="242932" y="532512"/>
                  </a:cubicBezTo>
                  <a:lnTo>
                    <a:pt x="29191" y="408687"/>
                  </a:lnTo>
                  <a:cubicBezTo>
                    <a:pt x="11780" y="397342"/>
                    <a:pt x="816" y="378378"/>
                    <a:pt x="-336" y="357633"/>
                  </a:cubicBezTo>
                  <a:close/>
                </a:path>
              </a:pathLst>
            </a:custGeom>
            <a:solidFill>
              <a:srgbClr val="EDF4FF"/>
            </a:solidFill>
            <a:ln w="9525" cap="flat">
              <a:noFill/>
              <a:prstDash val="solid"/>
              <a:miter/>
            </a:ln>
          </p:spPr>
          <p:txBody>
            <a:bodyPr rtlCol="0" anchor="ctr"/>
            <a:lstStyle/>
            <a:p>
              <a:endParaRPr lang="zh-CN" altLang="en-US"/>
            </a:p>
          </p:txBody>
        </p:sp>
        <p:sp>
          <p:nvSpPr>
            <p:cNvPr id="823" name="ïş1íḍe">
              <a:extLst>
                <a:ext uri="{FF2B5EF4-FFF2-40B4-BE49-F238E27FC236}">
                  <a16:creationId xmlns:a16="http://schemas.microsoft.com/office/drawing/2014/main" id="{B5F245E8-E8BA-46C7-A37C-C6EBF002BE92}"/>
                </a:ext>
              </a:extLst>
            </p:cNvPr>
            <p:cNvSpPr/>
            <p:nvPr/>
          </p:nvSpPr>
          <p:spPr>
            <a:xfrm>
              <a:off x="5963819" y="2599522"/>
              <a:ext cx="431315" cy="268967"/>
            </a:xfrm>
            <a:custGeom>
              <a:avLst/>
              <a:gdLst>
                <a:gd name="connsiteX0" fmla="*/ 134115 w 141697"/>
                <a:gd name="connsiteY0" fmla="*/ 88009 h 88362"/>
                <a:gd name="connsiteX1" fmla="*/ 130400 w 141697"/>
                <a:gd name="connsiteY1" fmla="*/ 87057 h 88362"/>
                <a:gd name="connsiteX2" fmla="*/ 2670 w 141697"/>
                <a:gd name="connsiteY2" fmla="*/ 13238 h 88362"/>
                <a:gd name="connsiteX3" fmla="*/ 1127 w 141697"/>
                <a:gd name="connsiteY3" fmla="*/ 2846 h 88362"/>
                <a:gd name="connsiteX4" fmla="*/ 10100 w 141697"/>
                <a:gd name="connsiteY4" fmla="*/ 474 h 88362"/>
                <a:gd name="connsiteX5" fmla="*/ 137735 w 141697"/>
                <a:gd name="connsiteY5" fmla="*/ 74388 h 88362"/>
                <a:gd name="connsiteX6" fmla="*/ 140316 w 141697"/>
                <a:gd name="connsiteY6" fmla="*/ 84571 h 88362"/>
                <a:gd name="connsiteX7" fmla="*/ 134020 w 141697"/>
                <a:gd name="connsiteY7" fmla="*/ 88200 h 883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1697" h="88362">
                  <a:moveTo>
                    <a:pt x="134115" y="88009"/>
                  </a:moveTo>
                  <a:cubicBezTo>
                    <a:pt x="132820" y="88009"/>
                    <a:pt x="131544" y="87685"/>
                    <a:pt x="130400" y="87057"/>
                  </a:cubicBezTo>
                  <a:lnTo>
                    <a:pt x="2670" y="13238"/>
                  </a:lnTo>
                  <a:cubicBezTo>
                    <a:pt x="-625" y="10800"/>
                    <a:pt x="-1321" y="6142"/>
                    <a:pt x="1127" y="2846"/>
                  </a:cubicBezTo>
                  <a:cubicBezTo>
                    <a:pt x="3194" y="55"/>
                    <a:pt x="6918" y="-935"/>
                    <a:pt x="10100" y="474"/>
                  </a:cubicBezTo>
                  <a:lnTo>
                    <a:pt x="137735" y="74388"/>
                  </a:lnTo>
                  <a:cubicBezTo>
                    <a:pt x="141259" y="76493"/>
                    <a:pt x="142412" y="81046"/>
                    <a:pt x="140316" y="84571"/>
                  </a:cubicBezTo>
                  <a:cubicBezTo>
                    <a:pt x="138992" y="86799"/>
                    <a:pt x="136611" y="88171"/>
                    <a:pt x="134020" y="88200"/>
                  </a:cubicBezTo>
                  <a:close/>
                </a:path>
              </a:pathLst>
            </a:custGeom>
            <a:solidFill>
              <a:srgbClr val="D1D9E8"/>
            </a:solidFill>
            <a:ln w="9525" cap="flat">
              <a:noFill/>
              <a:prstDash val="solid"/>
              <a:miter/>
            </a:ln>
          </p:spPr>
          <p:txBody>
            <a:bodyPr rtlCol="0" anchor="ctr"/>
            <a:lstStyle/>
            <a:p>
              <a:endParaRPr lang="zh-CN" altLang="en-US"/>
            </a:p>
          </p:txBody>
        </p:sp>
        <p:sp>
          <p:nvSpPr>
            <p:cNvPr id="824" name="iṩḻíḓè">
              <a:extLst>
                <a:ext uri="{FF2B5EF4-FFF2-40B4-BE49-F238E27FC236}">
                  <a16:creationId xmlns:a16="http://schemas.microsoft.com/office/drawing/2014/main" id="{993562D3-3035-4D56-B631-75DD1C92C6F3}"/>
                </a:ext>
              </a:extLst>
            </p:cNvPr>
            <p:cNvSpPr/>
            <p:nvPr/>
          </p:nvSpPr>
          <p:spPr>
            <a:xfrm>
              <a:off x="5962318" y="2676789"/>
              <a:ext cx="433108" cy="269111"/>
            </a:xfrm>
            <a:custGeom>
              <a:avLst/>
              <a:gdLst>
                <a:gd name="connsiteX0" fmla="*/ 134608 w 142286"/>
                <a:gd name="connsiteY0" fmla="*/ 88247 h 88409"/>
                <a:gd name="connsiteX1" fmla="*/ 130893 w 142286"/>
                <a:gd name="connsiteY1" fmla="*/ 87295 h 88409"/>
                <a:gd name="connsiteX2" fmla="*/ 3163 w 142286"/>
                <a:gd name="connsiteY2" fmla="*/ 13571 h 88409"/>
                <a:gd name="connsiteX3" fmla="*/ 792 w 142286"/>
                <a:gd name="connsiteY3" fmla="*/ 3341 h 88409"/>
                <a:gd name="connsiteX4" fmla="*/ 10593 w 142286"/>
                <a:gd name="connsiteY4" fmla="*/ 713 h 88409"/>
                <a:gd name="connsiteX5" fmla="*/ 138323 w 142286"/>
                <a:gd name="connsiteY5" fmla="*/ 74436 h 88409"/>
                <a:gd name="connsiteX6" fmla="*/ 140905 w 142286"/>
                <a:gd name="connsiteY6" fmla="*/ 84618 h 88409"/>
                <a:gd name="connsiteX7" fmla="*/ 134608 w 142286"/>
                <a:gd name="connsiteY7" fmla="*/ 88247 h 88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2286" h="88409">
                  <a:moveTo>
                    <a:pt x="134608" y="88247"/>
                  </a:moveTo>
                  <a:cubicBezTo>
                    <a:pt x="133313" y="88247"/>
                    <a:pt x="132037" y="87923"/>
                    <a:pt x="130893" y="87295"/>
                  </a:cubicBezTo>
                  <a:lnTo>
                    <a:pt x="3163" y="13571"/>
                  </a:lnTo>
                  <a:cubicBezTo>
                    <a:pt x="-323" y="11400"/>
                    <a:pt x="-1380" y="6818"/>
                    <a:pt x="792" y="3341"/>
                  </a:cubicBezTo>
                  <a:cubicBezTo>
                    <a:pt x="2859" y="17"/>
                    <a:pt x="7145" y="-1126"/>
                    <a:pt x="10593" y="713"/>
                  </a:cubicBezTo>
                  <a:lnTo>
                    <a:pt x="138323" y="74436"/>
                  </a:lnTo>
                  <a:cubicBezTo>
                    <a:pt x="141847" y="76541"/>
                    <a:pt x="143000" y="81094"/>
                    <a:pt x="140905" y="84618"/>
                  </a:cubicBezTo>
                  <a:cubicBezTo>
                    <a:pt x="139580" y="86847"/>
                    <a:pt x="137199" y="88219"/>
                    <a:pt x="134608" y="88247"/>
                  </a:cubicBezTo>
                  <a:close/>
                </a:path>
              </a:pathLst>
            </a:custGeom>
            <a:solidFill>
              <a:srgbClr val="D1D9E8"/>
            </a:solidFill>
            <a:ln w="9525" cap="flat">
              <a:noFill/>
              <a:prstDash val="solid"/>
              <a:miter/>
            </a:ln>
          </p:spPr>
          <p:txBody>
            <a:bodyPr rtlCol="0" anchor="ctr"/>
            <a:lstStyle/>
            <a:p>
              <a:endParaRPr lang="zh-CN" altLang="en-US"/>
            </a:p>
          </p:txBody>
        </p:sp>
        <p:sp>
          <p:nvSpPr>
            <p:cNvPr id="825" name="iŝḻiḑe">
              <a:extLst>
                <a:ext uri="{FF2B5EF4-FFF2-40B4-BE49-F238E27FC236}">
                  <a16:creationId xmlns:a16="http://schemas.microsoft.com/office/drawing/2014/main" id="{64F59885-A00C-472A-B6A7-DB5AAC53509D}"/>
                </a:ext>
              </a:extLst>
            </p:cNvPr>
            <p:cNvSpPr/>
            <p:nvPr/>
          </p:nvSpPr>
          <p:spPr>
            <a:xfrm>
              <a:off x="5716743" y="3357576"/>
              <a:ext cx="433985" cy="269668"/>
            </a:xfrm>
            <a:custGeom>
              <a:avLst/>
              <a:gdLst>
                <a:gd name="connsiteX0" fmla="*/ 134798 w 142574"/>
                <a:gd name="connsiteY0" fmla="*/ 88430 h 88592"/>
                <a:gd name="connsiteX1" fmla="*/ 131084 w 142574"/>
                <a:gd name="connsiteY1" fmla="*/ 87383 h 88592"/>
                <a:gd name="connsiteX2" fmla="*/ 3353 w 142574"/>
                <a:gd name="connsiteY2" fmla="*/ 13659 h 88592"/>
                <a:gd name="connsiteX3" fmla="*/ 639 w 142574"/>
                <a:gd name="connsiteY3" fmla="*/ 3648 h 88592"/>
                <a:gd name="connsiteX4" fmla="*/ 686 w 142574"/>
                <a:gd name="connsiteY4" fmla="*/ 3563 h 88592"/>
                <a:gd name="connsiteX5" fmla="*/ 10783 w 142574"/>
                <a:gd name="connsiteY5" fmla="*/ 800 h 88592"/>
                <a:gd name="connsiteX6" fmla="*/ 138513 w 142574"/>
                <a:gd name="connsiteY6" fmla="*/ 74619 h 88592"/>
                <a:gd name="connsiteX7" fmla="*/ 141275 w 142574"/>
                <a:gd name="connsiteY7" fmla="*/ 84716 h 88592"/>
                <a:gd name="connsiteX8" fmla="*/ 134798 w 142574"/>
                <a:gd name="connsiteY8" fmla="*/ 88430 h 885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574" h="88592">
                  <a:moveTo>
                    <a:pt x="134798" y="88430"/>
                  </a:moveTo>
                  <a:cubicBezTo>
                    <a:pt x="133493" y="88402"/>
                    <a:pt x="132217" y="88040"/>
                    <a:pt x="131084" y="87383"/>
                  </a:cubicBezTo>
                  <a:lnTo>
                    <a:pt x="3353" y="13659"/>
                  </a:lnTo>
                  <a:cubicBezTo>
                    <a:pt x="-161" y="11649"/>
                    <a:pt x="-1381" y="7163"/>
                    <a:pt x="639" y="3648"/>
                  </a:cubicBezTo>
                  <a:cubicBezTo>
                    <a:pt x="648" y="3620"/>
                    <a:pt x="667" y="3591"/>
                    <a:pt x="686" y="3563"/>
                  </a:cubicBezTo>
                  <a:cubicBezTo>
                    <a:pt x="2725" y="29"/>
                    <a:pt x="7230" y="-1209"/>
                    <a:pt x="10783" y="800"/>
                  </a:cubicBezTo>
                  <a:lnTo>
                    <a:pt x="138513" y="74619"/>
                  </a:lnTo>
                  <a:cubicBezTo>
                    <a:pt x="142047" y="76658"/>
                    <a:pt x="143285" y="81163"/>
                    <a:pt x="141275" y="84716"/>
                  </a:cubicBezTo>
                  <a:cubicBezTo>
                    <a:pt x="139923" y="87011"/>
                    <a:pt x="137465" y="88430"/>
                    <a:pt x="134798" y="88430"/>
                  </a:cubicBezTo>
                  <a:close/>
                </a:path>
              </a:pathLst>
            </a:custGeom>
            <a:solidFill>
              <a:srgbClr val="D1D9E8"/>
            </a:solidFill>
            <a:ln w="9525" cap="flat">
              <a:noFill/>
              <a:prstDash val="solid"/>
              <a:miter/>
            </a:ln>
          </p:spPr>
          <p:txBody>
            <a:bodyPr rtlCol="0" anchor="ctr"/>
            <a:lstStyle/>
            <a:p>
              <a:endParaRPr lang="zh-CN" altLang="en-US"/>
            </a:p>
          </p:txBody>
        </p:sp>
        <p:sp>
          <p:nvSpPr>
            <p:cNvPr id="826" name="íṧ1îḓê">
              <a:extLst>
                <a:ext uri="{FF2B5EF4-FFF2-40B4-BE49-F238E27FC236}">
                  <a16:creationId xmlns:a16="http://schemas.microsoft.com/office/drawing/2014/main" id="{1EC2C900-F6A5-4629-9C62-2C181DC65BF5}"/>
                </a:ext>
              </a:extLst>
            </p:cNvPr>
            <p:cNvSpPr/>
            <p:nvPr/>
          </p:nvSpPr>
          <p:spPr>
            <a:xfrm>
              <a:off x="5721017" y="2673928"/>
              <a:ext cx="674397" cy="922602"/>
            </a:xfrm>
            <a:custGeom>
              <a:avLst/>
              <a:gdLst>
                <a:gd name="connsiteX0" fmla="*/ 192640 w 221555"/>
                <a:gd name="connsiteY0" fmla="*/ 299023 h 303096"/>
                <a:gd name="connsiteX1" fmla="*/ 28239 w 221555"/>
                <a:gd name="connsiteY1" fmla="*/ 203773 h 303096"/>
                <a:gd name="connsiteX2" fmla="*/ -336 w 221555"/>
                <a:gd name="connsiteY2" fmla="*/ 153767 h 303096"/>
                <a:gd name="connsiteX3" fmla="*/ -336 w 221555"/>
                <a:gd name="connsiteY3" fmla="*/ 20417 h 303096"/>
                <a:gd name="connsiteX4" fmla="*/ 28239 w 221555"/>
                <a:gd name="connsiteY4" fmla="*/ 3748 h 303096"/>
                <a:gd name="connsiteX5" fmla="*/ 192640 w 221555"/>
                <a:gd name="connsiteY5" fmla="*/ 98998 h 303096"/>
                <a:gd name="connsiteX6" fmla="*/ 221215 w 221555"/>
                <a:gd name="connsiteY6" fmla="*/ 149004 h 303096"/>
                <a:gd name="connsiteX7" fmla="*/ 221215 w 221555"/>
                <a:gd name="connsiteY7" fmla="*/ 282354 h 303096"/>
                <a:gd name="connsiteX8" fmla="*/ 192640 w 221555"/>
                <a:gd name="connsiteY8" fmla="*/ 299023 h 303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1555" h="303096">
                  <a:moveTo>
                    <a:pt x="192640" y="299023"/>
                  </a:moveTo>
                  <a:lnTo>
                    <a:pt x="28239" y="203773"/>
                  </a:lnTo>
                  <a:cubicBezTo>
                    <a:pt x="11293" y="192610"/>
                    <a:pt x="683" y="174036"/>
                    <a:pt x="-336" y="153767"/>
                  </a:cubicBezTo>
                  <a:lnTo>
                    <a:pt x="-336" y="20417"/>
                  </a:lnTo>
                  <a:cubicBezTo>
                    <a:pt x="-336" y="2034"/>
                    <a:pt x="12618" y="-5396"/>
                    <a:pt x="28239" y="3748"/>
                  </a:cubicBezTo>
                  <a:lnTo>
                    <a:pt x="192640" y="98998"/>
                  </a:lnTo>
                  <a:cubicBezTo>
                    <a:pt x="209547" y="110200"/>
                    <a:pt x="220148" y="128754"/>
                    <a:pt x="221215" y="149004"/>
                  </a:cubicBezTo>
                  <a:lnTo>
                    <a:pt x="221215" y="282354"/>
                  </a:lnTo>
                  <a:cubicBezTo>
                    <a:pt x="221501" y="300738"/>
                    <a:pt x="208547" y="308167"/>
                    <a:pt x="192640" y="299023"/>
                  </a:cubicBezTo>
                  <a:close/>
                </a:path>
              </a:pathLst>
            </a:custGeom>
            <a:solidFill>
              <a:srgbClr val="D1D9E8"/>
            </a:solidFill>
            <a:ln w="9525" cap="flat">
              <a:noFill/>
              <a:prstDash val="solid"/>
              <a:miter/>
            </a:ln>
          </p:spPr>
          <p:txBody>
            <a:bodyPr rtlCol="0" anchor="ctr"/>
            <a:lstStyle/>
            <a:p>
              <a:endParaRPr lang="zh-CN" altLang="en-US"/>
            </a:p>
          </p:txBody>
        </p:sp>
        <p:sp>
          <p:nvSpPr>
            <p:cNvPr id="827" name="iṡļiḑè">
              <a:extLst>
                <a:ext uri="{FF2B5EF4-FFF2-40B4-BE49-F238E27FC236}">
                  <a16:creationId xmlns:a16="http://schemas.microsoft.com/office/drawing/2014/main" id="{1B134461-EF03-4910-8FE7-C60869608561}"/>
                </a:ext>
              </a:extLst>
            </p:cNvPr>
            <p:cNvSpPr/>
            <p:nvPr/>
          </p:nvSpPr>
          <p:spPr>
            <a:xfrm>
              <a:off x="5684667" y="2813404"/>
              <a:ext cx="92307" cy="154534"/>
            </a:xfrm>
            <a:custGeom>
              <a:avLst/>
              <a:gdLst>
                <a:gd name="connsiteX0" fmla="*/ 12272 w 30325"/>
                <a:gd name="connsiteY0" fmla="*/ 50606 h 50768"/>
                <a:gd name="connsiteX1" fmla="*/ 29989 w 30325"/>
                <a:gd name="connsiteY1" fmla="*/ 40414 h 50768"/>
                <a:gd name="connsiteX2" fmla="*/ 17416 w 30325"/>
                <a:gd name="connsiteY2" fmla="*/ 3171 h 50768"/>
                <a:gd name="connsiteX3" fmla="*/ 17416 w 30325"/>
                <a:gd name="connsiteY3" fmla="*/ -163 h 50768"/>
                <a:gd name="connsiteX4" fmla="*/ -301 w 30325"/>
                <a:gd name="connsiteY4" fmla="*/ 10029 h 50768"/>
                <a:gd name="connsiteX5" fmla="*/ -301 w 30325"/>
                <a:gd name="connsiteY5" fmla="*/ 12220 h 50768"/>
                <a:gd name="connsiteX6" fmla="*/ -301 w 30325"/>
                <a:gd name="connsiteY6" fmla="*/ 12220 h 50768"/>
                <a:gd name="connsiteX7" fmla="*/ -301 w 30325"/>
                <a:gd name="connsiteY7" fmla="*/ 13363 h 50768"/>
                <a:gd name="connsiteX8" fmla="*/ 12272 w 30325"/>
                <a:gd name="connsiteY8" fmla="*/ 50606 h 50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325" h="50768">
                  <a:moveTo>
                    <a:pt x="12272" y="50606"/>
                  </a:moveTo>
                  <a:lnTo>
                    <a:pt x="29989" y="40414"/>
                  </a:lnTo>
                  <a:cubicBezTo>
                    <a:pt x="22321" y="29460"/>
                    <a:pt x="17949" y="16535"/>
                    <a:pt x="17416" y="3171"/>
                  </a:cubicBezTo>
                  <a:cubicBezTo>
                    <a:pt x="17416" y="2028"/>
                    <a:pt x="17416" y="885"/>
                    <a:pt x="17416" y="-163"/>
                  </a:cubicBezTo>
                  <a:lnTo>
                    <a:pt x="-301" y="10029"/>
                  </a:lnTo>
                  <a:cubicBezTo>
                    <a:pt x="-301" y="10696"/>
                    <a:pt x="-301" y="11458"/>
                    <a:pt x="-301" y="12220"/>
                  </a:cubicBezTo>
                  <a:lnTo>
                    <a:pt x="-301" y="12220"/>
                  </a:lnTo>
                  <a:cubicBezTo>
                    <a:pt x="-348" y="12601"/>
                    <a:pt x="-348" y="12982"/>
                    <a:pt x="-301" y="13363"/>
                  </a:cubicBezTo>
                  <a:cubicBezTo>
                    <a:pt x="233" y="26726"/>
                    <a:pt x="4605" y="39652"/>
                    <a:pt x="12272" y="50606"/>
                  </a:cubicBezTo>
                  <a:close/>
                </a:path>
              </a:pathLst>
            </a:custGeom>
            <a:solidFill>
              <a:srgbClr val="214EA6"/>
            </a:solidFill>
            <a:ln w="9525" cap="flat">
              <a:noFill/>
              <a:prstDash val="solid"/>
              <a:miter/>
            </a:ln>
          </p:spPr>
          <p:txBody>
            <a:bodyPr rtlCol="0" anchor="ctr"/>
            <a:lstStyle/>
            <a:p>
              <a:endParaRPr lang="zh-CN" altLang="en-US"/>
            </a:p>
          </p:txBody>
        </p:sp>
        <p:sp>
          <p:nvSpPr>
            <p:cNvPr id="828" name="ïṧľîdé">
              <a:extLst>
                <a:ext uri="{FF2B5EF4-FFF2-40B4-BE49-F238E27FC236}">
                  <a16:creationId xmlns:a16="http://schemas.microsoft.com/office/drawing/2014/main" id="{4A73E1D4-A6C8-4D75-AA25-A4CDB96CB4DC}"/>
                </a:ext>
              </a:extLst>
            </p:cNvPr>
            <p:cNvSpPr/>
            <p:nvPr/>
          </p:nvSpPr>
          <p:spPr>
            <a:xfrm>
              <a:off x="5623021" y="2802385"/>
              <a:ext cx="100026" cy="199475"/>
            </a:xfrm>
            <a:custGeom>
              <a:avLst/>
              <a:gdLst>
                <a:gd name="connsiteX0" fmla="*/ 19761 w 32861"/>
                <a:gd name="connsiteY0" fmla="*/ 65369 h 65532"/>
                <a:gd name="connsiteX1" fmla="*/ 32525 w 32861"/>
                <a:gd name="connsiteY1" fmla="*/ 54225 h 65532"/>
                <a:gd name="connsiteX2" fmla="*/ 19952 w 32861"/>
                <a:gd name="connsiteY2" fmla="*/ 16982 h 65532"/>
                <a:gd name="connsiteX3" fmla="*/ 19952 w 32861"/>
                <a:gd name="connsiteY3" fmla="*/ 15839 h 65532"/>
                <a:gd name="connsiteX4" fmla="*/ 19952 w 32861"/>
                <a:gd name="connsiteY4" fmla="*/ 15839 h 65532"/>
                <a:gd name="connsiteX5" fmla="*/ 19952 w 32861"/>
                <a:gd name="connsiteY5" fmla="*/ 13649 h 65532"/>
                <a:gd name="connsiteX6" fmla="*/ 19190 w 32861"/>
                <a:gd name="connsiteY6" fmla="*/ 13077 h 65532"/>
                <a:gd name="connsiteX7" fmla="*/ -336 w 32861"/>
                <a:gd name="connsiteY7" fmla="*/ -163 h 65532"/>
                <a:gd name="connsiteX8" fmla="*/ -336 w 32861"/>
                <a:gd name="connsiteY8" fmla="*/ 5171 h 65532"/>
                <a:gd name="connsiteX9" fmla="*/ 19761 w 32861"/>
                <a:gd name="connsiteY9" fmla="*/ 65369 h 65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2861" h="65532">
                  <a:moveTo>
                    <a:pt x="19761" y="65369"/>
                  </a:moveTo>
                  <a:lnTo>
                    <a:pt x="32525" y="54225"/>
                  </a:lnTo>
                  <a:cubicBezTo>
                    <a:pt x="24857" y="43271"/>
                    <a:pt x="20485" y="30346"/>
                    <a:pt x="19952" y="16982"/>
                  </a:cubicBezTo>
                  <a:cubicBezTo>
                    <a:pt x="19904" y="16601"/>
                    <a:pt x="19904" y="16220"/>
                    <a:pt x="19952" y="15839"/>
                  </a:cubicBezTo>
                  <a:lnTo>
                    <a:pt x="19952" y="15839"/>
                  </a:lnTo>
                  <a:cubicBezTo>
                    <a:pt x="19952" y="15077"/>
                    <a:pt x="19952" y="14315"/>
                    <a:pt x="19952" y="13649"/>
                  </a:cubicBezTo>
                  <a:lnTo>
                    <a:pt x="19190" y="13077"/>
                  </a:lnTo>
                  <a:lnTo>
                    <a:pt x="-336" y="-163"/>
                  </a:lnTo>
                  <a:cubicBezTo>
                    <a:pt x="-336" y="1552"/>
                    <a:pt x="-336" y="3266"/>
                    <a:pt x="-336" y="5171"/>
                  </a:cubicBezTo>
                  <a:cubicBezTo>
                    <a:pt x="549" y="26736"/>
                    <a:pt x="7512" y="47605"/>
                    <a:pt x="19761" y="65369"/>
                  </a:cubicBezTo>
                  <a:close/>
                </a:path>
              </a:pathLst>
            </a:custGeom>
            <a:solidFill>
              <a:srgbClr val="316DE6"/>
            </a:solidFill>
            <a:ln w="9525" cap="flat">
              <a:noFill/>
              <a:prstDash val="solid"/>
              <a:miter/>
            </a:ln>
          </p:spPr>
          <p:txBody>
            <a:bodyPr rtlCol="0" anchor="ctr"/>
            <a:lstStyle/>
            <a:p>
              <a:endParaRPr lang="zh-CN" altLang="en-US"/>
            </a:p>
          </p:txBody>
        </p:sp>
        <p:sp>
          <p:nvSpPr>
            <p:cNvPr id="829" name="îŝlîḍé">
              <a:extLst>
                <a:ext uri="{FF2B5EF4-FFF2-40B4-BE49-F238E27FC236}">
                  <a16:creationId xmlns:a16="http://schemas.microsoft.com/office/drawing/2014/main" id="{E9406A8C-7ADA-4D4F-8048-8A09D241813C}"/>
                </a:ext>
              </a:extLst>
            </p:cNvPr>
            <p:cNvSpPr/>
            <p:nvPr/>
          </p:nvSpPr>
          <p:spPr>
            <a:xfrm>
              <a:off x="5623599" y="2757444"/>
              <a:ext cx="115392" cy="86688"/>
            </a:xfrm>
            <a:custGeom>
              <a:avLst/>
              <a:gdLst>
                <a:gd name="connsiteX0" fmla="*/ 0 w 37909"/>
                <a:gd name="connsiteY0" fmla="*/ 14668 h 28479"/>
                <a:gd name="connsiteX1" fmla="*/ 25527 w 37909"/>
                <a:gd name="connsiteY1" fmla="*/ 0 h 28479"/>
                <a:gd name="connsiteX2" fmla="*/ 37909 w 37909"/>
                <a:gd name="connsiteY2" fmla="*/ 18288 h 28479"/>
                <a:gd name="connsiteX3" fmla="*/ 20288 w 37909"/>
                <a:gd name="connsiteY3" fmla="*/ 28480 h 28479"/>
                <a:gd name="connsiteX4" fmla="*/ 0 w 37909"/>
                <a:gd name="connsiteY4" fmla="*/ 14668 h 284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09" h="28479">
                  <a:moveTo>
                    <a:pt x="0" y="14668"/>
                  </a:moveTo>
                  <a:lnTo>
                    <a:pt x="25527" y="0"/>
                  </a:lnTo>
                  <a:lnTo>
                    <a:pt x="37909" y="18288"/>
                  </a:lnTo>
                  <a:lnTo>
                    <a:pt x="20288" y="28480"/>
                  </a:lnTo>
                  <a:lnTo>
                    <a:pt x="0" y="14668"/>
                  </a:lnTo>
                  <a:close/>
                </a:path>
              </a:pathLst>
            </a:custGeom>
            <a:solidFill>
              <a:srgbClr val="323A82"/>
            </a:solidFill>
            <a:ln w="9525" cap="flat">
              <a:noFill/>
              <a:prstDash val="solid"/>
              <a:miter/>
            </a:ln>
          </p:spPr>
          <p:txBody>
            <a:bodyPr rtlCol="0" anchor="ctr"/>
            <a:lstStyle/>
            <a:p>
              <a:endParaRPr lang="zh-CN" altLang="en-US"/>
            </a:p>
          </p:txBody>
        </p:sp>
        <p:sp>
          <p:nvSpPr>
            <p:cNvPr id="830" name="ïšļíḑè">
              <a:extLst>
                <a:ext uri="{FF2B5EF4-FFF2-40B4-BE49-F238E27FC236}">
                  <a16:creationId xmlns:a16="http://schemas.microsoft.com/office/drawing/2014/main" id="{EA1258CE-D948-45DA-9436-79899DB17B28}"/>
                </a:ext>
              </a:extLst>
            </p:cNvPr>
            <p:cNvSpPr/>
            <p:nvPr/>
          </p:nvSpPr>
          <p:spPr>
            <a:xfrm>
              <a:off x="5684195" y="2936914"/>
              <a:ext cx="92487" cy="64653"/>
            </a:xfrm>
            <a:custGeom>
              <a:avLst/>
              <a:gdLst>
                <a:gd name="connsiteX0" fmla="*/ 0 w 30384"/>
                <a:gd name="connsiteY0" fmla="*/ 21241 h 21240"/>
                <a:gd name="connsiteX1" fmla="*/ 23622 w 30384"/>
                <a:gd name="connsiteY1" fmla="*/ 7715 h 21240"/>
                <a:gd name="connsiteX2" fmla="*/ 30385 w 30384"/>
                <a:gd name="connsiteY2" fmla="*/ 0 h 21240"/>
                <a:gd name="connsiteX3" fmla="*/ 12668 w 30384"/>
                <a:gd name="connsiteY3" fmla="*/ 10192 h 21240"/>
                <a:gd name="connsiteX4" fmla="*/ 0 w 30384"/>
                <a:gd name="connsiteY4" fmla="*/ 21241 h 212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384" h="21240">
                  <a:moveTo>
                    <a:pt x="0" y="21241"/>
                  </a:moveTo>
                  <a:lnTo>
                    <a:pt x="23622" y="7715"/>
                  </a:lnTo>
                  <a:lnTo>
                    <a:pt x="30385" y="0"/>
                  </a:lnTo>
                  <a:lnTo>
                    <a:pt x="12668" y="10192"/>
                  </a:lnTo>
                  <a:lnTo>
                    <a:pt x="0" y="21241"/>
                  </a:lnTo>
                  <a:close/>
                </a:path>
              </a:pathLst>
            </a:custGeom>
            <a:solidFill>
              <a:srgbClr val="171A42"/>
            </a:solidFill>
            <a:ln w="9525" cap="flat">
              <a:noFill/>
              <a:prstDash val="solid"/>
              <a:miter/>
            </a:ln>
          </p:spPr>
          <p:txBody>
            <a:bodyPr rtlCol="0" anchor="ctr"/>
            <a:lstStyle/>
            <a:p>
              <a:endParaRPr lang="zh-CN" altLang="en-US"/>
            </a:p>
          </p:txBody>
        </p:sp>
        <p:sp>
          <p:nvSpPr>
            <p:cNvPr id="831" name="isḻíḓé">
              <a:extLst>
                <a:ext uri="{FF2B5EF4-FFF2-40B4-BE49-F238E27FC236}">
                  <a16:creationId xmlns:a16="http://schemas.microsoft.com/office/drawing/2014/main" id="{5A73807E-06F1-4E91-B6DF-3591A48E13D7}"/>
                </a:ext>
              </a:extLst>
            </p:cNvPr>
            <p:cNvSpPr/>
            <p:nvPr/>
          </p:nvSpPr>
          <p:spPr>
            <a:xfrm>
              <a:off x="5735223" y="2763243"/>
              <a:ext cx="31021" cy="17685"/>
            </a:xfrm>
            <a:custGeom>
              <a:avLst/>
              <a:gdLst>
                <a:gd name="connsiteX0" fmla="*/ -336 w 10191"/>
                <a:gd name="connsiteY0" fmla="*/ 5647 h 5810"/>
                <a:gd name="connsiteX1" fmla="*/ 9855 w 10191"/>
                <a:gd name="connsiteY1" fmla="*/ -163 h 5810"/>
                <a:gd name="connsiteX2" fmla="*/ 2331 w 10191"/>
                <a:gd name="connsiteY2" fmla="*/ 2980 h 5810"/>
                <a:gd name="connsiteX3" fmla="*/ -336 w 10191"/>
                <a:gd name="connsiteY3" fmla="*/ 5647 h 5810"/>
              </a:gdLst>
              <a:ahLst/>
              <a:cxnLst>
                <a:cxn ang="0">
                  <a:pos x="connsiteX0" y="connsiteY0"/>
                </a:cxn>
                <a:cxn ang="0">
                  <a:pos x="connsiteX1" y="connsiteY1"/>
                </a:cxn>
                <a:cxn ang="0">
                  <a:pos x="connsiteX2" y="connsiteY2"/>
                </a:cxn>
                <a:cxn ang="0">
                  <a:pos x="connsiteX3" y="connsiteY3"/>
                </a:cxn>
              </a:cxnLst>
              <a:rect l="l" t="t" r="r" b="b"/>
              <a:pathLst>
                <a:path w="10191" h="5810">
                  <a:moveTo>
                    <a:pt x="-336" y="5647"/>
                  </a:moveTo>
                  <a:lnTo>
                    <a:pt x="9855" y="-163"/>
                  </a:lnTo>
                  <a:cubicBezTo>
                    <a:pt x="7122" y="218"/>
                    <a:pt x="4531" y="1304"/>
                    <a:pt x="2331" y="2980"/>
                  </a:cubicBezTo>
                  <a:cubicBezTo>
                    <a:pt x="1350" y="3771"/>
                    <a:pt x="454" y="4666"/>
                    <a:pt x="-336" y="5647"/>
                  </a:cubicBezTo>
                  <a:close/>
                </a:path>
              </a:pathLst>
            </a:custGeom>
            <a:solidFill>
              <a:srgbClr val="D9530B"/>
            </a:solidFill>
            <a:ln w="9525" cap="flat">
              <a:noFill/>
              <a:prstDash val="solid"/>
              <a:miter/>
            </a:ln>
          </p:spPr>
          <p:txBody>
            <a:bodyPr rtlCol="0" anchor="ctr"/>
            <a:lstStyle/>
            <a:p>
              <a:endParaRPr lang="zh-CN" altLang="en-US"/>
            </a:p>
          </p:txBody>
        </p:sp>
        <p:sp>
          <p:nvSpPr>
            <p:cNvPr id="832" name="ïśliḋê">
              <a:extLst>
                <a:ext uri="{FF2B5EF4-FFF2-40B4-BE49-F238E27FC236}">
                  <a16:creationId xmlns:a16="http://schemas.microsoft.com/office/drawing/2014/main" id="{F29405DE-2A04-4565-837A-930752D6186D}"/>
                </a:ext>
              </a:extLst>
            </p:cNvPr>
            <p:cNvSpPr/>
            <p:nvPr/>
          </p:nvSpPr>
          <p:spPr>
            <a:xfrm>
              <a:off x="5706230" y="2651093"/>
              <a:ext cx="281816" cy="172168"/>
            </a:xfrm>
            <a:custGeom>
              <a:avLst/>
              <a:gdLst>
                <a:gd name="connsiteX0" fmla="*/ 74530 w 92583"/>
                <a:gd name="connsiteY0" fmla="*/ 56399 h 56561"/>
                <a:gd name="connsiteX1" fmla="*/ 92247 w 92583"/>
                <a:gd name="connsiteY1" fmla="*/ 46207 h 56561"/>
                <a:gd name="connsiteX2" fmla="*/ 55099 w 92583"/>
                <a:gd name="connsiteY2" fmla="*/ 7250 h 56561"/>
                <a:gd name="connsiteX3" fmla="*/ 16999 w 92583"/>
                <a:gd name="connsiteY3" fmla="*/ 3440 h 56561"/>
                <a:gd name="connsiteX4" fmla="*/ -336 w 92583"/>
                <a:gd name="connsiteY4" fmla="*/ 13631 h 56561"/>
                <a:gd name="connsiteX5" fmla="*/ 9189 w 92583"/>
                <a:gd name="connsiteY5" fmla="*/ 10393 h 56561"/>
                <a:gd name="connsiteX6" fmla="*/ 10141 w 92583"/>
                <a:gd name="connsiteY6" fmla="*/ 10393 h 56561"/>
                <a:gd name="connsiteX7" fmla="*/ 37192 w 92583"/>
                <a:gd name="connsiteY7" fmla="*/ 17632 h 56561"/>
                <a:gd name="connsiteX8" fmla="*/ 53956 w 92583"/>
                <a:gd name="connsiteY8" fmla="*/ 30491 h 56561"/>
                <a:gd name="connsiteX9" fmla="*/ 53956 w 92583"/>
                <a:gd name="connsiteY9" fmla="*/ 30491 h 56561"/>
                <a:gd name="connsiteX10" fmla="*/ 74530 w 92583"/>
                <a:gd name="connsiteY10" fmla="*/ 56399 h 565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2583" h="56561">
                  <a:moveTo>
                    <a:pt x="74530" y="56399"/>
                  </a:moveTo>
                  <a:lnTo>
                    <a:pt x="92247" y="46207"/>
                  </a:lnTo>
                  <a:cubicBezTo>
                    <a:pt x="83303" y="30329"/>
                    <a:pt x="70539" y="16936"/>
                    <a:pt x="55099" y="7250"/>
                  </a:cubicBezTo>
                  <a:cubicBezTo>
                    <a:pt x="40240" y="-1323"/>
                    <a:pt x="26524" y="-2275"/>
                    <a:pt x="16999" y="3440"/>
                  </a:cubicBezTo>
                  <a:lnTo>
                    <a:pt x="-336" y="13631"/>
                  </a:lnTo>
                  <a:cubicBezTo>
                    <a:pt x="2588" y="11917"/>
                    <a:pt x="5826" y="10812"/>
                    <a:pt x="9189" y="10393"/>
                  </a:cubicBezTo>
                  <a:lnTo>
                    <a:pt x="10141" y="10393"/>
                  </a:lnTo>
                  <a:cubicBezTo>
                    <a:pt x="19695" y="9945"/>
                    <a:pt x="29144" y="12479"/>
                    <a:pt x="37192" y="17632"/>
                  </a:cubicBezTo>
                  <a:cubicBezTo>
                    <a:pt x="43260" y="21251"/>
                    <a:pt x="48879" y="25576"/>
                    <a:pt x="53956" y="30491"/>
                  </a:cubicBezTo>
                  <a:lnTo>
                    <a:pt x="53956" y="30491"/>
                  </a:lnTo>
                  <a:cubicBezTo>
                    <a:pt x="61948" y="38158"/>
                    <a:pt x="68872" y="46874"/>
                    <a:pt x="74530" y="56399"/>
                  </a:cubicBezTo>
                  <a:close/>
                </a:path>
              </a:pathLst>
            </a:custGeom>
            <a:solidFill>
              <a:srgbClr val="D9530B"/>
            </a:solidFill>
            <a:ln w="9525" cap="flat">
              <a:noFill/>
              <a:prstDash val="solid"/>
              <a:miter/>
            </a:ln>
          </p:spPr>
          <p:txBody>
            <a:bodyPr rtlCol="0" anchor="ctr"/>
            <a:lstStyle/>
            <a:p>
              <a:endParaRPr lang="zh-CN" altLang="en-US"/>
            </a:p>
          </p:txBody>
        </p:sp>
        <p:sp>
          <p:nvSpPr>
            <p:cNvPr id="833" name="îsḻîḑê">
              <a:extLst>
                <a:ext uri="{FF2B5EF4-FFF2-40B4-BE49-F238E27FC236}">
                  <a16:creationId xmlns:a16="http://schemas.microsoft.com/office/drawing/2014/main" id="{55CB0A6F-EB1D-46AE-8BE3-46E54E88FAA6}"/>
                </a:ext>
              </a:extLst>
            </p:cNvPr>
            <p:cNvSpPr/>
            <p:nvPr/>
          </p:nvSpPr>
          <p:spPr>
            <a:xfrm>
              <a:off x="5685936" y="2682488"/>
              <a:ext cx="248181" cy="167154"/>
            </a:xfrm>
            <a:custGeom>
              <a:avLst/>
              <a:gdLst>
                <a:gd name="connsiteX0" fmla="*/ 67005 w 81533"/>
                <a:gd name="connsiteY0" fmla="*/ 54752 h 54914"/>
                <a:gd name="connsiteX1" fmla="*/ 81198 w 81533"/>
                <a:gd name="connsiteY1" fmla="*/ 46084 h 54914"/>
                <a:gd name="connsiteX2" fmla="*/ 60814 w 81533"/>
                <a:gd name="connsiteY2" fmla="*/ 19986 h 54914"/>
                <a:gd name="connsiteX3" fmla="*/ 60814 w 81533"/>
                <a:gd name="connsiteY3" fmla="*/ 19986 h 54914"/>
                <a:gd name="connsiteX4" fmla="*/ 44431 w 81533"/>
                <a:gd name="connsiteY4" fmla="*/ 7127 h 54914"/>
                <a:gd name="connsiteX5" fmla="*/ 17380 w 81533"/>
                <a:gd name="connsiteY5" fmla="*/ -112 h 54914"/>
                <a:gd name="connsiteX6" fmla="*/ 16428 w 81533"/>
                <a:gd name="connsiteY6" fmla="*/ -112 h 54914"/>
                <a:gd name="connsiteX7" fmla="*/ 6903 w 81533"/>
                <a:gd name="connsiteY7" fmla="*/ 3127 h 54914"/>
                <a:gd name="connsiteX8" fmla="*/ -336 w 81533"/>
                <a:gd name="connsiteY8" fmla="*/ 9318 h 54914"/>
                <a:gd name="connsiteX9" fmla="*/ 9189 w 81533"/>
                <a:gd name="connsiteY9" fmla="*/ 21891 h 54914"/>
                <a:gd name="connsiteX10" fmla="*/ 9855 w 81533"/>
                <a:gd name="connsiteY10" fmla="*/ 22748 h 54914"/>
                <a:gd name="connsiteX11" fmla="*/ 9855 w 81533"/>
                <a:gd name="connsiteY11" fmla="*/ 22748 h 54914"/>
                <a:gd name="connsiteX12" fmla="*/ 16809 w 81533"/>
                <a:gd name="connsiteY12" fmla="*/ 32273 h 54914"/>
                <a:gd name="connsiteX13" fmla="*/ 19476 w 81533"/>
                <a:gd name="connsiteY13" fmla="*/ 29606 h 54914"/>
                <a:gd name="connsiteX14" fmla="*/ 27001 w 81533"/>
                <a:gd name="connsiteY14" fmla="*/ 26463 h 54914"/>
                <a:gd name="connsiteX15" fmla="*/ 31954 w 81533"/>
                <a:gd name="connsiteY15" fmla="*/ 26463 h 54914"/>
                <a:gd name="connsiteX16" fmla="*/ 44812 w 81533"/>
                <a:gd name="connsiteY16" fmla="*/ 30940 h 54914"/>
                <a:gd name="connsiteX17" fmla="*/ 67005 w 81533"/>
                <a:gd name="connsiteY17" fmla="*/ 54752 h 54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1533" h="54914">
                  <a:moveTo>
                    <a:pt x="67005" y="54752"/>
                  </a:moveTo>
                  <a:lnTo>
                    <a:pt x="81198" y="46084"/>
                  </a:lnTo>
                  <a:cubicBezTo>
                    <a:pt x="75607" y="36502"/>
                    <a:pt x="68749" y="27730"/>
                    <a:pt x="60814" y="19986"/>
                  </a:cubicBezTo>
                  <a:lnTo>
                    <a:pt x="60814" y="19986"/>
                  </a:lnTo>
                  <a:cubicBezTo>
                    <a:pt x="55861" y="15090"/>
                    <a:pt x="50365" y="10775"/>
                    <a:pt x="44431" y="7127"/>
                  </a:cubicBezTo>
                  <a:cubicBezTo>
                    <a:pt x="36383" y="1974"/>
                    <a:pt x="26934" y="-560"/>
                    <a:pt x="17380" y="-112"/>
                  </a:cubicBezTo>
                  <a:lnTo>
                    <a:pt x="16428" y="-112"/>
                  </a:lnTo>
                  <a:cubicBezTo>
                    <a:pt x="13065" y="307"/>
                    <a:pt x="9827" y="1412"/>
                    <a:pt x="6903" y="3127"/>
                  </a:cubicBezTo>
                  <a:cubicBezTo>
                    <a:pt x="4131" y="4736"/>
                    <a:pt x="1683" y="6832"/>
                    <a:pt x="-336" y="9318"/>
                  </a:cubicBezTo>
                  <a:lnTo>
                    <a:pt x="9189" y="21891"/>
                  </a:lnTo>
                  <a:lnTo>
                    <a:pt x="9855" y="22748"/>
                  </a:lnTo>
                  <a:lnTo>
                    <a:pt x="9855" y="22748"/>
                  </a:lnTo>
                  <a:lnTo>
                    <a:pt x="16809" y="32273"/>
                  </a:lnTo>
                  <a:cubicBezTo>
                    <a:pt x="17599" y="31292"/>
                    <a:pt x="18495" y="30397"/>
                    <a:pt x="19476" y="29606"/>
                  </a:cubicBezTo>
                  <a:cubicBezTo>
                    <a:pt x="21676" y="27930"/>
                    <a:pt x="24267" y="26844"/>
                    <a:pt x="27001" y="26463"/>
                  </a:cubicBezTo>
                  <a:cubicBezTo>
                    <a:pt x="28639" y="26215"/>
                    <a:pt x="30315" y="26215"/>
                    <a:pt x="31954" y="26463"/>
                  </a:cubicBezTo>
                  <a:cubicBezTo>
                    <a:pt x="36516" y="27015"/>
                    <a:pt x="40897" y="28539"/>
                    <a:pt x="44812" y="30940"/>
                  </a:cubicBezTo>
                  <a:cubicBezTo>
                    <a:pt x="54061" y="36921"/>
                    <a:pt x="61691" y="45103"/>
                    <a:pt x="67005" y="54752"/>
                  </a:cubicBezTo>
                  <a:close/>
                </a:path>
              </a:pathLst>
            </a:custGeom>
            <a:solidFill>
              <a:srgbClr val="FF7D33"/>
            </a:solidFill>
            <a:ln w="9525" cap="flat">
              <a:noFill/>
              <a:prstDash val="solid"/>
              <a:miter/>
            </a:ln>
          </p:spPr>
          <p:txBody>
            <a:bodyPr rtlCol="0" anchor="ctr"/>
            <a:lstStyle/>
            <a:p>
              <a:endParaRPr lang="zh-CN" altLang="en-US"/>
            </a:p>
          </p:txBody>
        </p:sp>
        <p:sp>
          <p:nvSpPr>
            <p:cNvPr id="834" name="ïṥļíḍê">
              <a:extLst>
                <a:ext uri="{FF2B5EF4-FFF2-40B4-BE49-F238E27FC236}">
                  <a16:creationId xmlns:a16="http://schemas.microsoft.com/office/drawing/2014/main" id="{1DBF95BD-F3B9-4C5C-ADEC-EE0283F866BF}"/>
                </a:ext>
              </a:extLst>
            </p:cNvPr>
            <p:cNvSpPr/>
            <p:nvPr/>
          </p:nvSpPr>
          <p:spPr>
            <a:xfrm>
              <a:off x="5934119" y="2792236"/>
              <a:ext cx="104041" cy="300950"/>
            </a:xfrm>
            <a:custGeom>
              <a:avLst/>
              <a:gdLst>
                <a:gd name="connsiteX0" fmla="*/ 140 w 34180"/>
                <a:gd name="connsiteY0" fmla="*/ 98707 h 98869"/>
                <a:gd name="connsiteX1" fmla="*/ 17856 w 34180"/>
                <a:gd name="connsiteY1" fmla="*/ 88515 h 98869"/>
                <a:gd name="connsiteX2" fmla="*/ 33668 w 34180"/>
                <a:gd name="connsiteY2" fmla="*/ 53844 h 98869"/>
                <a:gd name="connsiteX3" fmla="*/ 17380 w 34180"/>
                <a:gd name="connsiteY3" fmla="*/ -163 h 98869"/>
                <a:gd name="connsiteX4" fmla="*/ -336 w 34180"/>
                <a:gd name="connsiteY4" fmla="*/ 10029 h 98869"/>
                <a:gd name="connsiteX5" fmla="*/ 13285 w 34180"/>
                <a:gd name="connsiteY5" fmla="*/ 43081 h 98869"/>
                <a:gd name="connsiteX6" fmla="*/ 15952 w 34180"/>
                <a:gd name="connsiteY6" fmla="*/ 64036 h 98869"/>
                <a:gd name="connsiteX7" fmla="*/ 10998 w 34180"/>
                <a:gd name="connsiteY7" fmla="*/ 86991 h 98869"/>
                <a:gd name="connsiteX8" fmla="*/ 7951 w 34180"/>
                <a:gd name="connsiteY8" fmla="*/ 91754 h 98869"/>
                <a:gd name="connsiteX9" fmla="*/ 140 w 34180"/>
                <a:gd name="connsiteY9" fmla="*/ 98707 h 98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4180" h="98869">
                  <a:moveTo>
                    <a:pt x="140" y="98707"/>
                  </a:moveTo>
                  <a:lnTo>
                    <a:pt x="17856" y="88515"/>
                  </a:lnTo>
                  <a:cubicBezTo>
                    <a:pt x="28944" y="80609"/>
                    <a:pt x="34973" y="67398"/>
                    <a:pt x="33668" y="53844"/>
                  </a:cubicBezTo>
                  <a:cubicBezTo>
                    <a:pt x="32982" y="34737"/>
                    <a:pt x="27372" y="16135"/>
                    <a:pt x="17380" y="-163"/>
                  </a:cubicBezTo>
                  <a:lnTo>
                    <a:pt x="-336" y="10029"/>
                  </a:lnTo>
                  <a:cubicBezTo>
                    <a:pt x="5779" y="20326"/>
                    <a:pt x="10370" y="31460"/>
                    <a:pt x="13285" y="43081"/>
                  </a:cubicBezTo>
                  <a:cubicBezTo>
                    <a:pt x="14989" y="49939"/>
                    <a:pt x="15885" y="56968"/>
                    <a:pt x="15952" y="64036"/>
                  </a:cubicBezTo>
                  <a:cubicBezTo>
                    <a:pt x="16104" y="71970"/>
                    <a:pt x="14408" y="79828"/>
                    <a:pt x="10998" y="86991"/>
                  </a:cubicBezTo>
                  <a:cubicBezTo>
                    <a:pt x="10151" y="88677"/>
                    <a:pt x="9132" y="90277"/>
                    <a:pt x="7951" y="91754"/>
                  </a:cubicBezTo>
                  <a:cubicBezTo>
                    <a:pt x="5855" y="94582"/>
                    <a:pt x="3188" y="96945"/>
                    <a:pt x="140" y="98707"/>
                  </a:cubicBezTo>
                  <a:close/>
                </a:path>
              </a:pathLst>
            </a:custGeom>
            <a:solidFill>
              <a:srgbClr val="171A42"/>
            </a:solidFill>
            <a:ln w="9525" cap="flat">
              <a:noFill/>
              <a:prstDash val="solid"/>
              <a:miter/>
            </a:ln>
          </p:spPr>
          <p:txBody>
            <a:bodyPr rtlCol="0" anchor="ctr"/>
            <a:lstStyle/>
            <a:p>
              <a:endParaRPr lang="zh-CN" altLang="en-US"/>
            </a:p>
          </p:txBody>
        </p:sp>
        <p:sp>
          <p:nvSpPr>
            <p:cNvPr id="835" name="ïṧľîďê">
              <a:extLst>
                <a:ext uri="{FF2B5EF4-FFF2-40B4-BE49-F238E27FC236}">
                  <a16:creationId xmlns:a16="http://schemas.microsoft.com/office/drawing/2014/main" id="{9ED0951F-C03D-4CAE-8A53-84FF6AAA820C}"/>
                </a:ext>
              </a:extLst>
            </p:cNvPr>
            <p:cNvSpPr/>
            <p:nvPr/>
          </p:nvSpPr>
          <p:spPr>
            <a:xfrm>
              <a:off x="5882510" y="2823260"/>
              <a:ext cx="101214" cy="276596"/>
            </a:xfrm>
            <a:custGeom>
              <a:avLst/>
              <a:gdLst>
                <a:gd name="connsiteX0" fmla="*/ 17095 w 33251"/>
                <a:gd name="connsiteY0" fmla="*/ 88515 h 90868"/>
                <a:gd name="connsiteX1" fmla="*/ 24905 w 33251"/>
                <a:gd name="connsiteY1" fmla="*/ 81562 h 90868"/>
                <a:gd name="connsiteX2" fmla="*/ 27953 w 33251"/>
                <a:gd name="connsiteY2" fmla="*/ 76799 h 90868"/>
                <a:gd name="connsiteX3" fmla="*/ 32906 w 33251"/>
                <a:gd name="connsiteY3" fmla="*/ 53844 h 90868"/>
                <a:gd name="connsiteX4" fmla="*/ 30239 w 33251"/>
                <a:gd name="connsiteY4" fmla="*/ 32889 h 90868"/>
                <a:gd name="connsiteX5" fmla="*/ 16618 w 33251"/>
                <a:gd name="connsiteY5" fmla="*/ -163 h 90868"/>
                <a:gd name="connsiteX6" fmla="*/ 2426 w 33251"/>
                <a:gd name="connsiteY6" fmla="*/ 8505 h 90868"/>
                <a:gd name="connsiteX7" fmla="*/ 12522 w 33251"/>
                <a:gd name="connsiteY7" fmla="*/ 42033 h 90868"/>
                <a:gd name="connsiteX8" fmla="*/ 9951 w 33251"/>
                <a:gd name="connsiteY8" fmla="*/ 55463 h 90868"/>
                <a:gd name="connsiteX9" fmla="*/ 5474 w 33251"/>
                <a:gd name="connsiteY9" fmla="*/ 61559 h 90868"/>
                <a:gd name="connsiteX10" fmla="*/ -336 w 33251"/>
                <a:gd name="connsiteY10" fmla="*/ 64893 h 90868"/>
                <a:gd name="connsiteX11" fmla="*/ 6522 w 33251"/>
                <a:gd name="connsiteY11" fmla="*/ 79085 h 90868"/>
                <a:gd name="connsiteX12" fmla="*/ 12142 w 33251"/>
                <a:gd name="connsiteY12" fmla="*/ 90706 h 90868"/>
                <a:gd name="connsiteX13" fmla="*/ 17095 w 33251"/>
                <a:gd name="connsiteY13" fmla="*/ 88515 h 90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3251" h="90868">
                  <a:moveTo>
                    <a:pt x="17095" y="88515"/>
                  </a:moveTo>
                  <a:cubicBezTo>
                    <a:pt x="20143" y="86753"/>
                    <a:pt x="22810" y="84391"/>
                    <a:pt x="24905" y="81562"/>
                  </a:cubicBezTo>
                  <a:cubicBezTo>
                    <a:pt x="26086" y="80086"/>
                    <a:pt x="27105" y="78485"/>
                    <a:pt x="27953" y="76799"/>
                  </a:cubicBezTo>
                  <a:cubicBezTo>
                    <a:pt x="31363" y="69637"/>
                    <a:pt x="33058" y="61779"/>
                    <a:pt x="32906" y="53844"/>
                  </a:cubicBezTo>
                  <a:cubicBezTo>
                    <a:pt x="32839" y="46777"/>
                    <a:pt x="31944" y="39747"/>
                    <a:pt x="30239" y="32889"/>
                  </a:cubicBezTo>
                  <a:cubicBezTo>
                    <a:pt x="27324" y="21269"/>
                    <a:pt x="22733" y="10134"/>
                    <a:pt x="16618" y="-163"/>
                  </a:cubicBezTo>
                  <a:lnTo>
                    <a:pt x="2426" y="8505"/>
                  </a:lnTo>
                  <a:cubicBezTo>
                    <a:pt x="8646" y="18611"/>
                    <a:pt x="12132" y="30165"/>
                    <a:pt x="12522" y="42033"/>
                  </a:cubicBezTo>
                  <a:cubicBezTo>
                    <a:pt x="12618" y="46643"/>
                    <a:pt x="11741" y="51215"/>
                    <a:pt x="9951" y="55463"/>
                  </a:cubicBezTo>
                  <a:cubicBezTo>
                    <a:pt x="8865" y="57768"/>
                    <a:pt x="7341" y="59835"/>
                    <a:pt x="5474" y="61559"/>
                  </a:cubicBezTo>
                  <a:cubicBezTo>
                    <a:pt x="3807" y="63083"/>
                    <a:pt x="1826" y="64217"/>
                    <a:pt x="-336" y="64893"/>
                  </a:cubicBezTo>
                  <a:lnTo>
                    <a:pt x="6522" y="79085"/>
                  </a:lnTo>
                  <a:lnTo>
                    <a:pt x="12142" y="90706"/>
                  </a:lnTo>
                  <a:cubicBezTo>
                    <a:pt x="13856" y="90134"/>
                    <a:pt x="15513" y="89401"/>
                    <a:pt x="17095" y="88515"/>
                  </a:cubicBezTo>
                  <a:close/>
                </a:path>
              </a:pathLst>
            </a:custGeom>
            <a:solidFill>
              <a:srgbClr val="323A82"/>
            </a:solidFill>
            <a:ln w="9525" cap="flat">
              <a:noFill/>
              <a:prstDash val="solid"/>
              <a:miter/>
            </a:ln>
          </p:spPr>
          <p:txBody>
            <a:bodyPr rtlCol="0" anchor="ctr"/>
            <a:lstStyle/>
            <a:p>
              <a:endParaRPr lang="zh-CN" altLang="en-US"/>
            </a:p>
          </p:txBody>
        </p:sp>
        <p:sp>
          <p:nvSpPr>
            <p:cNvPr id="836" name="íṧḻidé">
              <a:extLst>
                <a:ext uri="{FF2B5EF4-FFF2-40B4-BE49-F238E27FC236}">
                  <a16:creationId xmlns:a16="http://schemas.microsoft.com/office/drawing/2014/main" id="{38392300-FEB3-4657-BDBB-A8519C3F0BB4}"/>
                </a:ext>
              </a:extLst>
            </p:cNvPr>
            <p:cNvSpPr/>
            <p:nvPr/>
          </p:nvSpPr>
          <p:spPr>
            <a:xfrm>
              <a:off x="5757547" y="2917199"/>
              <a:ext cx="156272" cy="104623"/>
            </a:xfrm>
            <a:custGeom>
              <a:avLst/>
              <a:gdLst>
                <a:gd name="connsiteX0" fmla="*/ 46527 w 51339"/>
                <a:gd name="connsiteY0" fmla="*/ 30698 h 34371"/>
                <a:gd name="connsiteX1" fmla="*/ 51004 w 51339"/>
                <a:gd name="connsiteY1" fmla="*/ 24602 h 34371"/>
                <a:gd name="connsiteX2" fmla="*/ 38049 w 51339"/>
                <a:gd name="connsiteY2" fmla="*/ 20126 h 34371"/>
                <a:gd name="connsiteX3" fmla="*/ 17380 w 51339"/>
                <a:gd name="connsiteY3" fmla="*/ -163 h 34371"/>
                <a:gd name="connsiteX4" fmla="*/ -336 w 51339"/>
                <a:gd name="connsiteY4" fmla="*/ 9934 h 34371"/>
                <a:gd name="connsiteX5" fmla="*/ 20333 w 51339"/>
                <a:gd name="connsiteY5" fmla="*/ 30317 h 34371"/>
                <a:gd name="connsiteX6" fmla="*/ 21286 w 51339"/>
                <a:gd name="connsiteY6" fmla="*/ 30317 h 34371"/>
                <a:gd name="connsiteX7" fmla="*/ 40336 w 51339"/>
                <a:gd name="connsiteY7" fmla="*/ 33556 h 34371"/>
                <a:gd name="connsiteX8" fmla="*/ 46527 w 51339"/>
                <a:gd name="connsiteY8" fmla="*/ 30698 h 34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339" h="34371">
                  <a:moveTo>
                    <a:pt x="46527" y="30698"/>
                  </a:moveTo>
                  <a:cubicBezTo>
                    <a:pt x="48394" y="28974"/>
                    <a:pt x="49918" y="26907"/>
                    <a:pt x="51004" y="24602"/>
                  </a:cubicBezTo>
                  <a:cubicBezTo>
                    <a:pt x="46413" y="24069"/>
                    <a:pt x="41993" y="22535"/>
                    <a:pt x="38049" y="20126"/>
                  </a:cubicBezTo>
                  <a:cubicBezTo>
                    <a:pt x="29734" y="14992"/>
                    <a:pt x="22667" y="8057"/>
                    <a:pt x="17380" y="-163"/>
                  </a:cubicBezTo>
                  <a:lnTo>
                    <a:pt x="-336" y="9934"/>
                  </a:lnTo>
                  <a:cubicBezTo>
                    <a:pt x="4950" y="18182"/>
                    <a:pt x="12008" y="25145"/>
                    <a:pt x="20333" y="30317"/>
                  </a:cubicBezTo>
                  <a:cubicBezTo>
                    <a:pt x="20647" y="30365"/>
                    <a:pt x="20971" y="30365"/>
                    <a:pt x="21286" y="30317"/>
                  </a:cubicBezTo>
                  <a:cubicBezTo>
                    <a:pt x="26943" y="33908"/>
                    <a:pt x="33811" y="35080"/>
                    <a:pt x="40336" y="33556"/>
                  </a:cubicBezTo>
                  <a:cubicBezTo>
                    <a:pt x="42583" y="33080"/>
                    <a:pt x="44698" y="32098"/>
                    <a:pt x="46527" y="30698"/>
                  </a:cubicBezTo>
                  <a:close/>
                </a:path>
              </a:pathLst>
            </a:custGeom>
            <a:solidFill>
              <a:srgbClr val="171A42"/>
            </a:solidFill>
            <a:ln w="9525" cap="flat">
              <a:noFill/>
              <a:prstDash val="solid"/>
              <a:miter/>
            </a:ln>
          </p:spPr>
          <p:txBody>
            <a:bodyPr rtlCol="0" anchor="ctr"/>
            <a:lstStyle/>
            <a:p>
              <a:endParaRPr lang="zh-CN" altLang="en-US"/>
            </a:p>
          </p:txBody>
        </p:sp>
        <p:sp>
          <p:nvSpPr>
            <p:cNvPr id="837" name="íṡḻîḓê">
              <a:extLst>
                <a:ext uri="{FF2B5EF4-FFF2-40B4-BE49-F238E27FC236}">
                  <a16:creationId xmlns:a16="http://schemas.microsoft.com/office/drawing/2014/main" id="{3BF1685C-4C11-41EB-A345-7975D0FD340A}"/>
                </a:ext>
              </a:extLst>
            </p:cNvPr>
            <p:cNvSpPr/>
            <p:nvPr/>
          </p:nvSpPr>
          <p:spPr>
            <a:xfrm>
              <a:off x="5720147" y="2949382"/>
              <a:ext cx="200342" cy="154096"/>
            </a:xfrm>
            <a:custGeom>
              <a:avLst/>
              <a:gdLst>
                <a:gd name="connsiteX0" fmla="*/ 65481 w 65817"/>
                <a:gd name="connsiteY0" fmla="*/ 49272 h 50624"/>
                <a:gd name="connsiteX1" fmla="*/ 59861 w 65817"/>
                <a:gd name="connsiteY1" fmla="*/ 37652 h 50624"/>
                <a:gd name="connsiteX2" fmla="*/ 53003 w 65817"/>
                <a:gd name="connsiteY2" fmla="*/ 23459 h 50624"/>
                <a:gd name="connsiteX3" fmla="*/ 33953 w 65817"/>
                <a:gd name="connsiteY3" fmla="*/ 20221 h 50624"/>
                <a:gd name="connsiteX4" fmla="*/ 33001 w 65817"/>
                <a:gd name="connsiteY4" fmla="*/ 20221 h 50624"/>
                <a:gd name="connsiteX5" fmla="*/ 12332 w 65817"/>
                <a:gd name="connsiteY5" fmla="*/ -163 h 50624"/>
                <a:gd name="connsiteX6" fmla="*/ -336 w 65817"/>
                <a:gd name="connsiteY6" fmla="*/ 10982 h 50624"/>
                <a:gd name="connsiteX7" fmla="*/ 32906 w 65817"/>
                <a:gd name="connsiteY7" fmla="*/ 43748 h 50624"/>
                <a:gd name="connsiteX8" fmla="*/ 65481 w 65817"/>
                <a:gd name="connsiteY8" fmla="*/ 49272 h 506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5817" h="50624">
                  <a:moveTo>
                    <a:pt x="65481" y="49272"/>
                  </a:moveTo>
                  <a:lnTo>
                    <a:pt x="59861" y="37652"/>
                  </a:lnTo>
                  <a:lnTo>
                    <a:pt x="53003" y="23459"/>
                  </a:lnTo>
                  <a:cubicBezTo>
                    <a:pt x="46479" y="24983"/>
                    <a:pt x="39612" y="23812"/>
                    <a:pt x="33953" y="20221"/>
                  </a:cubicBezTo>
                  <a:cubicBezTo>
                    <a:pt x="33639" y="20268"/>
                    <a:pt x="33315" y="20268"/>
                    <a:pt x="33001" y="20221"/>
                  </a:cubicBezTo>
                  <a:cubicBezTo>
                    <a:pt x="24676" y="15049"/>
                    <a:pt x="17618" y="8086"/>
                    <a:pt x="12332" y="-163"/>
                  </a:cubicBezTo>
                  <a:lnTo>
                    <a:pt x="-336" y="10982"/>
                  </a:lnTo>
                  <a:cubicBezTo>
                    <a:pt x="8160" y="24250"/>
                    <a:pt x="19523" y="35442"/>
                    <a:pt x="32906" y="43748"/>
                  </a:cubicBezTo>
                  <a:cubicBezTo>
                    <a:pt x="42545" y="49996"/>
                    <a:pt x="54327" y="51996"/>
                    <a:pt x="65481" y="49272"/>
                  </a:cubicBezTo>
                  <a:close/>
                </a:path>
              </a:pathLst>
            </a:custGeom>
            <a:solidFill>
              <a:srgbClr val="323A82"/>
            </a:solidFill>
            <a:ln w="9525" cap="flat">
              <a:noFill/>
              <a:prstDash val="solid"/>
              <a:miter/>
            </a:ln>
          </p:spPr>
          <p:txBody>
            <a:bodyPr rtlCol="0" anchor="ctr"/>
            <a:lstStyle/>
            <a:p>
              <a:endParaRPr lang="zh-CN" altLang="en-US"/>
            </a:p>
          </p:txBody>
        </p:sp>
        <p:sp>
          <p:nvSpPr>
            <p:cNvPr id="838" name="íṩľíḋe">
              <a:extLst>
                <a:ext uri="{FF2B5EF4-FFF2-40B4-BE49-F238E27FC236}">
                  <a16:creationId xmlns:a16="http://schemas.microsoft.com/office/drawing/2014/main" id="{6FC3C3F2-D28F-405D-BEA1-A291D2DFBFF2}"/>
                </a:ext>
              </a:extLst>
            </p:cNvPr>
            <p:cNvSpPr/>
            <p:nvPr/>
          </p:nvSpPr>
          <p:spPr>
            <a:xfrm>
              <a:off x="5719857" y="2762229"/>
              <a:ext cx="61755" cy="62190"/>
            </a:xfrm>
            <a:custGeom>
              <a:avLst/>
              <a:gdLst>
                <a:gd name="connsiteX0" fmla="*/ -336 w 20288"/>
                <a:gd name="connsiteY0" fmla="*/ 20268 h 20431"/>
                <a:gd name="connsiteX1" fmla="*/ 17380 w 20288"/>
                <a:gd name="connsiteY1" fmla="*/ 10077 h 20431"/>
                <a:gd name="connsiteX2" fmla="*/ 19952 w 20288"/>
                <a:gd name="connsiteY2" fmla="*/ -20 h 20431"/>
                <a:gd name="connsiteX3" fmla="*/ 15094 w 20288"/>
                <a:gd name="connsiteY3" fmla="*/ -20 h 20431"/>
                <a:gd name="connsiteX4" fmla="*/ 4902 w 20288"/>
                <a:gd name="connsiteY4" fmla="*/ 5791 h 20431"/>
                <a:gd name="connsiteX5" fmla="*/ -336 w 20288"/>
                <a:gd name="connsiteY5" fmla="*/ 20268 h 20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288" h="20431">
                  <a:moveTo>
                    <a:pt x="-336" y="20268"/>
                  </a:moveTo>
                  <a:lnTo>
                    <a:pt x="17380" y="10077"/>
                  </a:lnTo>
                  <a:cubicBezTo>
                    <a:pt x="17656" y="6591"/>
                    <a:pt x="18523" y="3171"/>
                    <a:pt x="19952" y="-20"/>
                  </a:cubicBezTo>
                  <a:cubicBezTo>
                    <a:pt x="18342" y="-210"/>
                    <a:pt x="16704" y="-210"/>
                    <a:pt x="15094" y="-20"/>
                  </a:cubicBezTo>
                  <a:lnTo>
                    <a:pt x="4902" y="5791"/>
                  </a:lnTo>
                  <a:cubicBezTo>
                    <a:pt x="1759" y="9991"/>
                    <a:pt x="-60" y="15030"/>
                    <a:pt x="-336" y="20268"/>
                  </a:cubicBezTo>
                  <a:close/>
                </a:path>
              </a:pathLst>
            </a:custGeom>
            <a:solidFill>
              <a:srgbClr val="BF4200"/>
            </a:solidFill>
            <a:ln w="9525" cap="flat">
              <a:noFill/>
              <a:prstDash val="solid"/>
              <a:miter/>
            </a:ln>
          </p:spPr>
          <p:txBody>
            <a:bodyPr rtlCol="0" anchor="ctr"/>
            <a:lstStyle/>
            <a:p>
              <a:endParaRPr lang="zh-CN" altLang="en-US"/>
            </a:p>
          </p:txBody>
        </p:sp>
        <p:sp>
          <p:nvSpPr>
            <p:cNvPr id="839" name="î$lîḋê">
              <a:extLst>
                <a:ext uri="{FF2B5EF4-FFF2-40B4-BE49-F238E27FC236}">
                  <a16:creationId xmlns:a16="http://schemas.microsoft.com/office/drawing/2014/main" id="{C185C861-2269-40B3-9DA9-4DF21C27A903}"/>
                </a:ext>
              </a:extLst>
            </p:cNvPr>
            <p:cNvSpPr/>
            <p:nvPr/>
          </p:nvSpPr>
          <p:spPr>
            <a:xfrm>
              <a:off x="5658102" y="2711055"/>
              <a:ext cx="77410" cy="113362"/>
            </a:xfrm>
            <a:custGeom>
              <a:avLst/>
              <a:gdLst>
                <a:gd name="connsiteX0" fmla="*/ 19952 w 25431"/>
                <a:gd name="connsiteY0" fmla="*/ 37080 h 37242"/>
                <a:gd name="connsiteX1" fmla="*/ 25096 w 25431"/>
                <a:gd name="connsiteY1" fmla="*/ 22793 h 37242"/>
                <a:gd name="connsiteX2" fmla="*/ 18142 w 25431"/>
                <a:gd name="connsiteY2" fmla="*/ 13268 h 37242"/>
                <a:gd name="connsiteX3" fmla="*/ 18142 w 25431"/>
                <a:gd name="connsiteY3" fmla="*/ 13268 h 37242"/>
                <a:gd name="connsiteX4" fmla="*/ 17475 w 25431"/>
                <a:gd name="connsiteY4" fmla="*/ 12410 h 37242"/>
                <a:gd name="connsiteX5" fmla="*/ 7950 w 25431"/>
                <a:gd name="connsiteY5" fmla="*/ -163 h 37242"/>
                <a:gd name="connsiteX6" fmla="*/ -336 w 25431"/>
                <a:gd name="connsiteY6" fmla="*/ 22983 h 37242"/>
                <a:gd name="connsiteX7" fmla="*/ 18714 w 25431"/>
                <a:gd name="connsiteY7" fmla="*/ 36318 h 37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431" h="37242">
                  <a:moveTo>
                    <a:pt x="19952" y="37080"/>
                  </a:moveTo>
                  <a:cubicBezTo>
                    <a:pt x="20238" y="31918"/>
                    <a:pt x="22028" y="26955"/>
                    <a:pt x="25096" y="22793"/>
                  </a:cubicBezTo>
                  <a:lnTo>
                    <a:pt x="18142" y="13268"/>
                  </a:lnTo>
                  <a:lnTo>
                    <a:pt x="18142" y="13268"/>
                  </a:lnTo>
                  <a:lnTo>
                    <a:pt x="17475" y="12410"/>
                  </a:lnTo>
                  <a:lnTo>
                    <a:pt x="7950" y="-163"/>
                  </a:lnTo>
                  <a:cubicBezTo>
                    <a:pt x="2902" y="6533"/>
                    <a:pt x="7" y="14601"/>
                    <a:pt x="-336" y="22983"/>
                  </a:cubicBezTo>
                  <a:lnTo>
                    <a:pt x="18714" y="36318"/>
                  </a:lnTo>
                  <a:close/>
                </a:path>
              </a:pathLst>
            </a:custGeom>
            <a:solidFill>
              <a:srgbClr val="D9530B"/>
            </a:solidFill>
            <a:ln w="9525" cap="flat">
              <a:noFill/>
              <a:prstDash val="solid"/>
              <a:miter/>
            </a:ln>
          </p:spPr>
          <p:txBody>
            <a:bodyPr rtlCol="0" anchor="ctr"/>
            <a:lstStyle/>
            <a:p>
              <a:endParaRPr lang="zh-CN" altLang="en-US"/>
            </a:p>
          </p:txBody>
        </p:sp>
        <p:sp>
          <p:nvSpPr>
            <p:cNvPr id="840" name="ïŝļiḍe">
              <a:extLst>
                <a:ext uri="{FF2B5EF4-FFF2-40B4-BE49-F238E27FC236}">
                  <a16:creationId xmlns:a16="http://schemas.microsoft.com/office/drawing/2014/main" id="{B3A80D8E-BD80-4551-A942-A5B8E19DF908}"/>
                </a:ext>
              </a:extLst>
            </p:cNvPr>
            <p:cNvSpPr/>
            <p:nvPr/>
          </p:nvSpPr>
          <p:spPr>
            <a:xfrm>
              <a:off x="6306973" y="3583469"/>
              <a:ext cx="84661" cy="51318"/>
            </a:xfrm>
            <a:custGeom>
              <a:avLst/>
              <a:gdLst>
                <a:gd name="connsiteX0" fmla="*/ -336 w 27813"/>
                <a:gd name="connsiteY0" fmla="*/ 16697 h 16859"/>
                <a:gd name="connsiteX1" fmla="*/ 21381 w 27813"/>
                <a:gd name="connsiteY1" fmla="*/ 4314 h 16859"/>
                <a:gd name="connsiteX2" fmla="*/ 27477 w 27813"/>
                <a:gd name="connsiteY2" fmla="*/ -163 h 16859"/>
                <a:gd name="connsiteX3" fmla="*/ 5855 w 27813"/>
                <a:gd name="connsiteY3" fmla="*/ 12315 h 16859"/>
                <a:gd name="connsiteX4" fmla="*/ -336 w 27813"/>
                <a:gd name="connsiteY4" fmla="*/ 16697 h 16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813" h="16859">
                  <a:moveTo>
                    <a:pt x="-336" y="16697"/>
                  </a:moveTo>
                  <a:lnTo>
                    <a:pt x="21381" y="4314"/>
                  </a:lnTo>
                  <a:cubicBezTo>
                    <a:pt x="23572" y="3047"/>
                    <a:pt x="25610" y="1552"/>
                    <a:pt x="27477" y="-163"/>
                  </a:cubicBezTo>
                  <a:lnTo>
                    <a:pt x="5855" y="12315"/>
                  </a:lnTo>
                  <a:cubicBezTo>
                    <a:pt x="3959" y="14001"/>
                    <a:pt x="1883" y="15468"/>
                    <a:pt x="-336" y="16697"/>
                  </a:cubicBezTo>
                  <a:close/>
                </a:path>
              </a:pathLst>
            </a:custGeom>
            <a:solidFill>
              <a:srgbClr val="171A42"/>
            </a:solidFill>
            <a:ln w="9525" cap="flat">
              <a:noFill/>
              <a:prstDash val="solid"/>
              <a:miter/>
            </a:ln>
          </p:spPr>
          <p:txBody>
            <a:bodyPr rtlCol="0" anchor="ctr"/>
            <a:lstStyle/>
            <a:p>
              <a:endParaRPr lang="zh-CN" altLang="en-US"/>
            </a:p>
          </p:txBody>
        </p:sp>
        <p:sp>
          <p:nvSpPr>
            <p:cNvPr id="841" name="íśľíďé">
              <a:extLst>
                <a:ext uri="{FF2B5EF4-FFF2-40B4-BE49-F238E27FC236}">
                  <a16:creationId xmlns:a16="http://schemas.microsoft.com/office/drawing/2014/main" id="{8F83C863-F308-4083-863E-21D9A3A42A7A}"/>
                </a:ext>
              </a:extLst>
            </p:cNvPr>
            <p:cNvSpPr/>
            <p:nvPr/>
          </p:nvSpPr>
          <p:spPr>
            <a:xfrm>
              <a:off x="6148089" y="3357320"/>
              <a:ext cx="28993" cy="578"/>
            </a:xfrm>
            <a:custGeom>
              <a:avLst/>
              <a:gdLst>
                <a:gd name="connsiteX0" fmla="*/ 0 w 9525"/>
                <a:gd name="connsiteY0" fmla="*/ 191 h 190"/>
                <a:gd name="connsiteX1" fmla="*/ 0 w 9525"/>
                <a:gd name="connsiteY1" fmla="*/ 95 h 190"/>
                <a:gd name="connsiteX2" fmla="*/ 0 w 9525"/>
                <a:gd name="connsiteY2" fmla="*/ 0 h 190"/>
                <a:gd name="connsiteX3" fmla="*/ 0 w 9525"/>
                <a:gd name="connsiteY3" fmla="*/ 95 h 190"/>
                <a:gd name="connsiteX4" fmla="*/ 0 w 9525"/>
                <a:gd name="connsiteY4" fmla="*/ 95 h 190"/>
                <a:gd name="connsiteX5" fmla="*/ 0 w 9525"/>
                <a:gd name="connsiteY5" fmla="*/ 191 h 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525" h="190">
                  <a:moveTo>
                    <a:pt x="0" y="191"/>
                  </a:moveTo>
                  <a:lnTo>
                    <a:pt x="0" y="95"/>
                  </a:lnTo>
                  <a:lnTo>
                    <a:pt x="0" y="0"/>
                  </a:lnTo>
                  <a:lnTo>
                    <a:pt x="0" y="95"/>
                  </a:lnTo>
                  <a:lnTo>
                    <a:pt x="0" y="95"/>
                  </a:lnTo>
                  <a:lnTo>
                    <a:pt x="0" y="191"/>
                  </a:lnTo>
                  <a:close/>
                </a:path>
              </a:pathLst>
            </a:custGeom>
            <a:solidFill>
              <a:srgbClr val="2E3192"/>
            </a:solidFill>
            <a:ln w="9525" cap="flat">
              <a:noFill/>
              <a:prstDash val="solid"/>
              <a:miter/>
            </a:ln>
          </p:spPr>
          <p:txBody>
            <a:bodyPr rtlCol="0" anchor="ctr"/>
            <a:lstStyle/>
            <a:p>
              <a:endParaRPr lang="zh-CN" altLang="en-US"/>
            </a:p>
          </p:txBody>
        </p:sp>
        <p:sp>
          <p:nvSpPr>
            <p:cNvPr id="842" name="iṡ1íḋe">
              <a:extLst>
                <a:ext uri="{FF2B5EF4-FFF2-40B4-BE49-F238E27FC236}">
                  <a16:creationId xmlns:a16="http://schemas.microsoft.com/office/drawing/2014/main" id="{4ADF0396-AA45-4068-ACD6-241C476C30EA}"/>
                </a:ext>
              </a:extLst>
            </p:cNvPr>
            <p:cNvSpPr/>
            <p:nvPr/>
          </p:nvSpPr>
          <p:spPr>
            <a:xfrm>
              <a:off x="5957603" y="3373553"/>
              <a:ext cx="340381" cy="292068"/>
            </a:xfrm>
            <a:custGeom>
              <a:avLst/>
              <a:gdLst>
                <a:gd name="connsiteX0" fmla="*/ 105391 w 111823"/>
                <a:gd name="connsiteY0" fmla="*/ 90896 h 95951"/>
                <a:gd name="connsiteX1" fmla="*/ 111487 w 111823"/>
                <a:gd name="connsiteY1" fmla="*/ 86420 h 95951"/>
                <a:gd name="connsiteX2" fmla="*/ 53099 w 111823"/>
                <a:gd name="connsiteY2" fmla="*/ -163 h 95951"/>
                <a:gd name="connsiteX3" fmla="*/ -336 w 111823"/>
                <a:gd name="connsiteY3" fmla="*/ 28412 h 95951"/>
                <a:gd name="connsiteX4" fmla="*/ 52908 w 111823"/>
                <a:gd name="connsiteY4" fmla="*/ 85562 h 95951"/>
                <a:gd name="connsiteX5" fmla="*/ 105391 w 111823"/>
                <a:gd name="connsiteY5" fmla="*/ 90896 h 95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1823" h="95951">
                  <a:moveTo>
                    <a:pt x="105391" y="90896"/>
                  </a:moveTo>
                  <a:cubicBezTo>
                    <a:pt x="107582" y="89630"/>
                    <a:pt x="109620" y="88134"/>
                    <a:pt x="111487" y="86420"/>
                  </a:cubicBezTo>
                  <a:lnTo>
                    <a:pt x="53099" y="-163"/>
                  </a:lnTo>
                  <a:lnTo>
                    <a:pt x="-336" y="28412"/>
                  </a:lnTo>
                  <a:cubicBezTo>
                    <a:pt x="12141" y="51768"/>
                    <a:pt x="30496" y="71465"/>
                    <a:pt x="52908" y="85562"/>
                  </a:cubicBezTo>
                  <a:cubicBezTo>
                    <a:pt x="73387" y="97469"/>
                    <a:pt x="91866" y="98612"/>
                    <a:pt x="105391" y="90896"/>
                  </a:cubicBezTo>
                  <a:close/>
                </a:path>
              </a:pathLst>
            </a:custGeom>
            <a:solidFill>
              <a:srgbClr val="323A82"/>
            </a:solidFill>
            <a:ln w="9525" cap="flat">
              <a:noFill/>
              <a:prstDash val="solid"/>
              <a:miter/>
            </a:ln>
          </p:spPr>
          <p:txBody>
            <a:bodyPr rtlCol="0" anchor="ctr"/>
            <a:lstStyle/>
            <a:p>
              <a:endParaRPr lang="zh-CN" altLang="en-US"/>
            </a:p>
          </p:txBody>
        </p:sp>
        <p:sp>
          <p:nvSpPr>
            <p:cNvPr id="843" name="ï$ḷïdê">
              <a:extLst>
                <a:ext uri="{FF2B5EF4-FFF2-40B4-BE49-F238E27FC236}">
                  <a16:creationId xmlns:a16="http://schemas.microsoft.com/office/drawing/2014/main" id="{CC1A9DEA-AE72-445F-A792-2A7A72993486}"/>
                </a:ext>
              </a:extLst>
            </p:cNvPr>
            <p:cNvSpPr/>
            <p:nvPr/>
          </p:nvSpPr>
          <p:spPr>
            <a:xfrm>
              <a:off x="6120256" y="3328616"/>
              <a:ext cx="250792" cy="308490"/>
            </a:xfrm>
            <a:custGeom>
              <a:avLst/>
              <a:gdLst>
                <a:gd name="connsiteX0" fmla="*/ 58388 w 82391"/>
                <a:gd name="connsiteY0" fmla="*/ 101346 h 101346"/>
                <a:gd name="connsiteX1" fmla="*/ 82391 w 82391"/>
                <a:gd name="connsiteY1" fmla="*/ 87535 h 101346"/>
                <a:gd name="connsiteX2" fmla="*/ 78105 w 82391"/>
                <a:gd name="connsiteY2" fmla="*/ 80867 h 101346"/>
                <a:gd name="connsiteX3" fmla="*/ 27813 w 82391"/>
                <a:gd name="connsiteY3" fmla="*/ 3143 h 101346"/>
                <a:gd name="connsiteX4" fmla="*/ 25718 w 82391"/>
                <a:gd name="connsiteY4" fmla="*/ 0 h 101346"/>
                <a:gd name="connsiteX5" fmla="*/ 0 w 82391"/>
                <a:gd name="connsiteY5" fmla="*/ 14764 h 101346"/>
                <a:gd name="connsiteX6" fmla="*/ 58388 w 82391"/>
                <a:gd name="connsiteY6" fmla="*/ 101346 h 101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391" h="101346">
                  <a:moveTo>
                    <a:pt x="58388" y="101346"/>
                  </a:moveTo>
                  <a:lnTo>
                    <a:pt x="82391" y="87535"/>
                  </a:lnTo>
                  <a:lnTo>
                    <a:pt x="78105" y="80867"/>
                  </a:lnTo>
                  <a:lnTo>
                    <a:pt x="27813" y="3143"/>
                  </a:lnTo>
                  <a:lnTo>
                    <a:pt x="25718" y="0"/>
                  </a:lnTo>
                  <a:lnTo>
                    <a:pt x="0" y="14764"/>
                  </a:lnTo>
                  <a:lnTo>
                    <a:pt x="58388" y="101346"/>
                  </a:lnTo>
                  <a:close/>
                </a:path>
              </a:pathLst>
            </a:custGeom>
            <a:solidFill>
              <a:srgbClr val="171A42"/>
            </a:solidFill>
            <a:ln w="9525" cap="flat">
              <a:noFill/>
              <a:prstDash val="solid"/>
              <a:miter/>
            </a:ln>
          </p:spPr>
          <p:txBody>
            <a:bodyPr rtlCol="0" anchor="ctr"/>
            <a:lstStyle/>
            <a:p>
              <a:endParaRPr lang="zh-CN" altLang="en-US"/>
            </a:p>
          </p:txBody>
        </p:sp>
        <p:sp>
          <p:nvSpPr>
            <p:cNvPr id="844" name="íŝļiďé">
              <a:extLst>
                <a:ext uri="{FF2B5EF4-FFF2-40B4-BE49-F238E27FC236}">
                  <a16:creationId xmlns:a16="http://schemas.microsoft.com/office/drawing/2014/main" id="{1891841E-A284-4B56-B8A8-1BE4471295CA}"/>
                </a:ext>
              </a:extLst>
            </p:cNvPr>
            <p:cNvSpPr/>
            <p:nvPr/>
          </p:nvSpPr>
          <p:spPr>
            <a:xfrm>
              <a:off x="5957314" y="3328616"/>
              <a:ext cx="241222" cy="131918"/>
            </a:xfrm>
            <a:custGeom>
              <a:avLst/>
              <a:gdLst>
                <a:gd name="connsiteX0" fmla="*/ 0 w 79247"/>
                <a:gd name="connsiteY0" fmla="*/ 43339 h 43338"/>
                <a:gd name="connsiteX1" fmla="*/ 73914 w 79247"/>
                <a:gd name="connsiteY1" fmla="*/ 857 h 43338"/>
                <a:gd name="connsiteX2" fmla="*/ 79248 w 79247"/>
                <a:gd name="connsiteY2" fmla="*/ 0 h 43338"/>
                <a:gd name="connsiteX3" fmla="*/ 53530 w 79247"/>
                <a:gd name="connsiteY3" fmla="*/ 14764 h 43338"/>
                <a:gd name="connsiteX4" fmla="*/ 0 w 79247"/>
                <a:gd name="connsiteY4" fmla="*/ 43339 h 433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247" h="43338">
                  <a:moveTo>
                    <a:pt x="0" y="43339"/>
                  </a:moveTo>
                  <a:lnTo>
                    <a:pt x="73914" y="857"/>
                  </a:lnTo>
                  <a:lnTo>
                    <a:pt x="79248" y="0"/>
                  </a:lnTo>
                  <a:lnTo>
                    <a:pt x="53530" y="14764"/>
                  </a:lnTo>
                  <a:lnTo>
                    <a:pt x="0" y="43339"/>
                  </a:lnTo>
                  <a:close/>
                </a:path>
              </a:pathLst>
            </a:custGeom>
            <a:solidFill>
              <a:srgbClr val="171A42"/>
            </a:solidFill>
            <a:ln w="9525" cap="flat">
              <a:noFill/>
              <a:prstDash val="solid"/>
              <a:miter/>
            </a:ln>
          </p:spPr>
          <p:txBody>
            <a:bodyPr rtlCol="0" anchor="ctr"/>
            <a:lstStyle/>
            <a:p>
              <a:endParaRPr lang="zh-CN" altLang="en-US"/>
            </a:p>
          </p:txBody>
        </p:sp>
        <p:sp>
          <p:nvSpPr>
            <p:cNvPr id="845" name="îŝľïḋè">
              <a:extLst>
                <a:ext uri="{FF2B5EF4-FFF2-40B4-BE49-F238E27FC236}">
                  <a16:creationId xmlns:a16="http://schemas.microsoft.com/office/drawing/2014/main" id="{86391D09-F6C3-4F5D-9B71-FC53C1804C28}"/>
                </a:ext>
              </a:extLst>
            </p:cNvPr>
            <p:cNvSpPr/>
            <p:nvPr/>
          </p:nvSpPr>
          <p:spPr>
            <a:xfrm>
              <a:off x="6279429" y="3621448"/>
              <a:ext cx="47838" cy="29283"/>
            </a:xfrm>
            <a:custGeom>
              <a:avLst/>
              <a:gdLst>
                <a:gd name="connsiteX0" fmla="*/ -336 w 15716"/>
                <a:gd name="connsiteY0" fmla="*/ 9458 h 9620"/>
                <a:gd name="connsiteX1" fmla="*/ 9189 w 15716"/>
                <a:gd name="connsiteY1" fmla="*/ 4219 h 9620"/>
                <a:gd name="connsiteX2" fmla="*/ 15380 w 15716"/>
                <a:gd name="connsiteY2" fmla="*/ -163 h 9620"/>
                <a:gd name="connsiteX3" fmla="*/ 5855 w 15716"/>
                <a:gd name="connsiteY3" fmla="*/ 4981 h 9620"/>
                <a:gd name="connsiteX4" fmla="*/ -336 w 15716"/>
                <a:gd name="connsiteY4" fmla="*/ 9458 h 9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16" h="9620">
                  <a:moveTo>
                    <a:pt x="-336" y="9458"/>
                  </a:moveTo>
                  <a:lnTo>
                    <a:pt x="9189" y="4219"/>
                  </a:lnTo>
                  <a:cubicBezTo>
                    <a:pt x="11408" y="2990"/>
                    <a:pt x="13485" y="1523"/>
                    <a:pt x="15380" y="-163"/>
                  </a:cubicBezTo>
                  <a:lnTo>
                    <a:pt x="5855" y="4981"/>
                  </a:lnTo>
                  <a:cubicBezTo>
                    <a:pt x="3960" y="6695"/>
                    <a:pt x="1883" y="8200"/>
                    <a:pt x="-336" y="9458"/>
                  </a:cubicBezTo>
                  <a:close/>
                </a:path>
              </a:pathLst>
            </a:custGeom>
            <a:solidFill>
              <a:srgbClr val="171A42"/>
            </a:solidFill>
            <a:ln w="9525" cap="flat">
              <a:noFill/>
              <a:prstDash val="solid"/>
              <a:miter/>
            </a:ln>
          </p:spPr>
          <p:txBody>
            <a:bodyPr rtlCol="0" anchor="ctr"/>
            <a:lstStyle/>
            <a:p>
              <a:endParaRPr lang="zh-CN" altLang="en-US"/>
            </a:p>
          </p:txBody>
        </p:sp>
        <p:sp>
          <p:nvSpPr>
            <p:cNvPr id="846" name="ïśḻïḍè">
              <a:extLst>
                <a:ext uri="{FF2B5EF4-FFF2-40B4-BE49-F238E27FC236}">
                  <a16:creationId xmlns:a16="http://schemas.microsoft.com/office/drawing/2014/main" id="{C78AD938-EA6B-470E-B4FD-F750F8F016A2}"/>
                </a:ext>
              </a:extLst>
            </p:cNvPr>
            <p:cNvSpPr/>
            <p:nvPr/>
          </p:nvSpPr>
          <p:spPr>
            <a:xfrm>
              <a:off x="6325240" y="3260191"/>
              <a:ext cx="114933" cy="361256"/>
            </a:xfrm>
            <a:custGeom>
              <a:avLst/>
              <a:gdLst>
                <a:gd name="connsiteX0" fmla="*/ -146 w 37758"/>
                <a:gd name="connsiteY0" fmla="*/ 118519 h 118681"/>
                <a:gd name="connsiteX1" fmla="*/ 21476 w 37758"/>
                <a:gd name="connsiteY1" fmla="*/ 106041 h 118681"/>
                <a:gd name="connsiteX2" fmla="*/ 37287 w 37758"/>
                <a:gd name="connsiteY2" fmla="*/ 62512 h 118681"/>
                <a:gd name="connsiteX3" fmla="*/ 21285 w 37758"/>
                <a:gd name="connsiteY3" fmla="*/ -163 h 118681"/>
                <a:gd name="connsiteX4" fmla="*/ -336 w 37758"/>
                <a:gd name="connsiteY4" fmla="*/ 12220 h 118681"/>
                <a:gd name="connsiteX5" fmla="*/ 15570 w 37758"/>
                <a:gd name="connsiteY5" fmla="*/ 74894 h 118681"/>
                <a:gd name="connsiteX6" fmla="*/ 13475 w 37758"/>
                <a:gd name="connsiteY6" fmla="*/ 93944 h 118681"/>
                <a:gd name="connsiteX7" fmla="*/ 3378 w 37758"/>
                <a:gd name="connsiteY7" fmla="*/ 114709 h 118681"/>
                <a:gd name="connsiteX8" fmla="*/ -146 w 37758"/>
                <a:gd name="connsiteY8" fmla="*/ 118519 h 118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758" h="118681">
                  <a:moveTo>
                    <a:pt x="-146" y="118519"/>
                  </a:moveTo>
                  <a:lnTo>
                    <a:pt x="21476" y="106041"/>
                  </a:lnTo>
                  <a:cubicBezTo>
                    <a:pt x="32649" y="94411"/>
                    <a:pt x="38392" y="78600"/>
                    <a:pt x="37287" y="62512"/>
                  </a:cubicBezTo>
                  <a:cubicBezTo>
                    <a:pt x="36687" y="40690"/>
                    <a:pt x="31220" y="19278"/>
                    <a:pt x="21285" y="-163"/>
                  </a:cubicBezTo>
                  <a:lnTo>
                    <a:pt x="-336" y="12220"/>
                  </a:lnTo>
                  <a:cubicBezTo>
                    <a:pt x="9598" y="31651"/>
                    <a:pt x="15037" y="53072"/>
                    <a:pt x="15570" y="74894"/>
                  </a:cubicBezTo>
                  <a:cubicBezTo>
                    <a:pt x="15599" y="81305"/>
                    <a:pt x="14894" y="87696"/>
                    <a:pt x="13475" y="93944"/>
                  </a:cubicBezTo>
                  <a:cubicBezTo>
                    <a:pt x="11741" y="101545"/>
                    <a:pt x="8284" y="108651"/>
                    <a:pt x="3378" y="114709"/>
                  </a:cubicBezTo>
                  <a:cubicBezTo>
                    <a:pt x="2311" y="116071"/>
                    <a:pt x="1130" y="117347"/>
                    <a:pt x="-146" y="118519"/>
                  </a:cubicBezTo>
                  <a:close/>
                </a:path>
              </a:pathLst>
            </a:custGeom>
            <a:solidFill>
              <a:srgbClr val="323A82"/>
            </a:solidFill>
            <a:ln w="9525" cap="flat">
              <a:noFill/>
              <a:prstDash val="solid"/>
              <a:miter/>
            </a:ln>
          </p:spPr>
          <p:txBody>
            <a:bodyPr rtlCol="0" anchor="ctr"/>
            <a:lstStyle/>
            <a:p>
              <a:endParaRPr lang="zh-CN" altLang="en-US"/>
            </a:p>
          </p:txBody>
        </p:sp>
        <p:sp>
          <p:nvSpPr>
            <p:cNvPr id="847" name="íSļïḋê">
              <a:extLst>
                <a:ext uri="{FF2B5EF4-FFF2-40B4-BE49-F238E27FC236}">
                  <a16:creationId xmlns:a16="http://schemas.microsoft.com/office/drawing/2014/main" id="{7C8569D3-F952-4CB0-A0DC-8D616FAA0A86}"/>
                </a:ext>
              </a:extLst>
            </p:cNvPr>
            <p:cNvSpPr/>
            <p:nvPr/>
          </p:nvSpPr>
          <p:spPr>
            <a:xfrm>
              <a:off x="6147511" y="3298174"/>
              <a:ext cx="226149" cy="323274"/>
            </a:xfrm>
            <a:custGeom>
              <a:avLst/>
              <a:gdLst>
                <a:gd name="connsiteX0" fmla="*/ 58242 w 74295"/>
                <a:gd name="connsiteY0" fmla="*/ 106041 h 106203"/>
                <a:gd name="connsiteX1" fmla="*/ 61767 w 74295"/>
                <a:gd name="connsiteY1" fmla="*/ 102326 h 106203"/>
                <a:gd name="connsiteX2" fmla="*/ 71863 w 74295"/>
                <a:gd name="connsiteY2" fmla="*/ 81562 h 106203"/>
                <a:gd name="connsiteX3" fmla="*/ 73959 w 74295"/>
                <a:gd name="connsiteY3" fmla="*/ 62512 h 106203"/>
                <a:gd name="connsiteX4" fmla="*/ 58052 w 74295"/>
                <a:gd name="connsiteY4" fmla="*/ -163 h 106203"/>
                <a:gd name="connsiteX5" fmla="*/ 35668 w 74295"/>
                <a:gd name="connsiteY5" fmla="*/ 6791 h 106203"/>
                <a:gd name="connsiteX6" fmla="*/ 24143 w 74295"/>
                <a:gd name="connsiteY6" fmla="*/ 10696 h 106203"/>
                <a:gd name="connsiteX7" fmla="*/ -336 w 74295"/>
                <a:gd name="connsiteY7" fmla="*/ 18887 h 106203"/>
                <a:gd name="connsiteX8" fmla="*/ -336 w 74295"/>
                <a:gd name="connsiteY8" fmla="*/ 18887 h 106203"/>
                <a:gd name="connsiteX9" fmla="*/ 35668 w 74295"/>
                <a:gd name="connsiteY9" fmla="*/ 73466 h 106203"/>
                <a:gd name="connsiteX10" fmla="*/ 55766 w 74295"/>
                <a:gd name="connsiteY10" fmla="*/ 103279 h 106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4295" h="106203">
                  <a:moveTo>
                    <a:pt x="58242" y="106041"/>
                  </a:moveTo>
                  <a:cubicBezTo>
                    <a:pt x="59509" y="104898"/>
                    <a:pt x="60690" y="103660"/>
                    <a:pt x="61767" y="102326"/>
                  </a:cubicBezTo>
                  <a:cubicBezTo>
                    <a:pt x="66672" y="96268"/>
                    <a:pt x="70130" y="89163"/>
                    <a:pt x="71863" y="81562"/>
                  </a:cubicBezTo>
                  <a:cubicBezTo>
                    <a:pt x="73282" y="75313"/>
                    <a:pt x="73987" y="68922"/>
                    <a:pt x="73959" y="62512"/>
                  </a:cubicBezTo>
                  <a:cubicBezTo>
                    <a:pt x="73425" y="40690"/>
                    <a:pt x="67987" y="19268"/>
                    <a:pt x="58052" y="-163"/>
                  </a:cubicBezTo>
                  <a:lnTo>
                    <a:pt x="35668" y="6791"/>
                  </a:lnTo>
                  <a:lnTo>
                    <a:pt x="24143" y="10696"/>
                  </a:lnTo>
                  <a:lnTo>
                    <a:pt x="-336" y="18887"/>
                  </a:lnTo>
                  <a:lnTo>
                    <a:pt x="-336" y="18887"/>
                  </a:lnTo>
                  <a:lnTo>
                    <a:pt x="35668" y="73466"/>
                  </a:lnTo>
                  <a:lnTo>
                    <a:pt x="55766" y="103279"/>
                  </a:lnTo>
                  <a:close/>
                </a:path>
              </a:pathLst>
            </a:custGeom>
            <a:solidFill>
              <a:srgbClr val="316DE6"/>
            </a:solidFill>
            <a:ln w="9525" cap="flat">
              <a:noFill/>
              <a:prstDash val="solid"/>
              <a:miter/>
            </a:ln>
          </p:spPr>
          <p:txBody>
            <a:bodyPr rtlCol="0" anchor="ctr"/>
            <a:lstStyle/>
            <a:p>
              <a:endParaRPr lang="zh-CN" altLang="en-US"/>
            </a:p>
          </p:txBody>
        </p:sp>
        <p:sp>
          <p:nvSpPr>
            <p:cNvPr id="848" name="iṡḻiḓe">
              <a:extLst>
                <a:ext uri="{FF2B5EF4-FFF2-40B4-BE49-F238E27FC236}">
                  <a16:creationId xmlns:a16="http://schemas.microsoft.com/office/drawing/2014/main" id="{05AC8E08-14EC-44B3-8743-33965BC22A50}"/>
                </a:ext>
              </a:extLst>
            </p:cNvPr>
            <p:cNvSpPr/>
            <p:nvPr/>
          </p:nvSpPr>
          <p:spPr>
            <a:xfrm>
              <a:off x="6027188" y="3029337"/>
              <a:ext cx="167580" cy="58051"/>
            </a:xfrm>
            <a:custGeom>
              <a:avLst/>
              <a:gdLst>
                <a:gd name="connsiteX0" fmla="*/ 33096 w 55054"/>
                <a:gd name="connsiteY0" fmla="*/ 18909 h 19071"/>
                <a:gd name="connsiteX1" fmla="*/ 54718 w 55054"/>
                <a:gd name="connsiteY1" fmla="*/ 6431 h 19071"/>
                <a:gd name="connsiteX2" fmla="*/ 21285 w 55054"/>
                <a:gd name="connsiteY2" fmla="*/ 240 h 19071"/>
                <a:gd name="connsiteX3" fmla="*/ -336 w 55054"/>
                <a:gd name="connsiteY3" fmla="*/ 12622 h 19071"/>
                <a:gd name="connsiteX4" fmla="*/ 28239 w 55054"/>
                <a:gd name="connsiteY4" fmla="*/ 16718 h 19071"/>
                <a:gd name="connsiteX5" fmla="*/ 33096 w 55054"/>
                <a:gd name="connsiteY5" fmla="*/ 18909 h 190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5054" h="19071">
                  <a:moveTo>
                    <a:pt x="33096" y="18909"/>
                  </a:moveTo>
                  <a:lnTo>
                    <a:pt x="54718" y="6431"/>
                  </a:lnTo>
                  <a:cubicBezTo>
                    <a:pt x="44460" y="1021"/>
                    <a:pt x="32801" y="-1132"/>
                    <a:pt x="21285" y="240"/>
                  </a:cubicBezTo>
                  <a:lnTo>
                    <a:pt x="-336" y="12622"/>
                  </a:lnTo>
                  <a:cubicBezTo>
                    <a:pt x="9389" y="11355"/>
                    <a:pt x="19266" y="12775"/>
                    <a:pt x="28239" y="16718"/>
                  </a:cubicBezTo>
                  <a:cubicBezTo>
                    <a:pt x="29763" y="17004"/>
                    <a:pt x="31382" y="17670"/>
                    <a:pt x="33096" y="18909"/>
                  </a:cubicBezTo>
                  <a:close/>
                </a:path>
              </a:pathLst>
            </a:custGeom>
            <a:solidFill>
              <a:srgbClr val="D9530B"/>
            </a:solidFill>
            <a:ln w="9525" cap="flat">
              <a:noFill/>
              <a:prstDash val="solid"/>
              <a:miter/>
            </a:ln>
          </p:spPr>
          <p:txBody>
            <a:bodyPr rtlCol="0" anchor="ctr"/>
            <a:lstStyle/>
            <a:p>
              <a:endParaRPr lang="zh-CN" altLang="en-US"/>
            </a:p>
          </p:txBody>
        </p:sp>
        <p:sp>
          <p:nvSpPr>
            <p:cNvPr id="849" name="iSḷîḓé">
              <a:extLst>
                <a:ext uri="{FF2B5EF4-FFF2-40B4-BE49-F238E27FC236}">
                  <a16:creationId xmlns:a16="http://schemas.microsoft.com/office/drawing/2014/main" id="{FBF5DED1-7EF4-4573-A7B4-154ABE5DF6FF}"/>
                </a:ext>
              </a:extLst>
            </p:cNvPr>
            <p:cNvSpPr/>
            <p:nvPr/>
          </p:nvSpPr>
          <p:spPr>
            <a:xfrm>
              <a:off x="6027188" y="3065724"/>
              <a:ext cx="120902" cy="291593"/>
            </a:xfrm>
            <a:custGeom>
              <a:avLst/>
              <a:gdLst>
                <a:gd name="connsiteX0" fmla="*/ 39383 w 39719"/>
                <a:gd name="connsiteY0" fmla="*/ 95633 h 95795"/>
                <a:gd name="connsiteX1" fmla="*/ 39383 w 39719"/>
                <a:gd name="connsiteY1" fmla="*/ 94966 h 95795"/>
                <a:gd name="connsiteX2" fmla="*/ 35573 w 39719"/>
                <a:gd name="connsiteY2" fmla="*/ 40388 h 95795"/>
                <a:gd name="connsiteX3" fmla="*/ 33954 w 39719"/>
                <a:gd name="connsiteY3" fmla="*/ 18099 h 95795"/>
                <a:gd name="connsiteX4" fmla="*/ 33954 w 39719"/>
                <a:gd name="connsiteY4" fmla="*/ 18099 h 95795"/>
                <a:gd name="connsiteX5" fmla="*/ 33192 w 39719"/>
                <a:gd name="connsiteY5" fmla="*/ 6574 h 95795"/>
                <a:gd name="connsiteX6" fmla="*/ 28239 w 39719"/>
                <a:gd name="connsiteY6" fmla="*/ 4383 h 95795"/>
                <a:gd name="connsiteX7" fmla="*/ -336 w 39719"/>
                <a:gd name="connsiteY7" fmla="*/ 288 h 95795"/>
                <a:gd name="connsiteX8" fmla="*/ 14713 w 39719"/>
                <a:gd name="connsiteY8" fmla="*/ 36578 h 95795"/>
                <a:gd name="connsiteX9" fmla="*/ 39097 w 39719"/>
                <a:gd name="connsiteY9" fmla="*/ 95061 h 95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719" h="95795">
                  <a:moveTo>
                    <a:pt x="39383" y="95633"/>
                  </a:moveTo>
                  <a:lnTo>
                    <a:pt x="39383" y="94966"/>
                  </a:lnTo>
                  <a:lnTo>
                    <a:pt x="35573" y="40388"/>
                  </a:lnTo>
                  <a:lnTo>
                    <a:pt x="33954" y="18099"/>
                  </a:lnTo>
                  <a:lnTo>
                    <a:pt x="33954" y="18099"/>
                  </a:lnTo>
                  <a:lnTo>
                    <a:pt x="33192" y="6574"/>
                  </a:lnTo>
                  <a:cubicBezTo>
                    <a:pt x="31477" y="5717"/>
                    <a:pt x="29858" y="5050"/>
                    <a:pt x="28239" y="4383"/>
                  </a:cubicBezTo>
                  <a:cubicBezTo>
                    <a:pt x="19266" y="440"/>
                    <a:pt x="9389" y="-979"/>
                    <a:pt x="-336" y="288"/>
                  </a:cubicBezTo>
                  <a:lnTo>
                    <a:pt x="14713" y="36578"/>
                  </a:lnTo>
                  <a:lnTo>
                    <a:pt x="39097" y="95061"/>
                  </a:lnTo>
                  <a:close/>
                </a:path>
              </a:pathLst>
            </a:custGeom>
            <a:solidFill>
              <a:srgbClr val="FF7D33"/>
            </a:solidFill>
            <a:ln w="9525" cap="flat">
              <a:noFill/>
              <a:prstDash val="solid"/>
              <a:miter/>
            </a:ln>
          </p:spPr>
          <p:txBody>
            <a:bodyPr rtlCol="0" anchor="ctr"/>
            <a:lstStyle/>
            <a:p>
              <a:endParaRPr lang="zh-CN" altLang="en-US"/>
            </a:p>
          </p:txBody>
        </p:sp>
        <p:sp>
          <p:nvSpPr>
            <p:cNvPr id="850" name="îsľîḓe">
              <a:extLst>
                <a:ext uri="{FF2B5EF4-FFF2-40B4-BE49-F238E27FC236}">
                  <a16:creationId xmlns:a16="http://schemas.microsoft.com/office/drawing/2014/main" id="{25364711-C8E9-4C80-B7DA-136A87B2F5E4}"/>
                </a:ext>
              </a:extLst>
            </p:cNvPr>
            <p:cNvSpPr/>
            <p:nvPr/>
          </p:nvSpPr>
          <p:spPr>
            <a:xfrm>
              <a:off x="5988916" y="3029404"/>
              <a:ext cx="104084" cy="51025"/>
            </a:xfrm>
            <a:custGeom>
              <a:avLst/>
              <a:gdLst>
                <a:gd name="connsiteX0" fmla="*/ 12237 w 34194"/>
                <a:gd name="connsiteY0" fmla="*/ 12220 h 16763"/>
                <a:gd name="connsiteX1" fmla="*/ 33858 w 34194"/>
                <a:gd name="connsiteY1" fmla="*/ -163 h 16763"/>
                <a:gd name="connsiteX2" fmla="*/ 21381 w 34194"/>
                <a:gd name="connsiteY2" fmla="*/ 4219 h 16763"/>
                <a:gd name="connsiteX3" fmla="*/ -336 w 34194"/>
                <a:gd name="connsiteY3" fmla="*/ 16601 h 16763"/>
                <a:gd name="connsiteX4" fmla="*/ 11665 w 34194"/>
                <a:gd name="connsiteY4" fmla="*/ 12315 h 16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194" h="16763">
                  <a:moveTo>
                    <a:pt x="12237" y="12220"/>
                  </a:moveTo>
                  <a:lnTo>
                    <a:pt x="33858" y="-163"/>
                  </a:lnTo>
                  <a:cubicBezTo>
                    <a:pt x="29458" y="485"/>
                    <a:pt x="25219" y="1971"/>
                    <a:pt x="21381" y="4219"/>
                  </a:cubicBezTo>
                  <a:lnTo>
                    <a:pt x="-336" y="16601"/>
                  </a:lnTo>
                  <a:cubicBezTo>
                    <a:pt x="3379" y="14468"/>
                    <a:pt x="7445" y="13020"/>
                    <a:pt x="11665" y="12315"/>
                  </a:cubicBezTo>
                  <a:close/>
                </a:path>
              </a:pathLst>
            </a:custGeom>
            <a:solidFill>
              <a:srgbClr val="E1E8F2"/>
            </a:solidFill>
            <a:ln w="9525" cap="flat">
              <a:noFill/>
              <a:prstDash val="solid"/>
              <a:miter/>
            </a:ln>
          </p:spPr>
          <p:txBody>
            <a:bodyPr rtlCol="0" anchor="ctr"/>
            <a:lstStyle/>
            <a:p>
              <a:endParaRPr lang="zh-CN" altLang="en-US"/>
            </a:p>
          </p:txBody>
        </p:sp>
        <p:sp>
          <p:nvSpPr>
            <p:cNvPr id="851" name="iS1ïḍe">
              <a:extLst>
                <a:ext uri="{FF2B5EF4-FFF2-40B4-BE49-F238E27FC236}">
                  <a16:creationId xmlns:a16="http://schemas.microsoft.com/office/drawing/2014/main" id="{754B52E0-E4BA-4E0E-A20C-4CFD294F2D87}"/>
                </a:ext>
              </a:extLst>
            </p:cNvPr>
            <p:cNvSpPr/>
            <p:nvPr/>
          </p:nvSpPr>
          <p:spPr>
            <a:xfrm>
              <a:off x="5922233" y="3067383"/>
              <a:ext cx="225856" cy="376044"/>
            </a:xfrm>
            <a:custGeom>
              <a:avLst/>
              <a:gdLst>
                <a:gd name="connsiteX0" fmla="*/ 73863 w 74199"/>
                <a:gd name="connsiteY0" fmla="*/ 95183 h 123539"/>
                <a:gd name="connsiteX1" fmla="*/ 73863 w 74199"/>
                <a:gd name="connsiteY1" fmla="*/ 95183 h 123539"/>
                <a:gd name="connsiteX2" fmla="*/ 73863 w 74199"/>
                <a:gd name="connsiteY2" fmla="*/ 94611 h 123539"/>
                <a:gd name="connsiteX3" fmla="*/ 49479 w 74199"/>
                <a:gd name="connsiteY3" fmla="*/ 36128 h 123539"/>
                <a:gd name="connsiteX4" fmla="*/ 34430 w 74199"/>
                <a:gd name="connsiteY4" fmla="*/ -163 h 123539"/>
                <a:gd name="connsiteX5" fmla="*/ 33477 w 74199"/>
                <a:gd name="connsiteY5" fmla="*/ -163 h 123539"/>
                <a:gd name="connsiteX6" fmla="*/ 21476 w 74199"/>
                <a:gd name="connsiteY6" fmla="*/ 4124 h 123539"/>
                <a:gd name="connsiteX7" fmla="*/ -336 w 74199"/>
                <a:gd name="connsiteY7" fmla="*/ 51749 h 123539"/>
                <a:gd name="connsiteX8" fmla="*/ 20237 w 74199"/>
                <a:gd name="connsiteY8" fmla="*/ 123377 h 123539"/>
                <a:gd name="connsiteX9" fmla="*/ 40621 w 74199"/>
                <a:gd name="connsiteY9" fmla="*/ 112518 h 123539"/>
                <a:gd name="connsiteX10" fmla="*/ 42335 w 74199"/>
                <a:gd name="connsiteY10" fmla="*/ 111661 h 123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4199" h="123539">
                  <a:moveTo>
                    <a:pt x="73863" y="95183"/>
                  </a:moveTo>
                  <a:lnTo>
                    <a:pt x="73863" y="95183"/>
                  </a:lnTo>
                  <a:lnTo>
                    <a:pt x="73863" y="94611"/>
                  </a:lnTo>
                  <a:lnTo>
                    <a:pt x="49479" y="36128"/>
                  </a:lnTo>
                  <a:lnTo>
                    <a:pt x="34430" y="-163"/>
                  </a:lnTo>
                  <a:lnTo>
                    <a:pt x="33477" y="-163"/>
                  </a:lnTo>
                  <a:cubicBezTo>
                    <a:pt x="29258" y="542"/>
                    <a:pt x="25191" y="1990"/>
                    <a:pt x="21476" y="4124"/>
                  </a:cubicBezTo>
                  <a:cubicBezTo>
                    <a:pt x="8045" y="11839"/>
                    <a:pt x="-336" y="28412"/>
                    <a:pt x="-336" y="51749"/>
                  </a:cubicBezTo>
                  <a:cubicBezTo>
                    <a:pt x="426" y="76971"/>
                    <a:pt x="7503" y="101593"/>
                    <a:pt x="20237" y="123377"/>
                  </a:cubicBezTo>
                  <a:lnTo>
                    <a:pt x="40621" y="112518"/>
                  </a:lnTo>
                  <a:lnTo>
                    <a:pt x="42335" y="111661"/>
                  </a:lnTo>
                  <a:close/>
                </a:path>
              </a:pathLst>
            </a:custGeom>
            <a:solidFill>
              <a:srgbClr val="EDF4FF"/>
            </a:solidFill>
            <a:ln w="9525" cap="flat">
              <a:noFill/>
              <a:prstDash val="solid"/>
              <a:miter/>
            </a:ln>
          </p:spPr>
          <p:txBody>
            <a:bodyPr rtlCol="0" anchor="ctr"/>
            <a:lstStyle/>
            <a:p>
              <a:endParaRPr lang="zh-CN" altLang="en-US"/>
            </a:p>
          </p:txBody>
        </p:sp>
        <p:sp>
          <p:nvSpPr>
            <p:cNvPr id="852" name="iSḷíḍê">
              <a:extLst>
                <a:ext uri="{FF2B5EF4-FFF2-40B4-BE49-F238E27FC236}">
                  <a16:creationId xmlns:a16="http://schemas.microsoft.com/office/drawing/2014/main" id="{5AAECCBF-A759-4354-BEF5-A747019A8EAE}"/>
                </a:ext>
              </a:extLst>
            </p:cNvPr>
            <p:cNvSpPr/>
            <p:nvPr/>
          </p:nvSpPr>
          <p:spPr>
            <a:xfrm>
              <a:off x="6128955" y="3086231"/>
              <a:ext cx="196285" cy="271086"/>
            </a:xfrm>
            <a:custGeom>
              <a:avLst/>
              <a:gdLst>
                <a:gd name="connsiteX0" fmla="*/ 64148 w 64484"/>
                <a:gd name="connsiteY0" fmla="*/ 69370 h 89058"/>
                <a:gd name="connsiteX1" fmla="*/ 61862 w 64484"/>
                <a:gd name="connsiteY1" fmla="*/ 64988 h 89058"/>
                <a:gd name="connsiteX2" fmla="*/ 23286 w 64484"/>
                <a:gd name="connsiteY2" fmla="*/ 15554 h 89058"/>
                <a:gd name="connsiteX3" fmla="*/ 6141 w 64484"/>
                <a:gd name="connsiteY3" fmla="*/ 3266 h 89058"/>
                <a:gd name="connsiteX4" fmla="*/ -336 w 64484"/>
                <a:gd name="connsiteY4" fmla="*/ -163 h 89058"/>
                <a:gd name="connsiteX5" fmla="*/ 426 w 64484"/>
                <a:gd name="connsiteY5" fmla="*/ 11363 h 89058"/>
                <a:gd name="connsiteX6" fmla="*/ 426 w 64484"/>
                <a:gd name="connsiteY6" fmla="*/ 11363 h 89058"/>
                <a:gd name="connsiteX7" fmla="*/ 2045 w 64484"/>
                <a:gd name="connsiteY7" fmla="*/ 33651 h 89058"/>
                <a:gd name="connsiteX8" fmla="*/ 5855 w 64484"/>
                <a:gd name="connsiteY8" fmla="*/ 88229 h 89058"/>
                <a:gd name="connsiteX9" fmla="*/ 5855 w 64484"/>
                <a:gd name="connsiteY9" fmla="*/ 88896 h 89058"/>
                <a:gd name="connsiteX10" fmla="*/ 5855 w 64484"/>
                <a:gd name="connsiteY10" fmla="*/ 88896 h 89058"/>
                <a:gd name="connsiteX11" fmla="*/ 30334 w 64484"/>
                <a:gd name="connsiteY11" fmla="*/ 80705 h 89058"/>
                <a:gd name="connsiteX12" fmla="*/ 41764 w 64484"/>
                <a:gd name="connsiteY12" fmla="*/ 76418 h 890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4484" h="89058">
                  <a:moveTo>
                    <a:pt x="64148" y="69370"/>
                  </a:moveTo>
                  <a:lnTo>
                    <a:pt x="61862" y="64988"/>
                  </a:lnTo>
                  <a:cubicBezTo>
                    <a:pt x="52204" y="46243"/>
                    <a:pt x="39126" y="29479"/>
                    <a:pt x="23286" y="15554"/>
                  </a:cubicBezTo>
                  <a:cubicBezTo>
                    <a:pt x="17961" y="10934"/>
                    <a:pt x="12218" y="6829"/>
                    <a:pt x="6141" y="3266"/>
                  </a:cubicBezTo>
                  <a:lnTo>
                    <a:pt x="-336" y="-163"/>
                  </a:lnTo>
                  <a:lnTo>
                    <a:pt x="426" y="11363"/>
                  </a:lnTo>
                  <a:lnTo>
                    <a:pt x="426" y="11363"/>
                  </a:lnTo>
                  <a:lnTo>
                    <a:pt x="2045" y="33651"/>
                  </a:lnTo>
                  <a:lnTo>
                    <a:pt x="5855" y="88229"/>
                  </a:lnTo>
                  <a:lnTo>
                    <a:pt x="5855" y="88896"/>
                  </a:lnTo>
                  <a:lnTo>
                    <a:pt x="5855" y="88896"/>
                  </a:lnTo>
                  <a:lnTo>
                    <a:pt x="30334" y="80705"/>
                  </a:lnTo>
                  <a:lnTo>
                    <a:pt x="41764" y="76418"/>
                  </a:lnTo>
                  <a:close/>
                </a:path>
              </a:pathLst>
            </a:custGeom>
            <a:solidFill>
              <a:srgbClr val="D9530B"/>
            </a:solidFill>
            <a:ln w="9525" cap="flat">
              <a:noFill/>
              <a:prstDash val="solid"/>
              <a:miter/>
            </a:ln>
          </p:spPr>
          <p:txBody>
            <a:bodyPr rtlCol="0" anchor="ctr"/>
            <a:lstStyle/>
            <a:p>
              <a:endParaRPr lang="zh-CN" altLang="en-US"/>
            </a:p>
          </p:txBody>
        </p:sp>
        <p:sp>
          <p:nvSpPr>
            <p:cNvPr id="853" name="íṥľîdé">
              <a:extLst>
                <a:ext uri="{FF2B5EF4-FFF2-40B4-BE49-F238E27FC236}">
                  <a16:creationId xmlns:a16="http://schemas.microsoft.com/office/drawing/2014/main" id="{238E2079-D109-4040-B9FB-DFEA3E0F6BDE}"/>
                </a:ext>
              </a:extLst>
            </p:cNvPr>
            <p:cNvSpPr/>
            <p:nvPr/>
          </p:nvSpPr>
          <p:spPr>
            <a:xfrm>
              <a:off x="6128955" y="3048249"/>
              <a:ext cx="262100" cy="249632"/>
            </a:xfrm>
            <a:custGeom>
              <a:avLst/>
              <a:gdLst>
                <a:gd name="connsiteX0" fmla="*/ 64148 w 86106"/>
                <a:gd name="connsiteY0" fmla="*/ 81848 h 82010"/>
                <a:gd name="connsiteX1" fmla="*/ 85770 w 86106"/>
                <a:gd name="connsiteY1" fmla="*/ 69465 h 82010"/>
                <a:gd name="connsiteX2" fmla="*/ 27858 w 86106"/>
                <a:gd name="connsiteY2" fmla="*/ 3362 h 82010"/>
                <a:gd name="connsiteX3" fmla="*/ 21286 w 86106"/>
                <a:gd name="connsiteY3" fmla="*/ -163 h 82010"/>
                <a:gd name="connsiteX4" fmla="*/ -336 w 86106"/>
                <a:gd name="connsiteY4" fmla="*/ 12696 h 82010"/>
                <a:gd name="connsiteX5" fmla="*/ 6141 w 86106"/>
                <a:gd name="connsiteY5" fmla="*/ 16125 h 82010"/>
                <a:gd name="connsiteX6" fmla="*/ 23286 w 86106"/>
                <a:gd name="connsiteY6" fmla="*/ 28412 h 82010"/>
                <a:gd name="connsiteX7" fmla="*/ 61862 w 86106"/>
                <a:gd name="connsiteY7" fmla="*/ 77847 h 82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6106" h="82010">
                  <a:moveTo>
                    <a:pt x="64148" y="81848"/>
                  </a:moveTo>
                  <a:lnTo>
                    <a:pt x="85770" y="69465"/>
                  </a:lnTo>
                  <a:cubicBezTo>
                    <a:pt x="73168" y="42357"/>
                    <a:pt x="53071" y="19421"/>
                    <a:pt x="27858" y="3362"/>
                  </a:cubicBezTo>
                  <a:cubicBezTo>
                    <a:pt x="25724" y="2076"/>
                    <a:pt x="23533" y="904"/>
                    <a:pt x="21286" y="-163"/>
                  </a:cubicBezTo>
                  <a:lnTo>
                    <a:pt x="-336" y="12696"/>
                  </a:lnTo>
                  <a:lnTo>
                    <a:pt x="6141" y="16125"/>
                  </a:lnTo>
                  <a:cubicBezTo>
                    <a:pt x="12218" y="19687"/>
                    <a:pt x="17961" y="23793"/>
                    <a:pt x="23286" y="28412"/>
                  </a:cubicBezTo>
                  <a:cubicBezTo>
                    <a:pt x="39126" y="42338"/>
                    <a:pt x="52204" y="59102"/>
                    <a:pt x="61862" y="77847"/>
                  </a:cubicBezTo>
                  <a:close/>
                </a:path>
              </a:pathLst>
            </a:custGeom>
            <a:solidFill>
              <a:srgbClr val="BF4200"/>
            </a:solidFill>
            <a:ln w="9525" cap="flat">
              <a:noFill/>
              <a:prstDash val="solid"/>
              <a:miter/>
            </a:ln>
          </p:spPr>
          <p:txBody>
            <a:bodyPr rtlCol="0" anchor="ctr"/>
            <a:lstStyle/>
            <a:p>
              <a:endParaRPr lang="zh-CN" altLang="en-US"/>
            </a:p>
          </p:txBody>
        </p:sp>
        <p:sp>
          <p:nvSpPr>
            <p:cNvPr id="854" name="ïṩḻíḓè">
              <a:extLst>
                <a:ext uri="{FF2B5EF4-FFF2-40B4-BE49-F238E27FC236}">
                  <a16:creationId xmlns:a16="http://schemas.microsoft.com/office/drawing/2014/main" id="{2365F1C0-E6F1-4720-A934-B31488390561}"/>
                </a:ext>
              </a:extLst>
            </p:cNvPr>
            <p:cNvSpPr/>
            <p:nvPr/>
          </p:nvSpPr>
          <p:spPr>
            <a:xfrm>
              <a:off x="6765069" y="3674485"/>
              <a:ext cx="227887" cy="124981"/>
            </a:xfrm>
            <a:custGeom>
              <a:avLst/>
              <a:gdLst>
                <a:gd name="connsiteX0" fmla="*/ -336 w 74866"/>
                <a:gd name="connsiteY0" fmla="*/ 3940 h 41059"/>
                <a:gd name="connsiteX1" fmla="*/ 2045 w 74866"/>
                <a:gd name="connsiteY1" fmla="*/ 3178 h 41059"/>
                <a:gd name="connsiteX2" fmla="*/ 12141 w 74866"/>
                <a:gd name="connsiteY2" fmla="*/ 5654 h 41059"/>
                <a:gd name="connsiteX3" fmla="*/ 67672 w 74866"/>
                <a:gd name="connsiteY3" fmla="*/ 37658 h 41059"/>
                <a:gd name="connsiteX4" fmla="*/ 73292 w 74866"/>
                <a:gd name="connsiteY4" fmla="*/ 40897 h 41059"/>
                <a:gd name="connsiteX5" fmla="*/ 74530 w 74866"/>
                <a:gd name="connsiteY5" fmla="*/ 35087 h 41059"/>
                <a:gd name="connsiteX6" fmla="*/ 74530 w 74866"/>
                <a:gd name="connsiteY6" fmla="*/ 35087 h 41059"/>
                <a:gd name="connsiteX7" fmla="*/ 73292 w 74866"/>
                <a:gd name="connsiteY7" fmla="*/ 34420 h 41059"/>
                <a:gd name="connsiteX8" fmla="*/ 17761 w 74866"/>
                <a:gd name="connsiteY8" fmla="*/ 2321 h 41059"/>
                <a:gd name="connsiteX9" fmla="*/ 5283 w 74866"/>
                <a:gd name="connsiteY9" fmla="*/ 606 h 41059"/>
                <a:gd name="connsiteX10" fmla="*/ 3950 w 74866"/>
                <a:gd name="connsiteY10" fmla="*/ 1463 h 41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4866" h="41059">
                  <a:moveTo>
                    <a:pt x="-336" y="3940"/>
                  </a:moveTo>
                  <a:cubicBezTo>
                    <a:pt x="416" y="3578"/>
                    <a:pt x="1226" y="3330"/>
                    <a:pt x="2045" y="3178"/>
                  </a:cubicBezTo>
                  <a:cubicBezTo>
                    <a:pt x="5598" y="2806"/>
                    <a:pt x="9160" y="3683"/>
                    <a:pt x="12141" y="5654"/>
                  </a:cubicBezTo>
                  <a:lnTo>
                    <a:pt x="67672" y="37658"/>
                  </a:lnTo>
                  <a:lnTo>
                    <a:pt x="73292" y="40897"/>
                  </a:lnTo>
                  <a:cubicBezTo>
                    <a:pt x="73254" y="38887"/>
                    <a:pt x="73682" y="36906"/>
                    <a:pt x="74530" y="35087"/>
                  </a:cubicBezTo>
                  <a:lnTo>
                    <a:pt x="74530" y="35087"/>
                  </a:lnTo>
                  <a:lnTo>
                    <a:pt x="73292" y="34420"/>
                  </a:lnTo>
                  <a:lnTo>
                    <a:pt x="17761" y="2321"/>
                  </a:lnTo>
                  <a:cubicBezTo>
                    <a:pt x="14113" y="-213"/>
                    <a:pt x="9474" y="-851"/>
                    <a:pt x="5283" y="606"/>
                  </a:cubicBezTo>
                  <a:lnTo>
                    <a:pt x="3950" y="1463"/>
                  </a:lnTo>
                  <a:close/>
                </a:path>
              </a:pathLst>
            </a:custGeom>
            <a:solidFill>
              <a:srgbClr val="316DE6"/>
            </a:solidFill>
            <a:ln w="9525" cap="flat">
              <a:noFill/>
              <a:prstDash val="solid"/>
              <a:miter/>
            </a:ln>
          </p:spPr>
          <p:txBody>
            <a:bodyPr rtlCol="0" anchor="ctr"/>
            <a:lstStyle/>
            <a:p>
              <a:endParaRPr lang="zh-CN" altLang="en-US"/>
            </a:p>
          </p:txBody>
        </p:sp>
        <p:sp>
          <p:nvSpPr>
            <p:cNvPr id="855" name="î$ļíḍè">
              <a:extLst>
                <a:ext uri="{FF2B5EF4-FFF2-40B4-BE49-F238E27FC236}">
                  <a16:creationId xmlns:a16="http://schemas.microsoft.com/office/drawing/2014/main" id="{361C565A-8A9B-4D05-910C-FE9014D6B379}"/>
                </a:ext>
              </a:extLst>
            </p:cNvPr>
            <p:cNvSpPr/>
            <p:nvPr/>
          </p:nvSpPr>
          <p:spPr>
            <a:xfrm>
              <a:off x="6745907" y="3685848"/>
              <a:ext cx="390855" cy="518177"/>
            </a:xfrm>
            <a:custGeom>
              <a:avLst/>
              <a:gdLst>
                <a:gd name="connsiteX0" fmla="*/ -328 w 128405"/>
                <a:gd name="connsiteY0" fmla="*/ 12780 h 170233"/>
                <a:gd name="connsiteX1" fmla="*/ -328 w 128405"/>
                <a:gd name="connsiteY1" fmla="*/ 17066 h 170233"/>
                <a:gd name="connsiteX2" fmla="*/ 5292 w 128405"/>
                <a:gd name="connsiteY2" fmla="*/ 20400 h 170233"/>
                <a:gd name="connsiteX3" fmla="*/ 51488 w 128405"/>
                <a:gd name="connsiteY3" fmla="*/ 46974 h 170233"/>
                <a:gd name="connsiteX4" fmla="*/ 86730 w 128405"/>
                <a:gd name="connsiteY4" fmla="*/ 67072 h 170233"/>
                <a:gd name="connsiteX5" fmla="*/ 105780 w 128405"/>
                <a:gd name="connsiteY5" fmla="*/ 99552 h 170233"/>
                <a:gd name="connsiteX6" fmla="*/ 105780 w 128405"/>
                <a:gd name="connsiteY6" fmla="*/ 162989 h 170233"/>
                <a:gd name="connsiteX7" fmla="*/ 116829 w 128405"/>
                <a:gd name="connsiteY7" fmla="*/ 168609 h 170233"/>
                <a:gd name="connsiteX8" fmla="*/ 116829 w 128405"/>
                <a:gd name="connsiteY8" fmla="*/ 168609 h 170233"/>
                <a:gd name="connsiteX9" fmla="*/ 128069 w 128405"/>
                <a:gd name="connsiteY9" fmla="*/ 149559 h 170233"/>
                <a:gd name="connsiteX10" fmla="*/ 128069 w 128405"/>
                <a:gd name="connsiteY10" fmla="*/ 65358 h 170233"/>
                <a:gd name="connsiteX11" fmla="*/ 114353 w 128405"/>
                <a:gd name="connsiteY11" fmla="*/ 41640 h 170233"/>
                <a:gd name="connsiteX12" fmla="*/ 93779 w 128405"/>
                <a:gd name="connsiteY12" fmla="*/ 29734 h 170233"/>
                <a:gd name="connsiteX13" fmla="*/ 87302 w 128405"/>
                <a:gd name="connsiteY13" fmla="*/ 27924 h 170233"/>
                <a:gd name="connsiteX14" fmla="*/ 84635 w 128405"/>
                <a:gd name="connsiteY14" fmla="*/ 28496 h 170233"/>
                <a:gd name="connsiteX15" fmla="*/ 83778 w 128405"/>
                <a:gd name="connsiteY15" fmla="*/ 28972 h 170233"/>
                <a:gd name="connsiteX16" fmla="*/ 81301 w 128405"/>
                <a:gd name="connsiteY16" fmla="*/ 31830 h 170233"/>
                <a:gd name="connsiteX17" fmla="*/ 81301 w 128405"/>
                <a:gd name="connsiteY17" fmla="*/ 31830 h 170233"/>
                <a:gd name="connsiteX18" fmla="*/ 80063 w 128405"/>
                <a:gd name="connsiteY18" fmla="*/ 37640 h 170233"/>
                <a:gd name="connsiteX19" fmla="*/ 74443 w 128405"/>
                <a:gd name="connsiteY19" fmla="*/ 34401 h 170233"/>
                <a:gd name="connsiteX20" fmla="*/ 18913 w 128405"/>
                <a:gd name="connsiteY20" fmla="*/ 2397 h 170233"/>
                <a:gd name="connsiteX21" fmla="*/ 8816 w 128405"/>
                <a:gd name="connsiteY21" fmla="*/ -79 h 170233"/>
                <a:gd name="connsiteX22" fmla="*/ 6435 w 128405"/>
                <a:gd name="connsiteY22" fmla="*/ 683 h 170233"/>
                <a:gd name="connsiteX23" fmla="*/ 5006 w 128405"/>
                <a:gd name="connsiteY23" fmla="*/ 1445 h 170233"/>
                <a:gd name="connsiteX24" fmla="*/ -328 w 128405"/>
                <a:gd name="connsiteY24" fmla="*/ 12780 h 170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28405" h="170233">
                  <a:moveTo>
                    <a:pt x="-328" y="12780"/>
                  </a:moveTo>
                  <a:lnTo>
                    <a:pt x="-328" y="17066"/>
                  </a:lnTo>
                  <a:lnTo>
                    <a:pt x="5292" y="20400"/>
                  </a:lnTo>
                  <a:lnTo>
                    <a:pt x="51488" y="46974"/>
                  </a:lnTo>
                  <a:lnTo>
                    <a:pt x="86730" y="67072"/>
                  </a:lnTo>
                  <a:cubicBezTo>
                    <a:pt x="97932" y="74206"/>
                    <a:pt x="105019" y="86294"/>
                    <a:pt x="105780" y="99552"/>
                  </a:cubicBezTo>
                  <a:lnTo>
                    <a:pt x="105780" y="162989"/>
                  </a:lnTo>
                  <a:cubicBezTo>
                    <a:pt x="105780" y="169371"/>
                    <a:pt x="110924" y="171942"/>
                    <a:pt x="116829" y="168609"/>
                  </a:cubicBezTo>
                  <a:lnTo>
                    <a:pt x="116829" y="168609"/>
                  </a:lnTo>
                  <a:cubicBezTo>
                    <a:pt x="123364" y="164380"/>
                    <a:pt x="127526" y="157322"/>
                    <a:pt x="128069" y="149559"/>
                  </a:cubicBezTo>
                  <a:lnTo>
                    <a:pt x="128069" y="65358"/>
                  </a:lnTo>
                  <a:cubicBezTo>
                    <a:pt x="127526" y="55718"/>
                    <a:pt x="122430" y="46917"/>
                    <a:pt x="114353" y="41640"/>
                  </a:cubicBezTo>
                  <a:lnTo>
                    <a:pt x="93779" y="29734"/>
                  </a:lnTo>
                  <a:cubicBezTo>
                    <a:pt x="91836" y="28524"/>
                    <a:pt x="89588" y="27896"/>
                    <a:pt x="87302" y="27924"/>
                  </a:cubicBezTo>
                  <a:cubicBezTo>
                    <a:pt x="86387" y="27953"/>
                    <a:pt x="85483" y="28153"/>
                    <a:pt x="84635" y="28496"/>
                  </a:cubicBezTo>
                  <a:lnTo>
                    <a:pt x="83778" y="28972"/>
                  </a:lnTo>
                  <a:cubicBezTo>
                    <a:pt x="82721" y="29696"/>
                    <a:pt x="81863" y="30677"/>
                    <a:pt x="81301" y="31830"/>
                  </a:cubicBezTo>
                  <a:lnTo>
                    <a:pt x="81301" y="31830"/>
                  </a:lnTo>
                  <a:cubicBezTo>
                    <a:pt x="80454" y="33649"/>
                    <a:pt x="80025" y="35630"/>
                    <a:pt x="80063" y="37640"/>
                  </a:cubicBezTo>
                  <a:lnTo>
                    <a:pt x="74443" y="34401"/>
                  </a:lnTo>
                  <a:lnTo>
                    <a:pt x="18913" y="2397"/>
                  </a:lnTo>
                  <a:cubicBezTo>
                    <a:pt x="15931" y="426"/>
                    <a:pt x="12369" y="-451"/>
                    <a:pt x="8816" y="-79"/>
                  </a:cubicBezTo>
                  <a:cubicBezTo>
                    <a:pt x="7997" y="73"/>
                    <a:pt x="7187" y="321"/>
                    <a:pt x="6435" y="683"/>
                  </a:cubicBezTo>
                  <a:lnTo>
                    <a:pt x="5006" y="1445"/>
                  </a:lnTo>
                  <a:cubicBezTo>
                    <a:pt x="1510" y="4140"/>
                    <a:pt x="-480" y="8360"/>
                    <a:pt x="-328" y="12780"/>
                  </a:cubicBezTo>
                  <a:close/>
                </a:path>
              </a:pathLst>
            </a:custGeom>
            <a:solidFill>
              <a:srgbClr val="323A82"/>
            </a:solidFill>
            <a:ln w="9525" cap="flat">
              <a:noFill/>
              <a:prstDash val="solid"/>
              <a:miter/>
            </a:ln>
          </p:spPr>
          <p:txBody>
            <a:bodyPr rtlCol="0" anchor="ctr"/>
            <a:lstStyle/>
            <a:p>
              <a:endParaRPr lang="zh-CN" altLang="en-US"/>
            </a:p>
          </p:txBody>
        </p:sp>
        <p:sp>
          <p:nvSpPr>
            <p:cNvPr id="856" name="ïṣlíḓe">
              <a:extLst>
                <a:ext uri="{FF2B5EF4-FFF2-40B4-BE49-F238E27FC236}">
                  <a16:creationId xmlns:a16="http://schemas.microsoft.com/office/drawing/2014/main" id="{09BDFFF9-C1C3-46C8-B229-7742F5A4DA2D}"/>
                </a:ext>
              </a:extLst>
            </p:cNvPr>
            <p:cNvSpPr/>
            <p:nvPr/>
          </p:nvSpPr>
          <p:spPr>
            <a:xfrm>
              <a:off x="6754053" y="3705265"/>
              <a:ext cx="322114" cy="451667"/>
            </a:xfrm>
            <a:custGeom>
              <a:avLst/>
              <a:gdLst>
                <a:gd name="connsiteX0" fmla="*/ 8522 w 105822"/>
                <a:gd name="connsiteY0" fmla="*/ 96127 h 148383"/>
                <a:gd name="connsiteX1" fmla="*/ 96628 w 105822"/>
                <a:gd name="connsiteY1" fmla="*/ 146991 h 148383"/>
                <a:gd name="connsiteX2" fmla="*/ 105486 w 105822"/>
                <a:gd name="connsiteY2" fmla="*/ 141847 h 148383"/>
                <a:gd name="connsiteX3" fmla="*/ 105486 w 105822"/>
                <a:gd name="connsiteY3" fmla="*/ 67266 h 148383"/>
                <a:gd name="connsiteX4" fmla="*/ 96628 w 105822"/>
                <a:gd name="connsiteY4" fmla="*/ 51931 h 148383"/>
                <a:gd name="connsiteX5" fmla="*/ 8522 w 105822"/>
                <a:gd name="connsiteY5" fmla="*/ 1068 h 148383"/>
                <a:gd name="connsiteX6" fmla="*/ -336 w 105822"/>
                <a:gd name="connsiteY6" fmla="*/ 6211 h 148383"/>
                <a:gd name="connsiteX7" fmla="*/ -336 w 105822"/>
                <a:gd name="connsiteY7" fmla="*/ 80697 h 148383"/>
                <a:gd name="connsiteX8" fmla="*/ 8522 w 105822"/>
                <a:gd name="connsiteY8" fmla="*/ 96127 h 1483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822" h="148383">
                  <a:moveTo>
                    <a:pt x="8522" y="96127"/>
                  </a:moveTo>
                  <a:lnTo>
                    <a:pt x="96628" y="146991"/>
                  </a:lnTo>
                  <a:cubicBezTo>
                    <a:pt x="101486" y="149848"/>
                    <a:pt x="105486" y="147562"/>
                    <a:pt x="105486" y="141847"/>
                  </a:cubicBezTo>
                  <a:lnTo>
                    <a:pt x="105486" y="67266"/>
                  </a:lnTo>
                  <a:cubicBezTo>
                    <a:pt x="105143" y="61037"/>
                    <a:pt x="101848" y="55341"/>
                    <a:pt x="96628" y="51931"/>
                  </a:cubicBezTo>
                  <a:lnTo>
                    <a:pt x="8522" y="1068"/>
                  </a:lnTo>
                  <a:cubicBezTo>
                    <a:pt x="3664" y="-1790"/>
                    <a:pt x="-336" y="496"/>
                    <a:pt x="-336" y="6211"/>
                  </a:cubicBezTo>
                  <a:lnTo>
                    <a:pt x="-336" y="80697"/>
                  </a:lnTo>
                  <a:cubicBezTo>
                    <a:pt x="-22" y="86964"/>
                    <a:pt x="3274" y="92698"/>
                    <a:pt x="8522" y="96127"/>
                  </a:cubicBezTo>
                  <a:close/>
                </a:path>
              </a:pathLst>
            </a:custGeom>
            <a:solidFill>
              <a:srgbClr val="D1D9E8"/>
            </a:solidFill>
            <a:ln w="9525" cap="flat">
              <a:noFill/>
              <a:prstDash val="solid"/>
              <a:miter/>
            </a:ln>
          </p:spPr>
          <p:txBody>
            <a:bodyPr rtlCol="0" anchor="ctr"/>
            <a:lstStyle/>
            <a:p>
              <a:endParaRPr lang="zh-CN" altLang="en-US"/>
            </a:p>
          </p:txBody>
        </p:sp>
        <p:sp>
          <p:nvSpPr>
            <p:cNvPr id="857" name="ïśḻïďé">
              <a:extLst>
                <a:ext uri="{FF2B5EF4-FFF2-40B4-BE49-F238E27FC236}">
                  <a16:creationId xmlns:a16="http://schemas.microsoft.com/office/drawing/2014/main" id="{91F87AD4-F703-4D8E-962D-80BE1B5E24FD}"/>
                </a:ext>
              </a:extLst>
            </p:cNvPr>
            <p:cNvSpPr/>
            <p:nvPr/>
          </p:nvSpPr>
          <p:spPr>
            <a:xfrm>
              <a:off x="6736946" y="3715121"/>
              <a:ext cx="322114" cy="451667"/>
            </a:xfrm>
            <a:custGeom>
              <a:avLst/>
              <a:gdLst>
                <a:gd name="connsiteX0" fmla="*/ 8522 w 105822"/>
                <a:gd name="connsiteY0" fmla="*/ 96127 h 148383"/>
                <a:gd name="connsiteX1" fmla="*/ 96628 w 105822"/>
                <a:gd name="connsiteY1" fmla="*/ 146991 h 148383"/>
                <a:gd name="connsiteX2" fmla="*/ 105487 w 105822"/>
                <a:gd name="connsiteY2" fmla="*/ 141847 h 148383"/>
                <a:gd name="connsiteX3" fmla="*/ 105487 w 105822"/>
                <a:gd name="connsiteY3" fmla="*/ 67362 h 148383"/>
                <a:gd name="connsiteX4" fmla="*/ 96628 w 105822"/>
                <a:gd name="connsiteY4" fmla="*/ 51931 h 148383"/>
                <a:gd name="connsiteX5" fmla="*/ 8522 w 105822"/>
                <a:gd name="connsiteY5" fmla="*/ 1068 h 148383"/>
                <a:gd name="connsiteX6" fmla="*/ -336 w 105822"/>
                <a:gd name="connsiteY6" fmla="*/ 6211 h 148383"/>
                <a:gd name="connsiteX7" fmla="*/ -336 w 105822"/>
                <a:gd name="connsiteY7" fmla="*/ 80792 h 148383"/>
                <a:gd name="connsiteX8" fmla="*/ 8522 w 105822"/>
                <a:gd name="connsiteY8" fmla="*/ 96127 h 1483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822" h="148383">
                  <a:moveTo>
                    <a:pt x="8522" y="96127"/>
                  </a:moveTo>
                  <a:lnTo>
                    <a:pt x="96628" y="146991"/>
                  </a:lnTo>
                  <a:cubicBezTo>
                    <a:pt x="101486" y="149848"/>
                    <a:pt x="105487" y="147562"/>
                    <a:pt x="105487" y="141847"/>
                  </a:cubicBezTo>
                  <a:lnTo>
                    <a:pt x="105487" y="67362"/>
                  </a:lnTo>
                  <a:cubicBezTo>
                    <a:pt x="105172" y="61094"/>
                    <a:pt x="101877" y="55360"/>
                    <a:pt x="96628" y="51931"/>
                  </a:cubicBezTo>
                  <a:lnTo>
                    <a:pt x="8522" y="1068"/>
                  </a:lnTo>
                  <a:cubicBezTo>
                    <a:pt x="3664" y="-1790"/>
                    <a:pt x="-336" y="496"/>
                    <a:pt x="-336" y="6211"/>
                  </a:cubicBezTo>
                  <a:lnTo>
                    <a:pt x="-336" y="80792"/>
                  </a:lnTo>
                  <a:cubicBezTo>
                    <a:pt x="7" y="87021"/>
                    <a:pt x="3302" y="92717"/>
                    <a:pt x="8522" y="96127"/>
                  </a:cubicBezTo>
                  <a:close/>
                </a:path>
              </a:pathLst>
            </a:custGeom>
            <a:solidFill>
              <a:srgbClr val="EDF4FF"/>
            </a:solidFill>
            <a:ln w="9525" cap="flat">
              <a:noFill/>
              <a:prstDash val="solid"/>
              <a:miter/>
            </a:ln>
          </p:spPr>
          <p:txBody>
            <a:bodyPr rtlCol="0" anchor="ctr"/>
            <a:lstStyle/>
            <a:p>
              <a:endParaRPr lang="zh-CN" altLang="en-US"/>
            </a:p>
          </p:txBody>
        </p:sp>
        <p:sp>
          <p:nvSpPr>
            <p:cNvPr id="858" name="íṧḷïḋe">
              <a:extLst>
                <a:ext uri="{FF2B5EF4-FFF2-40B4-BE49-F238E27FC236}">
                  <a16:creationId xmlns:a16="http://schemas.microsoft.com/office/drawing/2014/main" id="{B76787ED-60B1-4E56-B090-58A5664940CA}"/>
                </a:ext>
              </a:extLst>
            </p:cNvPr>
            <p:cNvSpPr/>
            <p:nvPr/>
          </p:nvSpPr>
          <p:spPr>
            <a:xfrm>
              <a:off x="6660525" y="3735385"/>
              <a:ext cx="390146" cy="528581"/>
            </a:xfrm>
            <a:custGeom>
              <a:avLst/>
              <a:gdLst>
                <a:gd name="connsiteX0" fmla="*/ -281 w 128172"/>
                <a:gd name="connsiteY0" fmla="*/ 12698 h 173651"/>
                <a:gd name="connsiteX1" fmla="*/ -281 w 128172"/>
                <a:gd name="connsiteY1" fmla="*/ 86327 h 173651"/>
                <a:gd name="connsiteX2" fmla="*/ 18769 w 128172"/>
                <a:gd name="connsiteY2" fmla="*/ 118807 h 173651"/>
                <a:gd name="connsiteX3" fmla="*/ 109066 w 128172"/>
                <a:gd name="connsiteY3" fmla="*/ 171004 h 173651"/>
                <a:gd name="connsiteX4" fmla="*/ 121639 w 128172"/>
                <a:gd name="connsiteY4" fmla="*/ 172623 h 173651"/>
                <a:gd name="connsiteX5" fmla="*/ 122782 w 128172"/>
                <a:gd name="connsiteY5" fmla="*/ 172052 h 173651"/>
                <a:gd name="connsiteX6" fmla="*/ 124878 w 128172"/>
                <a:gd name="connsiteY6" fmla="*/ 170147 h 173651"/>
                <a:gd name="connsiteX7" fmla="*/ 127830 w 128172"/>
                <a:gd name="connsiteY7" fmla="*/ 160622 h 173651"/>
                <a:gd name="connsiteX8" fmla="*/ 127830 w 128172"/>
                <a:gd name="connsiteY8" fmla="*/ 86993 h 173651"/>
                <a:gd name="connsiteX9" fmla="*/ 108780 w 128172"/>
                <a:gd name="connsiteY9" fmla="*/ 54513 h 173651"/>
                <a:gd name="connsiteX10" fmla="*/ 33343 w 128172"/>
                <a:gd name="connsiteY10" fmla="*/ 10984 h 173651"/>
                <a:gd name="connsiteX11" fmla="*/ 27723 w 128172"/>
                <a:gd name="connsiteY11" fmla="*/ 7745 h 173651"/>
                <a:gd name="connsiteX12" fmla="*/ 18198 w 128172"/>
                <a:gd name="connsiteY12" fmla="*/ 2316 h 173651"/>
                <a:gd name="connsiteX13" fmla="*/ 8006 w 128172"/>
                <a:gd name="connsiteY13" fmla="*/ -65 h 173651"/>
                <a:gd name="connsiteX14" fmla="*/ 4672 w 128172"/>
                <a:gd name="connsiteY14" fmla="*/ 1173 h 173651"/>
                <a:gd name="connsiteX15" fmla="*/ -281 w 128172"/>
                <a:gd name="connsiteY15" fmla="*/ 12698 h 173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8172" h="173651">
                  <a:moveTo>
                    <a:pt x="-281" y="12698"/>
                  </a:moveTo>
                  <a:lnTo>
                    <a:pt x="-281" y="86327"/>
                  </a:lnTo>
                  <a:cubicBezTo>
                    <a:pt x="481" y="99586"/>
                    <a:pt x="7568" y="111673"/>
                    <a:pt x="18769" y="118807"/>
                  </a:cubicBezTo>
                  <a:lnTo>
                    <a:pt x="109066" y="171004"/>
                  </a:lnTo>
                  <a:cubicBezTo>
                    <a:pt x="112733" y="173595"/>
                    <a:pt x="117439" y="174204"/>
                    <a:pt x="121639" y="172623"/>
                  </a:cubicBezTo>
                  <a:lnTo>
                    <a:pt x="122782" y="172052"/>
                  </a:lnTo>
                  <a:cubicBezTo>
                    <a:pt x="123544" y="171499"/>
                    <a:pt x="124249" y="170852"/>
                    <a:pt x="124878" y="170147"/>
                  </a:cubicBezTo>
                  <a:cubicBezTo>
                    <a:pt x="126888" y="167384"/>
                    <a:pt x="127926" y="164032"/>
                    <a:pt x="127830" y="160622"/>
                  </a:cubicBezTo>
                  <a:lnTo>
                    <a:pt x="127830" y="86993"/>
                  </a:lnTo>
                  <a:cubicBezTo>
                    <a:pt x="127040" y="73744"/>
                    <a:pt x="119953" y="61676"/>
                    <a:pt x="108780" y="54513"/>
                  </a:cubicBezTo>
                  <a:lnTo>
                    <a:pt x="33343" y="10984"/>
                  </a:lnTo>
                  <a:lnTo>
                    <a:pt x="27723" y="7745"/>
                  </a:lnTo>
                  <a:lnTo>
                    <a:pt x="18198" y="2316"/>
                  </a:lnTo>
                  <a:cubicBezTo>
                    <a:pt x="15178" y="373"/>
                    <a:pt x="11578" y="-465"/>
                    <a:pt x="8006" y="-65"/>
                  </a:cubicBezTo>
                  <a:cubicBezTo>
                    <a:pt x="6825" y="135"/>
                    <a:pt x="5691" y="554"/>
                    <a:pt x="4672" y="1173"/>
                  </a:cubicBezTo>
                  <a:cubicBezTo>
                    <a:pt x="1177" y="3926"/>
                    <a:pt x="-690" y="8269"/>
                    <a:pt x="-281" y="12698"/>
                  </a:cubicBezTo>
                  <a:close/>
                </a:path>
              </a:pathLst>
            </a:custGeom>
            <a:solidFill>
              <a:srgbClr val="214EA6"/>
            </a:solidFill>
            <a:ln w="9525" cap="flat">
              <a:noFill/>
              <a:prstDash val="solid"/>
              <a:miter/>
            </a:ln>
          </p:spPr>
          <p:txBody>
            <a:bodyPr rtlCol="0" anchor="ctr"/>
            <a:lstStyle/>
            <a:p>
              <a:endParaRPr lang="zh-CN" altLang="en-US"/>
            </a:p>
          </p:txBody>
        </p:sp>
        <p:sp>
          <p:nvSpPr>
            <p:cNvPr id="859" name="iš1ïďè">
              <a:extLst>
                <a:ext uri="{FF2B5EF4-FFF2-40B4-BE49-F238E27FC236}">
                  <a16:creationId xmlns:a16="http://schemas.microsoft.com/office/drawing/2014/main" id="{AEAC9AA5-994C-4D35-B295-90966C0B5A40}"/>
                </a:ext>
              </a:extLst>
            </p:cNvPr>
            <p:cNvSpPr/>
            <p:nvPr/>
          </p:nvSpPr>
          <p:spPr>
            <a:xfrm>
              <a:off x="6676640" y="3721158"/>
              <a:ext cx="477717" cy="536982"/>
            </a:xfrm>
            <a:custGeom>
              <a:avLst/>
              <a:gdLst>
                <a:gd name="connsiteX0" fmla="*/ -336 w 156941"/>
                <a:gd name="connsiteY0" fmla="*/ 5371 h 176411"/>
                <a:gd name="connsiteX1" fmla="*/ 2997 w 156941"/>
                <a:gd name="connsiteY1" fmla="*/ 4132 h 176411"/>
                <a:gd name="connsiteX2" fmla="*/ 13189 w 156941"/>
                <a:gd name="connsiteY2" fmla="*/ 6514 h 176411"/>
                <a:gd name="connsiteX3" fmla="*/ 22714 w 156941"/>
                <a:gd name="connsiteY3" fmla="*/ 11943 h 176411"/>
                <a:gd name="connsiteX4" fmla="*/ 28334 w 156941"/>
                <a:gd name="connsiteY4" fmla="*/ 15181 h 176411"/>
                <a:gd name="connsiteX5" fmla="*/ 103772 w 156941"/>
                <a:gd name="connsiteY5" fmla="*/ 58711 h 176411"/>
                <a:gd name="connsiteX6" fmla="*/ 122822 w 156941"/>
                <a:gd name="connsiteY6" fmla="*/ 91191 h 176411"/>
                <a:gd name="connsiteX7" fmla="*/ 122822 w 156941"/>
                <a:gd name="connsiteY7" fmla="*/ 164819 h 176411"/>
                <a:gd name="connsiteX8" fmla="*/ 119869 w 156941"/>
                <a:gd name="connsiteY8" fmla="*/ 174344 h 176411"/>
                <a:gd name="connsiteX9" fmla="*/ 117774 w 156941"/>
                <a:gd name="connsiteY9" fmla="*/ 176249 h 176411"/>
                <a:gd name="connsiteX10" fmla="*/ 122250 w 156941"/>
                <a:gd name="connsiteY10" fmla="*/ 173582 h 176411"/>
                <a:gd name="connsiteX11" fmla="*/ 123489 w 156941"/>
                <a:gd name="connsiteY11" fmla="*/ 172915 h 176411"/>
                <a:gd name="connsiteX12" fmla="*/ 151302 w 156941"/>
                <a:gd name="connsiteY12" fmla="*/ 156818 h 176411"/>
                <a:gd name="connsiteX13" fmla="*/ 156540 w 156941"/>
                <a:gd name="connsiteY13" fmla="*/ 144817 h 176411"/>
                <a:gd name="connsiteX14" fmla="*/ 156540 w 156941"/>
                <a:gd name="connsiteY14" fmla="*/ 49567 h 176411"/>
                <a:gd name="connsiteX15" fmla="*/ 142824 w 156941"/>
                <a:gd name="connsiteY15" fmla="*/ 25849 h 176411"/>
                <a:gd name="connsiteX16" fmla="*/ 122250 w 156941"/>
                <a:gd name="connsiteY16" fmla="*/ 13943 h 176411"/>
                <a:gd name="connsiteX17" fmla="*/ 112725 w 156941"/>
                <a:gd name="connsiteY17" fmla="*/ 12705 h 176411"/>
                <a:gd name="connsiteX18" fmla="*/ 112725 w 156941"/>
                <a:gd name="connsiteY18" fmla="*/ 12705 h 176411"/>
                <a:gd name="connsiteX19" fmla="*/ 111773 w 156941"/>
                <a:gd name="connsiteY19" fmla="*/ 13276 h 176411"/>
                <a:gd name="connsiteX20" fmla="*/ 107106 w 156941"/>
                <a:gd name="connsiteY20" fmla="*/ 15943 h 176411"/>
                <a:gd name="connsiteX21" fmla="*/ 109773 w 156941"/>
                <a:gd name="connsiteY21" fmla="*/ 15372 h 176411"/>
                <a:gd name="connsiteX22" fmla="*/ 116250 w 156941"/>
                <a:gd name="connsiteY22" fmla="*/ 17182 h 176411"/>
                <a:gd name="connsiteX23" fmla="*/ 136824 w 156941"/>
                <a:gd name="connsiteY23" fmla="*/ 29088 h 176411"/>
                <a:gd name="connsiteX24" fmla="*/ 150540 w 156941"/>
                <a:gd name="connsiteY24" fmla="*/ 52805 h 176411"/>
                <a:gd name="connsiteX25" fmla="*/ 150540 w 156941"/>
                <a:gd name="connsiteY25" fmla="*/ 137006 h 176411"/>
                <a:gd name="connsiteX26" fmla="*/ 139300 w 156941"/>
                <a:gd name="connsiteY26" fmla="*/ 156056 h 176411"/>
                <a:gd name="connsiteX27" fmla="*/ 139300 w 156941"/>
                <a:gd name="connsiteY27" fmla="*/ 156056 h 176411"/>
                <a:gd name="connsiteX28" fmla="*/ 128251 w 156941"/>
                <a:gd name="connsiteY28" fmla="*/ 150436 h 176411"/>
                <a:gd name="connsiteX29" fmla="*/ 128251 w 156941"/>
                <a:gd name="connsiteY29" fmla="*/ 87000 h 176411"/>
                <a:gd name="connsiteX30" fmla="*/ 109201 w 156941"/>
                <a:gd name="connsiteY30" fmla="*/ 54520 h 176411"/>
                <a:gd name="connsiteX31" fmla="*/ 74340 w 156941"/>
                <a:gd name="connsiteY31" fmla="*/ 34327 h 176411"/>
                <a:gd name="connsiteX32" fmla="*/ 28143 w 156941"/>
                <a:gd name="connsiteY32" fmla="*/ 7752 h 176411"/>
                <a:gd name="connsiteX33" fmla="*/ 22524 w 156941"/>
                <a:gd name="connsiteY33" fmla="*/ 4418 h 176411"/>
                <a:gd name="connsiteX34" fmla="*/ 18904 w 156941"/>
                <a:gd name="connsiteY34" fmla="*/ 2323 h 176411"/>
                <a:gd name="connsiteX35" fmla="*/ 6236 w 156941"/>
                <a:gd name="connsiteY35" fmla="*/ 703 h 176411"/>
                <a:gd name="connsiteX36" fmla="*/ 5664 w 156941"/>
                <a:gd name="connsiteY36" fmla="*/ 703 h 176411"/>
                <a:gd name="connsiteX37" fmla="*/ 5664 w 156941"/>
                <a:gd name="connsiteY37" fmla="*/ 703 h 1764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56941" h="176411">
                  <a:moveTo>
                    <a:pt x="-336" y="5371"/>
                  </a:moveTo>
                  <a:cubicBezTo>
                    <a:pt x="683" y="4751"/>
                    <a:pt x="1816" y="4332"/>
                    <a:pt x="2997" y="4132"/>
                  </a:cubicBezTo>
                  <a:cubicBezTo>
                    <a:pt x="6569" y="3732"/>
                    <a:pt x="10170" y="4571"/>
                    <a:pt x="13189" y="6514"/>
                  </a:cubicBezTo>
                  <a:lnTo>
                    <a:pt x="22714" y="11943"/>
                  </a:lnTo>
                  <a:lnTo>
                    <a:pt x="28334" y="15181"/>
                  </a:lnTo>
                  <a:lnTo>
                    <a:pt x="103772" y="58711"/>
                  </a:lnTo>
                  <a:cubicBezTo>
                    <a:pt x="114945" y="65873"/>
                    <a:pt x="122031" y="77942"/>
                    <a:pt x="122822" y="91191"/>
                  </a:cubicBezTo>
                  <a:lnTo>
                    <a:pt x="122822" y="164819"/>
                  </a:lnTo>
                  <a:cubicBezTo>
                    <a:pt x="122917" y="168229"/>
                    <a:pt x="121879" y="171582"/>
                    <a:pt x="119869" y="174344"/>
                  </a:cubicBezTo>
                  <a:cubicBezTo>
                    <a:pt x="119240" y="175049"/>
                    <a:pt x="118536" y="175697"/>
                    <a:pt x="117774" y="176249"/>
                  </a:cubicBezTo>
                  <a:lnTo>
                    <a:pt x="122250" y="173582"/>
                  </a:lnTo>
                  <a:lnTo>
                    <a:pt x="123489" y="172915"/>
                  </a:lnTo>
                  <a:lnTo>
                    <a:pt x="151302" y="156818"/>
                  </a:lnTo>
                  <a:cubicBezTo>
                    <a:pt x="155016" y="153999"/>
                    <a:pt x="156998" y="149455"/>
                    <a:pt x="156540" y="144817"/>
                  </a:cubicBezTo>
                  <a:lnTo>
                    <a:pt x="156540" y="49567"/>
                  </a:lnTo>
                  <a:cubicBezTo>
                    <a:pt x="155997" y="39927"/>
                    <a:pt x="150902" y="31126"/>
                    <a:pt x="142824" y="25849"/>
                  </a:cubicBezTo>
                  <a:lnTo>
                    <a:pt x="122250" y="13943"/>
                  </a:lnTo>
                  <a:cubicBezTo>
                    <a:pt x="119498" y="11933"/>
                    <a:pt x="115907" y="11467"/>
                    <a:pt x="112725" y="12705"/>
                  </a:cubicBezTo>
                  <a:lnTo>
                    <a:pt x="112725" y="12705"/>
                  </a:lnTo>
                  <a:lnTo>
                    <a:pt x="111773" y="13276"/>
                  </a:lnTo>
                  <a:lnTo>
                    <a:pt x="107106" y="15943"/>
                  </a:lnTo>
                  <a:cubicBezTo>
                    <a:pt x="107953" y="15601"/>
                    <a:pt x="108858" y="15400"/>
                    <a:pt x="109773" y="15372"/>
                  </a:cubicBezTo>
                  <a:cubicBezTo>
                    <a:pt x="112059" y="15343"/>
                    <a:pt x="114307" y="15972"/>
                    <a:pt x="116250" y="17182"/>
                  </a:cubicBezTo>
                  <a:lnTo>
                    <a:pt x="136824" y="29088"/>
                  </a:lnTo>
                  <a:cubicBezTo>
                    <a:pt x="144901" y="34365"/>
                    <a:pt x="149997" y="43166"/>
                    <a:pt x="150540" y="52805"/>
                  </a:cubicBezTo>
                  <a:lnTo>
                    <a:pt x="150540" y="137006"/>
                  </a:lnTo>
                  <a:cubicBezTo>
                    <a:pt x="149997" y="144769"/>
                    <a:pt x="145834" y="151827"/>
                    <a:pt x="139300" y="156056"/>
                  </a:cubicBezTo>
                  <a:lnTo>
                    <a:pt x="139300" y="156056"/>
                  </a:lnTo>
                  <a:cubicBezTo>
                    <a:pt x="133395" y="159390"/>
                    <a:pt x="128632" y="156818"/>
                    <a:pt x="128251" y="150436"/>
                  </a:cubicBezTo>
                  <a:lnTo>
                    <a:pt x="128251" y="87000"/>
                  </a:lnTo>
                  <a:cubicBezTo>
                    <a:pt x="127489" y="73741"/>
                    <a:pt x="120403" y="61654"/>
                    <a:pt x="109201" y="54520"/>
                  </a:cubicBezTo>
                  <a:lnTo>
                    <a:pt x="74340" y="34327"/>
                  </a:lnTo>
                  <a:lnTo>
                    <a:pt x="28143" y="7752"/>
                  </a:lnTo>
                  <a:lnTo>
                    <a:pt x="22524" y="4418"/>
                  </a:lnTo>
                  <a:lnTo>
                    <a:pt x="18904" y="2323"/>
                  </a:lnTo>
                  <a:cubicBezTo>
                    <a:pt x="15208" y="-268"/>
                    <a:pt x="10465" y="-878"/>
                    <a:pt x="6236" y="703"/>
                  </a:cubicBezTo>
                  <a:lnTo>
                    <a:pt x="5664" y="703"/>
                  </a:lnTo>
                  <a:lnTo>
                    <a:pt x="5664" y="703"/>
                  </a:lnTo>
                  <a:close/>
                </a:path>
              </a:pathLst>
            </a:custGeom>
            <a:solidFill>
              <a:srgbClr val="316DE6"/>
            </a:solidFill>
            <a:ln w="9525" cap="flat">
              <a:noFill/>
              <a:prstDash val="solid"/>
              <a:miter/>
            </a:ln>
          </p:spPr>
          <p:txBody>
            <a:bodyPr rtlCol="0" anchor="ctr"/>
            <a:lstStyle/>
            <a:p>
              <a:endParaRPr lang="zh-CN" altLang="en-US"/>
            </a:p>
          </p:txBody>
        </p:sp>
      </p:grpSp>
      <p:sp>
        <p:nvSpPr>
          <p:cNvPr id="332" name="文本框 331">
            <a:extLst>
              <a:ext uri="{FF2B5EF4-FFF2-40B4-BE49-F238E27FC236}">
                <a16:creationId xmlns:a16="http://schemas.microsoft.com/office/drawing/2014/main" id="{8B12A1BC-8F84-4181-A0C3-4ACD143BF5F8}"/>
              </a:ext>
            </a:extLst>
          </p:cNvPr>
          <p:cNvSpPr txBox="1"/>
          <p:nvPr/>
        </p:nvSpPr>
        <p:spPr>
          <a:xfrm>
            <a:off x="669924" y="3489522"/>
            <a:ext cx="6374188" cy="1754326"/>
          </a:xfrm>
          <a:prstGeom prst="rect">
            <a:avLst/>
          </a:prstGeom>
          <a:noFill/>
        </p:spPr>
        <p:txBody>
          <a:bodyPr wrap="square" rtlCol="0">
            <a:spAutoFit/>
          </a:bodyPr>
          <a:lstStyle/>
          <a:p>
            <a:pPr algn="l"/>
            <a:r>
              <a:rPr lang="en-US" altLang="zh-CN" i="0" dirty="0">
                <a:effectLst/>
                <a:latin typeface="+mn-ea"/>
              </a:rPr>
              <a:t>4</a:t>
            </a:r>
            <a:r>
              <a:rPr lang="zh-CN" altLang="en-US" i="0" dirty="0">
                <a:effectLst/>
                <a:latin typeface="+mn-ea"/>
              </a:rPr>
              <a:t>、事件表达式</a:t>
            </a:r>
          </a:p>
          <a:p>
            <a:pPr algn="l"/>
            <a:r>
              <a:rPr lang="zh-CN" altLang="en-US" i="0" dirty="0">
                <a:effectLst/>
                <a:latin typeface="+mn-ea"/>
              </a:rPr>
              <a:t>状态变迁通常是由事件触发的，在这种情况下应在表示状态转换的箭头线上标出触发转换的事件表达式；</a:t>
            </a:r>
            <a:endParaRPr lang="en-US" altLang="zh-CN" i="0" dirty="0">
              <a:effectLst/>
              <a:latin typeface="+mn-ea"/>
            </a:endParaRPr>
          </a:p>
          <a:p>
            <a:pPr algn="l"/>
            <a:r>
              <a:rPr lang="zh-CN" altLang="en-US" i="0" dirty="0">
                <a:effectLst/>
                <a:latin typeface="+mn-ea"/>
              </a:rPr>
              <a:t>语法如下：</a:t>
            </a:r>
            <a:endParaRPr lang="en-US" altLang="zh-CN" i="0" dirty="0">
              <a:effectLst/>
              <a:latin typeface="+mn-ea"/>
            </a:endParaRPr>
          </a:p>
          <a:p>
            <a:pPr algn="l"/>
            <a:r>
              <a:rPr lang="zh-CN" altLang="en-US" i="0" dirty="0">
                <a:effectLst/>
                <a:latin typeface="+mn-ea"/>
              </a:rPr>
              <a:t>事件说明［守卫条件］</a:t>
            </a:r>
            <a:r>
              <a:rPr lang="en-US" altLang="zh-CN" i="0" dirty="0">
                <a:effectLst/>
                <a:latin typeface="+mn-ea"/>
              </a:rPr>
              <a:t>/ </a:t>
            </a:r>
            <a:r>
              <a:rPr lang="zh-CN" altLang="en-US" i="0" dirty="0">
                <a:effectLst/>
                <a:latin typeface="+mn-ea"/>
              </a:rPr>
              <a:t>动作表达式  </a:t>
            </a:r>
            <a:endParaRPr lang="en-US" altLang="zh-CN" i="0" dirty="0">
              <a:effectLst/>
              <a:latin typeface="+mn-ea"/>
            </a:endParaRPr>
          </a:p>
          <a:p>
            <a:pPr algn="l"/>
            <a:r>
              <a:rPr lang="zh-CN" altLang="en-US" i="0" dirty="0">
                <a:effectLst/>
                <a:latin typeface="+mn-ea"/>
              </a:rPr>
              <a:t>其中，事件说明的语法为：事件名</a:t>
            </a:r>
            <a:r>
              <a:rPr lang="en-US" altLang="zh-CN" i="0" dirty="0">
                <a:effectLst/>
                <a:latin typeface="+mn-ea"/>
              </a:rPr>
              <a:t>(</a:t>
            </a:r>
            <a:r>
              <a:rPr lang="zh-CN" altLang="en-US" i="0" dirty="0">
                <a:effectLst/>
                <a:latin typeface="+mn-ea"/>
              </a:rPr>
              <a:t>参数表</a:t>
            </a:r>
            <a:r>
              <a:rPr lang="en-US" altLang="zh-CN" i="0" dirty="0">
                <a:effectLst/>
                <a:latin typeface="+mn-ea"/>
              </a:rPr>
              <a:t>)</a:t>
            </a:r>
            <a:r>
              <a:rPr lang="zh-CN" altLang="en-US" i="0" dirty="0">
                <a:effectLst/>
                <a:latin typeface="+mn-ea"/>
              </a:rPr>
              <a:t>。</a:t>
            </a:r>
          </a:p>
        </p:txBody>
      </p:sp>
    </p:spTree>
    <p:custDataLst>
      <p:tags r:id="rId1"/>
    </p:custDataLst>
    <p:extLst>
      <p:ext uri="{BB962C8B-B14F-4D97-AF65-F5344CB8AC3E}">
        <p14:creationId xmlns:p14="http://schemas.microsoft.com/office/powerpoint/2010/main" val="1241740844"/>
      </p:ext>
    </p:extLst>
  </p:cSld>
  <p:clrMapOvr>
    <a:masterClrMapping/>
  </p:clrMapOvr>
  <mc:AlternateContent xmlns:mc="http://schemas.openxmlformats.org/markup-compatibility/2006">
    <mc:Choice xmlns:p14="http://schemas.microsoft.com/office/powerpoint/2010/main" Requires="p14">
      <p:transition spd="slow" p14:dur="1250">
        <p:blinds dir="vert"/>
      </p:transition>
    </mc:Choice>
    <mc:Fallback>
      <p:transition spd="slow">
        <p:blinds dir="vert"/>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a:xfrm>
            <a:off x="7803909" y="2171807"/>
            <a:ext cx="5002454" cy="895350"/>
          </a:xfrm>
        </p:spPr>
        <p:txBody>
          <a:bodyPr>
            <a:normAutofit/>
          </a:bodyPr>
          <a:lstStyle/>
          <a:p>
            <a:r>
              <a:rPr lang="zh-CN" altLang="en-US" sz="4400" dirty="0"/>
              <a:t>顺序图</a:t>
            </a:r>
          </a:p>
        </p:txBody>
      </p:sp>
      <p:sp>
        <p:nvSpPr>
          <p:cNvPr id="6" name="文本占位符 5"/>
          <p:cNvSpPr>
            <a:spLocks noGrp="1"/>
          </p:cNvSpPr>
          <p:nvPr>
            <p:ph type="body" idx="1"/>
          </p:nvPr>
        </p:nvSpPr>
        <p:spPr/>
        <p:txBody>
          <a:bodyPr>
            <a:normAutofit/>
          </a:bodyPr>
          <a:lstStyle/>
          <a:p>
            <a:pPr lvl="0"/>
            <a:r>
              <a:rPr lang="zh-CN" altLang="en-US" sz="1400" dirty="0"/>
              <a:t>类图和对象图表达的是系统的静态结构。在一个运行的系统中，对象之间要发生交互，并且这些交互要经历一定的时间</a:t>
            </a:r>
            <a:endParaRPr lang="en-US" altLang="zh-CN" sz="1400" dirty="0"/>
          </a:p>
          <a:p>
            <a:pPr lvl="0"/>
            <a:r>
              <a:rPr lang="en-US" altLang="zh-CN" sz="1400" dirty="0"/>
              <a:t>UML</a:t>
            </a:r>
            <a:r>
              <a:rPr lang="zh-CN" altLang="en-US" sz="1400" dirty="0"/>
              <a:t>顺序图所表达的正是这种基于时间的动态交互。</a:t>
            </a:r>
          </a:p>
        </p:txBody>
      </p:sp>
      <p:sp>
        <p:nvSpPr>
          <p:cNvPr id="9" name="文本框 8">
            <a:extLst>
              <a:ext uri="{FF2B5EF4-FFF2-40B4-BE49-F238E27FC236}">
                <a16:creationId xmlns:a16="http://schemas.microsoft.com/office/drawing/2014/main" id="{04F69230-F3A6-4586-9371-A858F4763E9F}"/>
              </a:ext>
            </a:extLst>
          </p:cNvPr>
          <p:cNvSpPr txBox="1"/>
          <p:nvPr/>
        </p:nvSpPr>
        <p:spPr>
          <a:xfrm>
            <a:off x="6632714" y="2171808"/>
            <a:ext cx="1171195" cy="895349"/>
          </a:xfrm>
          <a:prstGeom prst="rect">
            <a:avLst/>
          </a:prstGeom>
          <a:noFill/>
          <a:ln w="117475">
            <a:noFill/>
          </a:ln>
        </p:spPr>
        <p:txBody>
          <a:bodyPr wrap="none" rtlCol="0">
            <a:prstTxWarp prst="textPlain">
              <a:avLst/>
            </a:prstTxWarp>
            <a:spAutoFit/>
          </a:bodyPr>
          <a:lstStyle/>
          <a:p>
            <a:r>
              <a:rPr lang="en-US" altLang="zh-CN" spc="100" dirty="0">
                <a:solidFill>
                  <a:schemeClr val="accent1"/>
                </a:solidFill>
                <a:latin typeface="Impact" panose="020B0806030902050204" pitchFamily="34" charset="0"/>
                <a:cs typeface="Arial" panose="020B0604020202020204" pitchFamily="34" charset="0"/>
              </a:rPr>
              <a:t>/1-4</a:t>
            </a:r>
            <a:endParaRPr lang="zh-CN" altLang="en-US" spc="100" dirty="0">
              <a:solidFill>
                <a:schemeClr val="accent1"/>
              </a:solidFill>
              <a:latin typeface="Impact" panose="020B0806030902050204" pitchFamily="34" charset="0"/>
              <a:cs typeface="Arial" panose="020B0604020202020204" pitchFamily="34" charset="0"/>
            </a:endParaRPr>
          </a:p>
        </p:txBody>
      </p:sp>
    </p:spTree>
    <p:custDataLst>
      <p:tags r:id="rId1"/>
    </p:custDataLst>
    <p:extLst>
      <p:ext uri="{BB962C8B-B14F-4D97-AF65-F5344CB8AC3E}">
        <p14:creationId xmlns:p14="http://schemas.microsoft.com/office/powerpoint/2010/main" val="2392856961"/>
      </p:ext>
    </p:extLst>
  </p:cSld>
  <p:clrMapOvr>
    <a:masterClrMapping/>
  </p:clrMapOvr>
  <p:transition spd="slow">
    <p:cover/>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išḷïďê"/>
        <p:cNvGrpSpPr/>
        <p:nvPr/>
      </p:nvGrpSpPr>
      <p:grpSpPr>
        <a:xfrm>
          <a:off x="0" y="0"/>
          <a:ext cx="0" cy="0"/>
          <a:chOff x="0" y="0"/>
          <a:chExt cx="0" cy="0"/>
        </a:xfrm>
      </p:grpSpPr>
      <p:sp>
        <p:nvSpPr>
          <p:cNvPr id="6" name="ïṧlíḍe">
            <a:extLst>
              <a:ext uri="{FF2B5EF4-FFF2-40B4-BE49-F238E27FC236}">
                <a16:creationId xmlns:a16="http://schemas.microsoft.com/office/drawing/2014/main" id="{DCDA17E8-F11D-462D-AEAF-3A318B104466}"/>
              </a:ext>
            </a:extLst>
          </p:cNvPr>
          <p:cNvSpPr>
            <a:spLocks noGrp="1"/>
          </p:cNvSpPr>
          <p:nvPr>
            <p:ph type="body" sz="quarter" idx="4294967295"/>
          </p:nvPr>
        </p:nvSpPr>
        <p:spPr>
          <a:xfrm>
            <a:off x="673099" y="1769868"/>
            <a:ext cx="3530600" cy="839787"/>
          </a:xfrm>
        </p:spPr>
        <p:txBody>
          <a:bodyPr wrap="square">
            <a:spAutoFit/>
          </a:bodyPr>
          <a:lstStyle/>
          <a:p>
            <a:pPr marL="0" indent="0">
              <a:buNone/>
            </a:pPr>
            <a:r>
              <a:rPr lang="zh-CN" altLang="en-GB" sz="5400" b="1" dirty="0">
                <a:cs typeface="+mn-ea"/>
                <a:sym typeface="+mn-lt"/>
              </a:rPr>
              <a:t>目录</a:t>
            </a:r>
            <a:endParaRPr lang="en-GB" altLang="zh-CN" sz="5400" b="1" dirty="0">
              <a:cs typeface="+mn-ea"/>
              <a:sym typeface="+mn-lt"/>
            </a:endParaRPr>
          </a:p>
        </p:txBody>
      </p:sp>
      <p:sp>
        <p:nvSpPr>
          <p:cNvPr id="2" name="isḻíďé">
            <a:extLst>
              <a:ext uri="{FF2B5EF4-FFF2-40B4-BE49-F238E27FC236}">
                <a16:creationId xmlns:a16="http://schemas.microsoft.com/office/drawing/2014/main" id="{727E973D-D655-376D-ED81-8B2A8A52FD36}"/>
              </a:ext>
            </a:extLst>
          </p:cNvPr>
          <p:cNvSpPr txBox="1">
            <a:spLocks/>
          </p:cNvSpPr>
          <p:nvPr/>
        </p:nvSpPr>
        <p:spPr>
          <a:xfrm>
            <a:off x="8857452" y="6438900"/>
            <a:ext cx="2661448" cy="215900"/>
          </a:xfrm>
          <a:prstGeom prst="rect">
            <a:avLst/>
          </a:prstGeom>
        </p:spPr>
        <p:txBody>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F65B630-C7FF-41C0-9923-C5E5E29EED81}" type="slidenum">
              <a:rPr lang="zh-CN" altLang="en-US" smtClean="0">
                <a:cs typeface="+mn-ea"/>
                <a:sym typeface="+mn-lt"/>
              </a:rPr>
              <a:pPr/>
              <a:t>2</a:t>
            </a:fld>
            <a:endParaRPr lang="zh-CN" altLang="en-US">
              <a:cs typeface="+mn-ea"/>
              <a:sym typeface="+mn-lt"/>
            </a:endParaRPr>
          </a:p>
        </p:txBody>
      </p:sp>
      <p:grpSp>
        <p:nvGrpSpPr>
          <p:cNvPr id="37" name="işḷíďé">
            <a:extLst>
              <a:ext uri="{FF2B5EF4-FFF2-40B4-BE49-F238E27FC236}">
                <a16:creationId xmlns:a16="http://schemas.microsoft.com/office/drawing/2014/main" id="{EE07E3DD-799C-85B6-B9EB-05E58398A3E1}"/>
              </a:ext>
            </a:extLst>
          </p:cNvPr>
          <p:cNvGrpSpPr/>
          <p:nvPr/>
        </p:nvGrpSpPr>
        <p:grpSpPr>
          <a:xfrm>
            <a:off x="0" y="245758"/>
            <a:ext cx="12192000" cy="6366484"/>
            <a:chOff x="0" y="245758"/>
            <a:chExt cx="12192000" cy="6366484"/>
          </a:xfrm>
        </p:grpSpPr>
        <p:grpSp>
          <p:nvGrpSpPr>
            <p:cNvPr id="36" name="ïṡḷiḑe">
              <a:extLst>
                <a:ext uri="{FF2B5EF4-FFF2-40B4-BE49-F238E27FC236}">
                  <a16:creationId xmlns:a16="http://schemas.microsoft.com/office/drawing/2014/main" id="{8945BA87-BA27-D39A-C304-236939EAB6B4}"/>
                </a:ext>
              </a:extLst>
            </p:cNvPr>
            <p:cNvGrpSpPr/>
            <p:nvPr/>
          </p:nvGrpSpPr>
          <p:grpSpPr>
            <a:xfrm>
              <a:off x="0" y="245758"/>
              <a:ext cx="12192000" cy="6366484"/>
              <a:chOff x="0" y="245758"/>
              <a:chExt cx="12192000" cy="6366484"/>
            </a:xfrm>
          </p:grpSpPr>
          <p:sp>
            <p:nvSpPr>
              <p:cNvPr id="4" name="ïṥḻíďé">
                <a:extLst>
                  <a:ext uri="{FF2B5EF4-FFF2-40B4-BE49-F238E27FC236}">
                    <a16:creationId xmlns:a16="http://schemas.microsoft.com/office/drawing/2014/main" id="{5582119C-107F-00A7-346A-CB8F039A0534}"/>
                  </a:ext>
                </a:extLst>
              </p:cNvPr>
              <p:cNvSpPr/>
              <p:nvPr/>
            </p:nvSpPr>
            <p:spPr>
              <a:xfrm>
                <a:off x="0" y="245758"/>
                <a:ext cx="3333358" cy="6366484"/>
              </a:xfrm>
              <a:custGeom>
                <a:avLst/>
                <a:gdLst>
                  <a:gd name="connsiteX0" fmla="*/ 161706 w 3590706"/>
                  <a:gd name="connsiteY0" fmla="*/ 0 h 6858000"/>
                  <a:gd name="connsiteX1" fmla="*/ 3590706 w 3590706"/>
                  <a:gd name="connsiteY1" fmla="*/ 3429000 h 6858000"/>
                  <a:gd name="connsiteX2" fmla="*/ 161706 w 3590706"/>
                  <a:gd name="connsiteY2" fmla="*/ 6858000 h 6858000"/>
                  <a:gd name="connsiteX3" fmla="*/ 0 w 3590706"/>
                  <a:gd name="connsiteY3" fmla="*/ 6853912 h 6858000"/>
                  <a:gd name="connsiteX4" fmla="*/ 0 w 3590706"/>
                  <a:gd name="connsiteY4" fmla="*/ 4089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90706" h="6858000">
                    <a:moveTo>
                      <a:pt x="161706" y="0"/>
                    </a:moveTo>
                    <a:cubicBezTo>
                      <a:pt x="2055490" y="0"/>
                      <a:pt x="3590706" y="1535216"/>
                      <a:pt x="3590706" y="3429000"/>
                    </a:cubicBezTo>
                    <a:cubicBezTo>
                      <a:pt x="3590706" y="5322784"/>
                      <a:pt x="2055490" y="6858000"/>
                      <a:pt x="161706" y="6858000"/>
                    </a:cubicBezTo>
                    <a:lnTo>
                      <a:pt x="0" y="6853912"/>
                    </a:lnTo>
                    <a:lnTo>
                      <a:pt x="0" y="4089"/>
                    </a:lnTo>
                    <a:close/>
                  </a:path>
                </a:pathLst>
              </a:custGeom>
              <a:solidFill>
                <a:schemeClr val="tx2">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cs typeface="+mn-ea"/>
                  <a:sym typeface="+mn-lt"/>
                </a:endParaRPr>
              </a:p>
            </p:txBody>
          </p:sp>
          <p:sp>
            <p:nvSpPr>
              <p:cNvPr id="8" name="íslîḍè">
                <a:extLst>
                  <a:ext uri="{FF2B5EF4-FFF2-40B4-BE49-F238E27FC236}">
                    <a16:creationId xmlns:a16="http://schemas.microsoft.com/office/drawing/2014/main" id="{00B970A1-09C8-89C3-FA48-3BF12CFD6F9A}"/>
                  </a:ext>
                </a:extLst>
              </p:cNvPr>
              <p:cNvSpPr/>
              <p:nvPr/>
            </p:nvSpPr>
            <p:spPr>
              <a:xfrm>
                <a:off x="3421644" y="2646902"/>
                <a:ext cx="283186" cy="28318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sp>
            <p:nvSpPr>
              <p:cNvPr id="10" name="íSľídè">
                <a:extLst>
                  <a:ext uri="{FF2B5EF4-FFF2-40B4-BE49-F238E27FC236}">
                    <a16:creationId xmlns:a16="http://schemas.microsoft.com/office/drawing/2014/main" id="{06DC0EFA-4D37-31F4-5EAC-8419BD302465}"/>
                  </a:ext>
                </a:extLst>
              </p:cNvPr>
              <p:cNvSpPr/>
              <p:nvPr/>
            </p:nvSpPr>
            <p:spPr>
              <a:xfrm flipH="1">
                <a:off x="10775666" y="2076450"/>
                <a:ext cx="1416334" cy="2705100"/>
              </a:xfrm>
              <a:custGeom>
                <a:avLst/>
                <a:gdLst>
                  <a:gd name="connsiteX0" fmla="*/ 161706 w 3590706"/>
                  <a:gd name="connsiteY0" fmla="*/ 0 h 6858000"/>
                  <a:gd name="connsiteX1" fmla="*/ 3590706 w 3590706"/>
                  <a:gd name="connsiteY1" fmla="*/ 3429000 h 6858000"/>
                  <a:gd name="connsiteX2" fmla="*/ 161706 w 3590706"/>
                  <a:gd name="connsiteY2" fmla="*/ 6858000 h 6858000"/>
                  <a:gd name="connsiteX3" fmla="*/ 0 w 3590706"/>
                  <a:gd name="connsiteY3" fmla="*/ 6853912 h 6858000"/>
                  <a:gd name="connsiteX4" fmla="*/ 0 w 3590706"/>
                  <a:gd name="connsiteY4" fmla="*/ 4089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90706" h="6858000">
                    <a:moveTo>
                      <a:pt x="161706" y="0"/>
                    </a:moveTo>
                    <a:cubicBezTo>
                      <a:pt x="2055490" y="0"/>
                      <a:pt x="3590706" y="1535216"/>
                      <a:pt x="3590706" y="3429000"/>
                    </a:cubicBezTo>
                    <a:cubicBezTo>
                      <a:pt x="3590706" y="5322784"/>
                      <a:pt x="2055490" y="6858000"/>
                      <a:pt x="161706" y="6858000"/>
                    </a:cubicBezTo>
                    <a:lnTo>
                      <a:pt x="0" y="6853912"/>
                    </a:lnTo>
                    <a:lnTo>
                      <a:pt x="0" y="4089"/>
                    </a:lnTo>
                    <a:close/>
                  </a:path>
                </a:pathLst>
              </a:custGeom>
              <a:solidFill>
                <a:schemeClr val="tx2">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cs typeface="+mn-ea"/>
                  <a:sym typeface="+mn-lt"/>
                </a:endParaRPr>
              </a:p>
            </p:txBody>
          </p:sp>
        </p:grpSp>
        <p:sp>
          <p:nvSpPr>
            <p:cNvPr id="5" name="í$ľiḋé">
              <a:extLst>
                <a:ext uri="{FF2B5EF4-FFF2-40B4-BE49-F238E27FC236}">
                  <a16:creationId xmlns:a16="http://schemas.microsoft.com/office/drawing/2014/main" id="{3792A0F6-7579-FF2B-24D7-7D51EF218BF8}"/>
                </a:ext>
              </a:extLst>
            </p:cNvPr>
            <p:cNvSpPr txBox="1"/>
            <p:nvPr/>
          </p:nvSpPr>
          <p:spPr>
            <a:xfrm>
              <a:off x="660399" y="2967335"/>
              <a:ext cx="4058601" cy="923330"/>
            </a:xfrm>
            <a:prstGeom prst="rect">
              <a:avLst/>
            </a:prstGeom>
            <a:noFill/>
          </p:spPr>
          <p:txBody>
            <a:bodyPr wrap="square" lIns="0" rtlCol="0">
              <a:spAutoFit/>
            </a:bodyPr>
            <a:lstStyle>
              <a:defPPr>
                <a:defRPr lang="zh-CN"/>
              </a:defPPr>
              <a:lvl1pPr>
                <a:defRPr kumimoji="0" sz="1400" b="1" i="0" u="none" strike="noStrike" cap="none" spc="0" normalizeH="0" baseline="0">
                  <a:ln>
                    <a:noFill/>
                  </a:ln>
                  <a:solidFill>
                    <a:schemeClr val="accent1"/>
                  </a:solidFill>
                  <a:effectLst/>
                  <a:uLnTx/>
                  <a:uFillTx/>
                </a:defRPr>
              </a:lvl1pPr>
            </a:lstStyle>
            <a:p>
              <a:r>
                <a:rPr kumimoji="1" lang="en-US" altLang="zh-CN" sz="5400" dirty="0">
                  <a:solidFill>
                    <a:schemeClr val="tx1"/>
                  </a:solidFill>
                  <a:cs typeface="+mn-ea"/>
                  <a:sym typeface="+mn-lt"/>
                </a:rPr>
                <a:t>CONTENTS</a:t>
              </a:r>
              <a:endParaRPr lang="en-US" altLang="zh-CN" sz="5400" dirty="0">
                <a:solidFill>
                  <a:schemeClr val="tx1"/>
                </a:solidFill>
                <a:cs typeface="+mn-ea"/>
                <a:sym typeface="+mn-lt"/>
              </a:endParaRPr>
            </a:p>
          </p:txBody>
        </p:sp>
        <p:grpSp>
          <p:nvGrpSpPr>
            <p:cNvPr id="35" name="ïšḻidé">
              <a:extLst>
                <a:ext uri="{FF2B5EF4-FFF2-40B4-BE49-F238E27FC236}">
                  <a16:creationId xmlns:a16="http://schemas.microsoft.com/office/drawing/2014/main" id="{5E94F0F2-3C5E-4C11-38AF-7FA211FB0BC8}"/>
                </a:ext>
              </a:extLst>
            </p:cNvPr>
            <p:cNvGrpSpPr/>
            <p:nvPr/>
          </p:nvGrpSpPr>
          <p:grpSpPr>
            <a:xfrm>
              <a:off x="5888253" y="976580"/>
              <a:ext cx="5630648" cy="3840401"/>
              <a:chOff x="5888253" y="976580"/>
              <a:chExt cx="5630648" cy="3840401"/>
            </a:xfrm>
          </p:grpSpPr>
          <p:grpSp>
            <p:nvGrpSpPr>
              <p:cNvPr id="31" name="iṧ1iḓê">
                <a:extLst>
                  <a:ext uri="{FF2B5EF4-FFF2-40B4-BE49-F238E27FC236}">
                    <a16:creationId xmlns:a16="http://schemas.microsoft.com/office/drawing/2014/main" id="{A22855AB-A751-A2F9-2B11-484C0F57E4FC}"/>
                  </a:ext>
                </a:extLst>
              </p:cNvPr>
              <p:cNvGrpSpPr/>
              <p:nvPr/>
            </p:nvGrpSpPr>
            <p:grpSpPr>
              <a:xfrm>
                <a:off x="5888253" y="976580"/>
                <a:ext cx="5630648" cy="1015663"/>
                <a:chOff x="5888253" y="976580"/>
                <a:chExt cx="5630648" cy="1015663"/>
              </a:xfrm>
            </p:grpSpPr>
            <p:sp>
              <p:nvSpPr>
                <p:cNvPr id="27" name="išlídê">
                  <a:extLst>
                    <a:ext uri="{FF2B5EF4-FFF2-40B4-BE49-F238E27FC236}">
                      <a16:creationId xmlns:a16="http://schemas.microsoft.com/office/drawing/2014/main" id="{BA2DBC1D-824C-9BC3-F88A-2365AE7C9FB7}"/>
                    </a:ext>
                  </a:extLst>
                </p:cNvPr>
                <p:cNvSpPr txBox="1"/>
                <p:nvPr/>
              </p:nvSpPr>
              <p:spPr>
                <a:xfrm>
                  <a:off x="5888253" y="976580"/>
                  <a:ext cx="1040670" cy="1015663"/>
                </a:xfrm>
                <a:prstGeom prst="rect">
                  <a:avLst/>
                </a:prstGeom>
                <a:noFill/>
              </p:spPr>
              <p:txBody>
                <a:bodyPr wrap="none" lIns="91440" tIns="45720" rIns="91440" bIns="45720" rtlCol="0" anchor="ctr" anchorCtr="0">
                  <a:spAutoFit/>
                </a:bodyPr>
                <a:lstStyle/>
                <a:p>
                  <a:pPr algn="ctr"/>
                  <a:r>
                    <a:rPr kumimoji="1" lang="en-US" altLang="zh-CN" sz="6000" b="1" dirty="0">
                      <a:cs typeface="+mn-ea"/>
                      <a:sym typeface="+mn-lt"/>
                    </a:rPr>
                    <a:t>01</a:t>
                  </a:r>
                  <a:endParaRPr kumimoji="1" lang="zh-CN" altLang="en-US" sz="6000" b="1" dirty="0">
                    <a:cs typeface="+mn-ea"/>
                    <a:sym typeface="+mn-lt"/>
                  </a:endParaRPr>
                </a:p>
              </p:txBody>
            </p:sp>
            <p:sp>
              <p:nvSpPr>
                <p:cNvPr id="30" name="ïṥliḍê">
                  <a:extLst>
                    <a:ext uri="{FF2B5EF4-FFF2-40B4-BE49-F238E27FC236}">
                      <a16:creationId xmlns:a16="http://schemas.microsoft.com/office/drawing/2014/main" id="{086CAE10-AD4F-D0F7-3BEE-64E3DBC9509C}"/>
                    </a:ext>
                  </a:extLst>
                </p:cNvPr>
                <p:cNvSpPr>
                  <a:spLocks/>
                </p:cNvSpPr>
                <p:nvPr/>
              </p:nvSpPr>
              <p:spPr>
                <a:xfrm>
                  <a:off x="7251701" y="1189395"/>
                  <a:ext cx="4267200" cy="5847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0">
                  <a:spAutoFit/>
                </a:bodyPr>
                <a:lstStyle/>
                <a:p>
                  <a:r>
                    <a:rPr kumimoji="1" lang="en-US" altLang="zh-CN" sz="3200" b="1" dirty="0">
                      <a:solidFill>
                        <a:schemeClr val="tx1"/>
                      </a:solidFill>
                      <a:cs typeface="+mn-ea"/>
                      <a:sym typeface="+mn-lt"/>
                    </a:rPr>
                    <a:t>UML</a:t>
                  </a:r>
                  <a:r>
                    <a:rPr kumimoji="1" lang="zh-CN" altLang="en-US" sz="3200" b="1" dirty="0">
                      <a:solidFill>
                        <a:schemeClr val="tx1"/>
                      </a:solidFill>
                      <a:cs typeface="+mn-ea"/>
                      <a:sym typeface="+mn-lt"/>
                    </a:rPr>
                    <a:t>图</a:t>
                  </a:r>
                </a:p>
              </p:txBody>
            </p:sp>
          </p:grpSp>
          <p:grpSp>
            <p:nvGrpSpPr>
              <p:cNvPr id="32" name="îṡ1îḑé">
                <a:extLst>
                  <a:ext uri="{FF2B5EF4-FFF2-40B4-BE49-F238E27FC236}">
                    <a16:creationId xmlns:a16="http://schemas.microsoft.com/office/drawing/2014/main" id="{7CD3E47E-4004-E0D2-D5FC-98BED946917A}"/>
                  </a:ext>
                </a:extLst>
              </p:cNvPr>
              <p:cNvGrpSpPr/>
              <p:nvPr/>
            </p:nvGrpSpPr>
            <p:grpSpPr>
              <a:xfrm>
                <a:off x="5888253" y="2388949"/>
                <a:ext cx="5630648" cy="1015663"/>
                <a:chOff x="5888253" y="2388949"/>
                <a:chExt cx="5630648" cy="1015663"/>
              </a:xfrm>
            </p:grpSpPr>
            <p:sp>
              <p:nvSpPr>
                <p:cNvPr id="23" name="iśľîḋè">
                  <a:extLst>
                    <a:ext uri="{FF2B5EF4-FFF2-40B4-BE49-F238E27FC236}">
                      <a16:creationId xmlns:a16="http://schemas.microsoft.com/office/drawing/2014/main" id="{9FDA34CE-97A3-6BB7-BF67-8EBE01E11D2B}"/>
                    </a:ext>
                  </a:extLst>
                </p:cNvPr>
                <p:cNvSpPr txBox="1"/>
                <p:nvPr/>
              </p:nvSpPr>
              <p:spPr>
                <a:xfrm>
                  <a:off x="5888253" y="2388949"/>
                  <a:ext cx="1040670" cy="1015663"/>
                </a:xfrm>
                <a:prstGeom prst="rect">
                  <a:avLst/>
                </a:prstGeom>
                <a:noFill/>
              </p:spPr>
              <p:txBody>
                <a:bodyPr wrap="none" lIns="91440" tIns="45720" rIns="91440" bIns="45720" rtlCol="0" anchor="ctr" anchorCtr="0">
                  <a:spAutoFit/>
                </a:bodyPr>
                <a:lstStyle/>
                <a:p>
                  <a:pPr algn="ctr"/>
                  <a:r>
                    <a:rPr kumimoji="1" lang="en-US" altLang="zh-CN" sz="6000" b="1">
                      <a:cs typeface="+mn-ea"/>
                      <a:sym typeface="+mn-lt"/>
                    </a:rPr>
                    <a:t>02</a:t>
                  </a:r>
                  <a:endParaRPr kumimoji="1" lang="zh-CN" altLang="en-US" sz="6000" b="1" dirty="0">
                    <a:cs typeface="+mn-ea"/>
                    <a:sym typeface="+mn-lt"/>
                  </a:endParaRPr>
                </a:p>
              </p:txBody>
            </p:sp>
            <p:sp>
              <p:nvSpPr>
                <p:cNvPr id="26" name="íş1îḋe">
                  <a:extLst>
                    <a:ext uri="{FF2B5EF4-FFF2-40B4-BE49-F238E27FC236}">
                      <a16:creationId xmlns:a16="http://schemas.microsoft.com/office/drawing/2014/main" id="{9ACD4ABE-9869-927C-883B-A825E86E8F0E}"/>
                    </a:ext>
                  </a:extLst>
                </p:cNvPr>
                <p:cNvSpPr>
                  <a:spLocks/>
                </p:cNvSpPr>
                <p:nvPr/>
              </p:nvSpPr>
              <p:spPr>
                <a:xfrm>
                  <a:off x="7251701" y="2601764"/>
                  <a:ext cx="4267200" cy="5847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0">
                  <a:spAutoFit/>
                </a:bodyPr>
                <a:lstStyle/>
                <a:p>
                  <a:r>
                    <a:rPr kumimoji="1" lang="zh-CN" altLang="en-US" sz="3200" b="1" dirty="0">
                      <a:solidFill>
                        <a:schemeClr val="tx1"/>
                      </a:solidFill>
                      <a:cs typeface="+mn-ea"/>
                      <a:sym typeface="+mn-lt"/>
                    </a:rPr>
                    <a:t>参考资料</a:t>
                  </a:r>
                  <a:endParaRPr kumimoji="1" lang="en-US" altLang="zh-CN" sz="3200" b="1" dirty="0">
                    <a:solidFill>
                      <a:schemeClr val="tx1"/>
                    </a:solidFill>
                    <a:cs typeface="+mn-ea"/>
                    <a:sym typeface="+mn-lt"/>
                  </a:endParaRPr>
                </a:p>
              </p:txBody>
            </p:sp>
          </p:grpSp>
          <p:grpSp>
            <p:nvGrpSpPr>
              <p:cNvPr id="33" name="îšľíḑé">
                <a:extLst>
                  <a:ext uri="{FF2B5EF4-FFF2-40B4-BE49-F238E27FC236}">
                    <a16:creationId xmlns:a16="http://schemas.microsoft.com/office/drawing/2014/main" id="{1708071E-F010-8B8F-4AD8-4213D393D729}"/>
                  </a:ext>
                </a:extLst>
              </p:cNvPr>
              <p:cNvGrpSpPr/>
              <p:nvPr/>
            </p:nvGrpSpPr>
            <p:grpSpPr>
              <a:xfrm>
                <a:off x="5888253" y="3801318"/>
                <a:ext cx="5630648" cy="1015663"/>
                <a:chOff x="5888253" y="3801318"/>
                <a:chExt cx="5630648" cy="1015663"/>
              </a:xfrm>
            </p:grpSpPr>
            <p:sp>
              <p:nvSpPr>
                <p:cNvPr id="19" name="ïṩḻïḍé">
                  <a:extLst>
                    <a:ext uri="{FF2B5EF4-FFF2-40B4-BE49-F238E27FC236}">
                      <a16:creationId xmlns:a16="http://schemas.microsoft.com/office/drawing/2014/main" id="{373C0AC2-461E-5EEC-2862-BCB73E6008B1}"/>
                    </a:ext>
                  </a:extLst>
                </p:cNvPr>
                <p:cNvSpPr txBox="1"/>
                <p:nvPr/>
              </p:nvSpPr>
              <p:spPr>
                <a:xfrm>
                  <a:off x="5888253" y="3801318"/>
                  <a:ext cx="1040670" cy="1015663"/>
                </a:xfrm>
                <a:prstGeom prst="rect">
                  <a:avLst/>
                </a:prstGeom>
                <a:noFill/>
              </p:spPr>
              <p:txBody>
                <a:bodyPr wrap="none" lIns="91440" tIns="45720" rIns="91440" bIns="45720" rtlCol="0" anchor="ctr" anchorCtr="0">
                  <a:spAutoFit/>
                </a:bodyPr>
                <a:lstStyle/>
                <a:p>
                  <a:pPr algn="ctr"/>
                  <a:r>
                    <a:rPr kumimoji="1" lang="en-US" altLang="zh-CN" sz="6000" b="1" dirty="0">
                      <a:cs typeface="+mn-ea"/>
                      <a:sym typeface="+mn-lt"/>
                    </a:rPr>
                    <a:t>03</a:t>
                  </a:r>
                  <a:endParaRPr kumimoji="1" lang="zh-CN" altLang="en-US" sz="6000" b="1" dirty="0">
                    <a:cs typeface="+mn-ea"/>
                    <a:sym typeface="+mn-lt"/>
                  </a:endParaRPr>
                </a:p>
              </p:txBody>
            </p:sp>
            <p:sp>
              <p:nvSpPr>
                <p:cNvPr id="22" name="iŝļîḍé">
                  <a:extLst>
                    <a:ext uri="{FF2B5EF4-FFF2-40B4-BE49-F238E27FC236}">
                      <a16:creationId xmlns:a16="http://schemas.microsoft.com/office/drawing/2014/main" id="{DC931BF7-A187-2073-D7B9-53DB049D7C24}"/>
                    </a:ext>
                  </a:extLst>
                </p:cNvPr>
                <p:cNvSpPr>
                  <a:spLocks/>
                </p:cNvSpPr>
                <p:nvPr/>
              </p:nvSpPr>
              <p:spPr>
                <a:xfrm>
                  <a:off x="7251701" y="4035657"/>
                  <a:ext cx="4267200" cy="5847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0">
                  <a:spAutoFit/>
                </a:bodyPr>
                <a:lstStyle/>
                <a:p>
                  <a:r>
                    <a:rPr kumimoji="1" lang="zh-CN" altLang="en-US" sz="3200" b="1" dirty="0">
                      <a:solidFill>
                        <a:schemeClr val="tx1"/>
                      </a:solidFill>
                      <a:cs typeface="+mn-ea"/>
                      <a:sym typeface="+mn-lt"/>
                    </a:rPr>
                    <a:t>小组分工</a:t>
                  </a:r>
                  <a:endParaRPr kumimoji="1" lang="en-US" altLang="zh-CN" sz="3200" b="1" dirty="0">
                    <a:solidFill>
                      <a:schemeClr val="tx1"/>
                    </a:solidFill>
                    <a:cs typeface="+mn-ea"/>
                    <a:sym typeface="+mn-lt"/>
                  </a:endParaRPr>
                </a:p>
              </p:txBody>
            </p:sp>
          </p:grpSp>
        </p:grpSp>
      </p:grpSp>
    </p:spTree>
    <p:custDataLst>
      <p:tags r:id="rId1"/>
    </p:custDataLst>
    <p:extLst>
      <p:ext uri="{BB962C8B-B14F-4D97-AF65-F5344CB8AC3E}">
        <p14:creationId xmlns:p14="http://schemas.microsoft.com/office/powerpoint/2010/main" val="572019046"/>
      </p:ext>
    </p:extLst>
  </p:cSld>
  <p:clrMapOvr>
    <a:masterClrMapping/>
  </p:clrMapOvr>
  <mc:AlternateContent xmlns:mc="http://schemas.openxmlformats.org/markup-compatibility/2006">
    <mc:Choice xmlns:p14="http://schemas.microsoft.com/office/powerpoint/2010/main" Requires="p14">
      <p:transition spd="slow" p14:dur="1250">
        <p:blinds dir="vert"/>
      </p:transition>
    </mc:Choice>
    <mc:Fallback>
      <p:transition spd="slow">
        <p:blinds dir="vert"/>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27" name="组合 226">
            <a:extLst>
              <a:ext uri="{FF2B5EF4-FFF2-40B4-BE49-F238E27FC236}">
                <a16:creationId xmlns:a16="http://schemas.microsoft.com/office/drawing/2014/main" id="{391D7FF3-BF78-40AF-AE34-30F1D4A32374}"/>
              </a:ext>
            </a:extLst>
          </p:cNvPr>
          <p:cNvGrpSpPr/>
          <p:nvPr/>
        </p:nvGrpSpPr>
        <p:grpSpPr>
          <a:xfrm>
            <a:off x="166589" y="1515421"/>
            <a:ext cx="3572575" cy="3754603"/>
            <a:chOff x="3697288" y="1028701"/>
            <a:chExt cx="4797425" cy="4800600"/>
          </a:xfrm>
        </p:grpSpPr>
        <p:sp>
          <p:nvSpPr>
            <p:cNvPr id="228" name="Oval 47">
              <a:extLst>
                <a:ext uri="{FF2B5EF4-FFF2-40B4-BE49-F238E27FC236}">
                  <a16:creationId xmlns:a16="http://schemas.microsoft.com/office/drawing/2014/main" id="{E31E0EE6-C8FA-440D-BAF0-44642EA5EB08}"/>
                </a:ext>
              </a:extLst>
            </p:cNvPr>
            <p:cNvSpPr>
              <a:spLocks noChangeArrowheads="1"/>
            </p:cNvSpPr>
            <p:nvPr/>
          </p:nvSpPr>
          <p:spPr bwMode="auto">
            <a:xfrm>
              <a:off x="3697288" y="1028701"/>
              <a:ext cx="4797425" cy="4800600"/>
            </a:xfrm>
            <a:prstGeom prst="ellipse">
              <a:avLst/>
            </a:prstGeom>
            <a:solidFill>
              <a:srgbClr val="CAD5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29" name="Freeform 48">
              <a:extLst>
                <a:ext uri="{FF2B5EF4-FFF2-40B4-BE49-F238E27FC236}">
                  <a16:creationId xmlns:a16="http://schemas.microsoft.com/office/drawing/2014/main" id="{AE569536-AC0C-45B1-86D3-4AB80B598E81}"/>
                </a:ext>
              </a:extLst>
            </p:cNvPr>
            <p:cNvSpPr>
              <a:spLocks/>
            </p:cNvSpPr>
            <p:nvPr/>
          </p:nvSpPr>
          <p:spPr bwMode="auto">
            <a:xfrm>
              <a:off x="4268788" y="4491038"/>
              <a:ext cx="3784600" cy="415925"/>
            </a:xfrm>
            <a:custGeom>
              <a:avLst/>
              <a:gdLst>
                <a:gd name="T0" fmla="*/ 777 w 840"/>
                <a:gd name="T1" fmla="*/ 92 h 92"/>
                <a:gd name="T2" fmla="*/ 62 w 840"/>
                <a:gd name="T3" fmla="*/ 92 h 92"/>
                <a:gd name="T4" fmla="*/ 3 w 840"/>
                <a:gd name="T5" fmla="*/ 0 h 92"/>
                <a:gd name="T6" fmla="*/ 836 w 840"/>
                <a:gd name="T7" fmla="*/ 0 h 92"/>
                <a:gd name="T8" fmla="*/ 777 w 840"/>
                <a:gd name="T9" fmla="*/ 92 h 92"/>
              </a:gdLst>
              <a:ahLst/>
              <a:cxnLst>
                <a:cxn ang="0">
                  <a:pos x="T0" y="T1"/>
                </a:cxn>
                <a:cxn ang="0">
                  <a:pos x="T2" y="T3"/>
                </a:cxn>
                <a:cxn ang="0">
                  <a:pos x="T4" y="T5"/>
                </a:cxn>
                <a:cxn ang="0">
                  <a:pos x="T6" y="T7"/>
                </a:cxn>
                <a:cxn ang="0">
                  <a:pos x="T8" y="T9"/>
                </a:cxn>
              </a:cxnLst>
              <a:rect l="0" t="0" r="r" b="b"/>
              <a:pathLst>
                <a:path w="840" h="92">
                  <a:moveTo>
                    <a:pt x="777" y="92"/>
                  </a:moveTo>
                  <a:cubicBezTo>
                    <a:pt x="62" y="92"/>
                    <a:pt x="62" y="92"/>
                    <a:pt x="62" y="92"/>
                  </a:cubicBezTo>
                  <a:cubicBezTo>
                    <a:pt x="9" y="90"/>
                    <a:pt x="0" y="45"/>
                    <a:pt x="3" y="0"/>
                  </a:cubicBezTo>
                  <a:cubicBezTo>
                    <a:pt x="836" y="0"/>
                    <a:pt x="836" y="0"/>
                    <a:pt x="836" y="0"/>
                  </a:cubicBezTo>
                  <a:cubicBezTo>
                    <a:pt x="840" y="45"/>
                    <a:pt x="830" y="90"/>
                    <a:pt x="777" y="92"/>
                  </a:cubicBezTo>
                  <a:close/>
                </a:path>
              </a:pathLst>
            </a:custGeom>
            <a:solidFill>
              <a:srgbClr val="F2F5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30" name="Freeform 49">
              <a:extLst>
                <a:ext uri="{FF2B5EF4-FFF2-40B4-BE49-F238E27FC236}">
                  <a16:creationId xmlns:a16="http://schemas.microsoft.com/office/drawing/2014/main" id="{0681FDD1-FF2F-4026-A48E-0DCFCE7E9AAE}"/>
                </a:ext>
              </a:extLst>
            </p:cNvPr>
            <p:cNvSpPr>
              <a:spLocks/>
            </p:cNvSpPr>
            <p:nvPr/>
          </p:nvSpPr>
          <p:spPr bwMode="auto">
            <a:xfrm>
              <a:off x="4265613" y="4522788"/>
              <a:ext cx="3792538" cy="384175"/>
            </a:xfrm>
            <a:custGeom>
              <a:avLst/>
              <a:gdLst>
                <a:gd name="T0" fmla="*/ 778 w 842"/>
                <a:gd name="T1" fmla="*/ 59 h 85"/>
                <a:gd name="T2" fmla="*/ 63 w 842"/>
                <a:gd name="T3" fmla="*/ 59 h 85"/>
                <a:gd name="T4" fmla="*/ 4 w 842"/>
                <a:gd name="T5" fmla="*/ 0 h 85"/>
                <a:gd name="T6" fmla="*/ 63 w 842"/>
                <a:gd name="T7" fmla="*/ 85 h 85"/>
                <a:gd name="T8" fmla="*/ 778 w 842"/>
                <a:gd name="T9" fmla="*/ 85 h 85"/>
                <a:gd name="T10" fmla="*/ 837 w 842"/>
                <a:gd name="T11" fmla="*/ 0 h 85"/>
                <a:gd name="T12" fmla="*/ 778 w 842"/>
                <a:gd name="T13" fmla="*/ 59 h 85"/>
              </a:gdLst>
              <a:ahLst/>
              <a:cxnLst>
                <a:cxn ang="0">
                  <a:pos x="T0" y="T1"/>
                </a:cxn>
                <a:cxn ang="0">
                  <a:pos x="T2" y="T3"/>
                </a:cxn>
                <a:cxn ang="0">
                  <a:pos x="T4" y="T5"/>
                </a:cxn>
                <a:cxn ang="0">
                  <a:pos x="T6" y="T7"/>
                </a:cxn>
                <a:cxn ang="0">
                  <a:pos x="T8" y="T9"/>
                </a:cxn>
                <a:cxn ang="0">
                  <a:pos x="T10" y="T11"/>
                </a:cxn>
                <a:cxn ang="0">
                  <a:pos x="T12" y="T13"/>
                </a:cxn>
              </a:cxnLst>
              <a:rect l="0" t="0" r="r" b="b"/>
              <a:pathLst>
                <a:path w="842" h="85">
                  <a:moveTo>
                    <a:pt x="778" y="59"/>
                  </a:moveTo>
                  <a:cubicBezTo>
                    <a:pt x="63" y="59"/>
                    <a:pt x="63" y="59"/>
                    <a:pt x="63" y="59"/>
                  </a:cubicBezTo>
                  <a:cubicBezTo>
                    <a:pt x="31" y="59"/>
                    <a:pt x="4" y="32"/>
                    <a:pt x="4" y="0"/>
                  </a:cubicBezTo>
                  <a:cubicBezTo>
                    <a:pt x="0" y="42"/>
                    <a:pt x="15" y="84"/>
                    <a:pt x="63" y="85"/>
                  </a:cubicBezTo>
                  <a:cubicBezTo>
                    <a:pt x="63" y="85"/>
                    <a:pt x="778" y="85"/>
                    <a:pt x="778" y="85"/>
                  </a:cubicBezTo>
                  <a:cubicBezTo>
                    <a:pt x="827" y="83"/>
                    <a:pt x="842" y="42"/>
                    <a:pt x="837" y="0"/>
                  </a:cubicBezTo>
                  <a:cubicBezTo>
                    <a:pt x="837" y="32"/>
                    <a:pt x="811" y="59"/>
                    <a:pt x="778" y="59"/>
                  </a:cubicBezTo>
                  <a:close/>
                </a:path>
              </a:pathLst>
            </a:custGeom>
            <a:solidFill>
              <a:srgbClr val="A8BCD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31" name="Freeform 50">
              <a:extLst>
                <a:ext uri="{FF2B5EF4-FFF2-40B4-BE49-F238E27FC236}">
                  <a16:creationId xmlns:a16="http://schemas.microsoft.com/office/drawing/2014/main" id="{1DF10645-A28F-47C9-ADCE-D9FEE7A7CB05}"/>
                </a:ext>
              </a:extLst>
            </p:cNvPr>
            <p:cNvSpPr>
              <a:spLocks noEditPoints="1"/>
            </p:cNvSpPr>
            <p:nvPr/>
          </p:nvSpPr>
          <p:spPr bwMode="auto">
            <a:xfrm>
              <a:off x="4265613" y="4464051"/>
              <a:ext cx="3810000" cy="460375"/>
            </a:xfrm>
            <a:custGeom>
              <a:avLst/>
              <a:gdLst>
                <a:gd name="T0" fmla="*/ 778 w 846"/>
                <a:gd name="T1" fmla="*/ 102 h 102"/>
                <a:gd name="T2" fmla="*/ 63 w 846"/>
                <a:gd name="T3" fmla="*/ 102 h 102"/>
                <a:gd name="T4" fmla="*/ 0 w 846"/>
                <a:gd name="T5" fmla="*/ 39 h 102"/>
                <a:gd name="T6" fmla="*/ 0 w 846"/>
                <a:gd name="T7" fmla="*/ 6 h 102"/>
                <a:gd name="T8" fmla="*/ 10 w 846"/>
                <a:gd name="T9" fmla="*/ 0 h 102"/>
                <a:gd name="T10" fmla="*/ 837 w 846"/>
                <a:gd name="T11" fmla="*/ 2 h 102"/>
                <a:gd name="T12" fmla="*/ 842 w 846"/>
                <a:gd name="T13" fmla="*/ 6 h 102"/>
                <a:gd name="T14" fmla="*/ 778 w 846"/>
                <a:gd name="T15" fmla="*/ 102 h 102"/>
                <a:gd name="T16" fmla="*/ 9 w 846"/>
                <a:gd name="T17" fmla="*/ 11 h 102"/>
                <a:gd name="T18" fmla="*/ 63 w 846"/>
                <a:gd name="T19" fmla="*/ 93 h 102"/>
                <a:gd name="T20" fmla="*/ 778 w 846"/>
                <a:gd name="T21" fmla="*/ 93 h 102"/>
                <a:gd name="T22" fmla="*/ 833 w 846"/>
                <a:gd name="T23" fmla="*/ 11 h 102"/>
                <a:gd name="T24" fmla="*/ 9 w 846"/>
                <a:gd name="T25" fmla="*/ 11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6" h="102">
                  <a:moveTo>
                    <a:pt x="778" y="102"/>
                  </a:moveTo>
                  <a:cubicBezTo>
                    <a:pt x="63" y="102"/>
                    <a:pt x="63" y="102"/>
                    <a:pt x="63" y="102"/>
                  </a:cubicBezTo>
                  <a:cubicBezTo>
                    <a:pt x="28" y="102"/>
                    <a:pt x="0" y="74"/>
                    <a:pt x="0" y="39"/>
                  </a:cubicBezTo>
                  <a:cubicBezTo>
                    <a:pt x="0" y="6"/>
                    <a:pt x="0" y="6"/>
                    <a:pt x="0" y="6"/>
                  </a:cubicBezTo>
                  <a:cubicBezTo>
                    <a:pt x="0" y="3"/>
                    <a:pt x="1" y="0"/>
                    <a:pt x="10" y="0"/>
                  </a:cubicBezTo>
                  <a:cubicBezTo>
                    <a:pt x="118" y="1"/>
                    <a:pt x="833" y="6"/>
                    <a:pt x="837" y="2"/>
                  </a:cubicBezTo>
                  <a:cubicBezTo>
                    <a:pt x="840" y="2"/>
                    <a:pt x="842" y="4"/>
                    <a:pt x="842" y="6"/>
                  </a:cubicBezTo>
                  <a:cubicBezTo>
                    <a:pt x="846" y="53"/>
                    <a:pt x="834" y="100"/>
                    <a:pt x="778" y="102"/>
                  </a:cubicBezTo>
                  <a:close/>
                  <a:moveTo>
                    <a:pt x="9" y="11"/>
                  </a:moveTo>
                  <a:cubicBezTo>
                    <a:pt x="5" y="51"/>
                    <a:pt x="16" y="92"/>
                    <a:pt x="63" y="93"/>
                  </a:cubicBezTo>
                  <a:cubicBezTo>
                    <a:pt x="63" y="93"/>
                    <a:pt x="778" y="93"/>
                    <a:pt x="778" y="93"/>
                  </a:cubicBezTo>
                  <a:cubicBezTo>
                    <a:pt x="826" y="91"/>
                    <a:pt x="837" y="51"/>
                    <a:pt x="833" y="11"/>
                  </a:cubicBezTo>
                  <a:lnTo>
                    <a:pt x="9" y="11"/>
                  </a:lnTo>
                  <a:close/>
                </a:path>
              </a:pathLst>
            </a:custGeom>
            <a:solidFill>
              <a:srgbClr val="0C11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32" name="Freeform 51">
              <a:extLst>
                <a:ext uri="{FF2B5EF4-FFF2-40B4-BE49-F238E27FC236}">
                  <a16:creationId xmlns:a16="http://schemas.microsoft.com/office/drawing/2014/main" id="{F9FE0D48-CA53-492D-8226-FDD100C7E8B2}"/>
                </a:ext>
              </a:extLst>
            </p:cNvPr>
            <p:cNvSpPr>
              <a:spLocks/>
            </p:cNvSpPr>
            <p:nvPr/>
          </p:nvSpPr>
          <p:spPr bwMode="auto">
            <a:xfrm>
              <a:off x="4067176" y="1438276"/>
              <a:ext cx="4189413" cy="3792538"/>
            </a:xfrm>
            <a:custGeom>
              <a:avLst/>
              <a:gdLst>
                <a:gd name="T0" fmla="*/ 758 w 930"/>
                <a:gd name="T1" fmla="*/ 679 h 842"/>
                <a:gd name="T2" fmla="*/ 101 w 930"/>
                <a:gd name="T3" fmla="*/ 234 h 842"/>
                <a:gd name="T4" fmla="*/ 172 w 930"/>
                <a:gd name="T5" fmla="*/ 163 h 842"/>
                <a:gd name="T6" fmla="*/ 829 w 930"/>
                <a:gd name="T7" fmla="*/ 608 h 842"/>
                <a:gd name="T8" fmla="*/ 758 w 930"/>
                <a:gd name="T9" fmla="*/ 679 h 842"/>
              </a:gdLst>
              <a:ahLst/>
              <a:cxnLst>
                <a:cxn ang="0">
                  <a:pos x="T0" y="T1"/>
                </a:cxn>
                <a:cxn ang="0">
                  <a:pos x="T2" y="T3"/>
                </a:cxn>
                <a:cxn ang="0">
                  <a:pos x="T4" y="T5"/>
                </a:cxn>
                <a:cxn ang="0">
                  <a:pos x="T6" y="T7"/>
                </a:cxn>
                <a:cxn ang="0">
                  <a:pos x="T8" y="T9"/>
                </a:cxn>
              </a:cxnLst>
              <a:rect l="0" t="0" r="r" b="b"/>
              <a:pathLst>
                <a:path w="930" h="842">
                  <a:moveTo>
                    <a:pt x="758" y="679"/>
                  </a:moveTo>
                  <a:cubicBezTo>
                    <a:pt x="0" y="647"/>
                    <a:pt x="106" y="842"/>
                    <a:pt x="101" y="234"/>
                  </a:cubicBezTo>
                  <a:cubicBezTo>
                    <a:pt x="101" y="195"/>
                    <a:pt x="133" y="163"/>
                    <a:pt x="172" y="163"/>
                  </a:cubicBezTo>
                  <a:cubicBezTo>
                    <a:pt x="930" y="195"/>
                    <a:pt x="824" y="0"/>
                    <a:pt x="829" y="608"/>
                  </a:cubicBezTo>
                  <a:cubicBezTo>
                    <a:pt x="829" y="647"/>
                    <a:pt x="797" y="679"/>
                    <a:pt x="758" y="679"/>
                  </a:cubicBezTo>
                  <a:close/>
                </a:path>
              </a:pathLst>
            </a:custGeom>
            <a:solidFill>
              <a:srgbClr val="F2F5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33" name="Freeform 52">
              <a:extLst>
                <a:ext uri="{FF2B5EF4-FFF2-40B4-BE49-F238E27FC236}">
                  <a16:creationId xmlns:a16="http://schemas.microsoft.com/office/drawing/2014/main" id="{89EABF8F-175E-4DD8-B9CB-928939C42F64}"/>
                </a:ext>
              </a:extLst>
            </p:cNvPr>
            <p:cNvSpPr>
              <a:spLocks/>
            </p:cNvSpPr>
            <p:nvPr/>
          </p:nvSpPr>
          <p:spPr bwMode="auto">
            <a:xfrm>
              <a:off x="4606926" y="2262188"/>
              <a:ext cx="3194050" cy="2233613"/>
            </a:xfrm>
            <a:custGeom>
              <a:avLst/>
              <a:gdLst>
                <a:gd name="T0" fmla="*/ 687 w 709"/>
                <a:gd name="T1" fmla="*/ 0 h 496"/>
                <a:gd name="T2" fmla="*/ 690 w 709"/>
                <a:gd name="T3" fmla="*/ 20 h 496"/>
                <a:gd name="T4" fmla="*/ 690 w 709"/>
                <a:gd name="T5" fmla="*/ 419 h 496"/>
                <a:gd name="T6" fmla="*/ 632 w 709"/>
                <a:gd name="T7" fmla="*/ 477 h 496"/>
                <a:gd name="T8" fmla="*/ 21 w 709"/>
                <a:gd name="T9" fmla="*/ 477 h 496"/>
                <a:gd name="T10" fmla="*/ 0 w 709"/>
                <a:gd name="T11" fmla="*/ 474 h 496"/>
                <a:gd name="T12" fmla="*/ 52 w 709"/>
                <a:gd name="T13" fmla="*/ 496 h 496"/>
                <a:gd name="T14" fmla="*/ 638 w 709"/>
                <a:gd name="T15" fmla="*/ 496 h 496"/>
                <a:gd name="T16" fmla="*/ 709 w 709"/>
                <a:gd name="T17" fmla="*/ 425 h 496"/>
                <a:gd name="T18" fmla="*/ 709 w 709"/>
                <a:gd name="T19" fmla="*/ 51 h 496"/>
                <a:gd name="T20" fmla="*/ 687 w 709"/>
                <a:gd name="T21" fmla="*/ 0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09" h="496">
                  <a:moveTo>
                    <a:pt x="687" y="0"/>
                  </a:moveTo>
                  <a:cubicBezTo>
                    <a:pt x="689" y="6"/>
                    <a:pt x="690" y="13"/>
                    <a:pt x="690" y="20"/>
                  </a:cubicBezTo>
                  <a:cubicBezTo>
                    <a:pt x="690" y="419"/>
                    <a:pt x="690" y="419"/>
                    <a:pt x="690" y="419"/>
                  </a:cubicBezTo>
                  <a:cubicBezTo>
                    <a:pt x="690" y="451"/>
                    <a:pt x="664" y="477"/>
                    <a:pt x="632" y="477"/>
                  </a:cubicBezTo>
                  <a:cubicBezTo>
                    <a:pt x="21" y="477"/>
                    <a:pt x="21" y="477"/>
                    <a:pt x="21" y="477"/>
                  </a:cubicBezTo>
                  <a:cubicBezTo>
                    <a:pt x="14" y="477"/>
                    <a:pt x="7" y="476"/>
                    <a:pt x="0" y="474"/>
                  </a:cubicBezTo>
                  <a:cubicBezTo>
                    <a:pt x="13" y="487"/>
                    <a:pt x="32" y="496"/>
                    <a:pt x="52" y="496"/>
                  </a:cubicBezTo>
                  <a:cubicBezTo>
                    <a:pt x="638" y="496"/>
                    <a:pt x="638" y="496"/>
                    <a:pt x="638" y="496"/>
                  </a:cubicBezTo>
                  <a:cubicBezTo>
                    <a:pt x="677" y="496"/>
                    <a:pt x="709" y="464"/>
                    <a:pt x="709" y="425"/>
                  </a:cubicBezTo>
                  <a:cubicBezTo>
                    <a:pt x="709" y="51"/>
                    <a:pt x="709" y="51"/>
                    <a:pt x="709" y="51"/>
                  </a:cubicBezTo>
                  <a:cubicBezTo>
                    <a:pt x="709" y="31"/>
                    <a:pt x="700" y="13"/>
                    <a:pt x="687" y="0"/>
                  </a:cubicBezTo>
                  <a:close/>
                </a:path>
              </a:pathLst>
            </a:custGeom>
            <a:solidFill>
              <a:srgbClr val="A8BCD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34" name="Freeform 53">
              <a:extLst>
                <a:ext uri="{FF2B5EF4-FFF2-40B4-BE49-F238E27FC236}">
                  <a16:creationId xmlns:a16="http://schemas.microsoft.com/office/drawing/2014/main" id="{6048F459-3ACA-4605-9A7D-ACCCEFA07118}"/>
                </a:ext>
              </a:extLst>
            </p:cNvPr>
            <p:cNvSpPr>
              <a:spLocks noEditPoints="1"/>
            </p:cNvSpPr>
            <p:nvPr/>
          </p:nvSpPr>
          <p:spPr bwMode="auto">
            <a:xfrm>
              <a:off x="4052888" y="1411288"/>
              <a:ext cx="4216400" cy="3846513"/>
            </a:xfrm>
            <a:custGeom>
              <a:avLst/>
              <a:gdLst>
                <a:gd name="T0" fmla="*/ 761 w 936"/>
                <a:gd name="T1" fmla="*/ 689 h 854"/>
                <a:gd name="T2" fmla="*/ 99 w 936"/>
                <a:gd name="T3" fmla="*/ 240 h 854"/>
                <a:gd name="T4" fmla="*/ 175 w 936"/>
                <a:gd name="T5" fmla="*/ 165 h 854"/>
                <a:gd name="T6" fmla="*/ 836 w 936"/>
                <a:gd name="T7" fmla="*/ 614 h 854"/>
                <a:gd name="T8" fmla="*/ 761 w 936"/>
                <a:gd name="T9" fmla="*/ 689 h 854"/>
                <a:gd name="T10" fmla="*/ 175 w 936"/>
                <a:gd name="T11" fmla="*/ 174 h 854"/>
                <a:gd name="T12" fmla="*/ 108 w 936"/>
                <a:gd name="T13" fmla="*/ 240 h 854"/>
                <a:gd name="T14" fmla="*/ 761 w 936"/>
                <a:gd name="T15" fmla="*/ 680 h 854"/>
                <a:gd name="T16" fmla="*/ 827 w 936"/>
                <a:gd name="T17" fmla="*/ 614 h 854"/>
                <a:gd name="T18" fmla="*/ 175 w 936"/>
                <a:gd name="T19" fmla="*/ 174 h 8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6" h="854">
                  <a:moveTo>
                    <a:pt x="761" y="689"/>
                  </a:moveTo>
                  <a:cubicBezTo>
                    <a:pt x="7" y="657"/>
                    <a:pt x="102" y="854"/>
                    <a:pt x="99" y="240"/>
                  </a:cubicBezTo>
                  <a:cubicBezTo>
                    <a:pt x="99" y="198"/>
                    <a:pt x="133" y="165"/>
                    <a:pt x="175" y="165"/>
                  </a:cubicBezTo>
                  <a:cubicBezTo>
                    <a:pt x="929" y="197"/>
                    <a:pt x="834" y="0"/>
                    <a:pt x="836" y="614"/>
                  </a:cubicBezTo>
                  <a:cubicBezTo>
                    <a:pt x="836" y="655"/>
                    <a:pt x="802" y="689"/>
                    <a:pt x="761" y="689"/>
                  </a:cubicBezTo>
                  <a:close/>
                  <a:moveTo>
                    <a:pt x="175" y="174"/>
                  </a:moveTo>
                  <a:cubicBezTo>
                    <a:pt x="138" y="174"/>
                    <a:pt x="108" y="203"/>
                    <a:pt x="108" y="240"/>
                  </a:cubicBezTo>
                  <a:cubicBezTo>
                    <a:pt x="115" y="841"/>
                    <a:pt x="0" y="649"/>
                    <a:pt x="761" y="680"/>
                  </a:cubicBezTo>
                  <a:cubicBezTo>
                    <a:pt x="797" y="680"/>
                    <a:pt x="827" y="650"/>
                    <a:pt x="827" y="614"/>
                  </a:cubicBezTo>
                  <a:cubicBezTo>
                    <a:pt x="820" y="13"/>
                    <a:pt x="936" y="205"/>
                    <a:pt x="175" y="174"/>
                  </a:cubicBezTo>
                  <a:close/>
                </a:path>
              </a:pathLst>
            </a:custGeom>
            <a:solidFill>
              <a:srgbClr val="0C11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35" name="Freeform 54">
              <a:extLst>
                <a:ext uri="{FF2B5EF4-FFF2-40B4-BE49-F238E27FC236}">
                  <a16:creationId xmlns:a16="http://schemas.microsoft.com/office/drawing/2014/main" id="{2444739F-0F15-4AA9-8B18-4BDCAE207434}"/>
                </a:ext>
              </a:extLst>
            </p:cNvPr>
            <p:cNvSpPr>
              <a:spLocks/>
            </p:cNvSpPr>
            <p:nvPr/>
          </p:nvSpPr>
          <p:spPr bwMode="auto">
            <a:xfrm>
              <a:off x="4710113" y="2362201"/>
              <a:ext cx="2909888" cy="1927225"/>
            </a:xfrm>
            <a:custGeom>
              <a:avLst/>
              <a:gdLst>
                <a:gd name="T0" fmla="*/ 614 w 646"/>
                <a:gd name="T1" fmla="*/ 428 h 428"/>
                <a:gd name="T2" fmla="*/ 32 w 646"/>
                <a:gd name="T3" fmla="*/ 428 h 428"/>
                <a:gd name="T4" fmla="*/ 0 w 646"/>
                <a:gd name="T5" fmla="*/ 396 h 428"/>
                <a:gd name="T6" fmla="*/ 0 w 646"/>
                <a:gd name="T7" fmla="*/ 32 h 428"/>
                <a:gd name="T8" fmla="*/ 32 w 646"/>
                <a:gd name="T9" fmla="*/ 0 h 428"/>
                <a:gd name="T10" fmla="*/ 614 w 646"/>
                <a:gd name="T11" fmla="*/ 0 h 428"/>
                <a:gd name="T12" fmla="*/ 646 w 646"/>
                <a:gd name="T13" fmla="*/ 32 h 428"/>
                <a:gd name="T14" fmla="*/ 646 w 646"/>
                <a:gd name="T15" fmla="*/ 396 h 428"/>
                <a:gd name="T16" fmla="*/ 614 w 646"/>
                <a:gd name="T17" fmla="*/ 428 h 4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6" h="428">
                  <a:moveTo>
                    <a:pt x="614" y="428"/>
                  </a:moveTo>
                  <a:cubicBezTo>
                    <a:pt x="32" y="428"/>
                    <a:pt x="32" y="428"/>
                    <a:pt x="32" y="428"/>
                  </a:cubicBezTo>
                  <a:cubicBezTo>
                    <a:pt x="15" y="428"/>
                    <a:pt x="0" y="414"/>
                    <a:pt x="0" y="396"/>
                  </a:cubicBezTo>
                  <a:cubicBezTo>
                    <a:pt x="0" y="32"/>
                    <a:pt x="0" y="32"/>
                    <a:pt x="0" y="32"/>
                  </a:cubicBezTo>
                  <a:cubicBezTo>
                    <a:pt x="0" y="14"/>
                    <a:pt x="15" y="0"/>
                    <a:pt x="32" y="0"/>
                  </a:cubicBezTo>
                  <a:cubicBezTo>
                    <a:pt x="614" y="0"/>
                    <a:pt x="614" y="0"/>
                    <a:pt x="614" y="0"/>
                  </a:cubicBezTo>
                  <a:cubicBezTo>
                    <a:pt x="631" y="0"/>
                    <a:pt x="646" y="14"/>
                    <a:pt x="646" y="32"/>
                  </a:cubicBezTo>
                  <a:cubicBezTo>
                    <a:pt x="646" y="396"/>
                    <a:pt x="646" y="396"/>
                    <a:pt x="646" y="396"/>
                  </a:cubicBezTo>
                  <a:cubicBezTo>
                    <a:pt x="646" y="414"/>
                    <a:pt x="631" y="428"/>
                    <a:pt x="614" y="428"/>
                  </a:cubicBezTo>
                  <a:close/>
                </a:path>
              </a:pathLst>
            </a:custGeom>
            <a:solidFill>
              <a:srgbClr val="BAD9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36" name="Freeform 55">
              <a:extLst>
                <a:ext uri="{FF2B5EF4-FFF2-40B4-BE49-F238E27FC236}">
                  <a16:creationId xmlns:a16="http://schemas.microsoft.com/office/drawing/2014/main" id="{F847A918-2D9D-4052-83D6-80A4EEC9ABB3}"/>
                </a:ext>
              </a:extLst>
            </p:cNvPr>
            <p:cNvSpPr>
              <a:spLocks/>
            </p:cNvSpPr>
            <p:nvPr/>
          </p:nvSpPr>
          <p:spPr bwMode="auto">
            <a:xfrm>
              <a:off x="4710113" y="2362201"/>
              <a:ext cx="2901950" cy="1922463"/>
            </a:xfrm>
            <a:custGeom>
              <a:avLst/>
              <a:gdLst>
                <a:gd name="T0" fmla="*/ 26 w 644"/>
                <a:gd name="T1" fmla="*/ 42 h 427"/>
                <a:gd name="T2" fmla="*/ 44 w 644"/>
                <a:gd name="T3" fmla="*/ 23 h 427"/>
                <a:gd name="T4" fmla="*/ 644 w 644"/>
                <a:gd name="T5" fmla="*/ 23 h 427"/>
                <a:gd name="T6" fmla="*/ 614 w 644"/>
                <a:gd name="T7" fmla="*/ 0 h 427"/>
                <a:gd name="T8" fmla="*/ 32 w 644"/>
                <a:gd name="T9" fmla="*/ 0 h 427"/>
                <a:gd name="T10" fmla="*/ 0 w 644"/>
                <a:gd name="T11" fmla="*/ 32 h 427"/>
                <a:gd name="T12" fmla="*/ 0 w 644"/>
                <a:gd name="T13" fmla="*/ 396 h 427"/>
                <a:gd name="T14" fmla="*/ 26 w 644"/>
                <a:gd name="T15" fmla="*/ 427 h 427"/>
                <a:gd name="T16" fmla="*/ 26 w 644"/>
                <a:gd name="T17" fmla="*/ 42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4" h="427">
                  <a:moveTo>
                    <a:pt x="26" y="42"/>
                  </a:moveTo>
                  <a:cubicBezTo>
                    <a:pt x="26" y="31"/>
                    <a:pt x="34" y="23"/>
                    <a:pt x="44" y="23"/>
                  </a:cubicBezTo>
                  <a:cubicBezTo>
                    <a:pt x="644" y="23"/>
                    <a:pt x="644" y="23"/>
                    <a:pt x="644" y="23"/>
                  </a:cubicBezTo>
                  <a:cubicBezTo>
                    <a:pt x="640" y="10"/>
                    <a:pt x="628" y="0"/>
                    <a:pt x="614" y="0"/>
                  </a:cubicBezTo>
                  <a:cubicBezTo>
                    <a:pt x="32" y="0"/>
                    <a:pt x="32" y="0"/>
                    <a:pt x="32" y="0"/>
                  </a:cubicBezTo>
                  <a:cubicBezTo>
                    <a:pt x="15" y="0"/>
                    <a:pt x="0" y="14"/>
                    <a:pt x="0" y="32"/>
                  </a:cubicBezTo>
                  <a:cubicBezTo>
                    <a:pt x="0" y="396"/>
                    <a:pt x="0" y="396"/>
                    <a:pt x="0" y="396"/>
                  </a:cubicBezTo>
                  <a:cubicBezTo>
                    <a:pt x="0" y="411"/>
                    <a:pt x="11" y="424"/>
                    <a:pt x="26" y="427"/>
                  </a:cubicBezTo>
                  <a:lnTo>
                    <a:pt x="26" y="42"/>
                  </a:lnTo>
                  <a:close/>
                </a:path>
              </a:pathLst>
            </a:custGeom>
            <a:solidFill>
              <a:srgbClr val="75B3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37" name="Freeform 56">
              <a:extLst>
                <a:ext uri="{FF2B5EF4-FFF2-40B4-BE49-F238E27FC236}">
                  <a16:creationId xmlns:a16="http://schemas.microsoft.com/office/drawing/2014/main" id="{28230658-C507-43D4-B28F-8EBE98492FC4}"/>
                </a:ext>
              </a:extLst>
            </p:cNvPr>
            <p:cNvSpPr>
              <a:spLocks noEditPoints="1"/>
            </p:cNvSpPr>
            <p:nvPr/>
          </p:nvSpPr>
          <p:spPr bwMode="auto">
            <a:xfrm>
              <a:off x="4692651" y="2343151"/>
              <a:ext cx="2946400" cy="1963738"/>
            </a:xfrm>
            <a:custGeom>
              <a:avLst/>
              <a:gdLst>
                <a:gd name="T0" fmla="*/ 618 w 654"/>
                <a:gd name="T1" fmla="*/ 436 h 436"/>
                <a:gd name="T2" fmla="*/ 36 w 654"/>
                <a:gd name="T3" fmla="*/ 436 h 436"/>
                <a:gd name="T4" fmla="*/ 0 w 654"/>
                <a:gd name="T5" fmla="*/ 400 h 436"/>
                <a:gd name="T6" fmla="*/ 0 w 654"/>
                <a:gd name="T7" fmla="*/ 36 h 436"/>
                <a:gd name="T8" fmla="*/ 36 w 654"/>
                <a:gd name="T9" fmla="*/ 0 h 436"/>
                <a:gd name="T10" fmla="*/ 618 w 654"/>
                <a:gd name="T11" fmla="*/ 0 h 436"/>
                <a:gd name="T12" fmla="*/ 654 w 654"/>
                <a:gd name="T13" fmla="*/ 36 h 436"/>
                <a:gd name="T14" fmla="*/ 654 w 654"/>
                <a:gd name="T15" fmla="*/ 400 h 436"/>
                <a:gd name="T16" fmla="*/ 618 w 654"/>
                <a:gd name="T17" fmla="*/ 436 h 436"/>
                <a:gd name="T18" fmla="*/ 36 w 654"/>
                <a:gd name="T19" fmla="*/ 9 h 436"/>
                <a:gd name="T20" fmla="*/ 9 w 654"/>
                <a:gd name="T21" fmla="*/ 36 h 436"/>
                <a:gd name="T22" fmla="*/ 9 w 654"/>
                <a:gd name="T23" fmla="*/ 400 h 436"/>
                <a:gd name="T24" fmla="*/ 36 w 654"/>
                <a:gd name="T25" fmla="*/ 427 h 436"/>
                <a:gd name="T26" fmla="*/ 618 w 654"/>
                <a:gd name="T27" fmla="*/ 427 h 436"/>
                <a:gd name="T28" fmla="*/ 645 w 654"/>
                <a:gd name="T29" fmla="*/ 400 h 436"/>
                <a:gd name="T30" fmla="*/ 645 w 654"/>
                <a:gd name="T31" fmla="*/ 36 h 436"/>
                <a:gd name="T32" fmla="*/ 618 w 654"/>
                <a:gd name="T33" fmla="*/ 9 h 436"/>
                <a:gd name="T34" fmla="*/ 36 w 654"/>
                <a:gd name="T35" fmla="*/ 9 h 4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54" h="436">
                  <a:moveTo>
                    <a:pt x="618" y="436"/>
                  </a:moveTo>
                  <a:cubicBezTo>
                    <a:pt x="36" y="436"/>
                    <a:pt x="36" y="436"/>
                    <a:pt x="36" y="436"/>
                  </a:cubicBezTo>
                  <a:cubicBezTo>
                    <a:pt x="16" y="436"/>
                    <a:pt x="0" y="420"/>
                    <a:pt x="0" y="400"/>
                  </a:cubicBezTo>
                  <a:cubicBezTo>
                    <a:pt x="0" y="36"/>
                    <a:pt x="0" y="36"/>
                    <a:pt x="0" y="36"/>
                  </a:cubicBezTo>
                  <a:cubicBezTo>
                    <a:pt x="0" y="16"/>
                    <a:pt x="16" y="0"/>
                    <a:pt x="36" y="0"/>
                  </a:cubicBezTo>
                  <a:cubicBezTo>
                    <a:pt x="618" y="0"/>
                    <a:pt x="618" y="0"/>
                    <a:pt x="618" y="0"/>
                  </a:cubicBezTo>
                  <a:cubicBezTo>
                    <a:pt x="638" y="0"/>
                    <a:pt x="654" y="16"/>
                    <a:pt x="654" y="36"/>
                  </a:cubicBezTo>
                  <a:cubicBezTo>
                    <a:pt x="654" y="400"/>
                    <a:pt x="654" y="400"/>
                    <a:pt x="654" y="400"/>
                  </a:cubicBezTo>
                  <a:cubicBezTo>
                    <a:pt x="654" y="420"/>
                    <a:pt x="638" y="436"/>
                    <a:pt x="618" y="436"/>
                  </a:cubicBezTo>
                  <a:close/>
                  <a:moveTo>
                    <a:pt x="36" y="9"/>
                  </a:moveTo>
                  <a:cubicBezTo>
                    <a:pt x="21" y="9"/>
                    <a:pt x="9" y="21"/>
                    <a:pt x="9" y="36"/>
                  </a:cubicBezTo>
                  <a:cubicBezTo>
                    <a:pt x="9" y="400"/>
                    <a:pt x="9" y="400"/>
                    <a:pt x="9" y="400"/>
                  </a:cubicBezTo>
                  <a:cubicBezTo>
                    <a:pt x="9" y="415"/>
                    <a:pt x="21" y="427"/>
                    <a:pt x="36" y="427"/>
                  </a:cubicBezTo>
                  <a:cubicBezTo>
                    <a:pt x="618" y="427"/>
                    <a:pt x="618" y="427"/>
                    <a:pt x="618" y="427"/>
                  </a:cubicBezTo>
                  <a:cubicBezTo>
                    <a:pt x="633" y="427"/>
                    <a:pt x="645" y="415"/>
                    <a:pt x="645" y="400"/>
                  </a:cubicBezTo>
                  <a:cubicBezTo>
                    <a:pt x="645" y="36"/>
                    <a:pt x="645" y="36"/>
                    <a:pt x="645" y="36"/>
                  </a:cubicBezTo>
                  <a:cubicBezTo>
                    <a:pt x="645" y="21"/>
                    <a:pt x="633" y="9"/>
                    <a:pt x="618" y="9"/>
                  </a:cubicBezTo>
                  <a:lnTo>
                    <a:pt x="36" y="9"/>
                  </a:lnTo>
                  <a:close/>
                </a:path>
              </a:pathLst>
            </a:custGeom>
            <a:solidFill>
              <a:srgbClr val="0C11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38" name="Freeform 57">
              <a:extLst>
                <a:ext uri="{FF2B5EF4-FFF2-40B4-BE49-F238E27FC236}">
                  <a16:creationId xmlns:a16="http://schemas.microsoft.com/office/drawing/2014/main" id="{4CFA9E32-1E28-410D-8017-9B472F2493DE}"/>
                </a:ext>
              </a:extLst>
            </p:cNvPr>
            <p:cNvSpPr>
              <a:spLocks/>
            </p:cNvSpPr>
            <p:nvPr/>
          </p:nvSpPr>
          <p:spPr bwMode="auto">
            <a:xfrm>
              <a:off x="5494338" y="4491038"/>
              <a:ext cx="1333500" cy="149225"/>
            </a:xfrm>
            <a:custGeom>
              <a:avLst/>
              <a:gdLst>
                <a:gd name="T0" fmla="*/ 274 w 296"/>
                <a:gd name="T1" fmla="*/ 33 h 33"/>
                <a:gd name="T2" fmla="*/ 22 w 296"/>
                <a:gd name="T3" fmla="*/ 33 h 33"/>
                <a:gd name="T4" fmla="*/ 1 w 296"/>
                <a:gd name="T5" fmla="*/ 0 h 33"/>
                <a:gd name="T6" fmla="*/ 295 w 296"/>
                <a:gd name="T7" fmla="*/ 0 h 33"/>
                <a:gd name="T8" fmla="*/ 274 w 296"/>
                <a:gd name="T9" fmla="*/ 33 h 33"/>
              </a:gdLst>
              <a:ahLst/>
              <a:cxnLst>
                <a:cxn ang="0">
                  <a:pos x="T0" y="T1"/>
                </a:cxn>
                <a:cxn ang="0">
                  <a:pos x="T2" y="T3"/>
                </a:cxn>
                <a:cxn ang="0">
                  <a:pos x="T4" y="T5"/>
                </a:cxn>
                <a:cxn ang="0">
                  <a:pos x="T6" y="T7"/>
                </a:cxn>
                <a:cxn ang="0">
                  <a:pos x="T8" y="T9"/>
                </a:cxn>
              </a:cxnLst>
              <a:rect l="0" t="0" r="r" b="b"/>
              <a:pathLst>
                <a:path w="296" h="33">
                  <a:moveTo>
                    <a:pt x="274" y="33"/>
                  </a:moveTo>
                  <a:cubicBezTo>
                    <a:pt x="22" y="33"/>
                    <a:pt x="22" y="33"/>
                    <a:pt x="22" y="33"/>
                  </a:cubicBezTo>
                  <a:cubicBezTo>
                    <a:pt x="3" y="32"/>
                    <a:pt x="0" y="16"/>
                    <a:pt x="1" y="0"/>
                  </a:cubicBezTo>
                  <a:cubicBezTo>
                    <a:pt x="295" y="0"/>
                    <a:pt x="295" y="0"/>
                    <a:pt x="295" y="0"/>
                  </a:cubicBezTo>
                  <a:cubicBezTo>
                    <a:pt x="296" y="16"/>
                    <a:pt x="293" y="32"/>
                    <a:pt x="274" y="33"/>
                  </a:cubicBezTo>
                  <a:close/>
                </a:path>
              </a:pathLst>
            </a:custGeom>
            <a:solidFill>
              <a:srgbClr val="95AD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39" name="Freeform 58">
              <a:extLst>
                <a:ext uri="{FF2B5EF4-FFF2-40B4-BE49-F238E27FC236}">
                  <a16:creationId xmlns:a16="http://schemas.microsoft.com/office/drawing/2014/main" id="{BF2AB6B5-2D04-43E4-80C4-32047705F7D5}"/>
                </a:ext>
              </a:extLst>
            </p:cNvPr>
            <p:cNvSpPr>
              <a:spLocks noEditPoints="1"/>
            </p:cNvSpPr>
            <p:nvPr/>
          </p:nvSpPr>
          <p:spPr bwMode="auto">
            <a:xfrm>
              <a:off x="5472113" y="4473576"/>
              <a:ext cx="1377950" cy="184150"/>
            </a:xfrm>
            <a:custGeom>
              <a:avLst/>
              <a:gdLst>
                <a:gd name="T0" fmla="*/ 279 w 306"/>
                <a:gd name="T1" fmla="*/ 41 h 41"/>
                <a:gd name="T2" fmla="*/ 27 w 306"/>
                <a:gd name="T3" fmla="*/ 41 h 41"/>
                <a:gd name="T4" fmla="*/ 1 w 306"/>
                <a:gd name="T5" fmla="*/ 4 h 41"/>
                <a:gd name="T6" fmla="*/ 6 w 306"/>
                <a:gd name="T7" fmla="*/ 0 h 41"/>
                <a:gd name="T8" fmla="*/ 300 w 306"/>
                <a:gd name="T9" fmla="*/ 0 h 41"/>
                <a:gd name="T10" fmla="*/ 304 w 306"/>
                <a:gd name="T11" fmla="*/ 4 h 41"/>
                <a:gd name="T12" fmla="*/ 279 w 306"/>
                <a:gd name="T13" fmla="*/ 41 h 41"/>
                <a:gd name="T14" fmla="*/ 10 w 306"/>
                <a:gd name="T15" fmla="*/ 9 h 41"/>
                <a:gd name="T16" fmla="*/ 27 w 306"/>
                <a:gd name="T17" fmla="*/ 32 h 41"/>
                <a:gd name="T18" fmla="*/ 279 w 306"/>
                <a:gd name="T19" fmla="*/ 32 h 41"/>
                <a:gd name="T20" fmla="*/ 295 w 306"/>
                <a:gd name="T21" fmla="*/ 9 h 41"/>
                <a:gd name="T22" fmla="*/ 10 w 306"/>
                <a:gd name="T23" fmla="*/ 9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06" h="41">
                  <a:moveTo>
                    <a:pt x="279" y="41"/>
                  </a:moveTo>
                  <a:cubicBezTo>
                    <a:pt x="27" y="41"/>
                    <a:pt x="27" y="41"/>
                    <a:pt x="27" y="41"/>
                  </a:cubicBezTo>
                  <a:cubicBezTo>
                    <a:pt x="6" y="40"/>
                    <a:pt x="0" y="23"/>
                    <a:pt x="1" y="4"/>
                  </a:cubicBezTo>
                  <a:cubicBezTo>
                    <a:pt x="1" y="2"/>
                    <a:pt x="3" y="0"/>
                    <a:pt x="6" y="0"/>
                  </a:cubicBezTo>
                  <a:cubicBezTo>
                    <a:pt x="300" y="0"/>
                    <a:pt x="300" y="0"/>
                    <a:pt x="300" y="0"/>
                  </a:cubicBezTo>
                  <a:cubicBezTo>
                    <a:pt x="302" y="0"/>
                    <a:pt x="304" y="2"/>
                    <a:pt x="304" y="4"/>
                  </a:cubicBezTo>
                  <a:cubicBezTo>
                    <a:pt x="306" y="22"/>
                    <a:pt x="300" y="40"/>
                    <a:pt x="279" y="41"/>
                  </a:cubicBezTo>
                  <a:close/>
                  <a:moveTo>
                    <a:pt x="10" y="9"/>
                  </a:moveTo>
                  <a:cubicBezTo>
                    <a:pt x="9" y="20"/>
                    <a:pt x="14" y="32"/>
                    <a:pt x="27" y="32"/>
                  </a:cubicBezTo>
                  <a:cubicBezTo>
                    <a:pt x="27" y="32"/>
                    <a:pt x="279" y="32"/>
                    <a:pt x="279" y="32"/>
                  </a:cubicBezTo>
                  <a:cubicBezTo>
                    <a:pt x="292" y="32"/>
                    <a:pt x="297" y="20"/>
                    <a:pt x="295" y="9"/>
                  </a:cubicBezTo>
                  <a:lnTo>
                    <a:pt x="10" y="9"/>
                  </a:lnTo>
                  <a:close/>
                </a:path>
              </a:pathLst>
            </a:custGeom>
            <a:solidFill>
              <a:srgbClr val="0C11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40" name="Freeform 59">
              <a:extLst>
                <a:ext uri="{FF2B5EF4-FFF2-40B4-BE49-F238E27FC236}">
                  <a16:creationId xmlns:a16="http://schemas.microsoft.com/office/drawing/2014/main" id="{27C579D2-C80F-4EAD-ACCF-DFD2DF1E3964}"/>
                </a:ext>
              </a:extLst>
            </p:cNvPr>
            <p:cNvSpPr>
              <a:spLocks/>
            </p:cNvSpPr>
            <p:nvPr/>
          </p:nvSpPr>
          <p:spPr bwMode="auto">
            <a:xfrm>
              <a:off x="5080001" y="2901951"/>
              <a:ext cx="1541463" cy="1063625"/>
            </a:xfrm>
            <a:custGeom>
              <a:avLst/>
              <a:gdLst>
                <a:gd name="T0" fmla="*/ 336 w 342"/>
                <a:gd name="T1" fmla="*/ 236 h 236"/>
                <a:gd name="T2" fmla="*/ 5 w 342"/>
                <a:gd name="T3" fmla="*/ 236 h 236"/>
                <a:gd name="T4" fmla="*/ 0 w 342"/>
                <a:gd name="T5" fmla="*/ 231 h 236"/>
                <a:gd name="T6" fmla="*/ 0 w 342"/>
                <a:gd name="T7" fmla="*/ 5 h 236"/>
                <a:gd name="T8" fmla="*/ 5 w 342"/>
                <a:gd name="T9" fmla="*/ 0 h 236"/>
                <a:gd name="T10" fmla="*/ 9 w 342"/>
                <a:gd name="T11" fmla="*/ 5 h 236"/>
                <a:gd name="T12" fmla="*/ 9 w 342"/>
                <a:gd name="T13" fmla="*/ 227 h 236"/>
                <a:gd name="T14" fmla="*/ 336 w 342"/>
                <a:gd name="T15" fmla="*/ 227 h 236"/>
                <a:gd name="T16" fmla="*/ 336 w 342"/>
                <a:gd name="T17" fmla="*/ 236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2" h="236">
                  <a:moveTo>
                    <a:pt x="336" y="236"/>
                  </a:moveTo>
                  <a:cubicBezTo>
                    <a:pt x="5" y="236"/>
                    <a:pt x="5" y="236"/>
                    <a:pt x="5" y="236"/>
                  </a:cubicBezTo>
                  <a:cubicBezTo>
                    <a:pt x="2" y="236"/>
                    <a:pt x="0" y="234"/>
                    <a:pt x="0" y="231"/>
                  </a:cubicBezTo>
                  <a:cubicBezTo>
                    <a:pt x="0" y="5"/>
                    <a:pt x="0" y="5"/>
                    <a:pt x="0" y="5"/>
                  </a:cubicBezTo>
                  <a:cubicBezTo>
                    <a:pt x="0" y="2"/>
                    <a:pt x="2" y="0"/>
                    <a:pt x="5" y="0"/>
                  </a:cubicBezTo>
                  <a:cubicBezTo>
                    <a:pt x="7" y="0"/>
                    <a:pt x="9" y="2"/>
                    <a:pt x="9" y="5"/>
                  </a:cubicBezTo>
                  <a:cubicBezTo>
                    <a:pt x="9" y="227"/>
                    <a:pt x="9" y="227"/>
                    <a:pt x="9" y="227"/>
                  </a:cubicBezTo>
                  <a:cubicBezTo>
                    <a:pt x="336" y="227"/>
                    <a:pt x="336" y="227"/>
                    <a:pt x="336" y="227"/>
                  </a:cubicBezTo>
                  <a:cubicBezTo>
                    <a:pt x="342" y="227"/>
                    <a:pt x="342" y="236"/>
                    <a:pt x="336" y="236"/>
                  </a:cubicBezTo>
                  <a:close/>
                </a:path>
              </a:pathLst>
            </a:custGeom>
            <a:solidFill>
              <a:srgbClr val="0C11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41" name="Freeform 60">
              <a:extLst>
                <a:ext uri="{FF2B5EF4-FFF2-40B4-BE49-F238E27FC236}">
                  <a16:creationId xmlns:a16="http://schemas.microsoft.com/office/drawing/2014/main" id="{DF300A6C-CBC6-457C-9753-7994507CA1F1}"/>
                </a:ext>
              </a:extLst>
            </p:cNvPr>
            <p:cNvSpPr>
              <a:spLocks/>
            </p:cNvSpPr>
            <p:nvPr/>
          </p:nvSpPr>
          <p:spPr bwMode="auto">
            <a:xfrm>
              <a:off x="4981576" y="3095626"/>
              <a:ext cx="144463" cy="41275"/>
            </a:xfrm>
            <a:custGeom>
              <a:avLst/>
              <a:gdLst>
                <a:gd name="T0" fmla="*/ 26 w 32"/>
                <a:gd name="T1" fmla="*/ 9 h 9"/>
                <a:gd name="T2" fmla="*/ 4 w 32"/>
                <a:gd name="T3" fmla="*/ 9 h 9"/>
                <a:gd name="T4" fmla="*/ 0 w 32"/>
                <a:gd name="T5" fmla="*/ 4 h 9"/>
                <a:gd name="T6" fmla="*/ 4 w 32"/>
                <a:gd name="T7" fmla="*/ 0 h 9"/>
                <a:gd name="T8" fmla="*/ 26 w 32"/>
                <a:gd name="T9" fmla="*/ 0 h 9"/>
                <a:gd name="T10" fmla="*/ 26 w 32"/>
                <a:gd name="T11" fmla="*/ 9 h 9"/>
              </a:gdLst>
              <a:ahLst/>
              <a:cxnLst>
                <a:cxn ang="0">
                  <a:pos x="T0" y="T1"/>
                </a:cxn>
                <a:cxn ang="0">
                  <a:pos x="T2" y="T3"/>
                </a:cxn>
                <a:cxn ang="0">
                  <a:pos x="T4" y="T5"/>
                </a:cxn>
                <a:cxn ang="0">
                  <a:pos x="T6" y="T7"/>
                </a:cxn>
                <a:cxn ang="0">
                  <a:pos x="T8" y="T9"/>
                </a:cxn>
                <a:cxn ang="0">
                  <a:pos x="T10" y="T11"/>
                </a:cxn>
              </a:cxnLst>
              <a:rect l="0" t="0" r="r" b="b"/>
              <a:pathLst>
                <a:path w="32" h="9">
                  <a:moveTo>
                    <a:pt x="26" y="9"/>
                  </a:moveTo>
                  <a:cubicBezTo>
                    <a:pt x="4" y="9"/>
                    <a:pt x="4" y="9"/>
                    <a:pt x="4" y="9"/>
                  </a:cubicBezTo>
                  <a:cubicBezTo>
                    <a:pt x="2" y="9"/>
                    <a:pt x="0" y="7"/>
                    <a:pt x="0" y="4"/>
                  </a:cubicBezTo>
                  <a:cubicBezTo>
                    <a:pt x="0" y="2"/>
                    <a:pt x="2" y="0"/>
                    <a:pt x="4" y="0"/>
                  </a:cubicBezTo>
                  <a:cubicBezTo>
                    <a:pt x="26" y="0"/>
                    <a:pt x="26" y="0"/>
                    <a:pt x="26" y="0"/>
                  </a:cubicBezTo>
                  <a:cubicBezTo>
                    <a:pt x="32" y="0"/>
                    <a:pt x="32" y="9"/>
                    <a:pt x="26" y="9"/>
                  </a:cubicBezTo>
                  <a:close/>
                </a:path>
              </a:pathLst>
            </a:custGeom>
            <a:solidFill>
              <a:srgbClr val="0C11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42" name="Freeform 61">
              <a:extLst>
                <a:ext uri="{FF2B5EF4-FFF2-40B4-BE49-F238E27FC236}">
                  <a16:creationId xmlns:a16="http://schemas.microsoft.com/office/drawing/2014/main" id="{9C4CF21C-3503-4F5A-82B3-41742E04B992}"/>
                </a:ext>
              </a:extLst>
            </p:cNvPr>
            <p:cNvSpPr>
              <a:spLocks/>
            </p:cNvSpPr>
            <p:nvPr/>
          </p:nvSpPr>
          <p:spPr bwMode="auto">
            <a:xfrm>
              <a:off x="4981576" y="3330576"/>
              <a:ext cx="144463" cy="39688"/>
            </a:xfrm>
            <a:custGeom>
              <a:avLst/>
              <a:gdLst>
                <a:gd name="T0" fmla="*/ 26 w 32"/>
                <a:gd name="T1" fmla="*/ 9 h 9"/>
                <a:gd name="T2" fmla="*/ 4 w 32"/>
                <a:gd name="T3" fmla="*/ 9 h 9"/>
                <a:gd name="T4" fmla="*/ 0 w 32"/>
                <a:gd name="T5" fmla="*/ 5 h 9"/>
                <a:gd name="T6" fmla="*/ 4 w 32"/>
                <a:gd name="T7" fmla="*/ 0 h 9"/>
                <a:gd name="T8" fmla="*/ 26 w 32"/>
                <a:gd name="T9" fmla="*/ 0 h 9"/>
                <a:gd name="T10" fmla="*/ 26 w 32"/>
                <a:gd name="T11" fmla="*/ 9 h 9"/>
              </a:gdLst>
              <a:ahLst/>
              <a:cxnLst>
                <a:cxn ang="0">
                  <a:pos x="T0" y="T1"/>
                </a:cxn>
                <a:cxn ang="0">
                  <a:pos x="T2" y="T3"/>
                </a:cxn>
                <a:cxn ang="0">
                  <a:pos x="T4" y="T5"/>
                </a:cxn>
                <a:cxn ang="0">
                  <a:pos x="T6" y="T7"/>
                </a:cxn>
                <a:cxn ang="0">
                  <a:pos x="T8" y="T9"/>
                </a:cxn>
                <a:cxn ang="0">
                  <a:pos x="T10" y="T11"/>
                </a:cxn>
              </a:cxnLst>
              <a:rect l="0" t="0" r="r" b="b"/>
              <a:pathLst>
                <a:path w="32" h="9">
                  <a:moveTo>
                    <a:pt x="26" y="9"/>
                  </a:moveTo>
                  <a:cubicBezTo>
                    <a:pt x="4" y="9"/>
                    <a:pt x="4" y="9"/>
                    <a:pt x="4" y="9"/>
                  </a:cubicBezTo>
                  <a:cubicBezTo>
                    <a:pt x="2" y="9"/>
                    <a:pt x="0" y="7"/>
                    <a:pt x="0" y="5"/>
                  </a:cubicBezTo>
                  <a:cubicBezTo>
                    <a:pt x="0" y="2"/>
                    <a:pt x="2" y="0"/>
                    <a:pt x="4" y="0"/>
                  </a:cubicBezTo>
                  <a:cubicBezTo>
                    <a:pt x="26" y="0"/>
                    <a:pt x="26" y="0"/>
                    <a:pt x="26" y="0"/>
                  </a:cubicBezTo>
                  <a:cubicBezTo>
                    <a:pt x="32" y="0"/>
                    <a:pt x="32" y="9"/>
                    <a:pt x="26" y="9"/>
                  </a:cubicBezTo>
                  <a:close/>
                </a:path>
              </a:pathLst>
            </a:custGeom>
            <a:solidFill>
              <a:srgbClr val="0C11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43" name="Freeform 62">
              <a:extLst>
                <a:ext uri="{FF2B5EF4-FFF2-40B4-BE49-F238E27FC236}">
                  <a16:creationId xmlns:a16="http://schemas.microsoft.com/office/drawing/2014/main" id="{F8E915C5-571A-4C7D-920E-4A3F399E5033}"/>
                </a:ext>
              </a:extLst>
            </p:cNvPr>
            <p:cNvSpPr>
              <a:spLocks/>
            </p:cNvSpPr>
            <p:nvPr/>
          </p:nvSpPr>
          <p:spPr bwMode="auto">
            <a:xfrm>
              <a:off x="4981576" y="3568701"/>
              <a:ext cx="144463" cy="44450"/>
            </a:xfrm>
            <a:custGeom>
              <a:avLst/>
              <a:gdLst>
                <a:gd name="T0" fmla="*/ 26 w 32"/>
                <a:gd name="T1" fmla="*/ 10 h 10"/>
                <a:gd name="T2" fmla="*/ 4 w 32"/>
                <a:gd name="T3" fmla="*/ 10 h 10"/>
                <a:gd name="T4" fmla="*/ 0 w 32"/>
                <a:gd name="T5" fmla="*/ 5 h 10"/>
                <a:gd name="T6" fmla="*/ 4 w 32"/>
                <a:gd name="T7" fmla="*/ 1 h 10"/>
                <a:gd name="T8" fmla="*/ 26 w 32"/>
                <a:gd name="T9" fmla="*/ 1 h 10"/>
                <a:gd name="T10" fmla="*/ 26 w 32"/>
                <a:gd name="T11" fmla="*/ 10 h 10"/>
              </a:gdLst>
              <a:ahLst/>
              <a:cxnLst>
                <a:cxn ang="0">
                  <a:pos x="T0" y="T1"/>
                </a:cxn>
                <a:cxn ang="0">
                  <a:pos x="T2" y="T3"/>
                </a:cxn>
                <a:cxn ang="0">
                  <a:pos x="T4" y="T5"/>
                </a:cxn>
                <a:cxn ang="0">
                  <a:pos x="T6" y="T7"/>
                </a:cxn>
                <a:cxn ang="0">
                  <a:pos x="T8" y="T9"/>
                </a:cxn>
                <a:cxn ang="0">
                  <a:pos x="T10" y="T11"/>
                </a:cxn>
              </a:cxnLst>
              <a:rect l="0" t="0" r="r" b="b"/>
              <a:pathLst>
                <a:path w="32" h="10">
                  <a:moveTo>
                    <a:pt x="26" y="10"/>
                  </a:moveTo>
                  <a:cubicBezTo>
                    <a:pt x="4" y="10"/>
                    <a:pt x="4" y="10"/>
                    <a:pt x="4" y="10"/>
                  </a:cubicBezTo>
                  <a:cubicBezTo>
                    <a:pt x="2" y="10"/>
                    <a:pt x="0" y="8"/>
                    <a:pt x="0" y="5"/>
                  </a:cubicBezTo>
                  <a:cubicBezTo>
                    <a:pt x="0" y="3"/>
                    <a:pt x="2" y="1"/>
                    <a:pt x="4" y="1"/>
                  </a:cubicBezTo>
                  <a:cubicBezTo>
                    <a:pt x="26" y="1"/>
                    <a:pt x="26" y="1"/>
                    <a:pt x="26" y="1"/>
                  </a:cubicBezTo>
                  <a:cubicBezTo>
                    <a:pt x="32" y="0"/>
                    <a:pt x="32" y="10"/>
                    <a:pt x="26" y="10"/>
                  </a:cubicBezTo>
                  <a:close/>
                </a:path>
              </a:pathLst>
            </a:custGeom>
            <a:solidFill>
              <a:srgbClr val="0C11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44" name="Freeform 63">
              <a:extLst>
                <a:ext uri="{FF2B5EF4-FFF2-40B4-BE49-F238E27FC236}">
                  <a16:creationId xmlns:a16="http://schemas.microsoft.com/office/drawing/2014/main" id="{7BC567F3-FDCA-42C8-8FE5-7472B81C74D7}"/>
                </a:ext>
              </a:extLst>
            </p:cNvPr>
            <p:cNvSpPr>
              <a:spLocks/>
            </p:cNvSpPr>
            <p:nvPr/>
          </p:nvSpPr>
          <p:spPr bwMode="auto">
            <a:xfrm>
              <a:off x="4981576" y="3816351"/>
              <a:ext cx="144463" cy="39688"/>
            </a:xfrm>
            <a:custGeom>
              <a:avLst/>
              <a:gdLst>
                <a:gd name="T0" fmla="*/ 26 w 32"/>
                <a:gd name="T1" fmla="*/ 9 h 9"/>
                <a:gd name="T2" fmla="*/ 4 w 32"/>
                <a:gd name="T3" fmla="*/ 9 h 9"/>
                <a:gd name="T4" fmla="*/ 0 w 32"/>
                <a:gd name="T5" fmla="*/ 4 h 9"/>
                <a:gd name="T6" fmla="*/ 4 w 32"/>
                <a:gd name="T7" fmla="*/ 0 h 9"/>
                <a:gd name="T8" fmla="*/ 26 w 32"/>
                <a:gd name="T9" fmla="*/ 0 h 9"/>
                <a:gd name="T10" fmla="*/ 26 w 32"/>
                <a:gd name="T11" fmla="*/ 9 h 9"/>
              </a:gdLst>
              <a:ahLst/>
              <a:cxnLst>
                <a:cxn ang="0">
                  <a:pos x="T0" y="T1"/>
                </a:cxn>
                <a:cxn ang="0">
                  <a:pos x="T2" y="T3"/>
                </a:cxn>
                <a:cxn ang="0">
                  <a:pos x="T4" y="T5"/>
                </a:cxn>
                <a:cxn ang="0">
                  <a:pos x="T6" y="T7"/>
                </a:cxn>
                <a:cxn ang="0">
                  <a:pos x="T8" y="T9"/>
                </a:cxn>
                <a:cxn ang="0">
                  <a:pos x="T10" y="T11"/>
                </a:cxn>
              </a:cxnLst>
              <a:rect l="0" t="0" r="r" b="b"/>
              <a:pathLst>
                <a:path w="32" h="9">
                  <a:moveTo>
                    <a:pt x="26" y="9"/>
                  </a:moveTo>
                  <a:cubicBezTo>
                    <a:pt x="4" y="9"/>
                    <a:pt x="4" y="9"/>
                    <a:pt x="4" y="9"/>
                  </a:cubicBezTo>
                  <a:cubicBezTo>
                    <a:pt x="2" y="9"/>
                    <a:pt x="0" y="7"/>
                    <a:pt x="0" y="4"/>
                  </a:cubicBezTo>
                  <a:cubicBezTo>
                    <a:pt x="0" y="2"/>
                    <a:pt x="2" y="0"/>
                    <a:pt x="4" y="0"/>
                  </a:cubicBezTo>
                  <a:cubicBezTo>
                    <a:pt x="26" y="0"/>
                    <a:pt x="26" y="0"/>
                    <a:pt x="26" y="0"/>
                  </a:cubicBezTo>
                  <a:cubicBezTo>
                    <a:pt x="32" y="0"/>
                    <a:pt x="32" y="9"/>
                    <a:pt x="26" y="9"/>
                  </a:cubicBezTo>
                  <a:close/>
                </a:path>
              </a:pathLst>
            </a:custGeom>
            <a:solidFill>
              <a:srgbClr val="0C11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45" name="Freeform 64">
              <a:extLst>
                <a:ext uri="{FF2B5EF4-FFF2-40B4-BE49-F238E27FC236}">
                  <a16:creationId xmlns:a16="http://schemas.microsoft.com/office/drawing/2014/main" id="{CED5EB92-3400-457C-9624-EE389E2BC6AE}"/>
                </a:ext>
              </a:extLst>
            </p:cNvPr>
            <p:cNvSpPr>
              <a:spLocks/>
            </p:cNvSpPr>
            <p:nvPr/>
          </p:nvSpPr>
          <p:spPr bwMode="auto">
            <a:xfrm>
              <a:off x="5300663" y="3348038"/>
              <a:ext cx="242888" cy="590550"/>
            </a:xfrm>
            <a:custGeom>
              <a:avLst/>
              <a:gdLst>
                <a:gd name="T0" fmla="*/ 44 w 54"/>
                <a:gd name="T1" fmla="*/ 0 h 131"/>
                <a:gd name="T2" fmla="*/ 11 w 54"/>
                <a:gd name="T3" fmla="*/ 0 h 131"/>
                <a:gd name="T4" fmla="*/ 0 w 54"/>
                <a:gd name="T5" fmla="*/ 10 h 131"/>
                <a:gd name="T6" fmla="*/ 0 w 54"/>
                <a:gd name="T7" fmla="*/ 131 h 131"/>
                <a:gd name="T8" fmla="*/ 54 w 54"/>
                <a:gd name="T9" fmla="*/ 131 h 131"/>
                <a:gd name="T10" fmla="*/ 54 w 54"/>
                <a:gd name="T11" fmla="*/ 10 h 131"/>
                <a:gd name="T12" fmla="*/ 44 w 54"/>
                <a:gd name="T13" fmla="*/ 0 h 131"/>
              </a:gdLst>
              <a:ahLst/>
              <a:cxnLst>
                <a:cxn ang="0">
                  <a:pos x="T0" y="T1"/>
                </a:cxn>
                <a:cxn ang="0">
                  <a:pos x="T2" y="T3"/>
                </a:cxn>
                <a:cxn ang="0">
                  <a:pos x="T4" y="T5"/>
                </a:cxn>
                <a:cxn ang="0">
                  <a:pos x="T6" y="T7"/>
                </a:cxn>
                <a:cxn ang="0">
                  <a:pos x="T8" y="T9"/>
                </a:cxn>
                <a:cxn ang="0">
                  <a:pos x="T10" y="T11"/>
                </a:cxn>
                <a:cxn ang="0">
                  <a:pos x="T12" y="T13"/>
                </a:cxn>
              </a:cxnLst>
              <a:rect l="0" t="0" r="r" b="b"/>
              <a:pathLst>
                <a:path w="54" h="131">
                  <a:moveTo>
                    <a:pt x="44" y="0"/>
                  </a:moveTo>
                  <a:cubicBezTo>
                    <a:pt x="11" y="0"/>
                    <a:pt x="11" y="0"/>
                    <a:pt x="11" y="0"/>
                  </a:cubicBezTo>
                  <a:cubicBezTo>
                    <a:pt x="5" y="0"/>
                    <a:pt x="0" y="4"/>
                    <a:pt x="0" y="10"/>
                  </a:cubicBezTo>
                  <a:cubicBezTo>
                    <a:pt x="0" y="131"/>
                    <a:pt x="0" y="131"/>
                    <a:pt x="0" y="131"/>
                  </a:cubicBezTo>
                  <a:cubicBezTo>
                    <a:pt x="54" y="131"/>
                    <a:pt x="54" y="131"/>
                    <a:pt x="54" y="131"/>
                  </a:cubicBezTo>
                  <a:cubicBezTo>
                    <a:pt x="54" y="10"/>
                    <a:pt x="54" y="10"/>
                    <a:pt x="54" y="10"/>
                  </a:cubicBezTo>
                  <a:cubicBezTo>
                    <a:pt x="54" y="4"/>
                    <a:pt x="50" y="0"/>
                    <a:pt x="44" y="0"/>
                  </a:cubicBezTo>
                  <a:close/>
                </a:path>
              </a:pathLst>
            </a:custGeom>
            <a:solidFill>
              <a:srgbClr val="62A9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46" name="Freeform 65">
              <a:extLst>
                <a:ext uri="{FF2B5EF4-FFF2-40B4-BE49-F238E27FC236}">
                  <a16:creationId xmlns:a16="http://schemas.microsoft.com/office/drawing/2014/main" id="{7EE63707-5059-4CE1-A683-B0486B5E77D3}"/>
                </a:ext>
              </a:extLst>
            </p:cNvPr>
            <p:cNvSpPr>
              <a:spLocks noEditPoints="1"/>
            </p:cNvSpPr>
            <p:nvPr/>
          </p:nvSpPr>
          <p:spPr bwMode="auto">
            <a:xfrm>
              <a:off x="5283201" y="3325813"/>
              <a:ext cx="284163" cy="635000"/>
            </a:xfrm>
            <a:custGeom>
              <a:avLst/>
              <a:gdLst>
                <a:gd name="T0" fmla="*/ 58 w 63"/>
                <a:gd name="T1" fmla="*/ 141 h 141"/>
                <a:gd name="T2" fmla="*/ 4 w 63"/>
                <a:gd name="T3" fmla="*/ 141 h 141"/>
                <a:gd name="T4" fmla="*/ 0 w 63"/>
                <a:gd name="T5" fmla="*/ 136 h 141"/>
                <a:gd name="T6" fmla="*/ 0 w 63"/>
                <a:gd name="T7" fmla="*/ 15 h 141"/>
                <a:gd name="T8" fmla="*/ 15 w 63"/>
                <a:gd name="T9" fmla="*/ 0 h 141"/>
                <a:gd name="T10" fmla="*/ 48 w 63"/>
                <a:gd name="T11" fmla="*/ 0 h 141"/>
                <a:gd name="T12" fmla="*/ 63 w 63"/>
                <a:gd name="T13" fmla="*/ 15 h 141"/>
                <a:gd name="T14" fmla="*/ 63 w 63"/>
                <a:gd name="T15" fmla="*/ 136 h 141"/>
                <a:gd name="T16" fmla="*/ 58 w 63"/>
                <a:gd name="T17" fmla="*/ 141 h 141"/>
                <a:gd name="T18" fmla="*/ 9 w 63"/>
                <a:gd name="T19" fmla="*/ 132 h 141"/>
                <a:gd name="T20" fmla="*/ 54 w 63"/>
                <a:gd name="T21" fmla="*/ 132 h 141"/>
                <a:gd name="T22" fmla="*/ 54 w 63"/>
                <a:gd name="T23" fmla="*/ 15 h 141"/>
                <a:gd name="T24" fmla="*/ 48 w 63"/>
                <a:gd name="T25" fmla="*/ 9 h 141"/>
                <a:gd name="T26" fmla="*/ 15 w 63"/>
                <a:gd name="T27" fmla="*/ 9 h 141"/>
                <a:gd name="T28" fmla="*/ 9 w 63"/>
                <a:gd name="T29" fmla="*/ 15 h 141"/>
                <a:gd name="T30" fmla="*/ 9 w 63"/>
                <a:gd name="T31" fmla="*/ 132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3" h="141">
                  <a:moveTo>
                    <a:pt x="58" y="141"/>
                  </a:moveTo>
                  <a:cubicBezTo>
                    <a:pt x="4" y="141"/>
                    <a:pt x="4" y="141"/>
                    <a:pt x="4" y="141"/>
                  </a:cubicBezTo>
                  <a:cubicBezTo>
                    <a:pt x="2" y="141"/>
                    <a:pt x="0" y="139"/>
                    <a:pt x="0" y="136"/>
                  </a:cubicBezTo>
                  <a:cubicBezTo>
                    <a:pt x="0" y="15"/>
                    <a:pt x="0" y="15"/>
                    <a:pt x="0" y="15"/>
                  </a:cubicBezTo>
                  <a:cubicBezTo>
                    <a:pt x="0" y="7"/>
                    <a:pt x="7" y="0"/>
                    <a:pt x="15" y="0"/>
                  </a:cubicBezTo>
                  <a:cubicBezTo>
                    <a:pt x="48" y="0"/>
                    <a:pt x="48" y="0"/>
                    <a:pt x="48" y="0"/>
                  </a:cubicBezTo>
                  <a:cubicBezTo>
                    <a:pt x="56" y="0"/>
                    <a:pt x="63" y="7"/>
                    <a:pt x="63" y="15"/>
                  </a:cubicBezTo>
                  <a:cubicBezTo>
                    <a:pt x="63" y="136"/>
                    <a:pt x="63" y="136"/>
                    <a:pt x="63" y="136"/>
                  </a:cubicBezTo>
                  <a:cubicBezTo>
                    <a:pt x="63" y="139"/>
                    <a:pt x="61" y="141"/>
                    <a:pt x="58" y="141"/>
                  </a:cubicBezTo>
                  <a:close/>
                  <a:moveTo>
                    <a:pt x="9" y="132"/>
                  </a:moveTo>
                  <a:cubicBezTo>
                    <a:pt x="54" y="132"/>
                    <a:pt x="54" y="132"/>
                    <a:pt x="54" y="132"/>
                  </a:cubicBezTo>
                  <a:cubicBezTo>
                    <a:pt x="54" y="15"/>
                    <a:pt x="54" y="15"/>
                    <a:pt x="54" y="15"/>
                  </a:cubicBezTo>
                  <a:cubicBezTo>
                    <a:pt x="54" y="12"/>
                    <a:pt x="51" y="9"/>
                    <a:pt x="48" y="9"/>
                  </a:cubicBezTo>
                  <a:cubicBezTo>
                    <a:pt x="15" y="9"/>
                    <a:pt x="15" y="9"/>
                    <a:pt x="15" y="9"/>
                  </a:cubicBezTo>
                  <a:cubicBezTo>
                    <a:pt x="11" y="9"/>
                    <a:pt x="9" y="12"/>
                    <a:pt x="9" y="15"/>
                  </a:cubicBezTo>
                  <a:lnTo>
                    <a:pt x="9" y="132"/>
                  </a:lnTo>
                  <a:close/>
                </a:path>
              </a:pathLst>
            </a:custGeom>
            <a:solidFill>
              <a:srgbClr val="0C11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47" name="Freeform 66">
              <a:extLst>
                <a:ext uri="{FF2B5EF4-FFF2-40B4-BE49-F238E27FC236}">
                  <a16:creationId xmlns:a16="http://schemas.microsoft.com/office/drawing/2014/main" id="{55B44C4E-1D03-432C-A27E-996819EC4582}"/>
                </a:ext>
              </a:extLst>
            </p:cNvPr>
            <p:cNvSpPr>
              <a:spLocks/>
            </p:cNvSpPr>
            <p:nvPr/>
          </p:nvSpPr>
          <p:spPr bwMode="auto">
            <a:xfrm>
              <a:off x="5553076" y="3573463"/>
              <a:ext cx="320675" cy="365125"/>
            </a:xfrm>
            <a:custGeom>
              <a:avLst/>
              <a:gdLst>
                <a:gd name="T0" fmla="*/ 60 w 71"/>
                <a:gd name="T1" fmla="*/ 5 h 81"/>
                <a:gd name="T2" fmla="*/ 17 w 71"/>
                <a:gd name="T3" fmla="*/ 81 h 81"/>
                <a:gd name="T4" fmla="*/ 71 w 71"/>
                <a:gd name="T5" fmla="*/ 81 h 81"/>
                <a:gd name="T6" fmla="*/ 71 w 71"/>
                <a:gd name="T7" fmla="*/ 15 h 81"/>
                <a:gd name="T8" fmla="*/ 60 w 71"/>
                <a:gd name="T9" fmla="*/ 5 h 81"/>
              </a:gdLst>
              <a:ahLst/>
              <a:cxnLst>
                <a:cxn ang="0">
                  <a:pos x="T0" y="T1"/>
                </a:cxn>
                <a:cxn ang="0">
                  <a:pos x="T2" y="T3"/>
                </a:cxn>
                <a:cxn ang="0">
                  <a:pos x="T4" y="T5"/>
                </a:cxn>
                <a:cxn ang="0">
                  <a:pos x="T6" y="T7"/>
                </a:cxn>
                <a:cxn ang="0">
                  <a:pos x="T8" y="T9"/>
                </a:cxn>
              </a:cxnLst>
              <a:rect l="0" t="0" r="r" b="b"/>
              <a:pathLst>
                <a:path w="71" h="81">
                  <a:moveTo>
                    <a:pt x="60" y="5"/>
                  </a:moveTo>
                  <a:cubicBezTo>
                    <a:pt x="0" y="4"/>
                    <a:pt x="20" y="0"/>
                    <a:pt x="17" y="81"/>
                  </a:cubicBezTo>
                  <a:cubicBezTo>
                    <a:pt x="71" y="81"/>
                    <a:pt x="71" y="81"/>
                    <a:pt x="71" y="81"/>
                  </a:cubicBezTo>
                  <a:cubicBezTo>
                    <a:pt x="71" y="15"/>
                    <a:pt x="71" y="15"/>
                    <a:pt x="71" y="15"/>
                  </a:cubicBezTo>
                  <a:cubicBezTo>
                    <a:pt x="71" y="10"/>
                    <a:pt x="66" y="5"/>
                    <a:pt x="60" y="5"/>
                  </a:cubicBezTo>
                  <a:close/>
                </a:path>
              </a:pathLst>
            </a:custGeom>
            <a:solidFill>
              <a:srgbClr val="E661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48" name="Freeform 67">
              <a:extLst>
                <a:ext uri="{FF2B5EF4-FFF2-40B4-BE49-F238E27FC236}">
                  <a16:creationId xmlns:a16="http://schemas.microsoft.com/office/drawing/2014/main" id="{DC45DAE7-2C80-4100-A398-068AF064D144}"/>
                </a:ext>
              </a:extLst>
            </p:cNvPr>
            <p:cNvSpPr>
              <a:spLocks noEditPoints="1"/>
            </p:cNvSpPr>
            <p:nvPr/>
          </p:nvSpPr>
          <p:spPr bwMode="auto">
            <a:xfrm>
              <a:off x="5607051" y="3573463"/>
              <a:ext cx="315913" cy="387350"/>
            </a:xfrm>
            <a:custGeom>
              <a:avLst/>
              <a:gdLst>
                <a:gd name="T0" fmla="*/ 59 w 70"/>
                <a:gd name="T1" fmla="*/ 86 h 86"/>
                <a:gd name="T2" fmla="*/ 5 w 70"/>
                <a:gd name="T3" fmla="*/ 86 h 86"/>
                <a:gd name="T4" fmla="*/ 0 w 70"/>
                <a:gd name="T5" fmla="*/ 81 h 86"/>
                <a:gd name="T6" fmla="*/ 0 w 70"/>
                <a:gd name="T7" fmla="*/ 15 h 86"/>
                <a:gd name="T8" fmla="*/ 15 w 70"/>
                <a:gd name="T9" fmla="*/ 1 h 86"/>
                <a:gd name="T10" fmla="*/ 48 w 70"/>
                <a:gd name="T11" fmla="*/ 1 h 86"/>
                <a:gd name="T12" fmla="*/ 63 w 70"/>
                <a:gd name="T13" fmla="*/ 15 h 86"/>
                <a:gd name="T14" fmla="*/ 63 w 70"/>
                <a:gd name="T15" fmla="*/ 81 h 86"/>
                <a:gd name="T16" fmla="*/ 59 w 70"/>
                <a:gd name="T17" fmla="*/ 86 h 86"/>
                <a:gd name="T18" fmla="*/ 9 w 70"/>
                <a:gd name="T19" fmla="*/ 77 h 86"/>
                <a:gd name="T20" fmla="*/ 54 w 70"/>
                <a:gd name="T21" fmla="*/ 77 h 86"/>
                <a:gd name="T22" fmla="*/ 15 w 70"/>
                <a:gd name="T23" fmla="*/ 10 h 86"/>
                <a:gd name="T24" fmla="*/ 9 w 70"/>
                <a:gd name="T25" fmla="*/ 15 h 86"/>
                <a:gd name="T26" fmla="*/ 9 w 70"/>
                <a:gd name="T27" fmla="*/ 77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86">
                  <a:moveTo>
                    <a:pt x="59" y="86"/>
                  </a:moveTo>
                  <a:cubicBezTo>
                    <a:pt x="5" y="86"/>
                    <a:pt x="5" y="86"/>
                    <a:pt x="5" y="86"/>
                  </a:cubicBezTo>
                  <a:cubicBezTo>
                    <a:pt x="2" y="86"/>
                    <a:pt x="0" y="84"/>
                    <a:pt x="0" y="81"/>
                  </a:cubicBezTo>
                  <a:cubicBezTo>
                    <a:pt x="0" y="15"/>
                    <a:pt x="0" y="15"/>
                    <a:pt x="0" y="15"/>
                  </a:cubicBezTo>
                  <a:cubicBezTo>
                    <a:pt x="0" y="7"/>
                    <a:pt x="7" y="1"/>
                    <a:pt x="15" y="1"/>
                  </a:cubicBezTo>
                  <a:cubicBezTo>
                    <a:pt x="48" y="1"/>
                    <a:pt x="48" y="1"/>
                    <a:pt x="48" y="1"/>
                  </a:cubicBezTo>
                  <a:cubicBezTo>
                    <a:pt x="57" y="1"/>
                    <a:pt x="63" y="7"/>
                    <a:pt x="63" y="15"/>
                  </a:cubicBezTo>
                  <a:cubicBezTo>
                    <a:pt x="63" y="81"/>
                    <a:pt x="63" y="81"/>
                    <a:pt x="63" y="81"/>
                  </a:cubicBezTo>
                  <a:cubicBezTo>
                    <a:pt x="63" y="84"/>
                    <a:pt x="61" y="86"/>
                    <a:pt x="59" y="86"/>
                  </a:cubicBezTo>
                  <a:close/>
                  <a:moveTo>
                    <a:pt x="9" y="77"/>
                  </a:moveTo>
                  <a:cubicBezTo>
                    <a:pt x="54" y="77"/>
                    <a:pt x="54" y="77"/>
                    <a:pt x="54" y="77"/>
                  </a:cubicBezTo>
                  <a:cubicBezTo>
                    <a:pt x="51" y="0"/>
                    <a:pt x="70" y="10"/>
                    <a:pt x="15" y="10"/>
                  </a:cubicBezTo>
                  <a:cubicBezTo>
                    <a:pt x="12" y="10"/>
                    <a:pt x="9" y="12"/>
                    <a:pt x="9" y="15"/>
                  </a:cubicBezTo>
                  <a:lnTo>
                    <a:pt x="9" y="77"/>
                  </a:lnTo>
                  <a:close/>
                </a:path>
              </a:pathLst>
            </a:custGeom>
            <a:solidFill>
              <a:srgbClr val="0C11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49" name="Freeform 68">
              <a:extLst>
                <a:ext uri="{FF2B5EF4-FFF2-40B4-BE49-F238E27FC236}">
                  <a16:creationId xmlns:a16="http://schemas.microsoft.com/office/drawing/2014/main" id="{7C72684A-8A20-450C-B09D-48C2442FC896}"/>
                </a:ext>
              </a:extLst>
            </p:cNvPr>
            <p:cNvSpPr>
              <a:spLocks/>
            </p:cNvSpPr>
            <p:nvPr/>
          </p:nvSpPr>
          <p:spPr bwMode="auto">
            <a:xfrm>
              <a:off x="5949951" y="3441701"/>
              <a:ext cx="242888" cy="496888"/>
            </a:xfrm>
            <a:custGeom>
              <a:avLst/>
              <a:gdLst>
                <a:gd name="T0" fmla="*/ 44 w 54"/>
                <a:gd name="T1" fmla="*/ 0 h 110"/>
                <a:gd name="T2" fmla="*/ 11 w 54"/>
                <a:gd name="T3" fmla="*/ 0 h 110"/>
                <a:gd name="T4" fmla="*/ 0 w 54"/>
                <a:gd name="T5" fmla="*/ 10 h 110"/>
                <a:gd name="T6" fmla="*/ 0 w 54"/>
                <a:gd name="T7" fmla="*/ 110 h 110"/>
                <a:gd name="T8" fmla="*/ 54 w 54"/>
                <a:gd name="T9" fmla="*/ 110 h 110"/>
                <a:gd name="T10" fmla="*/ 54 w 54"/>
                <a:gd name="T11" fmla="*/ 10 h 110"/>
                <a:gd name="T12" fmla="*/ 44 w 54"/>
                <a:gd name="T13" fmla="*/ 0 h 110"/>
              </a:gdLst>
              <a:ahLst/>
              <a:cxnLst>
                <a:cxn ang="0">
                  <a:pos x="T0" y="T1"/>
                </a:cxn>
                <a:cxn ang="0">
                  <a:pos x="T2" y="T3"/>
                </a:cxn>
                <a:cxn ang="0">
                  <a:pos x="T4" y="T5"/>
                </a:cxn>
                <a:cxn ang="0">
                  <a:pos x="T6" y="T7"/>
                </a:cxn>
                <a:cxn ang="0">
                  <a:pos x="T8" y="T9"/>
                </a:cxn>
                <a:cxn ang="0">
                  <a:pos x="T10" y="T11"/>
                </a:cxn>
                <a:cxn ang="0">
                  <a:pos x="T12" y="T13"/>
                </a:cxn>
              </a:cxnLst>
              <a:rect l="0" t="0" r="r" b="b"/>
              <a:pathLst>
                <a:path w="54" h="110">
                  <a:moveTo>
                    <a:pt x="44" y="0"/>
                  </a:moveTo>
                  <a:cubicBezTo>
                    <a:pt x="11" y="0"/>
                    <a:pt x="11" y="0"/>
                    <a:pt x="11" y="0"/>
                  </a:cubicBezTo>
                  <a:cubicBezTo>
                    <a:pt x="5" y="0"/>
                    <a:pt x="0" y="4"/>
                    <a:pt x="0" y="10"/>
                  </a:cubicBezTo>
                  <a:cubicBezTo>
                    <a:pt x="0" y="110"/>
                    <a:pt x="0" y="110"/>
                    <a:pt x="0" y="110"/>
                  </a:cubicBezTo>
                  <a:cubicBezTo>
                    <a:pt x="54" y="110"/>
                    <a:pt x="54" y="110"/>
                    <a:pt x="54" y="110"/>
                  </a:cubicBezTo>
                  <a:cubicBezTo>
                    <a:pt x="54" y="10"/>
                    <a:pt x="54" y="10"/>
                    <a:pt x="54" y="10"/>
                  </a:cubicBezTo>
                  <a:cubicBezTo>
                    <a:pt x="54" y="4"/>
                    <a:pt x="50" y="0"/>
                    <a:pt x="44" y="0"/>
                  </a:cubicBezTo>
                  <a:close/>
                </a:path>
              </a:pathLst>
            </a:custGeom>
            <a:solidFill>
              <a:srgbClr val="F9D12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50" name="Freeform 69">
              <a:extLst>
                <a:ext uri="{FF2B5EF4-FFF2-40B4-BE49-F238E27FC236}">
                  <a16:creationId xmlns:a16="http://schemas.microsoft.com/office/drawing/2014/main" id="{6FE5AE8E-F728-4D84-A1EE-FE1D85AB2F4B}"/>
                </a:ext>
              </a:extLst>
            </p:cNvPr>
            <p:cNvSpPr>
              <a:spLocks noEditPoints="1"/>
            </p:cNvSpPr>
            <p:nvPr/>
          </p:nvSpPr>
          <p:spPr bwMode="auto">
            <a:xfrm>
              <a:off x="5930901" y="3419476"/>
              <a:ext cx="284163" cy="541338"/>
            </a:xfrm>
            <a:custGeom>
              <a:avLst/>
              <a:gdLst>
                <a:gd name="T0" fmla="*/ 58 w 63"/>
                <a:gd name="T1" fmla="*/ 120 h 120"/>
                <a:gd name="T2" fmla="*/ 4 w 63"/>
                <a:gd name="T3" fmla="*/ 120 h 120"/>
                <a:gd name="T4" fmla="*/ 0 w 63"/>
                <a:gd name="T5" fmla="*/ 115 h 120"/>
                <a:gd name="T6" fmla="*/ 0 w 63"/>
                <a:gd name="T7" fmla="*/ 15 h 120"/>
                <a:gd name="T8" fmla="*/ 15 w 63"/>
                <a:gd name="T9" fmla="*/ 0 h 120"/>
                <a:gd name="T10" fmla="*/ 48 w 63"/>
                <a:gd name="T11" fmla="*/ 0 h 120"/>
                <a:gd name="T12" fmla="*/ 63 w 63"/>
                <a:gd name="T13" fmla="*/ 15 h 120"/>
                <a:gd name="T14" fmla="*/ 63 w 63"/>
                <a:gd name="T15" fmla="*/ 115 h 120"/>
                <a:gd name="T16" fmla="*/ 58 w 63"/>
                <a:gd name="T17" fmla="*/ 120 h 120"/>
                <a:gd name="T18" fmla="*/ 9 w 63"/>
                <a:gd name="T19" fmla="*/ 111 h 120"/>
                <a:gd name="T20" fmla="*/ 54 w 63"/>
                <a:gd name="T21" fmla="*/ 111 h 120"/>
                <a:gd name="T22" fmla="*/ 54 w 63"/>
                <a:gd name="T23" fmla="*/ 15 h 120"/>
                <a:gd name="T24" fmla="*/ 48 w 63"/>
                <a:gd name="T25" fmla="*/ 9 h 120"/>
                <a:gd name="T26" fmla="*/ 15 w 63"/>
                <a:gd name="T27" fmla="*/ 9 h 120"/>
                <a:gd name="T28" fmla="*/ 9 w 63"/>
                <a:gd name="T29" fmla="*/ 15 h 120"/>
                <a:gd name="T30" fmla="*/ 9 w 63"/>
                <a:gd name="T31" fmla="*/ 111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3" h="120">
                  <a:moveTo>
                    <a:pt x="58" y="120"/>
                  </a:moveTo>
                  <a:cubicBezTo>
                    <a:pt x="4" y="120"/>
                    <a:pt x="4" y="120"/>
                    <a:pt x="4" y="120"/>
                  </a:cubicBezTo>
                  <a:cubicBezTo>
                    <a:pt x="2" y="120"/>
                    <a:pt x="0" y="118"/>
                    <a:pt x="0" y="115"/>
                  </a:cubicBezTo>
                  <a:cubicBezTo>
                    <a:pt x="0" y="15"/>
                    <a:pt x="0" y="15"/>
                    <a:pt x="0" y="15"/>
                  </a:cubicBezTo>
                  <a:cubicBezTo>
                    <a:pt x="0" y="7"/>
                    <a:pt x="7" y="0"/>
                    <a:pt x="15" y="0"/>
                  </a:cubicBezTo>
                  <a:cubicBezTo>
                    <a:pt x="48" y="0"/>
                    <a:pt x="48" y="0"/>
                    <a:pt x="48" y="0"/>
                  </a:cubicBezTo>
                  <a:cubicBezTo>
                    <a:pt x="56" y="0"/>
                    <a:pt x="63" y="7"/>
                    <a:pt x="63" y="15"/>
                  </a:cubicBezTo>
                  <a:cubicBezTo>
                    <a:pt x="63" y="115"/>
                    <a:pt x="63" y="115"/>
                    <a:pt x="63" y="115"/>
                  </a:cubicBezTo>
                  <a:cubicBezTo>
                    <a:pt x="63" y="118"/>
                    <a:pt x="61" y="120"/>
                    <a:pt x="58" y="120"/>
                  </a:cubicBezTo>
                  <a:close/>
                  <a:moveTo>
                    <a:pt x="9" y="111"/>
                  </a:moveTo>
                  <a:cubicBezTo>
                    <a:pt x="54" y="111"/>
                    <a:pt x="54" y="111"/>
                    <a:pt x="54" y="111"/>
                  </a:cubicBezTo>
                  <a:cubicBezTo>
                    <a:pt x="54" y="15"/>
                    <a:pt x="54" y="15"/>
                    <a:pt x="54" y="15"/>
                  </a:cubicBezTo>
                  <a:cubicBezTo>
                    <a:pt x="54" y="12"/>
                    <a:pt x="51" y="9"/>
                    <a:pt x="48" y="9"/>
                  </a:cubicBezTo>
                  <a:cubicBezTo>
                    <a:pt x="15" y="9"/>
                    <a:pt x="15" y="9"/>
                    <a:pt x="15" y="9"/>
                  </a:cubicBezTo>
                  <a:cubicBezTo>
                    <a:pt x="11" y="9"/>
                    <a:pt x="9" y="12"/>
                    <a:pt x="9" y="15"/>
                  </a:cubicBezTo>
                  <a:lnTo>
                    <a:pt x="9" y="111"/>
                  </a:lnTo>
                  <a:close/>
                </a:path>
              </a:pathLst>
            </a:custGeom>
            <a:solidFill>
              <a:srgbClr val="0C11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51" name="Freeform 70">
              <a:extLst>
                <a:ext uri="{FF2B5EF4-FFF2-40B4-BE49-F238E27FC236}">
                  <a16:creationId xmlns:a16="http://schemas.microsoft.com/office/drawing/2014/main" id="{35D3178E-F04B-4445-A7BC-31A46F309E00}"/>
                </a:ext>
              </a:extLst>
            </p:cNvPr>
            <p:cNvSpPr>
              <a:spLocks/>
            </p:cNvSpPr>
            <p:nvPr/>
          </p:nvSpPr>
          <p:spPr bwMode="auto">
            <a:xfrm>
              <a:off x="6273801" y="3068638"/>
              <a:ext cx="242888" cy="869950"/>
            </a:xfrm>
            <a:custGeom>
              <a:avLst/>
              <a:gdLst>
                <a:gd name="T0" fmla="*/ 44 w 54"/>
                <a:gd name="T1" fmla="*/ 0 h 193"/>
                <a:gd name="T2" fmla="*/ 10 w 54"/>
                <a:gd name="T3" fmla="*/ 0 h 193"/>
                <a:gd name="T4" fmla="*/ 0 w 54"/>
                <a:gd name="T5" fmla="*/ 10 h 193"/>
                <a:gd name="T6" fmla="*/ 0 w 54"/>
                <a:gd name="T7" fmla="*/ 193 h 193"/>
                <a:gd name="T8" fmla="*/ 54 w 54"/>
                <a:gd name="T9" fmla="*/ 193 h 193"/>
                <a:gd name="T10" fmla="*/ 54 w 54"/>
                <a:gd name="T11" fmla="*/ 10 h 193"/>
                <a:gd name="T12" fmla="*/ 44 w 54"/>
                <a:gd name="T13" fmla="*/ 0 h 193"/>
              </a:gdLst>
              <a:ahLst/>
              <a:cxnLst>
                <a:cxn ang="0">
                  <a:pos x="T0" y="T1"/>
                </a:cxn>
                <a:cxn ang="0">
                  <a:pos x="T2" y="T3"/>
                </a:cxn>
                <a:cxn ang="0">
                  <a:pos x="T4" y="T5"/>
                </a:cxn>
                <a:cxn ang="0">
                  <a:pos x="T6" y="T7"/>
                </a:cxn>
                <a:cxn ang="0">
                  <a:pos x="T8" y="T9"/>
                </a:cxn>
                <a:cxn ang="0">
                  <a:pos x="T10" y="T11"/>
                </a:cxn>
                <a:cxn ang="0">
                  <a:pos x="T12" y="T13"/>
                </a:cxn>
              </a:cxnLst>
              <a:rect l="0" t="0" r="r" b="b"/>
              <a:pathLst>
                <a:path w="54" h="193">
                  <a:moveTo>
                    <a:pt x="44" y="0"/>
                  </a:moveTo>
                  <a:cubicBezTo>
                    <a:pt x="10" y="0"/>
                    <a:pt x="10" y="0"/>
                    <a:pt x="10" y="0"/>
                  </a:cubicBezTo>
                  <a:cubicBezTo>
                    <a:pt x="5" y="0"/>
                    <a:pt x="0" y="4"/>
                    <a:pt x="0" y="10"/>
                  </a:cubicBezTo>
                  <a:cubicBezTo>
                    <a:pt x="0" y="193"/>
                    <a:pt x="0" y="193"/>
                    <a:pt x="0" y="193"/>
                  </a:cubicBezTo>
                  <a:cubicBezTo>
                    <a:pt x="54" y="193"/>
                    <a:pt x="54" y="193"/>
                    <a:pt x="54" y="193"/>
                  </a:cubicBezTo>
                  <a:cubicBezTo>
                    <a:pt x="54" y="10"/>
                    <a:pt x="54" y="10"/>
                    <a:pt x="54" y="10"/>
                  </a:cubicBezTo>
                  <a:cubicBezTo>
                    <a:pt x="54" y="4"/>
                    <a:pt x="50" y="0"/>
                    <a:pt x="44" y="0"/>
                  </a:cubicBezTo>
                  <a:close/>
                </a:path>
              </a:pathLst>
            </a:custGeom>
            <a:solidFill>
              <a:srgbClr val="E661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52" name="Freeform 71">
              <a:extLst>
                <a:ext uri="{FF2B5EF4-FFF2-40B4-BE49-F238E27FC236}">
                  <a16:creationId xmlns:a16="http://schemas.microsoft.com/office/drawing/2014/main" id="{72AB8068-4E68-41A0-B5F6-4547F6A8D178}"/>
                </a:ext>
              </a:extLst>
            </p:cNvPr>
            <p:cNvSpPr>
              <a:spLocks noEditPoints="1"/>
            </p:cNvSpPr>
            <p:nvPr/>
          </p:nvSpPr>
          <p:spPr bwMode="auto">
            <a:xfrm>
              <a:off x="6256338" y="3046413"/>
              <a:ext cx="282575" cy="914400"/>
            </a:xfrm>
            <a:custGeom>
              <a:avLst/>
              <a:gdLst>
                <a:gd name="T0" fmla="*/ 58 w 63"/>
                <a:gd name="T1" fmla="*/ 203 h 203"/>
                <a:gd name="T2" fmla="*/ 4 w 63"/>
                <a:gd name="T3" fmla="*/ 203 h 203"/>
                <a:gd name="T4" fmla="*/ 0 w 63"/>
                <a:gd name="T5" fmla="*/ 198 h 203"/>
                <a:gd name="T6" fmla="*/ 0 w 63"/>
                <a:gd name="T7" fmla="*/ 15 h 203"/>
                <a:gd name="T8" fmla="*/ 14 w 63"/>
                <a:gd name="T9" fmla="*/ 0 h 203"/>
                <a:gd name="T10" fmla="*/ 48 w 63"/>
                <a:gd name="T11" fmla="*/ 0 h 203"/>
                <a:gd name="T12" fmla="*/ 63 w 63"/>
                <a:gd name="T13" fmla="*/ 15 h 203"/>
                <a:gd name="T14" fmla="*/ 63 w 63"/>
                <a:gd name="T15" fmla="*/ 198 h 203"/>
                <a:gd name="T16" fmla="*/ 58 w 63"/>
                <a:gd name="T17" fmla="*/ 203 h 203"/>
                <a:gd name="T18" fmla="*/ 9 w 63"/>
                <a:gd name="T19" fmla="*/ 194 h 203"/>
                <a:gd name="T20" fmla="*/ 54 w 63"/>
                <a:gd name="T21" fmla="*/ 194 h 203"/>
                <a:gd name="T22" fmla="*/ 54 w 63"/>
                <a:gd name="T23" fmla="*/ 15 h 203"/>
                <a:gd name="T24" fmla="*/ 48 w 63"/>
                <a:gd name="T25" fmla="*/ 9 h 203"/>
                <a:gd name="T26" fmla="*/ 14 w 63"/>
                <a:gd name="T27" fmla="*/ 9 h 203"/>
                <a:gd name="T28" fmla="*/ 9 w 63"/>
                <a:gd name="T29" fmla="*/ 15 h 203"/>
                <a:gd name="T30" fmla="*/ 9 w 63"/>
                <a:gd name="T31" fmla="*/ 194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3" h="203">
                  <a:moveTo>
                    <a:pt x="58" y="203"/>
                  </a:moveTo>
                  <a:cubicBezTo>
                    <a:pt x="4" y="203"/>
                    <a:pt x="4" y="203"/>
                    <a:pt x="4" y="203"/>
                  </a:cubicBezTo>
                  <a:cubicBezTo>
                    <a:pt x="2" y="203"/>
                    <a:pt x="0" y="201"/>
                    <a:pt x="0" y="198"/>
                  </a:cubicBezTo>
                  <a:cubicBezTo>
                    <a:pt x="0" y="15"/>
                    <a:pt x="0" y="15"/>
                    <a:pt x="0" y="15"/>
                  </a:cubicBezTo>
                  <a:cubicBezTo>
                    <a:pt x="0" y="7"/>
                    <a:pt x="6" y="0"/>
                    <a:pt x="14" y="0"/>
                  </a:cubicBezTo>
                  <a:cubicBezTo>
                    <a:pt x="48" y="0"/>
                    <a:pt x="48" y="0"/>
                    <a:pt x="48" y="0"/>
                  </a:cubicBezTo>
                  <a:cubicBezTo>
                    <a:pt x="56" y="0"/>
                    <a:pt x="63" y="7"/>
                    <a:pt x="63" y="15"/>
                  </a:cubicBezTo>
                  <a:cubicBezTo>
                    <a:pt x="63" y="198"/>
                    <a:pt x="63" y="198"/>
                    <a:pt x="63" y="198"/>
                  </a:cubicBezTo>
                  <a:cubicBezTo>
                    <a:pt x="63" y="201"/>
                    <a:pt x="61" y="203"/>
                    <a:pt x="58" y="203"/>
                  </a:cubicBezTo>
                  <a:close/>
                  <a:moveTo>
                    <a:pt x="9" y="194"/>
                  </a:moveTo>
                  <a:cubicBezTo>
                    <a:pt x="54" y="194"/>
                    <a:pt x="54" y="194"/>
                    <a:pt x="54" y="194"/>
                  </a:cubicBezTo>
                  <a:cubicBezTo>
                    <a:pt x="54" y="15"/>
                    <a:pt x="54" y="15"/>
                    <a:pt x="54" y="15"/>
                  </a:cubicBezTo>
                  <a:cubicBezTo>
                    <a:pt x="54" y="12"/>
                    <a:pt x="51" y="9"/>
                    <a:pt x="48" y="9"/>
                  </a:cubicBezTo>
                  <a:cubicBezTo>
                    <a:pt x="14" y="9"/>
                    <a:pt x="14" y="9"/>
                    <a:pt x="14" y="9"/>
                  </a:cubicBezTo>
                  <a:cubicBezTo>
                    <a:pt x="11" y="9"/>
                    <a:pt x="9" y="12"/>
                    <a:pt x="9" y="15"/>
                  </a:cubicBezTo>
                  <a:lnTo>
                    <a:pt x="9" y="194"/>
                  </a:lnTo>
                  <a:close/>
                </a:path>
              </a:pathLst>
            </a:custGeom>
            <a:solidFill>
              <a:srgbClr val="0C11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53" name="Freeform 72">
              <a:extLst>
                <a:ext uri="{FF2B5EF4-FFF2-40B4-BE49-F238E27FC236}">
                  <a16:creationId xmlns:a16="http://schemas.microsoft.com/office/drawing/2014/main" id="{59B215C3-6B0B-4153-B2E8-6642B38E98FC}"/>
                </a:ext>
              </a:extLst>
            </p:cNvPr>
            <p:cNvSpPr>
              <a:spLocks noEditPoints="1"/>
            </p:cNvSpPr>
            <p:nvPr/>
          </p:nvSpPr>
          <p:spPr bwMode="auto">
            <a:xfrm>
              <a:off x="5170488" y="2740026"/>
              <a:ext cx="1179513" cy="652463"/>
            </a:xfrm>
            <a:custGeom>
              <a:avLst/>
              <a:gdLst>
                <a:gd name="T0" fmla="*/ 128 w 262"/>
                <a:gd name="T1" fmla="*/ 145 h 145"/>
                <a:gd name="T2" fmla="*/ 125 w 262"/>
                <a:gd name="T3" fmla="*/ 144 h 145"/>
                <a:gd name="T4" fmla="*/ 66 w 262"/>
                <a:gd name="T5" fmla="*/ 82 h 145"/>
                <a:gd name="T6" fmla="*/ 6 w 262"/>
                <a:gd name="T7" fmla="*/ 113 h 145"/>
                <a:gd name="T8" fmla="*/ 0 w 262"/>
                <a:gd name="T9" fmla="*/ 110 h 145"/>
                <a:gd name="T10" fmla="*/ 3 w 262"/>
                <a:gd name="T11" fmla="*/ 105 h 145"/>
                <a:gd name="T12" fmla="*/ 65 w 262"/>
                <a:gd name="T13" fmla="*/ 72 h 145"/>
                <a:gd name="T14" fmla="*/ 129 w 262"/>
                <a:gd name="T15" fmla="*/ 135 h 145"/>
                <a:gd name="T16" fmla="*/ 199 w 262"/>
                <a:gd name="T17" fmla="*/ 98 h 145"/>
                <a:gd name="T18" fmla="*/ 247 w 262"/>
                <a:gd name="T19" fmla="*/ 14 h 145"/>
                <a:gd name="T20" fmla="*/ 234 w 262"/>
                <a:gd name="T21" fmla="*/ 19 h 145"/>
                <a:gd name="T22" fmla="*/ 228 w 262"/>
                <a:gd name="T23" fmla="*/ 17 h 145"/>
                <a:gd name="T24" fmla="*/ 231 w 262"/>
                <a:gd name="T25" fmla="*/ 11 h 145"/>
                <a:gd name="T26" fmla="*/ 255 w 262"/>
                <a:gd name="T27" fmla="*/ 1 h 145"/>
                <a:gd name="T28" fmla="*/ 260 w 262"/>
                <a:gd name="T29" fmla="*/ 2 h 145"/>
                <a:gd name="T30" fmla="*/ 261 w 262"/>
                <a:gd name="T31" fmla="*/ 7 h 145"/>
                <a:gd name="T32" fmla="*/ 207 w 262"/>
                <a:gd name="T33" fmla="*/ 103 h 145"/>
                <a:gd name="T34" fmla="*/ 205 w 262"/>
                <a:gd name="T35" fmla="*/ 105 h 145"/>
                <a:gd name="T36" fmla="*/ 131 w 262"/>
                <a:gd name="T37" fmla="*/ 145 h 145"/>
                <a:gd name="T38" fmla="*/ 128 w 262"/>
                <a:gd name="T39" fmla="*/ 145 h 145"/>
                <a:gd name="T40" fmla="*/ 3 w 262"/>
                <a:gd name="T41" fmla="*/ 105 h 145"/>
                <a:gd name="T42" fmla="*/ 3 w 262"/>
                <a:gd name="T43" fmla="*/ 105 h 145"/>
                <a:gd name="T44" fmla="*/ 3 w 262"/>
                <a:gd name="T45" fmla="*/ 105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62" h="145">
                  <a:moveTo>
                    <a:pt x="128" y="145"/>
                  </a:moveTo>
                  <a:cubicBezTo>
                    <a:pt x="127" y="145"/>
                    <a:pt x="126" y="145"/>
                    <a:pt x="125" y="144"/>
                  </a:cubicBezTo>
                  <a:cubicBezTo>
                    <a:pt x="66" y="82"/>
                    <a:pt x="66" y="82"/>
                    <a:pt x="66" y="82"/>
                  </a:cubicBezTo>
                  <a:cubicBezTo>
                    <a:pt x="47" y="92"/>
                    <a:pt x="9" y="112"/>
                    <a:pt x="6" y="113"/>
                  </a:cubicBezTo>
                  <a:cubicBezTo>
                    <a:pt x="4" y="114"/>
                    <a:pt x="1" y="113"/>
                    <a:pt x="0" y="110"/>
                  </a:cubicBezTo>
                  <a:cubicBezTo>
                    <a:pt x="0" y="108"/>
                    <a:pt x="1" y="105"/>
                    <a:pt x="3" y="105"/>
                  </a:cubicBezTo>
                  <a:cubicBezTo>
                    <a:pt x="6" y="103"/>
                    <a:pt x="43" y="84"/>
                    <a:pt x="65" y="72"/>
                  </a:cubicBezTo>
                  <a:cubicBezTo>
                    <a:pt x="68" y="65"/>
                    <a:pt x="127" y="135"/>
                    <a:pt x="129" y="135"/>
                  </a:cubicBezTo>
                  <a:cubicBezTo>
                    <a:pt x="199" y="98"/>
                    <a:pt x="199" y="98"/>
                    <a:pt x="199" y="98"/>
                  </a:cubicBezTo>
                  <a:cubicBezTo>
                    <a:pt x="247" y="14"/>
                    <a:pt x="247" y="14"/>
                    <a:pt x="247" y="14"/>
                  </a:cubicBezTo>
                  <a:cubicBezTo>
                    <a:pt x="234" y="19"/>
                    <a:pt x="234" y="19"/>
                    <a:pt x="234" y="19"/>
                  </a:cubicBezTo>
                  <a:cubicBezTo>
                    <a:pt x="232" y="20"/>
                    <a:pt x="229" y="19"/>
                    <a:pt x="228" y="17"/>
                  </a:cubicBezTo>
                  <a:cubicBezTo>
                    <a:pt x="227" y="14"/>
                    <a:pt x="228" y="12"/>
                    <a:pt x="231" y="11"/>
                  </a:cubicBezTo>
                  <a:cubicBezTo>
                    <a:pt x="255" y="1"/>
                    <a:pt x="255" y="1"/>
                    <a:pt x="255" y="1"/>
                  </a:cubicBezTo>
                  <a:cubicBezTo>
                    <a:pt x="257" y="0"/>
                    <a:pt x="259" y="1"/>
                    <a:pt x="260" y="2"/>
                  </a:cubicBezTo>
                  <a:cubicBezTo>
                    <a:pt x="262" y="3"/>
                    <a:pt x="262" y="6"/>
                    <a:pt x="261" y="7"/>
                  </a:cubicBezTo>
                  <a:cubicBezTo>
                    <a:pt x="207" y="103"/>
                    <a:pt x="207" y="103"/>
                    <a:pt x="207" y="103"/>
                  </a:cubicBezTo>
                  <a:cubicBezTo>
                    <a:pt x="206" y="104"/>
                    <a:pt x="205" y="105"/>
                    <a:pt x="205" y="105"/>
                  </a:cubicBezTo>
                  <a:cubicBezTo>
                    <a:pt x="131" y="145"/>
                    <a:pt x="131" y="145"/>
                    <a:pt x="131" y="145"/>
                  </a:cubicBezTo>
                  <a:cubicBezTo>
                    <a:pt x="130" y="145"/>
                    <a:pt x="129" y="145"/>
                    <a:pt x="128" y="145"/>
                  </a:cubicBezTo>
                  <a:close/>
                  <a:moveTo>
                    <a:pt x="3" y="105"/>
                  </a:moveTo>
                  <a:cubicBezTo>
                    <a:pt x="3" y="105"/>
                    <a:pt x="3" y="105"/>
                    <a:pt x="3" y="105"/>
                  </a:cubicBezTo>
                  <a:cubicBezTo>
                    <a:pt x="3" y="105"/>
                    <a:pt x="3" y="105"/>
                    <a:pt x="3" y="105"/>
                  </a:cubicBezTo>
                  <a:close/>
                </a:path>
              </a:pathLst>
            </a:custGeom>
            <a:solidFill>
              <a:srgbClr val="0C11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54" name="Freeform 73">
              <a:extLst>
                <a:ext uri="{FF2B5EF4-FFF2-40B4-BE49-F238E27FC236}">
                  <a16:creationId xmlns:a16="http://schemas.microsoft.com/office/drawing/2014/main" id="{86CDFF36-87BE-446C-962E-F75058811B03}"/>
                </a:ext>
              </a:extLst>
            </p:cNvPr>
            <p:cNvSpPr>
              <a:spLocks/>
            </p:cNvSpPr>
            <p:nvPr/>
          </p:nvSpPr>
          <p:spPr bwMode="auto">
            <a:xfrm>
              <a:off x="6305551" y="2730501"/>
              <a:ext cx="68263" cy="176213"/>
            </a:xfrm>
            <a:custGeom>
              <a:avLst/>
              <a:gdLst>
                <a:gd name="T0" fmla="*/ 10 w 15"/>
                <a:gd name="T1" fmla="*/ 39 h 39"/>
                <a:gd name="T2" fmla="*/ 6 w 15"/>
                <a:gd name="T3" fmla="*/ 35 h 39"/>
                <a:gd name="T4" fmla="*/ 1 w 15"/>
                <a:gd name="T5" fmla="*/ 8 h 39"/>
                <a:gd name="T6" fmla="*/ 9 w 15"/>
                <a:gd name="T7" fmla="*/ 6 h 39"/>
                <a:gd name="T8" fmla="*/ 14 w 15"/>
                <a:gd name="T9" fmla="*/ 34 h 39"/>
                <a:gd name="T10" fmla="*/ 10 w 15"/>
                <a:gd name="T11" fmla="*/ 39 h 39"/>
              </a:gdLst>
              <a:ahLst/>
              <a:cxnLst>
                <a:cxn ang="0">
                  <a:pos x="T0" y="T1"/>
                </a:cxn>
                <a:cxn ang="0">
                  <a:pos x="T2" y="T3"/>
                </a:cxn>
                <a:cxn ang="0">
                  <a:pos x="T4" y="T5"/>
                </a:cxn>
                <a:cxn ang="0">
                  <a:pos x="T6" y="T7"/>
                </a:cxn>
                <a:cxn ang="0">
                  <a:pos x="T8" y="T9"/>
                </a:cxn>
                <a:cxn ang="0">
                  <a:pos x="T10" y="T11"/>
                </a:cxn>
              </a:cxnLst>
              <a:rect l="0" t="0" r="r" b="b"/>
              <a:pathLst>
                <a:path w="15" h="39">
                  <a:moveTo>
                    <a:pt x="10" y="39"/>
                  </a:moveTo>
                  <a:cubicBezTo>
                    <a:pt x="8" y="39"/>
                    <a:pt x="6" y="38"/>
                    <a:pt x="6" y="35"/>
                  </a:cubicBezTo>
                  <a:cubicBezTo>
                    <a:pt x="1" y="8"/>
                    <a:pt x="1" y="8"/>
                    <a:pt x="1" y="8"/>
                  </a:cubicBezTo>
                  <a:cubicBezTo>
                    <a:pt x="0" y="2"/>
                    <a:pt x="9" y="0"/>
                    <a:pt x="9" y="6"/>
                  </a:cubicBezTo>
                  <a:cubicBezTo>
                    <a:pt x="9" y="6"/>
                    <a:pt x="14" y="34"/>
                    <a:pt x="14" y="34"/>
                  </a:cubicBezTo>
                  <a:cubicBezTo>
                    <a:pt x="15" y="37"/>
                    <a:pt x="13" y="39"/>
                    <a:pt x="10" y="39"/>
                  </a:cubicBezTo>
                  <a:close/>
                </a:path>
              </a:pathLst>
            </a:custGeom>
            <a:solidFill>
              <a:srgbClr val="0C11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55" name="Freeform 74">
              <a:extLst>
                <a:ext uri="{FF2B5EF4-FFF2-40B4-BE49-F238E27FC236}">
                  <a16:creationId xmlns:a16="http://schemas.microsoft.com/office/drawing/2014/main" id="{18618892-9E04-472D-9BCD-1A8A5DB95069}"/>
                </a:ext>
              </a:extLst>
            </p:cNvPr>
            <p:cNvSpPr>
              <a:spLocks/>
            </p:cNvSpPr>
            <p:nvPr/>
          </p:nvSpPr>
          <p:spPr bwMode="auto">
            <a:xfrm>
              <a:off x="5418138" y="3014663"/>
              <a:ext cx="112713" cy="149225"/>
            </a:xfrm>
            <a:custGeom>
              <a:avLst/>
              <a:gdLst>
                <a:gd name="T0" fmla="*/ 25 w 25"/>
                <a:gd name="T1" fmla="*/ 16 h 33"/>
                <a:gd name="T2" fmla="*/ 0 w 25"/>
                <a:gd name="T3" fmla="*/ 16 h 33"/>
                <a:gd name="T4" fmla="*/ 25 w 25"/>
                <a:gd name="T5" fmla="*/ 16 h 33"/>
              </a:gdLst>
              <a:ahLst/>
              <a:cxnLst>
                <a:cxn ang="0">
                  <a:pos x="T0" y="T1"/>
                </a:cxn>
                <a:cxn ang="0">
                  <a:pos x="T2" y="T3"/>
                </a:cxn>
                <a:cxn ang="0">
                  <a:pos x="T4" y="T5"/>
                </a:cxn>
              </a:cxnLst>
              <a:rect l="0" t="0" r="r" b="b"/>
              <a:pathLst>
                <a:path w="25" h="33">
                  <a:moveTo>
                    <a:pt x="25" y="16"/>
                  </a:moveTo>
                  <a:cubicBezTo>
                    <a:pt x="24" y="33"/>
                    <a:pt x="0" y="33"/>
                    <a:pt x="0" y="16"/>
                  </a:cubicBezTo>
                  <a:cubicBezTo>
                    <a:pt x="0" y="0"/>
                    <a:pt x="24" y="0"/>
                    <a:pt x="25" y="16"/>
                  </a:cubicBezTo>
                  <a:close/>
                </a:path>
              </a:pathLst>
            </a:custGeom>
            <a:solidFill>
              <a:srgbClr val="0C11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56" name="Freeform 75">
              <a:extLst>
                <a:ext uri="{FF2B5EF4-FFF2-40B4-BE49-F238E27FC236}">
                  <a16:creationId xmlns:a16="http://schemas.microsoft.com/office/drawing/2014/main" id="{74E215BE-CB49-4A60-8EFD-C2B98D84FDAD}"/>
                </a:ext>
              </a:extLst>
            </p:cNvPr>
            <p:cNvSpPr>
              <a:spLocks/>
            </p:cNvSpPr>
            <p:nvPr/>
          </p:nvSpPr>
          <p:spPr bwMode="auto">
            <a:xfrm>
              <a:off x="5702301" y="3298826"/>
              <a:ext cx="112713" cy="147638"/>
            </a:xfrm>
            <a:custGeom>
              <a:avLst/>
              <a:gdLst>
                <a:gd name="T0" fmla="*/ 25 w 25"/>
                <a:gd name="T1" fmla="*/ 17 h 33"/>
                <a:gd name="T2" fmla="*/ 0 w 25"/>
                <a:gd name="T3" fmla="*/ 17 h 33"/>
                <a:gd name="T4" fmla="*/ 25 w 25"/>
                <a:gd name="T5" fmla="*/ 17 h 33"/>
              </a:gdLst>
              <a:ahLst/>
              <a:cxnLst>
                <a:cxn ang="0">
                  <a:pos x="T0" y="T1"/>
                </a:cxn>
                <a:cxn ang="0">
                  <a:pos x="T2" y="T3"/>
                </a:cxn>
                <a:cxn ang="0">
                  <a:pos x="T4" y="T5"/>
                </a:cxn>
              </a:cxnLst>
              <a:rect l="0" t="0" r="r" b="b"/>
              <a:pathLst>
                <a:path w="25" h="33">
                  <a:moveTo>
                    <a:pt x="25" y="17"/>
                  </a:moveTo>
                  <a:cubicBezTo>
                    <a:pt x="25" y="33"/>
                    <a:pt x="0" y="33"/>
                    <a:pt x="0" y="17"/>
                  </a:cubicBezTo>
                  <a:cubicBezTo>
                    <a:pt x="0" y="0"/>
                    <a:pt x="25" y="0"/>
                    <a:pt x="25" y="17"/>
                  </a:cubicBezTo>
                  <a:close/>
                </a:path>
              </a:pathLst>
            </a:custGeom>
            <a:solidFill>
              <a:srgbClr val="0C11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57" name="Freeform 76">
              <a:extLst>
                <a:ext uri="{FF2B5EF4-FFF2-40B4-BE49-F238E27FC236}">
                  <a16:creationId xmlns:a16="http://schemas.microsoft.com/office/drawing/2014/main" id="{BE24664F-26A8-45EC-BA0A-4AF2C602EC7A}"/>
                </a:ext>
              </a:extLst>
            </p:cNvPr>
            <p:cNvSpPr>
              <a:spLocks/>
            </p:cNvSpPr>
            <p:nvPr/>
          </p:nvSpPr>
          <p:spPr bwMode="auto">
            <a:xfrm>
              <a:off x="6008688" y="3132138"/>
              <a:ext cx="112713" cy="142875"/>
            </a:xfrm>
            <a:custGeom>
              <a:avLst/>
              <a:gdLst>
                <a:gd name="T0" fmla="*/ 25 w 25"/>
                <a:gd name="T1" fmla="*/ 16 h 32"/>
                <a:gd name="T2" fmla="*/ 0 w 25"/>
                <a:gd name="T3" fmla="*/ 16 h 32"/>
                <a:gd name="T4" fmla="*/ 25 w 25"/>
                <a:gd name="T5" fmla="*/ 16 h 32"/>
              </a:gdLst>
              <a:ahLst/>
              <a:cxnLst>
                <a:cxn ang="0">
                  <a:pos x="T0" y="T1"/>
                </a:cxn>
                <a:cxn ang="0">
                  <a:pos x="T2" y="T3"/>
                </a:cxn>
                <a:cxn ang="0">
                  <a:pos x="T4" y="T5"/>
                </a:cxn>
              </a:cxnLst>
              <a:rect l="0" t="0" r="r" b="b"/>
              <a:pathLst>
                <a:path w="25" h="32">
                  <a:moveTo>
                    <a:pt x="25" y="16"/>
                  </a:moveTo>
                  <a:cubicBezTo>
                    <a:pt x="25" y="32"/>
                    <a:pt x="0" y="32"/>
                    <a:pt x="0" y="16"/>
                  </a:cubicBezTo>
                  <a:cubicBezTo>
                    <a:pt x="0" y="0"/>
                    <a:pt x="25" y="0"/>
                    <a:pt x="25" y="16"/>
                  </a:cubicBezTo>
                  <a:close/>
                </a:path>
              </a:pathLst>
            </a:custGeom>
            <a:solidFill>
              <a:srgbClr val="0C11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58" name="Freeform 77">
              <a:extLst>
                <a:ext uri="{FF2B5EF4-FFF2-40B4-BE49-F238E27FC236}">
                  <a16:creationId xmlns:a16="http://schemas.microsoft.com/office/drawing/2014/main" id="{C511E510-BCFF-4FB8-8A9C-F182B2CA8159}"/>
                </a:ext>
              </a:extLst>
            </p:cNvPr>
            <p:cNvSpPr>
              <a:spLocks/>
            </p:cNvSpPr>
            <p:nvPr/>
          </p:nvSpPr>
          <p:spPr bwMode="auto">
            <a:xfrm>
              <a:off x="6719888" y="3225801"/>
              <a:ext cx="603250" cy="522288"/>
            </a:xfrm>
            <a:custGeom>
              <a:avLst/>
              <a:gdLst>
                <a:gd name="T0" fmla="*/ 134 w 134"/>
                <a:gd name="T1" fmla="*/ 58 h 116"/>
                <a:gd name="T2" fmla="*/ 76 w 134"/>
                <a:gd name="T3" fmla="*/ 116 h 116"/>
                <a:gd name="T4" fmla="*/ 76 w 134"/>
                <a:gd name="T5" fmla="*/ 0 h 116"/>
                <a:gd name="T6" fmla="*/ 76 w 134"/>
                <a:gd name="T7" fmla="*/ 58 h 116"/>
                <a:gd name="T8" fmla="*/ 134 w 134"/>
                <a:gd name="T9" fmla="*/ 58 h 116"/>
              </a:gdLst>
              <a:ahLst/>
              <a:cxnLst>
                <a:cxn ang="0">
                  <a:pos x="T0" y="T1"/>
                </a:cxn>
                <a:cxn ang="0">
                  <a:pos x="T2" y="T3"/>
                </a:cxn>
                <a:cxn ang="0">
                  <a:pos x="T4" y="T5"/>
                </a:cxn>
                <a:cxn ang="0">
                  <a:pos x="T6" y="T7"/>
                </a:cxn>
                <a:cxn ang="0">
                  <a:pos x="T8" y="T9"/>
                </a:cxn>
              </a:cxnLst>
              <a:rect l="0" t="0" r="r" b="b"/>
              <a:pathLst>
                <a:path w="134" h="116">
                  <a:moveTo>
                    <a:pt x="134" y="58"/>
                  </a:moveTo>
                  <a:cubicBezTo>
                    <a:pt x="134" y="90"/>
                    <a:pt x="108" y="116"/>
                    <a:pt x="76" y="116"/>
                  </a:cubicBezTo>
                  <a:cubicBezTo>
                    <a:pt x="0" y="115"/>
                    <a:pt x="0" y="2"/>
                    <a:pt x="76" y="0"/>
                  </a:cubicBezTo>
                  <a:cubicBezTo>
                    <a:pt x="76" y="58"/>
                    <a:pt x="76" y="58"/>
                    <a:pt x="76" y="58"/>
                  </a:cubicBezTo>
                  <a:lnTo>
                    <a:pt x="134" y="58"/>
                  </a:lnTo>
                  <a:close/>
                </a:path>
              </a:pathLst>
            </a:custGeom>
            <a:solidFill>
              <a:srgbClr val="E86F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59" name="Freeform 78">
              <a:extLst>
                <a:ext uri="{FF2B5EF4-FFF2-40B4-BE49-F238E27FC236}">
                  <a16:creationId xmlns:a16="http://schemas.microsoft.com/office/drawing/2014/main" id="{622808CF-185F-4642-82F1-9E013EE8E367}"/>
                </a:ext>
              </a:extLst>
            </p:cNvPr>
            <p:cNvSpPr>
              <a:spLocks/>
            </p:cNvSpPr>
            <p:nvPr/>
          </p:nvSpPr>
          <p:spPr bwMode="auto">
            <a:xfrm>
              <a:off x="6989763" y="3487738"/>
              <a:ext cx="338138" cy="301625"/>
            </a:xfrm>
            <a:custGeom>
              <a:avLst/>
              <a:gdLst>
                <a:gd name="T0" fmla="*/ 51 w 75"/>
                <a:gd name="T1" fmla="*/ 0 h 67"/>
                <a:gd name="T2" fmla="*/ 0 w 75"/>
                <a:gd name="T3" fmla="*/ 56 h 67"/>
                <a:gd name="T4" fmla="*/ 74 w 75"/>
                <a:gd name="T5" fmla="*/ 0 h 67"/>
                <a:gd name="T6" fmla="*/ 51 w 75"/>
                <a:gd name="T7" fmla="*/ 0 h 67"/>
              </a:gdLst>
              <a:ahLst/>
              <a:cxnLst>
                <a:cxn ang="0">
                  <a:pos x="T0" y="T1"/>
                </a:cxn>
                <a:cxn ang="0">
                  <a:pos x="T2" y="T3"/>
                </a:cxn>
                <a:cxn ang="0">
                  <a:pos x="T4" y="T5"/>
                </a:cxn>
                <a:cxn ang="0">
                  <a:pos x="T6" y="T7"/>
                </a:cxn>
              </a:cxnLst>
              <a:rect l="0" t="0" r="r" b="b"/>
              <a:pathLst>
                <a:path w="75" h="67">
                  <a:moveTo>
                    <a:pt x="51" y="0"/>
                  </a:moveTo>
                  <a:cubicBezTo>
                    <a:pt x="41" y="25"/>
                    <a:pt x="25" y="48"/>
                    <a:pt x="0" y="56"/>
                  </a:cubicBezTo>
                  <a:cubicBezTo>
                    <a:pt x="36" y="67"/>
                    <a:pt x="75" y="38"/>
                    <a:pt x="74" y="0"/>
                  </a:cubicBezTo>
                  <a:lnTo>
                    <a:pt x="51" y="0"/>
                  </a:lnTo>
                  <a:close/>
                </a:path>
              </a:pathLst>
            </a:custGeom>
            <a:solidFill>
              <a:srgbClr val="E34B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60" name="Freeform 79">
              <a:extLst>
                <a:ext uri="{FF2B5EF4-FFF2-40B4-BE49-F238E27FC236}">
                  <a16:creationId xmlns:a16="http://schemas.microsoft.com/office/drawing/2014/main" id="{F4B5415C-1A47-44A7-B59B-B2097237EEA6}"/>
                </a:ext>
              </a:extLst>
            </p:cNvPr>
            <p:cNvSpPr>
              <a:spLocks noEditPoints="1"/>
            </p:cNvSpPr>
            <p:nvPr/>
          </p:nvSpPr>
          <p:spPr bwMode="auto">
            <a:xfrm>
              <a:off x="6692901" y="3208338"/>
              <a:ext cx="649288" cy="598488"/>
            </a:xfrm>
            <a:custGeom>
              <a:avLst/>
              <a:gdLst>
                <a:gd name="T0" fmla="*/ 82 w 144"/>
                <a:gd name="T1" fmla="*/ 125 h 133"/>
                <a:gd name="T2" fmla="*/ 82 w 144"/>
                <a:gd name="T3" fmla="*/ 0 h 133"/>
                <a:gd name="T4" fmla="*/ 87 w 144"/>
                <a:gd name="T5" fmla="*/ 4 h 133"/>
                <a:gd name="T6" fmla="*/ 87 w 144"/>
                <a:gd name="T7" fmla="*/ 58 h 133"/>
                <a:gd name="T8" fmla="*/ 140 w 144"/>
                <a:gd name="T9" fmla="*/ 58 h 133"/>
                <a:gd name="T10" fmla="*/ 144 w 144"/>
                <a:gd name="T11" fmla="*/ 62 h 133"/>
                <a:gd name="T12" fmla="*/ 82 w 144"/>
                <a:gd name="T13" fmla="*/ 125 h 133"/>
                <a:gd name="T14" fmla="*/ 78 w 144"/>
                <a:gd name="T15" fmla="*/ 9 h 133"/>
                <a:gd name="T16" fmla="*/ 29 w 144"/>
                <a:gd name="T17" fmla="*/ 62 h 133"/>
                <a:gd name="T18" fmla="*/ 135 w 144"/>
                <a:gd name="T19" fmla="*/ 67 h 133"/>
                <a:gd name="T20" fmla="*/ 78 w 144"/>
                <a:gd name="T21" fmla="*/ 9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4" h="133">
                  <a:moveTo>
                    <a:pt x="82" y="125"/>
                  </a:moveTo>
                  <a:cubicBezTo>
                    <a:pt x="0" y="123"/>
                    <a:pt x="0" y="1"/>
                    <a:pt x="82" y="0"/>
                  </a:cubicBezTo>
                  <a:cubicBezTo>
                    <a:pt x="85" y="0"/>
                    <a:pt x="87" y="2"/>
                    <a:pt x="87" y="4"/>
                  </a:cubicBezTo>
                  <a:cubicBezTo>
                    <a:pt x="87" y="58"/>
                    <a:pt x="87" y="58"/>
                    <a:pt x="87" y="58"/>
                  </a:cubicBezTo>
                  <a:cubicBezTo>
                    <a:pt x="140" y="58"/>
                    <a:pt x="140" y="58"/>
                    <a:pt x="140" y="58"/>
                  </a:cubicBezTo>
                  <a:cubicBezTo>
                    <a:pt x="142" y="58"/>
                    <a:pt x="144" y="60"/>
                    <a:pt x="144" y="62"/>
                  </a:cubicBezTo>
                  <a:cubicBezTo>
                    <a:pt x="144" y="97"/>
                    <a:pt x="116" y="125"/>
                    <a:pt x="82" y="125"/>
                  </a:cubicBezTo>
                  <a:close/>
                  <a:moveTo>
                    <a:pt x="78" y="9"/>
                  </a:moveTo>
                  <a:cubicBezTo>
                    <a:pt x="50" y="11"/>
                    <a:pt x="29" y="34"/>
                    <a:pt x="29" y="62"/>
                  </a:cubicBezTo>
                  <a:cubicBezTo>
                    <a:pt x="29" y="129"/>
                    <a:pt x="130" y="133"/>
                    <a:pt x="135" y="67"/>
                  </a:cubicBezTo>
                  <a:cubicBezTo>
                    <a:pt x="60" y="64"/>
                    <a:pt x="80" y="84"/>
                    <a:pt x="78" y="9"/>
                  </a:cubicBezTo>
                  <a:close/>
                </a:path>
              </a:pathLst>
            </a:custGeom>
            <a:solidFill>
              <a:srgbClr val="0C11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61" name="Freeform 80">
              <a:extLst>
                <a:ext uri="{FF2B5EF4-FFF2-40B4-BE49-F238E27FC236}">
                  <a16:creationId xmlns:a16="http://schemas.microsoft.com/office/drawing/2014/main" id="{E60F5CDC-F11F-42A3-8AAD-03762DDAE510}"/>
                </a:ext>
              </a:extLst>
            </p:cNvPr>
            <p:cNvSpPr>
              <a:spLocks/>
            </p:cNvSpPr>
            <p:nvPr/>
          </p:nvSpPr>
          <p:spPr bwMode="auto">
            <a:xfrm>
              <a:off x="7156451" y="3136901"/>
              <a:ext cx="261938" cy="260350"/>
            </a:xfrm>
            <a:custGeom>
              <a:avLst/>
              <a:gdLst>
                <a:gd name="T0" fmla="*/ 0 w 58"/>
                <a:gd name="T1" fmla="*/ 0 h 58"/>
                <a:gd name="T2" fmla="*/ 58 w 58"/>
                <a:gd name="T3" fmla="*/ 58 h 58"/>
                <a:gd name="T4" fmla="*/ 0 w 58"/>
                <a:gd name="T5" fmla="*/ 57 h 58"/>
                <a:gd name="T6" fmla="*/ 0 w 58"/>
                <a:gd name="T7" fmla="*/ 0 h 58"/>
              </a:gdLst>
              <a:ahLst/>
              <a:cxnLst>
                <a:cxn ang="0">
                  <a:pos x="T0" y="T1"/>
                </a:cxn>
                <a:cxn ang="0">
                  <a:pos x="T2" y="T3"/>
                </a:cxn>
                <a:cxn ang="0">
                  <a:pos x="T4" y="T5"/>
                </a:cxn>
                <a:cxn ang="0">
                  <a:pos x="T6" y="T7"/>
                </a:cxn>
              </a:cxnLst>
              <a:rect l="0" t="0" r="r" b="b"/>
              <a:pathLst>
                <a:path w="58" h="58">
                  <a:moveTo>
                    <a:pt x="0" y="0"/>
                  </a:moveTo>
                  <a:cubicBezTo>
                    <a:pt x="32" y="0"/>
                    <a:pt x="58" y="26"/>
                    <a:pt x="58" y="58"/>
                  </a:cubicBezTo>
                  <a:cubicBezTo>
                    <a:pt x="0" y="57"/>
                    <a:pt x="0" y="57"/>
                    <a:pt x="0" y="57"/>
                  </a:cubicBezTo>
                  <a:lnTo>
                    <a:pt x="0" y="0"/>
                  </a:lnTo>
                  <a:close/>
                </a:path>
              </a:pathLst>
            </a:custGeom>
            <a:solidFill>
              <a:srgbClr val="F9D12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62" name="Freeform 81">
              <a:extLst>
                <a:ext uri="{FF2B5EF4-FFF2-40B4-BE49-F238E27FC236}">
                  <a16:creationId xmlns:a16="http://schemas.microsoft.com/office/drawing/2014/main" id="{C0DA2310-8D9C-40C5-B1E8-DF73718F53D8}"/>
                </a:ext>
              </a:extLst>
            </p:cNvPr>
            <p:cNvSpPr>
              <a:spLocks/>
            </p:cNvSpPr>
            <p:nvPr/>
          </p:nvSpPr>
          <p:spPr bwMode="auto">
            <a:xfrm>
              <a:off x="7232651" y="3190876"/>
              <a:ext cx="185738" cy="206375"/>
            </a:xfrm>
            <a:custGeom>
              <a:avLst/>
              <a:gdLst>
                <a:gd name="T0" fmla="*/ 18 w 41"/>
                <a:gd name="T1" fmla="*/ 0 h 46"/>
                <a:gd name="T2" fmla="*/ 0 w 41"/>
                <a:gd name="T3" fmla="*/ 45 h 46"/>
                <a:gd name="T4" fmla="*/ 41 w 41"/>
                <a:gd name="T5" fmla="*/ 46 h 46"/>
                <a:gd name="T6" fmla="*/ 18 w 41"/>
                <a:gd name="T7" fmla="*/ 0 h 46"/>
              </a:gdLst>
              <a:ahLst/>
              <a:cxnLst>
                <a:cxn ang="0">
                  <a:pos x="T0" y="T1"/>
                </a:cxn>
                <a:cxn ang="0">
                  <a:pos x="T2" y="T3"/>
                </a:cxn>
                <a:cxn ang="0">
                  <a:pos x="T4" y="T5"/>
                </a:cxn>
                <a:cxn ang="0">
                  <a:pos x="T6" y="T7"/>
                </a:cxn>
              </a:cxnLst>
              <a:rect l="0" t="0" r="r" b="b"/>
              <a:pathLst>
                <a:path w="41" h="46">
                  <a:moveTo>
                    <a:pt x="18" y="0"/>
                  </a:moveTo>
                  <a:cubicBezTo>
                    <a:pt x="14" y="15"/>
                    <a:pt x="8" y="31"/>
                    <a:pt x="0" y="45"/>
                  </a:cubicBezTo>
                  <a:cubicBezTo>
                    <a:pt x="41" y="46"/>
                    <a:pt x="41" y="46"/>
                    <a:pt x="41" y="46"/>
                  </a:cubicBezTo>
                  <a:cubicBezTo>
                    <a:pt x="41" y="27"/>
                    <a:pt x="32" y="10"/>
                    <a:pt x="18" y="0"/>
                  </a:cubicBezTo>
                  <a:close/>
                </a:path>
              </a:pathLst>
            </a:custGeom>
            <a:solidFill>
              <a:srgbClr val="F4BD0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63" name="Freeform 82">
              <a:extLst>
                <a:ext uri="{FF2B5EF4-FFF2-40B4-BE49-F238E27FC236}">
                  <a16:creationId xmlns:a16="http://schemas.microsoft.com/office/drawing/2014/main" id="{8CD99EEF-CD4E-41BA-B867-F47EC4575CEB}"/>
                </a:ext>
              </a:extLst>
            </p:cNvPr>
            <p:cNvSpPr>
              <a:spLocks noEditPoints="1"/>
            </p:cNvSpPr>
            <p:nvPr/>
          </p:nvSpPr>
          <p:spPr bwMode="auto">
            <a:xfrm>
              <a:off x="7053263" y="3117851"/>
              <a:ext cx="382588" cy="382588"/>
            </a:xfrm>
            <a:custGeom>
              <a:avLst/>
              <a:gdLst>
                <a:gd name="T0" fmla="*/ 81 w 85"/>
                <a:gd name="T1" fmla="*/ 66 h 85"/>
                <a:gd name="T2" fmla="*/ 18 w 85"/>
                <a:gd name="T3" fmla="*/ 4 h 85"/>
                <a:gd name="T4" fmla="*/ 23 w 85"/>
                <a:gd name="T5" fmla="*/ 0 h 85"/>
                <a:gd name="T6" fmla="*/ 85 w 85"/>
                <a:gd name="T7" fmla="*/ 62 h 85"/>
                <a:gd name="T8" fmla="*/ 81 w 85"/>
                <a:gd name="T9" fmla="*/ 66 h 85"/>
                <a:gd name="T10" fmla="*/ 27 w 85"/>
                <a:gd name="T11" fmla="*/ 57 h 85"/>
                <a:gd name="T12" fmla="*/ 76 w 85"/>
                <a:gd name="T13" fmla="*/ 57 h 85"/>
                <a:gd name="T14" fmla="*/ 27 w 85"/>
                <a:gd name="T15" fmla="*/ 9 h 85"/>
                <a:gd name="T16" fmla="*/ 27 w 85"/>
                <a:gd name="T17" fmla="*/ 57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85">
                  <a:moveTo>
                    <a:pt x="81" y="66"/>
                  </a:moveTo>
                  <a:cubicBezTo>
                    <a:pt x="0" y="62"/>
                    <a:pt x="21" y="85"/>
                    <a:pt x="18" y="4"/>
                  </a:cubicBezTo>
                  <a:cubicBezTo>
                    <a:pt x="18" y="2"/>
                    <a:pt x="20" y="0"/>
                    <a:pt x="23" y="0"/>
                  </a:cubicBezTo>
                  <a:cubicBezTo>
                    <a:pt x="57" y="0"/>
                    <a:pt x="85" y="28"/>
                    <a:pt x="85" y="62"/>
                  </a:cubicBezTo>
                  <a:cubicBezTo>
                    <a:pt x="85" y="64"/>
                    <a:pt x="83" y="67"/>
                    <a:pt x="81" y="66"/>
                  </a:cubicBezTo>
                  <a:close/>
                  <a:moveTo>
                    <a:pt x="27" y="57"/>
                  </a:moveTo>
                  <a:cubicBezTo>
                    <a:pt x="76" y="57"/>
                    <a:pt x="76" y="57"/>
                    <a:pt x="76" y="57"/>
                  </a:cubicBezTo>
                  <a:cubicBezTo>
                    <a:pt x="74" y="32"/>
                    <a:pt x="53" y="11"/>
                    <a:pt x="27" y="9"/>
                  </a:cubicBezTo>
                  <a:lnTo>
                    <a:pt x="27" y="57"/>
                  </a:lnTo>
                  <a:close/>
                </a:path>
              </a:pathLst>
            </a:custGeom>
            <a:solidFill>
              <a:srgbClr val="0C11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64" name="Freeform 83">
              <a:extLst>
                <a:ext uri="{FF2B5EF4-FFF2-40B4-BE49-F238E27FC236}">
                  <a16:creationId xmlns:a16="http://schemas.microsoft.com/office/drawing/2014/main" id="{858206BB-F221-48B6-B352-388C307D497E}"/>
                </a:ext>
              </a:extLst>
            </p:cNvPr>
            <p:cNvSpPr>
              <a:spLocks/>
            </p:cNvSpPr>
            <p:nvPr/>
          </p:nvSpPr>
          <p:spPr bwMode="auto">
            <a:xfrm>
              <a:off x="6805613" y="2622551"/>
              <a:ext cx="360363" cy="41275"/>
            </a:xfrm>
            <a:custGeom>
              <a:avLst/>
              <a:gdLst>
                <a:gd name="T0" fmla="*/ 74 w 80"/>
                <a:gd name="T1" fmla="*/ 9 h 9"/>
                <a:gd name="T2" fmla="*/ 5 w 80"/>
                <a:gd name="T3" fmla="*/ 9 h 9"/>
                <a:gd name="T4" fmla="*/ 0 w 80"/>
                <a:gd name="T5" fmla="*/ 5 h 9"/>
                <a:gd name="T6" fmla="*/ 5 w 80"/>
                <a:gd name="T7" fmla="*/ 0 h 9"/>
                <a:gd name="T8" fmla="*/ 74 w 80"/>
                <a:gd name="T9" fmla="*/ 0 h 9"/>
                <a:gd name="T10" fmla="*/ 74 w 80"/>
                <a:gd name="T11" fmla="*/ 9 h 9"/>
              </a:gdLst>
              <a:ahLst/>
              <a:cxnLst>
                <a:cxn ang="0">
                  <a:pos x="T0" y="T1"/>
                </a:cxn>
                <a:cxn ang="0">
                  <a:pos x="T2" y="T3"/>
                </a:cxn>
                <a:cxn ang="0">
                  <a:pos x="T4" y="T5"/>
                </a:cxn>
                <a:cxn ang="0">
                  <a:pos x="T6" y="T7"/>
                </a:cxn>
                <a:cxn ang="0">
                  <a:pos x="T8" y="T9"/>
                </a:cxn>
                <a:cxn ang="0">
                  <a:pos x="T10" y="T11"/>
                </a:cxn>
              </a:cxnLst>
              <a:rect l="0" t="0" r="r" b="b"/>
              <a:pathLst>
                <a:path w="80" h="9">
                  <a:moveTo>
                    <a:pt x="74" y="9"/>
                  </a:moveTo>
                  <a:cubicBezTo>
                    <a:pt x="5" y="9"/>
                    <a:pt x="5" y="9"/>
                    <a:pt x="5" y="9"/>
                  </a:cubicBezTo>
                  <a:cubicBezTo>
                    <a:pt x="2" y="9"/>
                    <a:pt x="0" y="7"/>
                    <a:pt x="0" y="5"/>
                  </a:cubicBezTo>
                  <a:cubicBezTo>
                    <a:pt x="0" y="2"/>
                    <a:pt x="2" y="0"/>
                    <a:pt x="5" y="0"/>
                  </a:cubicBezTo>
                  <a:cubicBezTo>
                    <a:pt x="74" y="0"/>
                    <a:pt x="74" y="0"/>
                    <a:pt x="74" y="0"/>
                  </a:cubicBezTo>
                  <a:cubicBezTo>
                    <a:pt x="80" y="0"/>
                    <a:pt x="80" y="9"/>
                    <a:pt x="74" y="9"/>
                  </a:cubicBezTo>
                  <a:close/>
                </a:path>
              </a:pathLst>
            </a:custGeom>
            <a:solidFill>
              <a:srgbClr val="0C11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65" name="Freeform 84">
              <a:extLst>
                <a:ext uri="{FF2B5EF4-FFF2-40B4-BE49-F238E27FC236}">
                  <a16:creationId xmlns:a16="http://schemas.microsoft.com/office/drawing/2014/main" id="{F41F7F87-C338-4B31-A46B-50E46272F9C6}"/>
                </a:ext>
              </a:extLst>
            </p:cNvPr>
            <p:cNvSpPr>
              <a:spLocks/>
            </p:cNvSpPr>
            <p:nvPr/>
          </p:nvSpPr>
          <p:spPr bwMode="auto">
            <a:xfrm>
              <a:off x="6805613" y="2857501"/>
              <a:ext cx="360363" cy="39688"/>
            </a:xfrm>
            <a:custGeom>
              <a:avLst/>
              <a:gdLst>
                <a:gd name="T0" fmla="*/ 74 w 80"/>
                <a:gd name="T1" fmla="*/ 9 h 9"/>
                <a:gd name="T2" fmla="*/ 5 w 80"/>
                <a:gd name="T3" fmla="*/ 9 h 9"/>
                <a:gd name="T4" fmla="*/ 0 w 80"/>
                <a:gd name="T5" fmla="*/ 5 h 9"/>
                <a:gd name="T6" fmla="*/ 5 w 80"/>
                <a:gd name="T7" fmla="*/ 0 h 9"/>
                <a:gd name="T8" fmla="*/ 74 w 80"/>
                <a:gd name="T9" fmla="*/ 0 h 9"/>
                <a:gd name="T10" fmla="*/ 74 w 80"/>
                <a:gd name="T11" fmla="*/ 9 h 9"/>
              </a:gdLst>
              <a:ahLst/>
              <a:cxnLst>
                <a:cxn ang="0">
                  <a:pos x="T0" y="T1"/>
                </a:cxn>
                <a:cxn ang="0">
                  <a:pos x="T2" y="T3"/>
                </a:cxn>
                <a:cxn ang="0">
                  <a:pos x="T4" y="T5"/>
                </a:cxn>
                <a:cxn ang="0">
                  <a:pos x="T6" y="T7"/>
                </a:cxn>
                <a:cxn ang="0">
                  <a:pos x="T8" y="T9"/>
                </a:cxn>
                <a:cxn ang="0">
                  <a:pos x="T10" y="T11"/>
                </a:cxn>
              </a:cxnLst>
              <a:rect l="0" t="0" r="r" b="b"/>
              <a:pathLst>
                <a:path w="80" h="9">
                  <a:moveTo>
                    <a:pt x="74" y="9"/>
                  </a:moveTo>
                  <a:cubicBezTo>
                    <a:pt x="5" y="9"/>
                    <a:pt x="5" y="9"/>
                    <a:pt x="5" y="9"/>
                  </a:cubicBezTo>
                  <a:cubicBezTo>
                    <a:pt x="2" y="9"/>
                    <a:pt x="0" y="7"/>
                    <a:pt x="0" y="5"/>
                  </a:cubicBezTo>
                  <a:cubicBezTo>
                    <a:pt x="0" y="2"/>
                    <a:pt x="2" y="0"/>
                    <a:pt x="5" y="0"/>
                  </a:cubicBezTo>
                  <a:cubicBezTo>
                    <a:pt x="74" y="0"/>
                    <a:pt x="74" y="0"/>
                    <a:pt x="74" y="0"/>
                  </a:cubicBezTo>
                  <a:cubicBezTo>
                    <a:pt x="80" y="0"/>
                    <a:pt x="80" y="9"/>
                    <a:pt x="74" y="9"/>
                  </a:cubicBezTo>
                  <a:close/>
                </a:path>
              </a:pathLst>
            </a:custGeom>
            <a:solidFill>
              <a:srgbClr val="0C11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66" name="Freeform 85">
              <a:extLst>
                <a:ext uri="{FF2B5EF4-FFF2-40B4-BE49-F238E27FC236}">
                  <a16:creationId xmlns:a16="http://schemas.microsoft.com/office/drawing/2014/main" id="{C9AD6D69-64F5-49C2-A12B-831C4DEC5ED7}"/>
                </a:ext>
              </a:extLst>
            </p:cNvPr>
            <p:cNvSpPr>
              <a:spLocks/>
            </p:cNvSpPr>
            <p:nvPr/>
          </p:nvSpPr>
          <p:spPr bwMode="auto">
            <a:xfrm>
              <a:off x="6800851" y="2740026"/>
              <a:ext cx="576263" cy="39688"/>
            </a:xfrm>
            <a:custGeom>
              <a:avLst/>
              <a:gdLst>
                <a:gd name="T0" fmla="*/ 122 w 128"/>
                <a:gd name="T1" fmla="*/ 9 h 9"/>
                <a:gd name="T2" fmla="*/ 4 w 128"/>
                <a:gd name="T3" fmla="*/ 9 h 9"/>
                <a:gd name="T4" fmla="*/ 0 w 128"/>
                <a:gd name="T5" fmla="*/ 4 h 9"/>
                <a:gd name="T6" fmla="*/ 4 w 128"/>
                <a:gd name="T7" fmla="*/ 0 h 9"/>
                <a:gd name="T8" fmla="*/ 122 w 128"/>
                <a:gd name="T9" fmla="*/ 0 h 9"/>
                <a:gd name="T10" fmla="*/ 122 w 128"/>
                <a:gd name="T11" fmla="*/ 9 h 9"/>
              </a:gdLst>
              <a:ahLst/>
              <a:cxnLst>
                <a:cxn ang="0">
                  <a:pos x="T0" y="T1"/>
                </a:cxn>
                <a:cxn ang="0">
                  <a:pos x="T2" y="T3"/>
                </a:cxn>
                <a:cxn ang="0">
                  <a:pos x="T4" y="T5"/>
                </a:cxn>
                <a:cxn ang="0">
                  <a:pos x="T6" y="T7"/>
                </a:cxn>
                <a:cxn ang="0">
                  <a:pos x="T8" y="T9"/>
                </a:cxn>
                <a:cxn ang="0">
                  <a:pos x="T10" y="T11"/>
                </a:cxn>
              </a:cxnLst>
              <a:rect l="0" t="0" r="r" b="b"/>
              <a:pathLst>
                <a:path w="128" h="9">
                  <a:moveTo>
                    <a:pt x="122" y="9"/>
                  </a:moveTo>
                  <a:cubicBezTo>
                    <a:pt x="4" y="9"/>
                    <a:pt x="4" y="9"/>
                    <a:pt x="4" y="9"/>
                  </a:cubicBezTo>
                  <a:cubicBezTo>
                    <a:pt x="2" y="9"/>
                    <a:pt x="0" y="7"/>
                    <a:pt x="0" y="4"/>
                  </a:cubicBezTo>
                  <a:cubicBezTo>
                    <a:pt x="0" y="2"/>
                    <a:pt x="2" y="0"/>
                    <a:pt x="4" y="0"/>
                  </a:cubicBezTo>
                  <a:cubicBezTo>
                    <a:pt x="122" y="0"/>
                    <a:pt x="122" y="0"/>
                    <a:pt x="122" y="0"/>
                  </a:cubicBezTo>
                  <a:cubicBezTo>
                    <a:pt x="128" y="0"/>
                    <a:pt x="128" y="9"/>
                    <a:pt x="122" y="9"/>
                  </a:cubicBezTo>
                  <a:close/>
                </a:path>
              </a:pathLst>
            </a:custGeom>
            <a:solidFill>
              <a:srgbClr val="0C11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grpSp>
      <p:sp>
        <p:nvSpPr>
          <p:cNvPr id="2" name="标题 1">
            <a:extLst>
              <a:ext uri="{FF2B5EF4-FFF2-40B4-BE49-F238E27FC236}">
                <a16:creationId xmlns:a16="http://schemas.microsoft.com/office/drawing/2014/main" id="{C1E35B64-B1DB-4A7C-829A-4E4365E79871}"/>
              </a:ext>
            </a:extLst>
          </p:cNvPr>
          <p:cNvSpPr>
            <a:spLocks noGrp="1"/>
          </p:cNvSpPr>
          <p:nvPr>
            <p:ph type="title"/>
          </p:nvPr>
        </p:nvSpPr>
        <p:spPr/>
        <p:txBody>
          <a:bodyPr/>
          <a:lstStyle/>
          <a:p>
            <a:r>
              <a:rPr lang="en-US" altLang="zh-CN" dirty="0"/>
              <a:t>UML</a:t>
            </a:r>
            <a:r>
              <a:rPr lang="zh-CN" altLang="en-US" dirty="0"/>
              <a:t>顺序图</a:t>
            </a:r>
          </a:p>
        </p:txBody>
      </p:sp>
      <p:sp>
        <p:nvSpPr>
          <p:cNvPr id="4" name="灯片编号占位符 3">
            <a:extLst>
              <a:ext uri="{FF2B5EF4-FFF2-40B4-BE49-F238E27FC236}">
                <a16:creationId xmlns:a16="http://schemas.microsoft.com/office/drawing/2014/main" id="{1CD73F73-DE87-4FAA-BC73-34B1717818DF}"/>
              </a:ext>
            </a:extLst>
          </p:cNvPr>
          <p:cNvSpPr>
            <a:spLocks noGrp="1"/>
          </p:cNvSpPr>
          <p:nvPr>
            <p:ph type="sldNum" sz="quarter" idx="12"/>
          </p:nvPr>
        </p:nvSpPr>
        <p:spPr/>
        <p:txBody>
          <a:bodyPr/>
          <a:lstStyle/>
          <a:p>
            <a:fld id="{5DD3DB80-B894-403A-B48E-6FDC1A72010E}" type="slidenum">
              <a:rPr lang="zh-CN" altLang="en-US" smtClean="0"/>
              <a:pPr/>
              <a:t>20</a:t>
            </a:fld>
            <a:endParaRPr lang="zh-CN" altLang="en-US"/>
          </a:p>
        </p:txBody>
      </p:sp>
      <p:grpSp>
        <p:nvGrpSpPr>
          <p:cNvPr id="5" name="183472"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a16="http://schemas.microsoft.com/office/drawing/2014/main" id="{A13558B8-9D1D-485F-A9B2-AEB572654507}"/>
              </a:ext>
            </a:extLst>
          </p:cNvPr>
          <p:cNvGrpSpPr>
            <a:grpSpLocks noChangeAspect="1"/>
          </p:cNvGrpSpPr>
          <p:nvPr/>
        </p:nvGrpSpPr>
        <p:grpSpPr>
          <a:xfrm>
            <a:off x="2121826" y="1282893"/>
            <a:ext cx="9398663" cy="3970310"/>
            <a:chOff x="2121826" y="1282893"/>
            <a:chExt cx="9398663" cy="3970310"/>
          </a:xfrm>
        </p:grpSpPr>
        <p:sp>
          <p:nvSpPr>
            <p:cNvPr id="27" name="iŝḻïḓé">
              <a:extLst>
                <a:ext uri="{FF2B5EF4-FFF2-40B4-BE49-F238E27FC236}">
                  <a16:creationId xmlns:a16="http://schemas.microsoft.com/office/drawing/2014/main" id="{CE0929BD-FC0F-42FA-A91F-FBDEEE1ED95C}"/>
                </a:ext>
              </a:extLst>
            </p:cNvPr>
            <p:cNvSpPr/>
            <p:nvPr/>
          </p:nvSpPr>
          <p:spPr bwMode="auto">
            <a:xfrm>
              <a:off x="2121826" y="4021271"/>
              <a:ext cx="973957" cy="907281"/>
            </a:xfrm>
            <a:custGeom>
              <a:avLst/>
              <a:gdLst/>
              <a:ahLst/>
              <a:cxnLst>
                <a:cxn ang="0">
                  <a:pos x="102" y="0"/>
                </a:cxn>
                <a:cxn ang="0">
                  <a:pos x="0" y="95"/>
                </a:cxn>
                <a:cxn ang="0">
                  <a:pos x="0" y="95"/>
                </a:cxn>
                <a:cxn ang="0">
                  <a:pos x="102" y="0"/>
                </a:cxn>
                <a:cxn ang="0">
                  <a:pos x="102" y="0"/>
                </a:cxn>
              </a:cxnLst>
              <a:rect l="0" t="0" r="r" b="b"/>
              <a:pathLst>
                <a:path w="102" h="95">
                  <a:moveTo>
                    <a:pt x="102" y="0"/>
                  </a:moveTo>
                  <a:cubicBezTo>
                    <a:pt x="90" y="49"/>
                    <a:pt x="50" y="87"/>
                    <a:pt x="0" y="95"/>
                  </a:cubicBezTo>
                  <a:cubicBezTo>
                    <a:pt x="0" y="95"/>
                    <a:pt x="0" y="95"/>
                    <a:pt x="0" y="95"/>
                  </a:cubicBezTo>
                  <a:cubicBezTo>
                    <a:pt x="50" y="87"/>
                    <a:pt x="90" y="49"/>
                    <a:pt x="102" y="0"/>
                  </a:cubicBezTo>
                  <a:cubicBezTo>
                    <a:pt x="102" y="0"/>
                    <a:pt x="102" y="0"/>
                    <a:pt x="102" y="0"/>
                  </a:cubicBezTo>
                </a:path>
              </a:pathLst>
            </a:custGeom>
            <a:solidFill>
              <a:srgbClr val="BB3A3A"/>
            </a:solidFill>
            <a:ln w="9525">
              <a:noFill/>
              <a:round/>
              <a:headEnd/>
              <a:tailEnd/>
            </a:ln>
          </p:spPr>
          <p:txBody>
            <a:bodyPr vert="horz" wrap="square" lIns="91440" tIns="45720" rIns="91440" bIns="45720" numCol="1" anchor="t" anchorCtr="0" compatLnSpc="1">
              <a:prstTxWarp prst="textNoShape">
                <a:avLst/>
              </a:prstTxWarp>
              <a:normAutofit/>
            </a:bodyPr>
            <a:lstStyle/>
            <a:p>
              <a:endParaRPr lang="zh-CN" altLang="en-US"/>
            </a:p>
          </p:txBody>
        </p:sp>
        <p:sp>
          <p:nvSpPr>
            <p:cNvPr id="7" name="ïṡḷiḓê">
              <a:extLst>
                <a:ext uri="{FF2B5EF4-FFF2-40B4-BE49-F238E27FC236}">
                  <a16:creationId xmlns:a16="http://schemas.microsoft.com/office/drawing/2014/main" id="{6982B370-286D-4E2A-861D-47EA735A5DD1}"/>
                </a:ext>
              </a:extLst>
            </p:cNvPr>
            <p:cNvSpPr txBox="1"/>
            <p:nvPr/>
          </p:nvSpPr>
          <p:spPr>
            <a:xfrm>
              <a:off x="3079054" y="1282893"/>
              <a:ext cx="8441434" cy="595087"/>
            </a:xfrm>
            <a:prstGeom prst="rect">
              <a:avLst/>
            </a:prstGeom>
            <a:noFill/>
            <a:ln>
              <a:noFill/>
            </a:ln>
          </p:spPr>
          <p:txBody>
            <a:bodyPr wrap="square" lIns="90000" tIns="46800" rIns="90000" bIns="46800" anchor="b" anchorCtr="0">
              <a:normAutofit/>
            </a:bodyPr>
            <a:lstStyle/>
            <a:p>
              <a:pPr algn="ctr">
                <a:buSzPct val="25000"/>
              </a:pPr>
              <a:r>
                <a:rPr lang="zh-CN" altLang="en-US" sz="2000" b="1" dirty="0"/>
                <a:t>顺序图概要</a:t>
              </a:r>
              <a:endParaRPr lang="en-US" sz="2000" b="1" dirty="0"/>
            </a:p>
          </p:txBody>
        </p:sp>
        <p:sp>
          <p:nvSpPr>
            <p:cNvPr id="8" name="ïṣḷîḓe">
              <a:extLst>
                <a:ext uri="{FF2B5EF4-FFF2-40B4-BE49-F238E27FC236}">
                  <a16:creationId xmlns:a16="http://schemas.microsoft.com/office/drawing/2014/main" id="{650ED840-7AFA-4729-9CEC-9ACD8BF6E6D5}"/>
                </a:ext>
              </a:extLst>
            </p:cNvPr>
            <p:cNvSpPr txBox="1"/>
            <p:nvPr/>
          </p:nvSpPr>
          <p:spPr>
            <a:xfrm>
              <a:off x="3079053" y="1877980"/>
              <a:ext cx="8441436" cy="787280"/>
            </a:xfrm>
            <a:prstGeom prst="rect">
              <a:avLst/>
            </a:prstGeom>
            <a:noFill/>
            <a:ln>
              <a:noFill/>
            </a:ln>
          </p:spPr>
          <p:txBody>
            <a:bodyPr wrap="square" lIns="90000" tIns="46800" rIns="90000" bIns="46800" anchor="t" anchorCtr="0">
              <a:normAutofit/>
            </a:bodyPr>
            <a:lstStyle/>
            <a:p>
              <a:pPr algn="ctr">
                <a:lnSpc>
                  <a:spcPct val="150000"/>
                </a:lnSpc>
                <a:buSzPct val="25000"/>
              </a:pPr>
              <a:r>
                <a:rPr lang="en-US" altLang="zh-CN" sz="1200" b="0" i="0" dirty="0">
                  <a:solidFill>
                    <a:srgbClr val="000000"/>
                  </a:solidFill>
                  <a:effectLst/>
                  <a:latin typeface="-apple-system"/>
                </a:rPr>
                <a:t>UML</a:t>
              </a:r>
              <a:r>
                <a:rPr lang="zh-CN" altLang="en-US" sz="1200" b="0" i="0" dirty="0">
                  <a:solidFill>
                    <a:srgbClr val="000000"/>
                  </a:solidFill>
                  <a:effectLst/>
                  <a:latin typeface="-apple-system"/>
                </a:rPr>
                <a:t>顺序图所表达的是基于时间的动态交互。</a:t>
              </a:r>
              <a:endParaRPr lang="en-US" sz="1200" dirty="0"/>
            </a:p>
          </p:txBody>
        </p:sp>
        <p:cxnSp>
          <p:nvCxnSpPr>
            <p:cNvPr id="9" name="直接连接符 8">
              <a:extLst>
                <a:ext uri="{FF2B5EF4-FFF2-40B4-BE49-F238E27FC236}">
                  <a16:creationId xmlns:a16="http://schemas.microsoft.com/office/drawing/2014/main" id="{1BA83826-3D02-4BE2-AB9A-059CE9664B05}"/>
                </a:ext>
              </a:extLst>
            </p:cNvPr>
            <p:cNvCxnSpPr>
              <a:cxnSpLocks/>
            </p:cNvCxnSpPr>
            <p:nvPr/>
          </p:nvCxnSpPr>
          <p:spPr>
            <a:xfrm>
              <a:off x="2904477" y="2865984"/>
              <a:ext cx="861601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nvGrpSpPr>
            <p:cNvPr id="10" name="íšļiḍé">
              <a:extLst>
                <a:ext uri="{FF2B5EF4-FFF2-40B4-BE49-F238E27FC236}">
                  <a16:creationId xmlns:a16="http://schemas.microsoft.com/office/drawing/2014/main" id="{3445083A-93A8-4596-9554-D302B7E2ECE5}"/>
                </a:ext>
              </a:extLst>
            </p:cNvPr>
            <p:cNvGrpSpPr/>
            <p:nvPr/>
          </p:nvGrpSpPr>
          <p:grpSpPr>
            <a:xfrm>
              <a:off x="3525886" y="3600247"/>
              <a:ext cx="2328027" cy="1438103"/>
              <a:chOff x="4185162" y="3580166"/>
              <a:chExt cx="2328027" cy="1438103"/>
            </a:xfrm>
          </p:grpSpPr>
          <p:sp>
            <p:nvSpPr>
              <p:cNvPr id="21" name="íṧlîḍe">
                <a:extLst>
                  <a:ext uri="{FF2B5EF4-FFF2-40B4-BE49-F238E27FC236}">
                    <a16:creationId xmlns:a16="http://schemas.microsoft.com/office/drawing/2014/main" id="{D55337DE-D953-4540-AA5D-50A4333EB440}"/>
                  </a:ext>
                </a:extLst>
              </p:cNvPr>
              <p:cNvSpPr/>
              <p:nvPr/>
            </p:nvSpPr>
            <p:spPr bwMode="auto">
              <a:xfrm>
                <a:off x="4958704" y="3580166"/>
                <a:ext cx="708563" cy="538239"/>
              </a:xfrm>
              <a:custGeom>
                <a:avLst/>
                <a:gdLst>
                  <a:gd name="T0" fmla="*/ 2664 w 2711"/>
                  <a:gd name="T1" fmla="*/ 1581 h 2062"/>
                  <a:gd name="T2" fmla="*/ 909 w 2711"/>
                  <a:gd name="T3" fmla="*/ 1581 h 2062"/>
                  <a:gd name="T4" fmla="*/ 861 w 2711"/>
                  <a:gd name="T5" fmla="*/ 1534 h 2062"/>
                  <a:gd name="T6" fmla="*/ 861 w 2711"/>
                  <a:gd name="T7" fmla="*/ 434 h 2062"/>
                  <a:gd name="T8" fmla="*/ 909 w 2711"/>
                  <a:gd name="T9" fmla="*/ 386 h 2062"/>
                  <a:gd name="T10" fmla="*/ 2664 w 2711"/>
                  <a:gd name="T11" fmla="*/ 386 h 2062"/>
                  <a:gd name="T12" fmla="*/ 2711 w 2711"/>
                  <a:gd name="T13" fmla="*/ 434 h 2062"/>
                  <a:gd name="T14" fmla="*/ 2711 w 2711"/>
                  <a:gd name="T15" fmla="*/ 1534 h 2062"/>
                  <a:gd name="T16" fmla="*/ 2664 w 2711"/>
                  <a:gd name="T17" fmla="*/ 1581 h 2062"/>
                  <a:gd name="T18" fmla="*/ 2177 w 2711"/>
                  <a:gd name="T19" fmla="*/ 1928 h 2062"/>
                  <a:gd name="T20" fmla="*/ 2000 w 2711"/>
                  <a:gd name="T21" fmla="*/ 1928 h 2062"/>
                  <a:gd name="T22" fmla="*/ 2000 w 2711"/>
                  <a:gd name="T23" fmla="*/ 1715 h 2062"/>
                  <a:gd name="T24" fmla="*/ 1573 w 2711"/>
                  <a:gd name="T25" fmla="*/ 1715 h 2062"/>
                  <a:gd name="T26" fmla="*/ 1573 w 2711"/>
                  <a:gd name="T27" fmla="*/ 1928 h 2062"/>
                  <a:gd name="T28" fmla="*/ 1395 w 2711"/>
                  <a:gd name="T29" fmla="*/ 1928 h 2062"/>
                  <a:gd name="T30" fmla="*/ 1329 w 2711"/>
                  <a:gd name="T31" fmla="*/ 1995 h 2062"/>
                  <a:gd name="T32" fmla="*/ 1395 w 2711"/>
                  <a:gd name="T33" fmla="*/ 2062 h 2062"/>
                  <a:gd name="T34" fmla="*/ 1640 w 2711"/>
                  <a:gd name="T35" fmla="*/ 2062 h 2062"/>
                  <a:gd name="T36" fmla="*/ 1933 w 2711"/>
                  <a:gd name="T37" fmla="*/ 2062 h 2062"/>
                  <a:gd name="T38" fmla="*/ 2177 w 2711"/>
                  <a:gd name="T39" fmla="*/ 2062 h 2062"/>
                  <a:gd name="T40" fmla="*/ 2244 w 2711"/>
                  <a:gd name="T41" fmla="*/ 1995 h 2062"/>
                  <a:gd name="T42" fmla="*/ 2177 w 2711"/>
                  <a:gd name="T43" fmla="*/ 1928 h 2062"/>
                  <a:gd name="T44" fmla="*/ 1065 w 2711"/>
                  <a:gd name="T45" fmla="*/ 253 h 2062"/>
                  <a:gd name="T46" fmla="*/ 909 w 2711"/>
                  <a:gd name="T47" fmla="*/ 253 h 2062"/>
                  <a:gd name="T48" fmla="*/ 880 w 2711"/>
                  <a:gd name="T49" fmla="*/ 255 h 2062"/>
                  <a:gd name="T50" fmla="*/ 863 w 2711"/>
                  <a:gd name="T51" fmla="*/ 253 h 2062"/>
                  <a:gd name="T52" fmla="*/ 201 w 2711"/>
                  <a:gd name="T53" fmla="*/ 253 h 2062"/>
                  <a:gd name="T54" fmla="*/ 135 w 2711"/>
                  <a:gd name="T55" fmla="*/ 320 h 2062"/>
                  <a:gd name="T56" fmla="*/ 201 w 2711"/>
                  <a:gd name="T57" fmla="*/ 386 h 2062"/>
                  <a:gd name="T58" fmla="*/ 735 w 2711"/>
                  <a:gd name="T59" fmla="*/ 386 h 2062"/>
                  <a:gd name="T60" fmla="*/ 728 w 2711"/>
                  <a:gd name="T61" fmla="*/ 434 h 2062"/>
                  <a:gd name="T62" fmla="*/ 728 w 2711"/>
                  <a:gd name="T63" fmla="*/ 558 h 2062"/>
                  <a:gd name="T64" fmla="*/ 201 w 2711"/>
                  <a:gd name="T65" fmla="*/ 558 h 2062"/>
                  <a:gd name="T66" fmla="*/ 135 w 2711"/>
                  <a:gd name="T67" fmla="*/ 624 h 2062"/>
                  <a:gd name="T68" fmla="*/ 201 w 2711"/>
                  <a:gd name="T69" fmla="*/ 691 h 2062"/>
                  <a:gd name="T70" fmla="*/ 728 w 2711"/>
                  <a:gd name="T71" fmla="*/ 691 h 2062"/>
                  <a:gd name="T72" fmla="*/ 728 w 2711"/>
                  <a:gd name="T73" fmla="*/ 863 h 2062"/>
                  <a:gd name="T74" fmla="*/ 201 w 2711"/>
                  <a:gd name="T75" fmla="*/ 863 h 2062"/>
                  <a:gd name="T76" fmla="*/ 135 w 2711"/>
                  <a:gd name="T77" fmla="*/ 929 h 2062"/>
                  <a:gd name="T78" fmla="*/ 201 w 2711"/>
                  <a:gd name="T79" fmla="*/ 996 h 2062"/>
                  <a:gd name="T80" fmla="*/ 728 w 2711"/>
                  <a:gd name="T81" fmla="*/ 996 h 2062"/>
                  <a:gd name="T82" fmla="*/ 728 w 2711"/>
                  <a:gd name="T83" fmla="*/ 1534 h 2062"/>
                  <a:gd name="T84" fmla="*/ 909 w 2711"/>
                  <a:gd name="T85" fmla="*/ 1715 h 2062"/>
                  <a:gd name="T86" fmla="*/ 1065 w 2711"/>
                  <a:gd name="T87" fmla="*/ 1715 h 2062"/>
                  <a:gd name="T88" fmla="*/ 1065 w 2711"/>
                  <a:gd name="T89" fmla="*/ 1995 h 2062"/>
                  <a:gd name="T90" fmla="*/ 998 w 2711"/>
                  <a:gd name="T91" fmla="*/ 2062 h 2062"/>
                  <a:gd name="T92" fmla="*/ 67 w 2711"/>
                  <a:gd name="T93" fmla="*/ 2062 h 2062"/>
                  <a:gd name="T94" fmla="*/ 0 w 2711"/>
                  <a:gd name="T95" fmla="*/ 1995 h 2062"/>
                  <a:gd name="T96" fmla="*/ 0 w 2711"/>
                  <a:gd name="T97" fmla="*/ 66 h 2062"/>
                  <a:gd name="T98" fmla="*/ 67 w 2711"/>
                  <a:gd name="T99" fmla="*/ 0 h 2062"/>
                  <a:gd name="T100" fmla="*/ 998 w 2711"/>
                  <a:gd name="T101" fmla="*/ 0 h 2062"/>
                  <a:gd name="T102" fmla="*/ 1065 w 2711"/>
                  <a:gd name="T103" fmla="*/ 66 h 2062"/>
                  <a:gd name="T104" fmla="*/ 1065 w 2711"/>
                  <a:gd name="T105" fmla="*/ 253 h 2062"/>
                  <a:gd name="T106" fmla="*/ 430 w 2711"/>
                  <a:gd name="T107" fmla="*/ 1569 h 2062"/>
                  <a:gd name="T108" fmla="*/ 532 w 2711"/>
                  <a:gd name="T109" fmla="*/ 1672 h 2062"/>
                  <a:gd name="T110" fmla="*/ 635 w 2711"/>
                  <a:gd name="T111" fmla="*/ 1569 h 2062"/>
                  <a:gd name="T112" fmla="*/ 532 w 2711"/>
                  <a:gd name="T113" fmla="*/ 1466 h 2062"/>
                  <a:gd name="T114" fmla="*/ 430 w 2711"/>
                  <a:gd name="T115" fmla="*/ 1569 h 20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711" h="2062">
                    <a:moveTo>
                      <a:pt x="2664" y="1581"/>
                    </a:moveTo>
                    <a:lnTo>
                      <a:pt x="909" y="1581"/>
                    </a:lnTo>
                    <a:cubicBezTo>
                      <a:pt x="883" y="1581"/>
                      <a:pt x="861" y="1560"/>
                      <a:pt x="861" y="1534"/>
                    </a:cubicBezTo>
                    <a:lnTo>
                      <a:pt x="861" y="434"/>
                    </a:lnTo>
                    <a:cubicBezTo>
                      <a:pt x="861" y="407"/>
                      <a:pt x="883" y="386"/>
                      <a:pt x="909" y="386"/>
                    </a:cubicBezTo>
                    <a:lnTo>
                      <a:pt x="2664" y="386"/>
                    </a:lnTo>
                    <a:cubicBezTo>
                      <a:pt x="2690" y="386"/>
                      <a:pt x="2711" y="408"/>
                      <a:pt x="2711" y="434"/>
                    </a:cubicBezTo>
                    <a:lnTo>
                      <a:pt x="2711" y="1534"/>
                    </a:lnTo>
                    <a:cubicBezTo>
                      <a:pt x="2711" y="1560"/>
                      <a:pt x="2690" y="1581"/>
                      <a:pt x="2664" y="1581"/>
                    </a:cubicBezTo>
                    <a:close/>
                    <a:moveTo>
                      <a:pt x="2177" y="1928"/>
                    </a:moveTo>
                    <a:lnTo>
                      <a:pt x="2000" y="1928"/>
                    </a:lnTo>
                    <a:lnTo>
                      <a:pt x="2000" y="1715"/>
                    </a:lnTo>
                    <a:lnTo>
                      <a:pt x="1573" y="1715"/>
                    </a:lnTo>
                    <a:lnTo>
                      <a:pt x="1573" y="1928"/>
                    </a:lnTo>
                    <a:lnTo>
                      <a:pt x="1395" y="1928"/>
                    </a:lnTo>
                    <a:cubicBezTo>
                      <a:pt x="1358" y="1928"/>
                      <a:pt x="1329" y="1958"/>
                      <a:pt x="1329" y="1995"/>
                    </a:cubicBezTo>
                    <a:cubicBezTo>
                      <a:pt x="1329" y="2032"/>
                      <a:pt x="1358" y="2062"/>
                      <a:pt x="1395" y="2062"/>
                    </a:cubicBezTo>
                    <a:lnTo>
                      <a:pt x="1640" y="2062"/>
                    </a:lnTo>
                    <a:lnTo>
                      <a:pt x="1933" y="2062"/>
                    </a:lnTo>
                    <a:lnTo>
                      <a:pt x="2177" y="2062"/>
                    </a:lnTo>
                    <a:cubicBezTo>
                      <a:pt x="2214" y="2062"/>
                      <a:pt x="2244" y="2032"/>
                      <a:pt x="2244" y="1995"/>
                    </a:cubicBezTo>
                    <a:cubicBezTo>
                      <a:pt x="2244" y="1958"/>
                      <a:pt x="2214" y="1928"/>
                      <a:pt x="2177" y="1928"/>
                    </a:cubicBezTo>
                    <a:close/>
                    <a:moveTo>
                      <a:pt x="1065" y="253"/>
                    </a:moveTo>
                    <a:lnTo>
                      <a:pt x="909" y="253"/>
                    </a:lnTo>
                    <a:cubicBezTo>
                      <a:pt x="899" y="253"/>
                      <a:pt x="890" y="254"/>
                      <a:pt x="880" y="255"/>
                    </a:cubicBezTo>
                    <a:cubicBezTo>
                      <a:pt x="875" y="254"/>
                      <a:pt x="869" y="253"/>
                      <a:pt x="863" y="253"/>
                    </a:cubicBezTo>
                    <a:lnTo>
                      <a:pt x="201" y="253"/>
                    </a:lnTo>
                    <a:cubicBezTo>
                      <a:pt x="164" y="253"/>
                      <a:pt x="135" y="283"/>
                      <a:pt x="135" y="320"/>
                    </a:cubicBezTo>
                    <a:cubicBezTo>
                      <a:pt x="135" y="356"/>
                      <a:pt x="164" y="386"/>
                      <a:pt x="201" y="386"/>
                    </a:cubicBezTo>
                    <a:lnTo>
                      <a:pt x="735" y="386"/>
                    </a:lnTo>
                    <a:cubicBezTo>
                      <a:pt x="730" y="401"/>
                      <a:pt x="728" y="417"/>
                      <a:pt x="728" y="434"/>
                    </a:cubicBezTo>
                    <a:lnTo>
                      <a:pt x="728" y="558"/>
                    </a:lnTo>
                    <a:lnTo>
                      <a:pt x="201" y="558"/>
                    </a:lnTo>
                    <a:cubicBezTo>
                      <a:pt x="164" y="558"/>
                      <a:pt x="135" y="588"/>
                      <a:pt x="135" y="624"/>
                    </a:cubicBezTo>
                    <a:cubicBezTo>
                      <a:pt x="135" y="661"/>
                      <a:pt x="164" y="691"/>
                      <a:pt x="201" y="691"/>
                    </a:cubicBezTo>
                    <a:lnTo>
                      <a:pt x="728" y="691"/>
                    </a:lnTo>
                    <a:lnTo>
                      <a:pt x="728" y="863"/>
                    </a:lnTo>
                    <a:lnTo>
                      <a:pt x="201" y="863"/>
                    </a:lnTo>
                    <a:cubicBezTo>
                      <a:pt x="164" y="863"/>
                      <a:pt x="135" y="893"/>
                      <a:pt x="135" y="929"/>
                    </a:cubicBezTo>
                    <a:cubicBezTo>
                      <a:pt x="135" y="966"/>
                      <a:pt x="164" y="996"/>
                      <a:pt x="201" y="996"/>
                    </a:cubicBezTo>
                    <a:lnTo>
                      <a:pt x="728" y="996"/>
                    </a:lnTo>
                    <a:lnTo>
                      <a:pt x="728" y="1534"/>
                    </a:lnTo>
                    <a:cubicBezTo>
                      <a:pt x="728" y="1633"/>
                      <a:pt x="809" y="1715"/>
                      <a:pt x="909" y="1715"/>
                    </a:cubicBezTo>
                    <a:lnTo>
                      <a:pt x="1065" y="1715"/>
                    </a:lnTo>
                    <a:lnTo>
                      <a:pt x="1065" y="1995"/>
                    </a:lnTo>
                    <a:cubicBezTo>
                      <a:pt x="1065" y="2032"/>
                      <a:pt x="1035" y="2062"/>
                      <a:pt x="998" y="2062"/>
                    </a:cubicBezTo>
                    <a:lnTo>
                      <a:pt x="67" y="2062"/>
                    </a:lnTo>
                    <a:cubicBezTo>
                      <a:pt x="30" y="2062"/>
                      <a:pt x="0" y="2032"/>
                      <a:pt x="0" y="1995"/>
                    </a:cubicBezTo>
                    <a:lnTo>
                      <a:pt x="0" y="66"/>
                    </a:lnTo>
                    <a:cubicBezTo>
                      <a:pt x="0" y="29"/>
                      <a:pt x="30" y="0"/>
                      <a:pt x="67" y="0"/>
                    </a:cubicBezTo>
                    <a:lnTo>
                      <a:pt x="998" y="0"/>
                    </a:lnTo>
                    <a:cubicBezTo>
                      <a:pt x="1035" y="0"/>
                      <a:pt x="1065" y="29"/>
                      <a:pt x="1065" y="66"/>
                    </a:cubicBezTo>
                    <a:lnTo>
                      <a:pt x="1065" y="253"/>
                    </a:lnTo>
                    <a:close/>
                    <a:moveTo>
                      <a:pt x="430" y="1569"/>
                    </a:moveTo>
                    <a:cubicBezTo>
                      <a:pt x="430" y="1626"/>
                      <a:pt x="476" y="1672"/>
                      <a:pt x="532" y="1672"/>
                    </a:cubicBezTo>
                    <a:cubicBezTo>
                      <a:pt x="589" y="1672"/>
                      <a:pt x="635" y="1626"/>
                      <a:pt x="635" y="1569"/>
                    </a:cubicBezTo>
                    <a:cubicBezTo>
                      <a:pt x="635" y="1512"/>
                      <a:pt x="589" y="1466"/>
                      <a:pt x="532" y="1466"/>
                    </a:cubicBezTo>
                    <a:cubicBezTo>
                      <a:pt x="476" y="1466"/>
                      <a:pt x="430" y="1512"/>
                      <a:pt x="430" y="1569"/>
                    </a:cubicBezTo>
                    <a:close/>
                  </a:path>
                </a:pathLst>
              </a:custGeom>
              <a:solidFill>
                <a:schemeClr val="accent1">
                  <a:lumMod val="40000"/>
                  <a:lumOff val="60000"/>
                </a:schemeClr>
              </a:solidFill>
              <a:ln w="9525">
                <a:noFill/>
                <a:round/>
                <a:headEnd/>
                <a:tailEnd/>
              </a:ln>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endParaRPr dirty="0"/>
              </a:p>
            </p:txBody>
          </p:sp>
          <p:sp>
            <p:nvSpPr>
              <p:cNvPr id="22" name="îş1idé">
                <a:extLst>
                  <a:ext uri="{FF2B5EF4-FFF2-40B4-BE49-F238E27FC236}">
                    <a16:creationId xmlns:a16="http://schemas.microsoft.com/office/drawing/2014/main" id="{17DAC962-691D-4662-A12F-7048BE7D2084}"/>
                  </a:ext>
                </a:extLst>
              </p:cNvPr>
              <p:cNvSpPr txBox="1"/>
              <p:nvPr/>
            </p:nvSpPr>
            <p:spPr>
              <a:xfrm>
                <a:off x="4185162" y="4340175"/>
                <a:ext cx="2328027" cy="678094"/>
              </a:xfrm>
              <a:prstGeom prst="rect">
                <a:avLst/>
              </a:prstGeom>
            </p:spPr>
            <p:txBody>
              <a:bodyPr wrap="square" lIns="91440" tIns="45720" rIns="91440" bIns="45720" anchor="t" anchorCtr="0">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l">
                  <a:buFont typeface="Arial" panose="020B0604020202020204" pitchFamily="34" charset="0"/>
                  <a:buChar char="•"/>
                </a:pPr>
                <a:r>
                  <a:rPr lang="zh-CN" altLang="en-US" sz="1200" b="0" i="0" dirty="0">
                    <a:solidFill>
                      <a:srgbClr val="0D0016"/>
                    </a:solidFill>
                    <a:effectLst/>
                    <a:latin typeface="-apple-system"/>
                  </a:rPr>
                  <a:t>顺序图用来表示用例中的行为顺序。当执行一个用例行为时，顺序图中的每条消息对应了一个类操作或状态机中引起转换的事件</a:t>
                </a:r>
                <a:endParaRPr lang="zh-CN" altLang="en-US" sz="1200" b="0" i="0" dirty="0">
                  <a:solidFill>
                    <a:srgbClr val="333333"/>
                  </a:solidFill>
                  <a:effectLst/>
                  <a:latin typeface="-apple-system"/>
                </a:endParaRPr>
              </a:p>
            </p:txBody>
          </p:sp>
        </p:grpSp>
        <p:sp>
          <p:nvSpPr>
            <p:cNvPr id="19" name="î$ḻîḋe">
              <a:extLst>
                <a:ext uri="{FF2B5EF4-FFF2-40B4-BE49-F238E27FC236}">
                  <a16:creationId xmlns:a16="http://schemas.microsoft.com/office/drawing/2014/main" id="{2FE4F874-C2AD-49C6-92CB-1DB1977DE9D6}"/>
                </a:ext>
              </a:extLst>
            </p:cNvPr>
            <p:cNvSpPr txBox="1"/>
            <p:nvPr/>
          </p:nvSpPr>
          <p:spPr>
            <a:xfrm>
              <a:off x="6313397" y="4341499"/>
              <a:ext cx="2328027" cy="678094"/>
            </a:xfrm>
            <a:prstGeom prst="rect">
              <a:avLst/>
            </a:prstGeom>
          </p:spPr>
          <p:txBody>
            <a:bodyPr wrap="square" lIns="91440" tIns="45720" rIns="91440" bIns="45720" anchor="t" anchorCtr="0">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lnSpc>
                  <a:spcPct val="120000"/>
                </a:lnSpc>
              </a:pPr>
              <a:r>
                <a:rPr lang="zh-CN" altLang="en-US" sz="1200" b="0" i="0" dirty="0">
                  <a:solidFill>
                    <a:srgbClr val="0D0016"/>
                  </a:solidFill>
                  <a:effectLst/>
                  <a:latin typeface="-apple-system"/>
                </a:rPr>
                <a:t>顺序图展示对象之间的交互，这些交互是指在场景或用例的事件流中发生的。 顺序图属于动态建模。</a:t>
              </a:r>
              <a:endParaRPr lang="en-US" altLang="zh-CN" sz="1200" dirty="0">
                <a:latin typeface="+mn-ea"/>
              </a:endParaRPr>
            </a:p>
          </p:txBody>
        </p:sp>
        <p:grpSp>
          <p:nvGrpSpPr>
            <p:cNvPr id="12" name="iS1iḋè">
              <a:extLst>
                <a:ext uri="{FF2B5EF4-FFF2-40B4-BE49-F238E27FC236}">
                  <a16:creationId xmlns:a16="http://schemas.microsoft.com/office/drawing/2014/main" id="{787C7075-EE89-4657-BFD4-776087DE84C0}"/>
                </a:ext>
              </a:extLst>
            </p:cNvPr>
            <p:cNvGrpSpPr/>
            <p:nvPr/>
          </p:nvGrpSpPr>
          <p:grpSpPr>
            <a:xfrm>
              <a:off x="9183456" y="3563818"/>
              <a:ext cx="2328027" cy="1468625"/>
              <a:chOff x="4141555" y="3507306"/>
              <a:chExt cx="2328027" cy="1468625"/>
            </a:xfrm>
          </p:grpSpPr>
          <p:sp>
            <p:nvSpPr>
              <p:cNvPr id="15" name="ïŝľïḋê">
                <a:extLst>
                  <a:ext uri="{FF2B5EF4-FFF2-40B4-BE49-F238E27FC236}">
                    <a16:creationId xmlns:a16="http://schemas.microsoft.com/office/drawing/2014/main" id="{B3862B97-B0C0-4AC8-9161-A5879FD5FDC9}"/>
                  </a:ext>
                </a:extLst>
              </p:cNvPr>
              <p:cNvSpPr/>
              <p:nvPr/>
            </p:nvSpPr>
            <p:spPr bwMode="auto">
              <a:xfrm>
                <a:off x="4958704" y="3507306"/>
                <a:ext cx="708563" cy="683960"/>
              </a:xfrm>
              <a:custGeom>
                <a:avLst/>
                <a:gdLst>
                  <a:gd name="connsiteX0" fmla="*/ 147225 w 603618"/>
                  <a:gd name="connsiteY0" fmla="*/ 418175 h 582659"/>
                  <a:gd name="connsiteX1" fmla="*/ 129666 w 603618"/>
                  <a:gd name="connsiteY1" fmla="*/ 424618 h 582659"/>
                  <a:gd name="connsiteX2" fmla="*/ 159231 w 603618"/>
                  <a:gd name="connsiteY2" fmla="*/ 444246 h 582659"/>
                  <a:gd name="connsiteX3" fmla="*/ 147225 w 603618"/>
                  <a:gd name="connsiteY3" fmla="*/ 418175 h 582659"/>
                  <a:gd name="connsiteX4" fmla="*/ 235619 w 603618"/>
                  <a:gd name="connsiteY4" fmla="*/ 400345 h 582659"/>
                  <a:gd name="connsiteX5" fmla="*/ 196149 w 603618"/>
                  <a:gd name="connsiteY5" fmla="*/ 405440 h 582659"/>
                  <a:gd name="connsiteX6" fmla="*/ 235619 w 603618"/>
                  <a:gd name="connsiteY6" fmla="*/ 461476 h 582659"/>
                  <a:gd name="connsiteX7" fmla="*/ 453241 w 603618"/>
                  <a:gd name="connsiteY7" fmla="*/ 335186 h 582659"/>
                  <a:gd name="connsiteX8" fmla="*/ 453241 w 603618"/>
                  <a:gd name="connsiteY8" fmla="*/ 501720 h 582659"/>
                  <a:gd name="connsiteX9" fmla="*/ 410469 w 603618"/>
                  <a:gd name="connsiteY9" fmla="*/ 458889 h 582659"/>
                  <a:gd name="connsiteX10" fmla="*/ 379853 w 603618"/>
                  <a:gd name="connsiteY10" fmla="*/ 363192 h 582659"/>
                  <a:gd name="connsiteX11" fmla="*/ 453242 w 603618"/>
                  <a:gd name="connsiteY11" fmla="*/ 304902 h 582659"/>
                  <a:gd name="connsiteX12" fmla="*/ 444688 w 603618"/>
                  <a:gd name="connsiteY12" fmla="*/ 306400 h 582659"/>
                  <a:gd name="connsiteX13" fmla="*/ 364853 w 603618"/>
                  <a:gd name="connsiteY13" fmla="*/ 336813 h 582659"/>
                  <a:gd name="connsiteX14" fmla="*/ 349547 w 603618"/>
                  <a:gd name="connsiteY14" fmla="*/ 361682 h 582659"/>
                  <a:gd name="connsiteX15" fmla="*/ 453242 w 603618"/>
                  <a:gd name="connsiteY15" fmla="*/ 531722 h 582659"/>
                  <a:gd name="connsiteX16" fmla="*/ 556936 w 603618"/>
                  <a:gd name="connsiteY16" fmla="*/ 361682 h 582659"/>
                  <a:gd name="connsiteX17" fmla="*/ 541630 w 603618"/>
                  <a:gd name="connsiteY17" fmla="*/ 336813 h 582659"/>
                  <a:gd name="connsiteX18" fmla="*/ 461795 w 603618"/>
                  <a:gd name="connsiteY18" fmla="*/ 306400 h 582659"/>
                  <a:gd name="connsiteX19" fmla="*/ 453242 w 603618"/>
                  <a:gd name="connsiteY19" fmla="*/ 304902 h 582659"/>
                  <a:gd name="connsiteX20" fmla="*/ 170186 w 603618"/>
                  <a:gd name="connsiteY20" fmla="*/ 285126 h 582659"/>
                  <a:gd name="connsiteX21" fmla="*/ 180542 w 603618"/>
                  <a:gd name="connsiteY21" fmla="*/ 357794 h 582659"/>
                  <a:gd name="connsiteX22" fmla="*/ 235619 w 603618"/>
                  <a:gd name="connsiteY22" fmla="*/ 350452 h 582659"/>
                  <a:gd name="connsiteX23" fmla="*/ 235619 w 603618"/>
                  <a:gd name="connsiteY23" fmla="*/ 285126 h 582659"/>
                  <a:gd name="connsiteX24" fmla="*/ 51476 w 603618"/>
                  <a:gd name="connsiteY24" fmla="*/ 285126 h 582659"/>
                  <a:gd name="connsiteX25" fmla="*/ 92297 w 603618"/>
                  <a:gd name="connsiteY25" fmla="*/ 386261 h 582659"/>
                  <a:gd name="connsiteX26" fmla="*/ 132217 w 603618"/>
                  <a:gd name="connsiteY26" fmla="*/ 370679 h 582659"/>
                  <a:gd name="connsiteX27" fmla="*/ 120211 w 603618"/>
                  <a:gd name="connsiteY27" fmla="*/ 285126 h 582659"/>
                  <a:gd name="connsiteX28" fmla="*/ 453242 w 603618"/>
                  <a:gd name="connsiteY28" fmla="*/ 253965 h 582659"/>
                  <a:gd name="connsiteX29" fmla="*/ 465697 w 603618"/>
                  <a:gd name="connsiteY29" fmla="*/ 256362 h 582659"/>
                  <a:gd name="connsiteX30" fmla="*/ 581247 w 603618"/>
                  <a:gd name="connsiteY30" fmla="*/ 300407 h 582659"/>
                  <a:gd name="connsiteX31" fmla="*/ 603456 w 603618"/>
                  <a:gd name="connsiteY31" fmla="*/ 336363 h 582659"/>
                  <a:gd name="connsiteX32" fmla="*/ 453242 w 603618"/>
                  <a:gd name="connsiteY32" fmla="*/ 582659 h 582659"/>
                  <a:gd name="connsiteX33" fmla="*/ 303027 w 603618"/>
                  <a:gd name="connsiteY33" fmla="*/ 336363 h 582659"/>
                  <a:gd name="connsiteX34" fmla="*/ 325236 w 603618"/>
                  <a:gd name="connsiteY34" fmla="*/ 300407 h 582659"/>
                  <a:gd name="connsiteX35" fmla="*/ 440786 w 603618"/>
                  <a:gd name="connsiteY35" fmla="*/ 256362 h 582659"/>
                  <a:gd name="connsiteX36" fmla="*/ 453242 w 603618"/>
                  <a:gd name="connsiteY36" fmla="*/ 253965 h 582659"/>
                  <a:gd name="connsiteX37" fmla="*/ 338422 w 603618"/>
                  <a:gd name="connsiteY37" fmla="*/ 162865 h 582659"/>
                  <a:gd name="connsiteX38" fmla="*/ 285595 w 603618"/>
                  <a:gd name="connsiteY38" fmla="*/ 169607 h 582659"/>
                  <a:gd name="connsiteX39" fmla="*/ 285595 w 603618"/>
                  <a:gd name="connsiteY39" fmla="*/ 235083 h 582659"/>
                  <a:gd name="connsiteX40" fmla="*/ 348627 w 603618"/>
                  <a:gd name="connsiteY40" fmla="*/ 235083 h 582659"/>
                  <a:gd name="connsiteX41" fmla="*/ 338422 w 603618"/>
                  <a:gd name="connsiteY41" fmla="*/ 162865 h 582659"/>
                  <a:gd name="connsiteX42" fmla="*/ 180542 w 603618"/>
                  <a:gd name="connsiteY42" fmla="*/ 162415 h 582659"/>
                  <a:gd name="connsiteX43" fmla="*/ 170186 w 603618"/>
                  <a:gd name="connsiteY43" fmla="*/ 235083 h 582659"/>
                  <a:gd name="connsiteX44" fmla="*/ 235619 w 603618"/>
                  <a:gd name="connsiteY44" fmla="*/ 235083 h 582659"/>
                  <a:gd name="connsiteX45" fmla="*/ 235619 w 603618"/>
                  <a:gd name="connsiteY45" fmla="*/ 169607 h 582659"/>
                  <a:gd name="connsiteX46" fmla="*/ 180542 w 603618"/>
                  <a:gd name="connsiteY46" fmla="*/ 162415 h 582659"/>
                  <a:gd name="connsiteX47" fmla="*/ 92297 w 603618"/>
                  <a:gd name="connsiteY47" fmla="*/ 133948 h 582659"/>
                  <a:gd name="connsiteX48" fmla="*/ 51476 w 603618"/>
                  <a:gd name="connsiteY48" fmla="*/ 235083 h 582659"/>
                  <a:gd name="connsiteX49" fmla="*/ 120211 w 603618"/>
                  <a:gd name="connsiteY49" fmla="*/ 235083 h 582659"/>
                  <a:gd name="connsiteX50" fmla="*/ 132217 w 603618"/>
                  <a:gd name="connsiteY50" fmla="*/ 149530 h 582659"/>
                  <a:gd name="connsiteX51" fmla="*/ 92297 w 603618"/>
                  <a:gd name="connsiteY51" fmla="*/ 133948 h 582659"/>
                  <a:gd name="connsiteX52" fmla="*/ 159231 w 603618"/>
                  <a:gd name="connsiteY52" fmla="*/ 75814 h 582659"/>
                  <a:gd name="connsiteX53" fmla="*/ 129666 w 603618"/>
                  <a:gd name="connsiteY53" fmla="*/ 95591 h 582659"/>
                  <a:gd name="connsiteX54" fmla="*/ 147225 w 603618"/>
                  <a:gd name="connsiteY54" fmla="*/ 102034 h 582659"/>
                  <a:gd name="connsiteX55" fmla="*/ 159231 w 603618"/>
                  <a:gd name="connsiteY55" fmla="*/ 75814 h 582659"/>
                  <a:gd name="connsiteX56" fmla="*/ 358682 w 603618"/>
                  <a:gd name="connsiteY56" fmla="*/ 74165 h 582659"/>
                  <a:gd name="connsiteX57" fmla="*/ 371888 w 603618"/>
                  <a:gd name="connsiteY57" fmla="*/ 102783 h 582659"/>
                  <a:gd name="connsiteX58" fmla="*/ 391548 w 603618"/>
                  <a:gd name="connsiteY58" fmla="*/ 95591 h 582659"/>
                  <a:gd name="connsiteX59" fmla="*/ 358682 w 603618"/>
                  <a:gd name="connsiteY59" fmla="*/ 74165 h 582659"/>
                  <a:gd name="connsiteX60" fmla="*/ 285595 w 603618"/>
                  <a:gd name="connsiteY60" fmla="*/ 60381 h 582659"/>
                  <a:gd name="connsiteX61" fmla="*/ 285595 w 603618"/>
                  <a:gd name="connsiteY61" fmla="*/ 119864 h 582659"/>
                  <a:gd name="connsiteX62" fmla="*/ 322964 w 603618"/>
                  <a:gd name="connsiteY62" fmla="*/ 115219 h 582659"/>
                  <a:gd name="connsiteX63" fmla="*/ 285595 w 603618"/>
                  <a:gd name="connsiteY63" fmla="*/ 60381 h 582659"/>
                  <a:gd name="connsiteX64" fmla="*/ 235619 w 603618"/>
                  <a:gd name="connsiteY64" fmla="*/ 58583 h 582659"/>
                  <a:gd name="connsiteX65" fmla="*/ 196149 w 603618"/>
                  <a:gd name="connsiteY65" fmla="*/ 114769 h 582659"/>
                  <a:gd name="connsiteX66" fmla="*/ 235619 w 603618"/>
                  <a:gd name="connsiteY66" fmla="*/ 119864 h 582659"/>
                  <a:gd name="connsiteX67" fmla="*/ 259482 w 603618"/>
                  <a:gd name="connsiteY67" fmla="*/ 0 h 582659"/>
                  <a:gd name="connsiteX68" fmla="*/ 260532 w 603618"/>
                  <a:gd name="connsiteY68" fmla="*/ 0 h 582659"/>
                  <a:gd name="connsiteX69" fmla="*/ 520914 w 603618"/>
                  <a:gd name="connsiteY69" fmla="*/ 247369 h 582659"/>
                  <a:gd name="connsiteX70" fmla="*/ 475741 w 603618"/>
                  <a:gd name="connsiteY70" fmla="*/ 230138 h 582659"/>
                  <a:gd name="connsiteX71" fmla="*/ 468688 w 603618"/>
                  <a:gd name="connsiteY71" fmla="*/ 228041 h 582659"/>
                  <a:gd name="connsiteX72" fmla="*/ 428917 w 603618"/>
                  <a:gd name="connsiteY72" fmla="*/ 133948 h 582659"/>
                  <a:gd name="connsiteX73" fmla="*/ 386746 w 603618"/>
                  <a:gd name="connsiteY73" fmla="*/ 150279 h 582659"/>
                  <a:gd name="connsiteX74" fmla="*/ 398752 w 603618"/>
                  <a:gd name="connsiteY74" fmla="*/ 235083 h 582659"/>
                  <a:gd name="connsiteX75" fmla="*/ 417812 w 603618"/>
                  <a:gd name="connsiteY75" fmla="*/ 235083 h 582659"/>
                  <a:gd name="connsiteX76" fmla="*/ 315310 w 603618"/>
                  <a:gd name="connsiteY76" fmla="*/ 274188 h 582659"/>
                  <a:gd name="connsiteX77" fmla="*/ 297001 w 603618"/>
                  <a:gd name="connsiteY77" fmla="*/ 285126 h 582659"/>
                  <a:gd name="connsiteX78" fmla="*/ 285595 w 603618"/>
                  <a:gd name="connsiteY78" fmla="*/ 285126 h 582659"/>
                  <a:gd name="connsiteX79" fmla="*/ 285595 w 603618"/>
                  <a:gd name="connsiteY79" fmla="*/ 297861 h 582659"/>
                  <a:gd name="connsiteX80" fmla="*/ 275089 w 603618"/>
                  <a:gd name="connsiteY80" fmla="*/ 339065 h 582659"/>
                  <a:gd name="connsiteX81" fmla="*/ 285895 w 603618"/>
                  <a:gd name="connsiteY81" fmla="*/ 400345 h 582659"/>
                  <a:gd name="connsiteX82" fmla="*/ 285595 w 603618"/>
                  <a:gd name="connsiteY82" fmla="*/ 400345 h 582659"/>
                  <a:gd name="connsiteX83" fmla="*/ 285595 w 603618"/>
                  <a:gd name="connsiteY83" fmla="*/ 459828 h 582659"/>
                  <a:gd name="connsiteX84" fmla="*/ 299552 w 603618"/>
                  <a:gd name="connsiteY84" fmla="*/ 445594 h 582659"/>
                  <a:gd name="connsiteX85" fmla="*/ 328516 w 603618"/>
                  <a:gd name="connsiteY85" fmla="*/ 511219 h 582659"/>
                  <a:gd name="connsiteX86" fmla="*/ 259482 w 603618"/>
                  <a:gd name="connsiteY86" fmla="*/ 520209 h 582659"/>
                  <a:gd name="connsiteX87" fmla="*/ 0 w 603618"/>
                  <a:gd name="connsiteY87" fmla="*/ 260104 h 582659"/>
                  <a:gd name="connsiteX88" fmla="*/ 259482 w 603618"/>
                  <a:gd name="connsiteY88" fmla="*/ 0 h 582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603618" h="582659">
                    <a:moveTo>
                      <a:pt x="147225" y="418175"/>
                    </a:moveTo>
                    <a:cubicBezTo>
                      <a:pt x="141372" y="420123"/>
                      <a:pt x="135519" y="422221"/>
                      <a:pt x="129666" y="424618"/>
                    </a:cubicBezTo>
                    <a:cubicBezTo>
                      <a:pt x="138970" y="431959"/>
                      <a:pt x="148875" y="438552"/>
                      <a:pt x="159231" y="444246"/>
                    </a:cubicBezTo>
                    <a:cubicBezTo>
                      <a:pt x="155179" y="436604"/>
                      <a:pt x="151277" y="428364"/>
                      <a:pt x="147225" y="418175"/>
                    </a:cubicBezTo>
                    <a:close/>
                    <a:moveTo>
                      <a:pt x="235619" y="400345"/>
                    </a:moveTo>
                    <a:cubicBezTo>
                      <a:pt x="222413" y="401244"/>
                      <a:pt x="209206" y="402893"/>
                      <a:pt x="196149" y="405440"/>
                    </a:cubicBezTo>
                    <a:cubicBezTo>
                      <a:pt x="204704" y="425367"/>
                      <a:pt x="217910" y="448740"/>
                      <a:pt x="235619" y="461476"/>
                    </a:cubicBezTo>
                    <a:close/>
                    <a:moveTo>
                      <a:pt x="453241" y="335186"/>
                    </a:moveTo>
                    <a:lnTo>
                      <a:pt x="453241" y="501720"/>
                    </a:lnTo>
                    <a:cubicBezTo>
                      <a:pt x="444386" y="501720"/>
                      <a:pt x="427728" y="490488"/>
                      <a:pt x="410469" y="458889"/>
                    </a:cubicBezTo>
                    <a:cubicBezTo>
                      <a:pt x="395161" y="431033"/>
                      <a:pt x="383605" y="394791"/>
                      <a:pt x="379853" y="363192"/>
                    </a:cubicBezTo>
                    <a:close/>
                    <a:moveTo>
                      <a:pt x="453242" y="304902"/>
                    </a:moveTo>
                    <a:cubicBezTo>
                      <a:pt x="450390" y="304902"/>
                      <a:pt x="447389" y="305351"/>
                      <a:pt x="444688" y="306400"/>
                    </a:cubicBezTo>
                    <a:lnTo>
                      <a:pt x="364853" y="336813"/>
                    </a:lnTo>
                    <a:cubicBezTo>
                      <a:pt x="354799" y="340708"/>
                      <a:pt x="348496" y="350896"/>
                      <a:pt x="349547" y="361682"/>
                    </a:cubicBezTo>
                    <a:cubicBezTo>
                      <a:pt x="356450" y="432395"/>
                      <a:pt x="400119" y="531722"/>
                      <a:pt x="453242" y="531722"/>
                    </a:cubicBezTo>
                    <a:cubicBezTo>
                      <a:pt x="506364" y="531722"/>
                      <a:pt x="550033" y="432395"/>
                      <a:pt x="556936" y="361682"/>
                    </a:cubicBezTo>
                    <a:cubicBezTo>
                      <a:pt x="558137" y="350896"/>
                      <a:pt x="551834" y="340708"/>
                      <a:pt x="541630" y="336813"/>
                    </a:cubicBezTo>
                    <a:lnTo>
                      <a:pt x="461795" y="306400"/>
                    </a:lnTo>
                    <a:cubicBezTo>
                      <a:pt x="459094" y="305351"/>
                      <a:pt x="456093" y="304902"/>
                      <a:pt x="453242" y="304902"/>
                    </a:cubicBezTo>
                    <a:close/>
                    <a:moveTo>
                      <a:pt x="170186" y="285126"/>
                    </a:moveTo>
                    <a:cubicBezTo>
                      <a:pt x="171687" y="310597"/>
                      <a:pt x="175139" y="335169"/>
                      <a:pt x="180542" y="357794"/>
                    </a:cubicBezTo>
                    <a:cubicBezTo>
                      <a:pt x="198701" y="354048"/>
                      <a:pt x="217160" y="351651"/>
                      <a:pt x="235619" y="350452"/>
                    </a:cubicBezTo>
                    <a:lnTo>
                      <a:pt x="235619" y="285126"/>
                    </a:lnTo>
                    <a:close/>
                    <a:moveTo>
                      <a:pt x="51476" y="285126"/>
                    </a:moveTo>
                    <a:cubicBezTo>
                      <a:pt x="55978" y="322733"/>
                      <a:pt x="70536" y="357344"/>
                      <a:pt x="92297" y="386261"/>
                    </a:cubicBezTo>
                    <a:cubicBezTo>
                      <a:pt x="105353" y="380268"/>
                      <a:pt x="118560" y="375174"/>
                      <a:pt x="132217" y="370679"/>
                    </a:cubicBezTo>
                    <a:cubicBezTo>
                      <a:pt x="125764" y="343860"/>
                      <a:pt x="121562" y="314942"/>
                      <a:pt x="120211" y="285126"/>
                    </a:cubicBezTo>
                    <a:close/>
                    <a:moveTo>
                      <a:pt x="453242" y="253965"/>
                    </a:moveTo>
                    <a:cubicBezTo>
                      <a:pt x="457443" y="253965"/>
                      <a:pt x="461645" y="254714"/>
                      <a:pt x="465697" y="256362"/>
                    </a:cubicBezTo>
                    <a:lnTo>
                      <a:pt x="581247" y="300407"/>
                    </a:lnTo>
                    <a:cubicBezTo>
                      <a:pt x="595953" y="305951"/>
                      <a:pt x="604957" y="320782"/>
                      <a:pt x="603456" y="336363"/>
                    </a:cubicBezTo>
                    <a:cubicBezTo>
                      <a:pt x="593402" y="438687"/>
                      <a:pt x="530075" y="582659"/>
                      <a:pt x="453242" y="582659"/>
                    </a:cubicBezTo>
                    <a:cubicBezTo>
                      <a:pt x="376408" y="582659"/>
                      <a:pt x="313081" y="438687"/>
                      <a:pt x="303027" y="336363"/>
                    </a:cubicBezTo>
                    <a:cubicBezTo>
                      <a:pt x="301526" y="320782"/>
                      <a:pt x="310530" y="305951"/>
                      <a:pt x="325236" y="300407"/>
                    </a:cubicBezTo>
                    <a:lnTo>
                      <a:pt x="440786" y="256362"/>
                    </a:lnTo>
                    <a:cubicBezTo>
                      <a:pt x="444838" y="254714"/>
                      <a:pt x="449040" y="253965"/>
                      <a:pt x="453242" y="253965"/>
                    </a:cubicBezTo>
                    <a:close/>
                    <a:moveTo>
                      <a:pt x="338422" y="162865"/>
                    </a:moveTo>
                    <a:cubicBezTo>
                      <a:pt x="321013" y="166311"/>
                      <a:pt x="303304" y="168558"/>
                      <a:pt x="285595" y="169607"/>
                    </a:cubicBezTo>
                    <a:lnTo>
                      <a:pt x="285595" y="235083"/>
                    </a:lnTo>
                    <a:lnTo>
                      <a:pt x="348627" y="235083"/>
                    </a:lnTo>
                    <a:cubicBezTo>
                      <a:pt x="347276" y="209761"/>
                      <a:pt x="343824" y="185339"/>
                      <a:pt x="338422" y="162865"/>
                    </a:cubicBezTo>
                    <a:close/>
                    <a:moveTo>
                      <a:pt x="180542" y="162415"/>
                    </a:moveTo>
                    <a:cubicBezTo>
                      <a:pt x="175139" y="185040"/>
                      <a:pt x="171687" y="209612"/>
                      <a:pt x="170186" y="235083"/>
                    </a:cubicBezTo>
                    <a:lnTo>
                      <a:pt x="235619" y="235083"/>
                    </a:lnTo>
                    <a:lnTo>
                      <a:pt x="235619" y="169607"/>
                    </a:lnTo>
                    <a:cubicBezTo>
                      <a:pt x="217160" y="168558"/>
                      <a:pt x="198701" y="166161"/>
                      <a:pt x="180542" y="162415"/>
                    </a:cubicBezTo>
                    <a:close/>
                    <a:moveTo>
                      <a:pt x="92297" y="133948"/>
                    </a:moveTo>
                    <a:cubicBezTo>
                      <a:pt x="70536" y="162865"/>
                      <a:pt x="55978" y="197475"/>
                      <a:pt x="51476" y="235083"/>
                    </a:cubicBezTo>
                    <a:lnTo>
                      <a:pt x="120211" y="235083"/>
                    </a:lnTo>
                    <a:cubicBezTo>
                      <a:pt x="121562" y="205117"/>
                      <a:pt x="125764" y="176349"/>
                      <a:pt x="132217" y="149530"/>
                    </a:cubicBezTo>
                    <a:cubicBezTo>
                      <a:pt x="118560" y="145035"/>
                      <a:pt x="105353" y="139791"/>
                      <a:pt x="92297" y="133948"/>
                    </a:cubicBezTo>
                    <a:close/>
                    <a:moveTo>
                      <a:pt x="159231" y="75814"/>
                    </a:moveTo>
                    <a:cubicBezTo>
                      <a:pt x="148875" y="81657"/>
                      <a:pt x="138970" y="88249"/>
                      <a:pt x="129666" y="95591"/>
                    </a:cubicBezTo>
                    <a:cubicBezTo>
                      <a:pt x="135519" y="97839"/>
                      <a:pt x="141372" y="100086"/>
                      <a:pt x="147225" y="102034"/>
                    </a:cubicBezTo>
                    <a:cubicBezTo>
                      <a:pt x="151277" y="91845"/>
                      <a:pt x="155179" y="83605"/>
                      <a:pt x="159231" y="75814"/>
                    </a:cubicBezTo>
                    <a:close/>
                    <a:moveTo>
                      <a:pt x="358682" y="74165"/>
                    </a:moveTo>
                    <a:cubicBezTo>
                      <a:pt x="363184" y="82556"/>
                      <a:pt x="367386" y="91546"/>
                      <a:pt x="371888" y="102783"/>
                    </a:cubicBezTo>
                    <a:cubicBezTo>
                      <a:pt x="378492" y="100536"/>
                      <a:pt x="385095" y="98138"/>
                      <a:pt x="391548" y="95591"/>
                    </a:cubicBezTo>
                    <a:cubicBezTo>
                      <a:pt x="381343" y="87500"/>
                      <a:pt x="370238" y="80309"/>
                      <a:pt x="358682" y="74165"/>
                    </a:cubicBezTo>
                    <a:close/>
                    <a:moveTo>
                      <a:pt x="285595" y="60381"/>
                    </a:moveTo>
                    <a:lnTo>
                      <a:pt x="285595" y="119864"/>
                    </a:lnTo>
                    <a:cubicBezTo>
                      <a:pt x="298051" y="118965"/>
                      <a:pt x="310507" y="117466"/>
                      <a:pt x="322964" y="115219"/>
                    </a:cubicBezTo>
                    <a:cubicBezTo>
                      <a:pt x="314559" y="95741"/>
                      <a:pt x="302253" y="73566"/>
                      <a:pt x="285595" y="60381"/>
                    </a:cubicBezTo>
                    <a:close/>
                    <a:moveTo>
                      <a:pt x="235619" y="58583"/>
                    </a:moveTo>
                    <a:cubicBezTo>
                      <a:pt x="217910" y="71469"/>
                      <a:pt x="204704" y="94692"/>
                      <a:pt x="196149" y="114769"/>
                    </a:cubicBezTo>
                    <a:cubicBezTo>
                      <a:pt x="209206" y="117167"/>
                      <a:pt x="222413" y="118965"/>
                      <a:pt x="235619" y="119864"/>
                    </a:cubicBezTo>
                    <a:close/>
                    <a:moveTo>
                      <a:pt x="259482" y="0"/>
                    </a:moveTo>
                    <a:lnTo>
                      <a:pt x="260532" y="0"/>
                    </a:lnTo>
                    <a:cubicBezTo>
                      <a:pt x="399953" y="0"/>
                      <a:pt x="514161" y="109825"/>
                      <a:pt x="520914" y="247369"/>
                    </a:cubicBezTo>
                    <a:lnTo>
                      <a:pt x="475741" y="230138"/>
                    </a:lnTo>
                    <a:cubicBezTo>
                      <a:pt x="473340" y="229239"/>
                      <a:pt x="471089" y="228640"/>
                      <a:pt x="468688" y="228041"/>
                    </a:cubicBezTo>
                    <a:cubicBezTo>
                      <a:pt x="463285" y="193130"/>
                      <a:pt x="449328" y="160917"/>
                      <a:pt x="428917" y="133948"/>
                    </a:cubicBezTo>
                    <a:cubicBezTo>
                      <a:pt x="415260" y="140240"/>
                      <a:pt x="401153" y="145634"/>
                      <a:pt x="386746" y="150279"/>
                    </a:cubicBezTo>
                    <a:cubicBezTo>
                      <a:pt x="393199" y="176799"/>
                      <a:pt x="397251" y="205416"/>
                      <a:pt x="398752" y="235083"/>
                    </a:cubicBezTo>
                    <a:lnTo>
                      <a:pt x="417812" y="235083"/>
                    </a:lnTo>
                    <a:lnTo>
                      <a:pt x="315310" y="274188"/>
                    </a:lnTo>
                    <a:cubicBezTo>
                      <a:pt x="308556" y="276885"/>
                      <a:pt x="302403" y="280481"/>
                      <a:pt x="297001" y="285126"/>
                    </a:cubicBezTo>
                    <a:lnTo>
                      <a:pt x="285595" y="285126"/>
                    </a:lnTo>
                    <a:lnTo>
                      <a:pt x="285595" y="297861"/>
                    </a:lnTo>
                    <a:cubicBezTo>
                      <a:pt x="277641" y="309698"/>
                      <a:pt x="273589" y="324231"/>
                      <a:pt x="275089" y="339065"/>
                    </a:cubicBezTo>
                    <a:cubicBezTo>
                      <a:pt x="277040" y="358992"/>
                      <a:pt x="280792" y="379669"/>
                      <a:pt x="285895" y="400345"/>
                    </a:cubicBezTo>
                    <a:cubicBezTo>
                      <a:pt x="285745" y="400345"/>
                      <a:pt x="285745" y="400345"/>
                      <a:pt x="285595" y="400345"/>
                    </a:cubicBezTo>
                    <a:lnTo>
                      <a:pt x="285595" y="459828"/>
                    </a:lnTo>
                    <a:cubicBezTo>
                      <a:pt x="290397" y="456082"/>
                      <a:pt x="295050" y="451288"/>
                      <a:pt x="299552" y="445594"/>
                    </a:cubicBezTo>
                    <a:cubicBezTo>
                      <a:pt x="307656" y="468818"/>
                      <a:pt x="317411" y="491142"/>
                      <a:pt x="328516" y="511219"/>
                    </a:cubicBezTo>
                    <a:cubicBezTo>
                      <a:pt x="305405" y="517512"/>
                      <a:pt x="282893" y="520209"/>
                      <a:pt x="259482" y="520209"/>
                    </a:cubicBezTo>
                    <a:cubicBezTo>
                      <a:pt x="118260" y="520209"/>
                      <a:pt x="0" y="404541"/>
                      <a:pt x="0" y="260104"/>
                    </a:cubicBezTo>
                    <a:cubicBezTo>
                      <a:pt x="0" y="115519"/>
                      <a:pt x="118560" y="0"/>
                      <a:pt x="259482" y="0"/>
                    </a:cubicBezTo>
                    <a:close/>
                  </a:path>
                </a:pathLst>
              </a:custGeom>
              <a:solidFill>
                <a:schemeClr val="accent2">
                  <a:lumMod val="40000"/>
                  <a:lumOff val="60000"/>
                </a:schemeClr>
              </a:solidFill>
              <a:ln w="9525">
                <a:noFill/>
                <a:round/>
                <a:headEnd/>
                <a:tailEnd/>
              </a:ln>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endParaRPr/>
              </a:p>
            </p:txBody>
          </p:sp>
          <p:sp>
            <p:nvSpPr>
              <p:cNvPr id="16" name="îṧliḍê">
                <a:extLst>
                  <a:ext uri="{FF2B5EF4-FFF2-40B4-BE49-F238E27FC236}">
                    <a16:creationId xmlns:a16="http://schemas.microsoft.com/office/drawing/2014/main" id="{D93C77BC-9FBF-459D-A14D-B2EC75A48C2D}"/>
                  </a:ext>
                </a:extLst>
              </p:cNvPr>
              <p:cNvSpPr txBox="1"/>
              <p:nvPr/>
            </p:nvSpPr>
            <p:spPr>
              <a:xfrm>
                <a:off x="4141555" y="4297837"/>
                <a:ext cx="2328027" cy="678094"/>
              </a:xfrm>
              <a:prstGeom prst="rect">
                <a:avLst/>
              </a:prstGeom>
            </p:spPr>
            <p:txBody>
              <a:bodyPr wrap="square" lIns="91440" tIns="45720" rIns="91440" bIns="45720" anchor="t" anchorCtr="0">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lnSpc>
                    <a:spcPct val="120000"/>
                  </a:lnSpc>
                </a:pPr>
                <a:r>
                  <a:rPr lang="zh-CN" altLang="en-US" sz="1200" dirty="0">
                    <a:latin typeface="+mn-ea"/>
                  </a:rPr>
                  <a:t>​顺序图的重点在消息序列上，也就是说，描述消息是如何在对象间发送和接收的。表示了对象之间传送消息的时间顺序。</a:t>
                </a:r>
                <a:endParaRPr lang="en-US" altLang="zh-CN" sz="1200" dirty="0">
                  <a:latin typeface="+mn-ea"/>
                </a:endParaRPr>
              </a:p>
            </p:txBody>
          </p:sp>
        </p:grpSp>
        <p:cxnSp>
          <p:nvCxnSpPr>
            <p:cNvPr id="13" name="直接连接符 12">
              <a:extLst>
                <a:ext uri="{FF2B5EF4-FFF2-40B4-BE49-F238E27FC236}">
                  <a16:creationId xmlns:a16="http://schemas.microsoft.com/office/drawing/2014/main" id="{5BE3A93B-7E01-4C5F-B648-74BBB46100D1}"/>
                </a:ext>
              </a:extLst>
            </p:cNvPr>
            <p:cNvCxnSpPr/>
            <p:nvPr/>
          </p:nvCxnSpPr>
          <p:spPr>
            <a:xfrm>
              <a:off x="6032500" y="4336576"/>
              <a:ext cx="0" cy="916627"/>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4" name="直接连接符 13">
              <a:extLst>
                <a:ext uri="{FF2B5EF4-FFF2-40B4-BE49-F238E27FC236}">
                  <a16:creationId xmlns:a16="http://schemas.microsoft.com/office/drawing/2014/main" id="{EC0AB88D-6B23-4D72-8BC7-5975BE9833FE}"/>
                </a:ext>
              </a:extLst>
            </p:cNvPr>
            <p:cNvCxnSpPr/>
            <p:nvPr/>
          </p:nvCxnSpPr>
          <p:spPr>
            <a:xfrm>
              <a:off x="8928100" y="4336576"/>
              <a:ext cx="0" cy="916627"/>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62" name="e-book_21821">
            <a:extLst>
              <a:ext uri="{FF2B5EF4-FFF2-40B4-BE49-F238E27FC236}">
                <a16:creationId xmlns:a16="http://schemas.microsoft.com/office/drawing/2014/main" id="{EBB4F16B-6FE4-4B85-8056-B746F020F0E3}"/>
              </a:ext>
            </a:extLst>
          </p:cNvPr>
          <p:cNvSpPr/>
          <p:nvPr/>
        </p:nvSpPr>
        <p:spPr>
          <a:xfrm>
            <a:off x="7191575" y="3557973"/>
            <a:ext cx="609685" cy="521433"/>
          </a:xfrm>
          <a:custGeom>
            <a:avLst/>
            <a:gdLst>
              <a:gd name="T0" fmla="*/ 902 w 934"/>
              <a:gd name="T1" fmla="*/ 146 h 800"/>
              <a:gd name="T2" fmla="*/ 843 w 934"/>
              <a:gd name="T3" fmla="*/ 76 h 800"/>
              <a:gd name="T4" fmla="*/ 318 w 934"/>
              <a:gd name="T5" fmla="*/ 146 h 800"/>
              <a:gd name="T6" fmla="*/ 193 w 934"/>
              <a:gd name="T7" fmla="*/ 0 h 800"/>
              <a:gd name="T8" fmla="*/ 32 w 934"/>
              <a:gd name="T9" fmla="*/ 146 h 800"/>
              <a:gd name="T10" fmla="*/ 0 w 934"/>
              <a:gd name="T11" fmla="*/ 202 h 800"/>
              <a:gd name="T12" fmla="*/ 934 w 934"/>
              <a:gd name="T13" fmla="*/ 800 h 800"/>
              <a:gd name="T14" fmla="*/ 902 w 934"/>
              <a:gd name="T15" fmla="*/ 202 h 800"/>
              <a:gd name="T16" fmla="*/ 63 w 934"/>
              <a:gd name="T17" fmla="*/ 177 h 800"/>
              <a:gd name="T18" fmla="*/ 193 w 934"/>
              <a:gd name="T19" fmla="*/ 202 h 800"/>
              <a:gd name="T20" fmla="*/ 90 w 934"/>
              <a:gd name="T21" fmla="*/ 440 h 800"/>
              <a:gd name="T22" fmla="*/ 421 w 934"/>
              <a:gd name="T23" fmla="*/ 440 h 800"/>
              <a:gd name="T24" fmla="*/ 318 w 934"/>
              <a:gd name="T25" fmla="*/ 202 h 800"/>
              <a:gd name="T26" fmla="*/ 452 w 934"/>
              <a:gd name="T27" fmla="*/ 177 h 800"/>
              <a:gd name="T28" fmla="*/ 452 w 934"/>
              <a:gd name="T29" fmla="*/ 746 h 800"/>
              <a:gd name="T30" fmla="*/ 63 w 934"/>
              <a:gd name="T31" fmla="*/ 202 h 800"/>
              <a:gd name="T32" fmla="*/ 812 w 934"/>
              <a:gd name="T33" fmla="*/ 114 h 800"/>
              <a:gd name="T34" fmla="*/ 812 w 934"/>
              <a:gd name="T35" fmla="*/ 162 h 800"/>
              <a:gd name="T36" fmla="*/ 812 w 934"/>
              <a:gd name="T37" fmla="*/ 202 h 800"/>
              <a:gd name="T38" fmla="*/ 483 w 934"/>
              <a:gd name="T39" fmla="*/ 743 h 800"/>
              <a:gd name="T40" fmla="*/ 483 w 934"/>
              <a:gd name="T41" fmla="*/ 177 h 800"/>
              <a:gd name="T42" fmla="*/ 553 w 934"/>
              <a:gd name="T43" fmla="*/ 162 h 800"/>
              <a:gd name="T44" fmla="*/ 871 w 934"/>
              <a:gd name="T45" fmla="*/ 202 h 800"/>
              <a:gd name="T46" fmla="*/ 636 w 934"/>
              <a:gd name="T47" fmla="*/ 746 h 800"/>
              <a:gd name="T48" fmla="*/ 843 w 934"/>
              <a:gd name="T49" fmla="*/ 202 h 800"/>
              <a:gd name="T50" fmla="*/ 871 w 934"/>
              <a:gd name="T51" fmla="*/ 177 h 800"/>
              <a:gd name="T52" fmla="*/ 527 w 934"/>
              <a:gd name="T53" fmla="*/ 602 h 800"/>
              <a:gd name="T54" fmla="*/ 766 w 934"/>
              <a:gd name="T55" fmla="*/ 505 h 800"/>
              <a:gd name="T56" fmla="*/ 527 w 934"/>
              <a:gd name="T57" fmla="*/ 602 h 800"/>
              <a:gd name="T58" fmla="*/ 516 w 934"/>
              <a:gd name="T59" fmla="*/ 656 h 800"/>
              <a:gd name="T60" fmla="*/ 771 w 934"/>
              <a:gd name="T61" fmla="*/ 619 h 800"/>
              <a:gd name="T62" fmla="*/ 531 w 934"/>
              <a:gd name="T63" fmla="*/ 282 h 800"/>
              <a:gd name="T64" fmla="*/ 701 w 934"/>
              <a:gd name="T65" fmla="*/ 202 h 800"/>
              <a:gd name="T66" fmla="*/ 767 w 934"/>
              <a:gd name="T67" fmla="*/ 202 h 800"/>
              <a:gd name="T68" fmla="*/ 531 w 934"/>
              <a:gd name="T69" fmla="*/ 282 h 800"/>
              <a:gd name="T70" fmla="*/ 522 w 934"/>
              <a:gd name="T71" fmla="*/ 331 h 800"/>
              <a:gd name="T72" fmla="*/ 771 w 934"/>
              <a:gd name="T73" fmla="*/ 294 h 800"/>
              <a:gd name="T74" fmla="*/ 530 w 934"/>
              <a:gd name="T75" fmla="*/ 441 h 800"/>
              <a:gd name="T76" fmla="*/ 763 w 934"/>
              <a:gd name="T77" fmla="*/ 344 h 800"/>
              <a:gd name="T78" fmla="*/ 530 w 934"/>
              <a:gd name="T79" fmla="*/ 441 h 800"/>
              <a:gd name="T80" fmla="*/ 522 w 934"/>
              <a:gd name="T81" fmla="*/ 490 h 800"/>
              <a:gd name="T82" fmla="*/ 771 w 934"/>
              <a:gd name="T83" fmla="*/ 453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934" h="800">
                <a:moveTo>
                  <a:pt x="902" y="202"/>
                </a:moveTo>
                <a:lnTo>
                  <a:pt x="902" y="146"/>
                </a:lnTo>
                <a:lnTo>
                  <a:pt x="843" y="146"/>
                </a:lnTo>
                <a:lnTo>
                  <a:pt x="843" y="76"/>
                </a:lnTo>
                <a:lnTo>
                  <a:pt x="466" y="146"/>
                </a:lnTo>
                <a:lnTo>
                  <a:pt x="318" y="146"/>
                </a:lnTo>
                <a:lnTo>
                  <a:pt x="318" y="0"/>
                </a:lnTo>
                <a:lnTo>
                  <a:pt x="193" y="0"/>
                </a:lnTo>
                <a:lnTo>
                  <a:pt x="193" y="146"/>
                </a:lnTo>
                <a:lnTo>
                  <a:pt x="32" y="146"/>
                </a:lnTo>
                <a:lnTo>
                  <a:pt x="32" y="202"/>
                </a:lnTo>
                <a:lnTo>
                  <a:pt x="0" y="202"/>
                </a:lnTo>
                <a:lnTo>
                  <a:pt x="0" y="800"/>
                </a:lnTo>
                <a:lnTo>
                  <a:pt x="934" y="800"/>
                </a:lnTo>
                <a:lnTo>
                  <a:pt x="934" y="202"/>
                </a:lnTo>
                <a:lnTo>
                  <a:pt x="902" y="202"/>
                </a:lnTo>
                <a:close/>
                <a:moveTo>
                  <a:pt x="63" y="202"/>
                </a:moveTo>
                <a:lnTo>
                  <a:pt x="63" y="177"/>
                </a:lnTo>
                <a:lnTo>
                  <a:pt x="193" y="177"/>
                </a:lnTo>
                <a:lnTo>
                  <a:pt x="193" y="202"/>
                </a:lnTo>
                <a:lnTo>
                  <a:pt x="193" y="440"/>
                </a:lnTo>
                <a:lnTo>
                  <a:pt x="90" y="440"/>
                </a:lnTo>
                <a:lnTo>
                  <a:pt x="255" y="605"/>
                </a:lnTo>
                <a:lnTo>
                  <a:pt x="421" y="440"/>
                </a:lnTo>
                <a:lnTo>
                  <a:pt x="318" y="440"/>
                </a:lnTo>
                <a:lnTo>
                  <a:pt x="318" y="202"/>
                </a:lnTo>
                <a:lnTo>
                  <a:pt x="318" y="177"/>
                </a:lnTo>
                <a:lnTo>
                  <a:pt x="452" y="177"/>
                </a:lnTo>
                <a:lnTo>
                  <a:pt x="452" y="202"/>
                </a:lnTo>
                <a:lnTo>
                  <a:pt x="452" y="746"/>
                </a:lnTo>
                <a:lnTo>
                  <a:pt x="63" y="746"/>
                </a:lnTo>
                <a:lnTo>
                  <a:pt x="63" y="202"/>
                </a:lnTo>
                <a:close/>
                <a:moveTo>
                  <a:pt x="636" y="146"/>
                </a:moveTo>
                <a:lnTo>
                  <a:pt x="812" y="114"/>
                </a:lnTo>
                <a:lnTo>
                  <a:pt x="812" y="146"/>
                </a:lnTo>
                <a:lnTo>
                  <a:pt x="812" y="162"/>
                </a:lnTo>
                <a:lnTo>
                  <a:pt x="812" y="177"/>
                </a:lnTo>
                <a:lnTo>
                  <a:pt x="812" y="202"/>
                </a:lnTo>
                <a:lnTo>
                  <a:pt x="812" y="681"/>
                </a:lnTo>
                <a:lnTo>
                  <a:pt x="483" y="743"/>
                </a:lnTo>
                <a:lnTo>
                  <a:pt x="483" y="202"/>
                </a:lnTo>
                <a:lnTo>
                  <a:pt x="483" y="177"/>
                </a:lnTo>
                <a:lnTo>
                  <a:pt x="483" y="175"/>
                </a:lnTo>
                <a:lnTo>
                  <a:pt x="553" y="162"/>
                </a:lnTo>
                <a:lnTo>
                  <a:pt x="636" y="146"/>
                </a:lnTo>
                <a:close/>
                <a:moveTo>
                  <a:pt x="871" y="202"/>
                </a:moveTo>
                <a:lnTo>
                  <a:pt x="871" y="746"/>
                </a:lnTo>
                <a:lnTo>
                  <a:pt x="636" y="746"/>
                </a:lnTo>
                <a:lnTo>
                  <a:pt x="843" y="707"/>
                </a:lnTo>
                <a:lnTo>
                  <a:pt x="843" y="202"/>
                </a:lnTo>
                <a:lnTo>
                  <a:pt x="843" y="177"/>
                </a:lnTo>
                <a:lnTo>
                  <a:pt x="871" y="177"/>
                </a:lnTo>
                <a:lnTo>
                  <a:pt x="871" y="202"/>
                </a:lnTo>
                <a:close/>
                <a:moveTo>
                  <a:pt x="527" y="602"/>
                </a:moveTo>
                <a:lnTo>
                  <a:pt x="519" y="572"/>
                </a:lnTo>
                <a:lnTo>
                  <a:pt x="766" y="505"/>
                </a:lnTo>
                <a:lnTo>
                  <a:pt x="774" y="535"/>
                </a:lnTo>
                <a:lnTo>
                  <a:pt x="527" y="602"/>
                </a:lnTo>
                <a:close/>
                <a:moveTo>
                  <a:pt x="525" y="686"/>
                </a:moveTo>
                <a:lnTo>
                  <a:pt x="516" y="656"/>
                </a:lnTo>
                <a:lnTo>
                  <a:pt x="763" y="589"/>
                </a:lnTo>
                <a:lnTo>
                  <a:pt x="771" y="619"/>
                </a:lnTo>
                <a:lnTo>
                  <a:pt x="525" y="686"/>
                </a:lnTo>
                <a:close/>
                <a:moveTo>
                  <a:pt x="531" y="282"/>
                </a:moveTo>
                <a:lnTo>
                  <a:pt x="522" y="252"/>
                </a:lnTo>
                <a:lnTo>
                  <a:pt x="701" y="202"/>
                </a:lnTo>
                <a:lnTo>
                  <a:pt x="763" y="185"/>
                </a:lnTo>
                <a:lnTo>
                  <a:pt x="767" y="202"/>
                </a:lnTo>
                <a:lnTo>
                  <a:pt x="771" y="215"/>
                </a:lnTo>
                <a:lnTo>
                  <a:pt x="531" y="282"/>
                </a:lnTo>
                <a:close/>
                <a:moveTo>
                  <a:pt x="531" y="361"/>
                </a:moveTo>
                <a:lnTo>
                  <a:pt x="522" y="331"/>
                </a:lnTo>
                <a:lnTo>
                  <a:pt x="763" y="264"/>
                </a:lnTo>
                <a:lnTo>
                  <a:pt x="771" y="294"/>
                </a:lnTo>
                <a:lnTo>
                  <a:pt x="531" y="361"/>
                </a:lnTo>
                <a:close/>
                <a:moveTo>
                  <a:pt x="530" y="441"/>
                </a:moveTo>
                <a:lnTo>
                  <a:pt x="522" y="411"/>
                </a:lnTo>
                <a:lnTo>
                  <a:pt x="763" y="344"/>
                </a:lnTo>
                <a:lnTo>
                  <a:pt x="771" y="374"/>
                </a:lnTo>
                <a:lnTo>
                  <a:pt x="530" y="441"/>
                </a:lnTo>
                <a:close/>
                <a:moveTo>
                  <a:pt x="530" y="520"/>
                </a:moveTo>
                <a:lnTo>
                  <a:pt x="522" y="490"/>
                </a:lnTo>
                <a:lnTo>
                  <a:pt x="763" y="423"/>
                </a:lnTo>
                <a:lnTo>
                  <a:pt x="771" y="453"/>
                </a:lnTo>
                <a:lnTo>
                  <a:pt x="530" y="52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63" name="组合 62">
            <a:extLst>
              <a:ext uri="{FF2B5EF4-FFF2-40B4-BE49-F238E27FC236}">
                <a16:creationId xmlns:a16="http://schemas.microsoft.com/office/drawing/2014/main" id="{75A8FE5E-D06C-4F5D-B55F-34FF5CBB774C}"/>
              </a:ext>
            </a:extLst>
          </p:cNvPr>
          <p:cNvGrpSpPr/>
          <p:nvPr/>
        </p:nvGrpSpPr>
        <p:grpSpPr>
          <a:xfrm>
            <a:off x="10440193" y="68734"/>
            <a:ext cx="1080294" cy="1067017"/>
            <a:chOff x="4239419" y="1802606"/>
            <a:chExt cx="3713163" cy="3938588"/>
          </a:xfrm>
        </p:grpSpPr>
        <p:sp>
          <p:nvSpPr>
            <p:cNvPr id="64" name="Freeform 5">
              <a:extLst>
                <a:ext uri="{FF2B5EF4-FFF2-40B4-BE49-F238E27FC236}">
                  <a16:creationId xmlns:a16="http://schemas.microsoft.com/office/drawing/2014/main" id="{49498571-439B-47FE-B0EB-2CC41645BFE0}"/>
                </a:ext>
              </a:extLst>
            </p:cNvPr>
            <p:cNvSpPr>
              <a:spLocks/>
            </p:cNvSpPr>
            <p:nvPr/>
          </p:nvSpPr>
          <p:spPr bwMode="auto">
            <a:xfrm>
              <a:off x="4888706" y="1837531"/>
              <a:ext cx="3008313" cy="3455988"/>
            </a:xfrm>
            <a:custGeom>
              <a:avLst/>
              <a:gdLst>
                <a:gd name="T0" fmla="*/ 1061 w 1706"/>
                <a:gd name="T1" fmla="*/ 1952 h 1960"/>
                <a:gd name="T2" fmla="*/ 32 w 1706"/>
                <a:gd name="T3" fmla="*/ 1539 h 1960"/>
                <a:gd name="T4" fmla="*/ 9 w 1706"/>
                <a:gd name="T5" fmla="*/ 1485 h 1960"/>
                <a:gd name="T6" fmla="*/ 592 w 1706"/>
                <a:gd name="T7" fmla="*/ 32 h 1960"/>
                <a:gd name="T8" fmla="*/ 646 w 1706"/>
                <a:gd name="T9" fmla="*/ 9 h 1960"/>
                <a:gd name="T10" fmla="*/ 1674 w 1706"/>
                <a:gd name="T11" fmla="*/ 421 h 1960"/>
                <a:gd name="T12" fmla="*/ 1698 w 1706"/>
                <a:gd name="T13" fmla="*/ 475 h 1960"/>
                <a:gd name="T14" fmla="*/ 1115 w 1706"/>
                <a:gd name="T15" fmla="*/ 1929 h 1960"/>
                <a:gd name="T16" fmla="*/ 1061 w 1706"/>
                <a:gd name="T17" fmla="*/ 1952 h 19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06" h="1960">
                  <a:moveTo>
                    <a:pt x="1061" y="1952"/>
                  </a:moveTo>
                  <a:cubicBezTo>
                    <a:pt x="32" y="1539"/>
                    <a:pt x="32" y="1539"/>
                    <a:pt x="32" y="1539"/>
                  </a:cubicBezTo>
                  <a:cubicBezTo>
                    <a:pt x="11" y="1531"/>
                    <a:pt x="0" y="1507"/>
                    <a:pt x="9" y="1485"/>
                  </a:cubicBezTo>
                  <a:cubicBezTo>
                    <a:pt x="592" y="32"/>
                    <a:pt x="592" y="32"/>
                    <a:pt x="592" y="32"/>
                  </a:cubicBezTo>
                  <a:cubicBezTo>
                    <a:pt x="601" y="11"/>
                    <a:pt x="625" y="0"/>
                    <a:pt x="646" y="9"/>
                  </a:cubicBezTo>
                  <a:cubicBezTo>
                    <a:pt x="1674" y="421"/>
                    <a:pt x="1674" y="421"/>
                    <a:pt x="1674" y="421"/>
                  </a:cubicBezTo>
                  <a:cubicBezTo>
                    <a:pt x="1696" y="430"/>
                    <a:pt x="1706" y="454"/>
                    <a:pt x="1698" y="475"/>
                  </a:cubicBezTo>
                  <a:cubicBezTo>
                    <a:pt x="1115" y="1929"/>
                    <a:pt x="1115" y="1929"/>
                    <a:pt x="1115" y="1929"/>
                  </a:cubicBezTo>
                  <a:cubicBezTo>
                    <a:pt x="1106" y="1950"/>
                    <a:pt x="1082" y="1960"/>
                    <a:pt x="1061" y="1952"/>
                  </a:cubicBezTo>
                  <a:close/>
                </a:path>
              </a:pathLst>
            </a:custGeom>
            <a:solidFill>
              <a:srgbClr val="424242">
                <a:alpha val="20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65" name="Freeform 6">
              <a:extLst>
                <a:ext uri="{FF2B5EF4-FFF2-40B4-BE49-F238E27FC236}">
                  <a16:creationId xmlns:a16="http://schemas.microsoft.com/office/drawing/2014/main" id="{1F17D37F-C5F1-4F88-B706-FEA6968230A4}"/>
                </a:ext>
              </a:extLst>
            </p:cNvPr>
            <p:cNvSpPr>
              <a:spLocks/>
            </p:cNvSpPr>
            <p:nvPr/>
          </p:nvSpPr>
          <p:spPr bwMode="auto">
            <a:xfrm>
              <a:off x="4944269" y="1802606"/>
              <a:ext cx="3008313" cy="3455988"/>
            </a:xfrm>
            <a:custGeom>
              <a:avLst/>
              <a:gdLst>
                <a:gd name="T0" fmla="*/ 1061 w 1706"/>
                <a:gd name="T1" fmla="*/ 1952 h 1960"/>
                <a:gd name="T2" fmla="*/ 32 w 1706"/>
                <a:gd name="T3" fmla="*/ 1539 h 1960"/>
                <a:gd name="T4" fmla="*/ 9 w 1706"/>
                <a:gd name="T5" fmla="*/ 1485 h 1960"/>
                <a:gd name="T6" fmla="*/ 592 w 1706"/>
                <a:gd name="T7" fmla="*/ 32 h 1960"/>
                <a:gd name="T8" fmla="*/ 646 w 1706"/>
                <a:gd name="T9" fmla="*/ 9 h 1960"/>
                <a:gd name="T10" fmla="*/ 1674 w 1706"/>
                <a:gd name="T11" fmla="*/ 421 h 1960"/>
                <a:gd name="T12" fmla="*/ 1698 w 1706"/>
                <a:gd name="T13" fmla="*/ 475 h 1960"/>
                <a:gd name="T14" fmla="*/ 1115 w 1706"/>
                <a:gd name="T15" fmla="*/ 1929 h 1960"/>
                <a:gd name="T16" fmla="*/ 1061 w 1706"/>
                <a:gd name="T17" fmla="*/ 1952 h 19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06" h="1960">
                  <a:moveTo>
                    <a:pt x="1061" y="1952"/>
                  </a:moveTo>
                  <a:cubicBezTo>
                    <a:pt x="32" y="1539"/>
                    <a:pt x="32" y="1539"/>
                    <a:pt x="32" y="1539"/>
                  </a:cubicBezTo>
                  <a:cubicBezTo>
                    <a:pt x="11" y="1531"/>
                    <a:pt x="0" y="1507"/>
                    <a:pt x="9" y="1485"/>
                  </a:cubicBezTo>
                  <a:cubicBezTo>
                    <a:pt x="592" y="32"/>
                    <a:pt x="592" y="32"/>
                    <a:pt x="592" y="32"/>
                  </a:cubicBezTo>
                  <a:cubicBezTo>
                    <a:pt x="601" y="11"/>
                    <a:pt x="625" y="0"/>
                    <a:pt x="646" y="9"/>
                  </a:cubicBezTo>
                  <a:cubicBezTo>
                    <a:pt x="1674" y="421"/>
                    <a:pt x="1674" y="421"/>
                    <a:pt x="1674" y="421"/>
                  </a:cubicBezTo>
                  <a:cubicBezTo>
                    <a:pt x="1696" y="430"/>
                    <a:pt x="1706" y="454"/>
                    <a:pt x="1698" y="475"/>
                  </a:cubicBezTo>
                  <a:cubicBezTo>
                    <a:pt x="1115" y="1929"/>
                    <a:pt x="1115" y="1929"/>
                    <a:pt x="1115" y="1929"/>
                  </a:cubicBezTo>
                  <a:cubicBezTo>
                    <a:pt x="1106" y="1950"/>
                    <a:pt x="1082" y="1960"/>
                    <a:pt x="1061" y="1952"/>
                  </a:cubicBezTo>
                  <a:close/>
                </a:path>
              </a:pathLst>
            </a:custGeom>
            <a:solidFill>
              <a:srgbClr val="E4E4E4"/>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66" name="Freeform 7">
              <a:extLst>
                <a:ext uri="{FF2B5EF4-FFF2-40B4-BE49-F238E27FC236}">
                  <a16:creationId xmlns:a16="http://schemas.microsoft.com/office/drawing/2014/main" id="{DC5C9A6C-881D-4A37-B893-837B67C49988}"/>
                </a:ext>
              </a:extLst>
            </p:cNvPr>
            <p:cNvSpPr>
              <a:spLocks/>
            </p:cNvSpPr>
            <p:nvPr/>
          </p:nvSpPr>
          <p:spPr bwMode="auto">
            <a:xfrm>
              <a:off x="4944269" y="1802606"/>
              <a:ext cx="1427163" cy="2827338"/>
            </a:xfrm>
            <a:custGeom>
              <a:avLst/>
              <a:gdLst>
                <a:gd name="T0" fmla="*/ 194 w 809"/>
                <a:gd name="T1" fmla="*/ 1604 h 1604"/>
                <a:gd name="T2" fmla="*/ 32 w 809"/>
                <a:gd name="T3" fmla="*/ 1539 h 1604"/>
                <a:gd name="T4" fmla="*/ 9 w 809"/>
                <a:gd name="T5" fmla="*/ 1486 h 1604"/>
                <a:gd name="T6" fmla="*/ 592 w 809"/>
                <a:gd name="T7" fmla="*/ 32 h 1604"/>
                <a:gd name="T8" fmla="*/ 646 w 809"/>
                <a:gd name="T9" fmla="*/ 9 h 1604"/>
                <a:gd name="T10" fmla="*/ 809 w 809"/>
                <a:gd name="T11" fmla="*/ 74 h 1604"/>
                <a:gd name="T12" fmla="*/ 195 w 809"/>
                <a:gd name="T13" fmla="*/ 1604 h 1604"/>
                <a:gd name="T14" fmla="*/ 194 w 809"/>
                <a:gd name="T15" fmla="*/ 1604 h 16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9" h="1604">
                  <a:moveTo>
                    <a:pt x="194" y="1604"/>
                  </a:moveTo>
                  <a:cubicBezTo>
                    <a:pt x="32" y="1539"/>
                    <a:pt x="32" y="1539"/>
                    <a:pt x="32" y="1539"/>
                  </a:cubicBezTo>
                  <a:cubicBezTo>
                    <a:pt x="11" y="1531"/>
                    <a:pt x="0" y="1507"/>
                    <a:pt x="9" y="1486"/>
                  </a:cubicBezTo>
                  <a:cubicBezTo>
                    <a:pt x="592" y="32"/>
                    <a:pt x="592" y="32"/>
                    <a:pt x="592" y="32"/>
                  </a:cubicBezTo>
                  <a:cubicBezTo>
                    <a:pt x="601" y="10"/>
                    <a:pt x="625" y="0"/>
                    <a:pt x="646" y="9"/>
                  </a:cubicBezTo>
                  <a:cubicBezTo>
                    <a:pt x="809" y="74"/>
                    <a:pt x="809" y="74"/>
                    <a:pt x="809" y="74"/>
                  </a:cubicBezTo>
                  <a:cubicBezTo>
                    <a:pt x="195" y="1604"/>
                    <a:pt x="195" y="1604"/>
                    <a:pt x="195" y="1604"/>
                  </a:cubicBezTo>
                  <a:cubicBezTo>
                    <a:pt x="195" y="1604"/>
                    <a:pt x="194" y="1604"/>
                    <a:pt x="194" y="1604"/>
                  </a:cubicBezTo>
                  <a:close/>
                </a:path>
              </a:pathLst>
            </a:custGeom>
            <a:solidFill>
              <a:srgbClr val="C1C0BF"/>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67" name="Freeform 8">
              <a:extLst>
                <a:ext uri="{FF2B5EF4-FFF2-40B4-BE49-F238E27FC236}">
                  <a16:creationId xmlns:a16="http://schemas.microsoft.com/office/drawing/2014/main" id="{462462C9-43FD-42F2-BE45-A82CFC1F277E}"/>
                </a:ext>
              </a:extLst>
            </p:cNvPr>
            <p:cNvSpPr>
              <a:spLocks/>
            </p:cNvSpPr>
            <p:nvPr/>
          </p:nvSpPr>
          <p:spPr bwMode="auto">
            <a:xfrm>
              <a:off x="4291806" y="1967706"/>
              <a:ext cx="1431925" cy="2081213"/>
            </a:xfrm>
            <a:custGeom>
              <a:avLst/>
              <a:gdLst>
                <a:gd name="T0" fmla="*/ 775 w 812"/>
                <a:gd name="T1" fmla="*/ 1108 h 1180"/>
                <a:gd name="T2" fmla="*/ 163 w 812"/>
                <a:gd name="T3" fmla="*/ 1178 h 1180"/>
                <a:gd name="T4" fmla="*/ 120 w 812"/>
                <a:gd name="T5" fmla="*/ 1144 h 1180"/>
                <a:gd name="T6" fmla="*/ 2 w 812"/>
                <a:gd name="T7" fmla="*/ 115 h 1180"/>
                <a:gd name="T8" fmla="*/ 36 w 812"/>
                <a:gd name="T9" fmla="*/ 72 h 1180"/>
                <a:gd name="T10" fmla="*/ 649 w 812"/>
                <a:gd name="T11" fmla="*/ 2 h 1180"/>
                <a:gd name="T12" fmla="*/ 692 w 812"/>
                <a:gd name="T13" fmla="*/ 36 h 1180"/>
                <a:gd name="T14" fmla="*/ 809 w 812"/>
                <a:gd name="T15" fmla="*/ 1065 h 1180"/>
                <a:gd name="T16" fmla="*/ 775 w 812"/>
                <a:gd name="T17" fmla="*/ 1108 h 1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2" h="1180">
                  <a:moveTo>
                    <a:pt x="775" y="1108"/>
                  </a:moveTo>
                  <a:cubicBezTo>
                    <a:pt x="163" y="1178"/>
                    <a:pt x="163" y="1178"/>
                    <a:pt x="163" y="1178"/>
                  </a:cubicBezTo>
                  <a:cubicBezTo>
                    <a:pt x="141" y="1180"/>
                    <a:pt x="122" y="1165"/>
                    <a:pt x="120" y="1144"/>
                  </a:cubicBezTo>
                  <a:cubicBezTo>
                    <a:pt x="2" y="115"/>
                    <a:pt x="2" y="115"/>
                    <a:pt x="2" y="115"/>
                  </a:cubicBezTo>
                  <a:cubicBezTo>
                    <a:pt x="0" y="94"/>
                    <a:pt x="15" y="75"/>
                    <a:pt x="36" y="72"/>
                  </a:cubicBezTo>
                  <a:cubicBezTo>
                    <a:pt x="649" y="2"/>
                    <a:pt x="649" y="2"/>
                    <a:pt x="649" y="2"/>
                  </a:cubicBezTo>
                  <a:cubicBezTo>
                    <a:pt x="670" y="0"/>
                    <a:pt x="689" y="15"/>
                    <a:pt x="692" y="36"/>
                  </a:cubicBezTo>
                  <a:cubicBezTo>
                    <a:pt x="809" y="1065"/>
                    <a:pt x="809" y="1065"/>
                    <a:pt x="809" y="1065"/>
                  </a:cubicBezTo>
                  <a:cubicBezTo>
                    <a:pt x="812" y="1086"/>
                    <a:pt x="796" y="1105"/>
                    <a:pt x="775" y="1108"/>
                  </a:cubicBezTo>
                  <a:close/>
                </a:path>
              </a:pathLst>
            </a:custGeom>
            <a:solidFill>
              <a:srgbClr val="424242">
                <a:alpha val="20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68" name="Freeform 9">
              <a:extLst>
                <a:ext uri="{FF2B5EF4-FFF2-40B4-BE49-F238E27FC236}">
                  <a16:creationId xmlns:a16="http://schemas.microsoft.com/office/drawing/2014/main" id="{D29C2FFF-4C93-46D2-BC0F-B5133C6F9D27}"/>
                </a:ext>
              </a:extLst>
            </p:cNvPr>
            <p:cNvSpPr>
              <a:spLocks/>
            </p:cNvSpPr>
            <p:nvPr/>
          </p:nvSpPr>
          <p:spPr bwMode="auto">
            <a:xfrm>
              <a:off x="4334669" y="1918494"/>
              <a:ext cx="1431925" cy="2081213"/>
            </a:xfrm>
            <a:custGeom>
              <a:avLst/>
              <a:gdLst>
                <a:gd name="T0" fmla="*/ 775 w 812"/>
                <a:gd name="T1" fmla="*/ 1108 h 1180"/>
                <a:gd name="T2" fmla="*/ 163 w 812"/>
                <a:gd name="T3" fmla="*/ 1178 h 1180"/>
                <a:gd name="T4" fmla="*/ 120 w 812"/>
                <a:gd name="T5" fmla="*/ 1144 h 1180"/>
                <a:gd name="T6" fmla="*/ 2 w 812"/>
                <a:gd name="T7" fmla="*/ 115 h 1180"/>
                <a:gd name="T8" fmla="*/ 36 w 812"/>
                <a:gd name="T9" fmla="*/ 72 h 1180"/>
                <a:gd name="T10" fmla="*/ 649 w 812"/>
                <a:gd name="T11" fmla="*/ 2 h 1180"/>
                <a:gd name="T12" fmla="*/ 692 w 812"/>
                <a:gd name="T13" fmla="*/ 36 h 1180"/>
                <a:gd name="T14" fmla="*/ 809 w 812"/>
                <a:gd name="T15" fmla="*/ 1065 h 1180"/>
                <a:gd name="T16" fmla="*/ 775 w 812"/>
                <a:gd name="T17" fmla="*/ 1108 h 1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2" h="1180">
                  <a:moveTo>
                    <a:pt x="775" y="1108"/>
                  </a:moveTo>
                  <a:cubicBezTo>
                    <a:pt x="163" y="1178"/>
                    <a:pt x="163" y="1178"/>
                    <a:pt x="163" y="1178"/>
                  </a:cubicBezTo>
                  <a:cubicBezTo>
                    <a:pt x="141" y="1180"/>
                    <a:pt x="122" y="1165"/>
                    <a:pt x="120" y="1144"/>
                  </a:cubicBezTo>
                  <a:cubicBezTo>
                    <a:pt x="2" y="115"/>
                    <a:pt x="2" y="115"/>
                    <a:pt x="2" y="115"/>
                  </a:cubicBezTo>
                  <a:cubicBezTo>
                    <a:pt x="0" y="94"/>
                    <a:pt x="15" y="75"/>
                    <a:pt x="36" y="72"/>
                  </a:cubicBezTo>
                  <a:cubicBezTo>
                    <a:pt x="649" y="2"/>
                    <a:pt x="649" y="2"/>
                    <a:pt x="649" y="2"/>
                  </a:cubicBezTo>
                  <a:cubicBezTo>
                    <a:pt x="670" y="0"/>
                    <a:pt x="689" y="15"/>
                    <a:pt x="692" y="36"/>
                  </a:cubicBezTo>
                  <a:cubicBezTo>
                    <a:pt x="809" y="1065"/>
                    <a:pt x="809" y="1065"/>
                    <a:pt x="809" y="1065"/>
                  </a:cubicBezTo>
                  <a:cubicBezTo>
                    <a:pt x="812" y="1086"/>
                    <a:pt x="796" y="1105"/>
                    <a:pt x="775" y="1108"/>
                  </a:cubicBezTo>
                  <a:close/>
                </a:path>
              </a:pathLst>
            </a:custGeom>
            <a:solidFill>
              <a:srgbClr val="1B4771"/>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69" name="Freeform 10">
              <a:extLst>
                <a:ext uri="{FF2B5EF4-FFF2-40B4-BE49-F238E27FC236}">
                  <a16:creationId xmlns:a16="http://schemas.microsoft.com/office/drawing/2014/main" id="{CC7863A1-3314-46BE-BAE2-3024A039FF3C}"/>
                </a:ext>
              </a:extLst>
            </p:cNvPr>
            <p:cNvSpPr>
              <a:spLocks/>
            </p:cNvSpPr>
            <p:nvPr/>
          </p:nvSpPr>
          <p:spPr bwMode="auto">
            <a:xfrm>
              <a:off x="4415631" y="1918494"/>
              <a:ext cx="1350963" cy="2071688"/>
            </a:xfrm>
            <a:custGeom>
              <a:avLst/>
              <a:gdLst>
                <a:gd name="T0" fmla="*/ 730 w 766"/>
                <a:gd name="T1" fmla="*/ 1108 h 1175"/>
                <a:gd name="T2" fmla="*/ 162 w 766"/>
                <a:gd name="T3" fmla="*/ 1173 h 1175"/>
                <a:gd name="T4" fmla="*/ 120 w 766"/>
                <a:gd name="T5" fmla="*/ 1140 h 1175"/>
                <a:gd name="T6" fmla="*/ 2 w 766"/>
                <a:gd name="T7" fmla="*/ 109 h 1175"/>
                <a:gd name="T8" fmla="*/ 35 w 766"/>
                <a:gd name="T9" fmla="*/ 67 h 1175"/>
                <a:gd name="T10" fmla="*/ 604 w 766"/>
                <a:gd name="T11" fmla="*/ 2 h 1175"/>
                <a:gd name="T12" fmla="*/ 646 w 766"/>
                <a:gd name="T13" fmla="*/ 35 h 1175"/>
                <a:gd name="T14" fmla="*/ 763 w 766"/>
                <a:gd name="T15" fmla="*/ 1066 h 1175"/>
                <a:gd name="T16" fmla="*/ 730 w 766"/>
                <a:gd name="T17" fmla="*/ 1108 h 1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6" h="1175">
                  <a:moveTo>
                    <a:pt x="730" y="1108"/>
                  </a:moveTo>
                  <a:cubicBezTo>
                    <a:pt x="162" y="1173"/>
                    <a:pt x="162" y="1173"/>
                    <a:pt x="162" y="1173"/>
                  </a:cubicBezTo>
                  <a:cubicBezTo>
                    <a:pt x="141" y="1175"/>
                    <a:pt x="122" y="1160"/>
                    <a:pt x="120" y="1140"/>
                  </a:cubicBezTo>
                  <a:cubicBezTo>
                    <a:pt x="2" y="109"/>
                    <a:pt x="2" y="109"/>
                    <a:pt x="2" y="109"/>
                  </a:cubicBezTo>
                  <a:cubicBezTo>
                    <a:pt x="0" y="88"/>
                    <a:pt x="15" y="69"/>
                    <a:pt x="35" y="67"/>
                  </a:cubicBezTo>
                  <a:cubicBezTo>
                    <a:pt x="604" y="2"/>
                    <a:pt x="604" y="2"/>
                    <a:pt x="604" y="2"/>
                  </a:cubicBezTo>
                  <a:cubicBezTo>
                    <a:pt x="625" y="0"/>
                    <a:pt x="643" y="14"/>
                    <a:pt x="646" y="35"/>
                  </a:cubicBezTo>
                  <a:cubicBezTo>
                    <a:pt x="763" y="1066"/>
                    <a:pt x="763" y="1066"/>
                    <a:pt x="763" y="1066"/>
                  </a:cubicBezTo>
                  <a:cubicBezTo>
                    <a:pt x="766" y="1087"/>
                    <a:pt x="751" y="1105"/>
                    <a:pt x="730" y="1108"/>
                  </a:cubicBezTo>
                  <a:close/>
                </a:path>
              </a:pathLst>
            </a:custGeom>
            <a:solidFill>
              <a:srgbClr val="417DBB"/>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70" name="Freeform 11">
              <a:extLst>
                <a:ext uri="{FF2B5EF4-FFF2-40B4-BE49-F238E27FC236}">
                  <a16:creationId xmlns:a16="http://schemas.microsoft.com/office/drawing/2014/main" id="{DCAD23A9-ADF5-43B2-9015-30B672BE72B0}"/>
                </a:ext>
              </a:extLst>
            </p:cNvPr>
            <p:cNvSpPr>
              <a:spLocks/>
            </p:cNvSpPr>
            <p:nvPr/>
          </p:nvSpPr>
          <p:spPr bwMode="auto">
            <a:xfrm>
              <a:off x="4415631" y="1918494"/>
              <a:ext cx="1209675" cy="819150"/>
            </a:xfrm>
            <a:custGeom>
              <a:avLst/>
              <a:gdLst>
                <a:gd name="T0" fmla="*/ 686 w 686"/>
                <a:gd name="T1" fmla="*/ 391 h 465"/>
                <a:gd name="T2" fmla="*/ 646 w 686"/>
                <a:gd name="T3" fmla="*/ 35 h 465"/>
                <a:gd name="T4" fmla="*/ 604 w 686"/>
                <a:gd name="T5" fmla="*/ 2 h 465"/>
                <a:gd name="T6" fmla="*/ 35 w 686"/>
                <a:gd name="T7" fmla="*/ 67 h 465"/>
                <a:gd name="T8" fmla="*/ 2 w 686"/>
                <a:gd name="T9" fmla="*/ 109 h 465"/>
                <a:gd name="T10" fmla="*/ 43 w 686"/>
                <a:gd name="T11" fmla="*/ 465 h 465"/>
                <a:gd name="T12" fmla="*/ 686 w 686"/>
                <a:gd name="T13" fmla="*/ 391 h 465"/>
              </a:gdLst>
              <a:ahLst/>
              <a:cxnLst>
                <a:cxn ang="0">
                  <a:pos x="T0" y="T1"/>
                </a:cxn>
                <a:cxn ang="0">
                  <a:pos x="T2" y="T3"/>
                </a:cxn>
                <a:cxn ang="0">
                  <a:pos x="T4" y="T5"/>
                </a:cxn>
                <a:cxn ang="0">
                  <a:pos x="T6" y="T7"/>
                </a:cxn>
                <a:cxn ang="0">
                  <a:pos x="T8" y="T9"/>
                </a:cxn>
                <a:cxn ang="0">
                  <a:pos x="T10" y="T11"/>
                </a:cxn>
                <a:cxn ang="0">
                  <a:pos x="T12" y="T13"/>
                </a:cxn>
              </a:cxnLst>
              <a:rect l="0" t="0" r="r" b="b"/>
              <a:pathLst>
                <a:path w="686" h="465">
                  <a:moveTo>
                    <a:pt x="686" y="391"/>
                  </a:moveTo>
                  <a:cubicBezTo>
                    <a:pt x="646" y="35"/>
                    <a:pt x="646" y="35"/>
                    <a:pt x="646" y="35"/>
                  </a:cubicBezTo>
                  <a:cubicBezTo>
                    <a:pt x="643" y="14"/>
                    <a:pt x="625" y="0"/>
                    <a:pt x="604" y="2"/>
                  </a:cubicBezTo>
                  <a:cubicBezTo>
                    <a:pt x="35" y="67"/>
                    <a:pt x="35" y="67"/>
                    <a:pt x="35" y="67"/>
                  </a:cubicBezTo>
                  <a:cubicBezTo>
                    <a:pt x="15" y="69"/>
                    <a:pt x="0" y="88"/>
                    <a:pt x="2" y="109"/>
                  </a:cubicBezTo>
                  <a:cubicBezTo>
                    <a:pt x="43" y="465"/>
                    <a:pt x="43" y="465"/>
                    <a:pt x="43" y="465"/>
                  </a:cubicBezTo>
                  <a:lnTo>
                    <a:pt x="686" y="391"/>
                  </a:lnTo>
                  <a:close/>
                </a:path>
              </a:pathLst>
            </a:custGeom>
            <a:solidFill>
              <a:srgbClr val="336290"/>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71" name="Freeform 12">
              <a:extLst>
                <a:ext uri="{FF2B5EF4-FFF2-40B4-BE49-F238E27FC236}">
                  <a16:creationId xmlns:a16="http://schemas.microsoft.com/office/drawing/2014/main" id="{968A4EE0-983F-4E70-8B9C-5E004F41BC86}"/>
                </a:ext>
              </a:extLst>
            </p:cNvPr>
            <p:cNvSpPr>
              <a:spLocks/>
            </p:cNvSpPr>
            <p:nvPr/>
          </p:nvSpPr>
          <p:spPr bwMode="auto">
            <a:xfrm>
              <a:off x="4542631" y="2067719"/>
              <a:ext cx="957263" cy="555625"/>
            </a:xfrm>
            <a:custGeom>
              <a:avLst/>
              <a:gdLst>
                <a:gd name="T0" fmla="*/ 527 w 543"/>
                <a:gd name="T1" fmla="*/ 259 h 315"/>
                <a:gd name="T2" fmla="*/ 46 w 543"/>
                <a:gd name="T3" fmla="*/ 314 h 315"/>
                <a:gd name="T4" fmla="*/ 27 w 543"/>
                <a:gd name="T5" fmla="*/ 299 h 315"/>
                <a:gd name="T6" fmla="*/ 1 w 543"/>
                <a:gd name="T7" fmla="*/ 75 h 315"/>
                <a:gd name="T8" fmla="*/ 16 w 543"/>
                <a:gd name="T9" fmla="*/ 56 h 315"/>
                <a:gd name="T10" fmla="*/ 498 w 543"/>
                <a:gd name="T11" fmla="*/ 1 h 315"/>
                <a:gd name="T12" fmla="*/ 516 w 543"/>
                <a:gd name="T13" fmla="*/ 16 h 315"/>
                <a:gd name="T14" fmla="*/ 542 w 543"/>
                <a:gd name="T15" fmla="*/ 241 h 315"/>
                <a:gd name="T16" fmla="*/ 527 w 543"/>
                <a:gd name="T17" fmla="*/ 259 h 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3" h="315">
                  <a:moveTo>
                    <a:pt x="527" y="259"/>
                  </a:moveTo>
                  <a:cubicBezTo>
                    <a:pt x="46" y="314"/>
                    <a:pt x="46" y="314"/>
                    <a:pt x="46" y="314"/>
                  </a:cubicBezTo>
                  <a:cubicBezTo>
                    <a:pt x="36" y="315"/>
                    <a:pt x="28" y="309"/>
                    <a:pt x="27" y="299"/>
                  </a:cubicBezTo>
                  <a:cubicBezTo>
                    <a:pt x="1" y="75"/>
                    <a:pt x="1" y="75"/>
                    <a:pt x="1" y="75"/>
                  </a:cubicBezTo>
                  <a:cubicBezTo>
                    <a:pt x="0" y="66"/>
                    <a:pt x="7" y="57"/>
                    <a:pt x="16" y="56"/>
                  </a:cubicBezTo>
                  <a:cubicBezTo>
                    <a:pt x="498" y="1"/>
                    <a:pt x="498" y="1"/>
                    <a:pt x="498" y="1"/>
                  </a:cubicBezTo>
                  <a:cubicBezTo>
                    <a:pt x="507" y="0"/>
                    <a:pt x="515" y="7"/>
                    <a:pt x="516" y="16"/>
                  </a:cubicBezTo>
                  <a:cubicBezTo>
                    <a:pt x="542" y="241"/>
                    <a:pt x="542" y="241"/>
                    <a:pt x="542" y="241"/>
                  </a:cubicBezTo>
                  <a:cubicBezTo>
                    <a:pt x="543" y="250"/>
                    <a:pt x="536" y="258"/>
                    <a:pt x="527" y="259"/>
                  </a:cubicBezTo>
                  <a:close/>
                </a:path>
              </a:pathLst>
            </a:custGeom>
            <a:solidFill>
              <a:srgbClr val="01B1E9"/>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72" name="Freeform 13">
              <a:extLst>
                <a:ext uri="{FF2B5EF4-FFF2-40B4-BE49-F238E27FC236}">
                  <a16:creationId xmlns:a16="http://schemas.microsoft.com/office/drawing/2014/main" id="{3829E434-1537-4F0E-B23F-623F97883E29}"/>
                </a:ext>
              </a:extLst>
            </p:cNvPr>
            <p:cNvSpPr>
              <a:spLocks/>
            </p:cNvSpPr>
            <p:nvPr/>
          </p:nvSpPr>
          <p:spPr bwMode="auto">
            <a:xfrm>
              <a:off x="5409406" y="2971006"/>
              <a:ext cx="217488" cy="320675"/>
            </a:xfrm>
            <a:custGeom>
              <a:avLst/>
              <a:gdLst>
                <a:gd name="T0" fmla="*/ 95 w 123"/>
                <a:gd name="T1" fmla="*/ 174 h 182"/>
                <a:gd name="T2" fmla="*/ 47 w 123"/>
                <a:gd name="T3" fmla="*/ 180 h 182"/>
                <a:gd name="T4" fmla="*/ 15 w 123"/>
                <a:gd name="T5" fmla="*/ 154 h 182"/>
                <a:gd name="T6" fmla="*/ 2 w 123"/>
                <a:gd name="T7" fmla="*/ 40 h 182"/>
                <a:gd name="T8" fmla="*/ 28 w 123"/>
                <a:gd name="T9" fmla="*/ 7 h 182"/>
                <a:gd name="T10" fmla="*/ 75 w 123"/>
                <a:gd name="T11" fmla="*/ 2 h 182"/>
                <a:gd name="T12" fmla="*/ 108 w 123"/>
                <a:gd name="T13" fmla="*/ 28 h 182"/>
                <a:gd name="T14" fmla="*/ 121 w 123"/>
                <a:gd name="T15" fmla="*/ 142 h 182"/>
                <a:gd name="T16" fmla="*/ 95 w 123"/>
                <a:gd name="T17" fmla="*/ 174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182">
                  <a:moveTo>
                    <a:pt x="95" y="174"/>
                  </a:moveTo>
                  <a:cubicBezTo>
                    <a:pt x="47" y="180"/>
                    <a:pt x="47" y="180"/>
                    <a:pt x="47" y="180"/>
                  </a:cubicBezTo>
                  <a:cubicBezTo>
                    <a:pt x="31" y="182"/>
                    <a:pt x="16" y="170"/>
                    <a:pt x="15" y="154"/>
                  </a:cubicBezTo>
                  <a:cubicBezTo>
                    <a:pt x="2" y="40"/>
                    <a:pt x="2" y="40"/>
                    <a:pt x="2" y="40"/>
                  </a:cubicBezTo>
                  <a:cubicBezTo>
                    <a:pt x="0" y="24"/>
                    <a:pt x="11" y="9"/>
                    <a:pt x="28" y="7"/>
                  </a:cubicBezTo>
                  <a:cubicBezTo>
                    <a:pt x="75" y="2"/>
                    <a:pt x="75" y="2"/>
                    <a:pt x="75" y="2"/>
                  </a:cubicBezTo>
                  <a:cubicBezTo>
                    <a:pt x="91" y="0"/>
                    <a:pt x="106" y="11"/>
                    <a:pt x="108" y="28"/>
                  </a:cubicBezTo>
                  <a:cubicBezTo>
                    <a:pt x="121" y="142"/>
                    <a:pt x="121" y="142"/>
                    <a:pt x="121" y="142"/>
                  </a:cubicBezTo>
                  <a:cubicBezTo>
                    <a:pt x="123" y="158"/>
                    <a:pt x="111" y="172"/>
                    <a:pt x="95" y="174"/>
                  </a:cubicBezTo>
                  <a:close/>
                </a:path>
              </a:pathLst>
            </a:custGeom>
            <a:solidFill>
              <a:srgbClr val="06AEED"/>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73" name="Freeform 14">
              <a:extLst>
                <a:ext uri="{FF2B5EF4-FFF2-40B4-BE49-F238E27FC236}">
                  <a16:creationId xmlns:a16="http://schemas.microsoft.com/office/drawing/2014/main" id="{CBF98C65-653A-4E3F-9BBC-1DB11A538DFB}"/>
                </a:ext>
              </a:extLst>
            </p:cNvPr>
            <p:cNvSpPr>
              <a:spLocks/>
            </p:cNvSpPr>
            <p:nvPr/>
          </p:nvSpPr>
          <p:spPr bwMode="auto">
            <a:xfrm>
              <a:off x="5447506" y="3309144"/>
              <a:ext cx="200025" cy="168275"/>
            </a:xfrm>
            <a:custGeom>
              <a:avLst/>
              <a:gdLst>
                <a:gd name="T0" fmla="*/ 85 w 114"/>
                <a:gd name="T1" fmla="*/ 1 h 95"/>
                <a:gd name="T2" fmla="*/ 20 w 114"/>
                <a:gd name="T3" fmla="*/ 8 h 95"/>
                <a:gd name="T4" fmla="*/ 2 w 114"/>
                <a:gd name="T5" fmla="*/ 31 h 95"/>
                <a:gd name="T6" fmla="*/ 7 w 114"/>
                <a:gd name="T7" fmla="*/ 75 h 95"/>
                <a:gd name="T8" fmla="*/ 30 w 114"/>
                <a:gd name="T9" fmla="*/ 93 h 95"/>
                <a:gd name="T10" fmla="*/ 94 w 114"/>
                <a:gd name="T11" fmla="*/ 86 h 95"/>
                <a:gd name="T12" fmla="*/ 113 w 114"/>
                <a:gd name="T13" fmla="*/ 63 h 95"/>
                <a:gd name="T14" fmla="*/ 108 w 114"/>
                <a:gd name="T15" fmla="*/ 19 h 95"/>
                <a:gd name="T16" fmla="*/ 85 w 114"/>
                <a:gd name="T17" fmla="*/ 1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4" h="95">
                  <a:moveTo>
                    <a:pt x="85" y="1"/>
                  </a:moveTo>
                  <a:cubicBezTo>
                    <a:pt x="20" y="8"/>
                    <a:pt x="20" y="8"/>
                    <a:pt x="20" y="8"/>
                  </a:cubicBezTo>
                  <a:cubicBezTo>
                    <a:pt x="8" y="10"/>
                    <a:pt x="0" y="20"/>
                    <a:pt x="2" y="31"/>
                  </a:cubicBezTo>
                  <a:cubicBezTo>
                    <a:pt x="7" y="75"/>
                    <a:pt x="7" y="75"/>
                    <a:pt x="7" y="75"/>
                  </a:cubicBezTo>
                  <a:cubicBezTo>
                    <a:pt x="8" y="86"/>
                    <a:pt x="18" y="95"/>
                    <a:pt x="30" y="93"/>
                  </a:cubicBezTo>
                  <a:cubicBezTo>
                    <a:pt x="94" y="86"/>
                    <a:pt x="94" y="86"/>
                    <a:pt x="94" y="86"/>
                  </a:cubicBezTo>
                  <a:cubicBezTo>
                    <a:pt x="106" y="85"/>
                    <a:pt x="114" y="74"/>
                    <a:pt x="113" y="63"/>
                  </a:cubicBezTo>
                  <a:cubicBezTo>
                    <a:pt x="108" y="19"/>
                    <a:pt x="108" y="19"/>
                    <a:pt x="108" y="19"/>
                  </a:cubicBezTo>
                  <a:cubicBezTo>
                    <a:pt x="106" y="8"/>
                    <a:pt x="96" y="0"/>
                    <a:pt x="85" y="1"/>
                  </a:cubicBezTo>
                  <a:close/>
                </a:path>
              </a:pathLst>
            </a:custGeom>
            <a:solidFill>
              <a:srgbClr val="06AEED"/>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74" name="Freeform 15">
              <a:extLst>
                <a:ext uri="{FF2B5EF4-FFF2-40B4-BE49-F238E27FC236}">
                  <a16:creationId xmlns:a16="http://schemas.microsoft.com/office/drawing/2014/main" id="{733B60C6-AAEE-4FC5-B0FF-7E19B8C3EEE0}"/>
                </a:ext>
              </a:extLst>
            </p:cNvPr>
            <p:cNvSpPr>
              <a:spLocks/>
            </p:cNvSpPr>
            <p:nvPr/>
          </p:nvSpPr>
          <p:spPr bwMode="auto">
            <a:xfrm>
              <a:off x="5469731" y="3505994"/>
              <a:ext cx="201613" cy="166688"/>
            </a:xfrm>
            <a:custGeom>
              <a:avLst/>
              <a:gdLst>
                <a:gd name="T0" fmla="*/ 84 w 114"/>
                <a:gd name="T1" fmla="*/ 1 h 95"/>
                <a:gd name="T2" fmla="*/ 20 w 114"/>
                <a:gd name="T3" fmla="*/ 8 h 95"/>
                <a:gd name="T4" fmla="*/ 1 w 114"/>
                <a:gd name="T5" fmla="*/ 31 h 95"/>
                <a:gd name="T6" fmla="*/ 6 w 114"/>
                <a:gd name="T7" fmla="*/ 75 h 95"/>
                <a:gd name="T8" fmla="*/ 29 w 114"/>
                <a:gd name="T9" fmla="*/ 93 h 95"/>
                <a:gd name="T10" fmla="*/ 94 w 114"/>
                <a:gd name="T11" fmla="*/ 86 h 95"/>
                <a:gd name="T12" fmla="*/ 112 w 114"/>
                <a:gd name="T13" fmla="*/ 63 h 95"/>
                <a:gd name="T14" fmla="*/ 107 w 114"/>
                <a:gd name="T15" fmla="*/ 19 h 95"/>
                <a:gd name="T16" fmla="*/ 84 w 114"/>
                <a:gd name="T17" fmla="*/ 1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4" h="95">
                  <a:moveTo>
                    <a:pt x="84" y="1"/>
                  </a:moveTo>
                  <a:cubicBezTo>
                    <a:pt x="20" y="8"/>
                    <a:pt x="20" y="8"/>
                    <a:pt x="20" y="8"/>
                  </a:cubicBezTo>
                  <a:cubicBezTo>
                    <a:pt x="8" y="10"/>
                    <a:pt x="0" y="20"/>
                    <a:pt x="1" y="31"/>
                  </a:cubicBezTo>
                  <a:cubicBezTo>
                    <a:pt x="6" y="75"/>
                    <a:pt x="6" y="75"/>
                    <a:pt x="6" y="75"/>
                  </a:cubicBezTo>
                  <a:cubicBezTo>
                    <a:pt x="8" y="86"/>
                    <a:pt x="18" y="95"/>
                    <a:pt x="29" y="93"/>
                  </a:cubicBezTo>
                  <a:cubicBezTo>
                    <a:pt x="94" y="86"/>
                    <a:pt x="94" y="86"/>
                    <a:pt x="94" y="86"/>
                  </a:cubicBezTo>
                  <a:cubicBezTo>
                    <a:pt x="106" y="85"/>
                    <a:pt x="114" y="74"/>
                    <a:pt x="112" y="63"/>
                  </a:cubicBezTo>
                  <a:cubicBezTo>
                    <a:pt x="107" y="19"/>
                    <a:pt x="107" y="19"/>
                    <a:pt x="107" y="19"/>
                  </a:cubicBezTo>
                  <a:cubicBezTo>
                    <a:pt x="106" y="8"/>
                    <a:pt x="96" y="0"/>
                    <a:pt x="84" y="1"/>
                  </a:cubicBezTo>
                  <a:close/>
                </a:path>
              </a:pathLst>
            </a:custGeom>
            <a:solidFill>
              <a:srgbClr val="06AEED"/>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75" name="Freeform 16">
              <a:extLst>
                <a:ext uri="{FF2B5EF4-FFF2-40B4-BE49-F238E27FC236}">
                  <a16:creationId xmlns:a16="http://schemas.microsoft.com/office/drawing/2014/main" id="{DF7BC5A5-1F61-4D0F-A4E3-ABA96BD6BE2B}"/>
                </a:ext>
              </a:extLst>
            </p:cNvPr>
            <p:cNvSpPr>
              <a:spLocks/>
            </p:cNvSpPr>
            <p:nvPr/>
          </p:nvSpPr>
          <p:spPr bwMode="auto">
            <a:xfrm>
              <a:off x="4669631" y="3053556"/>
              <a:ext cx="196850" cy="133350"/>
            </a:xfrm>
            <a:custGeom>
              <a:avLst/>
              <a:gdLst>
                <a:gd name="T0" fmla="*/ 95 w 112"/>
                <a:gd name="T1" fmla="*/ 66 h 75"/>
                <a:gd name="T2" fmla="*/ 25 w 112"/>
                <a:gd name="T3" fmla="*/ 74 h 75"/>
                <a:gd name="T4" fmla="*/ 5 w 112"/>
                <a:gd name="T5" fmla="*/ 58 h 75"/>
                <a:gd name="T6" fmla="*/ 2 w 112"/>
                <a:gd name="T7" fmla="*/ 29 h 75"/>
                <a:gd name="T8" fmla="*/ 17 w 112"/>
                <a:gd name="T9" fmla="*/ 9 h 75"/>
                <a:gd name="T10" fmla="*/ 88 w 112"/>
                <a:gd name="T11" fmla="*/ 1 h 75"/>
                <a:gd name="T12" fmla="*/ 108 w 112"/>
                <a:gd name="T13" fmla="*/ 17 h 75"/>
                <a:gd name="T14" fmla="*/ 111 w 112"/>
                <a:gd name="T15" fmla="*/ 46 h 75"/>
                <a:gd name="T16" fmla="*/ 95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5" y="66"/>
                  </a:moveTo>
                  <a:cubicBezTo>
                    <a:pt x="25" y="74"/>
                    <a:pt x="25" y="74"/>
                    <a:pt x="25" y="74"/>
                  </a:cubicBezTo>
                  <a:cubicBezTo>
                    <a:pt x="15" y="75"/>
                    <a:pt x="6" y="68"/>
                    <a:pt x="5" y="58"/>
                  </a:cubicBezTo>
                  <a:cubicBezTo>
                    <a:pt x="2" y="29"/>
                    <a:pt x="2" y="29"/>
                    <a:pt x="2" y="29"/>
                  </a:cubicBezTo>
                  <a:cubicBezTo>
                    <a:pt x="0" y="19"/>
                    <a:pt x="7" y="10"/>
                    <a:pt x="17" y="9"/>
                  </a:cubicBezTo>
                  <a:cubicBezTo>
                    <a:pt x="88" y="1"/>
                    <a:pt x="88" y="1"/>
                    <a:pt x="88" y="1"/>
                  </a:cubicBezTo>
                  <a:cubicBezTo>
                    <a:pt x="98" y="0"/>
                    <a:pt x="107" y="7"/>
                    <a:pt x="108" y="17"/>
                  </a:cubicBezTo>
                  <a:cubicBezTo>
                    <a:pt x="111" y="46"/>
                    <a:pt x="111" y="46"/>
                    <a:pt x="111" y="46"/>
                  </a:cubicBezTo>
                  <a:cubicBezTo>
                    <a:pt x="112" y="56"/>
                    <a:pt x="105" y="65"/>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76" name="Freeform 17">
              <a:extLst>
                <a:ext uri="{FF2B5EF4-FFF2-40B4-BE49-F238E27FC236}">
                  <a16:creationId xmlns:a16="http://schemas.microsoft.com/office/drawing/2014/main" id="{D1032C1D-EE1F-45AD-9B96-7E9E440B1765}"/>
                </a:ext>
              </a:extLst>
            </p:cNvPr>
            <p:cNvSpPr>
              <a:spLocks/>
            </p:cNvSpPr>
            <p:nvPr/>
          </p:nvSpPr>
          <p:spPr bwMode="auto">
            <a:xfrm>
              <a:off x="4923631" y="3024981"/>
              <a:ext cx="196850" cy="133350"/>
            </a:xfrm>
            <a:custGeom>
              <a:avLst/>
              <a:gdLst>
                <a:gd name="T0" fmla="*/ 95 w 112"/>
                <a:gd name="T1" fmla="*/ 66 h 75"/>
                <a:gd name="T2" fmla="*/ 24 w 112"/>
                <a:gd name="T3" fmla="*/ 74 h 75"/>
                <a:gd name="T4" fmla="*/ 4 w 112"/>
                <a:gd name="T5" fmla="*/ 58 h 75"/>
                <a:gd name="T6" fmla="*/ 1 w 112"/>
                <a:gd name="T7" fmla="*/ 29 h 75"/>
                <a:gd name="T8" fmla="*/ 16 w 112"/>
                <a:gd name="T9" fmla="*/ 9 h 75"/>
                <a:gd name="T10" fmla="*/ 87 w 112"/>
                <a:gd name="T11" fmla="*/ 1 h 75"/>
                <a:gd name="T12" fmla="*/ 107 w 112"/>
                <a:gd name="T13" fmla="*/ 16 h 75"/>
                <a:gd name="T14" fmla="*/ 110 w 112"/>
                <a:gd name="T15" fmla="*/ 46 h 75"/>
                <a:gd name="T16" fmla="*/ 95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5" y="66"/>
                  </a:moveTo>
                  <a:cubicBezTo>
                    <a:pt x="24" y="74"/>
                    <a:pt x="24" y="74"/>
                    <a:pt x="24" y="74"/>
                  </a:cubicBezTo>
                  <a:cubicBezTo>
                    <a:pt x="14" y="75"/>
                    <a:pt x="5" y="68"/>
                    <a:pt x="4" y="58"/>
                  </a:cubicBezTo>
                  <a:cubicBezTo>
                    <a:pt x="1" y="29"/>
                    <a:pt x="1" y="29"/>
                    <a:pt x="1" y="29"/>
                  </a:cubicBezTo>
                  <a:cubicBezTo>
                    <a:pt x="0" y="19"/>
                    <a:pt x="7" y="10"/>
                    <a:pt x="16" y="9"/>
                  </a:cubicBezTo>
                  <a:cubicBezTo>
                    <a:pt x="87" y="1"/>
                    <a:pt x="87" y="1"/>
                    <a:pt x="87" y="1"/>
                  </a:cubicBezTo>
                  <a:cubicBezTo>
                    <a:pt x="97" y="0"/>
                    <a:pt x="106" y="7"/>
                    <a:pt x="107" y="16"/>
                  </a:cubicBezTo>
                  <a:cubicBezTo>
                    <a:pt x="110" y="46"/>
                    <a:pt x="110" y="46"/>
                    <a:pt x="110" y="46"/>
                  </a:cubicBezTo>
                  <a:cubicBezTo>
                    <a:pt x="112" y="56"/>
                    <a:pt x="104" y="64"/>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77" name="Freeform 18">
              <a:extLst>
                <a:ext uri="{FF2B5EF4-FFF2-40B4-BE49-F238E27FC236}">
                  <a16:creationId xmlns:a16="http://schemas.microsoft.com/office/drawing/2014/main" id="{38D996C4-0EF4-43FF-B91A-A928A1B41B7F}"/>
                </a:ext>
              </a:extLst>
            </p:cNvPr>
            <p:cNvSpPr>
              <a:spLocks/>
            </p:cNvSpPr>
            <p:nvPr/>
          </p:nvSpPr>
          <p:spPr bwMode="auto">
            <a:xfrm>
              <a:off x="5176044" y="2996406"/>
              <a:ext cx="196850" cy="131763"/>
            </a:xfrm>
            <a:custGeom>
              <a:avLst/>
              <a:gdLst>
                <a:gd name="T0" fmla="*/ 95 w 112"/>
                <a:gd name="T1" fmla="*/ 66 h 75"/>
                <a:gd name="T2" fmla="*/ 24 w 112"/>
                <a:gd name="T3" fmla="*/ 74 h 75"/>
                <a:gd name="T4" fmla="*/ 4 w 112"/>
                <a:gd name="T5" fmla="*/ 59 h 75"/>
                <a:gd name="T6" fmla="*/ 1 w 112"/>
                <a:gd name="T7" fmla="*/ 29 h 75"/>
                <a:gd name="T8" fmla="*/ 17 w 112"/>
                <a:gd name="T9" fmla="*/ 10 h 75"/>
                <a:gd name="T10" fmla="*/ 88 w 112"/>
                <a:gd name="T11" fmla="*/ 1 h 75"/>
                <a:gd name="T12" fmla="*/ 107 w 112"/>
                <a:gd name="T13" fmla="*/ 17 h 75"/>
                <a:gd name="T14" fmla="*/ 111 w 112"/>
                <a:gd name="T15" fmla="*/ 47 h 75"/>
                <a:gd name="T16" fmla="*/ 95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5" y="66"/>
                  </a:moveTo>
                  <a:cubicBezTo>
                    <a:pt x="24" y="74"/>
                    <a:pt x="24" y="74"/>
                    <a:pt x="24" y="74"/>
                  </a:cubicBezTo>
                  <a:cubicBezTo>
                    <a:pt x="14" y="75"/>
                    <a:pt x="6" y="68"/>
                    <a:pt x="4" y="59"/>
                  </a:cubicBezTo>
                  <a:cubicBezTo>
                    <a:pt x="1" y="29"/>
                    <a:pt x="1" y="29"/>
                    <a:pt x="1" y="29"/>
                  </a:cubicBezTo>
                  <a:cubicBezTo>
                    <a:pt x="0" y="19"/>
                    <a:pt x="7" y="11"/>
                    <a:pt x="17" y="10"/>
                  </a:cubicBezTo>
                  <a:cubicBezTo>
                    <a:pt x="88" y="1"/>
                    <a:pt x="88" y="1"/>
                    <a:pt x="88" y="1"/>
                  </a:cubicBezTo>
                  <a:cubicBezTo>
                    <a:pt x="97" y="0"/>
                    <a:pt x="106" y="7"/>
                    <a:pt x="107" y="17"/>
                  </a:cubicBezTo>
                  <a:cubicBezTo>
                    <a:pt x="111" y="47"/>
                    <a:pt x="111" y="47"/>
                    <a:pt x="111" y="47"/>
                  </a:cubicBezTo>
                  <a:cubicBezTo>
                    <a:pt x="112" y="56"/>
                    <a:pt x="105" y="65"/>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78" name="Freeform 19">
              <a:extLst>
                <a:ext uri="{FF2B5EF4-FFF2-40B4-BE49-F238E27FC236}">
                  <a16:creationId xmlns:a16="http://schemas.microsoft.com/office/drawing/2014/main" id="{DC972C3F-7422-437F-9FE7-EC4B64D0E80E}"/>
                </a:ext>
              </a:extLst>
            </p:cNvPr>
            <p:cNvSpPr>
              <a:spLocks/>
            </p:cNvSpPr>
            <p:nvPr/>
          </p:nvSpPr>
          <p:spPr bwMode="auto">
            <a:xfrm>
              <a:off x="4691856" y="3242469"/>
              <a:ext cx="196850" cy="131763"/>
            </a:xfrm>
            <a:custGeom>
              <a:avLst/>
              <a:gdLst>
                <a:gd name="T0" fmla="*/ 95 w 111"/>
                <a:gd name="T1" fmla="*/ 66 h 75"/>
                <a:gd name="T2" fmla="*/ 24 w 111"/>
                <a:gd name="T3" fmla="*/ 74 h 75"/>
                <a:gd name="T4" fmla="*/ 4 w 111"/>
                <a:gd name="T5" fmla="*/ 59 h 75"/>
                <a:gd name="T6" fmla="*/ 1 w 111"/>
                <a:gd name="T7" fmla="*/ 29 h 75"/>
                <a:gd name="T8" fmla="*/ 16 w 111"/>
                <a:gd name="T9" fmla="*/ 10 h 75"/>
                <a:gd name="T10" fmla="*/ 87 w 111"/>
                <a:gd name="T11" fmla="*/ 2 h 75"/>
                <a:gd name="T12" fmla="*/ 107 w 111"/>
                <a:gd name="T13" fmla="*/ 17 h 75"/>
                <a:gd name="T14" fmla="*/ 110 w 111"/>
                <a:gd name="T15" fmla="*/ 47 h 75"/>
                <a:gd name="T16" fmla="*/ 95 w 111"/>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1" h="75">
                  <a:moveTo>
                    <a:pt x="95" y="66"/>
                  </a:moveTo>
                  <a:cubicBezTo>
                    <a:pt x="24" y="74"/>
                    <a:pt x="24" y="74"/>
                    <a:pt x="24" y="74"/>
                  </a:cubicBezTo>
                  <a:cubicBezTo>
                    <a:pt x="14" y="75"/>
                    <a:pt x="5" y="68"/>
                    <a:pt x="4" y="59"/>
                  </a:cubicBezTo>
                  <a:cubicBezTo>
                    <a:pt x="1" y="29"/>
                    <a:pt x="1" y="29"/>
                    <a:pt x="1" y="29"/>
                  </a:cubicBezTo>
                  <a:cubicBezTo>
                    <a:pt x="0" y="20"/>
                    <a:pt x="7" y="11"/>
                    <a:pt x="16" y="10"/>
                  </a:cubicBezTo>
                  <a:cubicBezTo>
                    <a:pt x="87" y="2"/>
                    <a:pt x="87" y="2"/>
                    <a:pt x="87" y="2"/>
                  </a:cubicBezTo>
                  <a:cubicBezTo>
                    <a:pt x="97" y="0"/>
                    <a:pt x="106" y="7"/>
                    <a:pt x="107" y="17"/>
                  </a:cubicBezTo>
                  <a:cubicBezTo>
                    <a:pt x="110" y="47"/>
                    <a:pt x="110" y="47"/>
                    <a:pt x="110" y="47"/>
                  </a:cubicBezTo>
                  <a:cubicBezTo>
                    <a:pt x="111" y="56"/>
                    <a:pt x="104" y="65"/>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79" name="Freeform 20">
              <a:extLst>
                <a:ext uri="{FF2B5EF4-FFF2-40B4-BE49-F238E27FC236}">
                  <a16:creationId xmlns:a16="http://schemas.microsoft.com/office/drawing/2014/main" id="{A5B153AB-E6E8-40BC-8CEE-E57642214184}"/>
                </a:ext>
              </a:extLst>
            </p:cNvPr>
            <p:cNvSpPr>
              <a:spLocks/>
            </p:cNvSpPr>
            <p:nvPr/>
          </p:nvSpPr>
          <p:spPr bwMode="auto">
            <a:xfrm>
              <a:off x="4944269" y="3213894"/>
              <a:ext cx="198438" cy="133350"/>
            </a:xfrm>
            <a:custGeom>
              <a:avLst/>
              <a:gdLst>
                <a:gd name="T0" fmla="*/ 95 w 112"/>
                <a:gd name="T1" fmla="*/ 66 h 75"/>
                <a:gd name="T2" fmla="*/ 24 w 112"/>
                <a:gd name="T3" fmla="*/ 74 h 75"/>
                <a:gd name="T4" fmla="*/ 4 w 112"/>
                <a:gd name="T5" fmla="*/ 58 h 75"/>
                <a:gd name="T6" fmla="*/ 1 w 112"/>
                <a:gd name="T7" fmla="*/ 29 h 75"/>
                <a:gd name="T8" fmla="*/ 17 w 112"/>
                <a:gd name="T9" fmla="*/ 9 h 75"/>
                <a:gd name="T10" fmla="*/ 88 w 112"/>
                <a:gd name="T11" fmla="*/ 1 h 75"/>
                <a:gd name="T12" fmla="*/ 107 w 112"/>
                <a:gd name="T13" fmla="*/ 17 h 75"/>
                <a:gd name="T14" fmla="*/ 111 w 112"/>
                <a:gd name="T15" fmla="*/ 46 h 75"/>
                <a:gd name="T16" fmla="*/ 95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5" y="66"/>
                  </a:moveTo>
                  <a:cubicBezTo>
                    <a:pt x="24" y="74"/>
                    <a:pt x="24" y="74"/>
                    <a:pt x="24" y="74"/>
                  </a:cubicBezTo>
                  <a:cubicBezTo>
                    <a:pt x="14" y="75"/>
                    <a:pt x="6" y="68"/>
                    <a:pt x="4" y="58"/>
                  </a:cubicBezTo>
                  <a:cubicBezTo>
                    <a:pt x="1" y="29"/>
                    <a:pt x="1" y="29"/>
                    <a:pt x="1" y="29"/>
                  </a:cubicBezTo>
                  <a:cubicBezTo>
                    <a:pt x="0" y="19"/>
                    <a:pt x="7" y="10"/>
                    <a:pt x="17" y="9"/>
                  </a:cubicBezTo>
                  <a:cubicBezTo>
                    <a:pt x="88" y="1"/>
                    <a:pt x="88" y="1"/>
                    <a:pt x="88" y="1"/>
                  </a:cubicBezTo>
                  <a:cubicBezTo>
                    <a:pt x="97" y="0"/>
                    <a:pt x="106" y="7"/>
                    <a:pt x="107" y="17"/>
                  </a:cubicBezTo>
                  <a:cubicBezTo>
                    <a:pt x="111" y="46"/>
                    <a:pt x="111" y="46"/>
                    <a:pt x="111" y="46"/>
                  </a:cubicBezTo>
                  <a:cubicBezTo>
                    <a:pt x="112" y="56"/>
                    <a:pt x="105" y="65"/>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80" name="Freeform 21">
              <a:extLst>
                <a:ext uri="{FF2B5EF4-FFF2-40B4-BE49-F238E27FC236}">
                  <a16:creationId xmlns:a16="http://schemas.microsoft.com/office/drawing/2014/main" id="{32AE14FE-D424-4997-9AF8-216334D54983}"/>
                </a:ext>
              </a:extLst>
            </p:cNvPr>
            <p:cNvSpPr>
              <a:spLocks/>
            </p:cNvSpPr>
            <p:nvPr/>
          </p:nvSpPr>
          <p:spPr bwMode="auto">
            <a:xfrm>
              <a:off x="5196681" y="3186906"/>
              <a:ext cx="196850" cy="131763"/>
            </a:xfrm>
            <a:custGeom>
              <a:avLst/>
              <a:gdLst>
                <a:gd name="T0" fmla="*/ 95 w 112"/>
                <a:gd name="T1" fmla="*/ 66 h 75"/>
                <a:gd name="T2" fmla="*/ 24 w 112"/>
                <a:gd name="T3" fmla="*/ 74 h 75"/>
                <a:gd name="T4" fmla="*/ 5 w 112"/>
                <a:gd name="T5" fmla="*/ 58 h 75"/>
                <a:gd name="T6" fmla="*/ 1 w 112"/>
                <a:gd name="T7" fmla="*/ 29 h 75"/>
                <a:gd name="T8" fmla="*/ 17 w 112"/>
                <a:gd name="T9" fmla="*/ 9 h 75"/>
                <a:gd name="T10" fmla="*/ 88 w 112"/>
                <a:gd name="T11" fmla="*/ 1 h 75"/>
                <a:gd name="T12" fmla="*/ 108 w 112"/>
                <a:gd name="T13" fmla="*/ 16 h 75"/>
                <a:gd name="T14" fmla="*/ 111 w 112"/>
                <a:gd name="T15" fmla="*/ 46 h 75"/>
                <a:gd name="T16" fmla="*/ 95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5" y="66"/>
                  </a:moveTo>
                  <a:cubicBezTo>
                    <a:pt x="24" y="74"/>
                    <a:pt x="24" y="74"/>
                    <a:pt x="24" y="74"/>
                  </a:cubicBezTo>
                  <a:cubicBezTo>
                    <a:pt x="15" y="75"/>
                    <a:pt x="6" y="68"/>
                    <a:pt x="5" y="58"/>
                  </a:cubicBezTo>
                  <a:cubicBezTo>
                    <a:pt x="1" y="29"/>
                    <a:pt x="1" y="29"/>
                    <a:pt x="1" y="29"/>
                  </a:cubicBezTo>
                  <a:cubicBezTo>
                    <a:pt x="0" y="19"/>
                    <a:pt x="7" y="10"/>
                    <a:pt x="17" y="9"/>
                  </a:cubicBezTo>
                  <a:cubicBezTo>
                    <a:pt x="88" y="1"/>
                    <a:pt x="88" y="1"/>
                    <a:pt x="88" y="1"/>
                  </a:cubicBezTo>
                  <a:cubicBezTo>
                    <a:pt x="98" y="0"/>
                    <a:pt x="106" y="7"/>
                    <a:pt x="108" y="16"/>
                  </a:cubicBezTo>
                  <a:cubicBezTo>
                    <a:pt x="111" y="46"/>
                    <a:pt x="111" y="46"/>
                    <a:pt x="111" y="46"/>
                  </a:cubicBezTo>
                  <a:cubicBezTo>
                    <a:pt x="112" y="56"/>
                    <a:pt x="105" y="64"/>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81" name="Freeform 22">
              <a:extLst>
                <a:ext uri="{FF2B5EF4-FFF2-40B4-BE49-F238E27FC236}">
                  <a16:creationId xmlns:a16="http://schemas.microsoft.com/office/drawing/2014/main" id="{DBD8BC6C-F9D7-4A3F-830E-03E6C53C977A}"/>
                </a:ext>
              </a:extLst>
            </p:cNvPr>
            <p:cNvSpPr>
              <a:spLocks/>
            </p:cNvSpPr>
            <p:nvPr/>
          </p:nvSpPr>
          <p:spPr bwMode="auto">
            <a:xfrm>
              <a:off x="4714081" y="3432969"/>
              <a:ext cx="196850" cy="131763"/>
            </a:xfrm>
            <a:custGeom>
              <a:avLst/>
              <a:gdLst>
                <a:gd name="T0" fmla="*/ 95 w 112"/>
                <a:gd name="T1" fmla="*/ 66 h 75"/>
                <a:gd name="T2" fmla="*/ 24 w 112"/>
                <a:gd name="T3" fmla="*/ 74 h 75"/>
                <a:gd name="T4" fmla="*/ 4 w 112"/>
                <a:gd name="T5" fmla="*/ 58 h 75"/>
                <a:gd name="T6" fmla="*/ 1 w 112"/>
                <a:gd name="T7" fmla="*/ 29 h 75"/>
                <a:gd name="T8" fmla="*/ 17 w 112"/>
                <a:gd name="T9" fmla="*/ 9 h 75"/>
                <a:gd name="T10" fmla="*/ 88 w 112"/>
                <a:gd name="T11" fmla="*/ 1 h 75"/>
                <a:gd name="T12" fmla="*/ 107 w 112"/>
                <a:gd name="T13" fmla="*/ 17 h 75"/>
                <a:gd name="T14" fmla="*/ 111 w 112"/>
                <a:gd name="T15" fmla="*/ 46 h 75"/>
                <a:gd name="T16" fmla="*/ 95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5" y="66"/>
                  </a:moveTo>
                  <a:cubicBezTo>
                    <a:pt x="24" y="74"/>
                    <a:pt x="24" y="74"/>
                    <a:pt x="24" y="74"/>
                  </a:cubicBezTo>
                  <a:cubicBezTo>
                    <a:pt x="14" y="75"/>
                    <a:pt x="6" y="68"/>
                    <a:pt x="4" y="58"/>
                  </a:cubicBezTo>
                  <a:cubicBezTo>
                    <a:pt x="1" y="29"/>
                    <a:pt x="1" y="29"/>
                    <a:pt x="1" y="29"/>
                  </a:cubicBezTo>
                  <a:cubicBezTo>
                    <a:pt x="0" y="19"/>
                    <a:pt x="7" y="10"/>
                    <a:pt x="17" y="9"/>
                  </a:cubicBezTo>
                  <a:cubicBezTo>
                    <a:pt x="88" y="1"/>
                    <a:pt x="88" y="1"/>
                    <a:pt x="88" y="1"/>
                  </a:cubicBezTo>
                  <a:cubicBezTo>
                    <a:pt x="97" y="0"/>
                    <a:pt x="106" y="7"/>
                    <a:pt x="107" y="17"/>
                  </a:cubicBezTo>
                  <a:cubicBezTo>
                    <a:pt x="111" y="46"/>
                    <a:pt x="111" y="46"/>
                    <a:pt x="111" y="46"/>
                  </a:cubicBezTo>
                  <a:cubicBezTo>
                    <a:pt x="112" y="56"/>
                    <a:pt x="105" y="65"/>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82" name="Freeform 23">
              <a:extLst>
                <a:ext uri="{FF2B5EF4-FFF2-40B4-BE49-F238E27FC236}">
                  <a16:creationId xmlns:a16="http://schemas.microsoft.com/office/drawing/2014/main" id="{7DF401F6-7B70-4F0D-8229-6695C5B02026}"/>
                </a:ext>
              </a:extLst>
            </p:cNvPr>
            <p:cNvSpPr>
              <a:spLocks/>
            </p:cNvSpPr>
            <p:nvPr/>
          </p:nvSpPr>
          <p:spPr bwMode="auto">
            <a:xfrm>
              <a:off x="4966494" y="3402806"/>
              <a:ext cx="196850" cy="131763"/>
            </a:xfrm>
            <a:custGeom>
              <a:avLst/>
              <a:gdLst>
                <a:gd name="T0" fmla="*/ 95 w 112"/>
                <a:gd name="T1" fmla="*/ 66 h 75"/>
                <a:gd name="T2" fmla="*/ 24 w 112"/>
                <a:gd name="T3" fmla="*/ 74 h 75"/>
                <a:gd name="T4" fmla="*/ 5 w 112"/>
                <a:gd name="T5" fmla="*/ 59 h 75"/>
                <a:gd name="T6" fmla="*/ 1 w 112"/>
                <a:gd name="T7" fmla="*/ 29 h 75"/>
                <a:gd name="T8" fmla="*/ 17 w 112"/>
                <a:gd name="T9" fmla="*/ 10 h 75"/>
                <a:gd name="T10" fmla="*/ 88 w 112"/>
                <a:gd name="T11" fmla="*/ 2 h 75"/>
                <a:gd name="T12" fmla="*/ 108 w 112"/>
                <a:gd name="T13" fmla="*/ 17 h 75"/>
                <a:gd name="T14" fmla="*/ 111 w 112"/>
                <a:gd name="T15" fmla="*/ 47 h 75"/>
                <a:gd name="T16" fmla="*/ 95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5" y="66"/>
                  </a:moveTo>
                  <a:cubicBezTo>
                    <a:pt x="24" y="74"/>
                    <a:pt x="24" y="74"/>
                    <a:pt x="24" y="74"/>
                  </a:cubicBezTo>
                  <a:cubicBezTo>
                    <a:pt x="15" y="75"/>
                    <a:pt x="6" y="68"/>
                    <a:pt x="5" y="59"/>
                  </a:cubicBezTo>
                  <a:cubicBezTo>
                    <a:pt x="1" y="29"/>
                    <a:pt x="1" y="29"/>
                    <a:pt x="1" y="29"/>
                  </a:cubicBezTo>
                  <a:cubicBezTo>
                    <a:pt x="0" y="20"/>
                    <a:pt x="7" y="11"/>
                    <a:pt x="17" y="10"/>
                  </a:cubicBezTo>
                  <a:cubicBezTo>
                    <a:pt x="88" y="2"/>
                    <a:pt x="88" y="2"/>
                    <a:pt x="88" y="2"/>
                  </a:cubicBezTo>
                  <a:cubicBezTo>
                    <a:pt x="98" y="0"/>
                    <a:pt x="106" y="7"/>
                    <a:pt x="108" y="17"/>
                  </a:cubicBezTo>
                  <a:cubicBezTo>
                    <a:pt x="111" y="47"/>
                    <a:pt x="111" y="47"/>
                    <a:pt x="111" y="47"/>
                  </a:cubicBezTo>
                  <a:cubicBezTo>
                    <a:pt x="112" y="56"/>
                    <a:pt x="105" y="65"/>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83" name="Freeform 24">
              <a:extLst>
                <a:ext uri="{FF2B5EF4-FFF2-40B4-BE49-F238E27FC236}">
                  <a16:creationId xmlns:a16="http://schemas.microsoft.com/office/drawing/2014/main" id="{F36D0758-9814-4FC8-880D-2FECB06177B8}"/>
                </a:ext>
              </a:extLst>
            </p:cNvPr>
            <p:cNvSpPr>
              <a:spLocks/>
            </p:cNvSpPr>
            <p:nvPr/>
          </p:nvSpPr>
          <p:spPr bwMode="auto">
            <a:xfrm>
              <a:off x="5220494" y="3374231"/>
              <a:ext cx="195263" cy="133350"/>
            </a:xfrm>
            <a:custGeom>
              <a:avLst/>
              <a:gdLst>
                <a:gd name="T0" fmla="*/ 95 w 111"/>
                <a:gd name="T1" fmla="*/ 66 h 75"/>
                <a:gd name="T2" fmla="*/ 24 w 111"/>
                <a:gd name="T3" fmla="*/ 74 h 75"/>
                <a:gd name="T4" fmla="*/ 4 w 111"/>
                <a:gd name="T5" fmla="*/ 58 h 75"/>
                <a:gd name="T6" fmla="*/ 1 w 111"/>
                <a:gd name="T7" fmla="*/ 29 h 75"/>
                <a:gd name="T8" fmla="*/ 16 w 111"/>
                <a:gd name="T9" fmla="*/ 9 h 75"/>
                <a:gd name="T10" fmla="*/ 87 w 111"/>
                <a:gd name="T11" fmla="*/ 1 h 75"/>
                <a:gd name="T12" fmla="*/ 107 w 111"/>
                <a:gd name="T13" fmla="*/ 17 h 75"/>
                <a:gd name="T14" fmla="*/ 110 w 111"/>
                <a:gd name="T15" fmla="*/ 46 h 75"/>
                <a:gd name="T16" fmla="*/ 95 w 111"/>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1" h="75">
                  <a:moveTo>
                    <a:pt x="95" y="66"/>
                  </a:moveTo>
                  <a:cubicBezTo>
                    <a:pt x="24" y="74"/>
                    <a:pt x="24" y="74"/>
                    <a:pt x="24" y="74"/>
                  </a:cubicBezTo>
                  <a:cubicBezTo>
                    <a:pt x="14" y="75"/>
                    <a:pt x="5" y="68"/>
                    <a:pt x="4" y="58"/>
                  </a:cubicBezTo>
                  <a:cubicBezTo>
                    <a:pt x="1" y="29"/>
                    <a:pt x="1" y="29"/>
                    <a:pt x="1" y="29"/>
                  </a:cubicBezTo>
                  <a:cubicBezTo>
                    <a:pt x="0" y="19"/>
                    <a:pt x="7" y="10"/>
                    <a:pt x="16" y="9"/>
                  </a:cubicBezTo>
                  <a:cubicBezTo>
                    <a:pt x="87" y="1"/>
                    <a:pt x="87" y="1"/>
                    <a:pt x="87" y="1"/>
                  </a:cubicBezTo>
                  <a:cubicBezTo>
                    <a:pt x="97" y="0"/>
                    <a:pt x="106" y="7"/>
                    <a:pt x="107" y="17"/>
                  </a:cubicBezTo>
                  <a:cubicBezTo>
                    <a:pt x="110" y="46"/>
                    <a:pt x="110" y="46"/>
                    <a:pt x="110" y="46"/>
                  </a:cubicBezTo>
                  <a:cubicBezTo>
                    <a:pt x="111" y="56"/>
                    <a:pt x="104" y="65"/>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84" name="Freeform 25">
              <a:extLst>
                <a:ext uri="{FF2B5EF4-FFF2-40B4-BE49-F238E27FC236}">
                  <a16:creationId xmlns:a16="http://schemas.microsoft.com/office/drawing/2014/main" id="{5670EFE0-D64F-488D-B7D9-58866893B5A5}"/>
                </a:ext>
              </a:extLst>
            </p:cNvPr>
            <p:cNvSpPr>
              <a:spLocks/>
            </p:cNvSpPr>
            <p:nvPr/>
          </p:nvSpPr>
          <p:spPr bwMode="auto">
            <a:xfrm>
              <a:off x="4734719" y="3621881"/>
              <a:ext cx="196850" cy="131763"/>
            </a:xfrm>
            <a:custGeom>
              <a:avLst/>
              <a:gdLst>
                <a:gd name="T0" fmla="*/ 95 w 112"/>
                <a:gd name="T1" fmla="*/ 66 h 75"/>
                <a:gd name="T2" fmla="*/ 24 w 112"/>
                <a:gd name="T3" fmla="*/ 74 h 75"/>
                <a:gd name="T4" fmla="*/ 5 w 112"/>
                <a:gd name="T5" fmla="*/ 58 h 75"/>
                <a:gd name="T6" fmla="*/ 1 w 112"/>
                <a:gd name="T7" fmla="*/ 29 h 75"/>
                <a:gd name="T8" fmla="*/ 17 w 112"/>
                <a:gd name="T9" fmla="*/ 9 h 75"/>
                <a:gd name="T10" fmla="*/ 88 w 112"/>
                <a:gd name="T11" fmla="*/ 1 h 75"/>
                <a:gd name="T12" fmla="*/ 108 w 112"/>
                <a:gd name="T13" fmla="*/ 17 h 75"/>
                <a:gd name="T14" fmla="*/ 111 w 112"/>
                <a:gd name="T15" fmla="*/ 46 h 75"/>
                <a:gd name="T16" fmla="*/ 95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5" y="66"/>
                  </a:moveTo>
                  <a:cubicBezTo>
                    <a:pt x="24" y="74"/>
                    <a:pt x="24" y="74"/>
                    <a:pt x="24" y="74"/>
                  </a:cubicBezTo>
                  <a:cubicBezTo>
                    <a:pt x="15" y="75"/>
                    <a:pt x="6" y="68"/>
                    <a:pt x="5" y="58"/>
                  </a:cubicBezTo>
                  <a:cubicBezTo>
                    <a:pt x="1" y="29"/>
                    <a:pt x="1" y="29"/>
                    <a:pt x="1" y="29"/>
                  </a:cubicBezTo>
                  <a:cubicBezTo>
                    <a:pt x="0" y="19"/>
                    <a:pt x="7" y="10"/>
                    <a:pt x="17" y="9"/>
                  </a:cubicBezTo>
                  <a:cubicBezTo>
                    <a:pt x="88" y="1"/>
                    <a:pt x="88" y="1"/>
                    <a:pt x="88" y="1"/>
                  </a:cubicBezTo>
                  <a:cubicBezTo>
                    <a:pt x="98" y="0"/>
                    <a:pt x="106" y="7"/>
                    <a:pt x="108" y="17"/>
                  </a:cubicBezTo>
                  <a:cubicBezTo>
                    <a:pt x="111" y="46"/>
                    <a:pt x="111" y="46"/>
                    <a:pt x="111" y="46"/>
                  </a:cubicBezTo>
                  <a:cubicBezTo>
                    <a:pt x="112" y="56"/>
                    <a:pt x="105" y="65"/>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85" name="Freeform 26">
              <a:extLst>
                <a:ext uri="{FF2B5EF4-FFF2-40B4-BE49-F238E27FC236}">
                  <a16:creationId xmlns:a16="http://schemas.microsoft.com/office/drawing/2014/main" id="{829A05B5-C429-410F-B578-BAF65FCF4915}"/>
                </a:ext>
              </a:extLst>
            </p:cNvPr>
            <p:cNvSpPr>
              <a:spLocks/>
            </p:cNvSpPr>
            <p:nvPr/>
          </p:nvSpPr>
          <p:spPr bwMode="auto">
            <a:xfrm>
              <a:off x="4987131" y="3593306"/>
              <a:ext cx="196850" cy="131763"/>
            </a:xfrm>
            <a:custGeom>
              <a:avLst/>
              <a:gdLst>
                <a:gd name="T0" fmla="*/ 96 w 112"/>
                <a:gd name="T1" fmla="*/ 66 h 75"/>
                <a:gd name="T2" fmla="*/ 25 w 112"/>
                <a:gd name="T3" fmla="*/ 74 h 75"/>
                <a:gd name="T4" fmla="*/ 5 w 112"/>
                <a:gd name="T5" fmla="*/ 58 h 75"/>
                <a:gd name="T6" fmla="*/ 2 w 112"/>
                <a:gd name="T7" fmla="*/ 29 h 75"/>
                <a:gd name="T8" fmla="*/ 17 w 112"/>
                <a:gd name="T9" fmla="*/ 9 h 75"/>
                <a:gd name="T10" fmla="*/ 88 w 112"/>
                <a:gd name="T11" fmla="*/ 1 h 75"/>
                <a:gd name="T12" fmla="*/ 108 w 112"/>
                <a:gd name="T13" fmla="*/ 16 h 75"/>
                <a:gd name="T14" fmla="*/ 111 w 112"/>
                <a:gd name="T15" fmla="*/ 46 h 75"/>
                <a:gd name="T16" fmla="*/ 96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6" y="66"/>
                  </a:moveTo>
                  <a:cubicBezTo>
                    <a:pt x="25" y="74"/>
                    <a:pt x="25" y="74"/>
                    <a:pt x="25" y="74"/>
                  </a:cubicBezTo>
                  <a:cubicBezTo>
                    <a:pt x="15" y="75"/>
                    <a:pt x="6" y="68"/>
                    <a:pt x="5" y="58"/>
                  </a:cubicBezTo>
                  <a:cubicBezTo>
                    <a:pt x="2" y="29"/>
                    <a:pt x="2" y="29"/>
                    <a:pt x="2" y="29"/>
                  </a:cubicBezTo>
                  <a:cubicBezTo>
                    <a:pt x="0" y="19"/>
                    <a:pt x="7" y="10"/>
                    <a:pt x="17" y="9"/>
                  </a:cubicBezTo>
                  <a:cubicBezTo>
                    <a:pt x="88" y="1"/>
                    <a:pt x="88" y="1"/>
                    <a:pt x="88" y="1"/>
                  </a:cubicBezTo>
                  <a:cubicBezTo>
                    <a:pt x="98" y="0"/>
                    <a:pt x="107" y="7"/>
                    <a:pt x="108" y="16"/>
                  </a:cubicBezTo>
                  <a:cubicBezTo>
                    <a:pt x="111" y="46"/>
                    <a:pt x="111" y="46"/>
                    <a:pt x="111" y="46"/>
                  </a:cubicBezTo>
                  <a:cubicBezTo>
                    <a:pt x="112" y="56"/>
                    <a:pt x="105" y="64"/>
                    <a:pt x="96"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86" name="Freeform 27">
              <a:extLst>
                <a:ext uri="{FF2B5EF4-FFF2-40B4-BE49-F238E27FC236}">
                  <a16:creationId xmlns:a16="http://schemas.microsoft.com/office/drawing/2014/main" id="{373F1C6A-644A-401D-BC3E-7469ED12A724}"/>
                </a:ext>
              </a:extLst>
            </p:cNvPr>
            <p:cNvSpPr>
              <a:spLocks/>
            </p:cNvSpPr>
            <p:nvPr/>
          </p:nvSpPr>
          <p:spPr bwMode="auto">
            <a:xfrm>
              <a:off x="5241131" y="3563144"/>
              <a:ext cx="196850" cy="133350"/>
            </a:xfrm>
            <a:custGeom>
              <a:avLst/>
              <a:gdLst>
                <a:gd name="T0" fmla="*/ 95 w 112"/>
                <a:gd name="T1" fmla="*/ 66 h 75"/>
                <a:gd name="T2" fmla="*/ 24 w 112"/>
                <a:gd name="T3" fmla="*/ 74 h 75"/>
                <a:gd name="T4" fmla="*/ 4 w 112"/>
                <a:gd name="T5" fmla="*/ 59 h 75"/>
                <a:gd name="T6" fmla="*/ 1 w 112"/>
                <a:gd name="T7" fmla="*/ 29 h 75"/>
                <a:gd name="T8" fmla="*/ 17 w 112"/>
                <a:gd name="T9" fmla="*/ 10 h 75"/>
                <a:gd name="T10" fmla="*/ 87 w 112"/>
                <a:gd name="T11" fmla="*/ 1 h 75"/>
                <a:gd name="T12" fmla="*/ 107 w 112"/>
                <a:gd name="T13" fmla="*/ 17 h 75"/>
                <a:gd name="T14" fmla="*/ 110 w 112"/>
                <a:gd name="T15" fmla="*/ 47 h 75"/>
                <a:gd name="T16" fmla="*/ 95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5" y="66"/>
                  </a:moveTo>
                  <a:cubicBezTo>
                    <a:pt x="24" y="74"/>
                    <a:pt x="24" y="74"/>
                    <a:pt x="24" y="74"/>
                  </a:cubicBezTo>
                  <a:cubicBezTo>
                    <a:pt x="14" y="75"/>
                    <a:pt x="5" y="68"/>
                    <a:pt x="4" y="59"/>
                  </a:cubicBezTo>
                  <a:cubicBezTo>
                    <a:pt x="1" y="29"/>
                    <a:pt x="1" y="29"/>
                    <a:pt x="1" y="29"/>
                  </a:cubicBezTo>
                  <a:cubicBezTo>
                    <a:pt x="0" y="20"/>
                    <a:pt x="7" y="11"/>
                    <a:pt x="17" y="10"/>
                  </a:cubicBezTo>
                  <a:cubicBezTo>
                    <a:pt x="87" y="1"/>
                    <a:pt x="87" y="1"/>
                    <a:pt x="87" y="1"/>
                  </a:cubicBezTo>
                  <a:cubicBezTo>
                    <a:pt x="97" y="0"/>
                    <a:pt x="106" y="7"/>
                    <a:pt x="107" y="17"/>
                  </a:cubicBezTo>
                  <a:cubicBezTo>
                    <a:pt x="110" y="47"/>
                    <a:pt x="110" y="47"/>
                    <a:pt x="110" y="47"/>
                  </a:cubicBezTo>
                  <a:cubicBezTo>
                    <a:pt x="112" y="56"/>
                    <a:pt x="105" y="65"/>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87" name="Freeform 28">
              <a:extLst>
                <a:ext uri="{FF2B5EF4-FFF2-40B4-BE49-F238E27FC236}">
                  <a16:creationId xmlns:a16="http://schemas.microsoft.com/office/drawing/2014/main" id="{7AC46396-CE16-47F5-96C0-987541CF761D}"/>
                </a:ext>
              </a:extLst>
            </p:cNvPr>
            <p:cNvSpPr>
              <a:spLocks/>
            </p:cNvSpPr>
            <p:nvPr/>
          </p:nvSpPr>
          <p:spPr bwMode="auto">
            <a:xfrm>
              <a:off x="5865019" y="3144044"/>
              <a:ext cx="652463" cy="684213"/>
            </a:xfrm>
            <a:custGeom>
              <a:avLst/>
              <a:gdLst>
                <a:gd name="T0" fmla="*/ 363 w 370"/>
                <a:gd name="T1" fmla="*/ 265 h 388"/>
                <a:gd name="T2" fmla="*/ 355 w 370"/>
                <a:gd name="T3" fmla="*/ 256 h 388"/>
                <a:gd name="T4" fmla="*/ 355 w 370"/>
                <a:gd name="T5" fmla="*/ 256 h 388"/>
                <a:gd name="T6" fmla="*/ 148 w 370"/>
                <a:gd name="T7" fmla="*/ 21 h 388"/>
                <a:gd name="T8" fmla="*/ 137 w 370"/>
                <a:gd name="T9" fmla="*/ 9 h 388"/>
                <a:gd name="T10" fmla="*/ 110 w 370"/>
                <a:gd name="T11" fmla="*/ 7 h 388"/>
                <a:gd name="T12" fmla="*/ 12 w 370"/>
                <a:gd name="T13" fmla="*/ 93 h 388"/>
                <a:gd name="T14" fmla="*/ 12 w 370"/>
                <a:gd name="T15" fmla="*/ 93 h 388"/>
                <a:gd name="T16" fmla="*/ 10 w 370"/>
                <a:gd name="T17" fmla="*/ 95 h 388"/>
                <a:gd name="T18" fmla="*/ 8 w 370"/>
                <a:gd name="T19" fmla="*/ 125 h 388"/>
                <a:gd name="T20" fmla="*/ 18 w 370"/>
                <a:gd name="T21" fmla="*/ 136 h 388"/>
                <a:gd name="T22" fmla="*/ 18 w 370"/>
                <a:gd name="T23" fmla="*/ 136 h 388"/>
                <a:gd name="T24" fmla="*/ 224 w 370"/>
                <a:gd name="T25" fmla="*/ 371 h 388"/>
                <a:gd name="T26" fmla="*/ 224 w 370"/>
                <a:gd name="T27" fmla="*/ 371 h 388"/>
                <a:gd name="T28" fmla="*/ 231 w 370"/>
                <a:gd name="T29" fmla="*/ 379 h 388"/>
                <a:gd name="T30" fmla="*/ 261 w 370"/>
                <a:gd name="T31" fmla="*/ 380 h 388"/>
                <a:gd name="T32" fmla="*/ 263 w 370"/>
                <a:gd name="T33" fmla="*/ 379 h 388"/>
                <a:gd name="T34" fmla="*/ 263 w 370"/>
                <a:gd name="T35" fmla="*/ 379 h 388"/>
                <a:gd name="T36" fmla="*/ 361 w 370"/>
                <a:gd name="T37" fmla="*/ 292 h 388"/>
                <a:gd name="T38" fmla="*/ 363 w 370"/>
                <a:gd name="T39" fmla="*/ 265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70" h="388">
                  <a:moveTo>
                    <a:pt x="363" y="265"/>
                  </a:moveTo>
                  <a:cubicBezTo>
                    <a:pt x="355" y="256"/>
                    <a:pt x="355" y="256"/>
                    <a:pt x="355" y="256"/>
                  </a:cubicBezTo>
                  <a:cubicBezTo>
                    <a:pt x="355" y="256"/>
                    <a:pt x="355" y="256"/>
                    <a:pt x="355" y="256"/>
                  </a:cubicBezTo>
                  <a:cubicBezTo>
                    <a:pt x="148" y="21"/>
                    <a:pt x="148" y="21"/>
                    <a:pt x="148" y="21"/>
                  </a:cubicBezTo>
                  <a:cubicBezTo>
                    <a:pt x="137" y="9"/>
                    <a:pt x="137" y="9"/>
                    <a:pt x="137" y="9"/>
                  </a:cubicBezTo>
                  <a:cubicBezTo>
                    <a:pt x="130" y="1"/>
                    <a:pt x="118" y="0"/>
                    <a:pt x="110" y="7"/>
                  </a:cubicBezTo>
                  <a:cubicBezTo>
                    <a:pt x="12" y="93"/>
                    <a:pt x="12" y="93"/>
                    <a:pt x="12" y="93"/>
                  </a:cubicBezTo>
                  <a:cubicBezTo>
                    <a:pt x="12" y="93"/>
                    <a:pt x="12" y="93"/>
                    <a:pt x="12" y="93"/>
                  </a:cubicBezTo>
                  <a:cubicBezTo>
                    <a:pt x="10" y="95"/>
                    <a:pt x="10" y="95"/>
                    <a:pt x="10" y="95"/>
                  </a:cubicBezTo>
                  <a:cubicBezTo>
                    <a:pt x="1" y="103"/>
                    <a:pt x="0" y="116"/>
                    <a:pt x="8" y="125"/>
                  </a:cubicBezTo>
                  <a:cubicBezTo>
                    <a:pt x="18" y="136"/>
                    <a:pt x="18" y="136"/>
                    <a:pt x="18" y="136"/>
                  </a:cubicBezTo>
                  <a:cubicBezTo>
                    <a:pt x="18" y="136"/>
                    <a:pt x="18" y="136"/>
                    <a:pt x="18" y="136"/>
                  </a:cubicBezTo>
                  <a:cubicBezTo>
                    <a:pt x="224" y="371"/>
                    <a:pt x="224" y="371"/>
                    <a:pt x="224" y="371"/>
                  </a:cubicBezTo>
                  <a:cubicBezTo>
                    <a:pt x="224" y="371"/>
                    <a:pt x="224" y="371"/>
                    <a:pt x="224" y="371"/>
                  </a:cubicBezTo>
                  <a:cubicBezTo>
                    <a:pt x="231" y="379"/>
                    <a:pt x="231" y="379"/>
                    <a:pt x="231" y="379"/>
                  </a:cubicBezTo>
                  <a:cubicBezTo>
                    <a:pt x="239" y="387"/>
                    <a:pt x="252" y="388"/>
                    <a:pt x="261" y="380"/>
                  </a:cubicBezTo>
                  <a:cubicBezTo>
                    <a:pt x="263" y="379"/>
                    <a:pt x="263" y="379"/>
                    <a:pt x="263" y="379"/>
                  </a:cubicBezTo>
                  <a:cubicBezTo>
                    <a:pt x="263" y="379"/>
                    <a:pt x="263" y="379"/>
                    <a:pt x="263" y="379"/>
                  </a:cubicBezTo>
                  <a:cubicBezTo>
                    <a:pt x="361" y="292"/>
                    <a:pt x="361" y="292"/>
                    <a:pt x="361" y="292"/>
                  </a:cubicBezTo>
                  <a:cubicBezTo>
                    <a:pt x="369" y="285"/>
                    <a:pt x="370" y="273"/>
                    <a:pt x="363" y="265"/>
                  </a:cubicBezTo>
                  <a:close/>
                </a:path>
              </a:pathLst>
            </a:custGeom>
            <a:solidFill>
              <a:srgbClr val="424242">
                <a:alpha val="20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88" name="Freeform 29">
              <a:extLst>
                <a:ext uri="{FF2B5EF4-FFF2-40B4-BE49-F238E27FC236}">
                  <a16:creationId xmlns:a16="http://schemas.microsoft.com/office/drawing/2014/main" id="{56A6A981-3811-43D7-ADF1-598DCFE769F1}"/>
                </a:ext>
              </a:extLst>
            </p:cNvPr>
            <p:cNvSpPr>
              <a:spLocks/>
            </p:cNvSpPr>
            <p:nvPr/>
          </p:nvSpPr>
          <p:spPr bwMode="auto">
            <a:xfrm>
              <a:off x="5879306" y="3101181"/>
              <a:ext cx="650875" cy="684213"/>
            </a:xfrm>
            <a:custGeom>
              <a:avLst/>
              <a:gdLst>
                <a:gd name="T0" fmla="*/ 360 w 369"/>
                <a:gd name="T1" fmla="*/ 293 h 388"/>
                <a:gd name="T2" fmla="*/ 261 w 369"/>
                <a:gd name="T3" fmla="*/ 380 h 388"/>
                <a:gd name="T4" fmla="*/ 231 w 369"/>
                <a:gd name="T5" fmla="*/ 379 h 388"/>
                <a:gd name="T6" fmla="*/ 8 w 369"/>
                <a:gd name="T7" fmla="*/ 125 h 388"/>
                <a:gd name="T8" fmla="*/ 10 w 369"/>
                <a:gd name="T9" fmla="*/ 95 h 388"/>
                <a:gd name="T10" fmla="*/ 109 w 369"/>
                <a:gd name="T11" fmla="*/ 8 h 388"/>
                <a:gd name="T12" fmla="*/ 138 w 369"/>
                <a:gd name="T13" fmla="*/ 10 h 388"/>
                <a:gd name="T14" fmla="*/ 361 w 369"/>
                <a:gd name="T15" fmla="*/ 264 h 388"/>
                <a:gd name="T16" fmla="*/ 360 w 369"/>
                <a:gd name="T17" fmla="*/ 293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9" h="388">
                  <a:moveTo>
                    <a:pt x="360" y="293"/>
                  </a:moveTo>
                  <a:cubicBezTo>
                    <a:pt x="261" y="380"/>
                    <a:pt x="261" y="380"/>
                    <a:pt x="261" y="380"/>
                  </a:cubicBezTo>
                  <a:cubicBezTo>
                    <a:pt x="252" y="388"/>
                    <a:pt x="239" y="387"/>
                    <a:pt x="231" y="379"/>
                  </a:cubicBezTo>
                  <a:cubicBezTo>
                    <a:pt x="8" y="125"/>
                    <a:pt x="8" y="125"/>
                    <a:pt x="8" y="125"/>
                  </a:cubicBezTo>
                  <a:cubicBezTo>
                    <a:pt x="0" y="116"/>
                    <a:pt x="1" y="103"/>
                    <a:pt x="10" y="95"/>
                  </a:cubicBezTo>
                  <a:cubicBezTo>
                    <a:pt x="109" y="8"/>
                    <a:pt x="109" y="8"/>
                    <a:pt x="109" y="8"/>
                  </a:cubicBezTo>
                  <a:cubicBezTo>
                    <a:pt x="117" y="0"/>
                    <a:pt x="131" y="1"/>
                    <a:pt x="138" y="10"/>
                  </a:cubicBezTo>
                  <a:cubicBezTo>
                    <a:pt x="361" y="264"/>
                    <a:pt x="361" y="264"/>
                    <a:pt x="361" y="264"/>
                  </a:cubicBezTo>
                  <a:cubicBezTo>
                    <a:pt x="369" y="272"/>
                    <a:pt x="368" y="286"/>
                    <a:pt x="360" y="293"/>
                  </a:cubicBezTo>
                  <a:close/>
                </a:path>
              </a:pathLst>
            </a:custGeom>
            <a:solidFill>
              <a:srgbClr val="376790"/>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89" name="Freeform 30">
              <a:extLst>
                <a:ext uri="{FF2B5EF4-FFF2-40B4-BE49-F238E27FC236}">
                  <a16:creationId xmlns:a16="http://schemas.microsoft.com/office/drawing/2014/main" id="{6864E0CE-B21D-4CCC-BB88-6BC15FF897E8}"/>
                </a:ext>
              </a:extLst>
            </p:cNvPr>
            <p:cNvSpPr>
              <a:spLocks/>
            </p:cNvSpPr>
            <p:nvPr/>
          </p:nvSpPr>
          <p:spPr bwMode="auto">
            <a:xfrm>
              <a:off x="5911056" y="3139281"/>
              <a:ext cx="593725" cy="615950"/>
            </a:xfrm>
            <a:custGeom>
              <a:avLst/>
              <a:gdLst>
                <a:gd name="T0" fmla="*/ 374 w 374"/>
                <a:gd name="T1" fmla="*/ 261 h 388"/>
                <a:gd name="T2" fmla="*/ 229 w 374"/>
                <a:gd name="T3" fmla="*/ 388 h 388"/>
                <a:gd name="T4" fmla="*/ 0 w 374"/>
                <a:gd name="T5" fmla="*/ 127 h 388"/>
                <a:gd name="T6" fmla="*/ 144 w 374"/>
                <a:gd name="T7" fmla="*/ 0 h 388"/>
                <a:gd name="T8" fmla="*/ 374 w 374"/>
                <a:gd name="T9" fmla="*/ 261 h 388"/>
              </a:gdLst>
              <a:ahLst/>
              <a:cxnLst>
                <a:cxn ang="0">
                  <a:pos x="T0" y="T1"/>
                </a:cxn>
                <a:cxn ang="0">
                  <a:pos x="T2" y="T3"/>
                </a:cxn>
                <a:cxn ang="0">
                  <a:pos x="T4" y="T5"/>
                </a:cxn>
                <a:cxn ang="0">
                  <a:pos x="T6" y="T7"/>
                </a:cxn>
                <a:cxn ang="0">
                  <a:pos x="T8" y="T9"/>
                </a:cxn>
              </a:cxnLst>
              <a:rect l="0" t="0" r="r" b="b"/>
              <a:pathLst>
                <a:path w="374" h="388">
                  <a:moveTo>
                    <a:pt x="374" y="261"/>
                  </a:moveTo>
                  <a:lnTo>
                    <a:pt x="229" y="388"/>
                  </a:lnTo>
                  <a:lnTo>
                    <a:pt x="0" y="127"/>
                  </a:lnTo>
                  <a:lnTo>
                    <a:pt x="144" y="0"/>
                  </a:lnTo>
                  <a:lnTo>
                    <a:pt x="374" y="261"/>
                  </a:lnTo>
                  <a:close/>
                </a:path>
              </a:pathLst>
            </a:custGeom>
            <a:solidFill>
              <a:srgbClr val="353B61"/>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90" name="Freeform 31">
              <a:extLst>
                <a:ext uri="{FF2B5EF4-FFF2-40B4-BE49-F238E27FC236}">
                  <a16:creationId xmlns:a16="http://schemas.microsoft.com/office/drawing/2014/main" id="{1B57800A-65CA-4F15-B87D-D4B27A1896BE}"/>
                </a:ext>
              </a:extLst>
            </p:cNvPr>
            <p:cNvSpPr>
              <a:spLocks/>
            </p:cNvSpPr>
            <p:nvPr/>
          </p:nvSpPr>
          <p:spPr bwMode="auto">
            <a:xfrm>
              <a:off x="5911056" y="3139281"/>
              <a:ext cx="495300" cy="504825"/>
            </a:xfrm>
            <a:custGeom>
              <a:avLst/>
              <a:gdLst>
                <a:gd name="T0" fmla="*/ 312 w 312"/>
                <a:gd name="T1" fmla="*/ 191 h 318"/>
                <a:gd name="T2" fmla="*/ 168 w 312"/>
                <a:gd name="T3" fmla="*/ 318 h 318"/>
                <a:gd name="T4" fmla="*/ 0 w 312"/>
                <a:gd name="T5" fmla="*/ 127 h 318"/>
                <a:gd name="T6" fmla="*/ 144 w 312"/>
                <a:gd name="T7" fmla="*/ 0 h 318"/>
                <a:gd name="T8" fmla="*/ 312 w 312"/>
                <a:gd name="T9" fmla="*/ 191 h 318"/>
              </a:gdLst>
              <a:ahLst/>
              <a:cxnLst>
                <a:cxn ang="0">
                  <a:pos x="T0" y="T1"/>
                </a:cxn>
                <a:cxn ang="0">
                  <a:pos x="T2" y="T3"/>
                </a:cxn>
                <a:cxn ang="0">
                  <a:pos x="T4" y="T5"/>
                </a:cxn>
                <a:cxn ang="0">
                  <a:pos x="T6" y="T7"/>
                </a:cxn>
                <a:cxn ang="0">
                  <a:pos x="T8" y="T9"/>
                </a:cxn>
              </a:cxnLst>
              <a:rect l="0" t="0" r="r" b="b"/>
              <a:pathLst>
                <a:path w="312" h="318">
                  <a:moveTo>
                    <a:pt x="312" y="191"/>
                  </a:moveTo>
                  <a:lnTo>
                    <a:pt x="168" y="318"/>
                  </a:lnTo>
                  <a:lnTo>
                    <a:pt x="0" y="127"/>
                  </a:lnTo>
                  <a:lnTo>
                    <a:pt x="144" y="0"/>
                  </a:lnTo>
                  <a:lnTo>
                    <a:pt x="312" y="191"/>
                  </a:lnTo>
                  <a:close/>
                </a:path>
              </a:pathLst>
            </a:custGeom>
            <a:solidFill>
              <a:srgbClr val="92406C"/>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91" name="Freeform 32">
              <a:extLst>
                <a:ext uri="{FF2B5EF4-FFF2-40B4-BE49-F238E27FC236}">
                  <a16:creationId xmlns:a16="http://schemas.microsoft.com/office/drawing/2014/main" id="{F5956D7F-7C57-4B17-886E-E9B3E8B9EAA4}"/>
                </a:ext>
              </a:extLst>
            </p:cNvPr>
            <p:cNvSpPr>
              <a:spLocks/>
            </p:cNvSpPr>
            <p:nvPr/>
          </p:nvSpPr>
          <p:spPr bwMode="auto">
            <a:xfrm>
              <a:off x="5899944" y="3101181"/>
              <a:ext cx="631825" cy="668338"/>
            </a:xfrm>
            <a:custGeom>
              <a:avLst/>
              <a:gdLst>
                <a:gd name="T0" fmla="*/ 349 w 358"/>
                <a:gd name="T1" fmla="*/ 292 h 379"/>
                <a:gd name="T2" fmla="*/ 251 w 358"/>
                <a:gd name="T3" fmla="*/ 379 h 379"/>
                <a:gd name="T4" fmla="*/ 0 w 358"/>
                <a:gd name="T5" fmla="*/ 93 h 379"/>
                <a:gd name="T6" fmla="*/ 98 w 358"/>
                <a:gd name="T7" fmla="*/ 7 h 379"/>
                <a:gd name="T8" fmla="*/ 125 w 358"/>
                <a:gd name="T9" fmla="*/ 9 h 379"/>
                <a:gd name="T10" fmla="*/ 351 w 358"/>
                <a:gd name="T11" fmla="*/ 265 h 379"/>
                <a:gd name="T12" fmla="*/ 349 w 358"/>
                <a:gd name="T13" fmla="*/ 292 h 379"/>
              </a:gdLst>
              <a:ahLst/>
              <a:cxnLst>
                <a:cxn ang="0">
                  <a:pos x="T0" y="T1"/>
                </a:cxn>
                <a:cxn ang="0">
                  <a:pos x="T2" y="T3"/>
                </a:cxn>
                <a:cxn ang="0">
                  <a:pos x="T4" y="T5"/>
                </a:cxn>
                <a:cxn ang="0">
                  <a:pos x="T6" y="T7"/>
                </a:cxn>
                <a:cxn ang="0">
                  <a:pos x="T8" y="T9"/>
                </a:cxn>
                <a:cxn ang="0">
                  <a:pos x="T10" y="T11"/>
                </a:cxn>
                <a:cxn ang="0">
                  <a:pos x="T12" y="T13"/>
                </a:cxn>
              </a:cxnLst>
              <a:rect l="0" t="0" r="r" b="b"/>
              <a:pathLst>
                <a:path w="358" h="379">
                  <a:moveTo>
                    <a:pt x="349" y="292"/>
                  </a:moveTo>
                  <a:cubicBezTo>
                    <a:pt x="251" y="379"/>
                    <a:pt x="251" y="379"/>
                    <a:pt x="251" y="379"/>
                  </a:cubicBezTo>
                  <a:cubicBezTo>
                    <a:pt x="0" y="93"/>
                    <a:pt x="0" y="93"/>
                    <a:pt x="0" y="93"/>
                  </a:cubicBezTo>
                  <a:cubicBezTo>
                    <a:pt x="98" y="7"/>
                    <a:pt x="98" y="7"/>
                    <a:pt x="98" y="7"/>
                  </a:cubicBezTo>
                  <a:cubicBezTo>
                    <a:pt x="106" y="0"/>
                    <a:pt x="118" y="1"/>
                    <a:pt x="125" y="9"/>
                  </a:cubicBezTo>
                  <a:cubicBezTo>
                    <a:pt x="351" y="265"/>
                    <a:pt x="351" y="265"/>
                    <a:pt x="351" y="265"/>
                  </a:cubicBezTo>
                  <a:cubicBezTo>
                    <a:pt x="358" y="273"/>
                    <a:pt x="357" y="285"/>
                    <a:pt x="349" y="292"/>
                  </a:cubicBezTo>
                  <a:close/>
                </a:path>
              </a:pathLst>
            </a:custGeom>
            <a:noFill/>
            <a:ln w="6350" cap="flat">
              <a:solidFill>
                <a:srgbClr val="1E1D1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92" name="Freeform 33">
              <a:extLst>
                <a:ext uri="{FF2B5EF4-FFF2-40B4-BE49-F238E27FC236}">
                  <a16:creationId xmlns:a16="http://schemas.microsoft.com/office/drawing/2014/main" id="{B4FB8746-B3DD-4C5A-B4AD-533B4FD4C76A}"/>
                </a:ext>
              </a:extLst>
            </p:cNvPr>
            <p:cNvSpPr>
              <a:spLocks/>
            </p:cNvSpPr>
            <p:nvPr/>
          </p:nvSpPr>
          <p:spPr bwMode="auto">
            <a:xfrm>
              <a:off x="5899944" y="3101181"/>
              <a:ext cx="239713" cy="212725"/>
            </a:xfrm>
            <a:custGeom>
              <a:avLst/>
              <a:gdLst>
                <a:gd name="T0" fmla="*/ 136 w 136"/>
                <a:gd name="T1" fmla="*/ 21 h 120"/>
                <a:gd name="T2" fmla="*/ 24 w 136"/>
                <a:gd name="T3" fmla="*/ 120 h 120"/>
                <a:gd name="T4" fmla="*/ 0 w 136"/>
                <a:gd name="T5" fmla="*/ 93 h 120"/>
                <a:gd name="T6" fmla="*/ 98 w 136"/>
                <a:gd name="T7" fmla="*/ 7 h 120"/>
                <a:gd name="T8" fmla="*/ 125 w 136"/>
                <a:gd name="T9" fmla="*/ 9 h 120"/>
                <a:gd name="T10" fmla="*/ 136 w 136"/>
                <a:gd name="T11" fmla="*/ 21 h 120"/>
              </a:gdLst>
              <a:ahLst/>
              <a:cxnLst>
                <a:cxn ang="0">
                  <a:pos x="T0" y="T1"/>
                </a:cxn>
                <a:cxn ang="0">
                  <a:pos x="T2" y="T3"/>
                </a:cxn>
                <a:cxn ang="0">
                  <a:pos x="T4" y="T5"/>
                </a:cxn>
                <a:cxn ang="0">
                  <a:pos x="T6" y="T7"/>
                </a:cxn>
                <a:cxn ang="0">
                  <a:pos x="T8" y="T9"/>
                </a:cxn>
                <a:cxn ang="0">
                  <a:pos x="T10" y="T11"/>
                </a:cxn>
              </a:cxnLst>
              <a:rect l="0" t="0" r="r" b="b"/>
              <a:pathLst>
                <a:path w="136" h="120">
                  <a:moveTo>
                    <a:pt x="136" y="21"/>
                  </a:moveTo>
                  <a:cubicBezTo>
                    <a:pt x="24" y="120"/>
                    <a:pt x="24" y="120"/>
                    <a:pt x="24" y="120"/>
                  </a:cubicBezTo>
                  <a:cubicBezTo>
                    <a:pt x="0" y="93"/>
                    <a:pt x="0" y="93"/>
                    <a:pt x="0" y="93"/>
                  </a:cubicBezTo>
                  <a:cubicBezTo>
                    <a:pt x="98" y="7"/>
                    <a:pt x="98" y="7"/>
                    <a:pt x="98" y="7"/>
                  </a:cubicBezTo>
                  <a:cubicBezTo>
                    <a:pt x="106" y="0"/>
                    <a:pt x="118" y="1"/>
                    <a:pt x="125" y="9"/>
                  </a:cubicBezTo>
                  <a:lnTo>
                    <a:pt x="136" y="21"/>
                  </a:lnTo>
                  <a:close/>
                </a:path>
              </a:pathLst>
            </a:custGeom>
            <a:solidFill>
              <a:srgbClr val="D0598C"/>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93" name="Freeform 34">
              <a:extLst>
                <a:ext uri="{FF2B5EF4-FFF2-40B4-BE49-F238E27FC236}">
                  <a16:creationId xmlns:a16="http://schemas.microsoft.com/office/drawing/2014/main" id="{F81788D2-49B8-4323-8861-4201F95F9943}"/>
                </a:ext>
              </a:extLst>
            </p:cNvPr>
            <p:cNvSpPr>
              <a:spLocks/>
            </p:cNvSpPr>
            <p:nvPr/>
          </p:nvSpPr>
          <p:spPr bwMode="auto">
            <a:xfrm>
              <a:off x="5942806" y="3139281"/>
              <a:ext cx="463550" cy="477838"/>
            </a:xfrm>
            <a:custGeom>
              <a:avLst/>
              <a:gdLst>
                <a:gd name="T0" fmla="*/ 124 w 292"/>
                <a:gd name="T1" fmla="*/ 0 h 301"/>
                <a:gd name="T2" fmla="*/ 0 w 292"/>
                <a:gd name="T3" fmla="*/ 110 h 301"/>
                <a:gd name="T4" fmla="*/ 168 w 292"/>
                <a:gd name="T5" fmla="*/ 301 h 301"/>
                <a:gd name="T6" fmla="*/ 292 w 292"/>
                <a:gd name="T7" fmla="*/ 191 h 301"/>
                <a:gd name="T8" fmla="*/ 124 w 292"/>
                <a:gd name="T9" fmla="*/ 0 h 301"/>
              </a:gdLst>
              <a:ahLst/>
              <a:cxnLst>
                <a:cxn ang="0">
                  <a:pos x="T0" y="T1"/>
                </a:cxn>
                <a:cxn ang="0">
                  <a:pos x="T2" y="T3"/>
                </a:cxn>
                <a:cxn ang="0">
                  <a:pos x="T4" y="T5"/>
                </a:cxn>
                <a:cxn ang="0">
                  <a:pos x="T6" y="T7"/>
                </a:cxn>
                <a:cxn ang="0">
                  <a:pos x="T8" y="T9"/>
                </a:cxn>
              </a:cxnLst>
              <a:rect l="0" t="0" r="r" b="b"/>
              <a:pathLst>
                <a:path w="292" h="301">
                  <a:moveTo>
                    <a:pt x="124" y="0"/>
                  </a:moveTo>
                  <a:lnTo>
                    <a:pt x="0" y="110"/>
                  </a:lnTo>
                  <a:lnTo>
                    <a:pt x="168" y="301"/>
                  </a:lnTo>
                  <a:lnTo>
                    <a:pt x="292" y="191"/>
                  </a:lnTo>
                  <a:lnTo>
                    <a:pt x="124" y="0"/>
                  </a:lnTo>
                  <a:close/>
                </a:path>
              </a:pathLst>
            </a:custGeom>
            <a:solidFill>
              <a:srgbClr val="D86D91"/>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94" name="Freeform 35">
              <a:extLst>
                <a:ext uri="{FF2B5EF4-FFF2-40B4-BE49-F238E27FC236}">
                  <a16:creationId xmlns:a16="http://schemas.microsoft.com/office/drawing/2014/main" id="{CA58A489-DB31-457D-AA16-E4337FD7B472}"/>
                </a:ext>
              </a:extLst>
            </p:cNvPr>
            <p:cNvSpPr>
              <a:spLocks/>
            </p:cNvSpPr>
            <p:nvPr/>
          </p:nvSpPr>
          <p:spPr bwMode="auto">
            <a:xfrm>
              <a:off x="6209506" y="3442494"/>
              <a:ext cx="295275" cy="285750"/>
            </a:xfrm>
            <a:custGeom>
              <a:avLst/>
              <a:gdLst>
                <a:gd name="T0" fmla="*/ 186 w 186"/>
                <a:gd name="T1" fmla="*/ 70 h 180"/>
                <a:gd name="T2" fmla="*/ 61 w 186"/>
                <a:gd name="T3" fmla="*/ 180 h 180"/>
                <a:gd name="T4" fmla="*/ 0 w 186"/>
                <a:gd name="T5" fmla="*/ 110 h 180"/>
                <a:gd name="T6" fmla="*/ 124 w 186"/>
                <a:gd name="T7" fmla="*/ 0 h 180"/>
                <a:gd name="T8" fmla="*/ 186 w 186"/>
                <a:gd name="T9" fmla="*/ 70 h 180"/>
              </a:gdLst>
              <a:ahLst/>
              <a:cxnLst>
                <a:cxn ang="0">
                  <a:pos x="T0" y="T1"/>
                </a:cxn>
                <a:cxn ang="0">
                  <a:pos x="T2" y="T3"/>
                </a:cxn>
                <a:cxn ang="0">
                  <a:pos x="T4" y="T5"/>
                </a:cxn>
                <a:cxn ang="0">
                  <a:pos x="T6" y="T7"/>
                </a:cxn>
                <a:cxn ang="0">
                  <a:pos x="T8" y="T9"/>
                </a:cxn>
              </a:cxnLst>
              <a:rect l="0" t="0" r="r" b="b"/>
              <a:pathLst>
                <a:path w="186" h="180">
                  <a:moveTo>
                    <a:pt x="186" y="70"/>
                  </a:moveTo>
                  <a:lnTo>
                    <a:pt x="61" y="180"/>
                  </a:lnTo>
                  <a:lnTo>
                    <a:pt x="0" y="110"/>
                  </a:lnTo>
                  <a:lnTo>
                    <a:pt x="124" y="0"/>
                  </a:lnTo>
                  <a:lnTo>
                    <a:pt x="186" y="70"/>
                  </a:lnTo>
                  <a:close/>
                </a:path>
              </a:pathLst>
            </a:custGeom>
            <a:solidFill>
              <a:srgbClr val="437BBF"/>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95" name="Freeform 36">
              <a:extLst>
                <a:ext uri="{FF2B5EF4-FFF2-40B4-BE49-F238E27FC236}">
                  <a16:creationId xmlns:a16="http://schemas.microsoft.com/office/drawing/2014/main" id="{49566EAC-941E-4175-AD9D-4752B6A39AEB}"/>
                </a:ext>
              </a:extLst>
            </p:cNvPr>
            <p:cNvSpPr>
              <a:spLocks noEditPoints="1"/>
            </p:cNvSpPr>
            <p:nvPr/>
          </p:nvSpPr>
          <p:spPr bwMode="auto">
            <a:xfrm>
              <a:off x="4239419" y="4534694"/>
              <a:ext cx="3562350" cy="585788"/>
            </a:xfrm>
            <a:custGeom>
              <a:avLst/>
              <a:gdLst>
                <a:gd name="T0" fmla="*/ 1970 w 2020"/>
                <a:gd name="T1" fmla="*/ 0 h 332"/>
                <a:gd name="T2" fmla="*/ 0 w 2020"/>
                <a:gd name="T3" fmla="*/ 0 h 332"/>
                <a:gd name="T4" fmla="*/ 0 w 2020"/>
                <a:gd name="T5" fmla="*/ 332 h 332"/>
                <a:gd name="T6" fmla="*/ 1970 w 2020"/>
                <a:gd name="T7" fmla="*/ 332 h 332"/>
                <a:gd name="T8" fmla="*/ 2020 w 2020"/>
                <a:gd name="T9" fmla="*/ 166 h 332"/>
                <a:gd name="T10" fmla="*/ 1970 w 2020"/>
                <a:gd name="T11" fmla="*/ 0 h 332"/>
                <a:gd name="T12" fmla="*/ 1879 w 2020"/>
                <a:gd name="T13" fmla="*/ 226 h 332"/>
                <a:gd name="T14" fmla="*/ 1819 w 2020"/>
                <a:gd name="T15" fmla="*/ 166 h 332"/>
                <a:gd name="T16" fmla="*/ 1879 w 2020"/>
                <a:gd name="T17" fmla="*/ 106 h 332"/>
                <a:gd name="T18" fmla="*/ 1939 w 2020"/>
                <a:gd name="T19" fmla="*/ 166 h 332"/>
                <a:gd name="T20" fmla="*/ 1879 w 2020"/>
                <a:gd name="T21" fmla="*/ 226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20" h="332">
                  <a:moveTo>
                    <a:pt x="1970" y="0"/>
                  </a:moveTo>
                  <a:cubicBezTo>
                    <a:pt x="0" y="0"/>
                    <a:pt x="0" y="0"/>
                    <a:pt x="0" y="0"/>
                  </a:cubicBezTo>
                  <a:cubicBezTo>
                    <a:pt x="0" y="332"/>
                    <a:pt x="0" y="332"/>
                    <a:pt x="0" y="332"/>
                  </a:cubicBezTo>
                  <a:cubicBezTo>
                    <a:pt x="1970" y="332"/>
                    <a:pt x="1970" y="332"/>
                    <a:pt x="1970" y="332"/>
                  </a:cubicBezTo>
                  <a:cubicBezTo>
                    <a:pt x="1997" y="332"/>
                    <a:pt x="2020" y="258"/>
                    <a:pt x="2020" y="166"/>
                  </a:cubicBezTo>
                  <a:cubicBezTo>
                    <a:pt x="2020" y="75"/>
                    <a:pt x="1997" y="0"/>
                    <a:pt x="1970" y="0"/>
                  </a:cubicBezTo>
                  <a:close/>
                  <a:moveTo>
                    <a:pt x="1879" y="226"/>
                  </a:moveTo>
                  <a:cubicBezTo>
                    <a:pt x="1846" y="226"/>
                    <a:pt x="1819" y="199"/>
                    <a:pt x="1819" y="166"/>
                  </a:cubicBezTo>
                  <a:cubicBezTo>
                    <a:pt x="1819" y="133"/>
                    <a:pt x="1846" y="106"/>
                    <a:pt x="1879" y="106"/>
                  </a:cubicBezTo>
                  <a:cubicBezTo>
                    <a:pt x="1912" y="106"/>
                    <a:pt x="1939" y="133"/>
                    <a:pt x="1939" y="166"/>
                  </a:cubicBezTo>
                  <a:cubicBezTo>
                    <a:pt x="1939" y="199"/>
                    <a:pt x="1912" y="226"/>
                    <a:pt x="1879" y="226"/>
                  </a:cubicBezTo>
                  <a:close/>
                </a:path>
              </a:pathLst>
            </a:custGeom>
            <a:solidFill>
              <a:srgbClr val="424242">
                <a:alpha val="20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96" name="Freeform 37">
              <a:extLst>
                <a:ext uri="{FF2B5EF4-FFF2-40B4-BE49-F238E27FC236}">
                  <a16:creationId xmlns:a16="http://schemas.microsoft.com/office/drawing/2014/main" id="{6B1F44A6-C845-40A0-9CA2-3CE8716C0C35}"/>
                </a:ext>
              </a:extLst>
            </p:cNvPr>
            <p:cNvSpPr>
              <a:spLocks noEditPoints="1"/>
            </p:cNvSpPr>
            <p:nvPr/>
          </p:nvSpPr>
          <p:spPr bwMode="auto">
            <a:xfrm>
              <a:off x="4274344" y="4479131"/>
              <a:ext cx="3562350" cy="585788"/>
            </a:xfrm>
            <a:custGeom>
              <a:avLst/>
              <a:gdLst>
                <a:gd name="T0" fmla="*/ 1970 w 2020"/>
                <a:gd name="T1" fmla="*/ 0 h 332"/>
                <a:gd name="T2" fmla="*/ 0 w 2020"/>
                <a:gd name="T3" fmla="*/ 0 h 332"/>
                <a:gd name="T4" fmla="*/ 0 w 2020"/>
                <a:gd name="T5" fmla="*/ 332 h 332"/>
                <a:gd name="T6" fmla="*/ 1970 w 2020"/>
                <a:gd name="T7" fmla="*/ 332 h 332"/>
                <a:gd name="T8" fmla="*/ 2020 w 2020"/>
                <a:gd name="T9" fmla="*/ 166 h 332"/>
                <a:gd name="T10" fmla="*/ 1970 w 2020"/>
                <a:gd name="T11" fmla="*/ 0 h 332"/>
                <a:gd name="T12" fmla="*/ 1879 w 2020"/>
                <a:gd name="T13" fmla="*/ 226 h 332"/>
                <a:gd name="T14" fmla="*/ 1819 w 2020"/>
                <a:gd name="T15" fmla="*/ 166 h 332"/>
                <a:gd name="T16" fmla="*/ 1879 w 2020"/>
                <a:gd name="T17" fmla="*/ 106 h 332"/>
                <a:gd name="T18" fmla="*/ 1939 w 2020"/>
                <a:gd name="T19" fmla="*/ 166 h 332"/>
                <a:gd name="T20" fmla="*/ 1879 w 2020"/>
                <a:gd name="T21" fmla="*/ 226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20" h="332">
                  <a:moveTo>
                    <a:pt x="1970" y="0"/>
                  </a:moveTo>
                  <a:cubicBezTo>
                    <a:pt x="0" y="0"/>
                    <a:pt x="0" y="0"/>
                    <a:pt x="0" y="0"/>
                  </a:cubicBezTo>
                  <a:cubicBezTo>
                    <a:pt x="0" y="332"/>
                    <a:pt x="0" y="332"/>
                    <a:pt x="0" y="332"/>
                  </a:cubicBezTo>
                  <a:cubicBezTo>
                    <a:pt x="1970" y="332"/>
                    <a:pt x="1970" y="332"/>
                    <a:pt x="1970" y="332"/>
                  </a:cubicBezTo>
                  <a:cubicBezTo>
                    <a:pt x="1997" y="332"/>
                    <a:pt x="2020" y="258"/>
                    <a:pt x="2020" y="166"/>
                  </a:cubicBezTo>
                  <a:cubicBezTo>
                    <a:pt x="2020" y="75"/>
                    <a:pt x="1997" y="0"/>
                    <a:pt x="1970" y="0"/>
                  </a:cubicBezTo>
                  <a:close/>
                  <a:moveTo>
                    <a:pt x="1879" y="226"/>
                  </a:moveTo>
                  <a:cubicBezTo>
                    <a:pt x="1846" y="226"/>
                    <a:pt x="1819" y="199"/>
                    <a:pt x="1819" y="166"/>
                  </a:cubicBezTo>
                  <a:cubicBezTo>
                    <a:pt x="1819" y="133"/>
                    <a:pt x="1846" y="106"/>
                    <a:pt x="1879" y="106"/>
                  </a:cubicBezTo>
                  <a:cubicBezTo>
                    <a:pt x="1912" y="106"/>
                    <a:pt x="1939" y="133"/>
                    <a:pt x="1939" y="166"/>
                  </a:cubicBezTo>
                  <a:cubicBezTo>
                    <a:pt x="1939" y="199"/>
                    <a:pt x="1912" y="226"/>
                    <a:pt x="1879" y="226"/>
                  </a:cubicBezTo>
                  <a:close/>
                </a:path>
              </a:pathLst>
            </a:custGeom>
            <a:solidFill>
              <a:srgbClr val="00B3E7"/>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97" name="Freeform 38">
              <a:extLst>
                <a:ext uri="{FF2B5EF4-FFF2-40B4-BE49-F238E27FC236}">
                  <a16:creationId xmlns:a16="http://schemas.microsoft.com/office/drawing/2014/main" id="{E486D492-7E22-41C3-B698-65C56A1190FD}"/>
                </a:ext>
              </a:extLst>
            </p:cNvPr>
            <p:cNvSpPr>
              <a:spLocks/>
            </p:cNvSpPr>
            <p:nvPr/>
          </p:nvSpPr>
          <p:spPr bwMode="auto">
            <a:xfrm>
              <a:off x="4274344" y="4771231"/>
              <a:ext cx="3562350" cy="293688"/>
            </a:xfrm>
            <a:custGeom>
              <a:avLst/>
              <a:gdLst>
                <a:gd name="T0" fmla="*/ 1939 w 2020"/>
                <a:gd name="T1" fmla="*/ 0 h 166"/>
                <a:gd name="T2" fmla="*/ 1879 w 2020"/>
                <a:gd name="T3" fmla="*/ 60 h 166"/>
                <a:gd name="T4" fmla="*/ 1819 w 2020"/>
                <a:gd name="T5" fmla="*/ 0 h 166"/>
                <a:gd name="T6" fmla="*/ 0 w 2020"/>
                <a:gd name="T7" fmla="*/ 0 h 166"/>
                <a:gd name="T8" fmla="*/ 0 w 2020"/>
                <a:gd name="T9" fmla="*/ 166 h 166"/>
                <a:gd name="T10" fmla="*/ 1970 w 2020"/>
                <a:gd name="T11" fmla="*/ 166 h 166"/>
                <a:gd name="T12" fmla="*/ 2020 w 2020"/>
                <a:gd name="T13" fmla="*/ 0 h 166"/>
                <a:gd name="T14" fmla="*/ 1939 w 2020"/>
                <a:gd name="T15" fmla="*/ 0 h 1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20" h="166">
                  <a:moveTo>
                    <a:pt x="1939" y="0"/>
                  </a:moveTo>
                  <a:cubicBezTo>
                    <a:pt x="1939" y="33"/>
                    <a:pt x="1912" y="60"/>
                    <a:pt x="1879" y="60"/>
                  </a:cubicBezTo>
                  <a:cubicBezTo>
                    <a:pt x="1846" y="60"/>
                    <a:pt x="1819" y="33"/>
                    <a:pt x="1819" y="0"/>
                  </a:cubicBezTo>
                  <a:cubicBezTo>
                    <a:pt x="0" y="0"/>
                    <a:pt x="0" y="0"/>
                    <a:pt x="0" y="0"/>
                  </a:cubicBezTo>
                  <a:cubicBezTo>
                    <a:pt x="0" y="166"/>
                    <a:pt x="0" y="166"/>
                    <a:pt x="0" y="166"/>
                  </a:cubicBezTo>
                  <a:cubicBezTo>
                    <a:pt x="1970" y="166"/>
                    <a:pt x="1970" y="166"/>
                    <a:pt x="1970" y="166"/>
                  </a:cubicBezTo>
                  <a:cubicBezTo>
                    <a:pt x="1997" y="166"/>
                    <a:pt x="2020" y="92"/>
                    <a:pt x="2020" y="0"/>
                  </a:cubicBezTo>
                  <a:lnTo>
                    <a:pt x="1939" y="0"/>
                  </a:lnTo>
                  <a:close/>
                </a:path>
              </a:pathLst>
            </a:custGeom>
            <a:solidFill>
              <a:srgbClr val="316296"/>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98" name="Freeform 39">
              <a:extLst>
                <a:ext uri="{FF2B5EF4-FFF2-40B4-BE49-F238E27FC236}">
                  <a16:creationId xmlns:a16="http://schemas.microsoft.com/office/drawing/2014/main" id="{08C5A58C-A871-46FA-96FB-2787AB226773}"/>
                </a:ext>
              </a:extLst>
            </p:cNvPr>
            <p:cNvSpPr>
              <a:spLocks/>
            </p:cNvSpPr>
            <p:nvPr/>
          </p:nvSpPr>
          <p:spPr bwMode="auto">
            <a:xfrm>
              <a:off x="4506119" y="4152106"/>
              <a:ext cx="1322388" cy="1589088"/>
            </a:xfrm>
            <a:custGeom>
              <a:avLst/>
              <a:gdLst>
                <a:gd name="T0" fmla="*/ 141 w 750"/>
                <a:gd name="T1" fmla="*/ 87 h 901"/>
                <a:gd name="T2" fmla="*/ 35 w 750"/>
                <a:gd name="T3" fmla="*/ 20 h 901"/>
                <a:gd name="T4" fmla="*/ 35 w 750"/>
                <a:gd name="T5" fmla="*/ 20 h 901"/>
                <a:gd name="T6" fmla="*/ 6 w 750"/>
                <a:gd name="T7" fmla="*/ 1 h 901"/>
                <a:gd name="T8" fmla="*/ 2 w 750"/>
                <a:gd name="T9" fmla="*/ 5 h 901"/>
                <a:gd name="T10" fmla="*/ 62 w 750"/>
                <a:gd name="T11" fmla="*/ 151 h 901"/>
                <a:gd name="T12" fmla="*/ 671 w 750"/>
                <a:gd name="T13" fmla="*/ 901 h 901"/>
                <a:gd name="T14" fmla="*/ 750 w 750"/>
                <a:gd name="T15" fmla="*/ 837 h 901"/>
                <a:gd name="T16" fmla="*/ 141 w 750"/>
                <a:gd name="T17" fmla="*/ 87 h 9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0" h="901">
                  <a:moveTo>
                    <a:pt x="141" y="87"/>
                  </a:moveTo>
                  <a:cubicBezTo>
                    <a:pt x="35" y="20"/>
                    <a:pt x="35" y="20"/>
                    <a:pt x="35" y="20"/>
                  </a:cubicBezTo>
                  <a:cubicBezTo>
                    <a:pt x="35" y="20"/>
                    <a:pt x="35" y="20"/>
                    <a:pt x="35" y="20"/>
                  </a:cubicBezTo>
                  <a:cubicBezTo>
                    <a:pt x="6" y="1"/>
                    <a:pt x="6" y="1"/>
                    <a:pt x="6" y="1"/>
                  </a:cubicBezTo>
                  <a:cubicBezTo>
                    <a:pt x="4" y="0"/>
                    <a:pt x="0" y="2"/>
                    <a:pt x="2" y="5"/>
                  </a:cubicBezTo>
                  <a:cubicBezTo>
                    <a:pt x="62" y="151"/>
                    <a:pt x="62" y="151"/>
                    <a:pt x="62" y="151"/>
                  </a:cubicBezTo>
                  <a:cubicBezTo>
                    <a:pt x="671" y="901"/>
                    <a:pt x="671" y="901"/>
                    <a:pt x="671" y="901"/>
                  </a:cubicBezTo>
                  <a:cubicBezTo>
                    <a:pt x="750" y="837"/>
                    <a:pt x="750" y="837"/>
                    <a:pt x="750" y="837"/>
                  </a:cubicBezTo>
                  <a:lnTo>
                    <a:pt x="141" y="87"/>
                  </a:lnTo>
                  <a:close/>
                </a:path>
              </a:pathLst>
            </a:custGeom>
            <a:solidFill>
              <a:srgbClr val="424242">
                <a:alpha val="20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99" name="Freeform 40">
              <a:extLst>
                <a:ext uri="{FF2B5EF4-FFF2-40B4-BE49-F238E27FC236}">
                  <a16:creationId xmlns:a16="http://schemas.microsoft.com/office/drawing/2014/main" id="{1F564433-2FE1-4F6D-9F25-CC167FF79846}"/>
                </a:ext>
              </a:extLst>
            </p:cNvPr>
            <p:cNvSpPr>
              <a:spLocks/>
            </p:cNvSpPr>
            <p:nvPr/>
          </p:nvSpPr>
          <p:spPr bwMode="auto">
            <a:xfrm>
              <a:off x="4615656" y="4256881"/>
              <a:ext cx="1212850" cy="1435100"/>
            </a:xfrm>
            <a:custGeom>
              <a:avLst/>
              <a:gdLst>
                <a:gd name="T0" fmla="*/ 764 w 764"/>
                <a:gd name="T1" fmla="*/ 833 h 904"/>
                <a:gd name="T2" fmla="*/ 676 w 764"/>
                <a:gd name="T3" fmla="*/ 904 h 904"/>
                <a:gd name="T4" fmla="*/ 0 w 764"/>
                <a:gd name="T5" fmla="*/ 71 h 904"/>
                <a:gd name="T6" fmla="*/ 87 w 764"/>
                <a:gd name="T7" fmla="*/ 0 h 904"/>
                <a:gd name="T8" fmla="*/ 764 w 764"/>
                <a:gd name="T9" fmla="*/ 833 h 904"/>
              </a:gdLst>
              <a:ahLst/>
              <a:cxnLst>
                <a:cxn ang="0">
                  <a:pos x="T0" y="T1"/>
                </a:cxn>
                <a:cxn ang="0">
                  <a:pos x="T2" y="T3"/>
                </a:cxn>
                <a:cxn ang="0">
                  <a:pos x="T4" y="T5"/>
                </a:cxn>
                <a:cxn ang="0">
                  <a:pos x="T6" y="T7"/>
                </a:cxn>
                <a:cxn ang="0">
                  <a:pos x="T8" y="T9"/>
                </a:cxn>
              </a:cxnLst>
              <a:rect l="0" t="0" r="r" b="b"/>
              <a:pathLst>
                <a:path w="764" h="904">
                  <a:moveTo>
                    <a:pt x="764" y="833"/>
                  </a:moveTo>
                  <a:lnTo>
                    <a:pt x="676" y="904"/>
                  </a:lnTo>
                  <a:lnTo>
                    <a:pt x="0" y="71"/>
                  </a:lnTo>
                  <a:lnTo>
                    <a:pt x="87" y="0"/>
                  </a:lnTo>
                  <a:lnTo>
                    <a:pt x="764" y="833"/>
                  </a:lnTo>
                  <a:close/>
                </a:path>
              </a:pathLst>
            </a:custGeom>
            <a:solidFill>
              <a:srgbClr val="3D5D91"/>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00" name="Freeform 41">
              <a:extLst>
                <a:ext uri="{FF2B5EF4-FFF2-40B4-BE49-F238E27FC236}">
                  <a16:creationId xmlns:a16="http://schemas.microsoft.com/office/drawing/2014/main" id="{E4001DB8-CB17-4A5B-A72B-1D4CFD94FC3E}"/>
                </a:ext>
              </a:extLst>
            </p:cNvPr>
            <p:cNvSpPr>
              <a:spLocks/>
            </p:cNvSpPr>
            <p:nvPr/>
          </p:nvSpPr>
          <p:spPr bwMode="auto">
            <a:xfrm>
              <a:off x="4656931" y="4291806"/>
              <a:ext cx="1127125" cy="1365250"/>
            </a:xfrm>
            <a:custGeom>
              <a:avLst/>
              <a:gdLst>
                <a:gd name="T0" fmla="*/ 710 w 710"/>
                <a:gd name="T1" fmla="*/ 833 h 860"/>
                <a:gd name="T2" fmla="*/ 677 w 710"/>
                <a:gd name="T3" fmla="*/ 860 h 860"/>
                <a:gd name="T4" fmla="*/ 0 w 710"/>
                <a:gd name="T5" fmla="*/ 27 h 860"/>
                <a:gd name="T6" fmla="*/ 34 w 710"/>
                <a:gd name="T7" fmla="*/ 0 h 860"/>
                <a:gd name="T8" fmla="*/ 710 w 710"/>
                <a:gd name="T9" fmla="*/ 833 h 860"/>
              </a:gdLst>
              <a:ahLst/>
              <a:cxnLst>
                <a:cxn ang="0">
                  <a:pos x="T0" y="T1"/>
                </a:cxn>
                <a:cxn ang="0">
                  <a:pos x="T2" y="T3"/>
                </a:cxn>
                <a:cxn ang="0">
                  <a:pos x="T4" y="T5"/>
                </a:cxn>
                <a:cxn ang="0">
                  <a:pos x="T6" y="T7"/>
                </a:cxn>
                <a:cxn ang="0">
                  <a:pos x="T8" y="T9"/>
                </a:cxn>
              </a:cxnLst>
              <a:rect l="0" t="0" r="r" b="b"/>
              <a:pathLst>
                <a:path w="710" h="860">
                  <a:moveTo>
                    <a:pt x="710" y="833"/>
                  </a:moveTo>
                  <a:lnTo>
                    <a:pt x="677" y="860"/>
                  </a:lnTo>
                  <a:lnTo>
                    <a:pt x="0" y="27"/>
                  </a:lnTo>
                  <a:lnTo>
                    <a:pt x="34" y="0"/>
                  </a:lnTo>
                  <a:lnTo>
                    <a:pt x="710" y="833"/>
                  </a:lnTo>
                  <a:close/>
                </a:path>
              </a:pathLst>
            </a:custGeom>
            <a:solidFill>
              <a:srgbClr val="00B3E7"/>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01" name="Freeform 42">
              <a:extLst>
                <a:ext uri="{FF2B5EF4-FFF2-40B4-BE49-F238E27FC236}">
                  <a16:creationId xmlns:a16="http://schemas.microsoft.com/office/drawing/2014/main" id="{22DCBAC0-C25A-4759-9586-BED7106269DC}"/>
                </a:ext>
              </a:extLst>
            </p:cNvPr>
            <p:cNvSpPr>
              <a:spLocks/>
            </p:cNvSpPr>
            <p:nvPr/>
          </p:nvSpPr>
          <p:spPr bwMode="auto">
            <a:xfrm>
              <a:off x="4506119" y="4102894"/>
              <a:ext cx="247650" cy="266700"/>
            </a:xfrm>
            <a:custGeom>
              <a:avLst/>
              <a:gdLst>
                <a:gd name="T0" fmla="*/ 2 w 141"/>
                <a:gd name="T1" fmla="*/ 5 h 151"/>
                <a:gd name="T2" fmla="*/ 62 w 141"/>
                <a:gd name="T3" fmla="*/ 151 h 151"/>
                <a:gd name="T4" fmla="*/ 141 w 141"/>
                <a:gd name="T5" fmla="*/ 87 h 151"/>
                <a:gd name="T6" fmla="*/ 6 w 141"/>
                <a:gd name="T7" fmla="*/ 1 h 151"/>
                <a:gd name="T8" fmla="*/ 2 w 141"/>
                <a:gd name="T9" fmla="*/ 5 h 151"/>
              </a:gdLst>
              <a:ahLst/>
              <a:cxnLst>
                <a:cxn ang="0">
                  <a:pos x="T0" y="T1"/>
                </a:cxn>
                <a:cxn ang="0">
                  <a:pos x="T2" y="T3"/>
                </a:cxn>
                <a:cxn ang="0">
                  <a:pos x="T4" y="T5"/>
                </a:cxn>
                <a:cxn ang="0">
                  <a:pos x="T6" y="T7"/>
                </a:cxn>
                <a:cxn ang="0">
                  <a:pos x="T8" y="T9"/>
                </a:cxn>
              </a:cxnLst>
              <a:rect l="0" t="0" r="r" b="b"/>
              <a:pathLst>
                <a:path w="141" h="151">
                  <a:moveTo>
                    <a:pt x="2" y="5"/>
                  </a:moveTo>
                  <a:cubicBezTo>
                    <a:pt x="62" y="151"/>
                    <a:pt x="62" y="151"/>
                    <a:pt x="62" y="151"/>
                  </a:cubicBezTo>
                  <a:cubicBezTo>
                    <a:pt x="141" y="87"/>
                    <a:pt x="141" y="87"/>
                    <a:pt x="141" y="87"/>
                  </a:cubicBezTo>
                  <a:cubicBezTo>
                    <a:pt x="6" y="1"/>
                    <a:pt x="6" y="1"/>
                    <a:pt x="6" y="1"/>
                  </a:cubicBezTo>
                  <a:cubicBezTo>
                    <a:pt x="4" y="0"/>
                    <a:pt x="0" y="2"/>
                    <a:pt x="2" y="5"/>
                  </a:cubicBezTo>
                  <a:close/>
                </a:path>
              </a:pathLst>
            </a:custGeom>
            <a:solidFill>
              <a:srgbClr val="D37187"/>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02" name="Freeform 43">
              <a:extLst>
                <a:ext uri="{FF2B5EF4-FFF2-40B4-BE49-F238E27FC236}">
                  <a16:creationId xmlns:a16="http://schemas.microsoft.com/office/drawing/2014/main" id="{1E50C827-9D70-4CB1-B4E3-6EC819A25410}"/>
                </a:ext>
              </a:extLst>
            </p:cNvPr>
            <p:cNvSpPr>
              <a:spLocks/>
            </p:cNvSpPr>
            <p:nvPr/>
          </p:nvSpPr>
          <p:spPr bwMode="auto">
            <a:xfrm>
              <a:off x="4506119" y="4102894"/>
              <a:ext cx="61913" cy="66675"/>
            </a:xfrm>
            <a:custGeom>
              <a:avLst/>
              <a:gdLst>
                <a:gd name="T0" fmla="*/ 35 w 35"/>
                <a:gd name="T1" fmla="*/ 20 h 38"/>
                <a:gd name="T2" fmla="*/ 6 w 35"/>
                <a:gd name="T3" fmla="*/ 1 h 38"/>
                <a:gd name="T4" fmla="*/ 2 w 35"/>
                <a:gd name="T5" fmla="*/ 5 h 38"/>
                <a:gd name="T6" fmla="*/ 15 w 35"/>
                <a:gd name="T7" fmla="*/ 38 h 38"/>
                <a:gd name="T8" fmla="*/ 35 w 35"/>
                <a:gd name="T9" fmla="*/ 20 h 38"/>
              </a:gdLst>
              <a:ahLst/>
              <a:cxnLst>
                <a:cxn ang="0">
                  <a:pos x="T0" y="T1"/>
                </a:cxn>
                <a:cxn ang="0">
                  <a:pos x="T2" y="T3"/>
                </a:cxn>
                <a:cxn ang="0">
                  <a:pos x="T4" y="T5"/>
                </a:cxn>
                <a:cxn ang="0">
                  <a:pos x="T6" y="T7"/>
                </a:cxn>
                <a:cxn ang="0">
                  <a:pos x="T8" y="T9"/>
                </a:cxn>
              </a:cxnLst>
              <a:rect l="0" t="0" r="r" b="b"/>
              <a:pathLst>
                <a:path w="35" h="38">
                  <a:moveTo>
                    <a:pt x="35" y="20"/>
                  </a:moveTo>
                  <a:cubicBezTo>
                    <a:pt x="6" y="1"/>
                    <a:pt x="6" y="1"/>
                    <a:pt x="6" y="1"/>
                  </a:cubicBezTo>
                  <a:cubicBezTo>
                    <a:pt x="4" y="0"/>
                    <a:pt x="0" y="2"/>
                    <a:pt x="2" y="5"/>
                  </a:cubicBezTo>
                  <a:cubicBezTo>
                    <a:pt x="15" y="38"/>
                    <a:pt x="15" y="38"/>
                    <a:pt x="15" y="38"/>
                  </a:cubicBezTo>
                  <a:lnTo>
                    <a:pt x="35" y="20"/>
                  </a:lnTo>
                  <a:close/>
                </a:path>
              </a:pathLst>
            </a:custGeom>
            <a:solidFill>
              <a:srgbClr val="3D5D91"/>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03" name="Freeform 44">
              <a:extLst>
                <a:ext uri="{FF2B5EF4-FFF2-40B4-BE49-F238E27FC236}">
                  <a16:creationId xmlns:a16="http://schemas.microsoft.com/office/drawing/2014/main" id="{D8F0EA15-5FF0-42C9-89EE-75E75518CA9C}"/>
                </a:ext>
              </a:extLst>
            </p:cNvPr>
            <p:cNvSpPr>
              <a:spLocks/>
            </p:cNvSpPr>
            <p:nvPr/>
          </p:nvSpPr>
          <p:spPr bwMode="auto">
            <a:xfrm>
              <a:off x="6315869" y="3950494"/>
              <a:ext cx="604838" cy="1592263"/>
            </a:xfrm>
            <a:custGeom>
              <a:avLst/>
              <a:gdLst>
                <a:gd name="T0" fmla="*/ 285 w 343"/>
                <a:gd name="T1" fmla="*/ 14 h 903"/>
                <a:gd name="T2" fmla="*/ 252 w 343"/>
                <a:gd name="T3" fmla="*/ 129 h 903"/>
                <a:gd name="T4" fmla="*/ 292 w 343"/>
                <a:gd name="T5" fmla="*/ 141 h 903"/>
                <a:gd name="T6" fmla="*/ 330 w 343"/>
                <a:gd name="T7" fmla="*/ 221 h 903"/>
                <a:gd name="T8" fmla="*/ 75 w 343"/>
                <a:gd name="T9" fmla="*/ 865 h 903"/>
                <a:gd name="T10" fmla="*/ 16 w 343"/>
                <a:gd name="T11" fmla="*/ 900 h 903"/>
                <a:gd name="T12" fmla="*/ 0 w 343"/>
                <a:gd name="T13" fmla="*/ 898 h 903"/>
                <a:gd name="T14" fmla="*/ 224 w 343"/>
                <a:gd name="T15" fmla="*/ 0 h 903"/>
                <a:gd name="T16" fmla="*/ 285 w 343"/>
                <a:gd name="T17" fmla="*/ 14 h 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3" h="903">
                  <a:moveTo>
                    <a:pt x="285" y="14"/>
                  </a:moveTo>
                  <a:cubicBezTo>
                    <a:pt x="252" y="129"/>
                    <a:pt x="252" y="129"/>
                    <a:pt x="252" y="129"/>
                  </a:cubicBezTo>
                  <a:cubicBezTo>
                    <a:pt x="292" y="141"/>
                    <a:pt x="292" y="141"/>
                    <a:pt x="292" y="141"/>
                  </a:cubicBezTo>
                  <a:cubicBezTo>
                    <a:pt x="326" y="152"/>
                    <a:pt x="343" y="188"/>
                    <a:pt x="330" y="221"/>
                  </a:cubicBezTo>
                  <a:cubicBezTo>
                    <a:pt x="75" y="865"/>
                    <a:pt x="75" y="865"/>
                    <a:pt x="75" y="865"/>
                  </a:cubicBezTo>
                  <a:cubicBezTo>
                    <a:pt x="65" y="889"/>
                    <a:pt x="41" y="903"/>
                    <a:pt x="16" y="900"/>
                  </a:cubicBezTo>
                  <a:cubicBezTo>
                    <a:pt x="0" y="898"/>
                    <a:pt x="0" y="898"/>
                    <a:pt x="0" y="898"/>
                  </a:cubicBezTo>
                  <a:cubicBezTo>
                    <a:pt x="224" y="0"/>
                    <a:pt x="224" y="0"/>
                    <a:pt x="224" y="0"/>
                  </a:cubicBezTo>
                  <a:lnTo>
                    <a:pt x="285" y="14"/>
                  </a:lnTo>
                  <a:close/>
                </a:path>
              </a:pathLst>
            </a:custGeom>
            <a:solidFill>
              <a:srgbClr val="424242">
                <a:alpha val="20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04" name="Freeform 45">
              <a:extLst>
                <a:ext uri="{FF2B5EF4-FFF2-40B4-BE49-F238E27FC236}">
                  <a16:creationId xmlns:a16="http://schemas.microsoft.com/office/drawing/2014/main" id="{77EA6594-E603-4A5A-841E-EA66DFAC6383}"/>
                </a:ext>
              </a:extLst>
            </p:cNvPr>
            <p:cNvSpPr>
              <a:spLocks noEditPoints="1"/>
            </p:cNvSpPr>
            <p:nvPr/>
          </p:nvSpPr>
          <p:spPr bwMode="auto">
            <a:xfrm>
              <a:off x="6611144" y="3237706"/>
              <a:ext cx="538163" cy="747713"/>
            </a:xfrm>
            <a:custGeom>
              <a:avLst/>
              <a:gdLst>
                <a:gd name="T0" fmla="*/ 305 w 305"/>
                <a:gd name="T1" fmla="*/ 153 h 424"/>
                <a:gd name="T2" fmla="*/ 152 w 305"/>
                <a:gd name="T3" fmla="*/ 0 h 424"/>
                <a:gd name="T4" fmla="*/ 0 w 305"/>
                <a:gd name="T5" fmla="*/ 153 h 424"/>
                <a:gd name="T6" fmla="*/ 74 w 305"/>
                <a:gd name="T7" fmla="*/ 284 h 424"/>
                <a:gd name="T8" fmla="*/ 50 w 305"/>
                <a:gd name="T9" fmla="*/ 395 h 424"/>
                <a:gd name="T10" fmla="*/ 50 w 305"/>
                <a:gd name="T11" fmla="*/ 395 h 424"/>
                <a:gd name="T12" fmla="*/ 50 w 305"/>
                <a:gd name="T13" fmla="*/ 395 h 424"/>
                <a:gd name="T14" fmla="*/ 88 w 305"/>
                <a:gd name="T15" fmla="*/ 419 h 424"/>
                <a:gd name="T16" fmla="*/ 132 w 305"/>
                <a:gd name="T17" fmla="*/ 413 h 424"/>
                <a:gd name="T18" fmla="*/ 132 w 305"/>
                <a:gd name="T19" fmla="*/ 413 h 424"/>
                <a:gd name="T20" fmla="*/ 132 w 305"/>
                <a:gd name="T21" fmla="*/ 413 h 424"/>
                <a:gd name="T22" fmla="*/ 156 w 305"/>
                <a:gd name="T23" fmla="*/ 305 h 424"/>
                <a:gd name="T24" fmla="*/ 305 w 305"/>
                <a:gd name="T25" fmla="*/ 153 h 424"/>
                <a:gd name="T26" fmla="*/ 152 w 305"/>
                <a:gd name="T27" fmla="*/ 229 h 424"/>
                <a:gd name="T28" fmla="*/ 76 w 305"/>
                <a:gd name="T29" fmla="*/ 153 h 424"/>
                <a:gd name="T30" fmla="*/ 152 w 305"/>
                <a:gd name="T31" fmla="*/ 77 h 424"/>
                <a:gd name="T32" fmla="*/ 228 w 305"/>
                <a:gd name="T33" fmla="*/ 153 h 424"/>
                <a:gd name="T34" fmla="*/ 152 w 305"/>
                <a:gd name="T35" fmla="*/ 229 h 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5" h="424">
                  <a:moveTo>
                    <a:pt x="305" y="153"/>
                  </a:moveTo>
                  <a:cubicBezTo>
                    <a:pt x="305" y="68"/>
                    <a:pt x="237" y="0"/>
                    <a:pt x="152" y="0"/>
                  </a:cubicBezTo>
                  <a:cubicBezTo>
                    <a:pt x="68" y="0"/>
                    <a:pt x="0" y="68"/>
                    <a:pt x="0" y="153"/>
                  </a:cubicBezTo>
                  <a:cubicBezTo>
                    <a:pt x="0" y="208"/>
                    <a:pt x="30" y="257"/>
                    <a:pt x="74" y="284"/>
                  </a:cubicBezTo>
                  <a:cubicBezTo>
                    <a:pt x="50" y="395"/>
                    <a:pt x="50" y="395"/>
                    <a:pt x="50" y="395"/>
                  </a:cubicBezTo>
                  <a:cubicBezTo>
                    <a:pt x="50" y="395"/>
                    <a:pt x="50" y="395"/>
                    <a:pt x="50" y="395"/>
                  </a:cubicBezTo>
                  <a:cubicBezTo>
                    <a:pt x="50" y="395"/>
                    <a:pt x="50" y="395"/>
                    <a:pt x="50" y="395"/>
                  </a:cubicBezTo>
                  <a:cubicBezTo>
                    <a:pt x="48" y="403"/>
                    <a:pt x="65" y="414"/>
                    <a:pt x="88" y="419"/>
                  </a:cubicBezTo>
                  <a:cubicBezTo>
                    <a:pt x="111" y="424"/>
                    <a:pt x="131" y="421"/>
                    <a:pt x="132" y="413"/>
                  </a:cubicBezTo>
                  <a:cubicBezTo>
                    <a:pt x="132" y="413"/>
                    <a:pt x="132" y="413"/>
                    <a:pt x="132" y="413"/>
                  </a:cubicBezTo>
                  <a:cubicBezTo>
                    <a:pt x="132" y="413"/>
                    <a:pt x="132" y="413"/>
                    <a:pt x="132" y="413"/>
                  </a:cubicBezTo>
                  <a:cubicBezTo>
                    <a:pt x="156" y="305"/>
                    <a:pt x="156" y="305"/>
                    <a:pt x="156" y="305"/>
                  </a:cubicBezTo>
                  <a:cubicBezTo>
                    <a:pt x="239" y="303"/>
                    <a:pt x="305" y="235"/>
                    <a:pt x="305" y="153"/>
                  </a:cubicBezTo>
                  <a:close/>
                  <a:moveTo>
                    <a:pt x="152" y="229"/>
                  </a:moveTo>
                  <a:cubicBezTo>
                    <a:pt x="110" y="229"/>
                    <a:pt x="76" y="195"/>
                    <a:pt x="76" y="153"/>
                  </a:cubicBezTo>
                  <a:cubicBezTo>
                    <a:pt x="76" y="111"/>
                    <a:pt x="110" y="77"/>
                    <a:pt x="152" y="77"/>
                  </a:cubicBezTo>
                  <a:cubicBezTo>
                    <a:pt x="194" y="77"/>
                    <a:pt x="228" y="111"/>
                    <a:pt x="228" y="153"/>
                  </a:cubicBezTo>
                  <a:cubicBezTo>
                    <a:pt x="228" y="195"/>
                    <a:pt x="194" y="229"/>
                    <a:pt x="152" y="229"/>
                  </a:cubicBezTo>
                  <a:close/>
                </a:path>
              </a:pathLst>
            </a:custGeom>
            <a:solidFill>
              <a:srgbClr val="424242">
                <a:alpha val="20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05" name="Freeform 46">
              <a:extLst>
                <a:ext uri="{FF2B5EF4-FFF2-40B4-BE49-F238E27FC236}">
                  <a16:creationId xmlns:a16="http://schemas.microsoft.com/office/drawing/2014/main" id="{8F0B6B25-A18E-4C42-8E05-83A37DFB0800}"/>
                </a:ext>
              </a:extLst>
            </p:cNvPr>
            <p:cNvSpPr>
              <a:spLocks/>
            </p:cNvSpPr>
            <p:nvPr/>
          </p:nvSpPr>
          <p:spPr bwMode="auto">
            <a:xfrm>
              <a:off x="5634831" y="4144169"/>
              <a:ext cx="1497013" cy="842963"/>
            </a:xfrm>
            <a:custGeom>
              <a:avLst/>
              <a:gdLst>
                <a:gd name="T0" fmla="*/ 823 w 849"/>
                <a:gd name="T1" fmla="*/ 22 h 478"/>
                <a:gd name="T2" fmla="*/ 717 w 849"/>
                <a:gd name="T3" fmla="*/ 77 h 478"/>
                <a:gd name="T4" fmla="*/ 697 w 849"/>
                <a:gd name="T5" fmla="*/ 40 h 478"/>
                <a:gd name="T6" fmla="*/ 611 w 849"/>
                <a:gd name="T7" fmla="*/ 19 h 478"/>
                <a:gd name="T8" fmla="*/ 31 w 849"/>
                <a:gd name="T9" fmla="*/ 398 h 478"/>
                <a:gd name="T10" fmla="*/ 9 w 849"/>
                <a:gd name="T11" fmla="*/ 463 h 478"/>
                <a:gd name="T12" fmla="*/ 14 w 849"/>
                <a:gd name="T13" fmla="*/ 478 h 478"/>
                <a:gd name="T14" fmla="*/ 849 w 849"/>
                <a:gd name="T15" fmla="*/ 79 h 478"/>
                <a:gd name="T16" fmla="*/ 823 w 849"/>
                <a:gd name="T17" fmla="*/ 22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9" h="478">
                  <a:moveTo>
                    <a:pt x="823" y="22"/>
                  </a:moveTo>
                  <a:cubicBezTo>
                    <a:pt x="717" y="77"/>
                    <a:pt x="717" y="77"/>
                    <a:pt x="717" y="77"/>
                  </a:cubicBezTo>
                  <a:cubicBezTo>
                    <a:pt x="697" y="40"/>
                    <a:pt x="697" y="40"/>
                    <a:pt x="697" y="40"/>
                  </a:cubicBezTo>
                  <a:cubicBezTo>
                    <a:pt x="680" y="10"/>
                    <a:pt x="641" y="0"/>
                    <a:pt x="611" y="19"/>
                  </a:cubicBezTo>
                  <a:cubicBezTo>
                    <a:pt x="31" y="398"/>
                    <a:pt x="31" y="398"/>
                    <a:pt x="31" y="398"/>
                  </a:cubicBezTo>
                  <a:cubicBezTo>
                    <a:pt x="10" y="412"/>
                    <a:pt x="0" y="438"/>
                    <a:pt x="9" y="463"/>
                  </a:cubicBezTo>
                  <a:cubicBezTo>
                    <a:pt x="14" y="478"/>
                    <a:pt x="14" y="478"/>
                    <a:pt x="14" y="478"/>
                  </a:cubicBezTo>
                  <a:cubicBezTo>
                    <a:pt x="849" y="79"/>
                    <a:pt x="849" y="79"/>
                    <a:pt x="849" y="79"/>
                  </a:cubicBezTo>
                  <a:lnTo>
                    <a:pt x="823" y="22"/>
                  </a:lnTo>
                  <a:close/>
                </a:path>
              </a:pathLst>
            </a:custGeom>
            <a:solidFill>
              <a:srgbClr val="4242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06" name="Oval 47">
              <a:extLst>
                <a:ext uri="{FF2B5EF4-FFF2-40B4-BE49-F238E27FC236}">
                  <a16:creationId xmlns:a16="http://schemas.microsoft.com/office/drawing/2014/main" id="{2160CCCC-85FF-452F-AC1D-A8597035BE3B}"/>
                </a:ext>
              </a:extLst>
            </p:cNvPr>
            <p:cNvSpPr>
              <a:spLocks noChangeArrowheads="1"/>
            </p:cNvSpPr>
            <p:nvPr/>
          </p:nvSpPr>
          <p:spPr bwMode="auto">
            <a:xfrm>
              <a:off x="6711156" y="4255294"/>
              <a:ext cx="119063" cy="119063"/>
            </a:xfrm>
            <a:prstGeom prst="ellipse">
              <a:avLst/>
            </a:prstGeom>
            <a:solidFill>
              <a:srgbClr val="4242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07" name="Freeform 48">
              <a:extLst>
                <a:ext uri="{FF2B5EF4-FFF2-40B4-BE49-F238E27FC236}">
                  <a16:creationId xmlns:a16="http://schemas.microsoft.com/office/drawing/2014/main" id="{B6B82289-1B9C-4B0A-BEB0-047CCADCCB39}"/>
                </a:ext>
              </a:extLst>
            </p:cNvPr>
            <p:cNvSpPr>
              <a:spLocks noEditPoints="1"/>
            </p:cNvSpPr>
            <p:nvPr/>
          </p:nvSpPr>
          <p:spPr bwMode="auto">
            <a:xfrm>
              <a:off x="7079456" y="3734594"/>
              <a:ext cx="762000" cy="603250"/>
            </a:xfrm>
            <a:custGeom>
              <a:avLst/>
              <a:gdLst>
                <a:gd name="T0" fmla="*/ 356 w 432"/>
                <a:gd name="T1" fmla="*/ 291 h 342"/>
                <a:gd name="T2" fmla="*/ 380 w 432"/>
                <a:gd name="T3" fmla="*/ 76 h 342"/>
                <a:gd name="T4" fmla="*/ 166 w 432"/>
                <a:gd name="T5" fmla="*/ 52 h 342"/>
                <a:gd name="T6" fmla="*/ 110 w 432"/>
                <a:gd name="T7" fmla="*/ 192 h 342"/>
                <a:gd name="T8" fmla="*/ 8 w 432"/>
                <a:gd name="T9" fmla="*/ 241 h 342"/>
                <a:gd name="T10" fmla="*/ 8 w 432"/>
                <a:gd name="T11" fmla="*/ 241 h 342"/>
                <a:gd name="T12" fmla="*/ 7 w 432"/>
                <a:gd name="T13" fmla="*/ 242 h 342"/>
                <a:gd name="T14" fmla="*/ 12 w 432"/>
                <a:gd name="T15" fmla="*/ 286 h 342"/>
                <a:gd name="T16" fmla="*/ 44 w 432"/>
                <a:gd name="T17" fmla="*/ 318 h 342"/>
                <a:gd name="T18" fmla="*/ 45 w 432"/>
                <a:gd name="T19" fmla="*/ 317 h 342"/>
                <a:gd name="T20" fmla="*/ 45 w 432"/>
                <a:gd name="T21" fmla="*/ 317 h 342"/>
                <a:gd name="T22" fmla="*/ 144 w 432"/>
                <a:gd name="T23" fmla="*/ 269 h 342"/>
                <a:gd name="T24" fmla="*/ 356 w 432"/>
                <a:gd name="T25" fmla="*/ 291 h 342"/>
                <a:gd name="T26" fmla="*/ 201 w 432"/>
                <a:gd name="T27" fmla="*/ 219 h 342"/>
                <a:gd name="T28" fmla="*/ 213 w 432"/>
                <a:gd name="T29" fmla="*/ 112 h 342"/>
                <a:gd name="T30" fmla="*/ 320 w 432"/>
                <a:gd name="T31" fmla="*/ 124 h 342"/>
                <a:gd name="T32" fmla="*/ 308 w 432"/>
                <a:gd name="T33" fmla="*/ 231 h 342"/>
                <a:gd name="T34" fmla="*/ 201 w 432"/>
                <a:gd name="T35" fmla="*/ 21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32" h="342">
                  <a:moveTo>
                    <a:pt x="356" y="291"/>
                  </a:moveTo>
                  <a:cubicBezTo>
                    <a:pt x="421" y="238"/>
                    <a:pt x="432" y="142"/>
                    <a:pt x="380" y="76"/>
                  </a:cubicBezTo>
                  <a:cubicBezTo>
                    <a:pt x="328" y="11"/>
                    <a:pt x="232" y="0"/>
                    <a:pt x="166" y="52"/>
                  </a:cubicBezTo>
                  <a:cubicBezTo>
                    <a:pt x="122" y="87"/>
                    <a:pt x="103" y="140"/>
                    <a:pt x="110" y="192"/>
                  </a:cubicBezTo>
                  <a:cubicBezTo>
                    <a:pt x="8" y="241"/>
                    <a:pt x="8" y="241"/>
                    <a:pt x="8" y="241"/>
                  </a:cubicBezTo>
                  <a:cubicBezTo>
                    <a:pt x="8" y="241"/>
                    <a:pt x="8" y="241"/>
                    <a:pt x="8" y="241"/>
                  </a:cubicBezTo>
                  <a:cubicBezTo>
                    <a:pt x="8" y="242"/>
                    <a:pt x="7" y="242"/>
                    <a:pt x="7" y="242"/>
                  </a:cubicBezTo>
                  <a:cubicBezTo>
                    <a:pt x="0" y="245"/>
                    <a:pt x="2" y="265"/>
                    <a:pt x="12" y="286"/>
                  </a:cubicBezTo>
                  <a:cubicBezTo>
                    <a:pt x="22" y="307"/>
                    <a:pt x="37" y="321"/>
                    <a:pt x="44" y="318"/>
                  </a:cubicBezTo>
                  <a:cubicBezTo>
                    <a:pt x="45" y="318"/>
                    <a:pt x="45" y="317"/>
                    <a:pt x="45" y="317"/>
                  </a:cubicBezTo>
                  <a:cubicBezTo>
                    <a:pt x="45" y="317"/>
                    <a:pt x="45" y="317"/>
                    <a:pt x="45" y="317"/>
                  </a:cubicBezTo>
                  <a:cubicBezTo>
                    <a:pt x="144" y="269"/>
                    <a:pt x="144" y="269"/>
                    <a:pt x="144" y="269"/>
                  </a:cubicBezTo>
                  <a:cubicBezTo>
                    <a:pt x="197" y="332"/>
                    <a:pt x="291" y="342"/>
                    <a:pt x="356" y="291"/>
                  </a:cubicBezTo>
                  <a:close/>
                  <a:moveTo>
                    <a:pt x="201" y="219"/>
                  </a:moveTo>
                  <a:cubicBezTo>
                    <a:pt x="175" y="186"/>
                    <a:pt x="181" y="138"/>
                    <a:pt x="213" y="112"/>
                  </a:cubicBezTo>
                  <a:cubicBezTo>
                    <a:pt x="246" y="86"/>
                    <a:pt x="294" y="91"/>
                    <a:pt x="320" y="124"/>
                  </a:cubicBezTo>
                  <a:cubicBezTo>
                    <a:pt x="346" y="157"/>
                    <a:pt x="341" y="205"/>
                    <a:pt x="308" y="231"/>
                  </a:cubicBezTo>
                  <a:cubicBezTo>
                    <a:pt x="275" y="257"/>
                    <a:pt x="227" y="251"/>
                    <a:pt x="201" y="219"/>
                  </a:cubicBezTo>
                  <a:close/>
                </a:path>
              </a:pathLst>
            </a:custGeom>
            <a:solidFill>
              <a:srgbClr val="424242">
                <a:alpha val="20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08" name="Freeform 49">
              <a:extLst>
                <a:ext uri="{FF2B5EF4-FFF2-40B4-BE49-F238E27FC236}">
                  <a16:creationId xmlns:a16="http://schemas.microsoft.com/office/drawing/2014/main" id="{82C39DEA-0D6D-432B-8FCD-3938F2CC944A}"/>
                </a:ext>
              </a:extLst>
            </p:cNvPr>
            <p:cNvSpPr>
              <a:spLocks/>
            </p:cNvSpPr>
            <p:nvPr/>
          </p:nvSpPr>
          <p:spPr bwMode="auto">
            <a:xfrm>
              <a:off x="6352381" y="3913981"/>
              <a:ext cx="604838" cy="1592263"/>
            </a:xfrm>
            <a:custGeom>
              <a:avLst/>
              <a:gdLst>
                <a:gd name="T0" fmla="*/ 285 w 343"/>
                <a:gd name="T1" fmla="*/ 14 h 903"/>
                <a:gd name="T2" fmla="*/ 252 w 343"/>
                <a:gd name="T3" fmla="*/ 129 h 903"/>
                <a:gd name="T4" fmla="*/ 292 w 343"/>
                <a:gd name="T5" fmla="*/ 141 h 903"/>
                <a:gd name="T6" fmla="*/ 330 w 343"/>
                <a:gd name="T7" fmla="*/ 221 h 903"/>
                <a:gd name="T8" fmla="*/ 75 w 343"/>
                <a:gd name="T9" fmla="*/ 865 h 903"/>
                <a:gd name="T10" fmla="*/ 16 w 343"/>
                <a:gd name="T11" fmla="*/ 900 h 903"/>
                <a:gd name="T12" fmla="*/ 0 w 343"/>
                <a:gd name="T13" fmla="*/ 898 h 903"/>
                <a:gd name="T14" fmla="*/ 224 w 343"/>
                <a:gd name="T15" fmla="*/ 0 h 903"/>
                <a:gd name="T16" fmla="*/ 285 w 343"/>
                <a:gd name="T17" fmla="*/ 14 h 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3" h="903">
                  <a:moveTo>
                    <a:pt x="285" y="14"/>
                  </a:moveTo>
                  <a:cubicBezTo>
                    <a:pt x="252" y="129"/>
                    <a:pt x="252" y="129"/>
                    <a:pt x="252" y="129"/>
                  </a:cubicBezTo>
                  <a:cubicBezTo>
                    <a:pt x="292" y="141"/>
                    <a:pt x="292" y="141"/>
                    <a:pt x="292" y="141"/>
                  </a:cubicBezTo>
                  <a:cubicBezTo>
                    <a:pt x="326" y="152"/>
                    <a:pt x="343" y="188"/>
                    <a:pt x="330" y="221"/>
                  </a:cubicBezTo>
                  <a:cubicBezTo>
                    <a:pt x="75" y="865"/>
                    <a:pt x="75" y="865"/>
                    <a:pt x="75" y="865"/>
                  </a:cubicBezTo>
                  <a:cubicBezTo>
                    <a:pt x="65" y="889"/>
                    <a:pt x="41" y="903"/>
                    <a:pt x="16" y="900"/>
                  </a:cubicBezTo>
                  <a:cubicBezTo>
                    <a:pt x="0" y="898"/>
                    <a:pt x="0" y="898"/>
                    <a:pt x="0" y="898"/>
                  </a:cubicBezTo>
                  <a:cubicBezTo>
                    <a:pt x="224" y="0"/>
                    <a:pt x="224" y="0"/>
                    <a:pt x="224" y="0"/>
                  </a:cubicBezTo>
                  <a:lnTo>
                    <a:pt x="285" y="14"/>
                  </a:lnTo>
                  <a:close/>
                </a:path>
              </a:pathLst>
            </a:custGeom>
            <a:solidFill>
              <a:srgbClr val="ACA5A5"/>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09" name="Freeform 50">
              <a:extLst>
                <a:ext uri="{FF2B5EF4-FFF2-40B4-BE49-F238E27FC236}">
                  <a16:creationId xmlns:a16="http://schemas.microsoft.com/office/drawing/2014/main" id="{DFEBE25D-F8F2-46B7-99AD-2AF09812DBF2}"/>
                </a:ext>
              </a:extLst>
            </p:cNvPr>
            <p:cNvSpPr>
              <a:spLocks noEditPoints="1"/>
            </p:cNvSpPr>
            <p:nvPr/>
          </p:nvSpPr>
          <p:spPr bwMode="auto">
            <a:xfrm>
              <a:off x="6646069" y="3202781"/>
              <a:ext cx="538163" cy="747713"/>
            </a:xfrm>
            <a:custGeom>
              <a:avLst/>
              <a:gdLst>
                <a:gd name="T0" fmla="*/ 305 w 305"/>
                <a:gd name="T1" fmla="*/ 153 h 424"/>
                <a:gd name="T2" fmla="*/ 152 w 305"/>
                <a:gd name="T3" fmla="*/ 0 h 424"/>
                <a:gd name="T4" fmla="*/ 0 w 305"/>
                <a:gd name="T5" fmla="*/ 153 h 424"/>
                <a:gd name="T6" fmla="*/ 74 w 305"/>
                <a:gd name="T7" fmla="*/ 284 h 424"/>
                <a:gd name="T8" fmla="*/ 50 w 305"/>
                <a:gd name="T9" fmla="*/ 395 h 424"/>
                <a:gd name="T10" fmla="*/ 50 w 305"/>
                <a:gd name="T11" fmla="*/ 395 h 424"/>
                <a:gd name="T12" fmla="*/ 50 w 305"/>
                <a:gd name="T13" fmla="*/ 395 h 424"/>
                <a:gd name="T14" fmla="*/ 88 w 305"/>
                <a:gd name="T15" fmla="*/ 419 h 424"/>
                <a:gd name="T16" fmla="*/ 132 w 305"/>
                <a:gd name="T17" fmla="*/ 413 h 424"/>
                <a:gd name="T18" fmla="*/ 132 w 305"/>
                <a:gd name="T19" fmla="*/ 413 h 424"/>
                <a:gd name="T20" fmla="*/ 132 w 305"/>
                <a:gd name="T21" fmla="*/ 413 h 424"/>
                <a:gd name="T22" fmla="*/ 156 w 305"/>
                <a:gd name="T23" fmla="*/ 305 h 424"/>
                <a:gd name="T24" fmla="*/ 305 w 305"/>
                <a:gd name="T25" fmla="*/ 153 h 424"/>
                <a:gd name="T26" fmla="*/ 152 w 305"/>
                <a:gd name="T27" fmla="*/ 229 h 424"/>
                <a:gd name="T28" fmla="*/ 76 w 305"/>
                <a:gd name="T29" fmla="*/ 153 h 424"/>
                <a:gd name="T30" fmla="*/ 152 w 305"/>
                <a:gd name="T31" fmla="*/ 77 h 424"/>
                <a:gd name="T32" fmla="*/ 228 w 305"/>
                <a:gd name="T33" fmla="*/ 153 h 424"/>
                <a:gd name="T34" fmla="*/ 152 w 305"/>
                <a:gd name="T35" fmla="*/ 229 h 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5" h="424">
                  <a:moveTo>
                    <a:pt x="305" y="153"/>
                  </a:moveTo>
                  <a:cubicBezTo>
                    <a:pt x="305" y="68"/>
                    <a:pt x="237" y="0"/>
                    <a:pt x="152" y="0"/>
                  </a:cubicBezTo>
                  <a:cubicBezTo>
                    <a:pt x="68" y="0"/>
                    <a:pt x="0" y="68"/>
                    <a:pt x="0" y="153"/>
                  </a:cubicBezTo>
                  <a:cubicBezTo>
                    <a:pt x="0" y="208"/>
                    <a:pt x="30" y="257"/>
                    <a:pt x="74" y="284"/>
                  </a:cubicBezTo>
                  <a:cubicBezTo>
                    <a:pt x="50" y="395"/>
                    <a:pt x="50" y="395"/>
                    <a:pt x="50" y="395"/>
                  </a:cubicBezTo>
                  <a:cubicBezTo>
                    <a:pt x="50" y="395"/>
                    <a:pt x="50" y="395"/>
                    <a:pt x="50" y="395"/>
                  </a:cubicBezTo>
                  <a:cubicBezTo>
                    <a:pt x="50" y="395"/>
                    <a:pt x="50" y="395"/>
                    <a:pt x="50" y="395"/>
                  </a:cubicBezTo>
                  <a:cubicBezTo>
                    <a:pt x="48" y="403"/>
                    <a:pt x="65" y="414"/>
                    <a:pt x="88" y="419"/>
                  </a:cubicBezTo>
                  <a:cubicBezTo>
                    <a:pt x="111" y="424"/>
                    <a:pt x="131" y="421"/>
                    <a:pt x="132" y="413"/>
                  </a:cubicBezTo>
                  <a:cubicBezTo>
                    <a:pt x="132" y="413"/>
                    <a:pt x="132" y="413"/>
                    <a:pt x="132" y="413"/>
                  </a:cubicBezTo>
                  <a:cubicBezTo>
                    <a:pt x="132" y="413"/>
                    <a:pt x="132" y="413"/>
                    <a:pt x="132" y="413"/>
                  </a:cubicBezTo>
                  <a:cubicBezTo>
                    <a:pt x="156" y="305"/>
                    <a:pt x="156" y="305"/>
                    <a:pt x="156" y="305"/>
                  </a:cubicBezTo>
                  <a:cubicBezTo>
                    <a:pt x="239" y="303"/>
                    <a:pt x="305" y="235"/>
                    <a:pt x="305" y="153"/>
                  </a:cubicBezTo>
                  <a:close/>
                  <a:moveTo>
                    <a:pt x="152" y="229"/>
                  </a:moveTo>
                  <a:cubicBezTo>
                    <a:pt x="110" y="229"/>
                    <a:pt x="76" y="195"/>
                    <a:pt x="76" y="153"/>
                  </a:cubicBezTo>
                  <a:cubicBezTo>
                    <a:pt x="76" y="111"/>
                    <a:pt x="110" y="77"/>
                    <a:pt x="152" y="77"/>
                  </a:cubicBezTo>
                  <a:cubicBezTo>
                    <a:pt x="194" y="77"/>
                    <a:pt x="228" y="111"/>
                    <a:pt x="228" y="153"/>
                  </a:cubicBezTo>
                  <a:cubicBezTo>
                    <a:pt x="228" y="195"/>
                    <a:pt x="194" y="229"/>
                    <a:pt x="152" y="229"/>
                  </a:cubicBezTo>
                  <a:close/>
                </a:path>
              </a:pathLst>
            </a:custGeom>
            <a:solidFill>
              <a:srgbClr val="194A76"/>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10" name="Freeform 51">
              <a:extLst>
                <a:ext uri="{FF2B5EF4-FFF2-40B4-BE49-F238E27FC236}">
                  <a16:creationId xmlns:a16="http://schemas.microsoft.com/office/drawing/2014/main" id="{62E24295-36BA-40C9-B1E9-D5221AFDFF4E}"/>
                </a:ext>
              </a:extLst>
            </p:cNvPr>
            <p:cNvSpPr>
              <a:spLocks/>
            </p:cNvSpPr>
            <p:nvPr/>
          </p:nvSpPr>
          <p:spPr bwMode="auto">
            <a:xfrm>
              <a:off x="5669756" y="4107656"/>
              <a:ext cx="1497013" cy="842963"/>
            </a:xfrm>
            <a:custGeom>
              <a:avLst/>
              <a:gdLst>
                <a:gd name="T0" fmla="*/ 823 w 849"/>
                <a:gd name="T1" fmla="*/ 22 h 478"/>
                <a:gd name="T2" fmla="*/ 717 w 849"/>
                <a:gd name="T3" fmla="*/ 77 h 478"/>
                <a:gd name="T4" fmla="*/ 697 w 849"/>
                <a:gd name="T5" fmla="*/ 40 h 478"/>
                <a:gd name="T6" fmla="*/ 611 w 849"/>
                <a:gd name="T7" fmla="*/ 19 h 478"/>
                <a:gd name="T8" fmla="*/ 31 w 849"/>
                <a:gd name="T9" fmla="*/ 398 h 478"/>
                <a:gd name="T10" fmla="*/ 9 w 849"/>
                <a:gd name="T11" fmla="*/ 463 h 478"/>
                <a:gd name="T12" fmla="*/ 14 w 849"/>
                <a:gd name="T13" fmla="*/ 478 h 478"/>
                <a:gd name="T14" fmla="*/ 849 w 849"/>
                <a:gd name="T15" fmla="*/ 79 h 478"/>
                <a:gd name="T16" fmla="*/ 823 w 849"/>
                <a:gd name="T17" fmla="*/ 22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9" h="478">
                  <a:moveTo>
                    <a:pt x="823" y="22"/>
                  </a:moveTo>
                  <a:cubicBezTo>
                    <a:pt x="717" y="77"/>
                    <a:pt x="717" y="77"/>
                    <a:pt x="717" y="77"/>
                  </a:cubicBezTo>
                  <a:cubicBezTo>
                    <a:pt x="697" y="40"/>
                    <a:pt x="697" y="40"/>
                    <a:pt x="697" y="40"/>
                  </a:cubicBezTo>
                  <a:cubicBezTo>
                    <a:pt x="680" y="10"/>
                    <a:pt x="641" y="0"/>
                    <a:pt x="611" y="19"/>
                  </a:cubicBezTo>
                  <a:cubicBezTo>
                    <a:pt x="31" y="398"/>
                    <a:pt x="31" y="398"/>
                    <a:pt x="31" y="398"/>
                  </a:cubicBezTo>
                  <a:cubicBezTo>
                    <a:pt x="10" y="412"/>
                    <a:pt x="0" y="438"/>
                    <a:pt x="9" y="463"/>
                  </a:cubicBezTo>
                  <a:cubicBezTo>
                    <a:pt x="14" y="478"/>
                    <a:pt x="14" y="478"/>
                    <a:pt x="14" y="478"/>
                  </a:cubicBezTo>
                  <a:cubicBezTo>
                    <a:pt x="849" y="79"/>
                    <a:pt x="849" y="79"/>
                    <a:pt x="849" y="79"/>
                  </a:cubicBezTo>
                  <a:lnTo>
                    <a:pt x="823" y="22"/>
                  </a:lnTo>
                  <a:close/>
                </a:path>
              </a:pathLst>
            </a:custGeom>
            <a:solidFill>
              <a:srgbClr val="DDD0D5"/>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11" name="Oval 52">
              <a:extLst>
                <a:ext uri="{FF2B5EF4-FFF2-40B4-BE49-F238E27FC236}">
                  <a16:creationId xmlns:a16="http://schemas.microsoft.com/office/drawing/2014/main" id="{3F72A68C-D8FA-4BD9-9E39-8302240C7B85}"/>
                </a:ext>
              </a:extLst>
            </p:cNvPr>
            <p:cNvSpPr>
              <a:spLocks noChangeArrowheads="1"/>
            </p:cNvSpPr>
            <p:nvPr/>
          </p:nvSpPr>
          <p:spPr bwMode="auto">
            <a:xfrm>
              <a:off x="6746081" y="4218781"/>
              <a:ext cx="119063" cy="120650"/>
            </a:xfrm>
            <a:prstGeom prst="ellipse">
              <a:avLst/>
            </a:prstGeom>
            <a:solidFill>
              <a:srgbClr val="AC9FA9"/>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12" name="Freeform 53">
              <a:extLst>
                <a:ext uri="{FF2B5EF4-FFF2-40B4-BE49-F238E27FC236}">
                  <a16:creationId xmlns:a16="http://schemas.microsoft.com/office/drawing/2014/main" id="{F635E47D-E07B-4ACD-9C2B-415EE158AC56}"/>
                </a:ext>
              </a:extLst>
            </p:cNvPr>
            <p:cNvSpPr>
              <a:spLocks noEditPoints="1"/>
            </p:cNvSpPr>
            <p:nvPr/>
          </p:nvSpPr>
          <p:spPr bwMode="auto">
            <a:xfrm>
              <a:off x="7115969" y="3699669"/>
              <a:ext cx="760413" cy="603250"/>
            </a:xfrm>
            <a:custGeom>
              <a:avLst/>
              <a:gdLst>
                <a:gd name="T0" fmla="*/ 356 w 432"/>
                <a:gd name="T1" fmla="*/ 291 h 342"/>
                <a:gd name="T2" fmla="*/ 380 w 432"/>
                <a:gd name="T3" fmla="*/ 76 h 342"/>
                <a:gd name="T4" fmla="*/ 166 w 432"/>
                <a:gd name="T5" fmla="*/ 52 h 342"/>
                <a:gd name="T6" fmla="*/ 110 w 432"/>
                <a:gd name="T7" fmla="*/ 192 h 342"/>
                <a:gd name="T8" fmla="*/ 8 w 432"/>
                <a:gd name="T9" fmla="*/ 241 h 342"/>
                <a:gd name="T10" fmla="*/ 8 w 432"/>
                <a:gd name="T11" fmla="*/ 241 h 342"/>
                <a:gd name="T12" fmla="*/ 7 w 432"/>
                <a:gd name="T13" fmla="*/ 242 h 342"/>
                <a:gd name="T14" fmla="*/ 12 w 432"/>
                <a:gd name="T15" fmla="*/ 286 h 342"/>
                <a:gd name="T16" fmla="*/ 44 w 432"/>
                <a:gd name="T17" fmla="*/ 318 h 342"/>
                <a:gd name="T18" fmla="*/ 45 w 432"/>
                <a:gd name="T19" fmla="*/ 317 h 342"/>
                <a:gd name="T20" fmla="*/ 45 w 432"/>
                <a:gd name="T21" fmla="*/ 317 h 342"/>
                <a:gd name="T22" fmla="*/ 144 w 432"/>
                <a:gd name="T23" fmla="*/ 269 h 342"/>
                <a:gd name="T24" fmla="*/ 356 w 432"/>
                <a:gd name="T25" fmla="*/ 291 h 342"/>
                <a:gd name="T26" fmla="*/ 201 w 432"/>
                <a:gd name="T27" fmla="*/ 219 h 342"/>
                <a:gd name="T28" fmla="*/ 213 w 432"/>
                <a:gd name="T29" fmla="*/ 112 h 342"/>
                <a:gd name="T30" fmla="*/ 320 w 432"/>
                <a:gd name="T31" fmla="*/ 124 h 342"/>
                <a:gd name="T32" fmla="*/ 308 w 432"/>
                <a:gd name="T33" fmla="*/ 231 h 342"/>
                <a:gd name="T34" fmla="*/ 201 w 432"/>
                <a:gd name="T35" fmla="*/ 21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32" h="342">
                  <a:moveTo>
                    <a:pt x="356" y="291"/>
                  </a:moveTo>
                  <a:cubicBezTo>
                    <a:pt x="421" y="238"/>
                    <a:pt x="432" y="142"/>
                    <a:pt x="380" y="76"/>
                  </a:cubicBezTo>
                  <a:cubicBezTo>
                    <a:pt x="328" y="11"/>
                    <a:pt x="232" y="0"/>
                    <a:pt x="166" y="52"/>
                  </a:cubicBezTo>
                  <a:cubicBezTo>
                    <a:pt x="122" y="87"/>
                    <a:pt x="103" y="140"/>
                    <a:pt x="110" y="192"/>
                  </a:cubicBezTo>
                  <a:cubicBezTo>
                    <a:pt x="8" y="241"/>
                    <a:pt x="8" y="241"/>
                    <a:pt x="8" y="241"/>
                  </a:cubicBezTo>
                  <a:cubicBezTo>
                    <a:pt x="8" y="241"/>
                    <a:pt x="8" y="241"/>
                    <a:pt x="8" y="241"/>
                  </a:cubicBezTo>
                  <a:cubicBezTo>
                    <a:pt x="8" y="242"/>
                    <a:pt x="7" y="242"/>
                    <a:pt x="7" y="242"/>
                  </a:cubicBezTo>
                  <a:cubicBezTo>
                    <a:pt x="0" y="245"/>
                    <a:pt x="2" y="265"/>
                    <a:pt x="12" y="286"/>
                  </a:cubicBezTo>
                  <a:cubicBezTo>
                    <a:pt x="22" y="307"/>
                    <a:pt x="37" y="321"/>
                    <a:pt x="44" y="318"/>
                  </a:cubicBezTo>
                  <a:cubicBezTo>
                    <a:pt x="45" y="318"/>
                    <a:pt x="45" y="317"/>
                    <a:pt x="45" y="317"/>
                  </a:cubicBezTo>
                  <a:cubicBezTo>
                    <a:pt x="45" y="317"/>
                    <a:pt x="45" y="317"/>
                    <a:pt x="45" y="317"/>
                  </a:cubicBezTo>
                  <a:cubicBezTo>
                    <a:pt x="144" y="269"/>
                    <a:pt x="144" y="269"/>
                    <a:pt x="144" y="269"/>
                  </a:cubicBezTo>
                  <a:cubicBezTo>
                    <a:pt x="197" y="332"/>
                    <a:pt x="291" y="342"/>
                    <a:pt x="356" y="291"/>
                  </a:cubicBezTo>
                  <a:close/>
                  <a:moveTo>
                    <a:pt x="201" y="219"/>
                  </a:moveTo>
                  <a:cubicBezTo>
                    <a:pt x="175" y="186"/>
                    <a:pt x="181" y="138"/>
                    <a:pt x="213" y="112"/>
                  </a:cubicBezTo>
                  <a:cubicBezTo>
                    <a:pt x="246" y="86"/>
                    <a:pt x="294" y="91"/>
                    <a:pt x="320" y="124"/>
                  </a:cubicBezTo>
                  <a:cubicBezTo>
                    <a:pt x="346" y="157"/>
                    <a:pt x="341" y="205"/>
                    <a:pt x="308" y="231"/>
                  </a:cubicBezTo>
                  <a:cubicBezTo>
                    <a:pt x="275" y="257"/>
                    <a:pt x="227" y="251"/>
                    <a:pt x="201" y="219"/>
                  </a:cubicBezTo>
                  <a:close/>
                </a:path>
              </a:pathLst>
            </a:custGeom>
            <a:solidFill>
              <a:srgbClr val="3461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grpSp>
    </p:spTree>
    <p:custDataLst>
      <p:tags r:id="rId1"/>
    </p:custDataLst>
    <p:extLst>
      <p:ext uri="{BB962C8B-B14F-4D97-AF65-F5344CB8AC3E}">
        <p14:creationId xmlns:p14="http://schemas.microsoft.com/office/powerpoint/2010/main" val="1531600269"/>
      </p:ext>
    </p:extLst>
  </p:cSld>
  <p:clrMapOvr>
    <a:masterClrMapping/>
  </p:clrMapOvr>
  <mc:AlternateContent xmlns:mc="http://schemas.openxmlformats.org/markup-compatibility/2006">
    <mc:Choice xmlns:p14="http://schemas.microsoft.com/office/powerpoint/2010/main" Requires="p14">
      <p:transition spd="slow" p14:dur="1250">
        <p:blinds dir="vert"/>
      </p:transition>
    </mc:Choice>
    <mc:Fallback>
      <p:transition spd="slow">
        <p:blinds dir="vert"/>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388" name="Picture 4">
            <a:extLst>
              <a:ext uri="{FF2B5EF4-FFF2-40B4-BE49-F238E27FC236}">
                <a16:creationId xmlns:a16="http://schemas.microsoft.com/office/drawing/2014/main" id="{07460D06-1A4D-4F5B-A5E5-41B12085F15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403537" y="1327896"/>
            <a:ext cx="3038475" cy="2295525"/>
          </a:xfrm>
          <a:prstGeom prst="rect">
            <a:avLst/>
          </a:prstGeom>
          <a:noFill/>
          <a:extLst>
            <a:ext uri="{909E8E84-426E-40DD-AFC4-6F175D3DCCD1}">
              <a14:hiddenFill xmlns:a14="http://schemas.microsoft.com/office/drawing/2010/main">
                <a:solidFill>
                  <a:srgbClr val="FFFFFF"/>
                </a:solidFill>
              </a14:hiddenFill>
            </a:ext>
          </a:extLst>
        </p:spPr>
      </p:pic>
      <p:pic>
        <p:nvPicPr>
          <p:cNvPr id="16390" name="Picture 6">
            <a:extLst>
              <a:ext uri="{FF2B5EF4-FFF2-40B4-BE49-F238E27FC236}">
                <a16:creationId xmlns:a16="http://schemas.microsoft.com/office/drawing/2014/main" id="{51D4D320-3066-4187-A57C-A07AAAFCFD0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966895" y="3623421"/>
            <a:ext cx="1231205" cy="2686266"/>
          </a:xfrm>
          <a:prstGeom prst="rect">
            <a:avLst/>
          </a:prstGeom>
          <a:noFill/>
          <a:extLst>
            <a:ext uri="{909E8E84-426E-40DD-AFC4-6F175D3DCCD1}">
              <a14:hiddenFill xmlns:a14="http://schemas.microsoft.com/office/drawing/2010/main">
                <a:solidFill>
                  <a:srgbClr val="FFFFFF"/>
                </a:solidFill>
              </a14:hiddenFill>
            </a:ext>
          </a:extLst>
        </p:spPr>
      </p:pic>
      <p:sp>
        <p:nvSpPr>
          <p:cNvPr id="4" name="灯片编号占位符 3">
            <a:extLst>
              <a:ext uri="{FF2B5EF4-FFF2-40B4-BE49-F238E27FC236}">
                <a16:creationId xmlns:a16="http://schemas.microsoft.com/office/drawing/2014/main" id="{2A5C0DA9-421E-435E-A37F-75EEA4A204CB}"/>
              </a:ext>
            </a:extLst>
          </p:cNvPr>
          <p:cNvSpPr>
            <a:spLocks noGrp="1"/>
          </p:cNvSpPr>
          <p:nvPr>
            <p:ph type="sldNum" sz="quarter" idx="12"/>
          </p:nvPr>
        </p:nvSpPr>
        <p:spPr/>
        <p:txBody>
          <a:bodyPr/>
          <a:lstStyle/>
          <a:p>
            <a:fld id="{5DD3DB80-B894-403A-B48E-6FDC1A72010E}" type="slidenum">
              <a:rPr lang="zh-CN" altLang="en-US" smtClean="0"/>
              <a:pPr/>
              <a:t>21</a:t>
            </a:fld>
            <a:endParaRPr lang="zh-CN" altLang="en-US"/>
          </a:p>
        </p:txBody>
      </p:sp>
      <p:sp>
        <p:nvSpPr>
          <p:cNvPr id="5" name="标题 1">
            <a:extLst>
              <a:ext uri="{FF2B5EF4-FFF2-40B4-BE49-F238E27FC236}">
                <a16:creationId xmlns:a16="http://schemas.microsoft.com/office/drawing/2014/main" id="{A66C21BB-C083-4C2F-A2AE-920B8A20D84E}"/>
              </a:ext>
            </a:extLst>
          </p:cNvPr>
          <p:cNvSpPr>
            <a:spLocks noGrp="1"/>
          </p:cNvSpPr>
          <p:nvPr>
            <p:ph type="title"/>
          </p:nvPr>
        </p:nvSpPr>
        <p:spPr>
          <a:xfrm>
            <a:off x="669924" y="1"/>
            <a:ext cx="10850563" cy="1028699"/>
          </a:xfrm>
        </p:spPr>
        <p:txBody>
          <a:bodyPr/>
          <a:lstStyle/>
          <a:p>
            <a:r>
              <a:rPr lang="en-US" altLang="zh-CN" dirty="0"/>
              <a:t>UML</a:t>
            </a:r>
            <a:r>
              <a:rPr lang="zh-CN" altLang="en-US" dirty="0"/>
              <a:t>顺序图</a:t>
            </a:r>
          </a:p>
        </p:txBody>
      </p:sp>
      <p:sp>
        <p:nvSpPr>
          <p:cNvPr id="6" name="文本框 5">
            <a:extLst>
              <a:ext uri="{FF2B5EF4-FFF2-40B4-BE49-F238E27FC236}">
                <a16:creationId xmlns:a16="http://schemas.microsoft.com/office/drawing/2014/main" id="{AD4EF72B-B237-4531-96CB-FAD2B6E29EE8}"/>
              </a:ext>
            </a:extLst>
          </p:cNvPr>
          <p:cNvSpPr txBox="1"/>
          <p:nvPr/>
        </p:nvSpPr>
        <p:spPr>
          <a:xfrm>
            <a:off x="669924" y="1407765"/>
            <a:ext cx="7588572" cy="2031325"/>
          </a:xfrm>
          <a:prstGeom prst="rect">
            <a:avLst/>
          </a:prstGeom>
          <a:noFill/>
        </p:spPr>
        <p:txBody>
          <a:bodyPr wrap="square" rtlCol="0">
            <a:spAutoFit/>
          </a:bodyPr>
          <a:lstStyle/>
          <a:p>
            <a:pPr algn="l"/>
            <a:r>
              <a:rPr lang="en-US" altLang="zh-CN" b="1" i="0" dirty="0">
                <a:solidFill>
                  <a:srgbClr val="0D0016"/>
                </a:solidFill>
                <a:effectLst/>
                <a:latin typeface="PingFang SC"/>
              </a:rPr>
              <a:t>1</a:t>
            </a:r>
            <a:r>
              <a:rPr lang="zh-CN" altLang="en-US" b="1" i="0" dirty="0">
                <a:solidFill>
                  <a:srgbClr val="0D0016"/>
                </a:solidFill>
                <a:effectLst/>
                <a:latin typeface="PingFang SC"/>
              </a:rPr>
              <a:t>、参与者（</a:t>
            </a:r>
            <a:r>
              <a:rPr lang="en-US" altLang="zh-CN" b="1" i="0" dirty="0">
                <a:solidFill>
                  <a:srgbClr val="0D0016"/>
                </a:solidFill>
                <a:effectLst/>
                <a:latin typeface="PingFang SC"/>
              </a:rPr>
              <a:t>Actor) / </a:t>
            </a:r>
            <a:r>
              <a:rPr lang="zh-CN" altLang="en-US" b="1" i="0" dirty="0">
                <a:solidFill>
                  <a:srgbClr val="0D0016"/>
                </a:solidFill>
                <a:effectLst/>
                <a:latin typeface="PingFang SC"/>
              </a:rPr>
              <a:t>对象（</a:t>
            </a:r>
            <a:r>
              <a:rPr lang="en-US" altLang="zh-CN" b="1" i="0" dirty="0">
                <a:solidFill>
                  <a:srgbClr val="0D0016"/>
                </a:solidFill>
                <a:effectLst/>
                <a:latin typeface="PingFang SC"/>
              </a:rPr>
              <a:t>Object</a:t>
            </a:r>
            <a:r>
              <a:rPr lang="zh-CN" altLang="en-US" b="1" i="0" dirty="0">
                <a:solidFill>
                  <a:srgbClr val="0D0016"/>
                </a:solidFill>
                <a:effectLst/>
                <a:latin typeface="PingFang SC"/>
              </a:rPr>
              <a:t>）</a:t>
            </a:r>
          </a:p>
          <a:p>
            <a:pPr algn="l"/>
            <a:r>
              <a:rPr lang="zh-CN" altLang="en-US" i="0" dirty="0">
                <a:solidFill>
                  <a:srgbClr val="0D0016"/>
                </a:solidFill>
                <a:effectLst/>
                <a:latin typeface="PingFang SC"/>
              </a:rPr>
              <a:t>参与者与对象按照一定顺序从做到右排列。</a:t>
            </a:r>
            <a:r>
              <a:rPr lang="en-US" altLang="zh-CN" i="0" dirty="0">
                <a:solidFill>
                  <a:srgbClr val="0D0016"/>
                </a:solidFill>
                <a:effectLst/>
                <a:latin typeface="PingFang SC"/>
              </a:rPr>
              <a:t>UML</a:t>
            </a:r>
            <a:r>
              <a:rPr lang="zh-CN" altLang="en-US" i="0" dirty="0">
                <a:solidFill>
                  <a:srgbClr val="0D0016"/>
                </a:solidFill>
                <a:effectLst/>
                <a:latin typeface="PingFang SC"/>
              </a:rPr>
              <a:t>中并没有对排列顺序作出任何要求，但是经过长期的积累得出以下经验：</a:t>
            </a:r>
          </a:p>
          <a:p>
            <a:pPr algn="l"/>
            <a:endParaRPr lang="zh-CN" altLang="en-US" i="0" dirty="0">
              <a:solidFill>
                <a:srgbClr val="0D0016"/>
              </a:solidFill>
              <a:effectLst/>
              <a:latin typeface="PingFang SC"/>
            </a:endParaRPr>
          </a:p>
          <a:p>
            <a:pPr algn="l"/>
            <a:r>
              <a:rPr lang="zh-CN" altLang="en-US" i="0" dirty="0">
                <a:solidFill>
                  <a:srgbClr val="0D0016"/>
                </a:solidFill>
                <a:effectLst/>
                <a:latin typeface="PingFang SC"/>
              </a:rPr>
              <a:t>活动的起始点放在最左侧。</a:t>
            </a:r>
          </a:p>
          <a:p>
            <a:pPr algn="l"/>
            <a:r>
              <a:rPr lang="zh-CN" altLang="en-US" i="0" dirty="0">
                <a:solidFill>
                  <a:srgbClr val="0D0016"/>
                </a:solidFill>
                <a:effectLst/>
                <a:latin typeface="PingFang SC"/>
              </a:rPr>
              <a:t>交互频繁的参与者或对象靠拢。</a:t>
            </a:r>
          </a:p>
          <a:p>
            <a:pPr algn="l"/>
            <a:r>
              <a:rPr lang="zh-CN" altLang="en-US" i="0" dirty="0">
                <a:solidFill>
                  <a:srgbClr val="0D0016"/>
                </a:solidFill>
                <a:effectLst/>
                <a:latin typeface="PingFang SC"/>
              </a:rPr>
              <a:t>在</a:t>
            </a:r>
            <a:r>
              <a:rPr lang="en-US" altLang="zh-CN" i="0" dirty="0">
                <a:solidFill>
                  <a:srgbClr val="0D0016"/>
                </a:solidFill>
                <a:effectLst/>
                <a:latin typeface="PingFang SC"/>
              </a:rPr>
              <a:t>UML</a:t>
            </a:r>
            <a:r>
              <a:rPr lang="zh-CN" altLang="en-US" i="0" dirty="0">
                <a:solidFill>
                  <a:srgbClr val="0D0016"/>
                </a:solidFill>
                <a:effectLst/>
                <a:latin typeface="PingFang SC"/>
              </a:rPr>
              <a:t>中，参与者通常使用此种表示方法：</a:t>
            </a:r>
            <a:endParaRPr lang="zh-CN" altLang="en-US" i="0" dirty="0">
              <a:solidFill>
                <a:srgbClr val="4D4D4D"/>
              </a:solidFill>
              <a:effectLst/>
              <a:latin typeface="-apple-system"/>
            </a:endParaRPr>
          </a:p>
        </p:txBody>
      </p:sp>
      <p:grpSp>
        <p:nvGrpSpPr>
          <p:cNvPr id="378" name="组合 377">
            <a:extLst>
              <a:ext uri="{FF2B5EF4-FFF2-40B4-BE49-F238E27FC236}">
                <a16:creationId xmlns:a16="http://schemas.microsoft.com/office/drawing/2014/main" id="{4D6F4725-E9CF-47C0-A24D-95F9A714BAE0}"/>
              </a:ext>
            </a:extLst>
          </p:cNvPr>
          <p:cNvGrpSpPr/>
          <p:nvPr/>
        </p:nvGrpSpPr>
        <p:grpSpPr>
          <a:xfrm>
            <a:off x="10482954" y="0"/>
            <a:ext cx="1030921" cy="1080294"/>
            <a:chOff x="4874988" y="1859559"/>
            <a:chExt cx="2661884" cy="3969810"/>
          </a:xfrm>
        </p:grpSpPr>
        <p:grpSp>
          <p:nvGrpSpPr>
            <p:cNvPr id="379" name="íŝḻïḑè">
              <a:extLst>
                <a:ext uri="{FF2B5EF4-FFF2-40B4-BE49-F238E27FC236}">
                  <a16:creationId xmlns:a16="http://schemas.microsoft.com/office/drawing/2014/main" id="{E773D6DB-E4EF-4893-BA5C-FF1895435916}"/>
                </a:ext>
              </a:extLst>
            </p:cNvPr>
            <p:cNvGrpSpPr/>
            <p:nvPr/>
          </p:nvGrpSpPr>
          <p:grpSpPr>
            <a:xfrm>
              <a:off x="6480535" y="5493164"/>
              <a:ext cx="520250" cy="336205"/>
              <a:chOff x="6185308" y="3970463"/>
              <a:chExt cx="170914" cy="110451"/>
            </a:xfrm>
          </p:grpSpPr>
          <p:sp>
            <p:nvSpPr>
              <p:cNvPr id="860" name="ïSľidè">
                <a:extLst>
                  <a:ext uri="{FF2B5EF4-FFF2-40B4-BE49-F238E27FC236}">
                    <a16:creationId xmlns:a16="http://schemas.microsoft.com/office/drawing/2014/main" id="{56BED41C-949C-4322-B58A-3386FED33CBA}"/>
                  </a:ext>
                </a:extLst>
              </p:cNvPr>
              <p:cNvSpPr/>
              <p:nvPr/>
            </p:nvSpPr>
            <p:spPr>
              <a:xfrm>
                <a:off x="6241161" y="3970463"/>
                <a:ext cx="78771" cy="21749"/>
              </a:xfrm>
              <a:custGeom>
                <a:avLst/>
                <a:gdLst>
                  <a:gd name="connsiteX0" fmla="*/ -336 w 78771"/>
                  <a:gd name="connsiteY0" fmla="*/ 13014 h 21749"/>
                  <a:gd name="connsiteX1" fmla="*/ 807 w 78771"/>
                  <a:gd name="connsiteY1" fmla="*/ 13014 h 21749"/>
                  <a:gd name="connsiteX2" fmla="*/ 5188 w 78771"/>
                  <a:gd name="connsiteY2" fmla="*/ 13014 h 21749"/>
                  <a:gd name="connsiteX3" fmla="*/ 5188 w 78771"/>
                  <a:gd name="connsiteY3" fmla="*/ 13014 h 21749"/>
                  <a:gd name="connsiteX4" fmla="*/ 8808 w 78771"/>
                  <a:gd name="connsiteY4" fmla="*/ 13966 h 21749"/>
                  <a:gd name="connsiteX5" fmla="*/ 13189 w 78771"/>
                  <a:gd name="connsiteY5" fmla="*/ 15586 h 21749"/>
                  <a:gd name="connsiteX6" fmla="*/ 16427 w 78771"/>
                  <a:gd name="connsiteY6" fmla="*/ 17014 h 21749"/>
                  <a:gd name="connsiteX7" fmla="*/ 18142 w 78771"/>
                  <a:gd name="connsiteY7" fmla="*/ 17776 h 21749"/>
                  <a:gd name="connsiteX8" fmla="*/ 21666 w 78771"/>
                  <a:gd name="connsiteY8" fmla="*/ 19586 h 21749"/>
                  <a:gd name="connsiteX9" fmla="*/ 25286 w 78771"/>
                  <a:gd name="connsiteY9" fmla="*/ 21586 h 21749"/>
                  <a:gd name="connsiteX10" fmla="*/ 78435 w 78771"/>
                  <a:gd name="connsiteY10" fmla="*/ 12061 h 21749"/>
                  <a:gd name="connsiteX11" fmla="*/ 57957 w 78771"/>
                  <a:gd name="connsiteY11" fmla="*/ 2536 h 21749"/>
                  <a:gd name="connsiteX12" fmla="*/ 40050 w 78771"/>
                  <a:gd name="connsiteY12" fmla="*/ -131 h 21749"/>
                  <a:gd name="connsiteX13" fmla="*/ 21000 w 78771"/>
                  <a:gd name="connsiteY13" fmla="*/ 3584 h 21749"/>
                  <a:gd name="connsiteX14" fmla="*/ -336 w 78771"/>
                  <a:gd name="connsiteY14" fmla="*/ 13014 h 217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8771" h="21749">
                    <a:moveTo>
                      <a:pt x="-336" y="13014"/>
                    </a:moveTo>
                    <a:cubicBezTo>
                      <a:pt x="35" y="12899"/>
                      <a:pt x="435" y="12899"/>
                      <a:pt x="807" y="13014"/>
                    </a:cubicBezTo>
                    <a:cubicBezTo>
                      <a:pt x="2255" y="12728"/>
                      <a:pt x="3740" y="12728"/>
                      <a:pt x="5188" y="13014"/>
                    </a:cubicBezTo>
                    <a:lnTo>
                      <a:pt x="5188" y="13014"/>
                    </a:lnTo>
                    <a:cubicBezTo>
                      <a:pt x="6407" y="13261"/>
                      <a:pt x="7617" y="13585"/>
                      <a:pt x="8808" y="13966"/>
                    </a:cubicBezTo>
                    <a:cubicBezTo>
                      <a:pt x="10303" y="14414"/>
                      <a:pt x="11770" y="14947"/>
                      <a:pt x="13189" y="15586"/>
                    </a:cubicBezTo>
                    <a:lnTo>
                      <a:pt x="16427" y="17014"/>
                    </a:lnTo>
                    <a:lnTo>
                      <a:pt x="18142" y="17776"/>
                    </a:lnTo>
                    <a:lnTo>
                      <a:pt x="21666" y="19586"/>
                    </a:lnTo>
                    <a:lnTo>
                      <a:pt x="25286" y="21586"/>
                    </a:lnTo>
                    <a:cubicBezTo>
                      <a:pt x="47860" y="8537"/>
                      <a:pt x="67672" y="5489"/>
                      <a:pt x="78435" y="12061"/>
                    </a:cubicBezTo>
                    <a:cubicBezTo>
                      <a:pt x="71949" y="8204"/>
                      <a:pt x="65091" y="5003"/>
                      <a:pt x="57957" y="2536"/>
                    </a:cubicBezTo>
                    <a:cubicBezTo>
                      <a:pt x="52203" y="555"/>
                      <a:pt x="46136" y="-350"/>
                      <a:pt x="40050" y="-131"/>
                    </a:cubicBezTo>
                    <a:cubicBezTo>
                      <a:pt x="33553" y="193"/>
                      <a:pt x="27143" y="1450"/>
                      <a:pt x="21000" y="3584"/>
                    </a:cubicBezTo>
                    <a:cubicBezTo>
                      <a:pt x="13580" y="5975"/>
                      <a:pt x="6426" y="9137"/>
                      <a:pt x="-336" y="13014"/>
                    </a:cubicBezTo>
                    <a:close/>
                  </a:path>
                </a:pathLst>
              </a:custGeom>
              <a:solidFill>
                <a:srgbClr val="FF7D33"/>
              </a:solidFill>
              <a:ln w="9525" cap="flat">
                <a:noFill/>
                <a:prstDash val="solid"/>
                <a:miter/>
              </a:ln>
            </p:spPr>
            <p:txBody>
              <a:bodyPr rtlCol="0" anchor="ctr"/>
              <a:lstStyle/>
              <a:p>
                <a:endParaRPr lang="zh-CN" altLang="en-US"/>
              </a:p>
            </p:txBody>
          </p:sp>
          <p:sp>
            <p:nvSpPr>
              <p:cNvPr id="861" name="ïślíde">
                <a:extLst>
                  <a:ext uri="{FF2B5EF4-FFF2-40B4-BE49-F238E27FC236}">
                    <a16:creationId xmlns:a16="http://schemas.microsoft.com/office/drawing/2014/main" id="{EE31D9B4-8FDF-4F4A-84C5-DF230243C3F3}"/>
                  </a:ext>
                </a:extLst>
              </p:cNvPr>
              <p:cNvSpPr/>
              <p:nvPr/>
            </p:nvSpPr>
            <p:spPr>
              <a:xfrm>
                <a:off x="6267164" y="3979144"/>
                <a:ext cx="60007" cy="16878"/>
              </a:xfrm>
              <a:custGeom>
                <a:avLst/>
                <a:gdLst>
                  <a:gd name="connsiteX0" fmla="*/ -336 w 60007"/>
                  <a:gd name="connsiteY0" fmla="*/ 12715 h 16878"/>
                  <a:gd name="connsiteX1" fmla="*/ 6427 w 60007"/>
                  <a:gd name="connsiteY1" fmla="*/ 16715 h 16878"/>
                  <a:gd name="connsiteX2" fmla="*/ 59671 w 60007"/>
                  <a:gd name="connsiteY2" fmla="*/ 7190 h 16878"/>
                  <a:gd name="connsiteX3" fmla="*/ 52813 w 60007"/>
                  <a:gd name="connsiteY3" fmla="*/ 3190 h 16878"/>
                  <a:gd name="connsiteX4" fmla="*/ -336 w 60007"/>
                  <a:gd name="connsiteY4" fmla="*/ 12715 h 168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16878">
                    <a:moveTo>
                      <a:pt x="-336" y="12715"/>
                    </a:moveTo>
                    <a:lnTo>
                      <a:pt x="6427" y="16715"/>
                    </a:lnTo>
                    <a:cubicBezTo>
                      <a:pt x="29096" y="3666"/>
                      <a:pt x="48908" y="618"/>
                      <a:pt x="59671" y="7190"/>
                    </a:cubicBezTo>
                    <a:lnTo>
                      <a:pt x="52813" y="3190"/>
                    </a:lnTo>
                    <a:cubicBezTo>
                      <a:pt x="42050" y="-3382"/>
                      <a:pt x="22238" y="-334"/>
                      <a:pt x="-336" y="12715"/>
                    </a:cubicBezTo>
                    <a:close/>
                  </a:path>
                </a:pathLst>
              </a:custGeom>
              <a:solidFill>
                <a:srgbClr val="D1D9E8"/>
              </a:solidFill>
              <a:ln w="9525" cap="flat">
                <a:noFill/>
                <a:prstDash val="solid"/>
                <a:miter/>
              </a:ln>
            </p:spPr>
            <p:txBody>
              <a:bodyPr rtlCol="0" anchor="ctr"/>
              <a:lstStyle/>
              <a:p>
                <a:endParaRPr lang="zh-CN" altLang="en-US"/>
              </a:p>
            </p:txBody>
          </p:sp>
          <p:sp>
            <p:nvSpPr>
              <p:cNvPr id="862" name="îṧ1îdê">
                <a:extLst>
                  <a:ext uri="{FF2B5EF4-FFF2-40B4-BE49-F238E27FC236}">
                    <a16:creationId xmlns:a16="http://schemas.microsoft.com/office/drawing/2014/main" id="{9172A6D8-5C9D-45D9-A3F8-E8D5C56C8AD1}"/>
                  </a:ext>
                </a:extLst>
              </p:cNvPr>
              <p:cNvSpPr/>
              <p:nvPr/>
            </p:nvSpPr>
            <p:spPr>
              <a:xfrm>
                <a:off x="6273831" y="3983188"/>
                <a:ext cx="82105" cy="38075"/>
              </a:xfrm>
              <a:custGeom>
                <a:avLst/>
                <a:gdLst>
                  <a:gd name="connsiteX0" fmla="*/ -336 w 82105"/>
                  <a:gd name="connsiteY0" fmla="*/ 12671 h 38075"/>
                  <a:gd name="connsiteX1" fmla="*/ 27000 w 82105"/>
                  <a:gd name="connsiteY1" fmla="*/ 37913 h 38075"/>
                  <a:gd name="connsiteX2" fmla="*/ 80531 w 82105"/>
                  <a:gd name="connsiteY2" fmla="*/ 30578 h 38075"/>
                  <a:gd name="connsiteX3" fmla="*/ 81769 w 82105"/>
                  <a:gd name="connsiteY3" fmla="*/ 31340 h 38075"/>
                  <a:gd name="connsiteX4" fmla="*/ 80055 w 82105"/>
                  <a:gd name="connsiteY4" fmla="*/ 25816 h 38075"/>
                  <a:gd name="connsiteX5" fmla="*/ 73482 w 82105"/>
                  <a:gd name="connsiteY5" fmla="*/ 18005 h 38075"/>
                  <a:gd name="connsiteX6" fmla="*/ 52908 w 82105"/>
                  <a:gd name="connsiteY6" fmla="*/ 2861 h 38075"/>
                  <a:gd name="connsiteX7" fmla="*/ -336 w 82105"/>
                  <a:gd name="connsiteY7" fmla="*/ 12671 h 38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2105" h="38075">
                    <a:moveTo>
                      <a:pt x="-336" y="12671"/>
                    </a:moveTo>
                    <a:cubicBezTo>
                      <a:pt x="14713" y="21339"/>
                      <a:pt x="27000" y="32674"/>
                      <a:pt x="27000" y="37913"/>
                    </a:cubicBezTo>
                    <a:cubicBezTo>
                      <a:pt x="57957" y="20101"/>
                      <a:pt x="80817" y="23530"/>
                      <a:pt x="80531" y="30578"/>
                    </a:cubicBezTo>
                    <a:lnTo>
                      <a:pt x="81769" y="31340"/>
                    </a:lnTo>
                    <a:cubicBezTo>
                      <a:pt x="81703" y="29378"/>
                      <a:pt x="81112" y="27473"/>
                      <a:pt x="80055" y="25816"/>
                    </a:cubicBezTo>
                    <a:cubicBezTo>
                      <a:pt x="78169" y="22968"/>
                      <a:pt x="75968" y="20349"/>
                      <a:pt x="73482" y="18005"/>
                    </a:cubicBezTo>
                    <a:cubicBezTo>
                      <a:pt x="67253" y="12148"/>
                      <a:pt x="60347" y="7061"/>
                      <a:pt x="52908" y="2861"/>
                    </a:cubicBezTo>
                    <a:cubicBezTo>
                      <a:pt x="42240" y="-3140"/>
                      <a:pt x="22429" y="-378"/>
                      <a:pt x="-336" y="12671"/>
                    </a:cubicBezTo>
                    <a:close/>
                  </a:path>
                </a:pathLst>
              </a:custGeom>
              <a:solidFill>
                <a:srgbClr val="FF7D33"/>
              </a:solidFill>
              <a:ln w="9525" cap="flat">
                <a:noFill/>
                <a:prstDash val="solid"/>
                <a:miter/>
              </a:ln>
            </p:spPr>
            <p:txBody>
              <a:bodyPr rtlCol="0" anchor="ctr"/>
              <a:lstStyle/>
              <a:p>
                <a:endParaRPr lang="zh-CN" altLang="en-US"/>
              </a:p>
            </p:txBody>
          </p:sp>
          <p:sp>
            <p:nvSpPr>
              <p:cNvPr id="863" name="íšļîḍê">
                <a:extLst>
                  <a:ext uri="{FF2B5EF4-FFF2-40B4-BE49-F238E27FC236}">
                    <a16:creationId xmlns:a16="http://schemas.microsoft.com/office/drawing/2014/main" id="{1BD76DAE-16A8-4FA4-AB1F-2E740895D658}"/>
                  </a:ext>
                </a:extLst>
              </p:cNvPr>
              <p:cNvSpPr/>
              <p:nvPr/>
            </p:nvSpPr>
            <p:spPr>
              <a:xfrm>
                <a:off x="6245256" y="4013929"/>
                <a:ext cx="110966" cy="64769"/>
              </a:xfrm>
              <a:custGeom>
                <a:avLst/>
                <a:gdLst>
                  <a:gd name="connsiteX0" fmla="*/ -336 w 110966"/>
                  <a:gd name="connsiteY0" fmla="*/ 64607 h 64769"/>
                  <a:gd name="connsiteX1" fmla="*/ 110630 w 110966"/>
                  <a:gd name="connsiteY1" fmla="*/ 599 h 64769"/>
                  <a:gd name="connsiteX2" fmla="*/ 109392 w 110966"/>
                  <a:gd name="connsiteY2" fmla="*/ -163 h 64769"/>
                  <a:gd name="connsiteX3" fmla="*/ 2235 w 110966"/>
                  <a:gd name="connsiteY3" fmla="*/ 61369 h 64769"/>
                  <a:gd name="connsiteX4" fmla="*/ 1283 w 110966"/>
                  <a:gd name="connsiteY4" fmla="*/ 62607 h 64769"/>
                  <a:gd name="connsiteX5" fmla="*/ 426 w 110966"/>
                  <a:gd name="connsiteY5" fmla="*/ 63560 h 64769"/>
                  <a:gd name="connsiteX6" fmla="*/ -51 w 110966"/>
                  <a:gd name="connsiteY6" fmla="*/ 63560 h 64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0966" h="64769">
                    <a:moveTo>
                      <a:pt x="-336" y="64607"/>
                    </a:moveTo>
                    <a:lnTo>
                      <a:pt x="110630" y="599"/>
                    </a:lnTo>
                    <a:lnTo>
                      <a:pt x="109392" y="-163"/>
                    </a:lnTo>
                    <a:lnTo>
                      <a:pt x="2235" y="61369"/>
                    </a:lnTo>
                    <a:cubicBezTo>
                      <a:pt x="1969" y="61816"/>
                      <a:pt x="1655" y="62236"/>
                      <a:pt x="1283" y="62607"/>
                    </a:cubicBezTo>
                    <a:lnTo>
                      <a:pt x="426" y="63560"/>
                    </a:lnTo>
                    <a:lnTo>
                      <a:pt x="-51" y="63560"/>
                    </a:lnTo>
                    <a:close/>
                  </a:path>
                </a:pathLst>
              </a:custGeom>
              <a:solidFill>
                <a:srgbClr val="BF4200"/>
              </a:solidFill>
              <a:ln w="9525" cap="flat">
                <a:noFill/>
                <a:prstDash val="solid"/>
                <a:miter/>
              </a:ln>
            </p:spPr>
            <p:txBody>
              <a:bodyPr rtlCol="0" anchor="ctr"/>
              <a:lstStyle/>
              <a:p>
                <a:endParaRPr lang="zh-CN" altLang="en-US"/>
              </a:p>
            </p:txBody>
          </p:sp>
          <p:sp>
            <p:nvSpPr>
              <p:cNvPr id="864" name="íşľîḍè">
                <a:extLst>
                  <a:ext uri="{FF2B5EF4-FFF2-40B4-BE49-F238E27FC236}">
                    <a16:creationId xmlns:a16="http://schemas.microsoft.com/office/drawing/2014/main" id="{02E918F9-69B4-48A7-B0FD-9B7086F25879}"/>
                  </a:ext>
                </a:extLst>
              </p:cNvPr>
              <p:cNvSpPr/>
              <p:nvPr/>
            </p:nvSpPr>
            <p:spPr>
              <a:xfrm>
                <a:off x="6247823" y="4007929"/>
                <a:ext cx="106970" cy="67531"/>
              </a:xfrm>
              <a:custGeom>
                <a:avLst/>
                <a:gdLst>
                  <a:gd name="connsiteX0" fmla="*/ -332 w 106970"/>
                  <a:gd name="connsiteY0" fmla="*/ 67369 h 67531"/>
                  <a:gd name="connsiteX1" fmla="*/ 106634 w 106970"/>
                  <a:gd name="connsiteY1" fmla="*/ 5552 h 67531"/>
                  <a:gd name="connsiteX2" fmla="*/ 53104 w 106970"/>
                  <a:gd name="connsiteY2" fmla="*/ 12886 h 67531"/>
                  <a:gd name="connsiteX3" fmla="*/ -332 w 106970"/>
                  <a:gd name="connsiteY3" fmla="*/ 67369 h 67531"/>
                </a:gdLst>
                <a:ahLst/>
                <a:cxnLst>
                  <a:cxn ang="0">
                    <a:pos x="connsiteX0" y="connsiteY0"/>
                  </a:cxn>
                  <a:cxn ang="0">
                    <a:pos x="connsiteX1" y="connsiteY1"/>
                  </a:cxn>
                  <a:cxn ang="0">
                    <a:pos x="connsiteX2" y="connsiteY2"/>
                  </a:cxn>
                  <a:cxn ang="0">
                    <a:pos x="connsiteX3" y="connsiteY3"/>
                  </a:cxn>
                </a:cxnLst>
                <a:rect l="l" t="t" r="r" b="b"/>
                <a:pathLst>
                  <a:path w="106970" h="67531">
                    <a:moveTo>
                      <a:pt x="-332" y="67369"/>
                    </a:moveTo>
                    <a:lnTo>
                      <a:pt x="106634" y="5552"/>
                    </a:lnTo>
                    <a:cubicBezTo>
                      <a:pt x="106634" y="-1497"/>
                      <a:pt x="84060" y="-4926"/>
                      <a:pt x="53104" y="12886"/>
                    </a:cubicBezTo>
                    <a:cubicBezTo>
                      <a:pt x="22148" y="30697"/>
                      <a:pt x="-712" y="60987"/>
                      <a:pt x="-332" y="67369"/>
                    </a:cubicBezTo>
                    <a:close/>
                  </a:path>
                </a:pathLst>
              </a:custGeom>
              <a:solidFill>
                <a:srgbClr val="BF4200"/>
              </a:solidFill>
              <a:ln w="9525" cap="flat">
                <a:noFill/>
                <a:prstDash val="solid"/>
                <a:miter/>
              </a:ln>
            </p:spPr>
            <p:txBody>
              <a:bodyPr rtlCol="0" anchor="ctr"/>
              <a:lstStyle/>
              <a:p>
                <a:endParaRPr lang="zh-CN" altLang="en-US"/>
              </a:p>
            </p:txBody>
          </p:sp>
          <p:sp>
            <p:nvSpPr>
              <p:cNvPr id="865" name="íṩľidé">
                <a:extLst>
                  <a:ext uri="{FF2B5EF4-FFF2-40B4-BE49-F238E27FC236}">
                    <a16:creationId xmlns:a16="http://schemas.microsoft.com/office/drawing/2014/main" id="{D8681DC0-C00C-4972-B21D-D22ABBD12280}"/>
                  </a:ext>
                </a:extLst>
              </p:cNvPr>
              <p:cNvSpPr/>
              <p:nvPr/>
            </p:nvSpPr>
            <p:spPr>
              <a:xfrm>
                <a:off x="6185308" y="3984473"/>
                <a:ext cx="115192" cy="96441"/>
              </a:xfrm>
              <a:custGeom>
                <a:avLst/>
                <a:gdLst>
                  <a:gd name="connsiteX0" fmla="*/ -301 w 115192"/>
                  <a:gd name="connsiteY0" fmla="*/ 60535 h 96441"/>
                  <a:gd name="connsiteX1" fmla="*/ 19987 w 115192"/>
                  <a:gd name="connsiteY1" fmla="*/ 85491 h 96441"/>
                  <a:gd name="connsiteX2" fmla="*/ 26750 w 115192"/>
                  <a:gd name="connsiteY2" fmla="*/ 89491 h 96441"/>
                  <a:gd name="connsiteX3" fmla="*/ 58659 w 115192"/>
                  <a:gd name="connsiteY3" fmla="*/ 94540 h 96441"/>
                  <a:gd name="connsiteX4" fmla="*/ 58659 w 115192"/>
                  <a:gd name="connsiteY4" fmla="*/ 94540 h 96441"/>
                  <a:gd name="connsiteX5" fmla="*/ 59135 w 115192"/>
                  <a:gd name="connsiteY5" fmla="*/ 94540 h 96441"/>
                  <a:gd name="connsiteX6" fmla="*/ 59135 w 115192"/>
                  <a:gd name="connsiteY6" fmla="*/ 94540 h 96441"/>
                  <a:gd name="connsiteX7" fmla="*/ 59612 w 115192"/>
                  <a:gd name="connsiteY7" fmla="*/ 94540 h 96441"/>
                  <a:gd name="connsiteX8" fmla="*/ 60469 w 115192"/>
                  <a:gd name="connsiteY8" fmla="*/ 93587 h 96441"/>
                  <a:gd name="connsiteX9" fmla="*/ 61421 w 115192"/>
                  <a:gd name="connsiteY9" fmla="*/ 92349 h 96441"/>
                  <a:gd name="connsiteX10" fmla="*/ 114856 w 115192"/>
                  <a:gd name="connsiteY10" fmla="*/ 37866 h 96441"/>
                  <a:gd name="connsiteX11" fmla="*/ 87520 w 115192"/>
                  <a:gd name="connsiteY11" fmla="*/ 12625 h 96441"/>
                  <a:gd name="connsiteX12" fmla="*/ 80757 w 115192"/>
                  <a:gd name="connsiteY12" fmla="*/ 8624 h 96441"/>
                  <a:gd name="connsiteX13" fmla="*/ 77137 w 115192"/>
                  <a:gd name="connsiteY13" fmla="*/ 6624 h 96441"/>
                  <a:gd name="connsiteX14" fmla="*/ 73613 w 115192"/>
                  <a:gd name="connsiteY14" fmla="*/ 4814 h 96441"/>
                  <a:gd name="connsiteX15" fmla="*/ 71899 w 115192"/>
                  <a:gd name="connsiteY15" fmla="*/ 4052 h 96441"/>
                  <a:gd name="connsiteX16" fmla="*/ 68660 w 115192"/>
                  <a:gd name="connsiteY16" fmla="*/ 2623 h 96441"/>
                  <a:gd name="connsiteX17" fmla="*/ 64279 w 115192"/>
                  <a:gd name="connsiteY17" fmla="*/ 1004 h 96441"/>
                  <a:gd name="connsiteX18" fmla="*/ 60659 w 115192"/>
                  <a:gd name="connsiteY18" fmla="*/ 52 h 96441"/>
                  <a:gd name="connsiteX19" fmla="*/ 60659 w 115192"/>
                  <a:gd name="connsiteY19" fmla="*/ 52 h 96441"/>
                  <a:gd name="connsiteX20" fmla="*/ 56278 w 115192"/>
                  <a:gd name="connsiteY20" fmla="*/ 52 h 96441"/>
                  <a:gd name="connsiteX21" fmla="*/ 55135 w 115192"/>
                  <a:gd name="connsiteY21" fmla="*/ 52 h 96441"/>
                  <a:gd name="connsiteX22" fmla="*/ 45610 w 115192"/>
                  <a:gd name="connsiteY22" fmla="*/ 5957 h 96441"/>
                  <a:gd name="connsiteX23" fmla="*/ 36752 w 115192"/>
                  <a:gd name="connsiteY23" fmla="*/ 12529 h 96441"/>
                  <a:gd name="connsiteX24" fmla="*/ 28655 w 115192"/>
                  <a:gd name="connsiteY24" fmla="*/ 19387 h 96441"/>
                  <a:gd name="connsiteX25" fmla="*/ 17987 w 115192"/>
                  <a:gd name="connsiteY25" fmla="*/ 29770 h 96441"/>
                  <a:gd name="connsiteX26" fmla="*/ 9605 w 115192"/>
                  <a:gd name="connsiteY26" fmla="*/ 39295 h 96441"/>
                  <a:gd name="connsiteX27" fmla="*/ 3509 w 115192"/>
                  <a:gd name="connsiteY27" fmla="*/ 48058 h 96441"/>
                  <a:gd name="connsiteX28" fmla="*/ 176 w 115192"/>
                  <a:gd name="connsiteY28" fmla="*/ 55106 h 96441"/>
                  <a:gd name="connsiteX29" fmla="*/ -301 w 115192"/>
                  <a:gd name="connsiteY29" fmla="*/ 60535 h 96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15192" h="96441">
                    <a:moveTo>
                      <a:pt x="-301" y="60535"/>
                    </a:moveTo>
                    <a:cubicBezTo>
                      <a:pt x="2223" y="71556"/>
                      <a:pt x="9720" y="80776"/>
                      <a:pt x="19987" y="85491"/>
                    </a:cubicBezTo>
                    <a:lnTo>
                      <a:pt x="26750" y="89491"/>
                    </a:lnTo>
                    <a:cubicBezTo>
                      <a:pt x="35971" y="96178"/>
                      <a:pt x="47829" y="98054"/>
                      <a:pt x="58659" y="94540"/>
                    </a:cubicBezTo>
                    <a:lnTo>
                      <a:pt x="58659" y="94540"/>
                    </a:lnTo>
                    <a:lnTo>
                      <a:pt x="59135" y="94540"/>
                    </a:lnTo>
                    <a:lnTo>
                      <a:pt x="59135" y="94540"/>
                    </a:lnTo>
                    <a:lnTo>
                      <a:pt x="59612" y="94540"/>
                    </a:lnTo>
                    <a:lnTo>
                      <a:pt x="60469" y="93587"/>
                    </a:lnTo>
                    <a:cubicBezTo>
                      <a:pt x="60840" y="93216"/>
                      <a:pt x="61154" y="92797"/>
                      <a:pt x="61421" y="92349"/>
                    </a:cubicBezTo>
                    <a:cubicBezTo>
                      <a:pt x="61421" y="85681"/>
                      <a:pt x="83805" y="55868"/>
                      <a:pt x="114856" y="37866"/>
                    </a:cubicBezTo>
                    <a:cubicBezTo>
                      <a:pt x="114856" y="32627"/>
                      <a:pt x="102569" y="21293"/>
                      <a:pt x="87520" y="12625"/>
                    </a:cubicBezTo>
                    <a:lnTo>
                      <a:pt x="80757" y="8624"/>
                    </a:lnTo>
                    <a:lnTo>
                      <a:pt x="77137" y="6624"/>
                    </a:lnTo>
                    <a:lnTo>
                      <a:pt x="73613" y="4814"/>
                    </a:lnTo>
                    <a:lnTo>
                      <a:pt x="71899" y="4052"/>
                    </a:lnTo>
                    <a:lnTo>
                      <a:pt x="68660" y="2623"/>
                    </a:lnTo>
                    <a:cubicBezTo>
                      <a:pt x="67241" y="1985"/>
                      <a:pt x="65774" y="1452"/>
                      <a:pt x="64279" y="1004"/>
                    </a:cubicBezTo>
                    <a:cubicBezTo>
                      <a:pt x="63088" y="623"/>
                      <a:pt x="61879" y="299"/>
                      <a:pt x="60659" y="52"/>
                    </a:cubicBezTo>
                    <a:lnTo>
                      <a:pt x="60659" y="52"/>
                    </a:lnTo>
                    <a:cubicBezTo>
                      <a:pt x="59212" y="-234"/>
                      <a:pt x="57726" y="-234"/>
                      <a:pt x="56278" y="52"/>
                    </a:cubicBezTo>
                    <a:cubicBezTo>
                      <a:pt x="55897" y="-15"/>
                      <a:pt x="55516" y="-15"/>
                      <a:pt x="55135" y="52"/>
                    </a:cubicBezTo>
                    <a:cubicBezTo>
                      <a:pt x="52182" y="1766"/>
                      <a:pt x="48467" y="4147"/>
                      <a:pt x="45610" y="5957"/>
                    </a:cubicBezTo>
                    <a:cubicBezTo>
                      <a:pt x="40752" y="9291"/>
                      <a:pt x="36847" y="12434"/>
                      <a:pt x="36752" y="12529"/>
                    </a:cubicBezTo>
                    <a:cubicBezTo>
                      <a:pt x="33932" y="14663"/>
                      <a:pt x="31227" y="16958"/>
                      <a:pt x="28655" y="19387"/>
                    </a:cubicBezTo>
                    <a:cubicBezTo>
                      <a:pt x="25798" y="22054"/>
                      <a:pt x="21512" y="25960"/>
                      <a:pt x="17987" y="29770"/>
                    </a:cubicBezTo>
                    <a:cubicBezTo>
                      <a:pt x="14463" y="33580"/>
                      <a:pt x="12844" y="35580"/>
                      <a:pt x="9605" y="39295"/>
                    </a:cubicBezTo>
                    <a:cubicBezTo>
                      <a:pt x="7424" y="42105"/>
                      <a:pt x="5386" y="45029"/>
                      <a:pt x="3509" y="48058"/>
                    </a:cubicBezTo>
                    <a:cubicBezTo>
                      <a:pt x="2157" y="50286"/>
                      <a:pt x="1042" y="52649"/>
                      <a:pt x="176" y="55106"/>
                    </a:cubicBezTo>
                    <a:cubicBezTo>
                      <a:pt x="-253" y="56878"/>
                      <a:pt x="-415" y="58716"/>
                      <a:pt x="-301" y="60535"/>
                    </a:cubicBezTo>
                    <a:close/>
                  </a:path>
                </a:pathLst>
              </a:custGeom>
              <a:solidFill>
                <a:srgbClr val="D9530B"/>
              </a:solidFill>
              <a:ln w="9525" cap="flat">
                <a:noFill/>
                <a:prstDash val="solid"/>
                <a:miter/>
              </a:ln>
            </p:spPr>
            <p:txBody>
              <a:bodyPr rtlCol="0" anchor="ctr"/>
              <a:lstStyle/>
              <a:p>
                <a:endParaRPr lang="zh-CN" altLang="en-US"/>
              </a:p>
            </p:txBody>
          </p:sp>
        </p:grpSp>
        <p:sp>
          <p:nvSpPr>
            <p:cNvPr id="380" name="í$ḷiḍé">
              <a:extLst>
                <a:ext uri="{FF2B5EF4-FFF2-40B4-BE49-F238E27FC236}">
                  <a16:creationId xmlns:a16="http://schemas.microsoft.com/office/drawing/2014/main" id="{38204F6A-5CE1-497A-827B-CEEB99CCC968}"/>
                </a:ext>
              </a:extLst>
            </p:cNvPr>
            <p:cNvSpPr/>
            <p:nvPr/>
          </p:nvSpPr>
          <p:spPr>
            <a:xfrm>
              <a:off x="4874988" y="4873963"/>
              <a:ext cx="1716699" cy="724850"/>
            </a:xfrm>
            <a:custGeom>
              <a:avLst/>
              <a:gdLst>
                <a:gd name="connsiteX0" fmla="*/ -336 w 563975"/>
                <a:gd name="connsiteY0" fmla="*/ -163 h 238130"/>
                <a:gd name="connsiteX1" fmla="*/ -336 w 563975"/>
                <a:gd name="connsiteY1" fmla="*/ 7553 h 238130"/>
                <a:gd name="connsiteX2" fmla="*/ 5188 w 563975"/>
                <a:gd name="connsiteY2" fmla="*/ 15839 h 238130"/>
                <a:gd name="connsiteX3" fmla="*/ 6046 w 563975"/>
                <a:gd name="connsiteY3" fmla="*/ 16506 h 238130"/>
                <a:gd name="connsiteX4" fmla="*/ 383236 w 563975"/>
                <a:gd name="connsiteY4" fmla="*/ 234248 h 238130"/>
                <a:gd name="connsiteX5" fmla="*/ 398856 w 563975"/>
                <a:gd name="connsiteY5" fmla="*/ 237962 h 238130"/>
                <a:gd name="connsiteX6" fmla="*/ 414382 w 563975"/>
                <a:gd name="connsiteY6" fmla="*/ 234248 h 238130"/>
                <a:gd name="connsiteX7" fmla="*/ 557257 w 563975"/>
                <a:gd name="connsiteY7" fmla="*/ 151666 h 238130"/>
                <a:gd name="connsiteX8" fmla="*/ 558210 w 563975"/>
                <a:gd name="connsiteY8" fmla="*/ 151094 h 238130"/>
                <a:gd name="connsiteX9" fmla="*/ 563639 w 563975"/>
                <a:gd name="connsiteY9" fmla="*/ 142712 h 238130"/>
                <a:gd name="connsiteX10" fmla="*/ 563639 w 563975"/>
                <a:gd name="connsiteY10" fmla="*/ 134997 h 238130"/>
                <a:gd name="connsiteX11" fmla="*/ 562591 w 563975"/>
                <a:gd name="connsiteY11" fmla="*/ 138807 h 238130"/>
                <a:gd name="connsiteX12" fmla="*/ 558210 w 563975"/>
                <a:gd name="connsiteY12" fmla="*/ 143379 h 238130"/>
                <a:gd name="connsiteX13" fmla="*/ 557257 w 563975"/>
                <a:gd name="connsiteY13" fmla="*/ 144046 h 238130"/>
                <a:gd name="connsiteX14" fmla="*/ 414382 w 563975"/>
                <a:gd name="connsiteY14" fmla="*/ 226533 h 238130"/>
                <a:gd name="connsiteX15" fmla="*/ 398856 w 563975"/>
                <a:gd name="connsiteY15" fmla="*/ 230247 h 238130"/>
                <a:gd name="connsiteX16" fmla="*/ 383236 w 563975"/>
                <a:gd name="connsiteY16" fmla="*/ 226533 h 238130"/>
                <a:gd name="connsiteX17" fmla="*/ 6046 w 563975"/>
                <a:gd name="connsiteY17" fmla="*/ 8791 h 238130"/>
                <a:gd name="connsiteX18" fmla="*/ 5188 w 563975"/>
                <a:gd name="connsiteY18" fmla="*/ 8219 h 238130"/>
                <a:gd name="connsiteX19" fmla="*/ 712 w 563975"/>
                <a:gd name="connsiteY19" fmla="*/ 3647 h 238130"/>
                <a:gd name="connsiteX20" fmla="*/ -336 w 563975"/>
                <a:gd name="connsiteY20" fmla="*/ -163 h 238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63975" h="238130">
                  <a:moveTo>
                    <a:pt x="-336" y="-163"/>
                  </a:moveTo>
                  <a:lnTo>
                    <a:pt x="-336" y="7553"/>
                  </a:lnTo>
                  <a:cubicBezTo>
                    <a:pt x="-41" y="11077"/>
                    <a:pt x="2045" y="14211"/>
                    <a:pt x="5188" y="15839"/>
                  </a:cubicBezTo>
                  <a:lnTo>
                    <a:pt x="6046" y="16506"/>
                  </a:lnTo>
                  <a:lnTo>
                    <a:pt x="383236" y="234248"/>
                  </a:lnTo>
                  <a:cubicBezTo>
                    <a:pt x="388046" y="236781"/>
                    <a:pt x="393418" y="238058"/>
                    <a:pt x="398856" y="237962"/>
                  </a:cubicBezTo>
                  <a:cubicBezTo>
                    <a:pt x="404267" y="238067"/>
                    <a:pt x="409610" y="236791"/>
                    <a:pt x="414382" y="234248"/>
                  </a:cubicBezTo>
                  <a:lnTo>
                    <a:pt x="557257" y="151666"/>
                  </a:lnTo>
                  <a:lnTo>
                    <a:pt x="558210" y="151094"/>
                  </a:lnTo>
                  <a:cubicBezTo>
                    <a:pt x="561306" y="149390"/>
                    <a:pt x="563344" y="146237"/>
                    <a:pt x="563639" y="142712"/>
                  </a:cubicBezTo>
                  <a:lnTo>
                    <a:pt x="563639" y="134997"/>
                  </a:lnTo>
                  <a:cubicBezTo>
                    <a:pt x="563630" y="136340"/>
                    <a:pt x="563268" y="137655"/>
                    <a:pt x="562591" y="138807"/>
                  </a:cubicBezTo>
                  <a:cubicBezTo>
                    <a:pt x="561553" y="140684"/>
                    <a:pt x="560039" y="142255"/>
                    <a:pt x="558210" y="143379"/>
                  </a:cubicBezTo>
                  <a:lnTo>
                    <a:pt x="557257" y="144046"/>
                  </a:lnTo>
                  <a:lnTo>
                    <a:pt x="414382" y="226533"/>
                  </a:lnTo>
                  <a:cubicBezTo>
                    <a:pt x="409629" y="229123"/>
                    <a:pt x="404267" y="230399"/>
                    <a:pt x="398856" y="230247"/>
                  </a:cubicBezTo>
                  <a:cubicBezTo>
                    <a:pt x="393418" y="230390"/>
                    <a:pt x="388036" y="229104"/>
                    <a:pt x="383236" y="226533"/>
                  </a:cubicBezTo>
                  <a:lnTo>
                    <a:pt x="6046" y="8791"/>
                  </a:lnTo>
                  <a:lnTo>
                    <a:pt x="5188" y="8219"/>
                  </a:lnTo>
                  <a:cubicBezTo>
                    <a:pt x="3331" y="7105"/>
                    <a:pt x="1788" y="5533"/>
                    <a:pt x="712" y="3647"/>
                  </a:cubicBezTo>
                  <a:cubicBezTo>
                    <a:pt x="45" y="2485"/>
                    <a:pt x="-317" y="1171"/>
                    <a:pt x="-336" y="-163"/>
                  </a:cubicBezTo>
                  <a:close/>
                </a:path>
              </a:pathLst>
            </a:custGeom>
            <a:solidFill>
              <a:srgbClr val="BF4200"/>
            </a:solidFill>
            <a:ln w="9525" cap="flat">
              <a:noFill/>
              <a:prstDash val="solid"/>
              <a:miter/>
            </a:ln>
          </p:spPr>
          <p:txBody>
            <a:bodyPr rtlCol="0" anchor="ctr"/>
            <a:lstStyle/>
            <a:p>
              <a:endParaRPr lang="zh-CN" altLang="en-US"/>
            </a:p>
          </p:txBody>
        </p:sp>
        <p:sp>
          <p:nvSpPr>
            <p:cNvPr id="381" name="îŝļiďè">
              <a:extLst>
                <a:ext uri="{FF2B5EF4-FFF2-40B4-BE49-F238E27FC236}">
                  <a16:creationId xmlns:a16="http://schemas.microsoft.com/office/drawing/2014/main" id="{E22A9682-4E2B-423E-9C44-F34C887C00F4}"/>
                </a:ext>
              </a:extLst>
            </p:cNvPr>
            <p:cNvSpPr/>
            <p:nvPr/>
          </p:nvSpPr>
          <p:spPr>
            <a:xfrm>
              <a:off x="4874988" y="4583739"/>
              <a:ext cx="1716699" cy="991611"/>
            </a:xfrm>
            <a:custGeom>
              <a:avLst/>
              <a:gdLst>
                <a:gd name="connsiteX0" fmla="*/ -336 w 563975"/>
                <a:gd name="connsiteY0" fmla="*/ 95182 h 325767"/>
                <a:gd name="connsiteX1" fmla="*/ 712 w 563975"/>
                <a:gd name="connsiteY1" fmla="*/ 98992 h 325767"/>
                <a:gd name="connsiteX2" fmla="*/ 5188 w 563975"/>
                <a:gd name="connsiteY2" fmla="*/ 103565 h 325767"/>
                <a:gd name="connsiteX3" fmla="*/ 6046 w 563975"/>
                <a:gd name="connsiteY3" fmla="*/ 104136 h 325767"/>
                <a:gd name="connsiteX4" fmla="*/ 383236 w 563975"/>
                <a:gd name="connsiteY4" fmla="*/ 321878 h 325767"/>
                <a:gd name="connsiteX5" fmla="*/ 398856 w 563975"/>
                <a:gd name="connsiteY5" fmla="*/ 325592 h 325767"/>
                <a:gd name="connsiteX6" fmla="*/ 414382 w 563975"/>
                <a:gd name="connsiteY6" fmla="*/ 321878 h 325767"/>
                <a:gd name="connsiteX7" fmla="*/ 557257 w 563975"/>
                <a:gd name="connsiteY7" fmla="*/ 239391 h 325767"/>
                <a:gd name="connsiteX8" fmla="*/ 558210 w 563975"/>
                <a:gd name="connsiteY8" fmla="*/ 238724 h 325767"/>
                <a:gd name="connsiteX9" fmla="*/ 562591 w 563975"/>
                <a:gd name="connsiteY9" fmla="*/ 234152 h 325767"/>
                <a:gd name="connsiteX10" fmla="*/ 563639 w 563975"/>
                <a:gd name="connsiteY10" fmla="*/ 230342 h 325767"/>
                <a:gd name="connsiteX11" fmla="*/ 557257 w 563975"/>
                <a:gd name="connsiteY11" fmla="*/ 221389 h 325767"/>
                <a:gd name="connsiteX12" fmla="*/ 180163 w 563975"/>
                <a:gd name="connsiteY12" fmla="*/ 3552 h 325767"/>
                <a:gd name="connsiteX13" fmla="*/ 149111 w 563975"/>
                <a:gd name="connsiteY13" fmla="*/ 3552 h 325767"/>
                <a:gd name="connsiteX14" fmla="*/ 6236 w 563975"/>
                <a:gd name="connsiteY14" fmla="*/ 86134 h 325767"/>
                <a:gd name="connsiteX15" fmla="*/ -336 w 563975"/>
                <a:gd name="connsiteY15" fmla="*/ 95182 h 325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63975" h="325767">
                  <a:moveTo>
                    <a:pt x="-336" y="95182"/>
                  </a:moveTo>
                  <a:cubicBezTo>
                    <a:pt x="-317" y="96516"/>
                    <a:pt x="45" y="97831"/>
                    <a:pt x="712" y="98992"/>
                  </a:cubicBezTo>
                  <a:cubicBezTo>
                    <a:pt x="1788" y="100878"/>
                    <a:pt x="3331" y="102450"/>
                    <a:pt x="5188" y="103565"/>
                  </a:cubicBezTo>
                  <a:lnTo>
                    <a:pt x="6046" y="104136"/>
                  </a:lnTo>
                  <a:lnTo>
                    <a:pt x="383236" y="321878"/>
                  </a:lnTo>
                  <a:cubicBezTo>
                    <a:pt x="388036" y="324449"/>
                    <a:pt x="393418" y="325735"/>
                    <a:pt x="398856" y="325592"/>
                  </a:cubicBezTo>
                  <a:cubicBezTo>
                    <a:pt x="404267" y="325745"/>
                    <a:pt x="409629" y="324468"/>
                    <a:pt x="414382" y="321878"/>
                  </a:cubicBezTo>
                  <a:lnTo>
                    <a:pt x="557257" y="239391"/>
                  </a:lnTo>
                  <a:lnTo>
                    <a:pt x="558210" y="238724"/>
                  </a:lnTo>
                  <a:cubicBezTo>
                    <a:pt x="560039" y="237600"/>
                    <a:pt x="561544" y="236029"/>
                    <a:pt x="562591" y="234152"/>
                  </a:cubicBezTo>
                  <a:cubicBezTo>
                    <a:pt x="563268" y="233000"/>
                    <a:pt x="563630" y="231685"/>
                    <a:pt x="563639" y="230342"/>
                  </a:cubicBezTo>
                  <a:cubicBezTo>
                    <a:pt x="563268" y="226427"/>
                    <a:pt x="560839" y="223008"/>
                    <a:pt x="557257" y="221389"/>
                  </a:cubicBezTo>
                  <a:lnTo>
                    <a:pt x="180163" y="3552"/>
                  </a:lnTo>
                  <a:cubicBezTo>
                    <a:pt x="170409" y="-1401"/>
                    <a:pt x="158865" y="-1401"/>
                    <a:pt x="149111" y="3552"/>
                  </a:cubicBezTo>
                  <a:lnTo>
                    <a:pt x="6236" y="86134"/>
                  </a:lnTo>
                  <a:cubicBezTo>
                    <a:pt x="2540" y="87705"/>
                    <a:pt x="16" y="91182"/>
                    <a:pt x="-336" y="95182"/>
                  </a:cubicBezTo>
                  <a:close/>
                </a:path>
              </a:pathLst>
            </a:custGeom>
            <a:solidFill>
              <a:srgbClr val="D9530B"/>
            </a:solidFill>
            <a:ln w="9525" cap="flat">
              <a:noFill/>
              <a:prstDash val="solid"/>
              <a:miter/>
            </a:ln>
          </p:spPr>
          <p:txBody>
            <a:bodyPr rtlCol="0" anchor="ctr"/>
            <a:lstStyle/>
            <a:p>
              <a:endParaRPr lang="zh-CN" altLang="en-US"/>
            </a:p>
          </p:txBody>
        </p:sp>
        <p:sp>
          <p:nvSpPr>
            <p:cNvPr id="382" name="îṧļïḑé">
              <a:extLst>
                <a:ext uri="{FF2B5EF4-FFF2-40B4-BE49-F238E27FC236}">
                  <a16:creationId xmlns:a16="http://schemas.microsoft.com/office/drawing/2014/main" id="{0C41D675-F83C-4529-BE85-27CB75222476}"/>
                </a:ext>
              </a:extLst>
            </p:cNvPr>
            <p:cNvSpPr/>
            <p:nvPr/>
          </p:nvSpPr>
          <p:spPr>
            <a:xfrm>
              <a:off x="4888905" y="4592004"/>
              <a:ext cx="1690603" cy="975408"/>
            </a:xfrm>
            <a:custGeom>
              <a:avLst/>
              <a:gdLst>
                <a:gd name="connsiteX0" fmla="*/ -336 w 555402"/>
                <a:gd name="connsiteY0" fmla="*/ 92468 h 320444"/>
                <a:gd name="connsiteX1" fmla="*/ 4045 w 555402"/>
                <a:gd name="connsiteY1" fmla="*/ 99040 h 320444"/>
                <a:gd name="connsiteX2" fmla="*/ 4807 w 555402"/>
                <a:gd name="connsiteY2" fmla="*/ 99516 h 320444"/>
                <a:gd name="connsiteX3" fmla="*/ 382473 w 555402"/>
                <a:gd name="connsiteY3" fmla="*/ 317353 h 320444"/>
                <a:gd name="connsiteX4" fmla="*/ 407048 w 555402"/>
                <a:gd name="connsiteY4" fmla="*/ 317353 h 320444"/>
                <a:gd name="connsiteX5" fmla="*/ 549923 w 555402"/>
                <a:gd name="connsiteY5" fmla="*/ 234771 h 320444"/>
                <a:gd name="connsiteX6" fmla="*/ 550685 w 555402"/>
                <a:gd name="connsiteY6" fmla="*/ 234295 h 320444"/>
                <a:gd name="connsiteX7" fmla="*/ 555066 w 555402"/>
                <a:gd name="connsiteY7" fmla="*/ 227628 h 320444"/>
                <a:gd name="connsiteX8" fmla="*/ 549923 w 555402"/>
                <a:gd name="connsiteY8" fmla="*/ 220579 h 320444"/>
                <a:gd name="connsiteX9" fmla="*/ 172733 w 555402"/>
                <a:gd name="connsiteY9" fmla="*/ 2838 h 320444"/>
                <a:gd name="connsiteX10" fmla="*/ 148158 w 555402"/>
                <a:gd name="connsiteY10" fmla="*/ 2838 h 320444"/>
                <a:gd name="connsiteX11" fmla="*/ 5283 w 555402"/>
                <a:gd name="connsiteY11" fmla="*/ 85324 h 320444"/>
                <a:gd name="connsiteX12" fmla="*/ -336 w 555402"/>
                <a:gd name="connsiteY12" fmla="*/ 92468 h 320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55402" h="320444">
                  <a:moveTo>
                    <a:pt x="-336" y="92468"/>
                  </a:moveTo>
                  <a:cubicBezTo>
                    <a:pt x="-155" y="95287"/>
                    <a:pt x="1521" y="97792"/>
                    <a:pt x="4045" y="99040"/>
                  </a:cubicBezTo>
                  <a:lnTo>
                    <a:pt x="4807" y="99516"/>
                  </a:lnTo>
                  <a:lnTo>
                    <a:pt x="382473" y="317353"/>
                  </a:lnTo>
                  <a:cubicBezTo>
                    <a:pt x="390198" y="321259"/>
                    <a:pt x="399323" y="321259"/>
                    <a:pt x="407048" y="317353"/>
                  </a:cubicBezTo>
                  <a:lnTo>
                    <a:pt x="549923" y="234771"/>
                  </a:lnTo>
                  <a:lnTo>
                    <a:pt x="550685" y="234295"/>
                  </a:lnTo>
                  <a:cubicBezTo>
                    <a:pt x="553180" y="232952"/>
                    <a:pt x="554828" y="230447"/>
                    <a:pt x="555066" y="227628"/>
                  </a:cubicBezTo>
                  <a:cubicBezTo>
                    <a:pt x="554790" y="224513"/>
                    <a:pt x="552809" y="221798"/>
                    <a:pt x="549923" y="220579"/>
                  </a:cubicBezTo>
                  <a:lnTo>
                    <a:pt x="172733" y="2838"/>
                  </a:lnTo>
                  <a:cubicBezTo>
                    <a:pt x="165027" y="-1163"/>
                    <a:pt x="155864" y="-1163"/>
                    <a:pt x="148158" y="2838"/>
                  </a:cubicBezTo>
                  <a:lnTo>
                    <a:pt x="5283" y="85324"/>
                  </a:lnTo>
                  <a:cubicBezTo>
                    <a:pt x="2226" y="86467"/>
                    <a:pt x="64" y="89229"/>
                    <a:pt x="-336" y="92468"/>
                  </a:cubicBezTo>
                  <a:close/>
                </a:path>
              </a:pathLst>
            </a:custGeom>
            <a:solidFill>
              <a:srgbClr val="FF7D33"/>
            </a:solidFill>
            <a:ln w="9525" cap="flat">
              <a:noFill/>
              <a:prstDash val="solid"/>
              <a:miter/>
            </a:ln>
          </p:spPr>
          <p:txBody>
            <a:bodyPr rtlCol="0" anchor="ctr"/>
            <a:lstStyle/>
            <a:p>
              <a:endParaRPr lang="zh-CN" altLang="en-US"/>
            </a:p>
          </p:txBody>
        </p:sp>
        <p:sp>
          <p:nvSpPr>
            <p:cNvPr id="383" name="îsļîďe">
              <a:extLst>
                <a:ext uri="{FF2B5EF4-FFF2-40B4-BE49-F238E27FC236}">
                  <a16:creationId xmlns:a16="http://schemas.microsoft.com/office/drawing/2014/main" id="{E56C1C4E-33BF-432E-A85C-7E70B2BC7617}"/>
                </a:ext>
              </a:extLst>
            </p:cNvPr>
            <p:cNvSpPr/>
            <p:nvPr/>
          </p:nvSpPr>
          <p:spPr>
            <a:xfrm>
              <a:off x="5313079" y="4592220"/>
              <a:ext cx="146416" cy="84804"/>
            </a:xfrm>
            <a:custGeom>
              <a:avLst/>
              <a:gdLst>
                <a:gd name="connsiteX0" fmla="*/ -336 w 48101"/>
                <a:gd name="connsiteY0" fmla="*/ 10291 h 27860"/>
                <a:gd name="connsiteX1" fmla="*/ 1188 w 48101"/>
                <a:gd name="connsiteY1" fmla="*/ 12577 h 27860"/>
                <a:gd name="connsiteX2" fmla="*/ 3569 w 48101"/>
                <a:gd name="connsiteY2" fmla="*/ 13911 h 27860"/>
                <a:gd name="connsiteX3" fmla="*/ 25857 w 48101"/>
                <a:gd name="connsiteY3" fmla="*/ 26769 h 27860"/>
                <a:gd name="connsiteX4" fmla="*/ 33668 w 48101"/>
                <a:gd name="connsiteY4" fmla="*/ 26769 h 27860"/>
                <a:gd name="connsiteX5" fmla="*/ 43860 w 48101"/>
                <a:gd name="connsiteY5" fmla="*/ 20864 h 27860"/>
                <a:gd name="connsiteX6" fmla="*/ 46241 w 48101"/>
                <a:gd name="connsiteY6" fmla="*/ 19530 h 27860"/>
                <a:gd name="connsiteX7" fmla="*/ 47765 w 48101"/>
                <a:gd name="connsiteY7" fmla="*/ 17816 h 27860"/>
                <a:gd name="connsiteX8" fmla="*/ 47765 w 48101"/>
                <a:gd name="connsiteY8" fmla="*/ 16768 h 27860"/>
                <a:gd name="connsiteX9" fmla="*/ 46241 w 48101"/>
                <a:gd name="connsiteY9" fmla="*/ 15054 h 27860"/>
                <a:gd name="connsiteX10" fmla="*/ 21476 w 48101"/>
                <a:gd name="connsiteY10" fmla="*/ 766 h 27860"/>
                <a:gd name="connsiteX11" fmla="*/ 13856 w 48101"/>
                <a:gd name="connsiteY11" fmla="*/ 766 h 27860"/>
                <a:gd name="connsiteX12" fmla="*/ 1188 w 48101"/>
                <a:gd name="connsiteY12" fmla="*/ 8100 h 27860"/>
                <a:gd name="connsiteX13" fmla="*/ -336 w 48101"/>
                <a:gd name="connsiteY13" fmla="*/ 10291 h 27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8101" h="27860">
                  <a:moveTo>
                    <a:pt x="-336" y="10291"/>
                  </a:moveTo>
                  <a:cubicBezTo>
                    <a:pt x="-270" y="11272"/>
                    <a:pt x="311" y="12139"/>
                    <a:pt x="1188" y="12577"/>
                  </a:cubicBezTo>
                  <a:lnTo>
                    <a:pt x="3569" y="13911"/>
                  </a:lnTo>
                  <a:lnTo>
                    <a:pt x="25857" y="26769"/>
                  </a:lnTo>
                  <a:cubicBezTo>
                    <a:pt x="28315" y="28007"/>
                    <a:pt x="31211" y="28007"/>
                    <a:pt x="33668" y="26769"/>
                  </a:cubicBezTo>
                  <a:lnTo>
                    <a:pt x="43860" y="20864"/>
                  </a:lnTo>
                  <a:lnTo>
                    <a:pt x="46241" y="19530"/>
                  </a:lnTo>
                  <a:cubicBezTo>
                    <a:pt x="46946" y="19168"/>
                    <a:pt x="47479" y="18559"/>
                    <a:pt x="47765" y="17816"/>
                  </a:cubicBezTo>
                  <a:lnTo>
                    <a:pt x="47765" y="16768"/>
                  </a:lnTo>
                  <a:cubicBezTo>
                    <a:pt x="47479" y="16025"/>
                    <a:pt x="46946" y="15415"/>
                    <a:pt x="46241" y="15054"/>
                  </a:cubicBezTo>
                  <a:lnTo>
                    <a:pt x="21476" y="766"/>
                  </a:lnTo>
                  <a:cubicBezTo>
                    <a:pt x="19085" y="-472"/>
                    <a:pt x="16247" y="-472"/>
                    <a:pt x="13856" y="766"/>
                  </a:cubicBezTo>
                  <a:lnTo>
                    <a:pt x="1188" y="8100"/>
                  </a:lnTo>
                  <a:cubicBezTo>
                    <a:pt x="311" y="8491"/>
                    <a:pt x="-279"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384" name="ïṡḷïḓé">
              <a:extLst>
                <a:ext uri="{FF2B5EF4-FFF2-40B4-BE49-F238E27FC236}">
                  <a16:creationId xmlns:a16="http://schemas.microsoft.com/office/drawing/2014/main" id="{AA1FC480-8C7A-4CA8-8298-B2A0281769BA}"/>
                </a:ext>
              </a:extLst>
            </p:cNvPr>
            <p:cNvSpPr/>
            <p:nvPr/>
          </p:nvSpPr>
          <p:spPr>
            <a:xfrm>
              <a:off x="5314963" y="4594539"/>
              <a:ext cx="142718" cy="82484"/>
            </a:xfrm>
            <a:custGeom>
              <a:avLst/>
              <a:gdLst>
                <a:gd name="connsiteX0" fmla="*/ 25429 w 46886"/>
                <a:gd name="connsiteY0" fmla="*/ 26007 h 27098"/>
                <a:gd name="connsiteX1" fmla="*/ 1235 w 46886"/>
                <a:gd name="connsiteY1" fmla="*/ 12006 h 27098"/>
                <a:gd name="connsiteX2" fmla="*/ 1235 w 46886"/>
                <a:gd name="connsiteY2" fmla="*/ 7719 h 27098"/>
                <a:gd name="connsiteX3" fmla="*/ 13332 w 46886"/>
                <a:gd name="connsiteY3" fmla="*/ 766 h 27098"/>
                <a:gd name="connsiteX4" fmla="*/ 20761 w 46886"/>
                <a:gd name="connsiteY4" fmla="*/ 766 h 27098"/>
                <a:gd name="connsiteX5" fmla="*/ 45050 w 46886"/>
                <a:gd name="connsiteY5" fmla="*/ 14768 h 27098"/>
                <a:gd name="connsiteX6" fmla="*/ 45050 w 46886"/>
                <a:gd name="connsiteY6" fmla="*/ 19054 h 27098"/>
                <a:gd name="connsiteX7" fmla="*/ 32858 w 46886"/>
                <a:gd name="connsiteY7" fmla="*/ 26007 h 27098"/>
                <a:gd name="connsiteX8" fmla="*/ 25429 w 46886"/>
                <a:gd name="connsiteY8" fmla="*/ 26007 h 270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886" h="27098">
                  <a:moveTo>
                    <a:pt x="25429" y="26007"/>
                  </a:moveTo>
                  <a:lnTo>
                    <a:pt x="1235" y="12006"/>
                  </a:lnTo>
                  <a:cubicBezTo>
                    <a:pt x="-860" y="10863"/>
                    <a:pt x="-860" y="8958"/>
                    <a:pt x="1235" y="7719"/>
                  </a:cubicBezTo>
                  <a:lnTo>
                    <a:pt x="13332" y="766"/>
                  </a:lnTo>
                  <a:cubicBezTo>
                    <a:pt x="15656" y="-472"/>
                    <a:pt x="18437" y="-472"/>
                    <a:pt x="20761" y="766"/>
                  </a:cubicBezTo>
                  <a:lnTo>
                    <a:pt x="45050" y="14768"/>
                  </a:lnTo>
                  <a:cubicBezTo>
                    <a:pt x="47051" y="15911"/>
                    <a:pt x="47051" y="17816"/>
                    <a:pt x="45050" y="19054"/>
                  </a:cubicBezTo>
                  <a:lnTo>
                    <a:pt x="32858" y="26007"/>
                  </a:lnTo>
                  <a:cubicBezTo>
                    <a:pt x="30534" y="27245"/>
                    <a:pt x="27753" y="27245"/>
                    <a:pt x="25429" y="26007"/>
                  </a:cubicBezTo>
                  <a:close/>
                </a:path>
              </a:pathLst>
            </a:custGeom>
            <a:solidFill>
              <a:srgbClr val="D1D9E8"/>
            </a:solidFill>
            <a:ln w="9525" cap="flat">
              <a:noFill/>
              <a:prstDash val="solid"/>
              <a:miter/>
            </a:ln>
          </p:spPr>
          <p:txBody>
            <a:bodyPr rtlCol="0" anchor="ctr"/>
            <a:lstStyle/>
            <a:p>
              <a:endParaRPr lang="zh-CN" altLang="en-US"/>
            </a:p>
          </p:txBody>
        </p:sp>
        <p:sp>
          <p:nvSpPr>
            <p:cNvPr id="385" name="îṩḷíḋê">
              <a:extLst>
                <a:ext uri="{FF2B5EF4-FFF2-40B4-BE49-F238E27FC236}">
                  <a16:creationId xmlns:a16="http://schemas.microsoft.com/office/drawing/2014/main" id="{0DA03A87-DB88-4EA2-A22C-E4C275BC50FF}"/>
                </a:ext>
              </a:extLst>
            </p:cNvPr>
            <p:cNvSpPr/>
            <p:nvPr/>
          </p:nvSpPr>
          <p:spPr>
            <a:xfrm>
              <a:off x="5313079" y="4624041"/>
              <a:ext cx="146416" cy="74728"/>
            </a:xfrm>
            <a:custGeom>
              <a:avLst/>
              <a:gdLst>
                <a:gd name="connsiteX0" fmla="*/ -336 w 48101"/>
                <a:gd name="connsiteY0" fmla="*/ -163 h 24550"/>
                <a:gd name="connsiteX1" fmla="*/ -336 w 48101"/>
                <a:gd name="connsiteY1" fmla="*/ 6981 h 24550"/>
                <a:gd name="connsiteX2" fmla="*/ 1188 w 48101"/>
                <a:gd name="connsiteY2" fmla="*/ 9267 h 24550"/>
                <a:gd name="connsiteX3" fmla="*/ 25857 w 48101"/>
                <a:gd name="connsiteY3" fmla="*/ 23459 h 24550"/>
                <a:gd name="connsiteX4" fmla="*/ 33668 w 48101"/>
                <a:gd name="connsiteY4" fmla="*/ 23459 h 24550"/>
                <a:gd name="connsiteX5" fmla="*/ 46241 w 48101"/>
                <a:gd name="connsiteY5" fmla="*/ 16220 h 24550"/>
                <a:gd name="connsiteX6" fmla="*/ 47765 w 48101"/>
                <a:gd name="connsiteY6" fmla="*/ 14601 h 24550"/>
                <a:gd name="connsiteX7" fmla="*/ 47765 w 48101"/>
                <a:gd name="connsiteY7" fmla="*/ 7362 h 24550"/>
                <a:gd name="connsiteX8" fmla="*/ 46241 w 48101"/>
                <a:gd name="connsiteY8" fmla="*/ 9077 h 24550"/>
                <a:gd name="connsiteX9" fmla="*/ 43860 w 48101"/>
                <a:gd name="connsiteY9" fmla="*/ 10410 h 24550"/>
                <a:gd name="connsiteX10" fmla="*/ 33668 w 48101"/>
                <a:gd name="connsiteY10" fmla="*/ 16316 h 24550"/>
                <a:gd name="connsiteX11" fmla="*/ 25857 w 48101"/>
                <a:gd name="connsiteY11" fmla="*/ 16316 h 24550"/>
                <a:gd name="connsiteX12" fmla="*/ 3569 w 48101"/>
                <a:gd name="connsiteY12" fmla="*/ 3457 h 24550"/>
                <a:gd name="connsiteX13" fmla="*/ 1188 w 48101"/>
                <a:gd name="connsiteY13" fmla="*/ 2123 h 24550"/>
                <a:gd name="connsiteX14" fmla="*/ -336 w 48101"/>
                <a:gd name="connsiteY14" fmla="*/ -163 h 24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8101" h="24550">
                  <a:moveTo>
                    <a:pt x="-336" y="-163"/>
                  </a:moveTo>
                  <a:lnTo>
                    <a:pt x="-336" y="6981"/>
                  </a:lnTo>
                  <a:cubicBezTo>
                    <a:pt x="-251" y="7953"/>
                    <a:pt x="321" y="8819"/>
                    <a:pt x="1188" y="9267"/>
                  </a:cubicBezTo>
                  <a:lnTo>
                    <a:pt x="25857" y="23459"/>
                  </a:lnTo>
                  <a:cubicBezTo>
                    <a:pt x="28315" y="24697"/>
                    <a:pt x="31211" y="24697"/>
                    <a:pt x="33668" y="23459"/>
                  </a:cubicBezTo>
                  <a:lnTo>
                    <a:pt x="46241" y="16220"/>
                  </a:lnTo>
                  <a:cubicBezTo>
                    <a:pt x="46917" y="15868"/>
                    <a:pt x="47451" y="15296"/>
                    <a:pt x="47765" y="14601"/>
                  </a:cubicBezTo>
                  <a:lnTo>
                    <a:pt x="47765" y="7362"/>
                  </a:lnTo>
                  <a:cubicBezTo>
                    <a:pt x="47479" y="8105"/>
                    <a:pt x="46946" y="8715"/>
                    <a:pt x="46241" y="9077"/>
                  </a:cubicBezTo>
                  <a:lnTo>
                    <a:pt x="43860" y="10410"/>
                  </a:lnTo>
                  <a:lnTo>
                    <a:pt x="33668" y="16316"/>
                  </a:lnTo>
                  <a:cubicBezTo>
                    <a:pt x="31211" y="17554"/>
                    <a:pt x="28315" y="17554"/>
                    <a:pt x="25857" y="16316"/>
                  </a:cubicBezTo>
                  <a:lnTo>
                    <a:pt x="3569" y="3457"/>
                  </a:lnTo>
                  <a:lnTo>
                    <a:pt x="1188"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386" name="iṡľidé">
              <a:extLst>
                <a:ext uri="{FF2B5EF4-FFF2-40B4-BE49-F238E27FC236}">
                  <a16:creationId xmlns:a16="http://schemas.microsoft.com/office/drawing/2014/main" id="{7DA1ECB1-7BFD-4C57-AA8A-2C311A6E582F}"/>
                </a:ext>
              </a:extLst>
            </p:cNvPr>
            <p:cNvSpPr/>
            <p:nvPr/>
          </p:nvSpPr>
          <p:spPr>
            <a:xfrm>
              <a:off x="5429923" y="4660839"/>
              <a:ext cx="109740" cy="63442"/>
            </a:xfrm>
            <a:custGeom>
              <a:avLst/>
              <a:gdLst>
                <a:gd name="connsiteX0" fmla="*/ -336 w 36052"/>
                <a:gd name="connsiteY0" fmla="*/ 10227 h 20842"/>
                <a:gd name="connsiteX1" fmla="*/ 1188 w 36052"/>
                <a:gd name="connsiteY1" fmla="*/ 12513 h 20842"/>
                <a:gd name="connsiteX2" fmla="*/ 3569 w 36052"/>
                <a:gd name="connsiteY2" fmla="*/ 13846 h 20842"/>
                <a:gd name="connsiteX3" fmla="*/ 13856 w 36052"/>
                <a:gd name="connsiteY3" fmla="*/ 19752 h 20842"/>
                <a:gd name="connsiteX4" fmla="*/ 21476 w 36052"/>
                <a:gd name="connsiteY4" fmla="*/ 19752 h 20842"/>
                <a:gd name="connsiteX5" fmla="*/ 31763 w 36052"/>
                <a:gd name="connsiteY5" fmla="*/ 13846 h 20842"/>
                <a:gd name="connsiteX6" fmla="*/ 34144 w 36052"/>
                <a:gd name="connsiteY6" fmla="*/ 12513 h 20842"/>
                <a:gd name="connsiteX7" fmla="*/ 35573 w 36052"/>
                <a:gd name="connsiteY7" fmla="*/ 9465 h 20842"/>
                <a:gd name="connsiteX8" fmla="*/ 34144 w 36052"/>
                <a:gd name="connsiteY8" fmla="*/ 8036 h 20842"/>
                <a:gd name="connsiteX9" fmla="*/ 21476 w 36052"/>
                <a:gd name="connsiteY9" fmla="*/ 702 h 20842"/>
                <a:gd name="connsiteX10" fmla="*/ 13856 w 36052"/>
                <a:gd name="connsiteY10" fmla="*/ 702 h 20842"/>
                <a:gd name="connsiteX11" fmla="*/ 1188 w 36052"/>
                <a:gd name="connsiteY11" fmla="*/ 8036 h 20842"/>
                <a:gd name="connsiteX12" fmla="*/ -336 w 36052"/>
                <a:gd name="connsiteY12" fmla="*/ 10227 h 20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2">
                  <a:moveTo>
                    <a:pt x="-336" y="10227"/>
                  </a:moveTo>
                  <a:cubicBezTo>
                    <a:pt x="-270" y="11208"/>
                    <a:pt x="311" y="12074"/>
                    <a:pt x="1188" y="12513"/>
                  </a:cubicBezTo>
                  <a:lnTo>
                    <a:pt x="3569" y="13846"/>
                  </a:lnTo>
                  <a:lnTo>
                    <a:pt x="13856" y="19752"/>
                  </a:lnTo>
                  <a:cubicBezTo>
                    <a:pt x="16247" y="20990"/>
                    <a:pt x="19085" y="20990"/>
                    <a:pt x="21476" y="19752"/>
                  </a:cubicBezTo>
                  <a:lnTo>
                    <a:pt x="31763" y="13846"/>
                  </a:lnTo>
                  <a:lnTo>
                    <a:pt x="34144" y="12513"/>
                  </a:lnTo>
                  <a:cubicBezTo>
                    <a:pt x="35382" y="12065"/>
                    <a:pt x="36020" y="10693"/>
                    <a:pt x="35573" y="9465"/>
                  </a:cubicBezTo>
                  <a:cubicBezTo>
                    <a:pt x="35325" y="8798"/>
                    <a:pt x="34811" y="8274"/>
                    <a:pt x="34144"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387" name="iś1ïḓé">
              <a:extLst>
                <a:ext uri="{FF2B5EF4-FFF2-40B4-BE49-F238E27FC236}">
                  <a16:creationId xmlns:a16="http://schemas.microsoft.com/office/drawing/2014/main" id="{C6BCECAE-A361-46DB-96B1-6B798F06CECD}"/>
                </a:ext>
              </a:extLst>
            </p:cNvPr>
            <p:cNvSpPr/>
            <p:nvPr/>
          </p:nvSpPr>
          <p:spPr>
            <a:xfrm>
              <a:off x="5431808" y="4662020"/>
              <a:ext cx="105895" cy="61104"/>
            </a:xfrm>
            <a:custGeom>
              <a:avLst/>
              <a:gdLst>
                <a:gd name="connsiteX0" fmla="*/ 1235 w 34789"/>
                <a:gd name="connsiteY0" fmla="*/ 12029 h 20074"/>
                <a:gd name="connsiteX1" fmla="*/ 13332 w 34789"/>
                <a:gd name="connsiteY1" fmla="*/ 18983 h 20074"/>
                <a:gd name="connsiteX2" fmla="*/ 20761 w 34789"/>
                <a:gd name="connsiteY2" fmla="*/ 18983 h 20074"/>
                <a:gd name="connsiteX3" fmla="*/ 32953 w 34789"/>
                <a:gd name="connsiteY3" fmla="*/ 12029 h 20074"/>
                <a:gd name="connsiteX4" fmla="*/ 32953 w 34789"/>
                <a:gd name="connsiteY4" fmla="*/ 7743 h 20074"/>
                <a:gd name="connsiteX5" fmla="*/ 20761 w 34789"/>
                <a:gd name="connsiteY5" fmla="*/ 695 h 20074"/>
                <a:gd name="connsiteX6" fmla="*/ 13332 w 34789"/>
                <a:gd name="connsiteY6" fmla="*/ 695 h 20074"/>
                <a:gd name="connsiteX7" fmla="*/ 1235 w 34789"/>
                <a:gd name="connsiteY7" fmla="*/ 7743 h 20074"/>
                <a:gd name="connsiteX8" fmla="*/ 1235 w 34789"/>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89" h="20074">
                  <a:moveTo>
                    <a:pt x="1235" y="12029"/>
                  </a:moveTo>
                  <a:lnTo>
                    <a:pt x="13332" y="18983"/>
                  </a:lnTo>
                  <a:cubicBezTo>
                    <a:pt x="15656" y="20221"/>
                    <a:pt x="18437" y="20221"/>
                    <a:pt x="20761" y="18983"/>
                  </a:cubicBezTo>
                  <a:lnTo>
                    <a:pt x="32953" y="12029"/>
                  </a:lnTo>
                  <a:cubicBezTo>
                    <a:pt x="34954" y="10791"/>
                    <a:pt x="34954" y="8886"/>
                    <a:pt x="32953" y="7743"/>
                  </a:cubicBezTo>
                  <a:lnTo>
                    <a:pt x="20761" y="695"/>
                  </a:lnTo>
                  <a:cubicBezTo>
                    <a:pt x="18418" y="-448"/>
                    <a:pt x="15675" y="-448"/>
                    <a:pt x="13332" y="695"/>
                  </a:cubicBezTo>
                  <a:lnTo>
                    <a:pt x="1235" y="7743"/>
                  </a:lnTo>
                  <a:cubicBezTo>
                    <a:pt x="-860" y="8886"/>
                    <a:pt x="-860" y="10791"/>
                    <a:pt x="1235" y="12029"/>
                  </a:cubicBezTo>
                  <a:close/>
                </a:path>
              </a:pathLst>
            </a:custGeom>
            <a:solidFill>
              <a:srgbClr val="D1D9E8"/>
            </a:solidFill>
            <a:ln w="9525" cap="flat">
              <a:noFill/>
              <a:prstDash val="solid"/>
              <a:miter/>
            </a:ln>
          </p:spPr>
          <p:txBody>
            <a:bodyPr rtlCol="0" anchor="ctr"/>
            <a:lstStyle/>
            <a:p>
              <a:endParaRPr lang="zh-CN" altLang="en-US"/>
            </a:p>
          </p:txBody>
        </p:sp>
        <p:sp>
          <p:nvSpPr>
            <p:cNvPr id="388" name="ïṩḻîḍê">
              <a:extLst>
                <a:ext uri="{FF2B5EF4-FFF2-40B4-BE49-F238E27FC236}">
                  <a16:creationId xmlns:a16="http://schemas.microsoft.com/office/drawing/2014/main" id="{402CA260-61FB-4D6D-852D-52181F213AB9}"/>
                </a:ext>
              </a:extLst>
            </p:cNvPr>
            <p:cNvSpPr/>
            <p:nvPr/>
          </p:nvSpPr>
          <p:spPr>
            <a:xfrm>
              <a:off x="5429923" y="4692465"/>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4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4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20"/>
                    <a:pt x="35582" y="7953"/>
                    <a:pt x="35668" y="6981"/>
                  </a:cubicBezTo>
                  <a:lnTo>
                    <a:pt x="35668" y="-163"/>
                  </a:lnTo>
                  <a:cubicBezTo>
                    <a:pt x="35602" y="819"/>
                    <a:pt x="35021" y="1685"/>
                    <a:pt x="34144" y="2124"/>
                  </a:cubicBezTo>
                  <a:lnTo>
                    <a:pt x="31763" y="3457"/>
                  </a:lnTo>
                  <a:lnTo>
                    <a:pt x="21476" y="9362"/>
                  </a:lnTo>
                  <a:cubicBezTo>
                    <a:pt x="19085" y="10601"/>
                    <a:pt x="16247" y="10601"/>
                    <a:pt x="13856" y="9362"/>
                  </a:cubicBezTo>
                  <a:lnTo>
                    <a:pt x="3569" y="3457"/>
                  </a:lnTo>
                  <a:lnTo>
                    <a:pt x="1188" y="2124"/>
                  </a:lnTo>
                  <a:cubicBezTo>
                    <a:pt x="311" y="1685"/>
                    <a:pt x="-270" y="819"/>
                    <a:pt x="-336" y="-163"/>
                  </a:cubicBezTo>
                  <a:close/>
                </a:path>
              </a:pathLst>
            </a:custGeom>
            <a:solidFill>
              <a:srgbClr val="BF4200"/>
            </a:solidFill>
            <a:ln w="9525" cap="flat">
              <a:noFill/>
              <a:prstDash val="solid"/>
              <a:miter/>
            </a:ln>
          </p:spPr>
          <p:txBody>
            <a:bodyPr rtlCol="0" anchor="ctr"/>
            <a:lstStyle/>
            <a:p>
              <a:endParaRPr lang="zh-CN" altLang="en-US"/>
            </a:p>
          </p:txBody>
        </p:sp>
        <p:sp>
          <p:nvSpPr>
            <p:cNvPr id="389" name="ïṣlîde">
              <a:extLst>
                <a:ext uri="{FF2B5EF4-FFF2-40B4-BE49-F238E27FC236}">
                  <a16:creationId xmlns:a16="http://schemas.microsoft.com/office/drawing/2014/main" id="{758AB995-8C2E-4719-9B74-BFC284EBB40B}"/>
                </a:ext>
              </a:extLst>
            </p:cNvPr>
            <p:cNvSpPr/>
            <p:nvPr/>
          </p:nvSpPr>
          <p:spPr>
            <a:xfrm>
              <a:off x="5507337" y="4705293"/>
              <a:ext cx="109740" cy="63639"/>
            </a:xfrm>
            <a:custGeom>
              <a:avLst/>
              <a:gdLst>
                <a:gd name="connsiteX0" fmla="*/ -336 w 36052"/>
                <a:gd name="connsiteY0" fmla="*/ 10291 h 20907"/>
                <a:gd name="connsiteX1" fmla="*/ 1187 w 36052"/>
                <a:gd name="connsiteY1" fmla="*/ 12577 h 20907"/>
                <a:gd name="connsiteX2" fmla="*/ 3569 w 36052"/>
                <a:gd name="connsiteY2" fmla="*/ 13911 h 20907"/>
                <a:gd name="connsiteX3" fmla="*/ 13856 w 36052"/>
                <a:gd name="connsiteY3" fmla="*/ 19816 h 20907"/>
                <a:gd name="connsiteX4" fmla="*/ 21476 w 36052"/>
                <a:gd name="connsiteY4" fmla="*/ 19816 h 20907"/>
                <a:gd name="connsiteX5" fmla="*/ 31763 w 36052"/>
                <a:gd name="connsiteY5" fmla="*/ 13911 h 20907"/>
                <a:gd name="connsiteX6" fmla="*/ 34144 w 36052"/>
                <a:gd name="connsiteY6" fmla="*/ 12577 h 20907"/>
                <a:gd name="connsiteX7" fmla="*/ 35573 w 36052"/>
                <a:gd name="connsiteY7" fmla="*/ 9529 h 20907"/>
                <a:gd name="connsiteX8" fmla="*/ 34144 w 36052"/>
                <a:gd name="connsiteY8" fmla="*/ 8101 h 20907"/>
                <a:gd name="connsiteX9" fmla="*/ 21476 w 36052"/>
                <a:gd name="connsiteY9" fmla="*/ 766 h 20907"/>
                <a:gd name="connsiteX10" fmla="*/ 13856 w 36052"/>
                <a:gd name="connsiteY10" fmla="*/ 766 h 20907"/>
                <a:gd name="connsiteX11" fmla="*/ 1187 w 36052"/>
                <a:gd name="connsiteY11" fmla="*/ 8101 h 20907"/>
                <a:gd name="connsiteX12" fmla="*/ -336 w 36052"/>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907">
                  <a:moveTo>
                    <a:pt x="-336" y="10291"/>
                  </a:moveTo>
                  <a:cubicBezTo>
                    <a:pt x="-270" y="11272"/>
                    <a:pt x="311" y="12139"/>
                    <a:pt x="1187" y="12577"/>
                  </a:cubicBezTo>
                  <a:lnTo>
                    <a:pt x="3569" y="13911"/>
                  </a:lnTo>
                  <a:lnTo>
                    <a:pt x="13856" y="19816"/>
                  </a:lnTo>
                  <a:cubicBezTo>
                    <a:pt x="16247" y="21054"/>
                    <a:pt x="19085" y="21054"/>
                    <a:pt x="21476" y="19816"/>
                  </a:cubicBezTo>
                  <a:lnTo>
                    <a:pt x="31763" y="13911"/>
                  </a:lnTo>
                  <a:lnTo>
                    <a:pt x="34144" y="12577"/>
                  </a:lnTo>
                  <a:cubicBezTo>
                    <a:pt x="35382" y="12129"/>
                    <a:pt x="36020" y="10758"/>
                    <a:pt x="35573" y="9529"/>
                  </a:cubicBezTo>
                  <a:cubicBezTo>
                    <a:pt x="35325" y="8862"/>
                    <a:pt x="34811" y="8339"/>
                    <a:pt x="34144" y="8101"/>
                  </a:cubicBezTo>
                  <a:lnTo>
                    <a:pt x="21476" y="766"/>
                  </a:lnTo>
                  <a:cubicBezTo>
                    <a:pt x="19085" y="-472"/>
                    <a:pt x="16247" y="-472"/>
                    <a:pt x="13856" y="766"/>
                  </a:cubicBezTo>
                  <a:lnTo>
                    <a:pt x="1187" y="8101"/>
                  </a:lnTo>
                  <a:cubicBezTo>
                    <a:pt x="340" y="8519"/>
                    <a:pt x="-241" y="9348"/>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390" name="ïšḻïḍé">
              <a:extLst>
                <a:ext uri="{FF2B5EF4-FFF2-40B4-BE49-F238E27FC236}">
                  <a16:creationId xmlns:a16="http://schemas.microsoft.com/office/drawing/2014/main" id="{E94CDF92-6D9E-49BF-AF43-2A56B326DF42}"/>
                </a:ext>
              </a:extLst>
            </p:cNvPr>
            <p:cNvSpPr/>
            <p:nvPr/>
          </p:nvSpPr>
          <p:spPr>
            <a:xfrm>
              <a:off x="5509148" y="4706671"/>
              <a:ext cx="105898" cy="61101"/>
            </a:xfrm>
            <a:custGeom>
              <a:avLst/>
              <a:gdLst>
                <a:gd name="connsiteX0" fmla="*/ 1164 w 34790"/>
                <a:gd name="connsiteY0" fmla="*/ 12029 h 20073"/>
                <a:gd name="connsiteX1" fmla="*/ 13356 w 34790"/>
                <a:gd name="connsiteY1" fmla="*/ 18982 h 20073"/>
                <a:gd name="connsiteX2" fmla="*/ 20786 w 34790"/>
                <a:gd name="connsiteY2" fmla="*/ 18982 h 20073"/>
                <a:gd name="connsiteX3" fmla="*/ 32882 w 34790"/>
                <a:gd name="connsiteY3" fmla="*/ 12029 h 20073"/>
                <a:gd name="connsiteX4" fmla="*/ 32882 w 34790"/>
                <a:gd name="connsiteY4" fmla="*/ 7743 h 20073"/>
                <a:gd name="connsiteX5" fmla="*/ 20786 w 34790"/>
                <a:gd name="connsiteY5" fmla="*/ 695 h 20073"/>
                <a:gd name="connsiteX6" fmla="*/ 13356 w 34790"/>
                <a:gd name="connsiteY6" fmla="*/ 695 h 20073"/>
                <a:gd name="connsiteX7" fmla="*/ 1164 w 34790"/>
                <a:gd name="connsiteY7" fmla="*/ 7743 h 20073"/>
                <a:gd name="connsiteX8" fmla="*/ 1164 w 34790"/>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3">
                  <a:moveTo>
                    <a:pt x="1164" y="12029"/>
                  </a:moveTo>
                  <a:lnTo>
                    <a:pt x="13356" y="18982"/>
                  </a:lnTo>
                  <a:cubicBezTo>
                    <a:pt x="15680" y="20221"/>
                    <a:pt x="18461" y="20221"/>
                    <a:pt x="20786" y="18982"/>
                  </a:cubicBezTo>
                  <a:lnTo>
                    <a:pt x="32882" y="12029"/>
                  </a:lnTo>
                  <a:cubicBezTo>
                    <a:pt x="34978" y="10791"/>
                    <a:pt x="34978" y="8886"/>
                    <a:pt x="32882" y="7743"/>
                  </a:cubicBezTo>
                  <a:lnTo>
                    <a:pt x="20786" y="695"/>
                  </a:lnTo>
                  <a:cubicBezTo>
                    <a:pt x="18442" y="-448"/>
                    <a:pt x="15699" y="-448"/>
                    <a:pt x="13356" y="695"/>
                  </a:cubicBezTo>
                  <a:lnTo>
                    <a:pt x="1164" y="7743"/>
                  </a:lnTo>
                  <a:cubicBezTo>
                    <a:pt x="-836" y="8886"/>
                    <a:pt x="-836" y="10791"/>
                    <a:pt x="1164" y="12029"/>
                  </a:cubicBezTo>
                  <a:close/>
                </a:path>
              </a:pathLst>
            </a:custGeom>
            <a:solidFill>
              <a:srgbClr val="D1D9E8"/>
            </a:solidFill>
            <a:ln w="9525" cap="flat">
              <a:noFill/>
              <a:prstDash val="solid"/>
              <a:miter/>
            </a:ln>
          </p:spPr>
          <p:txBody>
            <a:bodyPr rtlCol="0" anchor="ctr"/>
            <a:lstStyle/>
            <a:p>
              <a:endParaRPr lang="zh-CN" altLang="en-US"/>
            </a:p>
          </p:txBody>
        </p:sp>
        <p:sp>
          <p:nvSpPr>
            <p:cNvPr id="391" name="ïśľîḓe">
              <a:extLst>
                <a:ext uri="{FF2B5EF4-FFF2-40B4-BE49-F238E27FC236}">
                  <a16:creationId xmlns:a16="http://schemas.microsoft.com/office/drawing/2014/main" id="{F74FB998-CBEE-4BE5-A137-32777F866DF4}"/>
                </a:ext>
              </a:extLst>
            </p:cNvPr>
            <p:cNvSpPr/>
            <p:nvPr/>
          </p:nvSpPr>
          <p:spPr>
            <a:xfrm>
              <a:off x="5507337" y="4737114"/>
              <a:ext cx="109594" cy="53564"/>
            </a:xfrm>
            <a:custGeom>
              <a:avLst/>
              <a:gdLst>
                <a:gd name="connsiteX0" fmla="*/ -336 w 36004"/>
                <a:gd name="connsiteY0" fmla="*/ -163 h 17597"/>
                <a:gd name="connsiteX1" fmla="*/ -336 w 36004"/>
                <a:gd name="connsiteY1" fmla="*/ 7076 h 17597"/>
                <a:gd name="connsiteX2" fmla="*/ 1187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4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7 w 36004"/>
                <a:gd name="connsiteY13" fmla="*/ 2124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7" y="9267"/>
                  </a:cubicBezTo>
                  <a:lnTo>
                    <a:pt x="13856" y="16506"/>
                  </a:lnTo>
                  <a:cubicBezTo>
                    <a:pt x="16247" y="17744"/>
                    <a:pt x="19085" y="17744"/>
                    <a:pt x="21476" y="16506"/>
                  </a:cubicBezTo>
                  <a:lnTo>
                    <a:pt x="34144" y="9267"/>
                  </a:lnTo>
                  <a:cubicBezTo>
                    <a:pt x="35011" y="8819"/>
                    <a:pt x="35582" y="7953"/>
                    <a:pt x="35668" y="6981"/>
                  </a:cubicBezTo>
                  <a:lnTo>
                    <a:pt x="35668" y="-163"/>
                  </a:lnTo>
                  <a:cubicBezTo>
                    <a:pt x="35601" y="818"/>
                    <a:pt x="35020" y="1685"/>
                    <a:pt x="34144" y="2124"/>
                  </a:cubicBezTo>
                  <a:lnTo>
                    <a:pt x="31763" y="3457"/>
                  </a:lnTo>
                  <a:lnTo>
                    <a:pt x="21476" y="9362"/>
                  </a:lnTo>
                  <a:cubicBezTo>
                    <a:pt x="19085" y="10601"/>
                    <a:pt x="16247" y="10601"/>
                    <a:pt x="13856" y="9362"/>
                  </a:cubicBezTo>
                  <a:lnTo>
                    <a:pt x="3569" y="3457"/>
                  </a:lnTo>
                  <a:lnTo>
                    <a:pt x="1187" y="2124"/>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392" name="íŝ1ïḑé">
              <a:extLst>
                <a:ext uri="{FF2B5EF4-FFF2-40B4-BE49-F238E27FC236}">
                  <a16:creationId xmlns:a16="http://schemas.microsoft.com/office/drawing/2014/main" id="{BEDEB679-E08C-4BEE-A638-C3806FC502DE}"/>
                </a:ext>
              </a:extLst>
            </p:cNvPr>
            <p:cNvSpPr/>
            <p:nvPr/>
          </p:nvSpPr>
          <p:spPr>
            <a:xfrm>
              <a:off x="5584457" y="4749944"/>
              <a:ext cx="109883" cy="63639"/>
            </a:xfrm>
            <a:custGeom>
              <a:avLst/>
              <a:gdLst>
                <a:gd name="connsiteX0" fmla="*/ -336 w 36099"/>
                <a:gd name="connsiteY0" fmla="*/ 10291 h 20907"/>
                <a:gd name="connsiteX1" fmla="*/ 1283 w 36099"/>
                <a:gd name="connsiteY1" fmla="*/ 12577 h 20907"/>
                <a:gd name="connsiteX2" fmla="*/ 3569 w 36099"/>
                <a:gd name="connsiteY2" fmla="*/ 13911 h 20907"/>
                <a:gd name="connsiteX3" fmla="*/ 13856 w 36099"/>
                <a:gd name="connsiteY3" fmla="*/ 19816 h 20907"/>
                <a:gd name="connsiteX4" fmla="*/ 21571 w 36099"/>
                <a:gd name="connsiteY4" fmla="*/ 19816 h 20907"/>
                <a:gd name="connsiteX5" fmla="*/ 31858 w 36099"/>
                <a:gd name="connsiteY5" fmla="*/ 13911 h 20907"/>
                <a:gd name="connsiteX6" fmla="*/ 34144 w 36099"/>
                <a:gd name="connsiteY6" fmla="*/ 12577 h 20907"/>
                <a:gd name="connsiteX7" fmla="*/ 35764 w 36099"/>
                <a:gd name="connsiteY7" fmla="*/ 10291 h 20907"/>
                <a:gd name="connsiteX8" fmla="*/ 34144 w 36099"/>
                <a:gd name="connsiteY8" fmla="*/ 8100 h 20907"/>
                <a:gd name="connsiteX9" fmla="*/ 21571 w 36099"/>
                <a:gd name="connsiteY9" fmla="*/ 766 h 20907"/>
                <a:gd name="connsiteX10" fmla="*/ 13856 w 36099"/>
                <a:gd name="connsiteY10" fmla="*/ 766 h 20907"/>
                <a:gd name="connsiteX11" fmla="*/ 1283 w 36099"/>
                <a:gd name="connsiteY11" fmla="*/ 8100 h 20907"/>
                <a:gd name="connsiteX12" fmla="*/ -336 w 36099"/>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99" h="20907">
                  <a:moveTo>
                    <a:pt x="-336" y="10291"/>
                  </a:moveTo>
                  <a:cubicBezTo>
                    <a:pt x="-269" y="11301"/>
                    <a:pt x="350" y="12187"/>
                    <a:pt x="1283" y="12577"/>
                  </a:cubicBezTo>
                  <a:lnTo>
                    <a:pt x="3569" y="13911"/>
                  </a:lnTo>
                  <a:lnTo>
                    <a:pt x="13856" y="19816"/>
                  </a:lnTo>
                  <a:cubicBezTo>
                    <a:pt x="16275" y="21054"/>
                    <a:pt x="19152" y="21054"/>
                    <a:pt x="21571" y="19816"/>
                  </a:cubicBezTo>
                  <a:lnTo>
                    <a:pt x="31858" y="13911"/>
                  </a:lnTo>
                  <a:lnTo>
                    <a:pt x="34144" y="12577"/>
                  </a:lnTo>
                  <a:cubicBezTo>
                    <a:pt x="35049" y="12149"/>
                    <a:pt x="35659" y="11282"/>
                    <a:pt x="35764" y="10291"/>
                  </a:cubicBezTo>
                  <a:cubicBezTo>
                    <a:pt x="35649" y="9329"/>
                    <a:pt x="35030" y="8491"/>
                    <a:pt x="34144" y="8100"/>
                  </a:cubicBezTo>
                  <a:lnTo>
                    <a:pt x="21571" y="766"/>
                  </a:lnTo>
                  <a:cubicBezTo>
                    <a:pt x="19152" y="-472"/>
                    <a:pt x="16275" y="-472"/>
                    <a:pt x="13856" y="766"/>
                  </a:cubicBezTo>
                  <a:lnTo>
                    <a:pt x="1283" y="8100"/>
                  </a:lnTo>
                  <a:cubicBezTo>
                    <a:pt x="369" y="8462"/>
                    <a:pt x="-260" y="9310"/>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393" name="iSļiďè">
              <a:extLst>
                <a:ext uri="{FF2B5EF4-FFF2-40B4-BE49-F238E27FC236}">
                  <a16:creationId xmlns:a16="http://schemas.microsoft.com/office/drawing/2014/main" id="{3036BAF3-D789-408D-BD1A-B0D9F264187A}"/>
                </a:ext>
              </a:extLst>
            </p:cNvPr>
            <p:cNvSpPr/>
            <p:nvPr/>
          </p:nvSpPr>
          <p:spPr>
            <a:xfrm>
              <a:off x="5586126" y="4751104"/>
              <a:ext cx="105244" cy="61101"/>
            </a:xfrm>
            <a:custGeom>
              <a:avLst/>
              <a:gdLst>
                <a:gd name="connsiteX0" fmla="*/ 1021 w 34575"/>
                <a:gd name="connsiteY0" fmla="*/ 12006 h 20073"/>
                <a:gd name="connsiteX1" fmla="*/ 13118 w 34575"/>
                <a:gd name="connsiteY1" fmla="*/ 19054 h 20073"/>
                <a:gd name="connsiteX2" fmla="*/ 20547 w 34575"/>
                <a:gd name="connsiteY2" fmla="*/ 19054 h 20073"/>
                <a:gd name="connsiteX3" fmla="*/ 32739 w 34575"/>
                <a:gd name="connsiteY3" fmla="*/ 12006 h 20073"/>
                <a:gd name="connsiteX4" fmla="*/ 32739 w 34575"/>
                <a:gd name="connsiteY4" fmla="*/ 7719 h 20073"/>
                <a:gd name="connsiteX5" fmla="*/ 20547 w 34575"/>
                <a:gd name="connsiteY5" fmla="*/ 766 h 20073"/>
                <a:gd name="connsiteX6" fmla="*/ 13118 w 34575"/>
                <a:gd name="connsiteY6" fmla="*/ 766 h 20073"/>
                <a:gd name="connsiteX7" fmla="*/ 1021 w 34575"/>
                <a:gd name="connsiteY7" fmla="*/ 7719 h 20073"/>
                <a:gd name="connsiteX8" fmla="*/ 1021 w 34575"/>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575" h="20073">
                  <a:moveTo>
                    <a:pt x="1021" y="12006"/>
                  </a:moveTo>
                  <a:lnTo>
                    <a:pt x="13118" y="19054"/>
                  </a:lnTo>
                  <a:cubicBezTo>
                    <a:pt x="15461" y="20197"/>
                    <a:pt x="18204" y="20197"/>
                    <a:pt x="20547" y="19054"/>
                  </a:cubicBezTo>
                  <a:lnTo>
                    <a:pt x="32739" y="12006"/>
                  </a:lnTo>
                  <a:cubicBezTo>
                    <a:pt x="34740" y="10863"/>
                    <a:pt x="34740" y="8957"/>
                    <a:pt x="32739" y="7719"/>
                  </a:cubicBezTo>
                  <a:lnTo>
                    <a:pt x="20547" y="766"/>
                  </a:lnTo>
                  <a:cubicBezTo>
                    <a:pt x="18223" y="-472"/>
                    <a:pt x="15442" y="-472"/>
                    <a:pt x="13118" y="766"/>
                  </a:cubicBezTo>
                  <a:lnTo>
                    <a:pt x="1021" y="7719"/>
                  </a:lnTo>
                  <a:cubicBezTo>
                    <a:pt x="-789" y="8957"/>
                    <a:pt x="-789" y="10863"/>
                    <a:pt x="1021" y="12006"/>
                  </a:cubicBezTo>
                  <a:close/>
                </a:path>
              </a:pathLst>
            </a:custGeom>
            <a:solidFill>
              <a:srgbClr val="D1D9E8"/>
            </a:solidFill>
            <a:ln w="9525" cap="flat">
              <a:noFill/>
              <a:prstDash val="solid"/>
              <a:miter/>
            </a:ln>
          </p:spPr>
          <p:txBody>
            <a:bodyPr rtlCol="0" anchor="ctr"/>
            <a:lstStyle/>
            <a:p>
              <a:endParaRPr lang="zh-CN" altLang="en-US"/>
            </a:p>
          </p:txBody>
        </p:sp>
        <p:sp>
          <p:nvSpPr>
            <p:cNvPr id="394" name="îşḻîḑé">
              <a:extLst>
                <a:ext uri="{FF2B5EF4-FFF2-40B4-BE49-F238E27FC236}">
                  <a16:creationId xmlns:a16="http://schemas.microsoft.com/office/drawing/2014/main" id="{62BB1114-C69B-421B-92EC-01EDFEB8C456}"/>
                </a:ext>
              </a:extLst>
            </p:cNvPr>
            <p:cNvSpPr/>
            <p:nvPr/>
          </p:nvSpPr>
          <p:spPr>
            <a:xfrm>
              <a:off x="5584457" y="4781765"/>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4 w 36099"/>
                <a:gd name="connsiteY6" fmla="*/ 6981 h 17597"/>
                <a:gd name="connsiteX7" fmla="*/ 35764 w 36099"/>
                <a:gd name="connsiteY7" fmla="*/ -163 h 17597"/>
                <a:gd name="connsiteX8" fmla="*/ 34144 w 36099"/>
                <a:gd name="connsiteY8" fmla="*/ 2123 h 17597"/>
                <a:gd name="connsiteX9" fmla="*/ 31858 w 36099"/>
                <a:gd name="connsiteY9" fmla="*/ 3457 h 17597"/>
                <a:gd name="connsiteX10" fmla="*/ 21571 w 36099"/>
                <a:gd name="connsiteY10" fmla="*/ 9362 h 17597"/>
                <a:gd name="connsiteX11" fmla="*/ 13856 w 36099"/>
                <a:gd name="connsiteY11" fmla="*/ 9362 h 17597"/>
                <a:gd name="connsiteX12" fmla="*/ 3569 w 36099"/>
                <a:gd name="connsiteY12" fmla="*/ 3457 h 17597"/>
                <a:gd name="connsiteX13" fmla="*/ 1283 w 36099"/>
                <a:gd name="connsiteY13" fmla="*/ 2123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41" y="8048"/>
                    <a:pt x="378" y="8886"/>
                    <a:pt x="1283" y="9267"/>
                  </a:cubicBezTo>
                  <a:lnTo>
                    <a:pt x="13856" y="16506"/>
                  </a:lnTo>
                  <a:cubicBezTo>
                    <a:pt x="16275" y="17744"/>
                    <a:pt x="19152" y="17744"/>
                    <a:pt x="21571" y="16506"/>
                  </a:cubicBezTo>
                  <a:lnTo>
                    <a:pt x="34144" y="9267"/>
                  </a:lnTo>
                  <a:cubicBezTo>
                    <a:pt x="35030" y="8829"/>
                    <a:pt x="35640" y="7962"/>
                    <a:pt x="35764" y="6981"/>
                  </a:cubicBezTo>
                  <a:lnTo>
                    <a:pt x="35764" y="-163"/>
                  </a:lnTo>
                  <a:cubicBezTo>
                    <a:pt x="35659" y="828"/>
                    <a:pt x="35049" y="1695"/>
                    <a:pt x="34144" y="2123"/>
                  </a:cubicBezTo>
                  <a:lnTo>
                    <a:pt x="31858" y="3457"/>
                  </a:lnTo>
                  <a:lnTo>
                    <a:pt x="21571" y="9362"/>
                  </a:lnTo>
                  <a:cubicBezTo>
                    <a:pt x="19152" y="10601"/>
                    <a:pt x="16275" y="10601"/>
                    <a:pt x="13856" y="9362"/>
                  </a:cubicBezTo>
                  <a:lnTo>
                    <a:pt x="3569" y="3457"/>
                  </a:lnTo>
                  <a:lnTo>
                    <a:pt x="1283" y="2123"/>
                  </a:lnTo>
                  <a:cubicBezTo>
                    <a:pt x="350" y="1733"/>
                    <a:pt x="-269" y="847"/>
                    <a:pt x="-336" y="-163"/>
                  </a:cubicBezTo>
                  <a:close/>
                </a:path>
              </a:pathLst>
            </a:custGeom>
            <a:solidFill>
              <a:srgbClr val="BF4200"/>
            </a:solidFill>
            <a:ln w="9525" cap="flat">
              <a:noFill/>
              <a:prstDash val="solid"/>
              <a:miter/>
            </a:ln>
          </p:spPr>
          <p:txBody>
            <a:bodyPr rtlCol="0" anchor="ctr"/>
            <a:lstStyle/>
            <a:p>
              <a:endParaRPr lang="zh-CN" altLang="en-US"/>
            </a:p>
          </p:txBody>
        </p:sp>
        <p:sp>
          <p:nvSpPr>
            <p:cNvPr id="395" name="îṣlíḋe">
              <a:extLst>
                <a:ext uri="{FF2B5EF4-FFF2-40B4-BE49-F238E27FC236}">
                  <a16:creationId xmlns:a16="http://schemas.microsoft.com/office/drawing/2014/main" id="{42246F9C-6A4E-4CAF-B439-1C06421CCF48}"/>
                </a:ext>
              </a:extLst>
            </p:cNvPr>
            <p:cNvSpPr/>
            <p:nvPr/>
          </p:nvSpPr>
          <p:spPr>
            <a:xfrm>
              <a:off x="5661871" y="4795463"/>
              <a:ext cx="110753" cy="63588"/>
            </a:xfrm>
            <a:custGeom>
              <a:avLst/>
              <a:gdLst>
                <a:gd name="connsiteX0" fmla="*/ -336 w 36385"/>
                <a:gd name="connsiteY0" fmla="*/ 10196 h 20890"/>
                <a:gd name="connsiteX1" fmla="*/ 1188 w 36385"/>
                <a:gd name="connsiteY1" fmla="*/ 12482 h 20890"/>
                <a:gd name="connsiteX2" fmla="*/ 3569 w 36385"/>
                <a:gd name="connsiteY2" fmla="*/ 13815 h 20890"/>
                <a:gd name="connsiteX3" fmla="*/ 14237 w 36385"/>
                <a:gd name="connsiteY3" fmla="*/ 19721 h 20890"/>
                <a:gd name="connsiteX4" fmla="*/ 21857 w 36385"/>
                <a:gd name="connsiteY4" fmla="*/ 19721 h 20890"/>
                <a:gd name="connsiteX5" fmla="*/ 32144 w 36385"/>
                <a:gd name="connsiteY5" fmla="*/ 13911 h 20890"/>
                <a:gd name="connsiteX6" fmla="*/ 34525 w 36385"/>
                <a:gd name="connsiteY6" fmla="*/ 12577 h 20890"/>
                <a:gd name="connsiteX7" fmla="*/ 36049 w 36385"/>
                <a:gd name="connsiteY7" fmla="*/ 10291 h 20890"/>
                <a:gd name="connsiteX8" fmla="*/ 34525 w 36385"/>
                <a:gd name="connsiteY8" fmla="*/ 8100 h 20890"/>
                <a:gd name="connsiteX9" fmla="*/ 21857 w 36385"/>
                <a:gd name="connsiteY9" fmla="*/ 766 h 20890"/>
                <a:gd name="connsiteX10" fmla="*/ 14237 w 36385"/>
                <a:gd name="connsiteY10" fmla="*/ 766 h 20890"/>
                <a:gd name="connsiteX11" fmla="*/ 1569 w 36385"/>
                <a:gd name="connsiteY11" fmla="*/ 8100 h 20890"/>
                <a:gd name="connsiteX12" fmla="*/ -336 w 36385"/>
                <a:gd name="connsiteY12" fmla="*/ 10196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385" h="20890">
                  <a:moveTo>
                    <a:pt x="-336" y="10196"/>
                  </a:moveTo>
                  <a:cubicBezTo>
                    <a:pt x="-270" y="11177"/>
                    <a:pt x="311" y="12044"/>
                    <a:pt x="1188" y="12482"/>
                  </a:cubicBezTo>
                  <a:lnTo>
                    <a:pt x="3569" y="13815"/>
                  </a:lnTo>
                  <a:lnTo>
                    <a:pt x="14237" y="19721"/>
                  </a:lnTo>
                  <a:cubicBezTo>
                    <a:pt x="16599" y="21064"/>
                    <a:pt x="19495" y="21064"/>
                    <a:pt x="21857" y="19721"/>
                  </a:cubicBezTo>
                  <a:lnTo>
                    <a:pt x="32144" y="13911"/>
                  </a:lnTo>
                  <a:lnTo>
                    <a:pt x="34525" y="12577"/>
                  </a:lnTo>
                  <a:cubicBezTo>
                    <a:pt x="35401" y="12139"/>
                    <a:pt x="35982" y="11272"/>
                    <a:pt x="36049" y="10291"/>
                  </a:cubicBezTo>
                  <a:cubicBezTo>
                    <a:pt x="35992" y="9339"/>
                    <a:pt x="35401" y="8491"/>
                    <a:pt x="34525" y="8100"/>
                  </a:cubicBezTo>
                  <a:lnTo>
                    <a:pt x="21857" y="766"/>
                  </a:lnTo>
                  <a:cubicBezTo>
                    <a:pt x="19466" y="-472"/>
                    <a:pt x="16628" y="-472"/>
                    <a:pt x="14237" y="766"/>
                  </a:cubicBezTo>
                  <a:lnTo>
                    <a:pt x="1569" y="8100"/>
                  </a:lnTo>
                  <a:cubicBezTo>
                    <a:pt x="569" y="8357"/>
                    <a:pt x="-174" y="9177"/>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396" name="î$ḻîdè">
              <a:extLst>
                <a:ext uri="{FF2B5EF4-FFF2-40B4-BE49-F238E27FC236}">
                  <a16:creationId xmlns:a16="http://schemas.microsoft.com/office/drawing/2014/main" id="{D73B1B39-F798-4DA4-80F4-1805A65F9D42}"/>
                </a:ext>
              </a:extLst>
            </p:cNvPr>
            <p:cNvSpPr/>
            <p:nvPr/>
          </p:nvSpPr>
          <p:spPr>
            <a:xfrm>
              <a:off x="5663755" y="4795755"/>
              <a:ext cx="105825" cy="61101"/>
            </a:xfrm>
            <a:custGeom>
              <a:avLst/>
              <a:gdLst>
                <a:gd name="connsiteX0" fmla="*/ 1235 w 34766"/>
                <a:gd name="connsiteY0" fmla="*/ 12006 h 20073"/>
                <a:gd name="connsiteX1" fmla="*/ 13332 w 34766"/>
                <a:gd name="connsiteY1" fmla="*/ 19054 h 20073"/>
                <a:gd name="connsiteX2" fmla="*/ 20761 w 34766"/>
                <a:gd name="connsiteY2" fmla="*/ 19054 h 20073"/>
                <a:gd name="connsiteX3" fmla="*/ 32858 w 34766"/>
                <a:gd name="connsiteY3" fmla="*/ 12006 h 20073"/>
                <a:gd name="connsiteX4" fmla="*/ 32858 w 34766"/>
                <a:gd name="connsiteY4" fmla="*/ 7719 h 20073"/>
                <a:gd name="connsiteX5" fmla="*/ 20761 w 34766"/>
                <a:gd name="connsiteY5" fmla="*/ 766 h 20073"/>
                <a:gd name="connsiteX6" fmla="*/ 13332 w 34766"/>
                <a:gd name="connsiteY6" fmla="*/ 766 h 20073"/>
                <a:gd name="connsiteX7" fmla="*/ 1235 w 34766"/>
                <a:gd name="connsiteY7" fmla="*/ 7719 h 20073"/>
                <a:gd name="connsiteX8" fmla="*/ 1235 w 34766"/>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6" h="20073">
                  <a:moveTo>
                    <a:pt x="1235" y="12006"/>
                  </a:moveTo>
                  <a:lnTo>
                    <a:pt x="13332" y="19054"/>
                  </a:lnTo>
                  <a:cubicBezTo>
                    <a:pt x="15675" y="20197"/>
                    <a:pt x="18418" y="20197"/>
                    <a:pt x="20761" y="19054"/>
                  </a:cubicBezTo>
                  <a:lnTo>
                    <a:pt x="32858" y="12006"/>
                  </a:lnTo>
                  <a:cubicBezTo>
                    <a:pt x="34954" y="10862"/>
                    <a:pt x="34954" y="8958"/>
                    <a:pt x="32858" y="7719"/>
                  </a:cubicBezTo>
                  <a:lnTo>
                    <a:pt x="20761" y="766"/>
                  </a:lnTo>
                  <a:cubicBezTo>
                    <a:pt x="18437" y="-472"/>
                    <a:pt x="15656" y="-472"/>
                    <a:pt x="13332" y="766"/>
                  </a:cubicBezTo>
                  <a:lnTo>
                    <a:pt x="1235" y="7719"/>
                  </a:lnTo>
                  <a:cubicBezTo>
                    <a:pt x="-860" y="8958"/>
                    <a:pt x="-860" y="10862"/>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397" name="i$ḷïḍê">
              <a:extLst>
                <a:ext uri="{FF2B5EF4-FFF2-40B4-BE49-F238E27FC236}">
                  <a16:creationId xmlns:a16="http://schemas.microsoft.com/office/drawing/2014/main" id="{734AE88F-7AD6-4C65-A048-1216A5082545}"/>
                </a:ext>
              </a:extLst>
            </p:cNvPr>
            <p:cNvSpPr/>
            <p:nvPr/>
          </p:nvSpPr>
          <p:spPr>
            <a:xfrm>
              <a:off x="5661871" y="4826995"/>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3 h 17597"/>
                <a:gd name="connsiteX9" fmla="*/ 31763 w 36004"/>
                <a:gd name="connsiteY9" fmla="*/ 3457 h 17597"/>
                <a:gd name="connsiteX10" fmla="*/ 21476 w 36004"/>
                <a:gd name="connsiteY10" fmla="*/ 9267 h 17597"/>
                <a:gd name="connsiteX11" fmla="*/ 13856 w 36004"/>
                <a:gd name="connsiteY11" fmla="*/ 9267 h 17597"/>
                <a:gd name="connsiteX12" fmla="*/ 3569 w 36004"/>
                <a:gd name="connsiteY12" fmla="*/ 3457 h 17597"/>
                <a:gd name="connsiteX13" fmla="*/ 1188 w 36004"/>
                <a:gd name="connsiteY13" fmla="*/ 2123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2" y="7953"/>
                    <a:pt x="35668" y="6981"/>
                  </a:cubicBezTo>
                  <a:lnTo>
                    <a:pt x="35668" y="-163"/>
                  </a:lnTo>
                  <a:cubicBezTo>
                    <a:pt x="35602" y="818"/>
                    <a:pt x="35021" y="1685"/>
                    <a:pt x="34144" y="2123"/>
                  </a:cubicBezTo>
                  <a:lnTo>
                    <a:pt x="31763" y="3457"/>
                  </a:lnTo>
                  <a:lnTo>
                    <a:pt x="21476" y="9267"/>
                  </a:lnTo>
                  <a:cubicBezTo>
                    <a:pt x="19114" y="10610"/>
                    <a:pt x="16218" y="10610"/>
                    <a:pt x="13856" y="9267"/>
                  </a:cubicBezTo>
                  <a:lnTo>
                    <a:pt x="3569" y="3457"/>
                  </a:lnTo>
                  <a:lnTo>
                    <a:pt x="1188"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398" name="ïş1îḍe">
              <a:extLst>
                <a:ext uri="{FF2B5EF4-FFF2-40B4-BE49-F238E27FC236}">
                  <a16:creationId xmlns:a16="http://schemas.microsoft.com/office/drawing/2014/main" id="{1F41704E-2EE8-40F2-BFFB-38DEFF4C492D}"/>
                </a:ext>
              </a:extLst>
            </p:cNvPr>
            <p:cNvSpPr/>
            <p:nvPr/>
          </p:nvSpPr>
          <p:spPr>
            <a:xfrm>
              <a:off x="5738995" y="4839244"/>
              <a:ext cx="109916" cy="63588"/>
            </a:xfrm>
            <a:custGeom>
              <a:avLst/>
              <a:gdLst>
                <a:gd name="connsiteX0" fmla="*/ -336 w 36110"/>
                <a:gd name="connsiteY0" fmla="*/ 10291 h 20890"/>
                <a:gd name="connsiteX1" fmla="*/ 1283 w 36110"/>
                <a:gd name="connsiteY1" fmla="*/ 12482 h 20890"/>
                <a:gd name="connsiteX2" fmla="*/ 3569 w 36110"/>
                <a:gd name="connsiteY2" fmla="*/ 13910 h 20890"/>
                <a:gd name="connsiteX3" fmla="*/ 13856 w 36110"/>
                <a:gd name="connsiteY3" fmla="*/ 19721 h 20890"/>
                <a:gd name="connsiteX4" fmla="*/ 21571 w 36110"/>
                <a:gd name="connsiteY4" fmla="*/ 19721 h 20890"/>
                <a:gd name="connsiteX5" fmla="*/ 31858 w 36110"/>
                <a:gd name="connsiteY5" fmla="*/ 13910 h 20890"/>
                <a:gd name="connsiteX6" fmla="*/ 34144 w 36110"/>
                <a:gd name="connsiteY6" fmla="*/ 12482 h 20890"/>
                <a:gd name="connsiteX7" fmla="*/ 35678 w 36110"/>
                <a:gd name="connsiteY7" fmla="*/ 9634 h 20890"/>
                <a:gd name="connsiteX8" fmla="*/ 34144 w 36110"/>
                <a:gd name="connsiteY8" fmla="*/ 8100 h 20890"/>
                <a:gd name="connsiteX9" fmla="*/ 21571 w 36110"/>
                <a:gd name="connsiteY9" fmla="*/ 766 h 20890"/>
                <a:gd name="connsiteX10" fmla="*/ 13856 w 36110"/>
                <a:gd name="connsiteY10" fmla="*/ 766 h 20890"/>
                <a:gd name="connsiteX11" fmla="*/ 1283 w 36110"/>
                <a:gd name="connsiteY11" fmla="*/ 8100 h 20890"/>
                <a:gd name="connsiteX12" fmla="*/ -336 w 36110"/>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110" h="20890">
                  <a:moveTo>
                    <a:pt x="-336" y="10291"/>
                  </a:moveTo>
                  <a:cubicBezTo>
                    <a:pt x="-260" y="11272"/>
                    <a:pt x="369" y="12120"/>
                    <a:pt x="1283" y="12482"/>
                  </a:cubicBezTo>
                  <a:lnTo>
                    <a:pt x="3569" y="13910"/>
                  </a:lnTo>
                  <a:lnTo>
                    <a:pt x="13856" y="19721"/>
                  </a:lnTo>
                  <a:cubicBezTo>
                    <a:pt x="16256" y="21064"/>
                    <a:pt x="19171" y="21064"/>
                    <a:pt x="21571" y="19721"/>
                  </a:cubicBezTo>
                  <a:lnTo>
                    <a:pt x="31858" y="13910"/>
                  </a:lnTo>
                  <a:lnTo>
                    <a:pt x="34144" y="12482"/>
                  </a:lnTo>
                  <a:cubicBezTo>
                    <a:pt x="35354" y="12120"/>
                    <a:pt x="36040" y="10843"/>
                    <a:pt x="35678" y="9634"/>
                  </a:cubicBezTo>
                  <a:cubicBezTo>
                    <a:pt x="35459" y="8900"/>
                    <a:pt x="34887" y="8319"/>
                    <a:pt x="34144" y="8100"/>
                  </a:cubicBezTo>
                  <a:lnTo>
                    <a:pt x="21571" y="766"/>
                  </a:lnTo>
                  <a:cubicBezTo>
                    <a:pt x="19152" y="-472"/>
                    <a:pt x="16275" y="-472"/>
                    <a:pt x="13856" y="766"/>
                  </a:cubicBezTo>
                  <a:lnTo>
                    <a:pt x="1283" y="8100"/>
                  </a:lnTo>
                  <a:cubicBezTo>
                    <a:pt x="369" y="8462"/>
                    <a:pt x="-260" y="9310"/>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565" name="îṥḻîḋè">
              <a:extLst>
                <a:ext uri="{FF2B5EF4-FFF2-40B4-BE49-F238E27FC236}">
                  <a16:creationId xmlns:a16="http://schemas.microsoft.com/office/drawing/2014/main" id="{BD9F6577-7A32-4088-AE02-AFA877A3A31A}"/>
                </a:ext>
              </a:extLst>
            </p:cNvPr>
            <p:cNvSpPr/>
            <p:nvPr/>
          </p:nvSpPr>
          <p:spPr>
            <a:xfrm>
              <a:off x="5741095" y="4840403"/>
              <a:ext cx="105679" cy="61104"/>
            </a:xfrm>
            <a:custGeom>
              <a:avLst/>
              <a:gdLst>
                <a:gd name="connsiteX0" fmla="*/ 1164 w 34718"/>
                <a:gd name="connsiteY0" fmla="*/ 12006 h 20074"/>
                <a:gd name="connsiteX1" fmla="*/ 13261 w 34718"/>
                <a:gd name="connsiteY1" fmla="*/ 19054 h 20074"/>
                <a:gd name="connsiteX2" fmla="*/ 20690 w 34718"/>
                <a:gd name="connsiteY2" fmla="*/ 19054 h 20074"/>
                <a:gd name="connsiteX3" fmla="*/ 32882 w 34718"/>
                <a:gd name="connsiteY3" fmla="*/ 12006 h 20074"/>
                <a:gd name="connsiteX4" fmla="*/ 32882 w 34718"/>
                <a:gd name="connsiteY4" fmla="*/ 7719 h 20074"/>
                <a:gd name="connsiteX5" fmla="*/ 20690 w 34718"/>
                <a:gd name="connsiteY5" fmla="*/ 766 h 20074"/>
                <a:gd name="connsiteX6" fmla="*/ 13261 w 34718"/>
                <a:gd name="connsiteY6" fmla="*/ 766 h 20074"/>
                <a:gd name="connsiteX7" fmla="*/ 1164 w 34718"/>
                <a:gd name="connsiteY7" fmla="*/ 7719 h 20074"/>
                <a:gd name="connsiteX8" fmla="*/ 1164 w 34718"/>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18" h="20074">
                  <a:moveTo>
                    <a:pt x="1164" y="12006"/>
                  </a:moveTo>
                  <a:lnTo>
                    <a:pt x="13261" y="19054"/>
                  </a:lnTo>
                  <a:cubicBezTo>
                    <a:pt x="15604" y="20197"/>
                    <a:pt x="18347" y="20197"/>
                    <a:pt x="20690" y="19054"/>
                  </a:cubicBezTo>
                  <a:lnTo>
                    <a:pt x="32882" y="12006"/>
                  </a:lnTo>
                  <a:cubicBezTo>
                    <a:pt x="34882" y="10863"/>
                    <a:pt x="34882" y="8958"/>
                    <a:pt x="32882" y="7719"/>
                  </a:cubicBezTo>
                  <a:lnTo>
                    <a:pt x="20690" y="766"/>
                  </a:lnTo>
                  <a:cubicBezTo>
                    <a:pt x="18366" y="-472"/>
                    <a:pt x="15585" y="-472"/>
                    <a:pt x="13261" y="766"/>
                  </a:cubicBezTo>
                  <a:lnTo>
                    <a:pt x="1164" y="7719"/>
                  </a:lnTo>
                  <a:cubicBezTo>
                    <a:pt x="-836" y="8958"/>
                    <a:pt x="-836" y="10863"/>
                    <a:pt x="1164" y="12006"/>
                  </a:cubicBezTo>
                  <a:close/>
                </a:path>
              </a:pathLst>
            </a:custGeom>
            <a:solidFill>
              <a:srgbClr val="D1D9E8"/>
            </a:solidFill>
            <a:ln w="9525" cap="flat">
              <a:noFill/>
              <a:prstDash val="solid"/>
              <a:miter/>
            </a:ln>
          </p:spPr>
          <p:txBody>
            <a:bodyPr rtlCol="0" anchor="ctr"/>
            <a:lstStyle/>
            <a:p>
              <a:endParaRPr lang="zh-CN" altLang="en-US"/>
            </a:p>
          </p:txBody>
        </p:sp>
        <p:sp>
          <p:nvSpPr>
            <p:cNvPr id="566" name="îsḷïde">
              <a:extLst>
                <a:ext uri="{FF2B5EF4-FFF2-40B4-BE49-F238E27FC236}">
                  <a16:creationId xmlns:a16="http://schemas.microsoft.com/office/drawing/2014/main" id="{D771518E-A7C8-4F18-9E03-2096B60E411F}"/>
                </a:ext>
              </a:extLst>
            </p:cNvPr>
            <p:cNvSpPr/>
            <p:nvPr/>
          </p:nvSpPr>
          <p:spPr>
            <a:xfrm>
              <a:off x="5738995" y="4871065"/>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4 w 36099"/>
                <a:gd name="connsiteY6" fmla="*/ 6981 h 17597"/>
                <a:gd name="connsiteX7" fmla="*/ 35764 w 36099"/>
                <a:gd name="connsiteY7" fmla="*/ -163 h 17597"/>
                <a:gd name="connsiteX8" fmla="*/ 34144 w 36099"/>
                <a:gd name="connsiteY8" fmla="*/ 2028 h 17597"/>
                <a:gd name="connsiteX9" fmla="*/ 31858 w 36099"/>
                <a:gd name="connsiteY9" fmla="*/ 3457 h 17597"/>
                <a:gd name="connsiteX10" fmla="*/ 21571 w 36099"/>
                <a:gd name="connsiteY10" fmla="*/ 9267 h 17597"/>
                <a:gd name="connsiteX11" fmla="*/ 13856 w 36099"/>
                <a:gd name="connsiteY11" fmla="*/ 9267 h 17597"/>
                <a:gd name="connsiteX12" fmla="*/ 3569 w 36099"/>
                <a:gd name="connsiteY12" fmla="*/ 3457 h 17597"/>
                <a:gd name="connsiteX13" fmla="*/ 1283 w 36099"/>
                <a:gd name="connsiteY13" fmla="*/ 2028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03" y="8029"/>
                    <a:pt x="407" y="8858"/>
                    <a:pt x="1283" y="9267"/>
                  </a:cubicBezTo>
                  <a:lnTo>
                    <a:pt x="13856" y="16506"/>
                  </a:lnTo>
                  <a:cubicBezTo>
                    <a:pt x="16275" y="17744"/>
                    <a:pt x="19152" y="17744"/>
                    <a:pt x="21571" y="16506"/>
                  </a:cubicBezTo>
                  <a:lnTo>
                    <a:pt x="34144" y="9267"/>
                  </a:lnTo>
                  <a:cubicBezTo>
                    <a:pt x="35030" y="8829"/>
                    <a:pt x="35640" y="7972"/>
                    <a:pt x="35764" y="6981"/>
                  </a:cubicBezTo>
                  <a:lnTo>
                    <a:pt x="35764" y="-163"/>
                  </a:lnTo>
                  <a:cubicBezTo>
                    <a:pt x="35687" y="818"/>
                    <a:pt x="35059" y="1666"/>
                    <a:pt x="34144" y="2028"/>
                  </a:cubicBezTo>
                  <a:lnTo>
                    <a:pt x="31858" y="3457"/>
                  </a:lnTo>
                  <a:lnTo>
                    <a:pt x="21571" y="9267"/>
                  </a:lnTo>
                  <a:cubicBezTo>
                    <a:pt x="19171" y="10610"/>
                    <a:pt x="16256" y="10610"/>
                    <a:pt x="13856" y="9267"/>
                  </a:cubicBezTo>
                  <a:lnTo>
                    <a:pt x="3569" y="3457"/>
                  </a:lnTo>
                  <a:lnTo>
                    <a:pt x="1283" y="2028"/>
                  </a:lnTo>
                  <a:cubicBezTo>
                    <a:pt x="369" y="1666"/>
                    <a:pt x="-26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567" name="ïşľïḋè">
              <a:extLst>
                <a:ext uri="{FF2B5EF4-FFF2-40B4-BE49-F238E27FC236}">
                  <a16:creationId xmlns:a16="http://schemas.microsoft.com/office/drawing/2014/main" id="{935DACAA-3E5B-4163-B912-C24A7DBF2820}"/>
                </a:ext>
              </a:extLst>
            </p:cNvPr>
            <p:cNvSpPr/>
            <p:nvPr/>
          </p:nvSpPr>
          <p:spPr>
            <a:xfrm>
              <a:off x="5816405" y="4883895"/>
              <a:ext cx="109594" cy="63588"/>
            </a:xfrm>
            <a:custGeom>
              <a:avLst/>
              <a:gdLst>
                <a:gd name="connsiteX0" fmla="*/ -336 w 36004"/>
                <a:gd name="connsiteY0" fmla="*/ 10291 h 20890"/>
                <a:gd name="connsiteX1" fmla="*/ 1188 w 36004"/>
                <a:gd name="connsiteY1" fmla="*/ 12482 h 20890"/>
                <a:gd name="connsiteX2" fmla="*/ 3569 w 36004"/>
                <a:gd name="connsiteY2" fmla="*/ 13815 h 20890"/>
                <a:gd name="connsiteX3" fmla="*/ 13856 w 36004"/>
                <a:gd name="connsiteY3" fmla="*/ 19721 h 20890"/>
                <a:gd name="connsiteX4" fmla="*/ 21476 w 36004"/>
                <a:gd name="connsiteY4" fmla="*/ 19721 h 20890"/>
                <a:gd name="connsiteX5" fmla="*/ 31763 w 36004"/>
                <a:gd name="connsiteY5" fmla="*/ 13815 h 20890"/>
                <a:gd name="connsiteX6" fmla="*/ 34144 w 36004"/>
                <a:gd name="connsiteY6" fmla="*/ 12482 h 20890"/>
                <a:gd name="connsiteX7" fmla="*/ 35668 w 36004"/>
                <a:gd name="connsiteY7" fmla="*/ 10291 h 20890"/>
                <a:gd name="connsiteX8" fmla="*/ 34144 w 36004"/>
                <a:gd name="connsiteY8" fmla="*/ 8005 h 20890"/>
                <a:gd name="connsiteX9" fmla="*/ 21476 w 36004"/>
                <a:gd name="connsiteY9" fmla="*/ 766 h 20890"/>
                <a:gd name="connsiteX10" fmla="*/ 13856 w 36004"/>
                <a:gd name="connsiteY10" fmla="*/ 766 h 20890"/>
                <a:gd name="connsiteX11" fmla="*/ 1188 w 36004"/>
                <a:gd name="connsiteY11" fmla="*/ 8005 h 20890"/>
                <a:gd name="connsiteX12" fmla="*/ -336 w 36004"/>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291"/>
                  </a:moveTo>
                  <a:cubicBezTo>
                    <a:pt x="-279" y="11244"/>
                    <a:pt x="312" y="12091"/>
                    <a:pt x="1188" y="12482"/>
                  </a:cubicBezTo>
                  <a:lnTo>
                    <a:pt x="3569" y="13815"/>
                  </a:lnTo>
                  <a:lnTo>
                    <a:pt x="13856" y="19721"/>
                  </a:lnTo>
                  <a:cubicBezTo>
                    <a:pt x="16218" y="21064"/>
                    <a:pt x="19114" y="21064"/>
                    <a:pt x="21476" y="19721"/>
                  </a:cubicBezTo>
                  <a:lnTo>
                    <a:pt x="31763" y="13815"/>
                  </a:lnTo>
                  <a:lnTo>
                    <a:pt x="34144" y="12482"/>
                  </a:lnTo>
                  <a:cubicBezTo>
                    <a:pt x="35021" y="12091"/>
                    <a:pt x="35611" y="11253"/>
                    <a:pt x="35668" y="10291"/>
                  </a:cubicBezTo>
                  <a:cubicBezTo>
                    <a:pt x="35602" y="9310"/>
                    <a:pt x="35021" y="8443"/>
                    <a:pt x="34144" y="8005"/>
                  </a:cubicBezTo>
                  <a:lnTo>
                    <a:pt x="21476" y="766"/>
                  </a:lnTo>
                  <a:cubicBezTo>
                    <a:pt x="19085" y="-472"/>
                    <a:pt x="16247" y="-472"/>
                    <a:pt x="13856" y="766"/>
                  </a:cubicBezTo>
                  <a:lnTo>
                    <a:pt x="1188" y="8005"/>
                  </a:lnTo>
                  <a:cubicBezTo>
                    <a:pt x="312" y="8443"/>
                    <a:pt x="-269" y="9310"/>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568" name="îṣḻidê">
              <a:extLst>
                <a:ext uri="{FF2B5EF4-FFF2-40B4-BE49-F238E27FC236}">
                  <a16:creationId xmlns:a16="http://schemas.microsoft.com/office/drawing/2014/main" id="{640F5F01-860D-4771-B0C5-E82C3BC410F0}"/>
                </a:ext>
              </a:extLst>
            </p:cNvPr>
            <p:cNvSpPr/>
            <p:nvPr/>
          </p:nvSpPr>
          <p:spPr>
            <a:xfrm>
              <a:off x="5818073" y="4885055"/>
              <a:ext cx="105174" cy="61101"/>
            </a:xfrm>
            <a:custGeom>
              <a:avLst/>
              <a:gdLst>
                <a:gd name="connsiteX0" fmla="*/ 1021 w 34552"/>
                <a:gd name="connsiteY0" fmla="*/ 12006 h 20073"/>
                <a:gd name="connsiteX1" fmla="*/ 13118 w 34552"/>
                <a:gd name="connsiteY1" fmla="*/ 19054 h 20073"/>
                <a:gd name="connsiteX2" fmla="*/ 20547 w 34552"/>
                <a:gd name="connsiteY2" fmla="*/ 19054 h 20073"/>
                <a:gd name="connsiteX3" fmla="*/ 32644 w 34552"/>
                <a:gd name="connsiteY3" fmla="*/ 12006 h 20073"/>
                <a:gd name="connsiteX4" fmla="*/ 32644 w 34552"/>
                <a:gd name="connsiteY4" fmla="*/ 7719 h 20073"/>
                <a:gd name="connsiteX5" fmla="*/ 20547 w 34552"/>
                <a:gd name="connsiteY5" fmla="*/ 766 h 20073"/>
                <a:gd name="connsiteX6" fmla="*/ 13118 w 34552"/>
                <a:gd name="connsiteY6" fmla="*/ 766 h 20073"/>
                <a:gd name="connsiteX7" fmla="*/ 1021 w 34552"/>
                <a:gd name="connsiteY7" fmla="*/ 7719 h 20073"/>
                <a:gd name="connsiteX8" fmla="*/ 1021 w 34552"/>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552" h="20073">
                  <a:moveTo>
                    <a:pt x="1021" y="12006"/>
                  </a:moveTo>
                  <a:lnTo>
                    <a:pt x="13118" y="19054"/>
                  </a:lnTo>
                  <a:cubicBezTo>
                    <a:pt x="15461" y="20197"/>
                    <a:pt x="18204" y="20197"/>
                    <a:pt x="20547" y="19054"/>
                  </a:cubicBezTo>
                  <a:lnTo>
                    <a:pt x="32644" y="12006"/>
                  </a:lnTo>
                  <a:cubicBezTo>
                    <a:pt x="34740" y="10863"/>
                    <a:pt x="34740" y="8957"/>
                    <a:pt x="32644" y="7719"/>
                  </a:cubicBezTo>
                  <a:lnTo>
                    <a:pt x="20547" y="766"/>
                  </a:lnTo>
                  <a:cubicBezTo>
                    <a:pt x="18223" y="-472"/>
                    <a:pt x="15442" y="-472"/>
                    <a:pt x="13118" y="766"/>
                  </a:cubicBezTo>
                  <a:lnTo>
                    <a:pt x="1021" y="7719"/>
                  </a:lnTo>
                  <a:cubicBezTo>
                    <a:pt x="-789" y="9339"/>
                    <a:pt x="-789" y="10863"/>
                    <a:pt x="1021" y="12006"/>
                  </a:cubicBezTo>
                  <a:close/>
                </a:path>
              </a:pathLst>
            </a:custGeom>
            <a:solidFill>
              <a:srgbClr val="D1D9E8"/>
            </a:solidFill>
            <a:ln w="9525" cap="flat">
              <a:noFill/>
              <a:prstDash val="solid"/>
              <a:miter/>
            </a:ln>
          </p:spPr>
          <p:txBody>
            <a:bodyPr rtlCol="0" anchor="ctr"/>
            <a:lstStyle/>
            <a:p>
              <a:endParaRPr lang="zh-CN" altLang="en-US"/>
            </a:p>
          </p:txBody>
        </p:sp>
        <p:sp>
          <p:nvSpPr>
            <p:cNvPr id="569" name="îṧļiḓé">
              <a:extLst>
                <a:ext uri="{FF2B5EF4-FFF2-40B4-BE49-F238E27FC236}">
                  <a16:creationId xmlns:a16="http://schemas.microsoft.com/office/drawing/2014/main" id="{AE11A5B9-2885-45AC-B35F-0A6FFCCD5078}"/>
                </a:ext>
              </a:extLst>
            </p:cNvPr>
            <p:cNvSpPr/>
            <p:nvPr/>
          </p:nvSpPr>
          <p:spPr>
            <a:xfrm>
              <a:off x="5816405" y="4915713"/>
              <a:ext cx="109594" cy="53564"/>
            </a:xfrm>
            <a:custGeom>
              <a:avLst/>
              <a:gdLst>
                <a:gd name="connsiteX0" fmla="*/ -336 w 36004"/>
                <a:gd name="connsiteY0" fmla="*/ -163 h 17597"/>
                <a:gd name="connsiteX1" fmla="*/ -336 w 36004"/>
                <a:gd name="connsiteY1" fmla="*/ 6981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028 h 17597"/>
                <a:gd name="connsiteX9" fmla="*/ 31763 w 36004"/>
                <a:gd name="connsiteY9" fmla="*/ 3362 h 17597"/>
                <a:gd name="connsiteX10" fmla="*/ 21476 w 36004"/>
                <a:gd name="connsiteY10" fmla="*/ 9267 h 17597"/>
                <a:gd name="connsiteX11" fmla="*/ 13856 w 36004"/>
                <a:gd name="connsiteY11" fmla="*/ 9267 h 17597"/>
                <a:gd name="connsiteX12" fmla="*/ 3569 w 36004"/>
                <a:gd name="connsiteY12" fmla="*/ 3362 h 17597"/>
                <a:gd name="connsiteX13" fmla="*/ 1188 w 36004"/>
                <a:gd name="connsiteY13" fmla="*/ 2028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6981"/>
                  </a:lnTo>
                  <a:cubicBezTo>
                    <a:pt x="-269" y="7962"/>
                    <a:pt x="312" y="8829"/>
                    <a:pt x="1188" y="9267"/>
                  </a:cubicBezTo>
                  <a:lnTo>
                    <a:pt x="13856" y="16506"/>
                  </a:lnTo>
                  <a:cubicBezTo>
                    <a:pt x="16247" y="17744"/>
                    <a:pt x="19085" y="17744"/>
                    <a:pt x="21476" y="16506"/>
                  </a:cubicBezTo>
                  <a:lnTo>
                    <a:pt x="34144" y="9267"/>
                  </a:lnTo>
                  <a:cubicBezTo>
                    <a:pt x="35011" y="8819"/>
                    <a:pt x="35583" y="7953"/>
                    <a:pt x="35668" y="6981"/>
                  </a:cubicBezTo>
                  <a:lnTo>
                    <a:pt x="35668" y="-163"/>
                  </a:lnTo>
                  <a:cubicBezTo>
                    <a:pt x="35611" y="790"/>
                    <a:pt x="35021" y="1638"/>
                    <a:pt x="34144" y="2028"/>
                  </a:cubicBezTo>
                  <a:lnTo>
                    <a:pt x="31763" y="3362"/>
                  </a:lnTo>
                  <a:lnTo>
                    <a:pt x="21476" y="9267"/>
                  </a:lnTo>
                  <a:cubicBezTo>
                    <a:pt x="19114" y="10610"/>
                    <a:pt x="16218" y="10610"/>
                    <a:pt x="13856" y="9267"/>
                  </a:cubicBezTo>
                  <a:lnTo>
                    <a:pt x="3569" y="3362"/>
                  </a:lnTo>
                  <a:lnTo>
                    <a:pt x="1188" y="2028"/>
                  </a:lnTo>
                  <a:cubicBezTo>
                    <a:pt x="312" y="1638"/>
                    <a:pt x="-279" y="800"/>
                    <a:pt x="-336" y="-163"/>
                  </a:cubicBezTo>
                  <a:close/>
                </a:path>
              </a:pathLst>
            </a:custGeom>
            <a:solidFill>
              <a:srgbClr val="BF4200"/>
            </a:solidFill>
            <a:ln w="9525" cap="flat">
              <a:noFill/>
              <a:prstDash val="solid"/>
              <a:miter/>
            </a:ln>
          </p:spPr>
          <p:txBody>
            <a:bodyPr rtlCol="0" anchor="ctr"/>
            <a:lstStyle/>
            <a:p>
              <a:endParaRPr lang="zh-CN" altLang="en-US"/>
            </a:p>
          </p:txBody>
        </p:sp>
        <p:sp>
          <p:nvSpPr>
            <p:cNvPr id="570" name="îş1iḓé">
              <a:extLst>
                <a:ext uri="{FF2B5EF4-FFF2-40B4-BE49-F238E27FC236}">
                  <a16:creationId xmlns:a16="http://schemas.microsoft.com/office/drawing/2014/main" id="{B9C6AA89-8786-4F58-856F-68DF58DF5F67}"/>
                </a:ext>
              </a:extLst>
            </p:cNvPr>
            <p:cNvSpPr/>
            <p:nvPr/>
          </p:nvSpPr>
          <p:spPr>
            <a:xfrm>
              <a:off x="5893818" y="4928543"/>
              <a:ext cx="109594" cy="63588"/>
            </a:xfrm>
            <a:custGeom>
              <a:avLst/>
              <a:gdLst>
                <a:gd name="connsiteX0" fmla="*/ -336 w 36004"/>
                <a:gd name="connsiteY0" fmla="*/ 10196 h 20890"/>
                <a:gd name="connsiteX1" fmla="*/ 1188 w 36004"/>
                <a:gd name="connsiteY1" fmla="*/ 12482 h 20890"/>
                <a:gd name="connsiteX2" fmla="*/ 3474 w 36004"/>
                <a:gd name="connsiteY2" fmla="*/ 13815 h 20890"/>
                <a:gd name="connsiteX3" fmla="*/ 13761 w 36004"/>
                <a:gd name="connsiteY3" fmla="*/ 19721 h 20890"/>
                <a:gd name="connsiteX4" fmla="*/ 21476 w 36004"/>
                <a:gd name="connsiteY4" fmla="*/ 19721 h 20890"/>
                <a:gd name="connsiteX5" fmla="*/ 31763 w 36004"/>
                <a:gd name="connsiteY5" fmla="*/ 13815 h 20890"/>
                <a:gd name="connsiteX6" fmla="*/ 34049 w 36004"/>
                <a:gd name="connsiteY6" fmla="*/ 12482 h 20890"/>
                <a:gd name="connsiteX7" fmla="*/ 35668 w 36004"/>
                <a:gd name="connsiteY7" fmla="*/ 10196 h 20890"/>
                <a:gd name="connsiteX8" fmla="*/ 34049 w 36004"/>
                <a:gd name="connsiteY8" fmla="*/ 8005 h 20890"/>
                <a:gd name="connsiteX9" fmla="*/ 21476 w 36004"/>
                <a:gd name="connsiteY9" fmla="*/ 766 h 20890"/>
                <a:gd name="connsiteX10" fmla="*/ 13761 w 36004"/>
                <a:gd name="connsiteY10" fmla="*/ 766 h 20890"/>
                <a:gd name="connsiteX11" fmla="*/ 1188 w 36004"/>
                <a:gd name="connsiteY11" fmla="*/ 8005 h 20890"/>
                <a:gd name="connsiteX12" fmla="*/ -336 w 36004"/>
                <a:gd name="connsiteY12" fmla="*/ 10196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196"/>
                  </a:moveTo>
                  <a:cubicBezTo>
                    <a:pt x="-308" y="11186"/>
                    <a:pt x="283" y="12082"/>
                    <a:pt x="1188" y="12482"/>
                  </a:cubicBezTo>
                  <a:lnTo>
                    <a:pt x="3474" y="13815"/>
                  </a:lnTo>
                  <a:lnTo>
                    <a:pt x="13761" y="19721"/>
                  </a:lnTo>
                  <a:cubicBezTo>
                    <a:pt x="16161" y="21064"/>
                    <a:pt x="19076" y="21064"/>
                    <a:pt x="21476" y="19721"/>
                  </a:cubicBezTo>
                  <a:lnTo>
                    <a:pt x="31763" y="13815"/>
                  </a:lnTo>
                  <a:lnTo>
                    <a:pt x="34049" y="12482"/>
                  </a:lnTo>
                  <a:cubicBezTo>
                    <a:pt x="34992" y="12110"/>
                    <a:pt x="35630" y="11215"/>
                    <a:pt x="35668" y="10196"/>
                  </a:cubicBezTo>
                  <a:cubicBezTo>
                    <a:pt x="35573" y="9224"/>
                    <a:pt x="34944" y="8386"/>
                    <a:pt x="34049" y="8005"/>
                  </a:cubicBezTo>
                  <a:lnTo>
                    <a:pt x="21476" y="766"/>
                  </a:lnTo>
                  <a:cubicBezTo>
                    <a:pt x="19057" y="-472"/>
                    <a:pt x="16180" y="-472"/>
                    <a:pt x="13761" y="766"/>
                  </a:cubicBezTo>
                  <a:lnTo>
                    <a:pt x="1188" y="8005"/>
                  </a:lnTo>
                  <a:cubicBezTo>
                    <a:pt x="340" y="8424"/>
                    <a:pt x="-241" y="925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571" name="isḻîďe">
              <a:extLst>
                <a:ext uri="{FF2B5EF4-FFF2-40B4-BE49-F238E27FC236}">
                  <a16:creationId xmlns:a16="http://schemas.microsoft.com/office/drawing/2014/main" id="{4FC6CCDC-4DE5-4F53-875A-10F53FAFB9AC}"/>
                </a:ext>
              </a:extLst>
            </p:cNvPr>
            <p:cNvSpPr/>
            <p:nvPr/>
          </p:nvSpPr>
          <p:spPr>
            <a:xfrm>
              <a:off x="5895659" y="4929703"/>
              <a:ext cx="105618" cy="61101"/>
            </a:xfrm>
            <a:custGeom>
              <a:avLst/>
              <a:gdLst>
                <a:gd name="connsiteX0" fmla="*/ 1154 w 34698"/>
                <a:gd name="connsiteY0" fmla="*/ 12006 h 20073"/>
                <a:gd name="connsiteX1" fmla="*/ 13346 w 34698"/>
                <a:gd name="connsiteY1" fmla="*/ 19054 h 20073"/>
                <a:gd name="connsiteX2" fmla="*/ 20775 w 34698"/>
                <a:gd name="connsiteY2" fmla="*/ 19054 h 20073"/>
                <a:gd name="connsiteX3" fmla="*/ 32872 w 34698"/>
                <a:gd name="connsiteY3" fmla="*/ 12006 h 20073"/>
                <a:gd name="connsiteX4" fmla="*/ 34215 w 34698"/>
                <a:gd name="connsiteY4" fmla="*/ 9072 h 20073"/>
                <a:gd name="connsiteX5" fmla="*/ 32872 w 34698"/>
                <a:gd name="connsiteY5" fmla="*/ 7719 h 20073"/>
                <a:gd name="connsiteX6" fmla="*/ 20775 w 34698"/>
                <a:gd name="connsiteY6" fmla="*/ 766 h 20073"/>
                <a:gd name="connsiteX7" fmla="*/ 13346 w 34698"/>
                <a:gd name="connsiteY7" fmla="*/ 766 h 20073"/>
                <a:gd name="connsiteX8" fmla="*/ 1154 w 34698"/>
                <a:gd name="connsiteY8" fmla="*/ 7719 h 20073"/>
                <a:gd name="connsiteX9" fmla="*/ -189 w 34698"/>
                <a:gd name="connsiteY9" fmla="*/ 10653 h 20073"/>
                <a:gd name="connsiteX10" fmla="*/ 1154 w 34698"/>
                <a:gd name="connsiteY10"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698" h="20073">
                  <a:moveTo>
                    <a:pt x="1154" y="12006"/>
                  </a:moveTo>
                  <a:lnTo>
                    <a:pt x="13346" y="19054"/>
                  </a:lnTo>
                  <a:cubicBezTo>
                    <a:pt x="15689" y="20197"/>
                    <a:pt x="18432" y="20197"/>
                    <a:pt x="20775" y="19054"/>
                  </a:cubicBezTo>
                  <a:lnTo>
                    <a:pt x="32872" y="12006"/>
                  </a:lnTo>
                  <a:cubicBezTo>
                    <a:pt x="34053" y="11567"/>
                    <a:pt x="34663" y="10253"/>
                    <a:pt x="34215" y="9072"/>
                  </a:cubicBezTo>
                  <a:cubicBezTo>
                    <a:pt x="33986" y="8443"/>
                    <a:pt x="33491" y="7948"/>
                    <a:pt x="32872" y="7719"/>
                  </a:cubicBezTo>
                  <a:lnTo>
                    <a:pt x="20775" y="766"/>
                  </a:lnTo>
                  <a:cubicBezTo>
                    <a:pt x="18451" y="-472"/>
                    <a:pt x="15670" y="-472"/>
                    <a:pt x="13346" y="766"/>
                  </a:cubicBezTo>
                  <a:lnTo>
                    <a:pt x="1154" y="7719"/>
                  </a:lnTo>
                  <a:cubicBezTo>
                    <a:pt x="-27" y="8157"/>
                    <a:pt x="-637" y="9472"/>
                    <a:pt x="-189" y="10653"/>
                  </a:cubicBezTo>
                  <a:cubicBezTo>
                    <a:pt x="39" y="11281"/>
                    <a:pt x="535" y="11777"/>
                    <a:pt x="1154" y="12006"/>
                  </a:cubicBezTo>
                  <a:close/>
                </a:path>
              </a:pathLst>
            </a:custGeom>
            <a:solidFill>
              <a:srgbClr val="D1D9E8"/>
            </a:solidFill>
            <a:ln w="9525" cap="flat">
              <a:noFill/>
              <a:prstDash val="solid"/>
              <a:miter/>
            </a:ln>
          </p:spPr>
          <p:txBody>
            <a:bodyPr rtlCol="0" anchor="ctr"/>
            <a:lstStyle/>
            <a:p>
              <a:endParaRPr lang="zh-CN" altLang="en-US"/>
            </a:p>
          </p:txBody>
        </p:sp>
        <p:sp>
          <p:nvSpPr>
            <p:cNvPr id="572" name="îṡ1îdè">
              <a:extLst>
                <a:ext uri="{FF2B5EF4-FFF2-40B4-BE49-F238E27FC236}">
                  <a16:creationId xmlns:a16="http://schemas.microsoft.com/office/drawing/2014/main" id="{DC3669F8-BED4-4BDF-B40F-009C76F0649D}"/>
                </a:ext>
              </a:extLst>
            </p:cNvPr>
            <p:cNvSpPr/>
            <p:nvPr/>
          </p:nvSpPr>
          <p:spPr>
            <a:xfrm>
              <a:off x="5893818" y="4960072"/>
              <a:ext cx="109594" cy="53801"/>
            </a:xfrm>
            <a:custGeom>
              <a:avLst/>
              <a:gdLst>
                <a:gd name="connsiteX0" fmla="*/ -336 w 36004"/>
                <a:gd name="connsiteY0" fmla="*/ -163 h 17675"/>
                <a:gd name="connsiteX1" fmla="*/ -336 w 36004"/>
                <a:gd name="connsiteY1" fmla="*/ 7076 h 17675"/>
                <a:gd name="connsiteX2" fmla="*/ 1188 w 36004"/>
                <a:gd name="connsiteY2" fmla="*/ 9267 h 17675"/>
                <a:gd name="connsiteX3" fmla="*/ 13761 w 36004"/>
                <a:gd name="connsiteY3" fmla="*/ 16506 h 17675"/>
                <a:gd name="connsiteX4" fmla="*/ 21476 w 36004"/>
                <a:gd name="connsiteY4" fmla="*/ 16506 h 17675"/>
                <a:gd name="connsiteX5" fmla="*/ 34049 w 36004"/>
                <a:gd name="connsiteY5" fmla="*/ 9267 h 17675"/>
                <a:gd name="connsiteX6" fmla="*/ 35668 w 36004"/>
                <a:gd name="connsiteY6" fmla="*/ 7076 h 17675"/>
                <a:gd name="connsiteX7" fmla="*/ 35668 w 36004"/>
                <a:gd name="connsiteY7" fmla="*/ -163 h 17675"/>
                <a:gd name="connsiteX8" fmla="*/ 34049 w 36004"/>
                <a:gd name="connsiteY8" fmla="*/ 2123 h 17675"/>
                <a:gd name="connsiteX9" fmla="*/ 31763 w 36004"/>
                <a:gd name="connsiteY9" fmla="*/ 3457 h 17675"/>
                <a:gd name="connsiteX10" fmla="*/ 21476 w 36004"/>
                <a:gd name="connsiteY10" fmla="*/ 9362 h 17675"/>
                <a:gd name="connsiteX11" fmla="*/ 13761 w 36004"/>
                <a:gd name="connsiteY11" fmla="*/ 9362 h 17675"/>
                <a:gd name="connsiteX12" fmla="*/ 3474 w 36004"/>
                <a:gd name="connsiteY12" fmla="*/ 3457 h 17675"/>
                <a:gd name="connsiteX13" fmla="*/ 1188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98" y="8038"/>
                    <a:pt x="292" y="8896"/>
                    <a:pt x="1188" y="9267"/>
                  </a:cubicBezTo>
                  <a:lnTo>
                    <a:pt x="13761" y="16506"/>
                  </a:lnTo>
                  <a:cubicBezTo>
                    <a:pt x="16161" y="17849"/>
                    <a:pt x="19076" y="17849"/>
                    <a:pt x="21476" y="16506"/>
                  </a:cubicBezTo>
                  <a:lnTo>
                    <a:pt x="34049" y="9267"/>
                  </a:lnTo>
                  <a:cubicBezTo>
                    <a:pt x="34963" y="8905"/>
                    <a:pt x="35592" y="8058"/>
                    <a:pt x="35668" y="7076"/>
                  </a:cubicBezTo>
                  <a:lnTo>
                    <a:pt x="35668" y="-163"/>
                  </a:lnTo>
                  <a:cubicBezTo>
                    <a:pt x="35630" y="856"/>
                    <a:pt x="34992" y="1752"/>
                    <a:pt x="34049" y="2123"/>
                  </a:cubicBezTo>
                  <a:lnTo>
                    <a:pt x="31763" y="3457"/>
                  </a:lnTo>
                  <a:lnTo>
                    <a:pt x="21476" y="9362"/>
                  </a:lnTo>
                  <a:cubicBezTo>
                    <a:pt x="19076" y="10705"/>
                    <a:pt x="16161" y="10705"/>
                    <a:pt x="13761" y="9362"/>
                  </a:cubicBezTo>
                  <a:lnTo>
                    <a:pt x="3474" y="3457"/>
                  </a:lnTo>
                  <a:lnTo>
                    <a:pt x="1188" y="2123"/>
                  </a:lnTo>
                  <a:cubicBezTo>
                    <a:pt x="283" y="1723"/>
                    <a:pt x="-308"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573" name="íšḷïďê">
              <a:extLst>
                <a:ext uri="{FF2B5EF4-FFF2-40B4-BE49-F238E27FC236}">
                  <a16:creationId xmlns:a16="http://schemas.microsoft.com/office/drawing/2014/main" id="{39E2F128-1EE1-431C-BC46-57855AB8F697}"/>
                </a:ext>
              </a:extLst>
            </p:cNvPr>
            <p:cNvSpPr/>
            <p:nvPr/>
          </p:nvSpPr>
          <p:spPr>
            <a:xfrm>
              <a:off x="5970942" y="4973195"/>
              <a:ext cx="109740" cy="63350"/>
            </a:xfrm>
            <a:custGeom>
              <a:avLst/>
              <a:gdLst>
                <a:gd name="connsiteX0" fmla="*/ -336 w 36052"/>
                <a:gd name="connsiteY0" fmla="*/ 10196 h 20812"/>
                <a:gd name="connsiteX1" fmla="*/ 1188 w 36052"/>
                <a:gd name="connsiteY1" fmla="*/ 12482 h 20812"/>
                <a:gd name="connsiteX2" fmla="*/ 3569 w 36052"/>
                <a:gd name="connsiteY2" fmla="*/ 13815 h 20812"/>
                <a:gd name="connsiteX3" fmla="*/ 13856 w 36052"/>
                <a:gd name="connsiteY3" fmla="*/ 19721 h 20812"/>
                <a:gd name="connsiteX4" fmla="*/ 21476 w 36052"/>
                <a:gd name="connsiteY4" fmla="*/ 19721 h 20812"/>
                <a:gd name="connsiteX5" fmla="*/ 31763 w 36052"/>
                <a:gd name="connsiteY5" fmla="*/ 13815 h 20812"/>
                <a:gd name="connsiteX6" fmla="*/ 34144 w 36052"/>
                <a:gd name="connsiteY6" fmla="*/ 12482 h 20812"/>
                <a:gd name="connsiteX7" fmla="*/ 35573 w 36052"/>
                <a:gd name="connsiteY7" fmla="*/ 9434 h 20812"/>
                <a:gd name="connsiteX8" fmla="*/ 34144 w 36052"/>
                <a:gd name="connsiteY8" fmla="*/ 8005 h 20812"/>
                <a:gd name="connsiteX9" fmla="*/ 21476 w 36052"/>
                <a:gd name="connsiteY9" fmla="*/ 766 h 20812"/>
                <a:gd name="connsiteX10" fmla="*/ 13856 w 36052"/>
                <a:gd name="connsiteY10" fmla="*/ 766 h 20812"/>
                <a:gd name="connsiteX11" fmla="*/ 1188 w 36052"/>
                <a:gd name="connsiteY11" fmla="*/ 8005 h 20812"/>
                <a:gd name="connsiteX12" fmla="*/ -336 w 36052"/>
                <a:gd name="connsiteY12" fmla="*/ 10196 h 20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12">
                  <a:moveTo>
                    <a:pt x="-336" y="10196"/>
                  </a:moveTo>
                  <a:cubicBezTo>
                    <a:pt x="-270" y="11177"/>
                    <a:pt x="311" y="12044"/>
                    <a:pt x="1188" y="12482"/>
                  </a:cubicBezTo>
                  <a:lnTo>
                    <a:pt x="3569" y="13815"/>
                  </a:lnTo>
                  <a:lnTo>
                    <a:pt x="13856" y="19721"/>
                  </a:lnTo>
                  <a:cubicBezTo>
                    <a:pt x="16247" y="20959"/>
                    <a:pt x="19085" y="20959"/>
                    <a:pt x="21476" y="19721"/>
                  </a:cubicBezTo>
                  <a:lnTo>
                    <a:pt x="31763" y="13815"/>
                  </a:lnTo>
                  <a:lnTo>
                    <a:pt x="34144" y="12482"/>
                  </a:lnTo>
                  <a:cubicBezTo>
                    <a:pt x="35382" y="12034"/>
                    <a:pt x="36020" y="10662"/>
                    <a:pt x="35573" y="9434"/>
                  </a:cubicBezTo>
                  <a:cubicBezTo>
                    <a:pt x="35325" y="8767"/>
                    <a:pt x="34811" y="8243"/>
                    <a:pt x="34144" y="8005"/>
                  </a:cubicBezTo>
                  <a:lnTo>
                    <a:pt x="21476" y="766"/>
                  </a:lnTo>
                  <a:cubicBezTo>
                    <a:pt x="19085" y="-472"/>
                    <a:pt x="16247" y="-472"/>
                    <a:pt x="13856" y="766"/>
                  </a:cubicBezTo>
                  <a:lnTo>
                    <a:pt x="1188" y="8005"/>
                  </a:lnTo>
                  <a:cubicBezTo>
                    <a:pt x="340" y="8424"/>
                    <a:pt x="-241" y="925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574" name="iṥļidé">
              <a:extLst>
                <a:ext uri="{FF2B5EF4-FFF2-40B4-BE49-F238E27FC236}">
                  <a16:creationId xmlns:a16="http://schemas.microsoft.com/office/drawing/2014/main" id="{C6870AF5-C71C-4741-A1DD-5A5EA3F0EF1C}"/>
                </a:ext>
              </a:extLst>
            </p:cNvPr>
            <p:cNvSpPr/>
            <p:nvPr/>
          </p:nvSpPr>
          <p:spPr>
            <a:xfrm>
              <a:off x="5973073" y="4974281"/>
              <a:ext cx="105618" cy="61174"/>
            </a:xfrm>
            <a:custGeom>
              <a:avLst/>
              <a:gdLst>
                <a:gd name="connsiteX0" fmla="*/ 1154 w 34698"/>
                <a:gd name="connsiteY0" fmla="*/ 12029 h 20097"/>
                <a:gd name="connsiteX1" fmla="*/ 13251 w 34698"/>
                <a:gd name="connsiteY1" fmla="*/ 19078 h 20097"/>
                <a:gd name="connsiteX2" fmla="*/ 20680 w 34698"/>
                <a:gd name="connsiteY2" fmla="*/ 19078 h 20097"/>
                <a:gd name="connsiteX3" fmla="*/ 32872 w 34698"/>
                <a:gd name="connsiteY3" fmla="*/ 12029 h 20097"/>
                <a:gd name="connsiteX4" fmla="*/ 34215 w 34698"/>
                <a:gd name="connsiteY4" fmla="*/ 9086 h 20097"/>
                <a:gd name="connsiteX5" fmla="*/ 32872 w 34698"/>
                <a:gd name="connsiteY5" fmla="*/ 7743 h 20097"/>
                <a:gd name="connsiteX6" fmla="*/ 20680 w 34698"/>
                <a:gd name="connsiteY6" fmla="*/ 695 h 20097"/>
                <a:gd name="connsiteX7" fmla="*/ 13251 w 34698"/>
                <a:gd name="connsiteY7" fmla="*/ 695 h 20097"/>
                <a:gd name="connsiteX8" fmla="*/ 1154 w 34698"/>
                <a:gd name="connsiteY8" fmla="*/ 7743 h 20097"/>
                <a:gd name="connsiteX9" fmla="*/ -189 w 34698"/>
                <a:gd name="connsiteY9" fmla="*/ 10686 h 20097"/>
                <a:gd name="connsiteX10" fmla="*/ 1154 w 34698"/>
                <a:gd name="connsiteY10" fmla="*/ 12029 h 20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698" h="20097">
                  <a:moveTo>
                    <a:pt x="1154" y="12029"/>
                  </a:moveTo>
                  <a:lnTo>
                    <a:pt x="13251" y="19078"/>
                  </a:lnTo>
                  <a:cubicBezTo>
                    <a:pt x="15594" y="20221"/>
                    <a:pt x="18337" y="20221"/>
                    <a:pt x="20680" y="19078"/>
                  </a:cubicBezTo>
                  <a:lnTo>
                    <a:pt x="32872" y="12029"/>
                  </a:lnTo>
                  <a:cubicBezTo>
                    <a:pt x="34053" y="11591"/>
                    <a:pt x="34663" y="10277"/>
                    <a:pt x="34215" y="9086"/>
                  </a:cubicBezTo>
                  <a:cubicBezTo>
                    <a:pt x="33987" y="8467"/>
                    <a:pt x="33491" y="7972"/>
                    <a:pt x="32872" y="7743"/>
                  </a:cubicBezTo>
                  <a:lnTo>
                    <a:pt x="20680" y="695"/>
                  </a:lnTo>
                  <a:cubicBezTo>
                    <a:pt x="18337" y="-448"/>
                    <a:pt x="15594" y="-448"/>
                    <a:pt x="13251" y="695"/>
                  </a:cubicBezTo>
                  <a:lnTo>
                    <a:pt x="1154" y="7743"/>
                  </a:lnTo>
                  <a:cubicBezTo>
                    <a:pt x="-27" y="8181"/>
                    <a:pt x="-637" y="9496"/>
                    <a:pt x="-189" y="10686"/>
                  </a:cubicBezTo>
                  <a:cubicBezTo>
                    <a:pt x="40" y="11305"/>
                    <a:pt x="525" y="11801"/>
                    <a:pt x="1154" y="12029"/>
                  </a:cubicBezTo>
                  <a:close/>
                </a:path>
              </a:pathLst>
            </a:custGeom>
            <a:solidFill>
              <a:srgbClr val="D1D9E8"/>
            </a:solidFill>
            <a:ln w="9525" cap="flat">
              <a:noFill/>
              <a:prstDash val="solid"/>
              <a:miter/>
            </a:ln>
          </p:spPr>
          <p:txBody>
            <a:bodyPr rtlCol="0" anchor="ctr"/>
            <a:lstStyle/>
            <a:p>
              <a:endParaRPr lang="zh-CN" altLang="en-US"/>
            </a:p>
          </p:txBody>
        </p:sp>
        <p:sp>
          <p:nvSpPr>
            <p:cNvPr id="575" name="ïślíḋe">
              <a:extLst>
                <a:ext uri="{FF2B5EF4-FFF2-40B4-BE49-F238E27FC236}">
                  <a16:creationId xmlns:a16="http://schemas.microsoft.com/office/drawing/2014/main" id="{0F4A4764-9F9D-49CE-9DD8-4EC0046E8AE2}"/>
                </a:ext>
              </a:extLst>
            </p:cNvPr>
            <p:cNvSpPr/>
            <p:nvPr/>
          </p:nvSpPr>
          <p:spPr>
            <a:xfrm>
              <a:off x="5970942" y="5004724"/>
              <a:ext cx="109594" cy="53801"/>
            </a:xfrm>
            <a:custGeom>
              <a:avLst/>
              <a:gdLst>
                <a:gd name="connsiteX0" fmla="*/ -336 w 36004"/>
                <a:gd name="connsiteY0" fmla="*/ -163 h 17675"/>
                <a:gd name="connsiteX1" fmla="*/ -336 w 36004"/>
                <a:gd name="connsiteY1" fmla="*/ 7076 h 17675"/>
                <a:gd name="connsiteX2" fmla="*/ 1188 w 36004"/>
                <a:gd name="connsiteY2" fmla="*/ 9267 h 17675"/>
                <a:gd name="connsiteX3" fmla="*/ 13856 w 36004"/>
                <a:gd name="connsiteY3" fmla="*/ 16506 h 17675"/>
                <a:gd name="connsiteX4" fmla="*/ 21476 w 36004"/>
                <a:gd name="connsiteY4" fmla="*/ 16506 h 17675"/>
                <a:gd name="connsiteX5" fmla="*/ 34144 w 36004"/>
                <a:gd name="connsiteY5" fmla="*/ 9267 h 17675"/>
                <a:gd name="connsiteX6" fmla="*/ 35668 w 36004"/>
                <a:gd name="connsiteY6" fmla="*/ 7076 h 17675"/>
                <a:gd name="connsiteX7" fmla="*/ 35668 w 36004"/>
                <a:gd name="connsiteY7" fmla="*/ -163 h 17675"/>
                <a:gd name="connsiteX8" fmla="*/ 34144 w 36004"/>
                <a:gd name="connsiteY8" fmla="*/ 2123 h 17675"/>
                <a:gd name="connsiteX9" fmla="*/ 31763 w 36004"/>
                <a:gd name="connsiteY9" fmla="*/ 3457 h 17675"/>
                <a:gd name="connsiteX10" fmla="*/ 21476 w 36004"/>
                <a:gd name="connsiteY10" fmla="*/ 9362 h 17675"/>
                <a:gd name="connsiteX11" fmla="*/ 13856 w 36004"/>
                <a:gd name="connsiteY11" fmla="*/ 9362 h 17675"/>
                <a:gd name="connsiteX12" fmla="*/ 3569 w 36004"/>
                <a:gd name="connsiteY12" fmla="*/ 3457 h 17675"/>
                <a:gd name="connsiteX13" fmla="*/ 1188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79" y="8038"/>
                    <a:pt x="311" y="8877"/>
                    <a:pt x="1188" y="9267"/>
                  </a:cubicBezTo>
                  <a:lnTo>
                    <a:pt x="13856" y="16506"/>
                  </a:lnTo>
                  <a:cubicBezTo>
                    <a:pt x="16218" y="17849"/>
                    <a:pt x="19114" y="17849"/>
                    <a:pt x="21476" y="16506"/>
                  </a:cubicBezTo>
                  <a:lnTo>
                    <a:pt x="34144" y="9267"/>
                  </a:lnTo>
                  <a:cubicBezTo>
                    <a:pt x="35021" y="8877"/>
                    <a:pt x="35611" y="8038"/>
                    <a:pt x="35668" y="7076"/>
                  </a:cubicBezTo>
                  <a:lnTo>
                    <a:pt x="35668" y="-163"/>
                  </a:lnTo>
                  <a:cubicBezTo>
                    <a:pt x="35602" y="818"/>
                    <a:pt x="35021" y="1685"/>
                    <a:pt x="34144" y="2123"/>
                  </a:cubicBezTo>
                  <a:lnTo>
                    <a:pt x="31763" y="3457"/>
                  </a:lnTo>
                  <a:lnTo>
                    <a:pt x="21476" y="9362"/>
                  </a:lnTo>
                  <a:cubicBezTo>
                    <a:pt x="19085" y="10601"/>
                    <a:pt x="16247" y="10601"/>
                    <a:pt x="13856" y="9362"/>
                  </a:cubicBezTo>
                  <a:lnTo>
                    <a:pt x="3569" y="3457"/>
                  </a:lnTo>
                  <a:lnTo>
                    <a:pt x="1188"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576" name="iṥlîḓe">
              <a:extLst>
                <a:ext uri="{FF2B5EF4-FFF2-40B4-BE49-F238E27FC236}">
                  <a16:creationId xmlns:a16="http://schemas.microsoft.com/office/drawing/2014/main" id="{A21BA53E-C038-4BE7-82E0-B7375199128F}"/>
                </a:ext>
              </a:extLst>
            </p:cNvPr>
            <p:cNvSpPr/>
            <p:nvPr/>
          </p:nvSpPr>
          <p:spPr>
            <a:xfrm>
              <a:off x="6048352" y="5017749"/>
              <a:ext cx="109740" cy="63442"/>
            </a:xfrm>
            <a:custGeom>
              <a:avLst/>
              <a:gdLst>
                <a:gd name="connsiteX0" fmla="*/ -336 w 36052"/>
                <a:gd name="connsiteY0" fmla="*/ 10227 h 20842"/>
                <a:gd name="connsiteX1" fmla="*/ 1188 w 36052"/>
                <a:gd name="connsiteY1" fmla="*/ 12513 h 20842"/>
                <a:gd name="connsiteX2" fmla="*/ 3569 w 36052"/>
                <a:gd name="connsiteY2" fmla="*/ 13846 h 20842"/>
                <a:gd name="connsiteX3" fmla="*/ 13856 w 36052"/>
                <a:gd name="connsiteY3" fmla="*/ 19752 h 20842"/>
                <a:gd name="connsiteX4" fmla="*/ 21476 w 36052"/>
                <a:gd name="connsiteY4" fmla="*/ 19752 h 20842"/>
                <a:gd name="connsiteX5" fmla="*/ 31763 w 36052"/>
                <a:gd name="connsiteY5" fmla="*/ 13846 h 20842"/>
                <a:gd name="connsiteX6" fmla="*/ 34144 w 36052"/>
                <a:gd name="connsiteY6" fmla="*/ 12513 h 20842"/>
                <a:gd name="connsiteX7" fmla="*/ 35573 w 36052"/>
                <a:gd name="connsiteY7" fmla="*/ 9465 h 20842"/>
                <a:gd name="connsiteX8" fmla="*/ 34144 w 36052"/>
                <a:gd name="connsiteY8" fmla="*/ 8036 h 20842"/>
                <a:gd name="connsiteX9" fmla="*/ 21476 w 36052"/>
                <a:gd name="connsiteY9" fmla="*/ 702 h 20842"/>
                <a:gd name="connsiteX10" fmla="*/ 13856 w 36052"/>
                <a:gd name="connsiteY10" fmla="*/ 702 h 20842"/>
                <a:gd name="connsiteX11" fmla="*/ 1188 w 36052"/>
                <a:gd name="connsiteY11" fmla="*/ 8036 h 20842"/>
                <a:gd name="connsiteX12" fmla="*/ -336 w 36052"/>
                <a:gd name="connsiteY12" fmla="*/ 10227 h 20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2">
                  <a:moveTo>
                    <a:pt x="-336" y="10227"/>
                  </a:moveTo>
                  <a:cubicBezTo>
                    <a:pt x="-269" y="11208"/>
                    <a:pt x="312" y="12075"/>
                    <a:pt x="1188" y="12513"/>
                  </a:cubicBezTo>
                  <a:lnTo>
                    <a:pt x="3569" y="13846"/>
                  </a:lnTo>
                  <a:lnTo>
                    <a:pt x="13856" y="19752"/>
                  </a:lnTo>
                  <a:cubicBezTo>
                    <a:pt x="16247" y="20990"/>
                    <a:pt x="19085" y="20990"/>
                    <a:pt x="21476" y="19752"/>
                  </a:cubicBezTo>
                  <a:lnTo>
                    <a:pt x="31763" y="13846"/>
                  </a:lnTo>
                  <a:lnTo>
                    <a:pt x="34144" y="12513"/>
                  </a:lnTo>
                  <a:cubicBezTo>
                    <a:pt x="35382" y="12065"/>
                    <a:pt x="36021" y="10693"/>
                    <a:pt x="35573" y="9465"/>
                  </a:cubicBezTo>
                  <a:cubicBezTo>
                    <a:pt x="35325" y="8798"/>
                    <a:pt x="34811" y="8274"/>
                    <a:pt x="34144"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577" name="ísļïḍé">
              <a:extLst>
                <a:ext uri="{FF2B5EF4-FFF2-40B4-BE49-F238E27FC236}">
                  <a16:creationId xmlns:a16="http://schemas.microsoft.com/office/drawing/2014/main" id="{64555E74-C9E7-4A37-98AF-571D048AC279}"/>
                </a:ext>
              </a:extLst>
            </p:cNvPr>
            <p:cNvSpPr/>
            <p:nvPr/>
          </p:nvSpPr>
          <p:spPr>
            <a:xfrm>
              <a:off x="6050020" y="5018930"/>
              <a:ext cx="105463" cy="61104"/>
            </a:xfrm>
            <a:custGeom>
              <a:avLst/>
              <a:gdLst>
                <a:gd name="connsiteX0" fmla="*/ 1021 w 34647"/>
                <a:gd name="connsiteY0" fmla="*/ 12029 h 20074"/>
                <a:gd name="connsiteX1" fmla="*/ 13213 w 34647"/>
                <a:gd name="connsiteY1" fmla="*/ 18983 h 20074"/>
                <a:gd name="connsiteX2" fmla="*/ 20642 w 34647"/>
                <a:gd name="connsiteY2" fmla="*/ 18983 h 20074"/>
                <a:gd name="connsiteX3" fmla="*/ 32739 w 34647"/>
                <a:gd name="connsiteY3" fmla="*/ 12029 h 20074"/>
                <a:gd name="connsiteX4" fmla="*/ 32739 w 34647"/>
                <a:gd name="connsiteY4" fmla="*/ 7743 h 20074"/>
                <a:gd name="connsiteX5" fmla="*/ 20642 w 34647"/>
                <a:gd name="connsiteY5" fmla="*/ 695 h 20074"/>
                <a:gd name="connsiteX6" fmla="*/ 13213 w 34647"/>
                <a:gd name="connsiteY6" fmla="*/ 695 h 20074"/>
                <a:gd name="connsiteX7" fmla="*/ 1021 w 34647"/>
                <a:gd name="connsiteY7" fmla="*/ 7743 h 20074"/>
                <a:gd name="connsiteX8" fmla="*/ 1021 w 34647"/>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647" h="20074">
                  <a:moveTo>
                    <a:pt x="1021" y="12029"/>
                  </a:moveTo>
                  <a:lnTo>
                    <a:pt x="13213" y="18983"/>
                  </a:lnTo>
                  <a:cubicBezTo>
                    <a:pt x="15537" y="20221"/>
                    <a:pt x="18318" y="20221"/>
                    <a:pt x="20642" y="18983"/>
                  </a:cubicBezTo>
                  <a:lnTo>
                    <a:pt x="32739" y="12029"/>
                  </a:lnTo>
                  <a:cubicBezTo>
                    <a:pt x="34835" y="10791"/>
                    <a:pt x="34835" y="8886"/>
                    <a:pt x="32739" y="7743"/>
                  </a:cubicBezTo>
                  <a:lnTo>
                    <a:pt x="20642" y="695"/>
                  </a:lnTo>
                  <a:cubicBezTo>
                    <a:pt x="18299" y="-448"/>
                    <a:pt x="15556" y="-448"/>
                    <a:pt x="13213" y="695"/>
                  </a:cubicBezTo>
                  <a:lnTo>
                    <a:pt x="1021" y="7743"/>
                  </a:lnTo>
                  <a:cubicBezTo>
                    <a:pt x="-789" y="8886"/>
                    <a:pt x="-789" y="10791"/>
                    <a:pt x="1021" y="12029"/>
                  </a:cubicBezTo>
                  <a:close/>
                </a:path>
              </a:pathLst>
            </a:custGeom>
            <a:solidFill>
              <a:srgbClr val="D1D9E8"/>
            </a:solidFill>
            <a:ln w="9525" cap="flat">
              <a:noFill/>
              <a:prstDash val="solid"/>
              <a:miter/>
            </a:ln>
          </p:spPr>
          <p:txBody>
            <a:bodyPr rtlCol="0" anchor="ctr"/>
            <a:lstStyle/>
            <a:p>
              <a:endParaRPr lang="zh-CN" altLang="en-US"/>
            </a:p>
          </p:txBody>
        </p:sp>
        <p:sp>
          <p:nvSpPr>
            <p:cNvPr id="578" name="îşḷiďê">
              <a:extLst>
                <a:ext uri="{FF2B5EF4-FFF2-40B4-BE49-F238E27FC236}">
                  <a16:creationId xmlns:a16="http://schemas.microsoft.com/office/drawing/2014/main" id="{807FC88A-3169-46F4-9DA1-9F6C5E16B654}"/>
                </a:ext>
              </a:extLst>
            </p:cNvPr>
            <p:cNvSpPr/>
            <p:nvPr/>
          </p:nvSpPr>
          <p:spPr>
            <a:xfrm>
              <a:off x="6048352" y="5049375"/>
              <a:ext cx="109594" cy="53801"/>
            </a:xfrm>
            <a:custGeom>
              <a:avLst/>
              <a:gdLst>
                <a:gd name="connsiteX0" fmla="*/ -336 w 36004"/>
                <a:gd name="connsiteY0" fmla="*/ -163 h 17675"/>
                <a:gd name="connsiteX1" fmla="*/ -336 w 36004"/>
                <a:gd name="connsiteY1" fmla="*/ 7076 h 17675"/>
                <a:gd name="connsiteX2" fmla="*/ 1188 w 36004"/>
                <a:gd name="connsiteY2" fmla="*/ 9267 h 17675"/>
                <a:gd name="connsiteX3" fmla="*/ 13856 w 36004"/>
                <a:gd name="connsiteY3" fmla="*/ 16506 h 17675"/>
                <a:gd name="connsiteX4" fmla="*/ 21476 w 36004"/>
                <a:gd name="connsiteY4" fmla="*/ 16506 h 17675"/>
                <a:gd name="connsiteX5" fmla="*/ 34144 w 36004"/>
                <a:gd name="connsiteY5" fmla="*/ 9267 h 17675"/>
                <a:gd name="connsiteX6" fmla="*/ 35668 w 36004"/>
                <a:gd name="connsiteY6" fmla="*/ 6981 h 17675"/>
                <a:gd name="connsiteX7" fmla="*/ 35668 w 36004"/>
                <a:gd name="connsiteY7" fmla="*/ -163 h 17675"/>
                <a:gd name="connsiteX8" fmla="*/ 34144 w 36004"/>
                <a:gd name="connsiteY8" fmla="*/ 2123 h 17675"/>
                <a:gd name="connsiteX9" fmla="*/ 31763 w 36004"/>
                <a:gd name="connsiteY9" fmla="*/ 3457 h 17675"/>
                <a:gd name="connsiteX10" fmla="*/ 21476 w 36004"/>
                <a:gd name="connsiteY10" fmla="*/ 9362 h 17675"/>
                <a:gd name="connsiteX11" fmla="*/ 13856 w 36004"/>
                <a:gd name="connsiteY11" fmla="*/ 9362 h 17675"/>
                <a:gd name="connsiteX12" fmla="*/ 3569 w 36004"/>
                <a:gd name="connsiteY12" fmla="*/ 3457 h 17675"/>
                <a:gd name="connsiteX13" fmla="*/ 1188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79" y="8029"/>
                    <a:pt x="312" y="8876"/>
                    <a:pt x="1188" y="9267"/>
                  </a:cubicBezTo>
                  <a:lnTo>
                    <a:pt x="13856" y="16506"/>
                  </a:lnTo>
                  <a:cubicBezTo>
                    <a:pt x="16218" y="17849"/>
                    <a:pt x="19114" y="17849"/>
                    <a:pt x="21476" y="16506"/>
                  </a:cubicBezTo>
                  <a:lnTo>
                    <a:pt x="34144" y="9267"/>
                  </a:lnTo>
                  <a:cubicBezTo>
                    <a:pt x="35049" y="8867"/>
                    <a:pt x="35640" y="7971"/>
                    <a:pt x="35668" y="6981"/>
                  </a:cubicBezTo>
                  <a:lnTo>
                    <a:pt x="35668" y="-163"/>
                  </a:lnTo>
                  <a:cubicBezTo>
                    <a:pt x="35602" y="818"/>
                    <a:pt x="35021" y="1685"/>
                    <a:pt x="34144" y="2123"/>
                  </a:cubicBezTo>
                  <a:lnTo>
                    <a:pt x="31763" y="3457"/>
                  </a:lnTo>
                  <a:lnTo>
                    <a:pt x="21476" y="9362"/>
                  </a:lnTo>
                  <a:cubicBezTo>
                    <a:pt x="19085" y="10600"/>
                    <a:pt x="16247" y="10600"/>
                    <a:pt x="13856" y="9362"/>
                  </a:cubicBezTo>
                  <a:lnTo>
                    <a:pt x="3569" y="3457"/>
                  </a:lnTo>
                  <a:lnTo>
                    <a:pt x="1188" y="2123"/>
                  </a:lnTo>
                  <a:cubicBezTo>
                    <a:pt x="312"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579" name="ïṧḻíde">
              <a:extLst>
                <a:ext uri="{FF2B5EF4-FFF2-40B4-BE49-F238E27FC236}">
                  <a16:creationId xmlns:a16="http://schemas.microsoft.com/office/drawing/2014/main" id="{1261BA01-36F4-4554-8667-98B7167D33B7}"/>
                </a:ext>
              </a:extLst>
            </p:cNvPr>
            <p:cNvSpPr/>
            <p:nvPr/>
          </p:nvSpPr>
          <p:spPr>
            <a:xfrm>
              <a:off x="6125476" y="5062202"/>
              <a:ext cx="109362" cy="63588"/>
            </a:xfrm>
            <a:custGeom>
              <a:avLst/>
              <a:gdLst>
                <a:gd name="connsiteX0" fmla="*/ -336 w 35928"/>
                <a:gd name="connsiteY0" fmla="*/ 10291 h 20890"/>
                <a:gd name="connsiteX1" fmla="*/ 1283 w 35928"/>
                <a:gd name="connsiteY1" fmla="*/ 12482 h 20890"/>
                <a:gd name="connsiteX2" fmla="*/ 3569 w 35928"/>
                <a:gd name="connsiteY2" fmla="*/ 13911 h 20890"/>
                <a:gd name="connsiteX3" fmla="*/ 13856 w 35928"/>
                <a:gd name="connsiteY3" fmla="*/ 19721 h 20890"/>
                <a:gd name="connsiteX4" fmla="*/ 21571 w 35928"/>
                <a:gd name="connsiteY4" fmla="*/ 19721 h 20890"/>
                <a:gd name="connsiteX5" fmla="*/ 31858 w 35928"/>
                <a:gd name="connsiteY5" fmla="*/ 13911 h 20890"/>
                <a:gd name="connsiteX6" fmla="*/ 34144 w 35928"/>
                <a:gd name="connsiteY6" fmla="*/ 12482 h 20890"/>
                <a:gd name="connsiteX7" fmla="*/ 35402 w 35928"/>
                <a:gd name="connsiteY7" fmla="*/ 9358 h 20890"/>
                <a:gd name="connsiteX8" fmla="*/ 34144 w 35928"/>
                <a:gd name="connsiteY8" fmla="*/ 8101 h 20890"/>
                <a:gd name="connsiteX9" fmla="*/ 21571 w 35928"/>
                <a:gd name="connsiteY9" fmla="*/ 766 h 20890"/>
                <a:gd name="connsiteX10" fmla="*/ 13856 w 35928"/>
                <a:gd name="connsiteY10" fmla="*/ 766 h 20890"/>
                <a:gd name="connsiteX11" fmla="*/ 1283 w 35928"/>
                <a:gd name="connsiteY11" fmla="*/ 8101 h 20890"/>
                <a:gd name="connsiteX12" fmla="*/ -336 w 35928"/>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928" h="20890">
                  <a:moveTo>
                    <a:pt x="-336" y="10291"/>
                  </a:moveTo>
                  <a:cubicBezTo>
                    <a:pt x="-279" y="11282"/>
                    <a:pt x="350" y="12139"/>
                    <a:pt x="1283" y="12482"/>
                  </a:cubicBezTo>
                  <a:lnTo>
                    <a:pt x="3569" y="13911"/>
                  </a:lnTo>
                  <a:lnTo>
                    <a:pt x="13856" y="19721"/>
                  </a:lnTo>
                  <a:cubicBezTo>
                    <a:pt x="16256" y="21064"/>
                    <a:pt x="19171" y="21064"/>
                    <a:pt x="21571" y="19721"/>
                  </a:cubicBezTo>
                  <a:lnTo>
                    <a:pt x="31858" y="13911"/>
                  </a:lnTo>
                  <a:lnTo>
                    <a:pt x="34144" y="12482"/>
                  </a:lnTo>
                  <a:cubicBezTo>
                    <a:pt x="35354" y="11967"/>
                    <a:pt x="35916" y="10568"/>
                    <a:pt x="35402" y="9358"/>
                  </a:cubicBezTo>
                  <a:cubicBezTo>
                    <a:pt x="35164" y="8796"/>
                    <a:pt x="34706" y="8339"/>
                    <a:pt x="34144" y="8101"/>
                  </a:cubicBezTo>
                  <a:lnTo>
                    <a:pt x="21571" y="766"/>
                  </a:lnTo>
                  <a:cubicBezTo>
                    <a:pt x="19152" y="-472"/>
                    <a:pt x="16275" y="-472"/>
                    <a:pt x="13856" y="766"/>
                  </a:cubicBezTo>
                  <a:lnTo>
                    <a:pt x="1283" y="8101"/>
                  </a:lnTo>
                  <a:cubicBezTo>
                    <a:pt x="350" y="8443"/>
                    <a:pt x="-279" y="9300"/>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580" name="iS1íḓé">
              <a:extLst>
                <a:ext uri="{FF2B5EF4-FFF2-40B4-BE49-F238E27FC236}">
                  <a16:creationId xmlns:a16="http://schemas.microsoft.com/office/drawing/2014/main" id="{72738022-E8D0-4364-9428-F0050FAF5715}"/>
                </a:ext>
              </a:extLst>
            </p:cNvPr>
            <p:cNvSpPr/>
            <p:nvPr/>
          </p:nvSpPr>
          <p:spPr>
            <a:xfrm>
              <a:off x="6127360" y="5063362"/>
              <a:ext cx="105898" cy="61104"/>
            </a:xfrm>
            <a:custGeom>
              <a:avLst/>
              <a:gdLst>
                <a:gd name="connsiteX0" fmla="*/ 1235 w 34790"/>
                <a:gd name="connsiteY0" fmla="*/ 12006 h 20074"/>
                <a:gd name="connsiteX1" fmla="*/ 13332 w 34790"/>
                <a:gd name="connsiteY1" fmla="*/ 19054 h 20074"/>
                <a:gd name="connsiteX2" fmla="*/ 20761 w 34790"/>
                <a:gd name="connsiteY2" fmla="*/ 19054 h 20074"/>
                <a:gd name="connsiteX3" fmla="*/ 32953 w 34790"/>
                <a:gd name="connsiteY3" fmla="*/ 12006 h 20074"/>
                <a:gd name="connsiteX4" fmla="*/ 32953 w 34790"/>
                <a:gd name="connsiteY4" fmla="*/ 7719 h 20074"/>
                <a:gd name="connsiteX5" fmla="*/ 20761 w 34790"/>
                <a:gd name="connsiteY5" fmla="*/ 766 h 20074"/>
                <a:gd name="connsiteX6" fmla="*/ 13332 w 34790"/>
                <a:gd name="connsiteY6" fmla="*/ 766 h 20074"/>
                <a:gd name="connsiteX7" fmla="*/ 1235 w 34790"/>
                <a:gd name="connsiteY7" fmla="*/ 7719 h 20074"/>
                <a:gd name="connsiteX8" fmla="*/ 1235 w 34790"/>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4">
                  <a:moveTo>
                    <a:pt x="1235" y="12006"/>
                  </a:moveTo>
                  <a:lnTo>
                    <a:pt x="13332" y="19054"/>
                  </a:lnTo>
                  <a:cubicBezTo>
                    <a:pt x="15675" y="20197"/>
                    <a:pt x="18418" y="20197"/>
                    <a:pt x="20761" y="19054"/>
                  </a:cubicBezTo>
                  <a:lnTo>
                    <a:pt x="32953" y="12006"/>
                  </a:lnTo>
                  <a:cubicBezTo>
                    <a:pt x="34954" y="10863"/>
                    <a:pt x="34954" y="8957"/>
                    <a:pt x="32953" y="7719"/>
                  </a:cubicBezTo>
                  <a:lnTo>
                    <a:pt x="20761" y="766"/>
                  </a:lnTo>
                  <a:cubicBezTo>
                    <a:pt x="18437" y="-472"/>
                    <a:pt x="15656" y="-472"/>
                    <a:pt x="13332" y="766"/>
                  </a:cubicBezTo>
                  <a:lnTo>
                    <a:pt x="1235" y="7719"/>
                  </a:lnTo>
                  <a:cubicBezTo>
                    <a:pt x="-860" y="8957"/>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581" name="îṩliḑè">
              <a:extLst>
                <a:ext uri="{FF2B5EF4-FFF2-40B4-BE49-F238E27FC236}">
                  <a16:creationId xmlns:a16="http://schemas.microsoft.com/office/drawing/2014/main" id="{A8958DC7-B5F0-43E7-AFD5-C9CD2E185FFE}"/>
                </a:ext>
              </a:extLst>
            </p:cNvPr>
            <p:cNvSpPr/>
            <p:nvPr/>
          </p:nvSpPr>
          <p:spPr>
            <a:xfrm>
              <a:off x="6125464" y="5094023"/>
              <a:ext cx="111055" cy="54724"/>
            </a:xfrm>
            <a:custGeom>
              <a:avLst/>
              <a:gdLst>
                <a:gd name="connsiteX0" fmla="*/ -333 w 36484"/>
                <a:gd name="connsiteY0" fmla="*/ -163 h 17978"/>
                <a:gd name="connsiteX1" fmla="*/ -333 w 36484"/>
                <a:gd name="connsiteY1" fmla="*/ 7362 h 17978"/>
                <a:gd name="connsiteX2" fmla="*/ 1286 w 36484"/>
                <a:gd name="connsiteY2" fmla="*/ 9553 h 17978"/>
                <a:gd name="connsiteX3" fmla="*/ 14336 w 36484"/>
                <a:gd name="connsiteY3" fmla="*/ 16887 h 17978"/>
                <a:gd name="connsiteX4" fmla="*/ 22051 w 36484"/>
                <a:gd name="connsiteY4" fmla="*/ 16887 h 17978"/>
                <a:gd name="connsiteX5" fmla="*/ 34624 w 36484"/>
                <a:gd name="connsiteY5" fmla="*/ 9648 h 17978"/>
                <a:gd name="connsiteX6" fmla="*/ 36148 w 36484"/>
                <a:gd name="connsiteY6" fmla="*/ 7362 h 17978"/>
                <a:gd name="connsiteX7" fmla="*/ 36148 w 36484"/>
                <a:gd name="connsiteY7" fmla="*/ 218 h 17978"/>
                <a:gd name="connsiteX8" fmla="*/ 34624 w 36484"/>
                <a:gd name="connsiteY8" fmla="*/ 2409 h 17978"/>
                <a:gd name="connsiteX9" fmla="*/ 32338 w 36484"/>
                <a:gd name="connsiteY9" fmla="*/ 3838 h 17978"/>
                <a:gd name="connsiteX10" fmla="*/ 22051 w 36484"/>
                <a:gd name="connsiteY10" fmla="*/ 9648 h 17978"/>
                <a:gd name="connsiteX11" fmla="*/ 14336 w 36484"/>
                <a:gd name="connsiteY11" fmla="*/ 9648 h 17978"/>
                <a:gd name="connsiteX12" fmla="*/ 4049 w 36484"/>
                <a:gd name="connsiteY12" fmla="*/ 3838 h 17978"/>
                <a:gd name="connsiteX13" fmla="*/ 1763 w 36484"/>
                <a:gd name="connsiteY13" fmla="*/ 2409 h 17978"/>
                <a:gd name="connsiteX14" fmla="*/ -333 w 36484"/>
                <a:gd name="connsiteY14" fmla="*/ -163 h 17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484" h="17978">
                  <a:moveTo>
                    <a:pt x="-333" y="-163"/>
                  </a:moveTo>
                  <a:lnTo>
                    <a:pt x="-333" y="7362"/>
                  </a:lnTo>
                  <a:cubicBezTo>
                    <a:pt x="-238" y="8334"/>
                    <a:pt x="382" y="9172"/>
                    <a:pt x="1286" y="9553"/>
                  </a:cubicBezTo>
                  <a:lnTo>
                    <a:pt x="14336" y="16887"/>
                  </a:lnTo>
                  <a:cubicBezTo>
                    <a:pt x="16755" y="18125"/>
                    <a:pt x="19632" y="18125"/>
                    <a:pt x="22051" y="16887"/>
                  </a:cubicBezTo>
                  <a:lnTo>
                    <a:pt x="34624" y="9648"/>
                  </a:lnTo>
                  <a:cubicBezTo>
                    <a:pt x="35491" y="9200"/>
                    <a:pt x="36062" y="8334"/>
                    <a:pt x="36148" y="7362"/>
                  </a:cubicBezTo>
                  <a:lnTo>
                    <a:pt x="36148" y="218"/>
                  </a:lnTo>
                  <a:cubicBezTo>
                    <a:pt x="36110" y="1181"/>
                    <a:pt x="35519" y="2038"/>
                    <a:pt x="34624" y="2409"/>
                  </a:cubicBezTo>
                  <a:lnTo>
                    <a:pt x="32338" y="3838"/>
                  </a:lnTo>
                  <a:lnTo>
                    <a:pt x="22051" y="9648"/>
                  </a:lnTo>
                  <a:cubicBezTo>
                    <a:pt x="19651" y="10991"/>
                    <a:pt x="16736" y="10991"/>
                    <a:pt x="14336" y="9648"/>
                  </a:cubicBezTo>
                  <a:lnTo>
                    <a:pt x="4049" y="3838"/>
                  </a:lnTo>
                  <a:lnTo>
                    <a:pt x="1763" y="2409"/>
                  </a:lnTo>
                  <a:cubicBezTo>
                    <a:pt x="505" y="2219"/>
                    <a:pt x="-399" y="1104"/>
                    <a:pt x="-333" y="-163"/>
                  </a:cubicBezTo>
                  <a:close/>
                </a:path>
              </a:pathLst>
            </a:custGeom>
            <a:solidFill>
              <a:srgbClr val="BF4200"/>
            </a:solidFill>
            <a:ln w="9525" cap="flat">
              <a:noFill/>
              <a:prstDash val="solid"/>
              <a:miter/>
            </a:ln>
          </p:spPr>
          <p:txBody>
            <a:bodyPr rtlCol="0" anchor="ctr"/>
            <a:lstStyle/>
            <a:p>
              <a:endParaRPr lang="zh-CN" altLang="en-US"/>
            </a:p>
          </p:txBody>
        </p:sp>
        <p:sp>
          <p:nvSpPr>
            <p:cNvPr id="582" name="iṣ1îḍê">
              <a:extLst>
                <a:ext uri="{FF2B5EF4-FFF2-40B4-BE49-F238E27FC236}">
                  <a16:creationId xmlns:a16="http://schemas.microsoft.com/office/drawing/2014/main" id="{7C290668-8447-42D5-8A3F-B9DB325E8B40}"/>
                </a:ext>
              </a:extLst>
            </p:cNvPr>
            <p:cNvSpPr/>
            <p:nvPr/>
          </p:nvSpPr>
          <p:spPr>
            <a:xfrm>
              <a:off x="6202889" y="5107048"/>
              <a:ext cx="109740" cy="63445"/>
            </a:xfrm>
            <a:custGeom>
              <a:avLst/>
              <a:gdLst>
                <a:gd name="connsiteX0" fmla="*/ -336 w 36052"/>
                <a:gd name="connsiteY0" fmla="*/ 10227 h 20843"/>
                <a:gd name="connsiteX1" fmla="*/ 1188 w 36052"/>
                <a:gd name="connsiteY1" fmla="*/ 12513 h 20843"/>
                <a:gd name="connsiteX2" fmla="*/ 3569 w 36052"/>
                <a:gd name="connsiteY2" fmla="*/ 13846 h 20843"/>
                <a:gd name="connsiteX3" fmla="*/ 13856 w 36052"/>
                <a:gd name="connsiteY3" fmla="*/ 19752 h 20843"/>
                <a:gd name="connsiteX4" fmla="*/ 21476 w 36052"/>
                <a:gd name="connsiteY4" fmla="*/ 19752 h 20843"/>
                <a:gd name="connsiteX5" fmla="*/ 31763 w 36052"/>
                <a:gd name="connsiteY5" fmla="*/ 13846 h 20843"/>
                <a:gd name="connsiteX6" fmla="*/ 34144 w 36052"/>
                <a:gd name="connsiteY6" fmla="*/ 12513 h 20843"/>
                <a:gd name="connsiteX7" fmla="*/ 35573 w 36052"/>
                <a:gd name="connsiteY7" fmla="*/ 9465 h 20843"/>
                <a:gd name="connsiteX8" fmla="*/ 34144 w 36052"/>
                <a:gd name="connsiteY8" fmla="*/ 8036 h 20843"/>
                <a:gd name="connsiteX9" fmla="*/ 21476 w 36052"/>
                <a:gd name="connsiteY9" fmla="*/ 702 h 20843"/>
                <a:gd name="connsiteX10" fmla="*/ 13856 w 36052"/>
                <a:gd name="connsiteY10" fmla="*/ 702 h 20843"/>
                <a:gd name="connsiteX11" fmla="*/ 1188 w 36052"/>
                <a:gd name="connsiteY11" fmla="*/ 8036 h 20843"/>
                <a:gd name="connsiteX12" fmla="*/ -336 w 36052"/>
                <a:gd name="connsiteY12" fmla="*/ 10227 h 20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3">
                  <a:moveTo>
                    <a:pt x="-336" y="10227"/>
                  </a:moveTo>
                  <a:cubicBezTo>
                    <a:pt x="-270" y="11208"/>
                    <a:pt x="311" y="12075"/>
                    <a:pt x="1188" y="12513"/>
                  </a:cubicBezTo>
                  <a:lnTo>
                    <a:pt x="3569" y="13846"/>
                  </a:lnTo>
                  <a:lnTo>
                    <a:pt x="13856" y="19752"/>
                  </a:lnTo>
                  <a:cubicBezTo>
                    <a:pt x="16247" y="20990"/>
                    <a:pt x="19085" y="20990"/>
                    <a:pt x="21476" y="19752"/>
                  </a:cubicBezTo>
                  <a:lnTo>
                    <a:pt x="31763" y="13846"/>
                  </a:lnTo>
                  <a:lnTo>
                    <a:pt x="34144" y="12513"/>
                  </a:lnTo>
                  <a:cubicBezTo>
                    <a:pt x="35382" y="12065"/>
                    <a:pt x="36020" y="10694"/>
                    <a:pt x="35573" y="9465"/>
                  </a:cubicBezTo>
                  <a:cubicBezTo>
                    <a:pt x="35325" y="8798"/>
                    <a:pt x="34811" y="8274"/>
                    <a:pt x="34144"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583" name="islïḑe">
              <a:extLst>
                <a:ext uri="{FF2B5EF4-FFF2-40B4-BE49-F238E27FC236}">
                  <a16:creationId xmlns:a16="http://schemas.microsoft.com/office/drawing/2014/main" id="{835F0B99-CC58-4779-9C8C-AB007A1B8EE9}"/>
                </a:ext>
              </a:extLst>
            </p:cNvPr>
            <p:cNvSpPr/>
            <p:nvPr/>
          </p:nvSpPr>
          <p:spPr>
            <a:xfrm>
              <a:off x="6204700" y="5108811"/>
              <a:ext cx="105895" cy="61101"/>
            </a:xfrm>
            <a:custGeom>
              <a:avLst/>
              <a:gdLst>
                <a:gd name="connsiteX0" fmla="*/ 1164 w 34789"/>
                <a:gd name="connsiteY0" fmla="*/ 12029 h 20073"/>
                <a:gd name="connsiteX1" fmla="*/ 13356 w 34789"/>
                <a:gd name="connsiteY1" fmla="*/ 18983 h 20073"/>
                <a:gd name="connsiteX2" fmla="*/ 20785 w 34789"/>
                <a:gd name="connsiteY2" fmla="*/ 18983 h 20073"/>
                <a:gd name="connsiteX3" fmla="*/ 32882 w 34789"/>
                <a:gd name="connsiteY3" fmla="*/ 12029 h 20073"/>
                <a:gd name="connsiteX4" fmla="*/ 32882 w 34789"/>
                <a:gd name="connsiteY4" fmla="*/ 7743 h 20073"/>
                <a:gd name="connsiteX5" fmla="*/ 20785 w 34789"/>
                <a:gd name="connsiteY5" fmla="*/ 695 h 20073"/>
                <a:gd name="connsiteX6" fmla="*/ 13356 w 34789"/>
                <a:gd name="connsiteY6" fmla="*/ 695 h 20073"/>
                <a:gd name="connsiteX7" fmla="*/ 1164 w 34789"/>
                <a:gd name="connsiteY7" fmla="*/ 7743 h 20073"/>
                <a:gd name="connsiteX8" fmla="*/ 1164 w 34789"/>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89" h="20073">
                  <a:moveTo>
                    <a:pt x="1164" y="12029"/>
                  </a:moveTo>
                  <a:lnTo>
                    <a:pt x="13356" y="18983"/>
                  </a:lnTo>
                  <a:cubicBezTo>
                    <a:pt x="15680" y="20221"/>
                    <a:pt x="18461" y="20221"/>
                    <a:pt x="20785" y="18983"/>
                  </a:cubicBezTo>
                  <a:lnTo>
                    <a:pt x="32882" y="12029"/>
                  </a:lnTo>
                  <a:cubicBezTo>
                    <a:pt x="34977" y="10791"/>
                    <a:pt x="34977" y="8886"/>
                    <a:pt x="32882" y="7743"/>
                  </a:cubicBezTo>
                  <a:lnTo>
                    <a:pt x="20785" y="695"/>
                  </a:lnTo>
                  <a:cubicBezTo>
                    <a:pt x="18442" y="-448"/>
                    <a:pt x="15699" y="-448"/>
                    <a:pt x="13356" y="695"/>
                  </a:cubicBezTo>
                  <a:lnTo>
                    <a:pt x="1164" y="7743"/>
                  </a:lnTo>
                  <a:cubicBezTo>
                    <a:pt x="-836" y="8696"/>
                    <a:pt x="-836" y="10601"/>
                    <a:pt x="1164" y="12029"/>
                  </a:cubicBezTo>
                  <a:close/>
                </a:path>
              </a:pathLst>
            </a:custGeom>
            <a:solidFill>
              <a:srgbClr val="D1D9E8"/>
            </a:solidFill>
            <a:ln w="9525" cap="flat">
              <a:noFill/>
              <a:prstDash val="solid"/>
              <a:miter/>
            </a:ln>
          </p:spPr>
          <p:txBody>
            <a:bodyPr rtlCol="0" anchor="ctr"/>
            <a:lstStyle/>
            <a:p>
              <a:endParaRPr lang="zh-CN" altLang="en-US"/>
            </a:p>
          </p:txBody>
        </p:sp>
        <p:sp>
          <p:nvSpPr>
            <p:cNvPr id="584" name="ïṧľíḍè">
              <a:extLst>
                <a:ext uri="{FF2B5EF4-FFF2-40B4-BE49-F238E27FC236}">
                  <a16:creationId xmlns:a16="http://schemas.microsoft.com/office/drawing/2014/main" id="{014629D1-DD8E-4745-96AD-1139CA6D3498}"/>
                </a:ext>
              </a:extLst>
            </p:cNvPr>
            <p:cNvSpPr/>
            <p:nvPr/>
          </p:nvSpPr>
          <p:spPr>
            <a:xfrm>
              <a:off x="6202889" y="5138675"/>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3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3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2" y="7953"/>
                    <a:pt x="35668" y="6981"/>
                  </a:cubicBezTo>
                  <a:lnTo>
                    <a:pt x="35668" y="-163"/>
                  </a:lnTo>
                  <a:cubicBezTo>
                    <a:pt x="35602" y="818"/>
                    <a:pt x="35021" y="1685"/>
                    <a:pt x="34144" y="2123"/>
                  </a:cubicBezTo>
                  <a:lnTo>
                    <a:pt x="31763" y="3457"/>
                  </a:lnTo>
                  <a:lnTo>
                    <a:pt x="21476" y="9362"/>
                  </a:lnTo>
                  <a:cubicBezTo>
                    <a:pt x="19085" y="10601"/>
                    <a:pt x="16247" y="10601"/>
                    <a:pt x="13856" y="9362"/>
                  </a:cubicBezTo>
                  <a:lnTo>
                    <a:pt x="3569" y="3457"/>
                  </a:lnTo>
                  <a:lnTo>
                    <a:pt x="1188"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585" name="iṧľiḑé">
              <a:extLst>
                <a:ext uri="{FF2B5EF4-FFF2-40B4-BE49-F238E27FC236}">
                  <a16:creationId xmlns:a16="http://schemas.microsoft.com/office/drawing/2014/main" id="{6C4C83EE-FA58-49A5-8CC0-86D8DAD477DF}"/>
                </a:ext>
              </a:extLst>
            </p:cNvPr>
            <p:cNvSpPr/>
            <p:nvPr/>
          </p:nvSpPr>
          <p:spPr>
            <a:xfrm>
              <a:off x="6280010" y="5151502"/>
              <a:ext cx="109740" cy="63639"/>
            </a:xfrm>
            <a:custGeom>
              <a:avLst/>
              <a:gdLst>
                <a:gd name="connsiteX0" fmla="*/ -336 w 36052"/>
                <a:gd name="connsiteY0" fmla="*/ 10291 h 20907"/>
                <a:gd name="connsiteX1" fmla="*/ 1283 w 36052"/>
                <a:gd name="connsiteY1" fmla="*/ 12577 h 20907"/>
                <a:gd name="connsiteX2" fmla="*/ 3569 w 36052"/>
                <a:gd name="connsiteY2" fmla="*/ 13911 h 20907"/>
                <a:gd name="connsiteX3" fmla="*/ 13856 w 36052"/>
                <a:gd name="connsiteY3" fmla="*/ 19816 h 20907"/>
                <a:gd name="connsiteX4" fmla="*/ 21571 w 36052"/>
                <a:gd name="connsiteY4" fmla="*/ 19816 h 20907"/>
                <a:gd name="connsiteX5" fmla="*/ 31858 w 36052"/>
                <a:gd name="connsiteY5" fmla="*/ 13911 h 20907"/>
                <a:gd name="connsiteX6" fmla="*/ 34144 w 36052"/>
                <a:gd name="connsiteY6" fmla="*/ 12577 h 20907"/>
                <a:gd name="connsiteX7" fmla="*/ 35573 w 36052"/>
                <a:gd name="connsiteY7" fmla="*/ 9529 h 20907"/>
                <a:gd name="connsiteX8" fmla="*/ 34144 w 36052"/>
                <a:gd name="connsiteY8" fmla="*/ 8100 h 20907"/>
                <a:gd name="connsiteX9" fmla="*/ 21571 w 36052"/>
                <a:gd name="connsiteY9" fmla="*/ 766 h 20907"/>
                <a:gd name="connsiteX10" fmla="*/ 13856 w 36052"/>
                <a:gd name="connsiteY10" fmla="*/ 766 h 20907"/>
                <a:gd name="connsiteX11" fmla="*/ 1283 w 36052"/>
                <a:gd name="connsiteY11" fmla="*/ 8100 h 20907"/>
                <a:gd name="connsiteX12" fmla="*/ -336 w 36052"/>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907">
                  <a:moveTo>
                    <a:pt x="-336" y="10291"/>
                  </a:moveTo>
                  <a:cubicBezTo>
                    <a:pt x="-232" y="11282"/>
                    <a:pt x="378" y="12148"/>
                    <a:pt x="1283" y="12577"/>
                  </a:cubicBezTo>
                  <a:lnTo>
                    <a:pt x="3569" y="13911"/>
                  </a:lnTo>
                  <a:lnTo>
                    <a:pt x="13856" y="19816"/>
                  </a:lnTo>
                  <a:cubicBezTo>
                    <a:pt x="16275" y="21054"/>
                    <a:pt x="19152" y="21054"/>
                    <a:pt x="21571" y="19816"/>
                  </a:cubicBezTo>
                  <a:lnTo>
                    <a:pt x="31858" y="13911"/>
                  </a:lnTo>
                  <a:lnTo>
                    <a:pt x="34144" y="12577"/>
                  </a:lnTo>
                  <a:cubicBezTo>
                    <a:pt x="35382" y="12129"/>
                    <a:pt x="36020" y="10758"/>
                    <a:pt x="35573" y="9529"/>
                  </a:cubicBezTo>
                  <a:cubicBezTo>
                    <a:pt x="35325" y="8862"/>
                    <a:pt x="34811" y="8338"/>
                    <a:pt x="34144" y="8100"/>
                  </a:cubicBezTo>
                  <a:lnTo>
                    <a:pt x="21571" y="766"/>
                  </a:lnTo>
                  <a:cubicBezTo>
                    <a:pt x="19152" y="-472"/>
                    <a:pt x="16275" y="-472"/>
                    <a:pt x="13856" y="766"/>
                  </a:cubicBezTo>
                  <a:lnTo>
                    <a:pt x="1283" y="8100"/>
                  </a:lnTo>
                  <a:cubicBezTo>
                    <a:pt x="407" y="8510"/>
                    <a:pt x="-203" y="933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586" name="ïsľïḋê">
              <a:extLst>
                <a:ext uri="{FF2B5EF4-FFF2-40B4-BE49-F238E27FC236}">
                  <a16:creationId xmlns:a16="http://schemas.microsoft.com/office/drawing/2014/main" id="{D20FF1AE-4C86-41AD-ABD9-9B3110BE7C67}"/>
                </a:ext>
              </a:extLst>
            </p:cNvPr>
            <p:cNvSpPr/>
            <p:nvPr/>
          </p:nvSpPr>
          <p:spPr>
            <a:xfrm>
              <a:off x="6281967" y="5152881"/>
              <a:ext cx="105244" cy="61104"/>
            </a:xfrm>
            <a:custGeom>
              <a:avLst/>
              <a:gdLst>
                <a:gd name="connsiteX0" fmla="*/ 1021 w 34575"/>
                <a:gd name="connsiteY0" fmla="*/ 12029 h 20074"/>
                <a:gd name="connsiteX1" fmla="*/ 13118 w 34575"/>
                <a:gd name="connsiteY1" fmla="*/ 18983 h 20074"/>
                <a:gd name="connsiteX2" fmla="*/ 20547 w 34575"/>
                <a:gd name="connsiteY2" fmla="*/ 18983 h 20074"/>
                <a:gd name="connsiteX3" fmla="*/ 32739 w 34575"/>
                <a:gd name="connsiteY3" fmla="*/ 12029 h 20074"/>
                <a:gd name="connsiteX4" fmla="*/ 32739 w 34575"/>
                <a:gd name="connsiteY4" fmla="*/ 7743 h 20074"/>
                <a:gd name="connsiteX5" fmla="*/ 20547 w 34575"/>
                <a:gd name="connsiteY5" fmla="*/ 695 h 20074"/>
                <a:gd name="connsiteX6" fmla="*/ 13118 w 34575"/>
                <a:gd name="connsiteY6" fmla="*/ 695 h 20074"/>
                <a:gd name="connsiteX7" fmla="*/ 1021 w 34575"/>
                <a:gd name="connsiteY7" fmla="*/ 7743 h 20074"/>
                <a:gd name="connsiteX8" fmla="*/ 1021 w 34575"/>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575" h="20074">
                  <a:moveTo>
                    <a:pt x="1021" y="12029"/>
                  </a:moveTo>
                  <a:lnTo>
                    <a:pt x="13118" y="18983"/>
                  </a:lnTo>
                  <a:cubicBezTo>
                    <a:pt x="15442" y="20221"/>
                    <a:pt x="18223" y="20221"/>
                    <a:pt x="20547" y="18983"/>
                  </a:cubicBezTo>
                  <a:lnTo>
                    <a:pt x="32739" y="12029"/>
                  </a:lnTo>
                  <a:cubicBezTo>
                    <a:pt x="34740" y="10791"/>
                    <a:pt x="34740" y="8886"/>
                    <a:pt x="32739" y="7743"/>
                  </a:cubicBezTo>
                  <a:lnTo>
                    <a:pt x="20547" y="695"/>
                  </a:lnTo>
                  <a:cubicBezTo>
                    <a:pt x="18204" y="-448"/>
                    <a:pt x="15461" y="-448"/>
                    <a:pt x="13118" y="695"/>
                  </a:cubicBezTo>
                  <a:lnTo>
                    <a:pt x="1021" y="7743"/>
                  </a:lnTo>
                  <a:cubicBezTo>
                    <a:pt x="-789" y="8886"/>
                    <a:pt x="-789" y="10791"/>
                    <a:pt x="1021" y="12029"/>
                  </a:cubicBezTo>
                  <a:close/>
                </a:path>
              </a:pathLst>
            </a:custGeom>
            <a:solidFill>
              <a:srgbClr val="D1D9E8"/>
            </a:solidFill>
            <a:ln w="9525" cap="flat">
              <a:noFill/>
              <a:prstDash val="solid"/>
              <a:miter/>
            </a:ln>
          </p:spPr>
          <p:txBody>
            <a:bodyPr rtlCol="0" anchor="ctr"/>
            <a:lstStyle/>
            <a:p>
              <a:endParaRPr lang="zh-CN" altLang="en-US"/>
            </a:p>
          </p:txBody>
        </p:sp>
        <p:sp>
          <p:nvSpPr>
            <p:cNvPr id="587" name="íṥľíḓè">
              <a:extLst>
                <a:ext uri="{FF2B5EF4-FFF2-40B4-BE49-F238E27FC236}">
                  <a16:creationId xmlns:a16="http://schemas.microsoft.com/office/drawing/2014/main" id="{62F1AA72-40F8-455A-8A34-0D86FFF8AFA1}"/>
                </a:ext>
              </a:extLst>
            </p:cNvPr>
            <p:cNvSpPr/>
            <p:nvPr/>
          </p:nvSpPr>
          <p:spPr>
            <a:xfrm>
              <a:off x="6280010" y="5183323"/>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3 w 36099"/>
                <a:gd name="connsiteY6" fmla="*/ 6981 h 17597"/>
                <a:gd name="connsiteX7" fmla="*/ 35763 w 36099"/>
                <a:gd name="connsiteY7" fmla="*/ -163 h 17597"/>
                <a:gd name="connsiteX8" fmla="*/ 34144 w 36099"/>
                <a:gd name="connsiteY8" fmla="*/ 2123 h 17597"/>
                <a:gd name="connsiteX9" fmla="*/ 31858 w 36099"/>
                <a:gd name="connsiteY9" fmla="*/ 3457 h 17597"/>
                <a:gd name="connsiteX10" fmla="*/ 21571 w 36099"/>
                <a:gd name="connsiteY10" fmla="*/ 9362 h 17597"/>
                <a:gd name="connsiteX11" fmla="*/ 13856 w 36099"/>
                <a:gd name="connsiteY11" fmla="*/ 9362 h 17597"/>
                <a:gd name="connsiteX12" fmla="*/ 3569 w 36099"/>
                <a:gd name="connsiteY12" fmla="*/ 3457 h 17597"/>
                <a:gd name="connsiteX13" fmla="*/ 1283 w 36099"/>
                <a:gd name="connsiteY13" fmla="*/ 2123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03" y="8029"/>
                    <a:pt x="407" y="8857"/>
                    <a:pt x="1283" y="9267"/>
                  </a:cubicBezTo>
                  <a:lnTo>
                    <a:pt x="13856" y="16506"/>
                  </a:lnTo>
                  <a:cubicBezTo>
                    <a:pt x="16275" y="17744"/>
                    <a:pt x="19152" y="17744"/>
                    <a:pt x="21571" y="16506"/>
                  </a:cubicBezTo>
                  <a:lnTo>
                    <a:pt x="34144" y="9267"/>
                  </a:lnTo>
                  <a:cubicBezTo>
                    <a:pt x="35030" y="8829"/>
                    <a:pt x="35639" y="7962"/>
                    <a:pt x="35763" y="6981"/>
                  </a:cubicBezTo>
                  <a:lnTo>
                    <a:pt x="35763" y="-163"/>
                  </a:lnTo>
                  <a:cubicBezTo>
                    <a:pt x="35659" y="828"/>
                    <a:pt x="35049" y="1695"/>
                    <a:pt x="34144" y="2123"/>
                  </a:cubicBezTo>
                  <a:lnTo>
                    <a:pt x="31858" y="3457"/>
                  </a:lnTo>
                  <a:lnTo>
                    <a:pt x="21571" y="9362"/>
                  </a:lnTo>
                  <a:cubicBezTo>
                    <a:pt x="19152" y="10601"/>
                    <a:pt x="16275" y="10601"/>
                    <a:pt x="13856" y="9362"/>
                  </a:cubicBezTo>
                  <a:lnTo>
                    <a:pt x="3569" y="3457"/>
                  </a:lnTo>
                  <a:lnTo>
                    <a:pt x="1283" y="2123"/>
                  </a:lnTo>
                  <a:cubicBezTo>
                    <a:pt x="378" y="1695"/>
                    <a:pt x="-232"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588" name="ïsľide">
              <a:extLst>
                <a:ext uri="{FF2B5EF4-FFF2-40B4-BE49-F238E27FC236}">
                  <a16:creationId xmlns:a16="http://schemas.microsoft.com/office/drawing/2014/main" id="{FC26F811-B9E7-4396-BA1D-E793AEF14B45}"/>
                </a:ext>
              </a:extLst>
            </p:cNvPr>
            <p:cNvSpPr/>
            <p:nvPr/>
          </p:nvSpPr>
          <p:spPr>
            <a:xfrm>
              <a:off x="6357423" y="5196153"/>
              <a:ext cx="109594" cy="63639"/>
            </a:xfrm>
            <a:custGeom>
              <a:avLst/>
              <a:gdLst>
                <a:gd name="connsiteX0" fmla="*/ -336 w 36004"/>
                <a:gd name="connsiteY0" fmla="*/ 10291 h 20907"/>
                <a:gd name="connsiteX1" fmla="*/ 1188 w 36004"/>
                <a:gd name="connsiteY1" fmla="*/ 12577 h 20907"/>
                <a:gd name="connsiteX2" fmla="*/ 3569 w 36004"/>
                <a:gd name="connsiteY2" fmla="*/ 13910 h 20907"/>
                <a:gd name="connsiteX3" fmla="*/ 13856 w 36004"/>
                <a:gd name="connsiteY3" fmla="*/ 19816 h 20907"/>
                <a:gd name="connsiteX4" fmla="*/ 21476 w 36004"/>
                <a:gd name="connsiteY4" fmla="*/ 19816 h 20907"/>
                <a:gd name="connsiteX5" fmla="*/ 31763 w 36004"/>
                <a:gd name="connsiteY5" fmla="*/ 13910 h 20907"/>
                <a:gd name="connsiteX6" fmla="*/ 34144 w 36004"/>
                <a:gd name="connsiteY6" fmla="*/ 12577 h 20907"/>
                <a:gd name="connsiteX7" fmla="*/ 35668 w 36004"/>
                <a:gd name="connsiteY7" fmla="*/ 10291 h 20907"/>
                <a:gd name="connsiteX8" fmla="*/ 34144 w 36004"/>
                <a:gd name="connsiteY8" fmla="*/ 8100 h 20907"/>
                <a:gd name="connsiteX9" fmla="*/ 21476 w 36004"/>
                <a:gd name="connsiteY9" fmla="*/ 766 h 20907"/>
                <a:gd name="connsiteX10" fmla="*/ 13856 w 36004"/>
                <a:gd name="connsiteY10" fmla="*/ 766 h 20907"/>
                <a:gd name="connsiteX11" fmla="*/ 1188 w 36004"/>
                <a:gd name="connsiteY11" fmla="*/ 8100 h 20907"/>
                <a:gd name="connsiteX12" fmla="*/ -336 w 36004"/>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907">
                  <a:moveTo>
                    <a:pt x="-336" y="10291"/>
                  </a:moveTo>
                  <a:cubicBezTo>
                    <a:pt x="-269" y="11272"/>
                    <a:pt x="312" y="12139"/>
                    <a:pt x="1188" y="12577"/>
                  </a:cubicBezTo>
                  <a:lnTo>
                    <a:pt x="3569" y="13910"/>
                  </a:lnTo>
                  <a:lnTo>
                    <a:pt x="13856" y="19816"/>
                  </a:lnTo>
                  <a:cubicBezTo>
                    <a:pt x="16247" y="21054"/>
                    <a:pt x="19085" y="21054"/>
                    <a:pt x="21476" y="19816"/>
                  </a:cubicBezTo>
                  <a:lnTo>
                    <a:pt x="31763" y="13910"/>
                  </a:lnTo>
                  <a:lnTo>
                    <a:pt x="34144" y="12577"/>
                  </a:lnTo>
                  <a:cubicBezTo>
                    <a:pt x="35021" y="12139"/>
                    <a:pt x="35602" y="11272"/>
                    <a:pt x="35668" y="10291"/>
                  </a:cubicBezTo>
                  <a:cubicBezTo>
                    <a:pt x="35611" y="9339"/>
                    <a:pt x="35021" y="8491"/>
                    <a:pt x="34144" y="8100"/>
                  </a:cubicBezTo>
                  <a:lnTo>
                    <a:pt x="21476" y="766"/>
                  </a:lnTo>
                  <a:cubicBezTo>
                    <a:pt x="19085" y="-472"/>
                    <a:pt x="16247" y="-472"/>
                    <a:pt x="13856" y="766"/>
                  </a:cubicBezTo>
                  <a:lnTo>
                    <a:pt x="1188" y="8100"/>
                  </a:lnTo>
                  <a:cubicBezTo>
                    <a:pt x="312" y="8491"/>
                    <a:pt x="-279"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589" name="i$ļiḑê">
              <a:extLst>
                <a:ext uri="{FF2B5EF4-FFF2-40B4-BE49-F238E27FC236}">
                  <a16:creationId xmlns:a16="http://schemas.microsoft.com/office/drawing/2014/main" id="{7FEF0632-5819-4DD9-AD59-02EBA4BA15A8}"/>
                </a:ext>
              </a:extLst>
            </p:cNvPr>
            <p:cNvSpPr/>
            <p:nvPr/>
          </p:nvSpPr>
          <p:spPr>
            <a:xfrm>
              <a:off x="6359234" y="5197313"/>
              <a:ext cx="105898" cy="61104"/>
            </a:xfrm>
            <a:custGeom>
              <a:avLst/>
              <a:gdLst>
                <a:gd name="connsiteX0" fmla="*/ 1164 w 34790"/>
                <a:gd name="connsiteY0" fmla="*/ 12006 h 20074"/>
                <a:gd name="connsiteX1" fmla="*/ 13356 w 34790"/>
                <a:gd name="connsiteY1" fmla="*/ 19054 h 20074"/>
                <a:gd name="connsiteX2" fmla="*/ 20785 w 34790"/>
                <a:gd name="connsiteY2" fmla="*/ 19054 h 20074"/>
                <a:gd name="connsiteX3" fmla="*/ 32882 w 34790"/>
                <a:gd name="connsiteY3" fmla="*/ 12006 h 20074"/>
                <a:gd name="connsiteX4" fmla="*/ 32882 w 34790"/>
                <a:gd name="connsiteY4" fmla="*/ 7719 h 20074"/>
                <a:gd name="connsiteX5" fmla="*/ 20785 w 34790"/>
                <a:gd name="connsiteY5" fmla="*/ 766 h 20074"/>
                <a:gd name="connsiteX6" fmla="*/ 13356 w 34790"/>
                <a:gd name="connsiteY6" fmla="*/ 766 h 20074"/>
                <a:gd name="connsiteX7" fmla="*/ 1164 w 34790"/>
                <a:gd name="connsiteY7" fmla="*/ 7719 h 20074"/>
                <a:gd name="connsiteX8" fmla="*/ 1164 w 34790"/>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4">
                  <a:moveTo>
                    <a:pt x="1164" y="12006"/>
                  </a:moveTo>
                  <a:lnTo>
                    <a:pt x="13356" y="19054"/>
                  </a:lnTo>
                  <a:cubicBezTo>
                    <a:pt x="15699" y="20197"/>
                    <a:pt x="18442" y="20197"/>
                    <a:pt x="20785" y="19054"/>
                  </a:cubicBezTo>
                  <a:lnTo>
                    <a:pt x="32882" y="12006"/>
                  </a:lnTo>
                  <a:cubicBezTo>
                    <a:pt x="34978" y="10863"/>
                    <a:pt x="34978" y="8958"/>
                    <a:pt x="32882" y="7719"/>
                  </a:cubicBezTo>
                  <a:lnTo>
                    <a:pt x="20785" y="766"/>
                  </a:lnTo>
                  <a:cubicBezTo>
                    <a:pt x="18461" y="-472"/>
                    <a:pt x="15680" y="-472"/>
                    <a:pt x="13356" y="766"/>
                  </a:cubicBezTo>
                  <a:lnTo>
                    <a:pt x="1164" y="7719"/>
                  </a:lnTo>
                  <a:cubicBezTo>
                    <a:pt x="-836" y="8958"/>
                    <a:pt x="-836" y="10863"/>
                    <a:pt x="1164" y="12006"/>
                  </a:cubicBezTo>
                  <a:close/>
                </a:path>
              </a:pathLst>
            </a:custGeom>
            <a:solidFill>
              <a:srgbClr val="D1D9E8"/>
            </a:solidFill>
            <a:ln w="9525" cap="flat">
              <a:noFill/>
              <a:prstDash val="solid"/>
              <a:miter/>
            </a:ln>
          </p:spPr>
          <p:txBody>
            <a:bodyPr rtlCol="0" anchor="ctr"/>
            <a:lstStyle/>
            <a:p>
              <a:endParaRPr lang="zh-CN" altLang="en-US"/>
            </a:p>
          </p:txBody>
        </p:sp>
        <p:sp>
          <p:nvSpPr>
            <p:cNvPr id="590" name="íṡḻïďê">
              <a:extLst>
                <a:ext uri="{FF2B5EF4-FFF2-40B4-BE49-F238E27FC236}">
                  <a16:creationId xmlns:a16="http://schemas.microsoft.com/office/drawing/2014/main" id="{026DA0D2-F80F-40DD-ABE7-45E0118FF8AD}"/>
                </a:ext>
              </a:extLst>
            </p:cNvPr>
            <p:cNvSpPr/>
            <p:nvPr/>
          </p:nvSpPr>
          <p:spPr>
            <a:xfrm>
              <a:off x="6357423" y="5227971"/>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4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4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20"/>
                    <a:pt x="35582" y="7953"/>
                    <a:pt x="35668" y="6981"/>
                  </a:cubicBezTo>
                  <a:lnTo>
                    <a:pt x="35668" y="-163"/>
                  </a:lnTo>
                  <a:cubicBezTo>
                    <a:pt x="35602" y="819"/>
                    <a:pt x="35021" y="1685"/>
                    <a:pt x="34144" y="2124"/>
                  </a:cubicBezTo>
                  <a:lnTo>
                    <a:pt x="31763" y="3457"/>
                  </a:lnTo>
                  <a:lnTo>
                    <a:pt x="21476" y="9362"/>
                  </a:lnTo>
                  <a:cubicBezTo>
                    <a:pt x="19085" y="10601"/>
                    <a:pt x="16247" y="10601"/>
                    <a:pt x="13856" y="9362"/>
                  </a:cubicBezTo>
                  <a:lnTo>
                    <a:pt x="3569" y="3457"/>
                  </a:lnTo>
                  <a:lnTo>
                    <a:pt x="1188" y="2124"/>
                  </a:lnTo>
                  <a:cubicBezTo>
                    <a:pt x="312" y="1685"/>
                    <a:pt x="-269" y="819"/>
                    <a:pt x="-336" y="-163"/>
                  </a:cubicBezTo>
                  <a:close/>
                </a:path>
              </a:pathLst>
            </a:custGeom>
            <a:solidFill>
              <a:srgbClr val="BF4200"/>
            </a:solidFill>
            <a:ln w="9525" cap="flat">
              <a:noFill/>
              <a:prstDash val="solid"/>
              <a:miter/>
            </a:ln>
          </p:spPr>
          <p:txBody>
            <a:bodyPr rtlCol="0" anchor="ctr"/>
            <a:lstStyle/>
            <a:p>
              <a:endParaRPr lang="zh-CN" altLang="en-US"/>
            </a:p>
          </p:txBody>
        </p:sp>
        <p:sp>
          <p:nvSpPr>
            <p:cNvPr id="591" name="i$ḻíḓè">
              <a:extLst>
                <a:ext uri="{FF2B5EF4-FFF2-40B4-BE49-F238E27FC236}">
                  <a16:creationId xmlns:a16="http://schemas.microsoft.com/office/drawing/2014/main" id="{0FF5EF65-87DE-419E-A32E-011D6A1C6FCB}"/>
                </a:ext>
              </a:extLst>
            </p:cNvPr>
            <p:cNvSpPr/>
            <p:nvPr/>
          </p:nvSpPr>
          <p:spPr>
            <a:xfrm>
              <a:off x="6434544" y="5240801"/>
              <a:ext cx="109883" cy="63588"/>
            </a:xfrm>
            <a:custGeom>
              <a:avLst/>
              <a:gdLst>
                <a:gd name="connsiteX0" fmla="*/ -336 w 36099"/>
                <a:gd name="connsiteY0" fmla="*/ 10291 h 20890"/>
                <a:gd name="connsiteX1" fmla="*/ 1283 w 36099"/>
                <a:gd name="connsiteY1" fmla="*/ 12577 h 20890"/>
                <a:gd name="connsiteX2" fmla="*/ 3569 w 36099"/>
                <a:gd name="connsiteY2" fmla="*/ 13911 h 20890"/>
                <a:gd name="connsiteX3" fmla="*/ 13856 w 36099"/>
                <a:gd name="connsiteY3" fmla="*/ 19721 h 20890"/>
                <a:gd name="connsiteX4" fmla="*/ 21571 w 36099"/>
                <a:gd name="connsiteY4" fmla="*/ 19721 h 20890"/>
                <a:gd name="connsiteX5" fmla="*/ 31858 w 36099"/>
                <a:gd name="connsiteY5" fmla="*/ 13911 h 20890"/>
                <a:gd name="connsiteX6" fmla="*/ 34144 w 36099"/>
                <a:gd name="connsiteY6" fmla="*/ 12577 h 20890"/>
                <a:gd name="connsiteX7" fmla="*/ 35764 w 36099"/>
                <a:gd name="connsiteY7" fmla="*/ 10291 h 20890"/>
                <a:gd name="connsiteX8" fmla="*/ 34144 w 36099"/>
                <a:gd name="connsiteY8" fmla="*/ 8101 h 20890"/>
                <a:gd name="connsiteX9" fmla="*/ 21571 w 36099"/>
                <a:gd name="connsiteY9" fmla="*/ 766 h 20890"/>
                <a:gd name="connsiteX10" fmla="*/ 13856 w 36099"/>
                <a:gd name="connsiteY10" fmla="*/ 766 h 20890"/>
                <a:gd name="connsiteX11" fmla="*/ 1283 w 36099"/>
                <a:gd name="connsiteY11" fmla="*/ 8101 h 20890"/>
                <a:gd name="connsiteX12" fmla="*/ -336 w 36099"/>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99" h="20890">
                  <a:moveTo>
                    <a:pt x="-336" y="10291"/>
                  </a:moveTo>
                  <a:cubicBezTo>
                    <a:pt x="-269" y="11301"/>
                    <a:pt x="359" y="12187"/>
                    <a:pt x="1283" y="12577"/>
                  </a:cubicBezTo>
                  <a:lnTo>
                    <a:pt x="3569" y="13911"/>
                  </a:lnTo>
                  <a:lnTo>
                    <a:pt x="13856" y="19721"/>
                  </a:lnTo>
                  <a:cubicBezTo>
                    <a:pt x="16256" y="21064"/>
                    <a:pt x="19171" y="21064"/>
                    <a:pt x="21571" y="19721"/>
                  </a:cubicBezTo>
                  <a:lnTo>
                    <a:pt x="31858" y="13911"/>
                  </a:lnTo>
                  <a:lnTo>
                    <a:pt x="34144" y="12577"/>
                  </a:lnTo>
                  <a:cubicBezTo>
                    <a:pt x="35049" y="12149"/>
                    <a:pt x="35659" y="11282"/>
                    <a:pt x="35764" y="10291"/>
                  </a:cubicBezTo>
                  <a:cubicBezTo>
                    <a:pt x="35649" y="9329"/>
                    <a:pt x="35030" y="8491"/>
                    <a:pt x="34144" y="8101"/>
                  </a:cubicBezTo>
                  <a:lnTo>
                    <a:pt x="21571" y="766"/>
                  </a:lnTo>
                  <a:cubicBezTo>
                    <a:pt x="19152" y="-472"/>
                    <a:pt x="16275" y="-472"/>
                    <a:pt x="13856" y="766"/>
                  </a:cubicBezTo>
                  <a:lnTo>
                    <a:pt x="1283" y="8101"/>
                  </a:lnTo>
                  <a:cubicBezTo>
                    <a:pt x="369" y="8462"/>
                    <a:pt x="-260" y="9310"/>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592" name="íśḻíḑe">
              <a:extLst>
                <a:ext uri="{FF2B5EF4-FFF2-40B4-BE49-F238E27FC236}">
                  <a16:creationId xmlns:a16="http://schemas.microsoft.com/office/drawing/2014/main" id="{24D59B43-98DC-4493-84F9-D62FA869751C}"/>
                </a:ext>
              </a:extLst>
            </p:cNvPr>
            <p:cNvSpPr/>
            <p:nvPr/>
          </p:nvSpPr>
          <p:spPr>
            <a:xfrm>
              <a:off x="6436428" y="5241961"/>
              <a:ext cx="105898" cy="61101"/>
            </a:xfrm>
            <a:custGeom>
              <a:avLst/>
              <a:gdLst>
                <a:gd name="connsiteX0" fmla="*/ 1235 w 34790"/>
                <a:gd name="connsiteY0" fmla="*/ 12006 h 20073"/>
                <a:gd name="connsiteX1" fmla="*/ 13332 w 34790"/>
                <a:gd name="connsiteY1" fmla="*/ 19054 h 20073"/>
                <a:gd name="connsiteX2" fmla="*/ 20761 w 34790"/>
                <a:gd name="connsiteY2" fmla="*/ 19054 h 20073"/>
                <a:gd name="connsiteX3" fmla="*/ 32953 w 34790"/>
                <a:gd name="connsiteY3" fmla="*/ 12006 h 20073"/>
                <a:gd name="connsiteX4" fmla="*/ 32953 w 34790"/>
                <a:gd name="connsiteY4" fmla="*/ 7719 h 20073"/>
                <a:gd name="connsiteX5" fmla="*/ 20761 w 34790"/>
                <a:gd name="connsiteY5" fmla="*/ 766 h 20073"/>
                <a:gd name="connsiteX6" fmla="*/ 13332 w 34790"/>
                <a:gd name="connsiteY6" fmla="*/ 766 h 20073"/>
                <a:gd name="connsiteX7" fmla="*/ 1235 w 34790"/>
                <a:gd name="connsiteY7" fmla="*/ 7719 h 20073"/>
                <a:gd name="connsiteX8" fmla="*/ 1235 w 34790"/>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3">
                  <a:moveTo>
                    <a:pt x="1235" y="12006"/>
                  </a:moveTo>
                  <a:lnTo>
                    <a:pt x="13332" y="19054"/>
                  </a:lnTo>
                  <a:cubicBezTo>
                    <a:pt x="15675" y="20197"/>
                    <a:pt x="18418" y="20197"/>
                    <a:pt x="20761" y="19054"/>
                  </a:cubicBezTo>
                  <a:lnTo>
                    <a:pt x="32953" y="12006"/>
                  </a:lnTo>
                  <a:cubicBezTo>
                    <a:pt x="34954" y="10863"/>
                    <a:pt x="34954" y="8957"/>
                    <a:pt x="32953" y="7719"/>
                  </a:cubicBezTo>
                  <a:lnTo>
                    <a:pt x="20761" y="766"/>
                  </a:lnTo>
                  <a:cubicBezTo>
                    <a:pt x="18437" y="-472"/>
                    <a:pt x="15656" y="-472"/>
                    <a:pt x="13332" y="766"/>
                  </a:cubicBezTo>
                  <a:lnTo>
                    <a:pt x="1235" y="7719"/>
                  </a:lnTo>
                  <a:cubicBezTo>
                    <a:pt x="-860" y="8957"/>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593" name="îṩ1iḑè">
              <a:extLst>
                <a:ext uri="{FF2B5EF4-FFF2-40B4-BE49-F238E27FC236}">
                  <a16:creationId xmlns:a16="http://schemas.microsoft.com/office/drawing/2014/main" id="{33FC04AF-499E-45CE-999D-7075D5EA97C0}"/>
                </a:ext>
              </a:extLst>
            </p:cNvPr>
            <p:cNvSpPr/>
            <p:nvPr/>
          </p:nvSpPr>
          <p:spPr>
            <a:xfrm>
              <a:off x="6434544" y="5272623"/>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4 w 36099"/>
                <a:gd name="connsiteY6" fmla="*/ 6981 h 17597"/>
                <a:gd name="connsiteX7" fmla="*/ 35764 w 36099"/>
                <a:gd name="connsiteY7" fmla="*/ -163 h 17597"/>
                <a:gd name="connsiteX8" fmla="*/ 34144 w 36099"/>
                <a:gd name="connsiteY8" fmla="*/ 2123 h 17597"/>
                <a:gd name="connsiteX9" fmla="*/ 31858 w 36099"/>
                <a:gd name="connsiteY9" fmla="*/ 3457 h 17597"/>
                <a:gd name="connsiteX10" fmla="*/ 21571 w 36099"/>
                <a:gd name="connsiteY10" fmla="*/ 9267 h 17597"/>
                <a:gd name="connsiteX11" fmla="*/ 13856 w 36099"/>
                <a:gd name="connsiteY11" fmla="*/ 9267 h 17597"/>
                <a:gd name="connsiteX12" fmla="*/ 3569 w 36099"/>
                <a:gd name="connsiteY12" fmla="*/ 3457 h 17597"/>
                <a:gd name="connsiteX13" fmla="*/ 1283 w 36099"/>
                <a:gd name="connsiteY13" fmla="*/ 2123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41" y="8048"/>
                    <a:pt x="378" y="8886"/>
                    <a:pt x="1283" y="9267"/>
                  </a:cubicBezTo>
                  <a:lnTo>
                    <a:pt x="13856" y="16506"/>
                  </a:lnTo>
                  <a:cubicBezTo>
                    <a:pt x="16275" y="17744"/>
                    <a:pt x="19152" y="17744"/>
                    <a:pt x="21571" y="16506"/>
                  </a:cubicBezTo>
                  <a:lnTo>
                    <a:pt x="34144" y="9267"/>
                  </a:lnTo>
                  <a:cubicBezTo>
                    <a:pt x="35030" y="8829"/>
                    <a:pt x="35640" y="7962"/>
                    <a:pt x="35764" y="6981"/>
                  </a:cubicBezTo>
                  <a:lnTo>
                    <a:pt x="35764" y="-163"/>
                  </a:lnTo>
                  <a:cubicBezTo>
                    <a:pt x="35659" y="828"/>
                    <a:pt x="35049" y="1695"/>
                    <a:pt x="34144" y="2123"/>
                  </a:cubicBezTo>
                  <a:lnTo>
                    <a:pt x="31858" y="3457"/>
                  </a:lnTo>
                  <a:lnTo>
                    <a:pt x="21571" y="9267"/>
                  </a:lnTo>
                  <a:cubicBezTo>
                    <a:pt x="19171" y="10610"/>
                    <a:pt x="16256" y="10610"/>
                    <a:pt x="13856" y="9267"/>
                  </a:cubicBezTo>
                  <a:lnTo>
                    <a:pt x="3569" y="3457"/>
                  </a:lnTo>
                  <a:lnTo>
                    <a:pt x="1283" y="2123"/>
                  </a:lnTo>
                  <a:cubicBezTo>
                    <a:pt x="359" y="1733"/>
                    <a:pt x="-269" y="847"/>
                    <a:pt x="-336" y="-163"/>
                  </a:cubicBezTo>
                  <a:close/>
                </a:path>
              </a:pathLst>
            </a:custGeom>
            <a:solidFill>
              <a:srgbClr val="BF4200"/>
            </a:solidFill>
            <a:ln w="9525" cap="flat">
              <a:noFill/>
              <a:prstDash val="solid"/>
              <a:miter/>
            </a:ln>
          </p:spPr>
          <p:txBody>
            <a:bodyPr rtlCol="0" anchor="ctr"/>
            <a:lstStyle/>
            <a:p>
              <a:endParaRPr lang="zh-CN" altLang="en-US"/>
            </a:p>
          </p:txBody>
        </p:sp>
        <p:sp>
          <p:nvSpPr>
            <p:cNvPr id="594" name="ïSḷídè">
              <a:extLst>
                <a:ext uri="{FF2B5EF4-FFF2-40B4-BE49-F238E27FC236}">
                  <a16:creationId xmlns:a16="http://schemas.microsoft.com/office/drawing/2014/main" id="{1368FFB5-4917-434A-AA35-B07E56E16A54}"/>
                </a:ext>
              </a:extLst>
            </p:cNvPr>
            <p:cNvSpPr/>
            <p:nvPr/>
          </p:nvSpPr>
          <p:spPr>
            <a:xfrm>
              <a:off x="5235377" y="4638898"/>
              <a:ext cx="109594" cy="63639"/>
            </a:xfrm>
            <a:custGeom>
              <a:avLst/>
              <a:gdLst>
                <a:gd name="connsiteX0" fmla="*/ -336 w 36004"/>
                <a:gd name="connsiteY0" fmla="*/ 10291 h 20907"/>
                <a:gd name="connsiteX1" fmla="*/ 1188 w 36004"/>
                <a:gd name="connsiteY1" fmla="*/ 12577 h 20907"/>
                <a:gd name="connsiteX2" fmla="*/ 3569 w 36004"/>
                <a:gd name="connsiteY2" fmla="*/ 13910 h 20907"/>
                <a:gd name="connsiteX3" fmla="*/ 13856 w 36004"/>
                <a:gd name="connsiteY3" fmla="*/ 19816 h 20907"/>
                <a:gd name="connsiteX4" fmla="*/ 21476 w 36004"/>
                <a:gd name="connsiteY4" fmla="*/ 19816 h 20907"/>
                <a:gd name="connsiteX5" fmla="*/ 31763 w 36004"/>
                <a:gd name="connsiteY5" fmla="*/ 13910 h 20907"/>
                <a:gd name="connsiteX6" fmla="*/ 34144 w 36004"/>
                <a:gd name="connsiteY6" fmla="*/ 12577 h 20907"/>
                <a:gd name="connsiteX7" fmla="*/ 35668 w 36004"/>
                <a:gd name="connsiteY7" fmla="*/ 10291 h 20907"/>
                <a:gd name="connsiteX8" fmla="*/ 34144 w 36004"/>
                <a:gd name="connsiteY8" fmla="*/ 8100 h 20907"/>
                <a:gd name="connsiteX9" fmla="*/ 21476 w 36004"/>
                <a:gd name="connsiteY9" fmla="*/ 766 h 20907"/>
                <a:gd name="connsiteX10" fmla="*/ 13856 w 36004"/>
                <a:gd name="connsiteY10" fmla="*/ 766 h 20907"/>
                <a:gd name="connsiteX11" fmla="*/ 1188 w 36004"/>
                <a:gd name="connsiteY11" fmla="*/ 8100 h 20907"/>
                <a:gd name="connsiteX12" fmla="*/ -336 w 36004"/>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907">
                  <a:moveTo>
                    <a:pt x="-336" y="10291"/>
                  </a:moveTo>
                  <a:cubicBezTo>
                    <a:pt x="-270" y="11272"/>
                    <a:pt x="311" y="12139"/>
                    <a:pt x="1188" y="12577"/>
                  </a:cubicBezTo>
                  <a:lnTo>
                    <a:pt x="3569" y="13910"/>
                  </a:lnTo>
                  <a:lnTo>
                    <a:pt x="13856" y="19816"/>
                  </a:lnTo>
                  <a:cubicBezTo>
                    <a:pt x="16247" y="21054"/>
                    <a:pt x="19085" y="21054"/>
                    <a:pt x="21476" y="19816"/>
                  </a:cubicBezTo>
                  <a:lnTo>
                    <a:pt x="31763" y="13910"/>
                  </a:lnTo>
                  <a:lnTo>
                    <a:pt x="34144" y="12577"/>
                  </a:lnTo>
                  <a:cubicBezTo>
                    <a:pt x="35020" y="12139"/>
                    <a:pt x="35601" y="11272"/>
                    <a:pt x="35668" y="10291"/>
                  </a:cubicBezTo>
                  <a:cubicBezTo>
                    <a:pt x="35611" y="9339"/>
                    <a:pt x="35020" y="8491"/>
                    <a:pt x="34144" y="8100"/>
                  </a:cubicBezTo>
                  <a:lnTo>
                    <a:pt x="21476" y="766"/>
                  </a:lnTo>
                  <a:cubicBezTo>
                    <a:pt x="19085" y="-472"/>
                    <a:pt x="16247" y="-472"/>
                    <a:pt x="13856" y="766"/>
                  </a:cubicBezTo>
                  <a:lnTo>
                    <a:pt x="1188" y="8100"/>
                  </a:lnTo>
                  <a:cubicBezTo>
                    <a:pt x="311" y="8491"/>
                    <a:pt x="-279"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595" name="iṧļîḓê">
              <a:extLst>
                <a:ext uri="{FF2B5EF4-FFF2-40B4-BE49-F238E27FC236}">
                  <a16:creationId xmlns:a16="http://schemas.microsoft.com/office/drawing/2014/main" id="{F4784CA2-8CF3-4641-9E24-D97DC35F0074}"/>
                </a:ext>
              </a:extLst>
            </p:cNvPr>
            <p:cNvSpPr/>
            <p:nvPr/>
          </p:nvSpPr>
          <p:spPr>
            <a:xfrm>
              <a:off x="5237334" y="4640058"/>
              <a:ext cx="106330" cy="61104"/>
            </a:xfrm>
            <a:custGeom>
              <a:avLst/>
              <a:gdLst>
                <a:gd name="connsiteX0" fmla="*/ 1307 w 34932"/>
                <a:gd name="connsiteY0" fmla="*/ 12006 h 20074"/>
                <a:gd name="connsiteX1" fmla="*/ 13499 w 34932"/>
                <a:gd name="connsiteY1" fmla="*/ 19054 h 20074"/>
                <a:gd name="connsiteX2" fmla="*/ 20928 w 34932"/>
                <a:gd name="connsiteY2" fmla="*/ 19054 h 20074"/>
                <a:gd name="connsiteX3" fmla="*/ 33025 w 34932"/>
                <a:gd name="connsiteY3" fmla="*/ 12006 h 20074"/>
                <a:gd name="connsiteX4" fmla="*/ 33025 w 34932"/>
                <a:gd name="connsiteY4" fmla="*/ 7719 h 20074"/>
                <a:gd name="connsiteX5" fmla="*/ 20928 w 34932"/>
                <a:gd name="connsiteY5" fmla="*/ 766 h 20074"/>
                <a:gd name="connsiteX6" fmla="*/ 13499 w 34932"/>
                <a:gd name="connsiteY6" fmla="*/ 766 h 20074"/>
                <a:gd name="connsiteX7" fmla="*/ 1307 w 34932"/>
                <a:gd name="connsiteY7" fmla="*/ 7719 h 20074"/>
                <a:gd name="connsiteX8" fmla="*/ 1307 w 34932"/>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932" h="20074">
                  <a:moveTo>
                    <a:pt x="1307" y="12006"/>
                  </a:moveTo>
                  <a:lnTo>
                    <a:pt x="13499" y="19054"/>
                  </a:lnTo>
                  <a:cubicBezTo>
                    <a:pt x="15842" y="20197"/>
                    <a:pt x="18585" y="20197"/>
                    <a:pt x="20928" y="19054"/>
                  </a:cubicBezTo>
                  <a:lnTo>
                    <a:pt x="33025" y="12006"/>
                  </a:lnTo>
                  <a:cubicBezTo>
                    <a:pt x="35120" y="10863"/>
                    <a:pt x="35120" y="8958"/>
                    <a:pt x="33025" y="7719"/>
                  </a:cubicBezTo>
                  <a:lnTo>
                    <a:pt x="20928" y="766"/>
                  </a:lnTo>
                  <a:cubicBezTo>
                    <a:pt x="18604" y="-472"/>
                    <a:pt x="15823" y="-472"/>
                    <a:pt x="13499" y="766"/>
                  </a:cubicBezTo>
                  <a:lnTo>
                    <a:pt x="1307" y="7719"/>
                  </a:lnTo>
                  <a:cubicBezTo>
                    <a:pt x="-884" y="8958"/>
                    <a:pt x="-884" y="10863"/>
                    <a:pt x="1307" y="12006"/>
                  </a:cubicBezTo>
                  <a:close/>
                </a:path>
              </a:pathLst>
            </a:custGeom>
            <a:solidFill>
              <a:srgbClr val="D1D9E8"/>
            </a:solidFill>
            <a:ln w="9525" cap="flat">
              <a:noFill/>
              <a:prstDash val="solid"/>
              <a:miter/>
            </a:ln>
          </p:spPr>
          <p:txBody>
            <a:bodyPr rtlCol="0" anchor="ctr"/>
            <a:lstStyle/>
            <a:p>
              <a:endParaRPr lang="zh-CN" altLang="en-US"/>
            </a:p>
          </p:txBody>
        </p:sp>
        <p:sp>
          <p:nvSpPr>
            <p:cNvPr id="596" name="ïṣļîḋé">
              <a:extLst>
                <a:ext uri="{FF2B5EF4-FFF2-40B4-BE49-F238E27FC236}">
                  <a16:creationId xmlns:a16="http://schemas.microsoft.com/office/drawing/2014/main" id="{80240EE3-9ECB-4513-B93F-3A4EF117D7F2}"/>
                </a:ext>
              </a:extLst>
            </p:cNvPr>
            <p:cNvSpPr/>
            <p:nvPr/>
          </p:nvSpPr>
          <p:spPr>
            <a:xfrm>
              <a:off x="5235377" y="4670720"/>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4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4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20"/>
                    <a:pt x="35582" y="7953"/>
                    <a:pt x="35668" y="6981"/>
                  </a:cubicBezTo>
                  <a:lnTo>
                    <a:pt x="35668" y="-163"/>
                  </a:lnTo>
                  <a:cubicBezTo>
                    <a:pt x="35601" y="819"/>
                    <a:pt x="35020" y="1685"/>
                    <a:pt x="34144" y="2124"/>
                  </a:cubicBezTo>
                  <a:lnTo>
                    <a:pt x="31763" y="3457"/>
                  </a:lnTo>
                  <a:lnTo>
                    <a:pt x="21476" y="9362"/>
                  </a:lnTo>
                  <a:cubicBezTo>
                    <a:pt x="19085" y="10601"/>
                    <a:pt x="16247" y="10601"/>
                    <a:pt x="13856" y="9362"/>
                  </a:cubicBezTo>
                  <a:lnTo>
                    <a:pt x="3569" y="3457"/>
                  </a:lnTo>
                  <a:lnTo>
                    <a:pt x="1188" y="2124"/>
                  </a:lnTo>
                  <a:cubicBezTo>
                    <a:pt x="311" y="1685"/>
                    <a:pt x="-270" y="819"/>
                    <a:pt x="-336" y="-163"/>
                  </a:cubicBezTo>
                  <a:close/>
                </a:path>
              </a:pathLst>
            </a:custGeom>
            <a:solidFill>
              <a:srgbClr val="BF4200"/>
            </a:solidFill>
            <a:ln w="9525" cap="flat">
              <a:noFill/>
              <a:prstDash val="solid"/>
              <a:miter/>
            </a:ln>
          </p:spPr>
          <p:txBody>
            <a:bodyPr rtlCol="0" anchor="ctr"/>
            <a:lstStyle/>
            <a:p>
              <a:endParaRPr lang="zh-CN" altLang="en-US"/>
            </a:p>
          </p:txBody>
        </p:sp>
        <p:sp>
          <p:nvSpPr>
            <p:cNvPr id="597" name="íṡľiḓê">
              <a:extLst>
                <a:ext uri="{FF2B5EF4-FFF2-40B4-BE49-F238E27FC236}">
                  <a16:creationId xmlns:a16="http://schemas.microsoft.com/office/drawing/2014/main" id="{1541361F-2B11-46BD-93E1-3697F80889A5}"/>
                </a:ext>
              </a:extLst>
            </p:cNvPr>
            <p:cNvSpPr/>
            <p:nvPr/>
          </p:nvSpPr>
          <p:spPr>
            <a:xfrm>
              <a:off x="5312501" y="4683550"/>
              <a:ext cx="109362" cy="63588"/>
            </a:xfrm>
            <a:custGeom>
              <a:avLst/>
              <a:gdLst>
                <a:gd name="connsiteX0" fmla="*/ -336 w 35928"/>
                <a:gd name="connsiteY0" fmla="*/ 10291 h 20890"/>
                <a:gd name="connsiteX1" fmla="*/ 1283 w 35928"/>
                <a:gd name="connsiteY1" fmla="*/ 12482 h 20890"/>
                <a:gd name="connsiteX2" fmla="*/ 3569 w 35928"/>
                <a:gd name="connsiteY2" fmla="*/ 13911 h 20890"/>
                <a:gd name="connsiteX3" fmla="*/ 13856 w 35928"/>
                <a:gd name="connsiteY3" fmla="*/ 19721 h 20890"/>
                <a:gd name="connsiteX4" fmla="*/ 21571 w 35928"/>
                <a:gd name="connsiteY4" fmla="*/ 19721 h 20890"/>
                <a:gd name="connsiteX5" fmla="*/ 31858 w 35928"/>
                <a:gd name="connsiteY5" fmla="*/ 13911 h 20890"/>
                <a:gd name="connsiteX6" fmla="*/ 34144 w 35928"/>
                <a:gd name="connsiteY6" fmla="*/ 12482 h 20890"/>
                <a:gd name="connsiteX7" fmla="*/ 35401 w 35928"/>
                <a:gd name="connsiteY7" fmla="*/ 9358 h 20890"/>
                <a:gd name="connsiteX8" fmla="*/ 34144 w 35928"/>
                <a:gd name="connsiteY8" fmla="*/ 8101 h 20890"/>
                <a:gd name="connsiteX9" fmla="*/ 21571 w 35928"/>
                <a:gd name="connsiteY9" fmla="*/ 766 h 20890"/>
                <a:gd name="connsiteX10" fmla="*/ 13856 w 35928"/>
                <a:gd name="connsiteY10" fmla="*/ 766 h 20890"/>
                <a:gd name="connsiteX11" fmla="*/ 1283 w 35928"/>
                <a:gd name="connsiteY11" fmla="*/ 8101 h 20890"/>
                <a:gd name="connsiteX12" fmla="*/ -336 w 35928"/>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928" h="20890">
                  <a:moveTo>
                    <a:pt x="-336" y="10291"/>
                  </a:moveTo>
                  <a:cubicBezTo>
                    <a:pt x="-279" y="11282"/>
                    <a:pt x="349" y="12139"/>
                    <a:pt x="1283" y="12482"/>
                  </a:cubicBezTo>
                  <a:lnTo>
                    <a:pt x="3569" y="13911"/>
                  </a:lnTo>
                  <a:lnTo>
                    <a:pt x="13856" y="19721"/>
                  </a:lnTo>
                  <a:cubicBezTo>
                    <a:pt x="16256" y="21064"/>
                    <a:pt x="19171" y="21064"/>
                    <a:pt x="21571" y="19721"/>
                  </a:cubicBezTo>
                  <a:lnTo>
                    <a:pt x="31858" y="13911"/>
                  </a:lnTo>
                  <a:lnTo>
                    <a:pt x="34144" y="12482"/>
                  </a:lnTo>
                  <a:cubicBezTo>
                    <a:pt x="35354" y="11967"/>
                    <a:pt x="35916" y="10567"/>
                    <a:pt x="35401" y="9358"/>
                  </a:cubicBezTo>
                  <a:cubicBezTo>
                    <a:pt x="35163" y="8796"/>
                    <a:pt x="34706" y="8339"/>
                    <a:pt x="34144" y="8101"/>
                  </a:cubicBezTo>
                  <a:lnTo>
                    <a:pt x="21571" y="766"/>
                  </a:lnTo>
                  <a:cubicBezTo>
                    <a:pt x="19152" y="-472"/>
                    <a:pt x="16275" y="-472"/>
                    <a:pt x="13856" y="766"/>
                  </a:cubicBezTo>
                  <a:lnTo>
                    <a:pt x="1283" y="8101"/>
                  </a:lnTo>
                  <a:cubicBezTo>
                    <a:pt x="349" y="8443"/>
                    <a:pt x="-279" y="9300"/>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598" name="iŝḷíḑe">
              <a:extLst>
                <a:ext uri="{FF2B5EF4-FFF2-40B4-BE49-F238E27FC236}">
                  <a16:creationId xmlns:a16="http://schemas.microsoft.com/office/drawing/2014/main" id="{77DE56C7-E302-4358-99B1-148BFEFAE4A2}"/>
                </a:ext>
              </a:extLst>
            </p:cNvPr>
            <p:cNvSpPr/>
            <p:nvPr/>
          </p:nvSpPr>
          <p:spPr>
            <a:xfrm>
              <a:off x="5314385" y="4684710"/>
              <a:ext cx="105898" cy="61101"/>
            </a:xfrm>
            <a:custGeom>
              <a:avLst/>
              <a:gdLst>
                <a:gd name="connsiteX0" fmla="*/ 1235 w 34790"/>
                <a:gd name="connsiteY0" fmla="*/ 12006 h 20073"/>
                <a:gd name="connsiteX1" fmla="*/ 13332 w 34790"/>
                <a:gd name="connsiteY1" fmla="*/ 19054 h 20073"/>
                <a:gd name="connsiteX2" fmla="*/ 20762 w 34790"/>
                <a:gd name="connsiteY2" fmla="*/ 19054 h 20073"/>
                <a:gd name="connsiteX3" fmla="*/ 32954 w 34790"/>
                <a:gd name="connsiteY3" fmla="*/ 12006 h 20073"/>
                <a:gd name="connsiteX4" fmla="*/ 32954 w 34790"/>
                <a:gd name="connsiteY4" fmla="*/ 7719 h 20073"/>
                <a:gd name="connsiteX5" fmla="*/ 20762 w 34790"/>
                <a:gd name="connsiteY5" fmla="*/ 766 h 20073"/>
                <a:gd name="connsiteX6" fmla="*/ 13332 w 34790"/>
                <a:gd name="connsiteY6" fmla="*/ 766 h 20073"/>
                <a:gd name="connsiteX7" fmla="*/ 1235 w 34790"/>
                <a:gd name="connsiteY7" fmla="*/ 7719 h 20073"/>
                <a:gd name="connsiteX8" fmla="*/ 1235 w 34790"/>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3">
                  <a:moveTo>
                    <a:pt x="1235" y="12006"/>
                  </a:moveTo>
                  <a:lnTo>
                    <a:pt x="13332" y="19054"/>
                  </a:lnTo>
                  <a:cubicBezTo>
                    <a:pt x="15675" y="20197"/>
                    <a:pt x="18419" y="20197"/>
                    <a:pt x="20762" y="19054"/>
                  </a:cubicBezTo>
                  <a:lnTo>
                    <a:pt x="32954" y="12006"/>
                  </a:lnTo>
                  <a:cubicBezTo>
                    <a:pt x="34954" y="10863"/>
                    <a:pt x="34954" y="8957"/>
                    <a:pt x="32954" y="7719"/>
                  </a:cubicBezTo>
                  <a:lnTo>
                    <a:pt x="20762" y="766"/>
                  </a:lnTo>
                  <a:cubicBezTo>
                    <a:pt x="18437" y="-472"/>
                    <a:pt x="15656" y="-472"/>
                    <a:pt x="13332" y="766"/>
                  </a:cubicBezTo>
                  <a:lnTo>
                    <a:pt x="1235" y="7719"/>
                  </a:lnTo>
                  <a:cubicBezTo>
                    <a:pt x="-860" y="8957"/>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599" name="ï$ḻîďê">
              <a:extLst>
                <a:ext uri="{FF2B5EF4-FFF2-40B4-BE49-F238E27FC236}">
                  <a16:creationId xmlns:a16="http://schemas.microsoft.com/office/drawing/2014/main" id="{B0055F5A-AF39-4B01-A70F-99ACB4B041D6}"/>
                </a:ext>
              </a:extLst>
            </p:cNvPr>
            <p:cNvSpPr/>
            <p:nvPr/>
          </p:nvSpPr>
          <p:spPr>
            <a:xfrm>
              <a:off x="5312501" y="4715368"/>
              <a:ext cx="109594" cy="53564"/>
            </a:xfrm>
            <a:custGeom>
              <a:avLst/>
              <a:gdLst>
                <a:gd name="connsiteX0" fmla="*/ -336 w 36004"/>
                <a:gd name="connsiteY0" fmla="*/ -163 h 17597"/>
                <a:gd name="connsiteX1" fmla="*/ -336 w 36004"/>
                <a:gd name="connsiteY1" fmla="*/ 7076 h 17597"/>
                <a:gd name="connsiteX2" fmla="*/ 1283 w 36004"/>
                <a:gd name="connsiteY2" fmla="*/ 9267 h 17597"/>
                <a:gd name="connsiteX3" fmla="*/ 13856 w 36004"/>
                <a:gd name="connsiteY3" fmla="*/ 16506 h 17597"/>
                <a:gd name="connsiteX4" fmla="*/ 21571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028 h 17597"/>
                <a:gd name="connsiteX9" fmla="*/ 31858 w 36004"/>
                <a:gd name="connsiteY9" fmla="*/ 3457 h 17597"/>
                <a:gd name="connsiteX10" fmla="*/ 21571 w 36004"/>
                <a:gd name="connsiteY10" fmla="*/ 9267 h 17597"/>
                <a:gd name="connsiteX11" fmla="*/ 13856 w 36004"/>
                <a:gd name="connsiteY11" fmla="*/ 9267 h 17597"/>
                <a:gd name="connsiteX12" fmla="*/ 3569 w 36004"/>
                <a:gd name="connsiteY12" fmla="*/ 3457 h 17597"/>
                <a:gd name="connsiteX13" fmla="*/ 1283 w 36004"/>
                <a:gd name="connsiteY13" fmla="*/ 2028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48"/>
                    <a:pt x="387" y="8886"/>
                    <a:pt x="1283" y="9267"/>
                  </a:cubicBezTo>
                  <a:lnTo>
                    <a:pt x="13856" y="16506"/>
                  </a:lnTo>
                  <a:cubicBezTo>
                    <a:pt x="16275" y="17744"/>
                    <a:pt x="19152" y="17744"/>
                    <a:pt x="21571" y="16506"/>
                  </a:cubicBezTo>
                  <a:lnTo>
                    <a:pt x="34144" y="9267"/>
                  </a:lnTo>
                  <a:cubicBezTo>
                    <a:pt x="35011" y="8819"/>
                    <a:pt x="35582" y="7953"/>
                    <a:pt x="35668" y="6981"/>
                  </a:cubicBezTo>
                  <a:lnTo>
                    <a:pt x="35668" y="-163"/>
                  </a:lnTo>
                  <a:cubicBezTo>
                    <a:pt x="35630" y="800"/>
                    <a:pt x="35039" y="1657"/>
                    <a:pt x="34144" y="2028"/>
                  </a:cubicBezTo>
                  <a:lnTo>
                    <a:pt x="31858" y="3457"/>
                  </a:lnTo>
                  <a:lnTo>
                    <a:pt x="21571" y="9267"/>
                  </a:lnTo>
                  <a:cubicBezTo>
                    <a:pt x="19171" y="10610"/>
                    <a:pt x="16256" y="10610"/>
                    <a:pt x="13856" y="9267"/>
                  </a:cubicBezTo>
                  <a:lnTo>
                    <a:pt x="3569" y="3457"/>
                  </a:lnTo>
                  <a:lnTo>
                    <a:pt x="1283" y="2028"/>
                  </a:lnTo>
                  <a:cubicBezTo>
                    <a:pt x="349" y="1685"/>
                    <a:pt x="-279"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00" name="iṣlîḋê">
              <a:extLst>
                <a:ext uri="{FF2B5EF4-FFF2-40B4-BE49-F238E27FC236}">
                  <a16:creationId xmlns:a16="http://schemas.microsoft.com/office/drawing/2014/main" id="{F4B55C51-E311-4224-B2B8-D9AB67885FC6}"/>
                </a:ext>
              </a:extLst>
            </p:cNvPr>
            <p:cNvSpPr/>
            <p:nvPr/>
          </p:nvSpPr>
          <p:spPr>
            <a:xfrm>
              <a:off x="5389911" y="4728198"/>
              <a:ext cx="109594" cy="63588"/>
            </a:xfrm>
            <a:custGeom>
              <a:avLst/>
              <a:gdLst>
                <a:gd name="connsiteX0" fmla="*/ -336 w 36004"/>
                <a:gd name="connsiteY0" fmla="*/ 10291 h 20890"/>
                <a:gd name="connsiteX1" fmla="*/ 1188 w 36004"/>
                <a:gd name="connsiteY1" fmla="*/ 12482 h 20890"/>
                <a:gd name="connsiteX2" fmla="*/ 3569 w 36004"/>
                <a:gd name="connsiteY2" fmla="*/ 13911 h 20890"/>
                <a:gd name="connsiteX3" fmla="*/ 13856 w 36004"/>
                <a:gd name="connsiteY3" fmla="*/ 19721 h 20890"/>
                <a:gd name="connsiteX4" fmla="*/ 21476 w 36004"/>
                <a:gd name="connsiteY4" fmla="*/ 19721 h 20890"/>
                <a:gd name="connsiteX5" fmla="*/ 31763 w 36004"/>
                <a:gd name="connsiteY5" fmla="*/ 13911 h 20890"/>
                <a:gd name="connsiteX6" fmla="*/ 34144 w 36004"/>
                <a:gd name="connsiteY6" fmla="*/ 12482 h 20890"/>
                <a:gd name="connsiteX7" fmla="*/ 35668 w 36004"/>
                <a:gd name="connsiteY7" fmla="*/ 10291 h 20890"/>
                <a:gd name="connsiteX8" fmla="*/ 34144 w 36004"/>
                <a:gd name="connsiteY8" fmla="*/ 8005 h 20890"/>
                <a:gd name="connsiteX9" fmla="*/ 21476 w 36004"/>
                <a:gd name="connsiteY9" fmla="*/ 766 h 20890"/>
                <a:gd name="connsiteX10" fmla="*/ 13856 w 36004"/>
                <a:gd name="connsiteY10" fmla="*/ 766 h 20890"/>
                <a:gd name="connsiteX11" fmla="*/ 1188 w 36004"/>
                <a:gd name="connsiteY11" fmla="*/ 8005 h 20890"/>
                <a:gd name="connsiteX12" fmla="*/ -336 w 36004"/>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291"/>
                  </a:moveTo>
                  <a:cubicBezTo>
                    <a:pt x="-279" y="11244"/>
                    <a:pt x="311" y="12091"/>
                    <a:pt x="1188" y="12482"/>
                  </a:cubicBezTo>
                  <a:lnTo>
                    <a:pt x="3569" y="13911"/>
                  </a:lnTo>
                  <a:lnTo>
                    <a:pt x="13856" y="19721"/>
                  </a:lnTo>
                  <a:cubicBezTo>
                    <a:pt x="16218" y="21064"/>
                    <a:pt x="19114" y="21064"/>
                    <a:pt x="21476" y="19721"/>
                  </a:cubicBezTo>
                  <a:lnTo>
                    <a:pt x="31763" y="13911"/>
                  </a:lnTo>
                  <a:lnTo>
                    <a:pt x="34144" y="12482"/>
                  </a:lnTo>
                  <a:cubicBezTo>
                    <a:pt x="35021" y="12091"/>
                    <a:pt x="35611" y="11253"/>
                    <a:pt x="35668" y="10291"/>
                  </a:cubicBezTo>
                  <a:cubicBezTo>
                    <a:pt x="35602" y="9310"/>
                    <a:pt x="35021" y="8443"/>
                    <a:pt x="34144" y="8005"/>
                  </a:cubicBezTo>
                  <a:lnTo>
                    <a:pt x="21476" y="766"/>
                  </a:lnTo>
                  <a:cubicBezTo>
                    <a:pt x="19085" y="-472"/>
                    <a:pt x="16247" y="-472"/>
                    <a:pt x="13856" y="766"/>
                  </a:cubicBezTo>
                  <a:lnTo>
                    <a:pt x="1188" y="8005"/>
                  </a:lnTo>
                  <a:cubicBezTo>
                    <a:pt x="311" y="8443"/>
                    <a:pt x="-270" y="9310"/>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601" name="îšļiḍê">
              <a:extLst>
                <a:ext uri="{FF2B5EF4-FFF2-40B4-BE49-F238E27FC236}">
                  <a16:creationId xmlns:a16="http://schemas.microsoft.com/office/drawing/2014/main" id="{73C8149B-97EE-4EFF-82C8-04132849EF3A}"/>
                </a:ext>
              </a:extLst>
            </p:cNvPr>
            <p:cNvSpPr/>
            <p:nvPr/>
          </p:nvSpPr>
          <p:spPr>
            <a:xfrm>
              <a:off x="5391725" y="4729358"/>
              <a:ext cx="105895" cy="61101"/>
            </a:xfrm>
            <a:custGeom>
              <a:avLst/>
              <a:gdLst>
                <a:gd name="connsiteX0" fmla="*/ 1164 w 34789"/>
                <a:gd name="connsiteY0" fmla="*/ 12006 h 20073"/>
                <a:gd name="connsiteX1" fmla="*/ 13356 w 34789"/>
                <a:gd name="connsiteY1" fmla="*/ 19054 h 20073"/>
                <a:gd name="connsiteX2" fmla="*/ 20785 w 34789"/>
                <a:gd name="connsiteY2" fmla="*/ 19054 h 20073"/>
                <a:gd name="connsiteX3" fmla="*/ 32882 w 34789"/>
                <a:gd name="connsiteY3" fmla="*/ 12006 h 20073"/>
                <a:gd name="connsiteX4" fmla="*/ 32882 w 34789"/>
                <a:gd name="connsiteY4" fmla="*/ 7719 h 20073"/>
                <a:gd name="connsiteX5" fmla="*/ 20785 w 34789"/>
                <a:gd name="connsiteY5" fmla="*/ 766 h 20073"/>
                <a:gd name="connsiteX6" fmla="*/ 13356 w 34789"/>
                <a:gd name="connsiteY6" fmla="*/ 766 h 20073"/>
                <a:gd name="connsiteX7" fmla="*/ 1164 w 34789"/>
                <a:gd name="connsiteY7" fmla="*/ 7719 h 20073"/>
                <a:gd name="connsiteX8" fmla="*/ 1164 w 34789"/>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89" h="20073">
                  <a:moveTo>
                    <a:pt x="1164" y="12006"/>
                  </a:moveTo>
                  <a:lnTo>
                    <a:pt x="13356" y="19054"/>
                  </a:lnTo>
                  <a:cubicBezTo>
                    <a:pt x="15699" y="20197"/>
                    <a:pt x="18442" y="20197"/>
                    <a:pt x="20785" y="19054"/>
                  </a:cubicBezTo>
                  <a:lnTo>
                    <a:pt x="32882" y="12006"/>
                  </a:lnTo>
                  <a:cubicBezTo>
                    <a:pt x="34977" y="10863"/>
                    <a:pt x="34977" y="8957"/>
                    <a:pt x="32882" y="7719"/>
                  </a:cubicBezTo>
                  <a:lnTo>
                    <a:pt x="20785" y="766"/>
                  </a:lnTo>
                  <a:cubicBezTo>
                    <a:pt x="18461" y="-472"/>
                    <a:pt x="15680" y="-472"/>
                    <a:pt x="13356" y="766"/>
                  </a:cubicBezTo>
                  <a:lnTo>
                    <a:pt x="1164" y="7719"/>
                  </a:lnTo>
                  <a:cubicBezTo>
                    <a:pt x="-836" y="8957"/>
                    <a:pt x="-836" y="10863"/>
                    <a:pt x="1164" y="12006"/>
                  </a:cubicBezTo>
                  <a:close/>
                </a:path>
              </a:pathLst>
            </a:custGeom>
            <a:solidFill>
              <a:srgbClr val="D1D9E8"/>
            </a:solidFill>
            <a:ln w="9525" cap="flat">
              <a:noFill/>
              <a:prstDash val="solid"/>
              <a:miter/>
            </a:ln>
          </p:spPr>
          <p:txBody>
            <a:bodyPr rtlCol="0" anchor="ctr"/>
            <a:lstStyle/>
            <a:p>
              <a:endParaRPr lang="zh-CN" altLang="en-US"/>
            </a:p>
          </p:txBody>
        </p:sp>
        <p:sp>
          <p:nvSpPr>
            <p:cNvPr id="602" name="íşlíḓe">
              <a:extLst>
                <a:ext uri="{FF2B5EF4-FFF2-40B4-BE49-F238E27FC236}">
                  <a16:creationId xmlns:a16="http://schemas.microsoft.com/office/drawing/2014/main" id="{385FD81E-1524-4918-9FAD-69C91E06C98F}"/>
                </a:ext>
              </a:extLst>
            </p:cNvPr>
            <p:cNvSpPr/>
            <p:nvPr/>
          </p:nvSpPr>
          <p:spPr>
            <a:xfrm>
              <a:off x="5389911" y="4760019"/>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028 h 17597"/>
                <a:gd name="connsiteX9" fmla="*/ 31763 w 36004"/>
                <a:gd name="connsiteY9" fmla="*/ 3457 h 17597"/>
                <a:gd name="connsiteX10" fmla="*/ 21476 w 36004"/>
                <a:gd name="connsiteY10" fmla="*/ 9267 h 17597"/>
                <a:gd name="connsiteX11" fmla="*/ 13856 w 36004"/>
                <a:gd name="connsiteY11" fmla="*/ 9267 h 17597"/>
                <a:gd name="connsiteX12" fmla="*/ 3569 w 36004"/>
                <a:gd name="connsiteY12" fmla="*/ 3457 h 17597"/>
                <a:gd name="connsiteX13" fmla="*/ 1188 w 36004"/>
                <a:gd name="connsiteY13" fmla="*/ 2028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2" y="7953"/>
                    <a:pt x="35668" y="6981"/>
                  </a:cubicBezTo>
                  <a:lnTo>
                    <a:pt x="35668" y="-163"/>
                  </a:lnTo>
                  <a:cubicBezTo>
                    <a:pt x="35611" y="790"/>
                    <a:pt x="35021" y="1638"/>
                    <a:pt x="34144" y="2028"/>
                  </a:cubicBezTo>
                  <a:lnTo>
                    <a:pt x="31763" y="3457"/>
                  </a:lnTo>
                  <a:lnTo>
                    <a:pt x="21476" y="9267"/>
                  </a:lnTo>
                  <a:cubicBezTo>
                    <a:pt x="19114" y="10610"/>
                    <a:pt x="16218" y="10610"/>
                    <a:pt x="13856" y="9267"/>
                  </a:cubicBezTo>
                  <a:lnTo>
                    <a:pt x="3569" y="3457"/>
                  </a:lnTo>
                  <a:lnTo>
                    <a:pt x="1188" y="2028"/>
                  </a:lnTo>
                  <a:cubicBezTo>
                    <a:pt x="311" y="1638"/>
                    <a:pt x="-279" y="799"/>
                    <a:pt x="-336" y="-163"/>
                  </a:cubicBezTo>
                  <a:close/>
                </a:path>
              </a:pathLst>
            </a:custGeom>
            <a:solidFill>
              <a:srgbClr val="BF4200"/>
            </a:solidFill>
            <a:ln w="9525" cap="flat">
              <a:noFill/>
              <a:prstDash val="solid"/>
              <a:miter/>
            </a:ln>
          </p:spPr>
          <p:txBody>
            <a:bodyPr rtlCol="0" anchor="ctr"/>
            <a:lstStyle/>
            <a:p>
              <a:endParaRPr lang="zh-CN" altLang="en-US"/>
            </a:p>
          </p:txBody>
        </p:sp>
        <p:sp>
          <p:nvSpPr>
            <p:cNvPr id="603" name="ïṧľïḋè">
              <a:extLst>
                <a:ext uri="{FF2B5EF4-FFF2-40B4-BE49-F238E27FC236}">
                  <a16:creationId xmlns:a16="http://schemas.microsoft.com/office/drawing/2014/main" id="{2CA55B2C-5953-43DF-B3BE-2FE9239D1699}"/>
                </a:ext>
              </a:extLst>
            </p:cNvPr>
            <p:cNvSpPr/>
            <p:nvPr/>
          </p:nvSpPr>
          <p:spPr>
            <a:xfrm>
              <a:off x="5467035" y="4772849"/>
              <a:ext cx="109883" cy="63588"/>
            </a:xfrm>
            <a:custGeom>
              <a:avLst/>
              <a:gdLst>
                <a:gd name="connsiteX0" fmla="*/ -336 w 36099"/>
                <a:gd name="connsiteY0" fmla="*/ 10196 h 20890"/>
                <a:gd name="connsiteX1" fmla="*/ 1283 w 36099"/>
                <a:gd name="connsiteY1" fmla="*/ 12482 h 20890"/>
                <a:gd name="connsiteX2" fmla="*/ 3569 w 36099"/>
                <a:gd name="connsiteY2" fmla="*/ 13815 h 20890"/>
                <a:gd name="connsiteX3" fmla="*/ 13856 w 36099"/>
                <a:gd name="connsiteY3" fmla="*/ 19721 h 20890"/>
                <a:gd name="connsiteX4" fmla="*/ 21571 w 36099"/>
                <a:gd name="connsiteY4" fmla="*/ 19721 h 20890"/>
                <a:gd name="connsiteX5" fmla="*/ 31858 w 36099"/>
                <a:gd name="connsiteY5" fmla="*/ 13815 h 20890"/>
                <a:gd name="connsiteX6" fmla="*/ 34144 w 36099"/>
                <a:gd name="connsiteY6" fmla="*/ 12482 h 20890"/>
                <a:gd name="connsiteX7" fmla="*/ 35764 w 36099"/>
                <a:gd name="connsiteY7" fmla="*/ 10196 h 20890"/>
                <a:gd name="connsiteX8" fmla="*/ 34144 w 36099"/>
                <a:gd name="connsiteY8" fmla="*/ 8005 h 20890"/>
                <a:gd name="connsiteX9" fmla="*/ 21571 w 36099"/>
                <a:gd name="connsiteY9" fmla="*/ 766 h 20890"/>
                <a:gd name="connsiteX10" fmla="*/ 13856 w 36099"/>
                <a:gd name="connsiteY10" fmla="*/ 766 h 20890"/>
                <a:gd name="connsiteX11" fmla="*/ 1283 w 36099"/>
                <a:gd name="connsiteY11" fmla="*/ 8005 h 20890"/>
                <a:gd name="connsiteX12" fmla="*/ -336 w 36099"/>
                <a:gd name="connsiteY12" fmla="*/ 10196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99" h="20890">
                  <a:moveTo>
                    <a:pt x="-336" y="10196"/>
                  </a:moveTo>
                  <a:cubicBezTo>
                    <a:pt x="-251" y="11196"/>
                    <a:pt x="369" y="12072"/>
                    <a:pt x="1283" y="12482"/>
                  </a:cubicBezTo>
                  <a:lnTo>
                    <a:pt x="3569" y="13815"/>
                  </a:lnTo>
                  <a:lnTo>
                    <a:pt x="13856" y="19721"/>
                  </a:lnTo>
                  <a:cubicBezTo>
                    <a:pt x="16256" y="21064"/>
                    <a:pt x="19171" y="21064"/>
                    <a:pt x="21571" y="19721"/>
                  </a:cubicBezTo>
                  <a:lnTo>
                    <a:pt x="31858" y="13815"/>
                  </a:lnTo>
                  <a:lnTo>
                    <a:pt x="34144" y="12482"/>
                  </a:lnTo>
                  <a:cubicBezTo>
                    <a:pt x="35059" y="12072"/>
                    <a:pt x="35678" y="11196"/>
                    <a:pt x="35764" y="10196"/>
                  </a:cubicBezTo>
                  <a:cubicBezTo>
                    <a:pt x="35630" y="9243"/>
                    <a:pt x="35021" y="8414"/>
                    <a:pt x="34144" y="8005"/>
                  </a:cubicBezTo>
                  <a:lnTo>
                    <a:pt x="21571" y="766"/>
                  </a:lnTo>
                  <a:cubicBezTo>
                    <a:pt x="19152" y="-472"/>
                    <a:pt x="16275" y="-472"/>
                    <a:pt x="13856" y="766"/>
                  </a:cubicBezTo>
                  <a:lnTo>
                    <a:pt x="1283" y="8005"/>
                  </a:lnTo>
                  <a:cubicBezTo>
                    <a:pt x="407" y="8414"/>
                    <a:pt x="-203" y="924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604" name="ïŝlíḑé">
              <a:extLst>
                <a:ext uri="{FF2B5EF4-FFF2-40B4-BE49-F238E27FC236}">
                  <a16:creationId xmlns:a16="http://schemas.microsoft.com/office/drawing/2014/main" id="{DAEEEF72-7BDB-4737-B2D4-07055EB0FFE2}"/>
                </a:ext>
              </a:extLst>
            </p:cNvPr>
            <p:cNvSpPr/>
            <p:nvPr/>
          </p:nvSpPr>
          <p:spPr>
            <a:xfrm>
              <a:off x="5469281" y="4774009"/>
              <a:ext cx="106114" cy="61101"/>
            </a:xfrm>
            <a:custGeom>
              <a:avLst/>
              <a:gdLst>
                <a:gd name="connsiteX0" fmla="*/ 1307 w 34861"/>
                <a:gd name="connsiteY0" fmla="*/ 12006 h 20073"/>
                <a:gd name="connsiteX1" fmla="*/ 13403 w 34861"/>
                <a:gd name="connsiteY1" fmla="*/ 19054 h 20073"/>
                <a:gd name="connsiteX2" fmla="*/ 20833 w 34861"/>
                <a:gd name="connsiteY2" fmla="*/ 19054 h 20073"/>
                <a:gd name="connsiteX3" fmla="*/ 33025 w 34861"/>
                <a:gd name="connsiteY3" fmla="*/ 12006 h 20073"/>
                <a:gd name="connsiteX4" fmla="*/ 33025 w 34861"/>
                <a:gd name="connsiteY4" fmla="*/ 7719 h 20073"/>
                <a:gd name="connsiteX5" fmla="*/ 20833 w 34861"/>
                <a:gd name="connsiteY5" fmla="*/ 766 h 20073"/>
                <a:gd name="connsiteX6" fmla="*/ 13403 w 34861"/>
                <a:gd name="connsiteY6" fmla="*/ 766 h 20073"/>
                <a:gd name="connsiteX7" fmla="*/ 1307 w 34861"/>
                <a:gd name="connsiteY7" fmla="*/ 7719 h 20073"/>
                <a:gd name="connsiteX8" fmla="*/ 1307 w 34861"/>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861" h="20073">
                  <a:moveTo>
                    <a:pt x="1307" y="12006"/>
                  </a:moveTo>
                  <a:lnTo>
                    <a:pt x="13403" y="19054"/>
                  </a:lnTo>
                  <a:cubicBezTo>
                    <a:pt x="15747" y="20197"/>
                    <a:pt x="18490" y="20197"/>
                    <a:pt x="20833" y="19054"/>
                  </a:cubicBezTo>
                  <a:lnTo>
                    <a:pt x="33025" y="12006"/>
                  </a:lnTo>
                  <a:cubicBezTo>
                    <a:pt x="35025" y="10862"/>
                    <a:pt x="35025" y="8958"/>
                    <a:pt x="33025" y="7719"/>
                  </a:cubicBezTo>
                  <a:lnTo>
                    <a:pt x="20833" y="766"/>
                  </a:lnTo>
                  <a:cubicBezTo>
                    <a:pt x="18509" y="-472"/>
                    <a:pt x="15728" y="-472"/>
                    <a:pt x="13403" y="766"/>
                  </a:cubicBezTo>
                  <a:lnTo>
                    <a:pt x="1307" y="7719"/>
                  </a:lnTo>
                  <a:cubicBezTo>
                    <a:pt x="-884" y="8958"/>
                    <a:pt x="-884" y="10862"/>
                    <a:pt x="1307" y="12006"/>
                  </a:cubicBezTo>
                  <a:close/>
                </a:path>
              </a:pathLst>
            </a:custGeom>
            <a:solidFill>
              <a:srgbClr val="D1D9E8"/>
            </a:solidFill>
            <a:ln w="9525" cap="flat">
              <a:noFill/>
              <a:prstDash val="solid"/>
              <a:miter/>
            </a:ln>
          </p:spPr>
          <p:txBody>
            <a:bodyPr rtlCol="0" anchor="ctr"/>
            <a:lstStyle/>
            <a:p>
              <a:endParaRPr lang="zh-CN" altLang="en-US"/>
            </a:p>
          </p:txBody>
        </p:sp>
        <p:sp>
          <p:nvSpPr>
            <p:cNvPr id="605" name="ïśḷïḑé">
              <a:extLst>
                <a:ext uri="{FF2B5EF4-FFF2-40B4-BE49-F238E27FC236}">
                  <a16:creationId xmlns:a16="http://schemas.microsoft.com/office/drawing/2014/main" id="{DCA095AD-F522-4457-8E0D-1A943A8DDC7F}"/>
                </a:ext>
              </a:extLst>
            </p:cNvPr>
            <p:cNvSpPr/>
            <p:nvPr/>
          </p:nvSpPr>
          <p:spPr>
            <a:xfrm>
              <a:off x="5467035" y="4804378"/>
              <a:ext cx="109883" cy="54383"/>
            </a:xfrm>
            <a:custGeom>
              <a:avLst/>
              <a:gdLst>
                <a:gd name="connsiteX0" fmla="*/ -336 w 36099"/>
                <a:gd name="connsiteY0" fmla="*/ -163 h 17866"/>
                <a:gd name="connsiteX1" fmla="*/ -336 w 36099"/>
                <a:gd name="connsiteY1" fmla="*/ 7267 h 17866"/>
                <a:gd name="connsiteX2" fmla="*/ 1283 w 36099"/>
                <a:gd name="connsiteY2" fmla="*/ 9553 h 17866"/>
                <a:gd name="connsiteX3" fmla="*/ 13856 w 36099"/>
                <a:gd name="connsiteY3" fmla="*/ 16697 h 17866"/>
                <a:gd name="connsiteX4" fmla="*/ 21571 w 36099"/>
                <a:gd name="connsiteY4" fmla="*/ 16697 h 17866"/>
                <a:gd name="connsiteX5" fmla="*/ 34144 w 36099"/>
                <a:gd name="connsiteY5" fmla="*/ 9553 h 17866"/>
                <a:gd name="connsiteX6" fmla="*/ 35764 w 36099"/>
                <a:gd name="connsiteY6" fmla="*/ 7267 h 17866"/>
                <a:gd name="connsiteX7" fmla="*/ 35764 w 36099"/>
                <a:gd name="connsiteY7" fmla="*/ 28 h 17866"/>
                <a:gd name="connsiteX8" fmla="*/ 34144 w 36099"/>
                <a:gd name="connsiteY8" fmla="*/ 2314 h 17866"/>
                <a:gd name="connsiteX9" fmla="*/ 31858 w 36099"/>
                <a:gd name="connsiteY9" fmla="*/ 3647 h 17866"/>
                <a:gd name="connsiteX10" fmla="*/ 21571 w 36099"/>
                <a:gd name="connsiteY10" fmla="*/ 9553 h 17866"/>
                <a:gd name="connsiteX11" fmla="*/ 13856 w 36099"/>
                <a:gd name="connsiteY11" fmla="*/ 9553 h 17866"/>
                <a:gd name="connsiteX12" fmla="*/ 3569 w 36099"/>
                <a:gd name="connsiteY12" fmla="*/ 3647 h 17866"/>
                <a:gd name="connsiteX13" fmla="*/ 1283 w 36099"/>
                <a:gd name="connsiteY13" fmla="*/ 2314 h 17866"/>
                <a:gd name="connsiteX14" fmla="*/ -336 w 36099"/>
                <a:gd name="connsiteY14" fmla="*/ -163 h 178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866">
                  <a:moveTo>
                    <a:pt x="-336" y="-163"/>
                  </a:moveTo>
                  <a:lnTo>
                    <a:pt x="-336" y="7267"/>
                  </a:lnTo>
                  <a:cubicBezTo>
                    <a:pt x="-232" y="8257"/>
                    <a:pt x="378" y="9124"/>
                    <a:pt x="1283" y="9553"/>
                  </a:cubicBezTo>
                  <a:lnTo>
                    <a:pt x="13856" y="16697"/>
                  </a:lnTo>
                  <a:cubicBezTo>
                    <a:pt x="16256" y="18040"/>
                    <a:pt x="19171" y="18040"/>
                    <a:pt x="21571" y="16697"/>
                  </a:cubicBezTo>
                  <a:lnTo>
                    <a:pt x="34144" y="9553"/>
                  </a:lnTo>
                  <a:cubicBezTo>
                    <a:pt x="35030" y="9115"/>
                    <a:pt x="35640" y="8248"/>
                    <a:pt x="35764" y="7267"/>
                  </a:cubicBezTo>
                  <a:lnTo>
                    <a:pt x="35764" y="28"/>
                  </a:lnTo>
                  <a:cubicBezTo>
                    <a:pt x="35678" y="1028"/>
                    <a:pt x="35059" y="1904"/>
                    <a:pt x="34144" y="2314"/>
                  </a:cubicBezTo>
                  <a:lnTo>
                    <a:pt x="31858" y="3647"/>
                  </a:lnTo>
                  <a:lnTo>
                    <a:pt x="21571" y="9553"/>
                  </a:lnTo>
                  <a:cubicBezTo>
                    <a:pt x="19171" y="10896"/>
                    <a:pt x="16256" y="10896"/>
                    <a:pt x="13856" y="9553"/>
                  </a:cubicBezTo>
                  <a:lnTo>
                    <a:pt x="3569" y="3647"/>
                  </a:lnTo>
                  <a:lnTo>
                    <a:pt x="1283" y="2314"/>
                  </a:lnTo>
                  <a:cubicBezTo>
                    <a:pt x="311" y="1876"/>
                    <a:pt x="-317" y="904"/>
                    <a:pt x="-336" y="-163"/>
                  </a:cubicBezTo>
                  <a:close/>
                </a:path>
              </a:pathLst>
            </a:custGeom>
            <a:solidFill>
              <a:srgbClr val="BF4200"/>
            </a:solidFill>
            <a:ln w="9525" cap="flat">
              <a:noFill/>
              <a:prstDash val="solid"/>
              <a:miter/>
            </a:ln>
          </p:spPr>
          <p:txBody>
            <a:bodyPr rtlCol="0" anchor="ctr"/>
            <a:lstStyle/>
            <a:p>
              <a:endParaRPr lang="zh-CN" altLang="en-US"/>
            </a:p>
          </p:txBody>
        </p:sp>
        <p:sp>
          <p:nvSpPr>
            <p:cNvPr id="606" name="íš1îḍê">
              <a:extLst>
                <a:ext uri="{FF2B5EF4-FFF2-40B4-BE49-F238E27FC236}">
                  <a16:creationId xmlns:a16="http://schemas.microsoft.com/office/drawing/2014/main" id="{F44EB2E2-10A2-408B-9946-D6CBC333992E}"/>
                </a:ext>
              </a:extLst>
            </p:cNvPr>
            <p:cNvSpPr/>
            <p:nvPr/>
          </p:nvSpPr>
          <p:spPr>
            <a:xfrm>
              <a:off x="5544448" y="4817498"/>
              <a:ext cx="108580" cy="63588"/>
            </a:xfrm>
            <a:custGeom>
              <a:avLst/>
              <a:gdLst>
                <a:gd name="connsiteX0" fmla="*/ -336 w 35671"/>
                <a:gd name="connsiteY0" fmla="*/ 10196 h 20890"/>
                <a:gd name="connsiteX1" fmla="*/ 1187 w 35671"/>
                <a:gd name="connsiteY1" fmla="*/ 12482 h 20890"/>
                <a:gd name="connsiteX2" fmla="*/ 3569 w 35671"/>
                <a:gd name="connsiteY2" fmla="*/ 13815 h 20890"/>
                <a:gd name="connsiteX3" fmla="*/ 13856 w 35671"/>
                <a:gd name="connsiteY3" fmla="*/ 19721 h 20890"/>
                <a:gd name="connsiteX4" fmla="*/ 21476 w 35671"/>
                <a:gd name="connsiteY4" fmla="*/ 19721 h 20890"/>
                <a:gd name="connsiteX5" fmla="*/ 31763 w 35671"/>
                <a:gd name="connsiteY5" fmla="*/ 13815 h 20890"/>
                <a:gd name="connsiteX6" fmla="*/ 33763 w 35671"/>
                <a:gd name="connsiteY6" fmla="*/ 12482 h 20890"/>
                <a:gd name="connsiteX7" fmla="*/ 35192 w 35671"/>
                <a:gd name="connsiteY7" fmla="*/ 9434 h 20890"/>
                <a:gd name="connsiteX8" fmla="*/ 33763 w 35671"/>
                <a:gd name="connsiteY8" fmla="*/ 8005 h 20890"/>
                <a:gd name="connsiteX9" fmla="*/ 21095 w 35671"/>
                <a:gd name="connsiteY9" fmla="*/ 766 h 20890"/>
                <a:gd name="connsiteX10" fmla="*/ 13475 w 35671"/>
                <a:gd name="connsiteY10" fmla="*/ 766 h 20890"/>
                <a:gd name="connsiteX11" fmla="*/ 807 w 35671"/>
                <a:gd name="connsiteY11" fmla="*/ 8005 h 20890"/>
                <a:gd name="connsiteX12" fmla="*/ -336 w 35671"/>
                <a:gd name="connsiteY12" fmla="*/ 10196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671" h="20890">
                  <a:moveTo>
                    <a:pt x="-336" y="10196"/>
                  </a:moveTo>
                  <a:cubicBezTo>
                    <a:pt x="-270" y="11177"/>
                    <a:pt x="311" y="12044"/>
                    <a:pt x="1187" y="12482"/>
                  </a:cubicBezTo>
                  <a:lnTo>
                    <a:pt x="3569" y="13815"/>
                  </a:lnTo>
                  <a:lnTo>
                    <a:pt x="13856" y="19721"/>
                  </a:lnTo>
                  <a:cubicBezTo>
                    <a:pt x="16218" y="21064"/>
                    <a:pt x="19114" y="21064"/>
                    <a:pt x="21476" y="19721"/>
                  </a:cubicBezTo>
                  <a:lnTo>
                    <a:pt x="31763" y="13815"/>
                  </a:lnTo>
                  <a:lnTo>
                    <a:pt x="33763" y="12482"/>
                  </a:lnTo>
                  <a:cubicBezTo>
                    <a:pt x="35001" y="12034"/>
                    <a:pt x="35639" y="10662"/>
                    <a:pt x="35192" y="9434"/>
                  </a:cubicBezTo>
                  <a:cubicBezTo>
                    <a:pt x="34944" y="8767"/>
                    <a:pt x="34430" y="8243"/>
                    <a:pt x="33763" y="8005"/>
                  </a:cubicBezTo>
                  <a:lnTo>
                    <a:pt x="21095" y="766"/>
                  </a:lnTo>
                  <a:cubicBezTo>
                    <a:pt x="18704" y="-472"/>
                    <a:pt x="15866" y="-472"/>
                    <a:pt x="13475" y="766"/>
                  </a:cubicBezTo>
                  <a:lnTo>
                    <a:pt x="807" y="8005"/>
                  </a:lnTo>
                  <a:cubicBezTo>
                    <a:pt x="102" y="8510"/>
                    <a:pt x="-317" y="9329"/>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607" name="işlïdé">
              <a:extLst>
                <a:ext uri="{FF2B5EF4-FFF2-40B4-BE49-F238E27FC236}">
                  <a16:creationId xmlns:a16="http://schemas.microsoft.com/office/drawing/2014/main" id="{6619F2D5-9748-40DC-BF5B-137274BF8AA8}"/>
                </a:ext>
              </a:extLst>
            </p:cNvPr>
            <p:cNvSpPr/>
            <p:nvPr/>
          </p:nvSpPr>
          <p:spPr>
            <a:xfrm>
              <a:off x="5546981" y="4818877"/>
              <a:ext cx="105798" cy="61174"/>
            </a:xfrm>
            <a:custGeom>
              <a:avLst/>
              <a:gdLst>
                <a:gd name="connsiteX0" fmla="*/ 1022 w 34757"/>
                <a:gd name="connsiteY0" fmla="*/ 12029 h 20097"/>
                <a:gd name="connsiteX1" fmla="*/ 13119 w 34757"/>
                <a:gd name="connsiteY1" fmla="*/ 19078 h 20097"/>
                <a:gd name="connsiteX2" fmla="*/ 20548 w 34757"/>
                <a:gd name="connsiteY2" fmla="*/ 19078 h 20097"/>
                <a:gd name="connsiteX3" fmla="*/ 32931 w 34757"/>
                <a:gd name="connsiteY3" fmla="*/ 12029 h 20097"/>
                <a:gd name="connsiteX4" fmla="*/ 34274 w 34757"/>
                <a:gd name="connsiteY4" fmla="*/ 9086 h 20097"/>
                <a:gd name="connsiteX5" fmla="*/ 32931 w 34757"/>
                <a:gd name="connsiteY5" fmla="*/ 7743 h 20097"/>
                <a:gd name="connsiteX6" fmla="*/ 20834 w 34757"/>
                <a:gd name="connsiteY6" fmla="*/ 695 h 20097"/>
                <a:gd name="connsiteX7" fmla="*/ 13405 w 34757"/>
                <a:gd name="connsiteY7" fmla="*/ 695 h 20097"/>
                <a:gd name="connsiteX8" fmla="*/ 1308 w 34757"/>
                <a:gd name="connsiteY8" fmla="*/ 7743 h 20097"/>
                <a:gd name="connsiteX9" fmla="*/ -245 w 34757"/>
                <a:gd name="connsiteY9" fmla="*/ 10572 h 20097"/>
                <a:gd name="connsiteX10" fmla="*/ 1022 w 34757"/>
                <a:gd name="connsiteY10" fmla="*/ 12029 h 20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757" h="20097">
                  <a:moveTo>
                    <a:pt x="1022" y="12029"/>
                  </a:moveTo>
                  <a:lnTo>
                    <a:pt x="13119" y="19078"/>
                  </a:lnTo>
                  <a:cubicBezTo>
                    <a:pt x="15462" y="20221"/>
                    <a:pt x="18205" y="20221"/>
                    <a:pt x="20548" y="19078"/>
                  </a:cubicBezTo>
                  <a:lnTo>
                    <a:pt x="32931" y="12029"/>
                  </a:lnTo>
                  <a:cubicBezTo>
                    <a:pt x="34112" y="11591"/>
                    <a:pt x="34721" y="10277"/>
                    <a:pt x="34274" y="9086"/>
                  </a:cubicBezTo>
                  <a:cubicBezTo>
                    <a:pt x="34045" y="8467"/>
                    <a:pt x="33550" y="7972"/>
                    <a:pt x="32931" y="7743"/>
                  </a:cubicBezTo>
                  <a:lnTo>
                    <a:pt x="20834" y="695"/>
                  </a:lnTo>
                  <a:cubicBezTo>
                    <a:pt x="18491" y="-448"/>
                    <a:pt x="15748" y="-448"/>
                    <a:pt x="13405" y="695"/>
                  </a:cubicBezTo>
                  <a:lnTo>
                    <a:pt x="1308" y="7743"/>
                  </a:lnTo>
                  <a:cubicBezTo>
                    <a:pt x="98" y="8096"/>
                    <a:pt x="-597" y="9362"/>
                    <a:pt x="-245" y="10572"/>
                  </a:cubicBezTo>
                  <a:cubicBezTo>
                    <a:pt x="-64" y="11229"/>
                    <a:pt x="403" y="11753"/>
                    <a:pt x="1022" y="12029"/>
                  </a:cubicBezTo>
                  <a:close/>
                </a:path>
              </a:pathLst>
            </a:custGeom>
            <a:solidFill>
              <a:srgbClr val="D1D9E8"/>
            </a:solidFill>
            <a:ln w="9525" cap="flat">
              <a:noFill/>
              <a:prstDash val="solid"/>
              <a:miter/>
            </a:ln>
          </p:spPr>
          <p:txBody>
            <a:bodyPr rtlCol="0" anchor="ctr"/>
            <a:lstStyle/>
            <a:p>
              <a:endParaRPr lang="zh-CN" altLang="en-US"/>
            </a:p>
          </p:txBody>
        </p:sp>
        <p:sp>
          <p:nvSpPr>
            <p:cNvPr id="608" name="ïṡľïḓe">
              <a:extLst>
                <a:ext uri="{FF2B5EF4-FFF2-40B4-BE49-F238E27FC236}">
                  <a16:creationId xmlns:a16="http://schemas.microsoft.com/office/drawing/2014/main" id="{C1108CB1-773F-4B71-906F-37D562CFEBF7}"/>
                </a:ext>
              </a:extLst>
            </p:cNvPr>
            <p:cNvSpPr/>
            <p:nvPr/>
          </p:nvSpPr>
          <p:spPr>
            <a:xfrm>
              <a:off x="5544448" y="4849030"/>
              <a:ext cx="109594" cy="53801"/>
            </a:xfrm>
            <a:custGeom>
              <a:avLst/>
              <a:gdLst>
                <a:gd name="connsiteX0" fmla="*/ -336 w 36004"/>
                <a:gd name="connsiteY0" fmla="*/ -163 h 17675"/>
                <a:gd name="connsiteX1" fmla="*/ -336 w 36004"/>
                <a:gd name="connsiteY1" fmla="*/ 7076 h 17675"/>
                <a:gd name="connsiteX2" fmla="*/ 1187 w 36004"/>
                <a:gd name="connsiteY2" fmla="*/ 9267 h 17675"/>
                <a:gd name="connsiteX3" fmla="*/ 13856 w 36004"/>
                <a:gd name="connsiteY3" fmla="*/ 16506 h 17675"/>
                <a:gd name="connsiteX4" fmla="*/ 21476 w 36004"/>
                <a:gd name="connsiteY4" fmla="*/ 16506 h 17675"/>
                <a:gd name="connsiteX5" fmla="*/ 34144 w 36004"/>
                <a:gd name="connsiteY5" fmla="*/ 9267 h 17675"/>
                <a:gd name="connsiteX6" fmla="*/ 35668 w 36004"/>
                <a:gd name="connsiteY6" fmla="*/ 7076 h 17675"/>
                <a:gd name="connsiteX7" fmla="*/ 35668 w 36004"/>
                <a:gd name="connsiteY7" fmla="*/ -163 h 17675"/>
                <a:gd name="connsiteX8" fmla="*/ 34144 w 36004"/>
                <a:gd name="connsiteY8" fmla="*/ 2123 h 17675"/>
                <a:gd name="connsiteX9" fmla="*/ 31763 w 36004"/>
                <a:gd name="connsiteY9" fmla="*/ 3457 h 17675"/>
                <a:gd name="connsiteX10" fmla="*/ 21476 w 36004"/>
                <a:gd name="connsiteY10" fmla="*/ 9362 h 17675"/>
                <a:gd name="connsiteX11" fmla="*/ 13856 w 36004"/>
                <a:gd name="connsiteY11" fmla="*/ 9362 h 17675"/>
                <a:gd name="connsiteX12" fmla="*/ 3569 w 36004"/>
                <a:gd name="connsiteY12" fmla="*/ 3457 h 17675"/>
                <a:gd name="connsiteX13" fmla="*/ 1187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98" y="8038"/>
                    <a:pt x="292" y="8896"/>
                    <a:pt x="1187" y="9267"/>
                  </a:cubicBezTo>
                  <a:lnTo>
                    <a:pt x="13856" y="16506"/>
                  </a:lnTo>
                  <a:cubicBezTo>
                    <a:pt x="16218" y="17849"/>
                    <a:pt x="19114" y="17849"/>
                    <a:pt x="21476" y="16506"/>
                  </a:cubicBezTo>
                  <a:lnTo>
                    <a:pt x="34144" y="9267"/>
                  </a:lnTo>
                  <a:cubicBezTo>
                    <a:pt x="35020" y="8877"/>
                    <a:pt x="35611" y="8038"/>
                    <a:pt x="35668" y="7076"/>
                  </a:cubicBezTo>
                  <a:lnTo>
                    <a:pt x="35668" y="-163"/>
                  </a:lnTo>
                  <a:cubicBezTo>
                    <a:pt x="35601" y="818"/>
                    <a:pt x="35020" y="1685"/>
                    <a:pt x="34144" y="2123"/>
                  </a:cubicBezTo>
                  <a:lnTo>
                    <a:pt x="31763" y="3457"/>
                  </a:lnTo>
                  <a:lnTo>
                    <a:pt x="21476" y="9362"/>
                  </a:lnTo>
                  <a:cubicBezTo>
                    <a:pt x="19114" y="10705"/>
                    <a:pt x="16218" y="10705"/>
                    <a:pt x="13856" y="9362"/>
                  </a:cubicBezTo>
                  <a:lnTo>
                    <a:pt x="3569" y="3457"/>
                  </a:lnTo>
                  <a:lnTo>
                    <a:pt x="1187"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09" name="îSľïḓé">
              <a:extLst>
                <a:ext uri="{FF2B5EF4-FFF2-40B4-BE49-F238E27FC236}">
                  <a16:creationId xmlns:a16="http://schemas.microsoft.com/office/drawing/2014/main" id="{CB080CA6-48D3-487E-B017-66E668AEB09A}"/>
                </a:ext>
              </a:extLst>
            </p:cNvPr>
            <p:cNvSpPr/>
            <p:nvPr/>
          </p:nvSpPr>
          <p:spPr>
            <a:xfrm>
              <a:off x="5621569" y="4862207"/>
              <a:ext cx="109740" cy="63289"/>
            </a:xfrm>
            <a:custGeom>
              <a:avLst/>
              <a:gdLst>
                <a:gd name="connsiteX0" fmla="*/ -336 w 36052"/>
                <a:gd name="connsiteY0" fmla="*/ 10177 h 20792"/>
                <a:gd name="connsiteX1" fmla="*/ 1283 w 36052"/>
                <a:gd name="connsiteY1" fmla="*/ 12463 h 20792"/>
                <a:gd name="connsiteX2" fmla="*/ 3569 w 36052"/>
                <a:gd name="connsiteY2" fmla="*/ 13796 h 20792"/>
                <a:gd name="connsiteX3" fmla="*/ 13856 w 36052"/>
                <a:gd name="connsiteY3" fmla="*/ 19702 h 20792"/>
                <a:gd name="connsiteX4" fmla="*/ 21571 w 36052"/>
                <a:gd name="connsiteY4" fmla="*/ 19702 h 20792"/>
                <a:gd name="connsiteX5" fmla="*/ 31858 w 36052"/>
                <a:gd name="connsiteY5" fmla="*/ 13796 h 20792"/>
                <a:gd name="connsiteX6" fmla="*/ 34144 w 36052"/>
                <a:gd name="connsiteY6" fmla="*/ 12463 h 20792"/>
                <a:gd name="connsiteX7" fmla="*/ 35573 w 36052"/>
                <a:gd name="connsiteY7" fmla="*/ 9415 h 20792"/>
                <a:gd name="connsiteX8" fmla="*/ 34144 w 36052"/>
                <a:gd name="connsiteY8" fmla="*/ 7986 h 20792"/>
                <a:gd name="connsiteX9" fmla="*/ 21571 w 36052"/>
                <a:gd name="connsiteY9" fmla="*/ 652 h 20792"/>
                <a:gd name="connsiteX10" fmla="*/ 13856 w 36052"/>
                <a:gd name="connsiteY10" fmla="*/ 652 h 20792"/>
                <a:gd name="connsiteX11" fmla="*/ 1283 w 36052"/>
                <a:gd name="connsiteY11" fmla="*/ 7986 h 20792"/>
                <a:gd name="connsiteX12" fmla="*/ -336 w 36052"/>
                <a:gd name="connsiteY12" fmla="*/ 10177 h 20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792">
                  <a:moveTo>
                    <a:pt x="-336" y="10177"/>
                  </a:moveTo>
                  <a:cubicBezTo>
                    <a:pt x="-231" y="11167"/>
                    <a:pt x="378" y="12034"/>
                    <a:pt x="1283" y="12463"/>
                  </a:cubicBezTo>
                  <a:lnTo>
                    <a:pt x="3569" y="13796"/>
                  </a:lnTo>
                  <a:lnTo>
                    <a:pt x="13856" y="19702"/>
                  </a:lnTo>
                  <a:cubicBezTo>
                    <a:pt x="16275" y="20940"/>
                    <a:pt x="19152" y="20940"/>
                    <a:pt x="21571" y="19702"/>
                  </a:cubicBezTo>
                  <a:lnTo>
                    <a:pt x="31858" y="13796"/>
                  </a:lnTo>
                  <a:lnTo>
                    <a:pt x="34144" y="12463"/>
                  </a:lnTo>
                  <a:cubicBezTo>
                    <a:pt x="35382" y="12015"/>
                    <a:pt x="36021" y="10643"/>
                    <a:pt x="35573" y="9415"/>
                  </a:cubicBezTo>
                  <a:cubicBezTo>
                    <a:pt x="35325" y="8748"/>
                    <a:pt x="34811" y="8224"/>
                    <a:pt x="34144" y="7986"/>
                  </a:cubicBezTo>
                  <a:lnTo>
                    <a:pt x="21571" y="652"/>
                  </a:lnTo>
                  <a:cubicBezTo>
                    <a:pt x="19114" y="-434"/>
                    <a:pt x="16314" y="-434"/>
                    <a:pt x="13856" y="652"/>
                  </a:cubicBezTo>
                  <a:lnTo>
                    <a:pt x="1283" y="7986"/>
                  </a:lnTo>
                  <a:cubicBezTo>
                    <a:pt x="407" y="8396"/>
                    <a:pt x="-203" y="9224"/>
                    <a:pt x="-336" y="10177"/>
                  </a:cubicBezTo>
                  <a:close/>
                </a:path>
              </a:pathLst>
            </a:custGeom>
            <a:solidFill>
              <a:srgbClr val="FFFFFF"/>
            </a:solidFill>
            <a:ln w="9525" cap="flat">
              <a:noFill/>
              <a:prstDash val="solid"/>
              <a:miter/>
            </a:ln>
          </p:spPr>
          <p:txBody>
            <a:bodyPr rtlCol="0" anchor="ctr"/>
            <a:lstStyle/>
            <a:p>
              <a:endParaRPr lang="zh-CN" altLang="en-US"/>
            </a:p>
          </p:txBody>
        </p:sp>
        <p:sp>
          <p:nvSpPr>
            <p:cNvPr id="610" name="îṡliḋe">
              <a:extLst>
                <a:ext uri="{FF2B5EF4-FFF2-40B4-BE49-F238E27FC236}">
                  <a16:creationId xmlns:a16="http://schemas.microsoft.com/office/drawing/2014/main" id="{9B4634F1-59C4-4D48-861E-BC65E604013D}"/>
                </a:ext>
              </a:extLst>
            </p:cNvPr>
            <p:cNvSpPr/>
            <p:nvPr/>
          </p:nvSpPr>
          <p:spPr>
            <a:xfrm>
              <a:off x="5623672" y="4863236"/>
              <a:ext cx="105679" cy="61104"/>
            </a:xfrm>
            <a:custGeom>
              <a:avLst/>
              <a:gdLst>
                <a:gd name="connsiteX0" fmla="*/ 1164 w 34718"/>
                <a:gd name="connsiteY0" fmla="*/ 12029 h 20074"/>
                <a:gd name="connsiteX1" fmla="*/ 13356 w 34718"/>
                <a:gd name="connsiteY1" fmla="*/ 18983 h 20074"/>
                <a:gd name="connsiteX2" fmla="*/ 20785 w 34718"/>
                <a:gd name="connsiteY2" fmla="*/ 18983 h 20074"/>
                <a:gd name="connsiteX3" fmla="*/ 32882 w 34718"/>
                <a:gd name="connsiteY3" fmla="*/ 12029 h 20074"/>
                <a:gd name="connsiteX4" fmla="*/ 32882 w 34718"/>
                <a:gd name="connsiteY4" fmla="*/ 7743 h 20074"/>
                <a:gd name="connsiteX5" fmla="*/ 20785 w 34718"/>
                <a:gd name="connsiteY5" fmla="*/ 695 h 20074"/>
                <a:gd name="connsiteX6" fmla="*/ 13356 w 34718"/>
                <a:gd name="connsiteY6" fmla="*/ 695 h 20074"/>
                <a:gd name="connsiteX7" fmla="*/ 1164 w 34718"/>
                <a:gd name="connsiteY7" fmla="*/ 7743 h 20074"/>
                <a:gd name="connsiteX8" fmla="*/ 1164 w 34718"/>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18" h="20074">
                  <a:moveTo>
                    <a:pt x="1164" y="12029"/>
                  </a:moveTo>
                  <a:lnTo>
                    <a:pt x="13356" y="18983"/>
                  </a:lnTo>
                  <a:cubicBezTo>
                    <a:pt x="15680" y="20221"/>
                    <a:pt x="18461" y="20221"/>
                    <a:pt x="20785" y="18983"/>
                  </a:cubicBezTo>
                  <a:lnTo>
                    <a:pt x="32882" y="12029"/>
                  </a:lnTo>
                  <a:cubicBezTo>
                    <a:pt x="34882" y="10791"/>
                    <a:pt x="34882" y="8886"/>
                    <a:pt x="32882" y="7743"/>
                  </a:cubicBezTo>
                  <a:lnTo>
                    <a:pt x="20785" y="695"/>
                  </a:lnTo>
                  <a:cubicBezTo>
                    <a:pt x="18442" y="-448"/>
                    <a:pt x="15699" y="-448"/>
                    <a:pt x="13356" y="695"/>
                  </a:cubicBezTo>
                  <a:lnTo>
                    <a:pt x="1164" y="7743"/>
                  </a:lnTo>
                  <a:cubicBezTo>
                    <a:pt x="-836" y="8886"/>
                    <a:pt x="-836" y="10791"/>
                    <a:pt x="1164" y="12029"/>
                  </a:cubicBezTo>
                  <a:close/>
                </a:path>
              </a:pathLst>
            </a:custGeom>
            <a:solidFill>
              <a:srgbClr val="D1D9E8"/>
            </a:solidFill>
            <a:ln w="9525" cap="flat">
              <a:noFill/>
              <a:prstDash val="solid"/>
              <a:miter/>
            </a:ln>
          </p:spPr>
          <p:txBody>
            <a:bodyPr rtlCol="0" anchor="ctr"/>
            <a:lstStyle/>
            <a:p>
              <a:endParaRPr lang="zh-CN" altLang="en-US"/>
            </a:p>
          </p:txBody>
        </p:sp>
        <p:sp>
          <p:nvSpPr>
            <p:cNvPr id="611" name="iṣlîdê">
              <a:extLst>
                <a:ext uri="{FF2B5EF4-FFF2-40B4-BE49-F238E27FC236}">
                  <a16:creationId xmlns:a16="http://schemas.microsoft.com/office/drawing/2014/main" id="{8430C535-2B5F-41B9-9C60-19F3D87ACE9F}"/>
                </a:ext>
              </a:extLst>
            </p:cNvPr>
            <p:cNvSpPr/>
            <p:nvPr/>
          </p:nvSpPr>
          <p:spPr>
            <a:xfrm>
              <a:off x="5621569" y="4893678"/>
              <a:ext cx="109883" cy="53804"/>
            </a:xfrm>
            <a:custGeom>
              <a:avLst/>
              <a:gdLst>
                <a:gd name="connsiteX0" fmla="*/ -336 w 36099"/>
                <a:gd name="connsiteY0" fmla="*/ -163 h 17676"/>
                <a:gd name="connsiteX1" fmla="*/ -336 w 36099"/>
                <a:gd name="connsiteY1" fmla="*/ 7076 h 17676"/>
                <a:gd name="connsiteX2" fmla="*/ 1283 w 36099"/>
                <a:gd name="connsiteY2" fmla="*/ 9267 h 17676"/>
                <a:gd name="connsiteX3" fmla="*/ 13856 w 36099"/>
                <a:gd name="connsiteY3" fmla="*/ 16506 h 17676"/>
                <a:gd name="connsiteX4" fmla="*/ 21571 w 36099"/>
                <a:gd name="connsiteY4" fmla="*/ 16506 h 17676"/>
                <a:gd name="connsiteX5" fmla="*/ 34144 w 36099"/>
                <a:gd name="connsiteY5" fmla="*/ 9267 h 17676"/>
                <a:gd name="connsiteX6" fmla="*/ 35764 w 36099"/>
                <a:gd name="connsiteY6" fmla="*/ 6981 h 17676"/>
                <a:gd name="connsiteX7" fmla="*/ 35764 w 36099"/>
                <a:gd name="connsiteY7" fmla="*/ -163 h 17676"/>
                <a:gd name="connsiteX8" fmla="*/ 34144 w 36099"/>
                <a:gd name="connsiteY8" fmla="*/ 2124 h 17676"/>
                <a:gd name="connsiteX9" fmla="*/ 31858 w 36099"/>
                <a:gd name="connsiteY9" fmla="*/ 3457 h 17676"/>
                <a:gd name="connsiteX10" fmla="*/ 21571 w 36099"/>
                <a:gd name="connsiteY10" fmla="*/ 9362 h 17676"/>
                <a:gd name="connsiteX11" fmla="*/ 13856 w 36099"/>
                <a:gd name="connsiteY11" fmla="*/ 9362 h 17676"/>
                <a:gd name="connsiteX12" fmla="*/ 3569 w 36099"/>
                <a:gd name="connsiteY12" fmla="*/ 3457 h 17676"/>
                <a:gd name="connsiteX13" fmla="*/ 1283 w 36099"/>
                <a:gd name="connsiteY13" fmla="*/ 2124 h 17676"/>
                <a:gd name="connsiteX14" fmla="*/ -336 w 36099"/>
                <a:gd name="connsiteY14" fmla="*/ -163 h 17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676">
                  <a:moveTo>
                    <a:pt x="-336" y="-163"/>
                  </a:moveTo>
                  <a:lnTo>
                    <a:pt x="-336" y="7076"/>
                  </a:lnTo>
                  <a:cubicBezTo>
                    <a:pt x="-222" y="8039"/>
                    <a:pt x="397" y="8877"/>
                    <a:pt x="1283" y="9267"/>
                  </a:cubicBezTo>
                  <a:lnTo>
                    <a:pt x="13856" y="16506"/>
                  </a:lnTo>
                  <a:cubicBezTo>
                    <a:pt x="16256" y="17849"/>
                    <a:pt x="19171" y="17849"/>
                    <a:pt x="21571" y="16506"/>
                  </a:cubicBezTo>
                  <a:lnTo>
                    <a:pt x="34144" y="9267"/>
                  </a:lnTo>
                  <a:cubicBezTo>
                    <a:pt x="35087" y="8896"/>
                    <a:pt x="35725" y="8001"/>
                    <a:pt x="35764" y="6981"/>
                  </a:cubicBezTo>
                  <a:lnTo>
                    <a:pt x="35764" y="-163"/>
                  </a:lnTo>
                  <a:cubicBezTo>
                    <a:pt x="35697" y="847"/>
                    <a:pt x="35068" y="1733"/>
                    <a:pt x="34144" y="2124"/>
                  </a:cubicBezTo>
                  <a:lnTo>
                    <a:pt x="31858" y="3457"/>
                  </a:lnTo>
                  <a:lnTo>
                    <a:pt x="21571" y="9362"/>
                  </a:lnTo>
                  <a:cubicBezTo>
                    <a:pt x="19152" y="10601"/>
                    <a:pt x="16275" y="10601"/>
                    <a:pt x="13856" y="9362"/>
                  </a:cubicBezTo>
                  <a:lnTo>
                    <a:pt x="3569" y="3457"/>
                  </a:lnTo>
                  <a:lnTo>
                    <a:pt x="1283" y="2124"/>
                  </a:lnTo>
                  <a:cubicBezTo>
                    <a:pt x="378" y="1695"/>
                    <a:pt x="-231"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12" name="ïṩľîḓè">
              <a:extLst>
                <a:ext uri="{FF2B5EF4-FFF2-40B4-BE49-F238E27FC236}">
                  <a16:creationId xmlns:a16="http://schemas.microsoft.com/office/drawing/2014/main" id="{5904289F-9349-4BC6-A53C-5CE1184EACD1}"/>
                </a:ext>
              </a:extLst>
            </p:cNvPr>
            <p:cNvSpPr/>
            <p:nvPr/>
          </p:nvSpPr>
          <p:spPr>
            <a:xfrm>
              <a:off x="5698982" y="4906703"/>
              <a:ext cx="109740" cy="63445"/>
            </a:xfrm>
            <a:custGeom>
              <a:avLst/>
              <a:gdLst>
                <a:gd name="connsiteX0" fmla="*/ -336 w 36052"/>
                <a:gd name="connsiteY0" fmla="*/ 10227 h 20843"/>
                <a:gd name="connsiteX1" fmla="*/ 1188 w 36052"/>
                <a:gd name="connsiteY1" fmla="*/ 12513 h 20843"/>
                <a:gd name="connsiteX2" fmla="*/ 3569 w 36052"/>
                <a:gd name="connsiteY2" fmla="*/ 13846 h 20843"/>
                <a:gd name="connsiteX3" fmla="*/ 13856 w 36052"/>
                <a:gd name="connsiteY3" fmla="*/ 19752 h 20843"/>
                <a:gd name="connsiteX4" fmla="*/ 21476 w 36052"/>
                <a:gd name="connsiteY4" fmla="*/ 19752 h 20843"/>
                <a:gd name="connsiteX5" fmla="*/ 31763 w 36052"/>
                <a:gd name="connsiteY5" fmla="*/ 13846 h 20843"/>
                <a:gd name="connsiteX6" fmla="*/ 34144 w 36052"/>
                <a:gd name="connsiteY6" fmla="*/ 12513 h 20843"/>
                <a:gd name="connsiteX7" fmla="*/ 35573 w 36052"/>
                <a:gd name="connsiteY7" fmla="*/ 9465 h 20843"/>
                <a:gd name="connsiteX8" fmla="*/ 34144 w 36052"/>
                <a:gd name="connsiteY8" fmla="*/ 8036 h 20843"/>
                <a:gd name="connsiteX9" fmla="*/ 21476 w 36052"/>
                <a:gd name="connsiteY9" fmla="*/ 702 h 20843"/>
                <a:gd name="connsiteX10" fmla="*/ 13856 w 36052"/>
                <a:gd name="connsiteY10" fmla="*/ 702 h 20843"/>
                <a:gd name="connsiteX11" fmla="*/ 1188 w 36052"/>
                <a:gd name="connsiteY11" fmla="*/ 8036 h 20843"/>
                <a:gd name="connsiteX12" fmla="*/ -336 w 36052"/>
                <a:gd name="connsiteY12" fmla="*/ 10227 h 20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3">
                  <a:moveTo>
                    <a:pt x="-336" y="10227"/>
                  </a:moveTo>
                  <a:cubicBezTo>
                    <a:pt x="-270" y="11208"/>
                    <a:pt x="311" y="12075"/>
                    <a:pt x="1188" y="12513"/>
                  </a:cubicBezTo>
                  <a:lnTo>
                    <a:pt x="3569" y="13846"/>
                  </a:lnTo>
                  <a:lnTo>
                    <a:pt x="13856" y="19752"/>
                  </a:lnTo>
                  <a:cubicBezTo>
                    <a:pt x="16247" y="20990"/>
                    <a:pt x="19085" y="20990"/>
                    <a:pt x="21476" y="19752"/>
                  </a:cubicBezTo>
                  <a:lnTo>
                    <a:pt x="31763" y="13846"/>
                  </a:lnTo>
                  <a:lnTo>
                    <a:pt x="34144" y="12513"/>
                  </a:lnTo>
                  <a:cubicBezTo>
                    <a:pt x="35382" y="12065"/>
                    <a:pt x="36020" y="10694"/>
                    <a:pt x="35573" y="9465"/>
                  </a:cubicBezTo>
                  <a:cubicBezTo>
                    <a:pt x="35325" y="8798"/>
                    <a:pt x="34811" y="8274"/>
                    <a:pt x="34144"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613" name="ïşļîḍe">
              <a:extLst>
                <a:ext uri="{FF2B5EF4-FFF2-40B4-BE49-F238E27FC236}">
                  <a16:creationId xmlns:a16="http://schemas.microsoft.com/office/drawing/2014/main" id="{19EBC936-FBE5-494E-B7FE-55F953952D56}"/>
                </a:ext>
              </a:extLst>
            </p:cNvPr>
            <p:cNvSpPr/>
            <p:nvPr/>
          </p:nvSpPr>
          <p:spPr>
            <a:xfrm>
              <a:off x="5701012" y="4907887"/>
              <a:ext cx="106260" cy="61101"/>
            </a:xfrm>
            <a:custGeom>
              <a:avLst/>
              <a:gdLst>
                <a:gd name="connsiteX0" fmla="*/ 1378 w 34909"/>
                <a:gd name="connsiteY0" fmla="*/ 12029 h 20073"/>
                <a:gd name="connsiteX1" fmla="*/ 13475 w 34909"/>
                <a:gd name="connsiteY1" fmla="*/ 18982 h 20073"/>
                <a:gd name="connsiteX2" fmla="*/ 20904 w 34909"/>
                <a:gd name="connsiteY2" fmla="*/ 18982 h 20073"/>
                <a:gd name="connsiteX3" fmla="*/ 33001 w 34909"/>
                <a:gd name="connsiteY3" fmla="*/ 12029 h 20073"/>
                <a:gd name="connsiteX4" fmla="*/ 33001 w 34909"/>
                <a:gd name="connsiteY4" fmla="*/ 7743 h 20073"/>
                <a:gd name="connsiteX5" fmla="*/ 20904 w 34909"/>
                <a:gd name="connsiteY5" fmla="*/ 695 h 20073"/>
                <a:gd name="connsiteX6" fmla="*/ 13475 w 34909"/>
                <a:gd name="connsiteY6" fmla="*/ 695 h 20073"/>
                <a:gd name="connsiteX7" fmla="*/ 1378 w 34909"/>
                <a:gd name="connsiteY7" fmla="*/ 7743 h 20073"/>
                <a:gd name="connsiteX8" fmla="*/ 1378 w 34909"/>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909" h="20073">
                  <a:moveTo>
                    <a:pt x="1378" y="12029"/>
                  </a:moveTo>
                  <a:lnTo>
                    <a:pt x="13475" y="18982"/>
                  </a:lnTo>
                  <a:cubicBezTo>
                    <a:pt x="15799" y="20221"/>
                    <a:pt x="18580" y="20221"/>
                    <a:pt x="20904" y="18982"/>
                  </a:cubicBezTo>
                  <a:lnTo>
                    <a:pt x="33001" y="12029"/>
                  </a:lnTo>
                  <a:cubicBezTo>
                    <a:pt x="35097" y="10791"/>
                    <a:pt x="35097" y="8886"/>
                    <a:pt x="33001" y="7743"/>
                  </a:cubicBezTo>
                  <a:lnTo>
                    <a:pt x="20904" y="695"/>
                  </a:lnTo>
                  <a:cubicBezTo>
                    <a:pt x="18561" y="-448"/>
                    <a:pt x="15818" y="-448"/>
                    <a:pt x="13475" y="695"/>
                  </a:cubicBezTo>
                  <a:lnTo>
                    <a:pt x="1378" y="7743"/>
                  </a:lnTo>
                  <a:cubicBezTo>
                    <a:pt x="-908" y="8886"/>
                    <a:pt x="-908" y="10791"/>
                    <a:pt x="1378" y="12029"/>
                  </a:cubicBezTo>
                  <a:close/>
                </a:path>
              </a:pathLst>
            </a:custGeom>
            <a:solidFill>
              <a:srgbClr val="D1D9E8"/>
            </a:solidFill>
            <a:ln w="9525" cap="flat">
              <a:noFill/>
              <a:prstDash val="solid"/>
              <a:miter/>
            </a:ln>
          </p:spPr>
          <p:txBody>
            <a:bodyPr rtlCol="0" anchor="ctr"/>
            <a:lstStyle/>
            <a:p>
              <a:endParaRPr lang="zh-CN" altLang="en-US"/>
            </a:p>
          </p:txBody>
        </p:sp>
        <p:sp>
          <p:nvSpPr>
            <p:cNvPr id="614" name="isļîḋé">
              <a:extLst>
                <a:ext uri="{FF2B5EF4-FFF2-40B4-BE49-F238E27FC236}">
                  <a16:creationId xmlns:a16="http://schemas.microsoft.com/office/drawing/2014/main" id="{0E3F959E-C2A4-42E6-9D9E-34B06BE75793}"/>
                </a:ext>
              </a:extLst>
            </p:cNvPr>
            <p:cNvSpPr/>
            <p:nvPr/>
          </p:nvSpPr>
          <p:spPr>
            <a:xfrm>
              <a:off x="5698982" y="4938329"/>
              <a:ext cx="109594" cy="53801"/>
            </a:xfrm>
            <a:custGeom>
              <a:avLst/>
              <a:gdLst>
                <a:gd name="connsiteX0" fmla="*/ -336 w 36004"/>
                <a:gd name="connsiteY0" fmla="*/ -163 h 17675"/>
                <a:gd name="connsiteX1" fmla="*/ -336 w 36004"/>
                <a:gd name="connsiteY1" fmla="*/ 7076 h 17675"/>
                <a:gd name="connsiteX2" fmla="*/ 1188 w 36004"/>
                <a:gd name="connsiteY2" fmla="*/ 9267 h 17675"/>
                <a:gd name="connsiteX3" fmla="*/ 13856 w 36004"/>
                <a:gd name="connsiteY3" fmla="*/ 16506 h 17675"/>
                <a:gd name="connsiteX4" fmla="*/ 21476 w 36004"/>
                <a:gd name="connsiteY4" fmla="*/ 16506 h 17675"/>
                <a:gd name="connsiteX5" fmla="*/ 34144 w 36004"/>
                <a:gd name="connsiteY5" fmla="*/ 9267 h 17675"/>
                <a:gd name="connsiteX6" fmla="*/ 35668 w 36004"/>
                <a:gd name="connsiteY6" fmla="*/ 6981 h 17675"/>
                <a:gd name="connsiteX7" fmla="*/ 35668 w 36004"/>
                <a:gd name="connsiteY7" fmla="*/ -163 h 17675"/>
                <a:gd name="connsiteX8" fmla="*/ 34144 w 36004"/>
                <a:gd name="connsiteY8" fmla="*/ 2123 h 17675"/>
                <a:gd name="connsiteX9" fmla="*/ 31763 w 36004"/>
                <a:gd name="connsiteY9" fmla="*/ 3457 h 17675"/>
                <a:gd name="connsiteX10" fmla="*/ 21476 w 36004"/>
                <a:gd name="connsiteY10" fmla="*/ 9362 h 17675"/>
                <a:gd name="connsiteX11" fmla="*/ 13856 w 36004"/>
                <a:gd name="connsiteY11" fmla="*/ 9362 h 17675"/>
                <a:gd name="connsiteX12" fmla="*/ 3569 w 36004"/>
                <a:gd name="connsiteY12" fmla="*/ 3457 h 17675"/>
                <a:gd name="connsiteX13" fmla="*/ 1188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41" y="8019"/>
                    <a:pt x="340" y="8848"/>
                    <a:pt x="1188" y="9267"/>
                  </a:cubicBezTo>
                  <a:lnTo>
                    <a:pt x="13856" y="16506"/>
                  </a:lnTo>
                  <a:cubicBezTo>
                    <a:pt x="16218" y="17849"/>
                    <a:pt x="19114" y="17849"/>
                    <a:pt x="21476" y="16506"/>
                  </a:cubicBezTo>
                  <a:lnTo>
                    <a:pt x="34144" y="9267"/>
                  </a:lnTo>
                  <a:cubicBezTo>
                    <a:pt x="35021" y="8829"/>
                    <a:pt x="35602" y="7962"/>
                    <a:pt x="35668" y="6981"/>
                  </a:cubicBezTo>
                  <a:lnTo>
                    <a:pt x="35668" y="-163"/>
                  </a:lnTo>
                  <a:cubicBezTo>
                    <a:pt x="35602" y="818"/>
                    <a:pt x="35021" y="1685"/>
                    <a:pt x="34144" y="2123"/>
                  </a:cubicBezTo>
                  <a:lnTo>
                    <a:pt x="31763" y="3457"/>
                  </a:lnTo>
                  <a:lnTo>
                    <a:pt x="21476" y="9362"/>
                  </a:lnTo>
                  <a:cubicBezTo>
                    <a:pt x="19085" y="10601"/>
                    <a:pt x="16247" y="10601"/>
                    <a:pt x="13856" y="9362"/>
                  </a:cubicBezTo>
                  <a:lnTo>
                    <a:pt x="3569" y="3457"/>
                  </a:lnTo>
                  <a:lnTo>
                    <a:pt x="1188"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15" name="íṥ1îďe">
              <a:extLst>
                <a:ext uri="{FF2B5EF4-FFF2-40B4-BE49-F238E27FC236}">
                  <a16:creationId xmlns:a16="http://schemas.microsoft.com/office/drawing/2014/main" id="{60F2A2A9-0765-4B50-B849-578BC7A19F05}"/>
                </a:ext>
              </a:extLst>
            </p:cNvPr>
            <p:cNvSpPr/>
            <p:nvPr/>
          </p:nvSpPr>
          <p:spPr>
            <a:xfrm>
              <a:off x="5776395" y="4951354"/>
              <a:ext cx="109447" cy="63445"/>
            </a:xfrm>
            <a:custGeom>
              <a:avLst/>
              <a:gdLst>
                <a:gd name="connsiteX0" fmla="*/ -336 w 35956"/>
                <a:gd name="connsiteY0" fmla="*/ 10227 h 20843"/>
                <a:gd name="connsiteX1" fmla="*/ 1187 w 35956"/>
                <a:gd name="connsiteY1" fmla="*/ 12513 h 20843"/>
                <a:gd name="connsiteX2" fmla="*/ 3569 w 35956"/>
                <a:gd name="connsiteY2" fmla="*/ 13846 h 20843"/>
                <a:gd name="connsiteX3" fmla="*/ 13856 w 35956"/>
                <a:gd name="connsiteY3" fmla="*/ 19752 h 20843"/>
                <a:gd name="connsiteX4" fmla="*/ 21476 w 35956"/>
                <a:gd name="connsiteY4" fmla="*/ 19752 h 20843"/>
                <a:gd name="connsiteX5" fmla="*/ 31763 w 35956"/>
                <a:gd name="connsiteY5" fmla="*/ 13846 h 20843"/>
                <a:gd name="connsiteX6" fmla="*/ 34049 w 35956"/>
                <a:gd name="connsiteY6" fmla="*/ 12513 h 20843"/>
                <a:gd name="connsiteX7" fmla="*/ 35477 w 35956"/>
                <a:gd name="connsiteY7" fmla="*/ 9465 h 20843"/>
                <a:gd name="connsiteX8" fmla="*/ 34049 w 35956"/>
                <a:gd name="connsiteY8" fmla="*/ 8036 h 20843"/>
                <a:gd name="connsiteX9" fmla="*/ 21476 w 35956"/>
                <a:gd name="connsiteY9" fmla="*/ 702 h 20843"/>
                <a:gd name="connsiteX10" fmla="*/ 13856 w 35956"/>
                <a:gd name="connsiteY10" fmla="*/ 702 h 20843"/>
                <a:gd name="connsiteX11" fmla="*/ 1187 w 35956"/>
                <a:gd name="connsiteY11" fmla="*/ 8036 h 20843"/>
                <a:gd name="connsiteX12" fmla="*/ -336 w 35956"/>
                <a:gd name="connsiteY12" fmla="*/ 10227 h 20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956" h="20843">
                  <a:moveTo>
                    <a:pt x="-336" y="10227"/>
                  </a:moveTo>
                  <a:cubicBezTo>
                    <a:pt x="-270" y="11208"/>
                    <a:pt x="311" y="12075"/>
                    <a:pt x="1187" y="12513"/>
                  </a:cubicBezTo>
                  <a:lnTo>
                    <a:pt x="3569" y="13846"/>
                  </a:lnTo>
                  <a:lnTo>
                    <a:pt x="13856" y="19752"/>
                  </a:lnTo>
                  <a:cubicBezTo>
                    <a:pt x="16247" y="20990"/>
                    <a:pt x="19085" y="20990"/>
                    <a:pt x="21476" y="19752"/>
                  </a:cubicBezTo>
                  <a:lnTo>
                    <a:pt x="31763" y="13846"/>
                  </a:lnTo>
                  <a:lnTo>
                    <a:pt x="34049" y="12513"/>
                  </a:lnTo>
                  <a:cubicBezTo>
                    <a:pt x="35287" y="12065"/>
                    <a:pt x="35925" y="10693"/>
                    <a:pt x="35477" y="9465"/>
                  </a:cubicBezTo>
                  <a:cubicBezTo>
                    <a:pt x="35230" y="8798"/>
                    <a:pt x="34716" y="8274"/>
                    <a:pt x="34049" y="8036"/>
                  </a:cubicBezTo>
                  <a:lnTo>
                    <a:pt x="21476" y="702"/>
                  </a:lnTo>
                  <a:cubicBezTo>
                    <a:pt x="19066" y="-451"/>
                    <a:pt x="16266" y="-451"/>
                    <a:pt x="13856" y="702"/>
                  </a:cubicBezTo>
                  <a:lnTo>
                    <a:pt x="1187"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616" name="î$ļiḑè">
              <a:extLst>
                <a:ext uri="{FF2B5EF4-FFF2-40B4-BE49-F238E27FC236}">
                  <a16:creationId xmlns:a16="http://schemas.microsoft.com/office/drawing/2014/main" id="{88D6D309-2A1D-4D45-BE40-8E4949588D4A}"/>
                </a:ext>
              </a:extLst>
            </p:cNvPr>
            <p:cNvSpPr/>
            <p:nvPr/>
          </p:nvSpPr>
          <p:spPr>
            <a:xfrm>
              <a:off x="5778206" y="4952535"/>
              <a:ext cx="105898" cy="61101"/>
            </a:xfrm>
            <a:custGeom>
              <a:avLst/>
              <a:gdLst>
                <a:gd name="connsiteX0" fmla="*/ 1164 w 34790"/>
                <a:gd name="connsiteY0" fmla="*/ 12029 h 20073"/>
                <a:gd name="connsiteX1" fmla="*/ 13356 w 34790"/>
                <a:gd name="connsiteY1" fmla="*/ 18983 h 20073"/>
                <a:gd name="connsiteX2" fmla="*/ 20785 w 34790"/>
                <a:gd name="connsiteY2" fmla="*/ 18983 h 20073"/>
                <a:gd name="connsiteX3" fmla="*/ 32882 w 34790"/>
                <a:gd name="connsiteY3" fmla="*/ 12029 h 20073"/>
                <a:gd name="connsiteX4" fmla="*/ 32882 w 34790"/>
                <a:gd name="connsiteY4" fmla="*/ 7743 h 20073"/>
                <a:gd name="connsiteX5" fmla="*/ 20785 w 34790"/>
                <a:gd name="connsiteY5" fmla="*/ 695 h 20073"/>
                <a:gd name="connsiteX6" fmla="*/ 13356 w 34790"/>
                <a:gd name="connsiteY6" fmla="*/ 695 h 20073"/>
                <a:gd name="connsiteX7" fmla="*/ 1164 w 34790"/>
                <a:gd name="connsiteY7" fmla="*/ 7743 h 20073"/>
                <a:gd name="connsiteX8" fmla="*/ 1164 w 34790"/>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3">
                  <a:moveTo>
                    <a:pt x="1164" y="12029"/>
                  </a:moveTo>
                  <a:lnTo>
                    <a:pt x="13356" y="18983"/>
                  </a:lnTo>
                  <a:cubicBezTo>
                    <a:pt x="15680" y="20221"/>
                    <a:pt x="18461" y="20221"/>
                    <a:pt x="20785" y="18983"/>
                  </a:cubicBezTo>
                  <a:lnTo>
                    <a:pt x="32882" y="12029"/>
                  </a:lnTo>
                  <a:cubicBezTo>
                    <a:pt x="34978" y="10791"/>
                    <a:pt x="34978" y="8886"/>
                    <a:pt x="32882" y="7743"/>
                  </a:cubicBezTo>
                  <a:lnTo>
                    <a:pt x="20785" y="695"/>
                  </a:lnTo>
                  <a:cubicBezTo>
                    <a:pt x="18442" y="-448"/>
                    <a:pt x="15699" y="-448"/>
                    <a:pt x="13356" y="695"/>
                  </a:cubicBezTo>
                  <a:lnTo>
                    <a:pt x="1164" y="7743"/>
                  </a:lnTo>
                  <a:cubicBezTo>
                    <a:pt x="-836" y="8886"/>
                    <a:pt x="-836" y="10791"/>
                    <a:pt x="1164" y="12029"/>
                  </a:cubicBezTo>
                  <a:close/>
                </a:path>
              </a:pathLst>
            </a:custGeom>
            <a:solidFill>
              <a:srgbClr val="D1D9E8"/>
            </a:solidFill>
            <a:ln w="9525" cap="flat">
              <a:noFill/>
              <a:prstDash val="solid"/>
              <a:miter/>
            </a:ln>
          </p:spPr>
          <p:txBody>
            <a:bodyPr rtlCol="0" anchor="ctr"/>
            <a:lstStyle/>
            <a:p>
              <a:endParaRPr lang="zh-CN" altLang="en-US"/>
            </a:p>
          </p:txBody>
        </p:sp>
        <p:sp>
          <p:nvSpPr>
            <p:cNvPr id="617" name="íṡľîďe">
              <a:extLst>
                <a:ext uri="{FF2B5EF4-FFF2-40B4-BE49-F238E27FC236}">
                  <a16:creationId xmlns:a16="http://schemas.microsoft.com/office/drawing/2014/main" id="{4683B326-926F-4565-96B7-87D320D4241E}"/>
                </a:ext>
              </a:extLst>
            </p:cNvPr>
            <p:cNvSpPr/>
            <p:nvPr/>
          </p:nvSpPr>
          <p:spPr>
            <a:xfrm>
              <a:off x="5776395" y="4982978"/>
              <a:ext cx="109594" cy="53564"/>
            </a:xfrm>
            <a:custGeom>
              <a:avLst/>
              <a:gdLst>
                <a:gd name="connsiteX0" fmla="*/ -336 w 36004"/>
                <a:gd name="connsiteY0" fmla="*/ -163 h 17597"/>
                <a:gd name="connsiteX1" fmla="*/ -336 w 36004"/>
                <a:gd name="connsiteY1" fmla="*/ 7076 h 17597"/>
                <a:gd name="connsiteX2" fmla="*/ 1187 w 36004"/>
                <a:gd name="connsiteY2" fmla="*/ 9267 h 17597"/>
                <a:gd name="connsiteX3" fmla="*/ 13856 w 36004"/>
                <a:gd name="connsiteY3" fmla="*/ 16506 h 17597"/>
                <a:gd name="connsiteX4" fmla="*/ 21476 w 36004"/>
                <a:gd name="connsiteY4" fmla="*/ 16506 h 17597"/>
                <a:gd name="connsiteX5" fmla="*/ 34049 w 36004"/>
                <a:gd name="connsiteY5" fmla="*/ 9267 h 17597"/>
                <a:gd name="connsiteX6" fmla="*/ 35668 w 36004"/>
                <a:gd name="connsiteY6" fmla="*/ 6981 h 17597"/>
                <a:gd name="connsiteX7" fmla="*/ 35668 w 36004"/>
                <a:gd name="connsiteY7" fmla="*/ -163 h 17597"/>
                <a:gd name="connsiteX8" fmla="*/ 34049 w 36004"/>
                <a:gd name="connsiteY8" fmla="*/ 2123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7 w 36004"/>
                <a:gd name="connsiteY13" fmla="*/ 2123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7" y="9267"/>
                  </a:cubicBezTo>
                  <a:lnTo>
                    <a:pt x="13856" y="16506"/>
                  </a:lnTo>
                  <a:cubicBezTo>
                    <a:pt x="16247" y="17744"/>
                    <a:pt x="19085" y="17744"/>
                    <a:pt x="21476" y="16506"/>
                  </a:cubicBezTo>
                  <a:lnTo>
                    <a:pt x="34049" y="9267"/>
                  </a:lnTo>
                  <a:cubicBezTo>
                    <a:pt x="34963" y="8857"/>
                    <a:pt x="35582" y="7981"/>
                    <a:pt x="35668" y="6981"/>
                  </a:cubicBezTo>
                  <a:lnTo>
                    <a:pt x="35668" y="-163"/>
                  </a:lnTo>
                  <a:cubicBezTo>
                    <a:pt x="35601" y="847"/>
                    <a:pt x="34982" y="1733"/>
                    <a:pt x="34049" y="2123"/>
                  </a:cubicBezTo>
                  <a:lnTo>
                    <a:pt x="31763" y="3457"/>
                  </a:lnTo>
                  <a:lnTo>
                    <a:pt x="21476" y="9362"/>
                  </a:lnTo>
                  <a:cubicBezTo>
                    <a:pt x="19085" y="10601"/>
                    <a:pt x="16247" y="10601"/>
                    <a:pt x="13856" y="9362"/>
                  </a:cubicBezTo>
                  <a:lnTo>
                    <a:pt x="3569" y="3457"/>
                  </a:lnTo>
                  <a:lnTo>
                    <a:pt x="1187"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18" name="îşlïďê">
              <a:extLst>
                <a:ext uri="{FF2B5EF4-FFF2-40B4-BE49-F238E27FC236}">
                  <a16:creationId xmlns:a16="http://schemas.microsoft.com/office/drawing/2014/main" id="{BE9778D8-5F71-4834-8199-B96716F673B5}"/>
                </a:ext>
              </a:extLst>
            </p:cNvPr>
            <p:cNvSpPr/>
            <p:nvPr/>
          </p:nvSpPr>
          <p:spPr>
            <a:xfrm>
              <a:off x="5853516" y="4996003"/>
              <a:ext cx="109740" cy="63442"/>
            </a:xfrm>
            <a:custGeom>
              <a:avLst/>
              <a:gdLst>
                <a:gd name="connsiteX0" fmla="*/ -336 w 36052"/>
                <a:gd name="connsiteY0" fmla="*/ 10227 h 20842"/>
                <a:gd name="connsiteX1" fmla="*/ 1283 w 36052"/>
                <a:gd name="connsiteY1" fmla="*/ 12513 h 20842"/>
                <a:gd name="connsiteX2" fmla="*/ 3569 w 36052"/>
                <a:gd name="connsiteY2" fmla="*/ 13846 h 20842"/>
                <a:gd name="connsiteX3" fmla="*/ 13856 w 36052"/>
                <a:gd name="connsiteY3" fmla="*/ 19752 h 20842"/>
                <a:gd name="connsiteX4" fmla="*/ 21476 w 36052"/>
                <a:gd name="connsiteY4" fmla="*/ 19752 h 20842"/>
                <a:gd name="connsiteX5" fmla="*/ 31763 w 36052"/>
                <a:gd name="connsiteY5" fmla="*/ 13846 h 20842"/>
                <a:gd name="connsiteX6" fmla="*/ 34144 w 36052"/>
                <a:gd name="connsiteY6" fmla="*/ 12513 h 20842"/>
                <a:gd name="connsiteX7" fmla="*/ 35573 w 36052"/>
                <a:gd name="connsiteY7" fmla="*/ 9465 h 20842"/>
                <a:gd name="connsiteX8" fmla="*/ 34144 w 36052"/>
                <a:gd name="connsiteY8" fmla="*/ 8036 h 20842"/>
                <a:gd name="connsiteX9" fmla="*/ 21476 w 36052"/>
                <a:gd name="connsiteY9" fmla="*/ 702 h 20842"/>
                <a:gd name="connsiteX10" fmla="*/ 13856 w 36052"/>
                <a:gd name="connsiteY10" fmla="*/ 702 h 20842"/>
                <a:gd name="connsiteX11" fmla="*/ 1283 w 36052"/>
                <a:gd name="connsiteY11" fmla="*/ 8036 h 20842"/>
                <a:gd name="connsiteX12" fmla="*/ -336 w 36052"/>
                <a:gd name="connsiteY12" fmla="*/ 10227 h 20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2">
                  <a:moveTo>
                    <a:pt x="-336" y="10227"/>
                  </a:moveTo>
                  <a:cubicBezTo>
                    <a:pt x="-269" y="11236"/>
                    <a:pt x="350" y="12122"/>
                    <a:pt x="1283" y="12513"/>
                  </a:cubicBezTo>
                  <a:lnTo>
                    <a:pt x="3569" y="13846"/>
                  </a:lnTo>
                  <a:lnTo>
                    <a:pt x="13856" y="19752"/>
                  </a:lnTo>
                  <a:cubicBezTo>
                    <a:pt x="16247" y="20990"/>
                    <a:pt x="19085" y="20990"/>
                    <a:pt x="21476" y="19752"/>
                  </a:cubicBezTo>
                  <a:lnTo>
                    <a:pt x="31763" y="13846"/>
                  </a:lnTo>
                  <a:lnTo>
                    <a:pt x="34144" y="12513"/>
                  </a:lnTo>
                  <a:cubicBezTo>
                    <a:pt x="35382" y="12065"/>
                    <a:pt x="36021" y="10693"/>
                    <a:pt x="35573" y="9465"/>
                  </a:cubicBezTo>
                  <a:cubicBezTo>
                    <a:pt x="35325" y="8798"/>
                    <a:pt x="34811" y="8274"/>
                    <a:pt x="34144" y="8036"/>
                  </a:cubicBezTo>
                  <a:lnTo>
                    <a:pt x="21476" y="702"/>
                  </a:lnTo>
                  <a:cubicBezTo>
                    <a:pt x="19066" y="-451"/>
                    <a:pt x="16266" y="-451"/>
                    <a:pt x="13856" y="702"/>
                  </a:cubicBezTo>
                  <a:lnTo>
                    <a:pt x="1283" y="8036"/>
                  </a:lnTo>
                  <a:cubicBezTo>
                    <a:pt x="378" y="8417"/>
                    <a:pt x="-241" y="9255"/>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619" name="ïSḻiďe">
              <a:extLst>
                <a:ext uri="{FF2B5EF4-FFF2-40B4-BE49-F238E27FC236}">
                  <a16:creationId xmlns:a16="http://schemas.microsoft.com/office/drawing/2014/main" id="{7E62B54D-12EE-44FB-9EE6-EE308A611986}"/>
                </a:ext>
              </a:extLst>
            </p:cNvPr>
            <p:cNvSpPr/>
            <p:nvPr/>
          </p:nvSpPr>
          <p:spPr>
            <a:xfrm>
              <a:off x="5855400" y="4997184"/>
              <a:ext cx="105898" cy="61104"/>
            </a:xfrm>
            <a:custGeom>
              <a:avLst/>
              <a:gdLst>
                <a:gd name="connsiteX0" fmla="*/ 1235 w 34790"/>
                <a:gd name="connsiteY0" fmla="*/ 12029 h 20074"/>
                <a:gd name="connsiteX1" fmla="*/ 13332 w 34790"/>
                <a:gd name="connsiteY1" fmla="*/ 18983 h 20074"/>
                <a:gd name="connsiteX2" fmla="*/ 20761 w 34790"/>
                <a:gd name="connsiteY2" fmla="*/ 18983 h 20074"/>
                <a:gd name="connsiteX3" fmla="*/ 32954 w 34790"/>
                <a:gd name="connsiteY3" fmla="*/ 12029 h 20074"/>
                <a:gd name="connsiteX4" fmla="*/ 32954 w 34790"/>
                <a:gd name="connsiteY4" fmla="*/ 7743 h 20074"/>
                <a:gd name="connsiteX5" fmla="*/ 20761 w 34790"/>
                <a:gd name="connsiteY5" fmla="*/ 695 h 20074"/>
                <a:gd name="connsiteX6" fmla="*/ 13332 w 34790"/>
                <a:gd name="connsiteY6" fmla="*/ 695 h 20074"/>
                <a:gd name="connsiteX7" fmla="*/ 1235 w 34790"/>
                <a:gd name="connsiteY7" fmla="*/ 7743 h 20074"/>
                <a:gd name="connsiteX8" fmla="*/ 1235 w 34790"/>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4">
                  <a:moveTo>
                    <a:pt x="1235" y="12029"/>
                  </a:moveTo>
                  <a:lnTo>
                    <a:pt x="13332" y="18983"/>
                  </a:lnTo>
                  <a:cubicBezTo>
                    <a:pt x="15656" y="20221"/>
                    <a:pt x="18437" y="20221"/>
                    <a:pt x="20761" y="18983"/>
                  </a:cubicBezTo>
                  <a:lnTo>
                    <a:pt x="32954" y="12029"/>
                  </a:lnTo>
                  <a:cubicBezTo>
                    <a:pt x="34954" y="10791"/>
                    <a:pt x="34954" y="8886"/>
                    <a:pt x="32954" y="7743"/>
                  </a:cubicBezTo>
                  <a:lnTo>
                    <a:pt x="20761" y="695"/>
                  </a:lnTo>
                  <a:cubicBezTo>
                    <a:pt x="18419" y="-448"/>
                    <a:pt x="15675" y="-448"/>
                    <a:pt x="13332" y="695"/>
                  </a:cubicBezTo>
                  <a:lnTo>
                    <a:pt x="1235" y="7743"/>
                  </a:lnTo>
                  <a:cubicBezTo>
                    <a:pt x="-860" y="8886"/>
                    <a:pt x="-860" y="10601"/>
                    <a:pt x="1235" y="12029"/>
                  </a:cubicBezTo>
                  <a:close/>
                </a:path>
              </a:pathLst>
            </a:custGeom>
            <a:solidFill>
              <a:srgbClr val="D1D9E8"/>
            </a:solidFill>
            <a:ln w="9525" cap="flat">
              <a:noFill/>
              <a:prstDash val="solid"/>
              <a:miter/>
            </a:ln>
          </p:spPr>
          <p:txBody>
            <a:bodyPr rtlCol="0" anchor="ctr"/>
            <a:lstStyle/>
            <a:p>
              <a:endParaRPr lang="zh-CN" altLang="en-US"/>
            </a:p>
          </p:txBody>
        </p:sp>
        <p:sp>
          <p:nvSpPr>
            <p:cNvPr id="620" name="îṩľïḋè">
              <a:extLst>
                <a:ext uri="{FF2B5EF4-FFF2-40B4-BE49-F238E27FC236}">
                  <a16:creationId xmlns:a16="http://schemas.microsoft.com/office/drawing/2014/main" id="{33E5153B-1132-4428-92AF-849E36B8523C}"/>
                </a:ext>
              </a:extLst>
            </p:cNvPr>
            <p:cNvSpPr/>
            <p:nvPr/>
          </p:nvSpPr>
          <p:spPr>
            <a:xfrm>
              <a:off x="5853516" y="5027629"/>
              <a:ext cx="109594" cy="53564"/>
            </a:xfrm>
            <a:custGeom>
              <a:avLst/>
              <a:gdLst>
                <a:gd name="connsiteX0" fmla="*/ -336 w 36004"/>
                <a:gd name="connsiteY0" fmla="*/ -163 h 17597"/>
                <a:gd name="connsiteX1" fmla="*/ -336 w 36004"/>
                <a:gd name="connsiteY1" fmla="*/ 7076 h 17597"/>
                <a:gd name="connsiteX2" fmla="*/ 1283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3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283 w 36004"/>
                <a:gd name="connsiteY13" fmla="*/ 2123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48"/>
                    <a:pt x="378" y="8886"/>
                    <a:pt x="1283" y="9267"/>
                  </a:cubicBezTo>
                  <a:lnTo>
                    <a:pt x="13856" y="16506"/>
                  </a:lnTo>
                  <a:cubicBezTo>
                    <a:pt x="16247" y="17744"/>
                    <a:pt x="19085" y="17744"/>
                    <a:pt x="21476" y="16506"/>
                  </a:cubicBezTo>
                  <a:lnTo>
                    <a:pt x="34144" y="9267"/>
                  </a:lnTo>
                  <a:cubicBezTo>
                    <a:pt x="35011" y="8819"/>
                    <a:pt x="35583" y="7953"/>
                    <a:pt x="35668" y="6981"/>
                  </a:cubicBezTo>
                  <a:lnTo>
                    <a:pt x="35668" y="-163"/>
                  </a:lnTo>
                  <a:cubicBezTo>
                    <a:pt x="35602" y="818"/>
                    <a:pt x="35021" y="1685"/>
                    <a:pt x="34144" y="2123"/>
                  </a:cubicBezTo>
                  <a:lnTo>
                    <a:pt x="31763" y="3457"/>
                  </a:lnTo>
                  <a:lnTo>
                    <a:pt x="21476" y="9362"/>
                  </a:lnTo>
                  <a:cubicBezTo>
                    <a:pt x="19085" y="10600"/>
                    <a:pt x="16247" y="10600"/>
                    <a:pt x="13856" y="9362"/>
                  </a:cubicBezTo>
                  <a:lnTo>
                    <a:pt x="3569" y="3457"/>
                  </a:lnTo>
                  <a:lnTo>
                    <a:pt x="1283" y="2123"/>
                  </a:lnTo>
                  <a:cubicBezTo>
                    <a:pt x="350" y="1733"/>
                    <a:pt x="-269" y="847"/>
                    <a:pt x="-336" y="-163"/>
                  </a:cubicBezTo>
                  <a:close/>
                </a:path>
              </a:pathLst>
            </a:custGeom>
            <a:solidFill>
              <a:srgbClr val="BF4200"/>
            </a:solidFill>
            <a:ln w="9525" cap="flat">
              <a:noFill/>
              <a:prstDash val="solid"/>
              <a:miter/>
            </a:ln>
          </p:spPr>
          <p:txBody>
            <a:bodyPr rtlCol="0" anchor="ctr"/>
            <a:lstStyle/>
            <a:p>
              <a:endParaRPr lang="zh-CN" altLang="en-US"/>
            </a:p>
          </p:txBody>
        </p:sp>
        <p:sp>
          <p:nvSpPr>
            <p:cNvPr id="621" name="ïṡļídé">
              <a:extLst>
                <a:ext uri="{FF2B5EF4-FFF2-40B4-BE49-F238E27FC236}">
                  <a16:creationId xmlns:a16="http://schemas.microsoft.com/office/drawing/2014/main" id="{5C3D1EE0-2E15-41EA-87BC-C53FE833ED6B}"/>
                </a:ext>
              </a:extLst>
            </p:cNvPr>
            <p:cNvSpPr/>
            <p:nvPr/>
          </p:nvSpPr>
          <p:spPr>
            <a:xfrm>
              <a:off x="5930929" y="5040456"/>
              <a:ext cx="109594" cy="63639"/>
            </a:xfrm>
            <a:custGeom>
              <a:avLst/>
              <a:gdLst>
                <a:gd name="connsiteX0" fmla="*/ -336 w 36004"/>
                <a:gd name="connsiteY0" fmla="*/ 10291 h 20907"/>
                <a:gd name="connsiteX1" fmla="*/ 1188 w 36004"/>
                <a:gd name="connsiteY1" fmla="*/ 12577 h 20907"/>
                <a:gd name="connsiteX2" fmla="*/ 3569 w 36004"/>
                <a:gd name="connsiteY2" fmla="*/ 13911 h 20907"/>
                <a:gd name="connsiteX3" fmla="*/ 13856 w 36004"/>
                <a:gd name="connsiteY3" fmla="*/ 19816 h 20907"/>
                <a:gd name="connsiteX4" fmla="*/ 21476 w 36004"/>
                <a:gd name="connsiteY4" fmla="*/ 19816 h 20907"/>
                <a:gd name="connsiteX5" fmla="*/ 31763 w 36004"/>
                <a:gd name="connsiteY5" fmla="*/ 13911 h 20907"/>
                <a:gd name="connsiteX6" fmla="*/ 34144 w 36004"/>
                <a:gd name="connsiteY6" fmla="*/ 12577 h 20907"/>
                <a:gd name="connsiteX7" fmla="*/ 35668 w 36004"/>
                <a:gd name="connsiteY7" fmla="*/ 10291 h 20907"/>
                <a:gd name="connsiteX8" fmla="*/ 34144 w 36004"/>
                <a:gd name="connsiteY8" fmla="*/ 8101 h 20907"/>
                <a:gd name="connsiteX9" fmla="*/ 21476 w 36004"/>
                <a:gd name="connsiteY9" fmla="*/ 766 h 20907"/>
                <a:gd name="connsiteX10" fmla="*/ 13856 w 36004"/>
                <a:gd name="connsiteY10" fmla="*/ 766 h 20907"/>
                <a:gd name="connsiteX11" fmla="*/ 1188 w 36004"/>
                <a:gd name="connsiteY11" fmla="*/ 8101 h 20907"/>
                <a:gd name="connsiteX12" fmla="*/ -336 w 36004"/>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907">
                  <a:moveTo>
                    <a:pt x="-336" y="10291"/>
                  </a:moveTo>
                  <a:cubicBezTo>
                    <a:pt x="-270" y="11272"/>
                    <a:pt x="311" y="12139"/>
                    <a:pt x="1188" y="12577"/>
                  </a:cubicBezTo>
                  <a:lnTo>
                    <a:pt x="3569" y="13911"/>
                  </a:lnTo>
                  <a:lnTo>
                    <a:pt x="13856" y="19816"/>
                  </a:lnTo>
                  <a:cubicBezTo>
                    <a:pt x="16247" y="21054"/>
                    <a:pt x="19085" y="21054"/>
                    <a:pt x="21476" y="19816"/>
                  </a:cubicBezTo>
                  <a:lnTo>
                    <a:pt x="31763" y="13911"/>
                  </a:lnTo>
                  <a:lnTo>
                    <a:pt x="34144" y="12577"/>
                  </a:lnTo>
                  <a:cubicBezTo>
                    <a:pt x="35021" y="12139"/>
                    <a:pt x="35602" y="11272"/>
                    <a:pt x="35668" y="10291"/>
                  </a:cubicBezTo>
                  <a:cubicBezTo>
                    <a:pt x="35611" y="9339"/>
                    <a:pt x="35021" y="8491"/>
                    <a:pt x="34144" y="8101"/>
                  </a:cubicBezTo>
                  <a:lnTo>
                    <a:pt x="21476" y="766"/>
                  </a:lnTo>
                  <a:cubicBezTo>
                    <a:pt x="19085" y="-472"/>
                    <a:pt x="16247" y="-472"/>
                    <a:pt x="13856" y="766"/>
                  </a:cubicBezTo>
                  <a:lnTo>
                    <a:pt x="1188" y="8101"/>
                  </a:lnTo>
                  <a:cubicBezTo>
                    <a:pt x="311" y="8491"/>
                    <a:pt x="-279"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622" name="îṧliḋe">
              <a:extLst>
                <a:ext uri="{FF2B5EF4-FFF2-40B4-BE49-F238E27FC236}">
                  <a16:creationId xmlns:a16="http://schemas.microsoft.com/office/drawing/2014/main" id="{7AD30AA5-2E9C-4BC3-81CC-F2287C3A14D8}"/>
                </a:ext>
              </a:extLst>
            </p:cNvPr>
            <p:cNvSpPr/>
            <p:nvPr/>
          </p:nvSpPr>
          <p:spPr>
            <a:xfrm>
              <a:off x="5932747" y="5041835"/>
              <a:ext cx="106760" cy="61101"/>
            </a:xfrm>
            <a:custGeom>
              <a:avLst/>
              <a:gdLst>
                <a:gd name="connsiteX0" fmla="*/ 1448 w 35073"/>
                <a:gd name="connsiteY0" fmla="*/ 12029 h 20073"/>
                <a:gd name="connsiteX1" fmla="*/ 13640 w 35073"/>
                <a:gd name="connsiteY1" fmla="*/ 18983 h 20073"/>
                <a:gd name="connsiteX2" fmla="*/ 21069 w 35073"/>
                <a:gd name="connsiteY2" fmla="*/ 18983 h 20073"/>
                <a:gd name="connsiteX3" fmla="*/ 33166 w 35073"/>
                <a:gd name="connsiteY3" fmla="*/ 12029 h 20073"/>
                <a:gd name="connsiteX4" fmla="*/ 33166 w 35073"/>
                <a:gd name="connsiteY4" fmla="*/ 7648 h 20073"/>
                <a:gd name="connsiteX5" fmla="*/ 20498 w 35073"/>
                <a:gd name="connsiteY5" fmla="*/ 695 h 20073"/>
                <a:gd name="connsiteX6" fmla="*/ 13068 w 35073"/>
                <a:gd name="connsiteY6" fmla="*/ 695 h 20073"/>
                <a:gd name="connsiteX7" fmla="*/ 876 w 35073"/>
                <a:gd name="connsiteY7" fmla="*/ 7648 h 20073"/>
                <a:gd name="connsiteX8" fmla="*/ -29 w 35073"/>
                <a:gd name="connsiteY8" fmla="*/ 10886 h 20073"/>
                <a:gd name="connsiteX9" fmla="*/ 1448 w 35073"/>
                <a:gd name="connsiteY9"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5073" h="20073">
                  <a:moveTo>
                    <a:pt x="1448" y="12029"/>
                  </a:moveTo>
                  <a:lnTo>
                    <a:pt x="13640" y="18983"/>
                  </a:lnTo>
                  <a:cubicBezTo>
                    <a:pt x="15964" y="20221"/>
                    <a:pt x="18745" y="20221"/>
                    <a:pt x="21069" y="18983"/>
                  </a:cubicBezTo>
                  <a:lnTo>
                    <a:pt x="33166" y="12029"/>
                  </a:lnTo>
                  <a:cubicBezTo>
                    <a:pt x="35261" y="10791"/>
                    <a:pt x="35261" y="8886"/>
                    <a:pt x="33166" y="7648"/>
                  </a:cubicBezTo>
                  <a:lnTo>
                    <a:pt x="20498" y="695"/>
                  </a:lnTo>
                  <a:cubicBezTo>
                    <a:pt x="18154" y="-448"/>
                    <a:pt x="15411" y="-448"/>
                    <a:pt x="13068" y="695"/>
                  </a:cubicBezTo>
                  <a:lnTo>
                    <a:pt x="876" y="7648"/>
                  </a:lnTo>
                  <a:cubicBezTo>
                    <a:pt x="-267" y="8296"/>
                    <a:pt x="-676" y="9743"/>
                    <a:pt x="-29" y="10886"/>
                  </a:cubicBezTo>
                  <a:cubicBezTo>
                    <a:pt x="285" y="11458"/>
                    <a:pt x="819" y="11867"/>
                    <a:pt x="1448" y="12029"/>
                  </a:cubicBezTo>
                  <a:close/>
                </a:path>
              </a:pathLst>
            </a:custGeom>
            <a:solidFill>
              <a:srgbClr val="D1D9E8"/>
            </a:solidFill>
            <a:ln w="9525" cap="flat">
              <a:noFill/>
              <a:prstDash val="solid"/>
              <a:miter/>
            </a:ln>
          </p:spPr>
          <p:txBody>
            <a:bodyPr rtlCol="0" anchor="ctr"/>
            <a:lstStyle/>
            <a:p>
              <a:endParaRPr lang="zh-CN" altLang="en-US"/>
            </a:p>
          </p:txBody>
        </p:sp>
        <p:sp>
          <p:nvSpPr>
            <p:cNvPr id="623" name="ïṩlídè">
              <a:extLst>
                <a:ext uri="{FF2B5EF4-FFF2-40B4-BE49-F238E27FC236}">
                  <a16:creationId xmlns:a16="http://schemas.microsoft.com/office/drawing/2014/main" id="{86C90858-DFD3-48AA-95A3-B6B0EA3BF0BF}"/>
                </a:ext>
              </a:extLst>
            </p:cNvPr>
            <p:cNvSpPr/>
            <p:nvPr/>
          </p:nvSpPr>
          <p:spPr>
            <a:xfrm>
              <a:off x="5930929" y="5072277"/>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4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4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20"/>
                    <a:pt x="35582" y="7953"/>
                    <a:pt x="35668" y="6981"/>
                  </a:cubicBezTo>
                  <a:lnTo>
                    <a:pt x="35668" y="-163"/>
                  </a:lnTo>
                  <a:cubicBezTo>
                    <a:pt x="35602" y="818"/>
                    <a:pt x="35021" y="1685"/>
                    <a:pt x="34144" y="2124"/>
                  </a:cubicBezTo>
                  <a:lnTo>
                    <a:pt x="31763" y="3457"/>
                  </a:lnTo>
                  <a:lnTo>
                    <a:pt x="21476" y="9362"/>
                  </a:lnTo>
                  <a:cubicBezTo>
                    <a:pt x="19085" y="10601"/>
                    <a:pt x="16247" y="10601"/>
                    <a:pt x="13856" y="9362"/>
                  </a:cubicBezTo>
                  <a:lnTo>
                    <a:pt x="3569" y="3457"/>
                  </a:lnTo>
                  <a:lnTo>
                    <a:pt x="1188" y="2124"/>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24" name="iśļíḓê">
              <a:extLst>
                <a:ext uri="{FF2B5EF4-FFF2-40B4-BE49-F238E27FC236}">
                  <a16:creationId xmlns:a16="http://schemas.microsoft.com/office/drawing/2014/main" id="{8B720D40-DE24-4A09-8F98-497196DF7E34}"/>
                </a:ext>
              </a:extLst>
            </p:cNvPr>
            <p:cNvSpPr/>
            <p:nvPr/>
          </p:nvSpPr>
          <p:spPr>
            <a:xfrm>
              <a:off x="6008053" y="5085108"/>
              <a:ext cx="109883" cy="63639"/>
            </a:xfrm>
            <a:custGeom>
              <a:avLst/>
              <a:gdLst>
                <a:gd name="connsiteX0" fmla="*/ -336 w 36099"/>
                <a:gd name="connsiteY0" fmla="*/ 10291 h 20907"/>
                <a:gd name="connsiteX1" fmla="*/ 1283 w 36099"/>
                <a:gd name="connsiteY1" fmla="*/ 12577 h 20907"/>
                <a:gd name="connsiteX2" fmla="*/ 3569 w 36099"/>
                <a:gd name="connsiteY2" fmla="*/ 13911 h 20907"/>
                <a:gd name="connsiteX3" fmla="*/ 13856 w 36099"/>
                <a:gd name="connsiteY3" fmla="*/ 19816 h 20907"/>
                <a:gd name="connsiteX4" fmla="*/ 21571 w 36099"/>
                <a:gd name="connsiteY4" fmla="*/ 19816 h 20907"/>
                <a:gd name="connsiteX5" fmla="*/ 31858 w 36099"/>
                <a:gd name="connsiteY5" fmla="*/ 13911 h 20907"/>
                <a:gd name="connsiteX6" fmla="*/ 34144 w 36099"/>
                <a:gd name="connsiteY6" fmla="*/ 12577 h 20907"/>
                <a:gd name="connsiteX7" fmla="*/ 35764 w 36099"/>
                <a:gd name="connsiteY7" fmla="*/ 10291 h 20907"/>
                <a:gd name="connsiteX8" fmla="*/ 34144 w 36099"/>
                <a:gd name="connsiteY8" fmla="*/ 8100 h 20907"/>
                <a:gd name="connsiteX9" fmla="*/ 21571 w 36099"/>
                <a:gd name="connsiteY9" fmla="*/ 766 h 20907"/>
                <a:gd name="connsiteX10" fmla="*/ 13856 w 36099"/>
                <a:gd name="connsiteY10" fmla="*/ 766 h 20907"/>
                <a:gd name="connsiteX11" fmla="*/ 1283 w 36099"/>
                <a:gd name="connsiteY11" fmla="*/ 8100 h 20907"/>
                <a:gd name="connsiteX12" fmla="*/ -336 w 36099"/>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99" h="20907">
                  <a:moveTo>
                    <a:pt x="-336" y="10291"/>
                  </a:moveTo>
                  <a:cubicBezTo>
                    <a:pt x="-270" y="11301"/>
                    <a:pt x="359" y="12187"/>
                    <a:pt x="1283" y="12577"/>
                  </a:cubicBezTo>
                  <a:lnTo>
                    <a:pt x="3569" y="13911"/>
                  </a:lnTo>
                  <a:lnTo>
                    <a:pt x="13856" y="19816"/>
                  </a:lnTo>
                  <a:cubicBezTo>
                    <a:pt x="16275" y="21054"/>
                    <a:pt x="19152" y="21054"/>
                    <a:pt x="21571" y="19816"/>
                  </a:cubicBezTo>
                  <a:lnTo>
                    <a:pt x="31858" y="13911"/>
                  </a:lnTo>
                  <a:lnTo>
                    <a:pt x="34144" y="12577"/>
                  </a:lnTo>
                  <a:cubicBezTo>
                    <a:pt x="35049" y="12149"/>
                    <a:pt x="35659" y="11282"/>
                    <a:pt x="35764" y="10291"/>
                  </a:cubicBezTo>
                  <a:cubicBezTo>
                    <a:pt x="35649" y="9329"/>
                    <a:pt x="35030" y="8491"/>
                    <a:pt x="34144" y="8100"/>
                  </a:cubicBezTo>
                  <a:lnTo>
                    <a:pt x="21571" y="766"/>
                  </a:lnTo>
                  <a:cubicBezTo>
                    <a:pt x="19152" y="-472"/>
                    <a:pt x="16275" y="-472"/>
                    <a:pt x="13856" y="766"/>
                  </a:cubicBezTo>
                  <a:lnTo>
                    <a:pt x="1283" y="8100"/>
                  </a:lnTo>
                  <a:cubicBezTo>
                    <a:pt x="369" y="8462"/>
                    <a:pt x="-260" y="9310"/>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625" name="iṥlíḑe">
              <a:extLst>
                <a:ext uri="{FF2B5EF4-FFF2-40B4-BE49-F238E27FC236}">
                  <a16:creationId xmlns:a16="http://schemas.microsoft.com/office/drawing/2014/main" id="{A4FEA2B0-8C41-4D06-9801-8402CDD16068}"/>
                </a:ext>
              </a:extLst>
            </p:cNvPr>
            <p:cNvSpPr/>
            <p:nvPr/>
          </p:nvSpPr>
          <p:spPr>
            <a:xfrm>
              <a:off x="6009938" y="5086267"/>
              <a:ext cx="105895" cy="61101"/>
            </a:xfrm>
            <a:custGeom>
              <a:avLst/>
              <a:gdLst>
                <a:gd name="connsiteX0" fmla="*/ 1235 w 34789"/>
                <a:gd name="connsiteY0" fmla="*/ 12006 h 20073"/>
                <a:gd name="connsiteX1" fmla="*/ 13332 w 34789"/>
                <a:gd name="connsiteY1" fmla="*/ 19054 h 20073"/>
                <a:gd name="connsiteX2" fmla="*/ 20761 w 34789"/>
                <a:gd name="connsiteY2" fmla="*/ 19054 h 20073"/>
                <a:gd name="connsiteX3" fmla="*/ 32953 w 34789"/>
                <a:gd name="connsiteY3" fmla="*/ 12006 h 20073"/>
                <a:gd name="connsiteX4" fmla="*/ 32953 w 34789"/>
                <a:gd name="connsiteY4" fmla="*/ 7719 h 20073"/>
                <a:gd name="connsiteX5" fmla="*/ 20761 w 34789"/>
                <a:gd name="connsiteY5" fmla="*/ 766 h 20073"/>
                <a:gd name="connsiteX6" fmla="*/ 13332 w 34789"/>
                <a:gd name="connsiteY6" fmla="*/ 766 h 20073"/>
                <a:gd name="connsiteX7" fmla="*/ 1235 w 34789"/>
                <a:gd name="connsiteY7" fmla="*/ 7719 h 20073"/>
                <a:gd name="connsiteX8" fmla="*/ 1235 w 34789"/>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89" h="20073">
                  <a:moveTo>
                    <a:pt x="1235" y="12006"/>
                  </a:moveTo>
                  <a:lnTo>
                    <a:pt x="13332" y="19054"/>
                  </a:lnTo>
                  <a:cubicBezTo>
                    <a:pt x="15675" y="20197"/>
                    <a:pt x="18418" y="20197"/>
                    <a:pt x="20761" y="19054"/>
                  </a:cubicBezTo>
                  <a:lnTo>
                    <a:pt x="32953" y="12006"/>
                  </a:lnTo>
                  <a:cubicBezTo>
                    <a:pt x="34954" y="10863"/>
                    <a:pt x="34954" y="8957"/>
                    <a:pt x="32953" y="7719"/>
                  </a:cubicBezTo>
                  <a:lnTo>
                    <a:pt x="20761" y="766"/>
                  </a:lnTo>
                  <a:cubicBezTo>
                    <a:pt x="18437" y="-472"/>
                    <a:pt x="15656" y="-472"/>
                    <a:pt x="13332" y="766"/>
                  </a:cubicBezTo>
                  <a:lnTo>
                    <a:pt x="1235" y="7719"/>
                  </a:lnTo>
                  <a:cubicBezTo>
                    <a:pt x="-860" y="8957"/>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626" name="iṥ1ïḓé">
              <a:extLst>
                <a:ext uri="{FF2B5EF4-FFF2-40B4-BE49-F238E27FC236}">
                  <a16:creationId xmlns:a16="http://schemas.microsoft.com/office/drawing/2014/main" id="{F1D60A0B-47E4-4BE7-84CE-A60B4CC23647}"/>
                </a:ext>
              </a:extLst>
            </p:cNvPr>
            <p:cNvSpPr/>
            <p:nvPr/>
          </p:nvSpPr>
          <p:spPr>
            <a:xfrm>
              <a:off x="6008053" y="5116929"/>
              <a:ext cx="109015" cy="53564"/>
            </a:xfrm>
            <a:custGeom>
              <a:avLst/>
              <a:gdLst>
                <a:gd name="connsiteX0" fmla="*/ -336 w 35814"/>
                <a:gd name="connsiteY0" fmla="*/ -163 h 17597"/>
                <a:gd name="connsiteX1" fmla="*/ -336 w 35814"/>
                <a:gd name="connsiteY1" fmla="*/ 7076 h 17597"/>
                <a:gd name="connsiteX2" fmla="*/ 1283 w 35814"/>
                <a:gd name="connsiteY2" fmla="*/ 9267 h 17597"/>
                <a:gd name="connsiteX3" fmla="*/ 13856 w 35814"/>
                <a:gd name="connsiteY3" fmla="*/ 16506 h 17597"/>
                <a:gd name="connsiteX4" fmla="*/ 21571 w 35814"/>
                <a:gd name="connsiteY4" fmla="*/ 16506 h 17597"/>
                <a:gd name="connsiteX5" fmla="*/ 33858 w 35814"/>
                <a:gd name="connsiteY5" fmla="*/ 9362 h 17597"/>
                <a:gd name="connsiteX6" fmla="*/ 35478 w 35814"/>
                <a:gd name="connsiteY6" fmla="*/ 7076 h 17597"/>
                <a:gd name="connsiteX7" fmla="*/ 35478 w 35814"/>
                <a:gd name="connsiteY7" fmla="*/ -163 h 17597"/>
                <a:gd name="connsiteX8" fmla="*/ 33858 w 35814"/>
                <a:gd name="connsiteY8" fmla="*/ 2123 h 17597"/>
                <a:gd name="connsiteX9" fmla="*/ 31572 w 35814"/>
                <a:gd name="connsiteY9" fmla="*/ 3457 h 17597"/>
                <a:gd name="connsiteX10" fmla="*/ 21285 w 35814"/>
                <a:gd name="connsiteY10" fmla="*/ 9362 h 17597"/>
                <a:gd name="connsiteX11" fmla="*/ 13570 w 35814"/>
                <a:gd name="connsiteY11" fmla="*/ 9362 h 17597"/>
                <a:gd name="connsiteX12" fmla="*/ 3283 w 35814"/>
                <a:gd name="connsiteY12" fmla="*/ 3457 h 17597"/>
                <a:gd name="connsiteX13" fmla="*/ 997 w 35814"/>
                <a:gd name="connsiteY13" fmla="*/ 2123 h 17597"/>
                <a:gd name="connsiteX14" fmla="*/ -336 w 3581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5814" h="17597">
                  <a:moveTo>
                    <a:pt x="-336" y="-163"/>
                  </a:moveTo>
                  <a:lnTo>
                    <a:pt x="-336" y="7076"/>
                  </a:lnTo>
                  <a:cubicBezTo>
                    <a:pt x="-241" y="8048"/>
                    <a:pt x="387" y="8886"/>
                    <a:pt x="1283" y="9267"/>
                  </a:cubicBezTo>
                  <a:lnTo>
                    <a:pt x="13856" y="16506"/>
                  </a:lnTo>
                  <a:cubicBezTo>
                    <a:pt x="16275" y="17744"/>
                    <a:pt x="19152" y="17744"/>
                    <a:pt x="21571" y="16506"/>
                  </a:cubicBezTo>
                  <a:lnTo>
                    <a:pt x="33858" y="9362"/>
                  </a:lnTo>
                  <a:cubicBezTo>
                    <a:pt x="34744" y="8924"/>
                    <a:pt x="35354" y="8058"/>
                    <a:pt x="35478" y="7076"/>
                  </a:cubicBezTo>
                  <a:lnTo>
                    <a:pt x="35478" y="-163"/>
                  </a:lnTo>
                  <a:cubicBezTo>
                    <a:pt x="35373" y="828"/>
                    <a:pt x="34763" y="1695"/>
                    <a:pt x="33858" y="2123"/>
                  </a:cubicBezTo>
                  <a:lnTo>
                    <a:pt x="31572" y="3457"/>
                  </a:lnTo>
                  <a:lnTo>
                    <a:pt x="21285" y="9362"/>
                  </a:lnTo>
                  <a:cubicBezTo>
                    <a:pt x="18866" y="10601"/>
                    <a:pt x="15989" y="10601"/>
                    <a:pt x="13570" y="9362"/>
                  </a:cubicBezTo>
                  <a:lnTo>
                    <a:pt x="3283" y="3457"/>
                  </a:lnTo>
                  <a:lnTo>
                    <a:pt x="997" y="2123"/>
                  </a:lnTo>
                  <a:cubicBezTo>
                    <a:pt x="178" y="1647"/>
                    <a:pt x="-327" y="780"/>
                    <a:pt x="-336" y="-163"/>
                  </a:cubicBezTo>
                  <a:close/>
                </a:path>
              </a:pathLst>
            </a:custGeom>
            <a:solidFill>
              <a:srgbClr val="BF4200"/>
            </a:solidFill>
            <a:ln w="9525" cap="flat">
              <a:noFill/>
              <a:prstDash val="solid"/>
              <a:miter/>
            </a:ln>
          </p:spPr>
          <p:txBody>
            <a:bodyPr rtlCol="0" anchor="ctr"/>
            <a:lstStyle/>
            <a:p>
              <a:endParaRPr lang="zh-CN" altLang="en-US"/>
            </a:p>
          </p:txBody>
        </p:sp>
        <p:sp>
          <p:nvSpPr>
            <p:cNvPr id="627" name="îṡḻïḋe">
              <a:extLst>
                <a:ext uri="{FF2B5EF4-FFF2-40B4-BE49-F238E27FC236}">
                  <a16:creationId xmlns:a16="http://schemas.microsoft.com/office/drawing/2014/main" id="{1A52E50A-AA9B-435E-8219-9295451422B7}"/>
                </a:ext>
              </a:extLst>
            </p:cNvPr>
            <p:cNvSpPr/>
            <p:nvPr/>
          </p:nvSpPr>
          <p:spPr>
            <a:xfrm>
              <a:off x="6085464" y="5129759"/>
              <a:ext cx="109362" cy="63588"/>
            </a:xfrm>
            <a:custGeom>
              <a:avLst/>
              <a:gdLst>
                <a:gd name="connsiteX0" fmla="*/ -336 w 35928"/>
                <a:gd name="connsiteY0" fmla="*/ 10291 h 20890"/>
                <a:gd name="connsiteX1" fmla="*/ 1188 w 35928"/>
                <a:gd name="connsiteY1" fmla="*/ 12482 h 20890"/>
                <a:gd name="connsiteX2" fmla="*/ 3569 w 35928"/>
                <a:gd name="connsiteY2" fmla="*/ 13911 h 20890"/>
                <a:gd name="connsiteX3" fmla="*/ 13856 w 35928"/>
                <a:gd name="connsiteY3" fmla="*/ 19721 h 20890"/>
                <a:gd name="connsiteX4" fmla="*/ 21476 w 35928"/>
                <a:gd name="connsiteY4" fmla="*/ 19721 h 20890"/>
                <a:gd name="connsiteX5" fmla="*/ 31763 w 35928"/>
                <a:gd name="connsiteY5" fmla="*/ 13911 h 20890"/>
                <a:gd name="connsiteX6" fmla="*/ 34144 w 35928"/>
                <a:gd name="connsiteY6" fmla="*/ 12482 h 20890"/>
                <a:gd name="connsiteX7" fmla="*/ 35402 w 35928"/>
                <a:gd name="connsiteY7" fmla="*/ 9357 h 20890"/>
                <a:gd name="connsiteX8" fmla="*/ 34144 w 35928"/>
                <a:gd name="connsiteY8" fmla="*/ 8100 h 20890"/>
                <a:gd name="connsiteX9" fmla="*/ 21476 w 35928"/>
                <a:gd name="connsiteY9" fmla="*/ 766 h 20890"/>
                <a:gd name="connsiteX10" fmla="*/ 13856 w 35928"/>
                <a:gd name="connsiteY10" fmla="*/ 766 h 20890"/>
                <a:gd name="connsiteX11" fmla="*/ 1188 w 35928"/>
                <a:gd name="connsiteY11" fmla="*/ 8100 h 20890"/>
                <a:gd name="connsiteX12" fmla="*/ -336 w 35928"/>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928" h="20890">
                  <a:moveTo>
                    <a:pt x="-336" y="10291"/>
                  </a:moveTo>
                  <a:cubicBezTo>
                    <a:pt x="-298" y="11253"/>
                    <a:pt x="292" y="12110"/>
                    <a:pt x="1188" y="12482"/>
                  </a:cubicBezTo>
                  <a:lnTo>
                    <a:pt x="3569" y="13911"/>
                  </a:lnTo>
                  <a:lnTo>
                    <a:pt x="13856" y="19721"/>
                  </a:lnTo>
                  <a:cubicBezTo>
                    <a:pt x="16218" y="21064"/>
                    <a:pt x="19114" y="21064"/>
                    <a:pt x="21476" y="19721"/>
                  </a:cubicBezTo>
                  <a:lnTo>
                    <a:pt x="31763" y="13911"/>
                  </a:lnTo>
                  <a:lnTo>
                    <a:pt x="34144" y="12482"/>
                  </a:lnTo>
                  <a:cubicBezTo>
                    <a:pt x="35354" y="11967"/>
                    <a:pt x="35916" y="10567"/>
                    <a:pt x="35402" y="9357"/>
                  </a:cubicBezTo>
                  <a:cubicBezTo>
                    <a:pt x="35164" y="8796"/>
                    <a:pt x="34706" y="8338"/>
                    <a:pt x="34144" y="8100"/>
                  </a:cubicBezTo>
                  <a:lnTo>
                    <a:pt x="21476" y="766"/>
                  </a:lnTo>
                  <a:cubicBezTo>
                    <a:pt x="19085" y="-472"/>
                    <a:pt x="16247" y="-472"/>
                    <a:pt x="13856" y="766"/>
                  </a:cubicBezTo>
                  <a:lnTo>
                    <a:pt x="1188" y="8100"/>
                  </a:lnTo>
                  <a:cubicBezTo>
                    <a:pt x="292" y="8472"/>
                    <a:pt x="-298"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628" name="îṧḷîḋé">
              <a:extLst>
                <a:ext uri="{FF2B5EF4-FFF2-40B4-BE49-F238E27FC236}">
                  <a16:creationId xmlns:a16="http://schemas.microsoft.com/office/drawing/2014/main" id="{01824EF5-CDFF-40F4-829F-6868A6E02889}"/>
                </a:ext>
              </a:extLst>
            </p:cNvPr>
            <p:cNvSpPr/>
            <p:nvPr/>
          </p:nvSpPr>
          <p:spPr>
            <a:xfrm>
              <a:off x="6087348" y="5130919"/>
              <a:ext cx="105825" cy="61101"/>
            </a:xfrm>
            <a:custGeom>
              <a:avLst/>
              <a:gdLst>
                <a:gd name="connsiteX0" fmla="*/ 1235 w 34766"/>
                <a:gd name="connsiteY0" fmla="*/ 12006 h 20073"/>
                <a:gd name="connsiteX1" fmla="*/ 13332 w 34766"/>
                <a:gd name="connsiteY1" fmla="*/ 19054 h 20073"/>
                <a:gd name="connsiteX2" fmla="*/ 20761 w 34766"/>
                <a:gd name="connsiteY2" fmla="*/ 19054 h 20073"/>
                <a:gd name="connsiteX3" fmla="*/ 32858 w 34766"/>
                <a:gd name="connsiteY3" fmla="*/ 12006 h 20073"/>
                <a:gd name="connsiteX4" fmla="*/ 32858 w 34766"/>
                <a:gd name="connsiteY4" fmla="*/ 7719 h 20073"/>
                <a:gd name="connsiteX5" fmla="*/ 20761 w 34766"/>
                <a:gd name="connsiteY5" fmla="*/ 766 h 20073"/>
                <a:gd name="connsiteX6" fmla="*/ 13332 w 34766"/>
                <a:gd name="connsiteY6" fmla="*/ 766 h 20073"/>
                <a:gd name="connsiteX7" fmla="*/ 1235 w 34766"/>
                <a:gd name="connsiteY7" fmla="*/ 7719 h 20073"/>
                <a:gd name="connsiteX8" fmla="*/ 1235 w 34766"/>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6" h="20073">
                  <a:moveTo>
                    <a:pt x="1235" y="12006"/>
                  </a:moveTo>
                  <a:lnTo>
                    <a:pt x="13332" y="19054"/>
                  </a:lnTo>
                  <a:cubicBezTo>
                    <a:pt x="15675" y="20197"/>
                    <a:pt x="18419" y="20197"/>
                    <a:pt x="20761" y="19054"/>
                  </a:cubicBezTo>
                  <a:lnTo>
                    <a:pt x="32858" y="12006"/>
                  </a:lnTo>
                  <a:cubicBezTo>
                    <a:pt x="34954" y="10863"/>
                    <a:pt x="34954" y="8958"/>
                    <a:pt x="32858" y="7719"/>
                  </a:cubicBezTo>
                  <a:lnTo>
                    <a:pt x="20761" y="766"/>
                  </a:lnTo>
                  <a:cubicBezTo>
                    <a:pt x="18437" y="-472"/>
                    <a:pt x="15656" y="-472"/>
                    <a:pt x="13332" y="766"/>
                  </a:cubicBezTo>
                  <a:lnTo>
                    <a:pt x="1235" y="7719"/>
                  </a:lnTo>
                  <a:cubicBezTo>
                    <a:pt x="-860" y="8958"/>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629" name="ï$ľiḑê">
              <a:extLst>
                <a:ext uri="{FF2B5EF4-FFF2-40B4-BE49-F238E27FC236}">
                  <a16:creationId xmlns:a16="http://schemas.microsoft.com/office/drawing/2014/main" id="{E49469B0-52B4-4C30-98A4-87D2551D6F5E}"/>
                </a:ext>
              </a:extLst>
            </p:cNvPr>
            <p:cNvSpPr/>
            <p:nvPr/>
          </p:nvSpPr>
          <p:spPr>
            <a:xfrm>
              <a:off x="6085464" y="5161577"/>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028 h 17597"/>
                <a:gd name="connsiteX9" fmla="*/ 31763 w 36004"/>
                <a:gd name="connsiteY9" fmla="*/ 3457 h 17597"/>
                <a:gd name="connsiteX10" fmla="*/ 21476 w 36004"/>
                <a:gd name="connsiteY10" fmla="*/ 9267 h 17597"/>
                <a:gd name="connsiteX11" fmla="*/ 13856 w 36004"/>
                <a:gd name="connsiteY11" fmla="*/ 9267 h 17597"/>
                <a:gd name="connsiteX12" fmla="*/ 3569 w 36004"/>
                <a:gd name="connsiteY12" fmla="*/ 3457 h 17597"/>
                <a:gd name="connsiteX13" fmla="*/ 1188 w 36004"/>
                <a:gd name="connsiteY13" fmla="*/ 2028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3" y="7953"/>
                    <a:pt x="35668" y="6981"/>
                  </a:cubicBezTo>
                  <a:lnTo>
                    <a:pt x="35668" y="-163"/>
                  </a:lnTo>
                  <a:cubicBezTo>
                    <a:pt x="35630" y="799"/>
                    <a:pt x="35040" y="1656"/>
                    <a:pt x="34144" y="2028"/>
                  </a:cubicBezTo>
                  <a:lnTo>
                    <a:pt x="31763" y="3457"/>
                  </a:lnTo>
                  <a:lnTo>
                    <a:pt x="21476" y="9267"/>
                  </a:lnTo>
                  <a:cubicBezTo>
                    <a:pt x="19114" y="10610"/>
                    <a:pt x="16218" y="10610"/>
                    <a:pt x="13856" y="9267"/>
                  </a:cubicBezTo>
                  <a:lnTo>
                    <a:pt x="3569" y="3457"/>
                  </a:lnTo>
                  <a:lnTo>
                    <a:pt x="1188" y="2028"/>
                  </a:lnTo>
                  <a:cubicBezTo>
                    <a:pt x="292" y="1656"/>
                    <a:pt x="-298" y="799"/>
                    <a:pt x="-336" y="-163"/>
                  </a:cubicBezTo>
                  <a:close/>
                </a:path>
              </a:pathLst>
            </a:custGeom>
            <a:solidFill>
              <a:srgbClr val="BF4200"/>
            </a:solidFill>
            <a:ln w="9525" cap="flat">
              <a:noFill/>
              <a:prstDash val="solid"/>
              <a:miter/>
            </a:ln>
          </p:spPr>
          <p:txBody>
            <a:bodyPr rtlCol="0" anchor="ctr"/>
            <a:lstStyle/>
            <a:p>
              <a:endParaRPr lang="zh-CN" altLang="en-US"/>
            </a:p>
          </p:txBody>
        </p:sp>
        <p:sp>
          <p:nvSpPr>
            <p:cNvPr id="630" name="ïṥḷïdé">
              <a:extLst>
                <a:ext uri="{FF2B5EF4-FFF2-40B4-BE49-F238E27FC236}">
                  <a16:creationId xmlns:a16="http://schemas.microsoft.com/office/drawing/2014/main" id="{BCE871EA-5762-420C-BA15-8937A527E99D}"/>
                </a:ext>
              </a:extLst>
            </p:cNvPr>
            <p:cNvSpPr/>
            <p:nvPr/>
          </p:nvSpPr>
          <p:spPr>
            <a:xfrm>
              <a:off x="6162588" y="5174407"/>
              <a:ext cx="109883" cy="63639"/>
            </a:xfrm>
            <a:custGeom>
              <a:avLst/>
              <a:gdLst>
                <a:gd name="connsiteX0" fmla="*/ -336 w 36099"/>
                <a:gd name="connsiteY0" fmla="*/ 10291 h 20907"/>
                <a:gd name="connsiteX1" fmla="*/ 1283 w 36099"/>
                <a:gd name="connsiteY1" fmla="*/ 12577 h 20907"/>
                <a:gd name="connsiteX2" fmla="*/ 3569 w 36099"/>
                <a:gd name="connsiteY2" fmla="*/ 13910 h 20907"/>
                <a:gd name="connsiteX3" fmla="*/ 13856 w 36099"/>
                <a:gd name="connsiteY3" fmla="*/ 19816 h 20907"/>
                <a:gd name="connsiteX4" fmla="*/ 21571 w 36099"/>
                <a:gd name="connsiteY4" fmla="*/ 19816 h 20907"/>
                <a:gd name="connsiteX5" fmla="*/ 31858 w 36099"/>
                <a:gd name="connsiteY5" fmla="*/ 13910 h 20907"/>
                <a:gd name="connsiteX6" fmla="*/ 34144 w 36099"/>
                <a:gd name="connsiteY6" fmla="*/ 12577 h 20907"/>
                <a:gd name="connsiteX7" fmla="*/ 35764 w 36099"/>
                <a:gd name="connsiteY7" fmla="*/ 10291 h 20907"/>
                <a:gd name="connsiteX8" fmla="*/ 34144 w 36099"/>
                <a:gd name="connsiteY8" fmla="*/ 8100 h 20907"/>
                <a:gd name="connsiteX9" fmla="*/ 21571 w 36099"/>
                <a:gd name="connsiteY9" fmla="*/ 766 h 20907"/>
                <a:gd name="connsiteX10" fmla="*/ 13856 w 36099"/>
                <a:gd name="connsiteY10" fmla="*/ 766 h 20907"/>
                <a:gd name="connsiteX11" fmla="*/ 1283 w 36099"/>
                <a:gd name="connsiteY11" fmla="*/ 8100 h 20907"/>
                <a:gd name="connsiteX12" fmla="*/ -336 w 36099"/>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99" h="20907">
                  <a:moveTo>
                    <a:pt x="-336" y="10291"/>
                  </a:moveTo>
                  <a:cubicBezTo>
                    <a:pt x="-231" y="11282"/>
                    <a:pt x="378" y="12148"/>
                    <a:pt x="1283" y="12577"/>
                  </a:cubicBezTo>
                  <a:lnTo>
                    <a:pt x="3569" y="13910"/>
                  </a:lnTo>
                  <a:lnTo>
                    <a:pt x="13856" y="19816"/>
                  </a:lnTo>
                  <a:cubicBezTo>
                    <a:pt x="16275" y="21054"/>
                    <a:pt x="19152" y="21054"/>
                    <a:pt x="21571" y="19816"/>
                  </a:cubicBezTo>
                  <a:lnTo>
                    <a:pt x="31858" y="13910"/>
                  </a:lnTo>
                  <a:lnTo>
                    <a:pt x="34144" y="12577"/>
                  </a:lnTo>
                  <a:cubicBezTo>
                    <a:pt x="35049" y="12148"/>
                    <a:pt x="35659" y="11282"/>
                    <a:pt x="35764" y="10291"/>
                  </a:cubicBezTo>
                  <a:cubicBezTo>
                    <a:pt x="35649" y="9329"/>
                    <a:pt x="35030" y="8491"/>
                    <a:pt x="34144" y="8100"/>
                  </a:cubicBezTo>
                  <a:lnTo>
                    <a:pt x="21571" y="766"/>
                  </a:lnTo>
                  <a:cubicBezTo>
                    <a:pt x="19152" y="-472"/>
                    <a:pt x="16275" y="-472"/>
                    <a:pt x="13856" y="766"/>
                  </a:cubicBezTo>
                  <a:lnTo>
                    <a:pt x="1283" y="8100"/>
                  </a:lnTo>
                  <a:cubicBezTo>
                    <a:pt x="397" y="8491"/>
                    <a:pt x="-222"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631" name="í$1idê">
              <a:extLst>
                <a:ext uri="{FF2B5EF4-FFF2-40B4-BE49-F238E27FC236}">
                  <a16:creationId xmlns:a16="http://schemas.microsoft.com/office/drawing/2014/main" id="{A4A8BBE0-2AAC-412A-BF69-594C6D620E0E}"/>
                </a:ext>
              </a:extLst>
            </p:cNvPr>
            <p:cNvSpPr/>
            <p:nvPr/>
          </p:nvSpPr>
          <p:spPr>
            <a:xfrm>
              <a:off x="6164907" y="5175567"/>
              <a:ext cx="106330" cy="61104"/>
            </a:xfrm>
            <a:custGeom>
              <a:avLst/>
              <a:gdLst>
                <a:gd name="connsiteX0" fmla="*/ 1378 w 34932"/>
                <a:gd name="connsiteY0" fmla="*/ 12006 h 20074"/>
                <a:gd name="connsiteX1" fmla="*/ 13475 w 34932"/>
                <a:gd name="connsiteY1" fmla="*/ 19054 h 20074"/>
                <a:gd name="connsiteX2" fmla="*/ 21000 w 34932"/>
                <a:gd name="connsiteY2" fmla="*/ 19054 h 20074"/>
                <a:gd name="connsiteX3" fmla="*/ 33096 w 34932"/>
                <a:gd name="connsiteY3" fmla="*/ 12006 h 20074"/>
                <a:gd name="connsiteX4" fmla="*/ 33096 w 34932"/>
                <a:gd name="connsiteY4" fmla="*/ 7719 h 20074"/>
                <a:gd name="connsiteX5" fmla="*/ 21000 w 34932"/>
                <a:gd name="connsiteY5" fmla="*/ 766 h 20074"/>
                <a:gd name="connsiteX6" fmla="*/ 13475 w 34932"/>
                <a:gd name="connsiteY6" fmla="*/ 766 h 20074"/>
                <a:gd name="connsiteX7" fmla="*/ 1378 w 34932"/>
                <a:gd name="connsiteY7" fmla="*/ 7719 h 20074"/>
                <a:gd name="connsiteX8" fmla="*/ 1378 w 34932"/>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932" h="20074">
                  <a:moveTo>
                    <a:pt x="1378" y="12006"/>
                  </a:moveTo>
                  <a:lnTo>
                    <a:pt x="13475" y="19054"/>
                  </a:lnTo>
                  <a:cubicBezTo>
                    <a:pt x="15856" y="20197"/>
                    <a:pt x="18618" y="20197"/>
                    <a:pt x="21000" y="19054"/>
                  </a:cubicBezTo>
                  <a:lnTo>
                    <a:pt x="33096" y="12006"/>
                  </a:lnTo>
                  <a:cubicBezTo>
                    <a:pt x="35097" y="10863"/>
                    <a:pt x="35097" y="8958"/>
                    <a:pt x="33096" y="7719"/>
                  </a:cubicBezTo>
                  <a:lnTo>
                    <a:pt x="21000" y="766"/>
                  </a:lnTo>
                  <a:cubicBezTo>
                    <a:pt x="18647" y="-472"/>
                    <a:pt x="15828" y="-472"/>
                    <a:pt x="13475" y="766"/>
                  </a:cubicBezTo>
                  <a:lnTo>
                    <a:pt x="1378" y="7719"/>
                  </a:lnTo>
                  <a:cubicBezTo>
                    <a:pt x="-908" y="9148"/>
                    <a:pt x="-908" y="10863"/>
                    <a:pt x="1378" y="12006"/>
                  </a:cubicBezTo>
                  <a:close/>
                </a:path>
              </a:pathLst>
            </a:custGeom>
            <a:solidFill>
              <a:srgbClr val="D1D9E8"/>
            </a:solidFill>
            <a:ln w="9525" cap="flat">
              <a:noFill/>
              <a:prstDash val="solid"/>
              <a:miter/>
            </a:ln>
          </p:spPr>
          <p:txBody>
            <a:bodyPr rtlCol="0" anchor="ctr"/>
            <a:lstStyle/>
            <a:p>
              <a:endParaRPr lang="zh-CN" altLang="en-US"/>
            </a:p>
          </p:txBody>
        </p:sp>
        <p:sp>
          <p:nvSpPr>
            <p:cNvPr id="632" name="išļîḓé">
              <a:extLst>
                <a:ext uri="{FF2B5EF4-FFF2-40B4-BE49-F238E27FC236}">
                  <a16:creationId xmlns:a16="http://schemas.microsoft.com/office/drawing/2014/main" id="{3ADA038C-636B-4D3B-8AD0-476FC5796898}"/>
                </a:ext>
              </a:extLst>
            </p:cNvPr>
            <p:cNvSpPr/>
            <p:nvPr/>
          </p:nvSpPr>
          <p:spPr>
            <a:xfrm>
              <a:off x="6162588" y="5206229"/>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4 w 36099"/>
                <a:gd name="connsiteY6" fmla="*/ 6981 h 17597"/>
                <a:gd name="connsiteX7" fmla="*/ 35764 w 36099"/>
                <a:gd name="connsiteY7" fmla="*/ -163 h 17597"/>
                <a:gd name="connsiteX8" fmla="*/ 34144 w 36099"/>
                <a:gd name="connsiteY8" fmla="*/ 2124 h 17597"/>
                <a:gd name="connsiteX9" fmla="*/ 31858 w 36099"/>
                <a:gd name="connsiteY9" fmla="*/ 3457 h 17597"/>
                <a:gd name="connsiteX10" fmla="*/ 21571 w 36099"/>
                <a:gd name="connsiteY10" fmla="*/ 9362 h 17597"/>
                <a:gd name="connsiteX11" fmla="*/ 13856 w 36099"/>
                <a:gd name="connsiteY11" fmla="*/ 9362 h 17597"/>
                <a:gd name="connsiteX12" fmla="*/ 3569 w 36099"/>
                <a:gd name="connsiteY12" fmla="*/ 3457 h 17597"/>
                <a:gd name="connsiteX13" fmla="*/ 1283 w 36099"/>
                <a:gd name="connsiteY13" fmla="*/ 2124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03" y="8029"/>
                    <a:pt x="407" y="8858"/>
                    <a:pt x="1283" y="9267"/>
                  </a:cubicBezTo>
                  <a:lnTo>
                    <a:pt x="13856" y="16506"/>
                  </a:lnTo>
                  <a:cubicBezTo>
                    <a:pt x="16275" y="17744"/>
                    <a:pt x="19152" y="17744"/>
                    <a:pt x="21571" y="16506"/>
                  </a:cubicBezTo>
                  <a:lnTo>
                    <a:pt x="34144" y="9267"/>
                  </a:lnTo>
                  <a:cubicBezTo>
                    <a:pt x="35030" y="8829"/>
                    <a:pt x="35640" y="7972"/>
                    <a:pt x="35764" y="6981"/>
                  </a:cubicBezTo>
                  <a:lnTo>
                    <a:pt x="35764" y="-163"/>
                  </a:lnTo>
                  <a:cubicBezTo>
                    <a:pt x="35659" y="828"/>
                    <a:pt x="35049" y="1695"/>
                    <a:pt x="34144" y="2124"/>
                  </a:cubicBezTo>
                  <a:lnTo>
                    <a:pt x="31858" y="3457"/>
                  </a:lnTo>
                  <a:lnTo>
                    <a:pt x="21571" y="9362"/>
                  </a:lnTo>
                  <a:cubicBezTo>
                    <a:pt x="19152" y="10601"/>
                    <a:pt x="16275" y="10601"/>
                    <a:pt x="13856" y="9362"/>
                  </a:cubicBezTo>
                  <a:lnTo>
                    <a:pt x="3569" y="3457"/>
                  </a:lnTo>
                  <a:lnTo>
                    <a:pt x="1283" y="2124"/>
                  </a:lnTo>
                  <a:cubicBezTo>
                    <a:pt x="378" y="1695"/>
                    <a:pt x="-231"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33" name="íṡ1íḓê">
              <a:extLst>
                <a:ext uri="{FF2B5EF4-FFF2-40B4-BE49-F238E27FC236}">
                  <a16:creationId xmlns:a16="http://schemas.microsoft.com/office/drawing/2014/main" id="{0B87FBBC-EF02-4613-A4D9-E95EE405E58C}"/>
                </a:ext>
              </a:extLst>
            </p:cNvPr>
            <p:cNvSpPr/>
            <p:nvPr/>
          </p:nvSpPr>
          <p:spPr>
            <a:xfrm>
              <a:off x="6240001" y="5219056"/>
              <a:ext cx="109594" cy="63588"/>
            </a:xfrm>
            <a:custGeom>
              <a:avLst/>
              <a:gdLst>
                <a:gd name="connsiteX0" fmla="*/ -336 w 36004"/>
                <a:gd name="connsiteY0" fmla="*/ 10291 h 20890"/>
                <a:gd name="connsiteX1" fmla="*/ 1188 w 36004"/>
                <a:gd name="connsiteY1" fmla="*/ 12482 h 20890"/>
                <a:gd name="connsiteX2" fmla="*/ 3569 w 36004"/>
                <a:gd name="connsiteY2" fmla="*/ 13911 h 20890"/>
                <a:gd name="connsiteX3" fmla="*/ 13856 w 36004"/>
                <a:gd name="connsiteY3" fmla="*/ 19721 h 20890"/>
                <a:gd name="connsiteX4" fmla="*/ 21476 w 36004"/>
                <a:gd name="connsiteY4" fmla="*/ 19721 h 20890"/>
                <a:gd name="connsiteX5" fmla="*/ 31763 w 36004"/>
                <a:gd name="connsiteY5" fmla="*/ 13911 h 20890"/>
                <a:gd name="connsiteX6" fmla="*/ 34144 w 36004"/>
                <a:gd name="connsiteY6" fmla="*/ 12482 h 20890"/>
                <a:gd name="connsiteX7" fmla="*/ 35668 w 36004"/>
                <a:gd name="connsiteY7" fmla="*/ 10291 h 20890"/>
                <a:gd name="connsiteX8" fmla="*/ 34144 w 36004"/>
                <a:gd name="connsiteY8" fmla="*/ 8005 h 20890"/>
                <a:gd name="connsiteX9" fmla="*/ 21476 w 36004"/>
                <a:gd name="connsiteY9" fmla="*/ 766 h 20890"/>
                <a:gd name="connsiteX10" fmla="*/ 13856 w 36004"/>
                <a:gd name="connsiteY10" fmla="*/ 766 h 20890"/>
                <a:gd name="connsiteX11" fmla="*/ 1188 w 36004"/>
                <a:gd name="connsiteY11" fmla="*/ 8005 h 20890"/>
                <a:gd name="connsiteX12" fmla="*/ -336 w 36004"/>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291"/>
                  </a:moveTo>
                  <a:cubicBezTo>
                    <a:pt x="-279" y="11244"/>
                    <a:pt x="311" y="12091"/>
                    <a:pt x="1188" y="12482"/>
                  </a:cubicBezTo>
                  <a:lnTo>
                    <a:pt x="3569" y="13911"/>
                  </a:lnTo>
                  <a:lnTo>
                    <a:pt x="13856" y="19721"/>
                  </a:lnTo>
                  <a:cubicBezTo>
                    <a:pt x="16218" y="21064"/>
                    <a:pt x="19114" y="21064"/>
                    <a:pt x="21476" y="19721"/>
                  </a:cubicBezTo>
                  <a:lnTo>
                    <a:pt x="31763" y="13911"/>
                  </a:lnTo>
                  <a:lnTo>
                    <a:pt x="34144" y="12482"/>
                  </a:lnTo>
                  <a:cubicBezTo>
                    <a:pt x="35021" y="12091"/>
                    <a:pt x="35611" y="11253"/>
                    <a:pt x="35668" y="10291"/>
                  </a:cubicBezTo>
                  <a:cubicBezTo>
                    <a:pt x="35602" y="9310"/>
                    <a:pt x="35021" y="8443"/>
                    <a:pt x="34144" y="8005"/>
                  </a:cubicBezTo>
                  <a:lnTo>
                    <a:pt x="21476" y="766"/>
                  </a:lnTo>
                  <a:cubicBezTo>
                    <a:pt x="19085" y="-472"/>
                    <a:pt x="16247" y="-472"/>
                    <a:pt x="13856" y="766"/>
                  </a:cubicBezTo>
                  <a:lnTo>
                    <a:pt x="1188" y="8005"/>
                  </a:lnTo>
                  <a:cubicBezTo>
                    <a:pt x="311" y="8443"/>
                    <a:pt x="-270" y="9310"/>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634" name="iṥľîḑè">
              <a:extLst>
                <a:ext uri="{FF2B5EF4-FFF2-40B4-BE49-F238E27FC236}">
                  <a16:creationId xmlns:a16="http://schemas.microsoft.com/office/drawing/2014/main" id="{0BD6F299-61C4-4F1D-A889-908C1DCA85BA}"/>
                </a:ext>
              </a:extLst>
            </p:cNvPr>
            <p:cNvSpPr/>
            <p:nvPr/>
          </p:nvSpPr>
          <p:spPr>
            <a:xfrm>
              <a:off x="6241885" y="5220218"/>
              <a:ext cx="105825" cy="61101"/>
            </a:xfrm>
            <a:custGeom>
              <a:avLst/>
              <a:gdLst>
                <a:gd name="connsiteX0" fmla="*/ 1235 w 34766"/>
                <a:gd name="connsiteY0" fmla="*/ 12006 h 20073"/>
                <a:gd name="connsiteX1" fmla="*/ 13332 w 34766"/>
                <a:gd name="connsiteY1" fmla="*/ 19054 h 20073"/>
                <a:gd name="connsiteX2" fmla="*/ 20761 w 34766"/>
                <a:gd name="connsiteY2" fmla="*/ 19054 h 20073"/>
                <a:gd name="connsiteX3" fmla="*/ 32858 w 34766"/>
                <a:gd name="connsiteY3" fmla="*/ 12006 h 20073"/>
                <a:gd name="connsiteX4" fmla="*/ 32858 w 34766"/>
                <a:gd name="connsiteY4" fmla="*/ 7719 h 20073"/>
                <a:gd name="connsiteX5" fmla="*/ 20761 w 34766"/>
                <a:gd name="connsiteY5" fmla="*/ 766 h 20073"/>
                <a:gd name="connsiteX6" fmla="*/ 13332 w 34766"/>
                <a:gd name="connsiteY6" fmla="*/ 766 h 20073"/>
                <a:gd name="connsiteX7" fmla="*/ 1235 w 34766"/>
                <a:gd name="connsiteY7" fmla="*/ 7719 h 20073"/>
                <a:gd name="connsiteX8" fmla="*/ 1235 w 34766"/>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6" h="20073">
                  <a:moveTo>
                    <a:pt x="1235" y="12006"/>
                  </a:moveTo>
                  <a:lnTo>
                    <a:pt x="13332" y="19054"/>
                  </a:lnTo>
                  <a:cubicBezTo>
                    <a:pt x="15675" y="20197"/>
                    <a:pt x="18418" y="20197"/>
                    <a:pt x="20761" y="19054"/>
                  </a:cubicBezTo>
                  <a:lnTo>
                    <a:pt x="32858" y="12006"/>
                  </a:lnTo>
                  <a:cubicBezTo>
                    <a:pt x="34954" y="10863"/>
                    <a:pt x="34954" y="8957"/>
                    <a:pt x="32858" y="7719"/>
                  </a:cubicBezTo>
                  <a:lnTo>
                    <a:pt x="20761" y="766"/>
                  </a:lnTo>
                  <a:cubicBezTo>
                    <a:pt x="18437" y="-472"/>
                    <a:pt x="15656" y="-472"/>
                    <a:pt x="13332" y="766"/>
                  </a:cubicBezTo>
                  <a:lnTo>
                    <a:pt x="1235" y="7719"/>
                  </a:lnTo>
                  <a:cubicBezTo>
                    <a:pt x="-860" y="8957"/>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635" name="ïšḻidè">
              <a:extLst>
                <a:ext uri="{FF2B5EF4-FFF2-40B4-BE49-F238E27FC236}">
                  <a16:creationId xmlns:a16="http://schemas.microsoft.com/office/drawing/2014/main" id="{A7576B87-6F2E-4CC2-8FC7-0DED50BDAD78}"/>
                </a:ext>
              </a:extLst>
            </p:cNvPr>
            <p:cNvSpPr/>
            <p:nvPr/>
          </p:nvSpPr>
          <p:spPr>
            <a:xfrm>
              <a:off x="6240001" y="5250877"/>
              <a:ext cx="109594" cy="53564"/>
            </a:xfrm>
            <a:custGeom>
              <a:avLst/>
              <a:gdLst>
                <a:gd name="connsiteX0" fmla="*/ -336 w 36004"/>
                <a:gd name="connsiteY0" fmla="*/ -163 h 17597"/>
                <a:gd name="connsiteX1" fmla="*/ -336 w 36004"/>
                <a:gd name="connsiteY1" fmla="*/ 6981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028 h 17597"/>
                <a:gd name="connsiteX9" fmla="*/ 31763 w 36004"/>
                <a:gd name="connsiteY9" fmla="*/ 3457 h 17597"/>
                <a:gd name="connsiteX10" fmla="*/ 21476 w 36004"/>
                <a:gd name="connsiteY10" fmla="*/ 9267 h 17597"/>
                <a:gd name="connsiteX11" fmla="*/ 13856 w 36004"/>
                <a:gd name="connsiteY11" fmla="*/ 9267 h 17597"/>
                <a:gd name="connsiteX12" fmla="*/ 3569 w 36004"/>
                <a:gd name="connsiteY12" fmla="*/ 3457 h 17597"/>
                <a:gd name="connsiteX13" fmla="*/ 1188 w 36004"/>
                <a:gd name="connsiteY13" fmla="*/ 2028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6981"/>
                  </a:lnTo>
                  <a:cubicBezTo>
                    <a:pt x="-270" y="7962"/>
                    <a:pt x="311" y="8829"/>
                    <a:pt x="1188" y="9267"/>
                  </a:cubicBezTo>
                  <a:lnTo>
                    <a:pt x="13856" y="16506"/>
                  </a:lnTo>
                  <a:cubicBezTo>
                    <a:pt x="16247" y="17744"/>
                    <a:pt x="19085" y="17744"/>
                    <a:pt x="21476" y="16506"/>
                  </a:cubicBezTo>
                  <a:lnTo>
                    <a:pt x="34144" y="9267"/>
                  </a:lnTo>
                  <a:cubicBezTo>
                    <a:pt x="35011" y="8819"/>
                    <a:pt x="35582" y="7953"/>
                    <a:pt x="35668" y="6981"/>
                  </a:cubicBezTo>
                  <a:lnTo>
                    <a:pt x="35668" y="-163"/>
                  </a:lnTo>
                  <a:cubicBezTo>
                    <a:pt x="35611" y="790"/>
                    <a:pt x="35021" y="1638"/>
                    <a:pt x="34144" y="2028"/>
                  </a:cubicBezTo>
                  <a:lnTo>
                    <a:pt x="31763" y="3457"/>
                  </a:lnTo>
                  <a:lnTo>
                    <a:pt x="21476" y="9267"/>
                  </a:lnTo>
                  <a:cubicBezTo>
                    <a:pt x="19114" y="10610"/>
                    <a:pt x="16218" y="10610"/>
                    <a:pt x="13856" y="9267"/>
                  </a:cubicBezTo>
                  <a:lnTo>
                    <a:pt x="3569" y="3457"/>
                  </a:lnTo>
                  <a:lnTo>
                    <a:pt x="1188" y="2028"/>
                  </a:lnTo>
                  <a:cubicBezTo>
                    <a:pt x="311" y="1638"/>
                    <a:pt x="-279" y="800"/>
                    <a:pt x="-336" y="-163"/>
                  </a:cubicBezTo>
                  <a:close/>
                </a:path>
              </a:pathLst>
            </a:custGeom>
            <a:solidFill>
              <a:srgbClr val="BF4200"/>
            </a:solidFill>
            <a:ln w="9525" cap="flat">
              <a:noFill/>
              <a:prstDash val="solid"/>
              <a:miter/>
            </a:ln>
          </p:spPr>
          <p:txBody>
            <a:bodyPr rtlCol="0" anchor="ctr"/>
            <a:lstStyle/>
            <a:p>
              <a:endParaRPr lang="zh-CN" altLang="en-US"/>
            </a:p>
          </p:txBody>
        </p:sp>
        <p:sp>
          <p:nvSpPr>
            <p:cNvPr id="636" name="ïṧlíḍe">
              <a:extLst>
                <a:ext uri="{FF2B5EF4-FFF2-40B4-BE49-F238E27FC236}">
                  <a16:creationId xmlns:a16="http://schemas.microsoft.com/office/drawing/2014/main" id="{F06E6E87-8409-43F4-80C0-7C96DDFCA79F}"/>
                </a:ext>
              </a:extLst>
            </p:cNvPr>
            <p:cNvSpPr/>
            <p:nvPr/>
          </p:nvSpPr>
          <p:spPr>
            <a:xfrm>
              <a:off x="6319441" y="5266803"/>
              <a:ext cx="146416" cy="84551"/>
            </a:xfrm>
            <a:custGeom>
              <a:avLst/>
              <a:gdLst>
                <a:gd name="connsiteX0" fmla="*/ -336 w 48101"/>
                <a:gd name="connsiteY0" fmla="*/ 9941 h 27777"/>
                <a:gd name="connsiteX1" fmla="*/ 1188 w 48101"/>
                <a:gd name="connsiteY1" fmla="*/ 12227 h 27777"/>
                <a:gd name="connsiteX2" fmla="*/ 3569 w 48101"/>
                <a:gd name="connsiteY2" fmla="*/ 13560 h 27777"/>
                <a:gd name="connsiteX3" fmla="*/ 25857 w 48101"/>
                <a:gd name="connsiteY3" fmla="*/ 26800 h 27777"/>
                <a:gd name="connsiteX4" fmla="*/ 33573 w 48101"/>
                <a:gd name="connsiteY4" fmla="*/ 26800 h 27777"/>
                <a:gd name="connsiteX5" fmla="*/ 43860 w 48101"/>
                <a:gd name="connsiteY5" fmla="*/ 20799 h 27777"/>
                <a:gd name="connsiteX6" fmla="*/ 46241 w 48101"/>
                <a:gd name="connsiteY6" fmla="*/ 19466 h 27777"/>
                <a:gd name="connsiteX7" fmla="*/ 47765 w 48101"/>
                <a:gd name="connsiteY7" fmla="*/ 17847 h 27777"/>
                <a:gd name="connsiteX8" fmla="*/ 47765 w 48101"/>
                <a:gd name="connsiteY8" fmla="*/ 16704 h 27777"/>
                <a:gd name="connsiteX9" fmla="*/ 46241 w 48101"/>
                <a:gd name="connsiteY9" fmla="*/ 14989 h 27777"/>
                <a:gd name="connsiteX10" fmla="*/ 21476 w 48101"/>
                <a:gd name="connsiteY10" fmla="*/ 702 h 27777"/>
                <a:gd name="connsiteX11" fmla="*/ 13856 w 48101"/>
                <a:gd name="connsiteY11" fmla="*/ 702 h 27777"/>
                <a:gd name="connsiteX12" fmla="*/ 1188 w 48101"/>
                <a:gd name="connsiteY12" fmla="*/ 8036 h 27777"/>
                <a:gd name="connsiteX13" fmla="*/ -336 w 48101"/>
                <a:gd name="connsiteY13" fmla="*/ 9941 h 27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8101" h="27777">
                  <a:moveTo>
                    <a:pt x="-336" y="9941"/>
                  </a:moveTo>
                  <a:cubicBezTo>
                    <a:pt x="-269" y="10922"/>
                    <a:pt x="311" y="11789"/>
                    <a:pt x="1188" y="12227"/>
                  </a:cubicBezTo>
                  <a:lnTo>
                    <a:pt x="3569" y="13560"/>
                  </a:lnTo>
                  <a:lnTo>
                    <a:pt x="25857" y="26800"/>
                  </a:lnTo>
                  <a:cubicBezTo>
                    <a:pt x="28315" y="27886"/>
                    <a:pt x="31115" y="27886"/>
                    <a:pt x="33573" y="26800"/>
                  </a:cubicBezTo>
                  <a:lnTo>
                    <a:pt x="43860" y="20799"/>
                  </a:lnTo>
                  <a:lnTo>
                    <a:pt x="46241" y="19466"/>
                  </a:lnTo>
                  <a:cubicBezTo>
                    <a:pt x="46955" y="19161"/>
                    <a:pt x="47508" y="18580"/>
                    <a:pt x="47765" y="17847"/>
                  </a:cubicBezTo>
                  <a:lnTo>
                    <a:pt x="47765" y="16704"/>
                  </a:lnTo>
                  <a:cubicBezTo>
                    <a:pt x="47479" y="15961"/>
                    <a:pt x="46946" y="15351"/>
                    <a:pt x="46241" y="14989"/>
                  </a:cubicBezTo>
                  <a:lnTo>
                    <a:pt x="21476" y="702"/>
                  </a:lnTo>
                  <a:cubicBezTo>
                    <a:pt x="19066" y="-451"/>
                    <a:pt x="16266" y="-451"/>
                    <a:pt x="13856" y="702"/>
                  </a:cubicBezTo>
                  <a:lnTo>
                    <a:pt x="1188" y="8036"/>
                  </a:lnTo>
                  <a:cubicBezTo>
                    <a:pt x="416" y="8398"/>
                    <a:pt x="-155" y="9103"/>
                    <a:pt x="-336" y="9941"/>
                  </a:cubicBezTo>
                  <a:close/>
                </a:path>
              </a:pathLst>
            </a:custGeom>
            <a:solidFill>
              <a:srgbClr val="FFFFFF"/>
            </a:solidFill>
            <a:ln w="9525" cap="flat">
              <a:noFill/>
              <a:prstDash val="solid"/>
              <a:miter/>
            </a:ln>
          </p:spPr>
          <p:txBody>
            <a:bodyPr rtlCol="0" anchor="ctr"/>
            <a:lstStyle/>
            <a:p>
              <a:endParaRPr lang="zh-CN" altLang="en-US"/>
            </a:p>
          </p:txBody>
        </p:sp>
        <p:sp>
          <p:nvSpPr>
            <p:cNvPr id="637" name="ïṩḷiḑè">
              <a:extLst>
                <a:ext uri="{FF2B5EF4-FFF2-40B4-BE49-F238E27FC236}">
                  <a16:creationId xmlns:a16="http://schemas.microsoft.com/office/drawing/2014/main" id="{144B36BB-DEDA-4168-A288-9E973391AED3}"/>
                </a:ext>
              </a:extLst>
            </p:cNvPr>
            <p:cNvSpPr/>
            <p:nvPr/>
          </p:nvSpPr>
          <p:spPr>
            <a:xfrm>
              <a:off x="6321325" y="5267113"/>
              <a:ext cx="142645" cy="82338"/>
            </a:xfrm>
            <a:custGeom>
              <a:avLst/>
              <a:gdLst>
                <a:gd name="connsiteX0" fmla="*/ 25429 w 46862"/>
                <a:gd name="connsiteY0" fmla="*/ 26031 h 27050"/>
                <a:gd name="connsiteX1" fmla="*/ 1235 w 46862"/>
                <a:gd name="connsiteY1" fmla="*/ 12029 h 27050"/>
                <a:gd name="connsiteX2" fmla="*/ 1235 w 46862"/>
                <a:gd name="connsiteY2" fmla="*/ 7743 h 27050"/>
                <a:gd name="connsiteX3" fmla="*/ 13332 w 46862"/>
                <a:gd name="connsiteY3" fmla="*/ 695 h 27050"/>
                <a:gd name="connsiteX4" fmla="*/ 20761 w 46862"/>
                <a:gd name="connsiteY4" fmla="*/ 695 h 27050"/>
                <a:gd name="connsiteX5" fmla="*/ 44955 w 46862"/>
                <a:gd name="connsiteY5" fmla="*/ 14696 h 27050"/>
                <a:gd name="connsiteX6" fmla="*/ 44955 w 46862"/>
                <a:gd name="connsiteY6" fmla="*/ 18983 h 27050"/>
                <a:gd name="connsiteX7" fmla="*/ 32858 w 46862"/>
                <a:gd name="connsiteY7" fmla="*/ 26031 h 27050"/>
                <a:gd name="connsiteX8" fmla="*/ 25429 w 46862"/>
                <a:gd name="connsiteY8" fmla="*/ 26031 h 27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862" h="27050">
                  <a:moveTo>
                    <a:pt x="25429" y="26031"/>
                  </a:moveTo>
                  <a:lnTo>
                    <a:pt x="1235" y="12029"/>
                  </a:lnTo>
                  <a:cubicBezTo>
                    <a:pt x="-860" y="10791"/>
                    <a:pt x="-860" y="8886"/>
                    <a:pt x="1235" y="7743"/>
                  </a:cubicBezTo>
                  <a:lnTo>
                    <a:pt x="13332" y="695"/>
                  </a:lnTo>
                  <a:cubicBezTo>
                    <a:pt x="15675" y="-448"/>
                    <a:pt x="18418" y="-448"/>
                    <a:pt x="20761" y="695"/>
                  </a:cubicBezTo>
                  <a:lnTo>
                    <a:pt x="44955" y="14696"/>
                  </a:lnTo>
                  <a:cubicBezTo>
                    <a:pt x="47051" y="15935"/>
                    <a:pt x="47051" y="17840"/>
                    <a:pt x="44955" y="18983"/>
                  </a:cubicBezTo>
                  <a:lnTo>
                    <a:pt x="32858" y="26031"/>
                  </a:lnTo>
                  <a:cubicBezTo>
                    <a:pt x="30515" y="27174"/>
                    <a:pt x="27772" y="27174"/>
                    <a:pt x="25429" y="26031"/>
                  </a:cubicBezTo>
                  <a:close/>
                </a:path>
              </a:pathLst>
            </a:custGeom>
            <a:solidFill>
              <a:srgbClr val="D1D9E8"/>
            </a:solidFill>
            <a:ln w="9525" cap="flat">
              <a:noFill/>
              <a:prstDash val="solid"/>
              <a:miter/>
            </a:ln>
          </p:spPr>
          <p:txBody>
            <a:bodyPr rtlCol="0" anchor="ctr"/>
            <a:lstStyle/>
            <a:p>
              <a:endParaRPr lang="zh-CN" altLang="en-US"/>
            </a:p>
          </p:txBody>
        </p:sp>
        <p:sp>
          <p:nvSpPr>
            <p:cNvPr id="638" name="ï$ľïḓe">
              <a:extLst>
                <a:ext uri="{FF2B5EF4-FFF2-40B4-BE49-F238E27FC236}">
                  <a16:creationId xmlns:a16="http://schemas.microsoft.com/office/drawing/2014/main" id="{43370BBD-4A7E-4ECB-8A96-8EE709E31B3B}"/>
                </a:ext>
              </a:extLst>
            </p:cNvPr>
            <p:cNvSpPr/>
            <p:nvPr/>
          </p:nvSpPr>
          <p:spPr>
            <a:xfrm>
              <a:off x="6319441" y="5297558"/>
              <a:ext cx="145256" cy="75599"/>
            </a:xfrm>
            <a:custGeom>
              <a:avLst/>
              <a:gdLst>
                <a:gd name="connsiteX0" fmla="*/ -336 w 47720"/>
                <a:gd name="connsiteY0" fmla="*/ -163 h 24836"/>
                <a:gd name="connsiteX1" fmla="*/ -336 w 47720"/>
                <a:gd name="connsiteY1" fmla="*/ 7172 h 24836"/>
                <a:gd name="connsiteX2" fmla="*/ 1188 w 47720"/>
                <a:gd name="connsiteY2" fmla="*/ 9457 h 24836"/>
                <a:gd name="connsiteX3" fmla="*/ 25857 w 47720"/>
                <a:gd name="connsiteY3" fmla="*/ 23745 h 24836"/>
                <a:gd name="connsiteX4" fmla="*/ 33573 w 47720"/>
                <a:gd name="connsiteY4" fmla="*/ 23745 h 24836"/>
                <a:gd name="connsiteX5" fmla="*/ 45860 w 47720"/>
                <a:gd name="connsiteY5" fmla="*/ 16697 h 24836"/>
                <a:gd name="connsiteX6" fmla="*/ 47384 w 47720"/>
                <a:gd name="connsiteY6" fmla="*/ 15077 h 24836"/>
                <a:gd name="connsiteX7" fmla="*/ 47384 w 47720"/>
                <a:gd name="connsiteY7" fmla="*/ 7172 h 24836"/>
                <a:gd name="connsiteX8" fmla="*/ 45860 w 47720"/>
                <a:gd name="connsiteY8" fmla="*/ 8791 h 24836"/>
                <a:gd name="connsiteX9" fmla="*/ 43479 w 47720"/>
                <a:gd name="connsiteY9" fmla="*/ 10124 h 24836"/>
                <a:gd name="connsiteX10" fmla="*/ 33192 w 47720"/>
                <a:gd name="connsiteY10" fmla="*/ 16125 h 24836"/>
                <a:gd name="connsiteX11" fmla="*/ 25476 w 47720"/>
                <a:gd name="connsiteY11" fmla="*/ 16125 h 24836"/>
                <a:gd name="connsiteX12" fmla="*/ 3188 w 47720"/>
                <a:gd name="connsiteY12" fmla="*/ 3171 h 24836"/>
                <a:gd name="connsiteX13" fmla="*/ 807 w 47720"/>
                <a:gd name="connsiteY13" fmla="*/ 1838 h 24836"/>
                <a:gd name="connsiteX14" fmla="*/ -336 w 47720"/>
                <a:gd name="connsiteY14" fmla="*/ -163 h 24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7720" h="24836">
                  <a:moveTo>
                    <a:pt x="-336" y="-163"/>
                  </a:moveTo>
                  <a:lnTo>
                    <a:pt x="-336" y="7172"/>
                  </a:lnTo>
                  <a:cubicBezTo>
                    <a:pt x="-308" y="8162"/>
                    <a:pt x="283" y="9057"/>
                    <a:pt x="1188" y="9457"/>
                  </a:cubicBezTo>
                  <a:lnTo>
                    <a:pt x="25857" y="23745"/>
                  </a:lnTo>
                  <a:cubicBezTo>
                    <a:pt x="28277" y="24983"/>
                    <a:pt x="31153" y="24983"/>
                    <a:pt x="33573" y="23745"/>
                  </a:cubicBezTo>
                  <a:lnTo>
                    <a:pt x="45860" y="16697"/>
                  </a:lnTo>
                  <a:cubicBezTo>
                    <a:pt x="46536" y="16344"/>
                    <a:pt x="47070" y="15773"/>
                    <a:pt x="47384" y="15077"/>
                  </a:cubicBezTo>
                  <a:lnTo>
                    <a:pt x="47384" y="7172"/>
                  </a:lnTo>
                  <a:cubicBezTo>
                    <a:pt x="47127" y="7905"/>
                    <a:pt x="46574" y="8486"/>
                    <a:pt x="45860" y="8791"/>
                  </a:cubicBezTo>
                  <a:lnTo>
                    <a:pt x="43479" y="10124"/>
                  </a:lnTo>
                  <a:lnTo>
                    <a:pt x="33192" y="16125"/>
                  </a:lnTo>
                  <a:cubicBezTo>
                    <a:pt x="30734" y="17211"/>
                    <a:pt x="27934" y="17211"/>
                    <a:pt x="25476" y="16125"/>
                  </a:cubicBezTo>
                  <a:lnTo>
                    <a:pt x="3188" y="3171"/>
                  </a:lnTo>
                  <a:lnTo>
                    <a:pt x="807" y="1838"/>
                  </a:lnTo>
                  <a:cubicBezTo>
                    <a:pt x="149" y="1371"/>
                    <a:pt x="-260" y="637"/>
                    <a:pt x="-336" y="-163"/>
                  </a:cubicBezTo>
                  <a:close/>
                </a:path>
              </a:pathLst>
            </a:custGeom>
            <a:solidFill>
              <a:srgbClr val="BF4200"/>
            </a:solidFill>
            <a:ln w="9525" cap="flat">
              <a:noFill/>
              <a:prstDash val="solid"/>
              <a:miter/>
            </a:ln>
          </p:spPr>
          <p:txBody>
            <a:bodyPr rtlCol="0" anchor="ctr"/>
            <a:lstStyle/>
            <a:p>
              <a:endParaRPr lang="zh-CN" altLang="en-US"/>
            </a:p>
          </p:txBody>
        </p:sp>
        <p:sp>
          <p:nvSpPr>
            <p:cNvPr id="639" name="ïśḷïḓé">
              <a:extLst>
                <a:ext uri="{FF2B5EF4-FFF2-40B4-BE49-F238E27FC236}">
                  <a16:creationId xmlns:a16="http://schemas.microsoft.com/office/drawing/2014/main" id="{DD71FC37-7805-41ED-9226-57575B6EDB5F}"/>
                </a:ext>
              </a:extLst>
            </p:cNvPr>
            <p:cNvSpPr/>
            <p:nvPr/>
          </p:nvSpPr>
          <p:spPr>
            <a:xfrm>
              <a:off x="5155355" y="4683839"/>
              <a:ext cx="140036" cy="81035"/>
            </a:xfrm>
            <a:custGeom>
              <a:avLst/>
              <a:gdLst>
                <a:gd name="connsiteX0" fmla="*/ -336 w 46005"/>
                <a:gd name="connsiteY0" fmla="*/ 10196 h 26622"/>
                <a:gd name="connsiteX1" fmla="*/ 1188 w 46005"/>
                <a:gd name="connsiteY1" fmla="*/ 12482 h 26622"/>
                <a:gd name="connsiteX2" fmla="*/ 3569 w 46005"/>
                <a:gd name="connsiteY2" fmla="*/ 13815 h 26622"/>
                <a:gd name="connsiteX3" fmla="*/ 23762 w 46005"/>
                <a:gd name="connsiteY3" fmla="*/ 25531 h 26622"/>
                <a:gd name="connsiteX4" fmla="*/ 31477 w 46005"/>
                <a:gd name="connsiteY4" fmla="*/ 25531 h 26622"/>
                <a:gd name="connsiteX5" fmla="*/ 41669 w 46005"/>
                <a:gd name="connsiteY5" fmla="*/ 19530 h 26622"/>
                <a:gd name="connsiteX6" fmla="*/ 44146 w 46005"/>
                <a:gd name="connsiteY6" fmla="*/ 18197 h 26622"/>
                <a:gd name="connsiteX7" fmla="*/ 45669 w 46005"/>
                <a:gd name="connsiteY7" fmla="*/ 16578 h 26622"/>
                <a:gd name="connsiteX8" fmla="*/ 45669 w 46005"/>
                <a:gd name="connsiteY8" fmla="*/ 15435 h 26622"/>
                <a:gd name="connsiteX9" fmla="*/ 44146 w 46005"/>
                <a:gd name="connsiteY9" fmla="*/ 13720 h 26622"/>
                <a:gd name="connsiteX10" fmla="*/ 21476 w 46005"/>
                <a:gd name="connsiteY10" fmla="*/ 766 h 26622"/>
                <a:gd name="connsiteX11" fmla="*/ 13856 w 46005"/>
                <a:gd name="connsiteY11" fmla="*/ 766 h 26622"/>
                <a:gd name="connsiteX12" fmla="*/ 1188 w 46005"/>
                <a:gd name="connsiteY12" fmla="*/ 8005 h 26622"/>
                <a:gd name="connsiteX13" fmla="*/ -336 w 46005"/>
                <a:gd name="connsiteY13" fmla="*/ 10196 h 26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005" h="26622">
                  <a:moveTo>
                    <a:pt x="-336" y="10196"/>
                  </a:moveTo>
                  <a:cubicBezTo>
                    <a:pt x="-308" y="11186"/>
                    <a:pt x="283" y="12082"/>
                    <a:pt x="1188" y="12482"/>
                  </a:cubicBezTo>
                  <a:lnTo>
                    <a:pt x="3569" y="13815"/>
                  </a:lnTo>
                  <a:lnTo>
                    <a:pt x="23762" y="25531"/>
                  </a:lnTo>
                  <a:cubicBezTo>
                    <a:pt x="26181" y="26769"/>
                    <a:pt x="29058" y="26769"/>
                    <a:pt x="31477" y="25531"/>
                  </a:cubicBezTo>
                  <a:lnTo>
                    <a:pt x="41669" y="19530"/>
                  </a:lnTo>
                  <a:lnTo>
                    <a:pt x="44146" y="18197"/>
                  </a:lnTo>
                  <a:cubicBezTo>
                    <a:pt x="44860" y="17892"/>
                    <a:pt x="45412" y="17311"/>
                    <a:pt x="45669" y="16578"/>
                  </a:cubicBezTo>
                  <a:lnTo>
                    <a:pt x="45669" y="15435"/>
                  </a:lnTo>
                  <a:cubicBezTo>
                    <a:pt x="45365" y="14711"/>
                    <a:pt x="44822" y="14111"/>
                    <a:pt x="44146" y="13720"/>
                  </a:cubicBezTo>
                  <a:lnTo>
                    <a:pt x="21476" y="766"/>
                  </a:lnTo>
                  <a:cubicBezTo>
                    <a:pt x="19085" y="-472"/>
                    <a:pt x="16247" y="-472"/>
                    <a:pt x="13856" y="766"/>
                  </a:cubicBezTo>
                  <a:lnTo>
                    <a:pt x="1188" y="8005"/>
                  </a:lnTo>
                  <a:cubicBezTo>
                    <a:pt x="340" y="8424"/>
                    <a:pt x="-241" y="925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640" name="iṣḷîḋe">
              <a:extLst>
                <a:ext uri="{FF2B5EF4-FFF2-40B4-BE49-F238E27FC236}">
                  <a16:creationId xmlns:a16="http://schemas.microsoft.com/office/drawing/2014/main" id="{0A985908-C8E8-453F-BA69-52026F72DDEA}"/>
                </a:ext>
              </a:extLst>
            </p:cNvPr>
            <p:cNvSpPr/>
            <p:nvPr/>
          </p:nvSpPr>
          <p:spPr>
            <a:xfrm>
              <a:off x="5158067" y="4684926"/>
              <a:ext cx="136018" cy="78570"/>
            </a:xfrm>
            <a:custGeom>
              <a:avLst/>
              <a:gdLst>
                <a:gd name="connsiteX0" fmla="*/ 23252 w 44685"/>
                <a:gd name="connsiteY0" fmla="*/ 24793 h 25812"/>
                <a:gd name="connsiteX1" fmla="*/ 1154 w 44685"/>
                <a:gd name="connsiteY1" fmla="*/ 12029 h 25812"/>
                <a:gd name="connsiteX2" fmla="*/ -189 w 44685"/>
                <a:gd name="connsiteY2" fmla="*/ 9096 h 25812"/>
                <a:gd name="connsiteX3" fmla="*/ 1154 w 44685"/>
                <a:gd name="connsiteY3" fmla="*/ 7743 h 25812"/>
                <a:gd name="connsiteX4" fmla="*/ 13250 w 44685"/>
                <a:gd name="connsiteY4" fmla="*/ 695 h 25812"/>
                <a:gd name="connsiteX5" fmla="*/ 20680 w 44685"/>
                <a:gd name="connsiteY5" fmla="*/ 695 h 25812"/>
                <a:gd name="connsiteX6" fmla="*/ 42778 w 44685"/>
                <a:gd name="connsiteY6" fmla="*/ 13458 h 25812"/>
                <a:gd name="connsiteX7" fmla="*/ 42778 w 44685"/>
                <a:gd name="connsiteY7" fmla="*/ 17744 h 25812"/>
                <a:gd name="connsiteX8" fmla="*/ 30681 w 44685"/>
                <a:gd name="connsiteY8" fmla="*/ 24793 h 25812"/>
                <a:gd name="connsiteX9" fmla="*/ 23252 w 44685"/>
                <a:gd name="connsiteY9" fmla="*/ 24793 h 25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4685" h="25812">
                  <a:moveTo>
                    <a:pt x="23252" y="24793"/>
                  </a:moveTo>
                  <a:lnTo>
                    <a:pt x="1154" y="12029"/>
                  </a:lnTo>
                  <a:cubicBezTo>
                    <a:pt x="-27" y="11591"/>
                    <a:pt x="-637" y="10277"/>
                    <a:pt x="-189" y="9096"/>
                  </a:cubicBezTo>
                  <a:cubicBezTo>
                    <a:pt x="39" y="8467"/>
                    <a:pt x="535" y="7972"/>
                    <a:pt x="1154" y="7743"/>
                  </a:cubicBezTo>
                  <a:lnTo>
                    <a:pt x="13250" y="695"/>
                  </a:lnTo>
                  <a:cubicBezTo>
                    <a:pt x="15594" y="-448"/>
                    <a:pt x="18337" y="-448"/>
                    <a:pt x="20680" y="695"/>
                  </a:cubicBezTo>
                  <a:lnTo>
                    <a:pt x="42778" y="13458"/>
                  </a:lnTo>
                  <a:cubicBezTo>
                    <a:pt x="44873" y="14696"/>
                    <a:pt x="44873" y="16601"/>
                    <a:pt x="42778" y="17744"/>
                  </a:cubicBezTo>
                  <a:lnTo>
                    <a:pt x="30681" y="24793"/>
                  </a:lnTo>
                  <a:cubicBezTo>
                    <a:pt x="28338" y="25936"/>
                    <a:pt x="25595" y="25936"/>
                    <a:pt x="23252" y="24793"/>
                  </a:cubicBezTo>
                  <a:close/>
                </a:path>
              </a:pathLst>
            </a:custGeom>
            <a:solidFill>
              <a:srgbClr val="D1D9E8"/>
            </a:solidFill>
            <a:ln w="9525" cap="flat">
              <a:noFill/>
              <a:prstDash val="solid"/>
              <a:miter/>
            </a:ln>
          </p:spPr>
          <p:txBody>
            <a:bodyPr rtlCol="0" anchor="ctr"/>
            <a:lstStyle/>
            <a:p>
              <a:endParaRPr lang="zh-CN" altLang="en-US"/>
            </a:p>
          </p:txBody>
        </p:sp>
        <p:sp>
          <p:nvSpPr>
            <p:cNvPr id="641" name="ïSḷíďê">
              <a:extLst>
                <a:ext uri="{FF2B5EF4-FFF2-40B4-BE49-F238E27FC236}">
                  <a16:creationId xmlns:a16="http://schemas.microsoft.com/office/drawing/2014/main" id="{6E5D467F-B04A-4FF8-AF4F-83AD1A4304B3}"/>
                </a:ext>
              </a:extLst>
            </p:cNvPr>
            <p:cNvSpPr/>
            <p:nvPr/>
          </p:nvSpPr>
          <p:spPr>
            <a:xfrm>
              <a:off x="5155355" y="4715368"/>
              <a:ext cx="140036" cy="71249"/>
            </a:xfrm>
            <a:custGeom>
              <a:avLst/>
              <a:gdLst>
                <a:gd name="connsiteX0" fmla="*/ -336 w 46005"/>
                <a:gd name="connsiteY0" fmla="*/ -163 h 23407"/>
                <a:gd name="connsiteX1" fmla="*/ -336 w 46005"/>
                <a:gd name="connsiteY1" fmla="*/ 7076 h 23407"/>
                <a:gd name="connsiteX2" fmla="*/ 1188 w 46005"/>
                <a:gd name="connsiteY2" fmla="*/ 9267 h 23407"/>
                <a:gd name="connsiteX3" fmla="*/ 23762 w 46005"/>
                <a:gd name="connsiteY3" fmla="*/ 22317 h 23407"/>
                <a:gd name="connsiteX4" fmla="*/ 31477 w 46005"/>
                <a:gd name="connsiteY4" fmla="*/ 22317 h 23407"/>
                <a:gd name="connsiteX5" fmla="*/ 44146 w 46005"/>
                <a:gd name="connsiteY5" fmla="*/ 14982 h 23407"/>
                <a:gd name="connsiteX6" fmla="*/ 45669 w 46005"/>
                <a:gd name="connsiteY6" fmla="*/ 13363 h 23407"/>
                <a:gd name="connsiteX7" fmla="*/ 45669 w 46005"/>
                <a:gd name="connsiteY7" fmla="*/ 6219 h 23407"/>
                <a:gd name="connsiteX8" fmla="*/ 44146 w 46005"/>
                <a:gd name="connsiteY8" fmla="*/ 7838 h 23407"/>
                <a:gd name="connsiteX9" fmla="*/ 41669 w 46005"/>
                <a:gd name="connsiteY9" fmla="*/ 9172 h 23407"/>
                <a:gd name="connsiteX10" fmla="*/ 31477 w 46005"/>
                <a:gd name="connsiteY10" fmla="*/ 15173 h 23407"/>
                <a:gd name="connsiteX11" fmla="*/ 23762 w 46005"/>
                <a:gd name="connsiteY11" fmla="*/ 15173 h 23407"/>
                <a:gd name="connsiteX12" fmla="*/ 3569 w 46005"/>
                <a:gd name="connsiteY12" fmla="*/ 3457 h 23407"/>
                <a:gd name="connsiteX13" fmla="*/ 1188 w 46005"/>
                <a:gd name="connsiteY13" fmla="*/ 2124 h 23407"/>
                <a:gd name="connsiteX14" fmla="*/ -336 w 46005"/>
                <a:gd name="connsiteY14" fmla="*/ -163 h 234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6005" h="23407">
                  <a:moveTo>
                    <a:pt x="-336" y="-163"/>
                  </a:moveTo>
                  <a:lnTo>
                    <a:pt x="-336" y="7076"/>
                  </a:lnTo>
                  <a:cubicBezTo>
                    <a:pt x="-279" y="8029"/>
                    <a:pt x="311" y="8877"/>
                    <a:pt x="1188" y="9267"/>
                  </a:cubicBezTo>
                  <a:lnTo>
                    <a:pt x="23762" y="22317"/>
                  </a:lnTo>
                  <a:cubicBezTo>
                    <a:pt x="26181" y="23555"/>
                    <a:pt x="29058" y="23555"/>
                    <a:pt x="31477" y="22317"/>
                  </a:cubicBezTo>
                  <a:lnTo>
                    <a:pt x="44146" y="14982"/>
                  </a:lnTo>
                  <a:cubicBezTo>
                    <a:pt x="44822" y="14630"/>
                    <a:pt x="45355" y="14058"/>
                    <a:pt x="45669" y="13363"/>
                  </a:cubicBezTo>
                  <a:lnTo>
                    <a:pt x="45669" y="6219"/>
                  </a:lnTo>
                  <a:cubicBezTo>
                    <a:pt x="45412" y="6953"/>
                    <a:pt x="44860" y="7534"/>
                    <a:pt x="44146" y="7838"/>
                  </a:cubicBezTo>
                  <a:lnTo>
                    <a:pt x="41669" y="9172"/>
                  </a:lnTo>
                  <a:lnTo>
                    <a:pt x="31477" y="15173"/>
                  </a:lnTo>
                  <a:cubicBezTo>
                    <a:pt x="29058" y="16411"/>
                    <a:pt x="26181" y="16411"/>
                    <a:pt x="23762" y="15173"/>
                  </a:cubicBezTo>
                  <a:lnTo>
                    <a:pt x="3569" y="3457"/>
                  </a:lnTo>
                  <a:lnTo>
                    <a:pt x="1188" y="2124"/>
                  </a:lnTo>
                  <a:cubicBezTo>
                    <a:pt x="283" y="1723"/>
                    <a:pt x="-308"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42" name="íšḻiḍè">
              <a:extLst>
                <a:ext uri="{FF2B5EF4-FFF2-40B4-BE49-F238E27FC236}">
                  <a16:creationId xmlns:a16="http://schemas.microsoft.com/office/drawing/2014/main" id="{5112F7A3-11EE-4E83-B891-3E71A0CE2ADE}"/>
                </a:ext>
              </a:extLst>
            </p:cNvPr>
            <p:cNvSpPr/>
            <p:nvPr/>
          </p:nvSpPr>
          <p:spPr>
            <a:xfrm>
              <a:off x="5264952" y="4746465"/>
              <a:ext cx="109594" cy="63639"/>
            </a:xfrm>
            <a:custGeom>
              <a:avLst/>
              <a:gdLst>
                <a:gd name="connsiteX0" fmla="*/ -336 w 36004"/>
                <a:gd name="connsiteY0" fmla="*/ 10291 h 20907"/>
                <a:gd name="connsiteX1" fmla="*/ 1188 w 36004"/>
                <a:gd name="connsiteY1" fmla="*/ 12577 h 20907"/>
                <a:gd name="connsiteX2" fmla="*/ 3569 w 36004"/>
                <a:gd name="connsiteY2" fmla="*/ 13911 h 20907"/>
                <a:gd name="connsiteX3" fmla="*/ 13856 w 36004"/>
                <a:gd name="connsiteY3" fmla="*/ 19816 h 20907"/>
                <a:gd name="connsiteX4" fmla="*/ 21476 w 36004"/>
                <a:gd name="connsiteY4" fmla="*/ 19816 h 20907"/>
                <a:gd name="connsiteX5" fmla="*/ 31763 w 36004"/>
                <a:gd name="connsiteY5" fmla="*/ 13911 h 20907"/>
                <a:gd name="connsiteX6" fmla="*/ 34144 w 36004"/>
                <a:gd name="connsiteY6" fmla="*/ 12577 h 20907"/>
                <a:gd name="connsiteX7" fmla="*/ 35668 w 36004"/>
                <a:gd name="connsiteY7" fmla="*/ 10291 h 20907"/>
                <a:gd name="connsiteX8" fmla="*/ 34144 w 36004"/>
                <a:gd name="connsiteY8" fmla="*/ 8100 h 20907"/>
                <a:gd name="connsiteX9" fmla="*/ 21476 w 36004"/>
                <a:gd name="connsiteY9" fmla="*/ 766 h 20907"/>
                <a:gd name="connsiteX10" fmla="*/ 13856 w 36004"/>
                <a:gd name="connsiteY10" fmla="*/ 766 h 20907"/>
                <a:gd name="connsiteX11" fmla="*/ 1188 w 36004"/>
                <a:gd name="connsiteY11" fmla="*/ 8100 h 20907"/>
                <a:gd name="connsiteX12" fmla="*/ -336 w 36004"/>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907">
                  <a:moveTo>
                    <a:pt x="-336" y="10291"/>
                  </a:moveTo>
                  <a:cubicBezTo>
                    <a:pt x="-270" y="11272"/>
                    <a:pt x="311" y="12139"/>
                    <a:pt x="1188" y="12577"/>
                  </a:cubicBezTo>
                  <a:lnTo>
                    <a:pt x="3569" y="13911"/>
                  </a:lnTo>
                  <a:lnTo>
                    <a:pt x="13856" y="19816"/>
                  </a:lnTo>
                  <a:cubicBezTo>
                    <a:pt x="16247" y="21054"/>
                    <a:pt x="19085" y="21054"/>
                    <a:pt x="21476" y="19816"/>
                  </a:cubicBezTo>
                  <a:lnTo>
                    <a:pt x="31763" y="13911"/>
                  </a:lnTo>
                  <a:lnTo>
                    <a:pt x="34144" y="12577"/>
                  </a:lnTo>
                  <a:cubicBezTo>
                    <a:pt x="35021" y="12139"/>
                    <a:pt x="35602" y="11272"/>
                    <a:pt x="35668" y="10291"/>
                  </a:cubicBezTo>
                  <a:cubicBezTo>
                    <a:pt x="35611" y="9339"/>
                    <a:pt x="35021" y="8491"/>
                    <a:pt x="34144" y="8100"/>
                  </a:cubicBezTo>
                  <a:lnTo>
                    <a:pt x="21476" y="766"/>
                  </a:lnTo>
                  <a:cubicBezTo>
                    <a:pt x="19085" y="-472"/>
                    <a:pt x="16247" y="-472"/>
                    <a:pt x="13856" y="766"/>
                  </a:cubicBezTo>
                  <a:lnTo>
                    <a:pt x="1188" y="8100"/>
                  </a:lnTo>
                  <a:cubicBezTo>
                    <a:pt x="311" y="8491"/>
                    <a:pt x="-279"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643" name="işḻiḓè">
              <a:extLst>
                <a:ext uri="{FF2B5EF4-FFF2-40B4-BE49-F238E27FC236}">
                  <a16:creationId xmlns:a16="http://schemas.microsoft.com/office/drawing/2014/main" id="{C9DD8A0B-C777-471D-BD71-92398E24CDC1}"/>
                </a:ext>
              </a:extLst>
            </p:cNvPr>
            <p:cNvSpPr/>
            <p:nvPr/>
          </p:nvSpPr>
          <p:spPr>
            <a:xfrm>
              <a:off x="5266763" y="4747624"/>
              <a:ext cx="105895" cy="61101"/>
            </a:xfrm>
            <a:custGeom>
              <a:avLst/>
              <a:gdLst>
                <a:gd name="connsiteX0" fmla="*/ 1164 w 34789"/>
                <a:gd name="connsiteY0" fmla="*/ 12006 h 20073"/>
                <a:gd name="connsiteX1" fmla="*/ 13356 w 34789"/>
                <a:gd name="connsiteY1" fmla="*/ 19054 h 20073"/>
                <a:gd name="connsiteX2" fmla="*/ 20785 w 34789"/>
                <a:gd name="connsiteY2" fmla="*/ 19054 h 20073"/>
                <a:gd name="connsiteX3" fmla="*/ 32882 w 34789"/>
                <a:gd name="connsiteY3" fmla="*/ 12006 h 20073"/>
                <a:gd name="connsiteX4" fmla="*/ 32882 w 34789"/>
                <a:gd name="connsiteY4" fmla="*/ 7719 h 20073"/>
                <a:gd name="connsiteX5" fmla="*/ 20785 w 34789"/>
                <a:gd name="connsiteY5" fmla="*/ 766 h 20073"/>
                <a:gd name="connsiteX6" fmla="*/ 13356 w 34789"/>
                <a:gd name="connsiteY6" fmla="*/ 766 h 20073"/>
                <a:gd name="connsiteX7" fmla="*/ 1164 w 34789"/>
                <a:gd name="connsiteY7" fmla="*/ 7719 h 20073"/>
                <a:gd name="connsiteX8" fmla="*/ 1164 w 34789"/>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89" h="20073">
                  <a:moveTo>
                    <a:pt x="1164" y="12006"/>
                  </a:moveTo>
                  <a:lnTo>
                    <a:pt x="13356" y="19054"/>
                  </a:lnTo>
                  <a:cubicBezTo>
                    <a:pt x="15699" y="20197"/>
                    <a:pt x="18442" y="20197"/>
                    <a:pt x="20785" y="19054"/>
                  </a:cubicBezTo>
                  <a:lnTo>
                    <a:pt x="32882" y="12006"/>
                  </a:lnTo>
                  <a:cubicBezTo>
                    <a:pt x="34977" y="10863"/>
                    <a:pt x="34977" y="8958"/>
                    <a:pt x="32882" y="7719"/>
                  </a:cubicBezTo>
                  <a:lnTo>
                    <a:pt x="20785" y="766"/>
                  </a:lnTo>
                  <a:cubicBezTo>
                    <a:pt x="18461" y="-472"/>
                    <a:pt x="15680" y="-472"/>
                    <a:pt x="13356" y="766"/>
                  </a:cubicBezTo>
                  <a:lnTo>
                    <a:pt x="1164" y="7719"/>
                  </a:lnTo>
                  <a:cubicBezTo>
                    <a:pt x="-836" y="8958"/>
                    <a:pt x="-836" y="10863"/>
                    <a:pt x="1164" y="12006"/>
                  </a:cubicBezTo>
                  <a:close/>
                </a:path>
              </a:pathLst>
            </a:custGeom>
            <a:solidFill>
              <a:srgbClr val="D1D9E8"/>
            </a:solidFill>
            <a:ln w="9525" cap="flat">
              <a:noFill/>
              <a:prstDash val="solid"/>
              <a:miter/>
            </a:ln>
          </p:spPr>
          <p:txBody>
            <a:bodyPr rtlCol="0" anchor="ctr"/>
            <a:lstStyle/>
            <a:p>
              <a:endParaRPr lang="zh-CN" altLang="en-US"/>
            </a:p>
          </p:txBody>
        </p:sp>
        <p:sp>
          <p:nvSpPr>
            <p:cNvPr id="644" name="ïS1îḋê">
              <a:extLst>
                <a:ext uri="{FF2B5EF4-FFF2-40B4-BE49-F238E27FC236}">
                  <a16:creationId xmlns:a16="http://schemas.microsoft.com/office/drawing/2014/main" id="{92E2943E-2894-49B0-8E20-F4DF33812B67}"/>
                </a:ext>
              </a:extLst>
            </p:cNvPr>
            <p:cNvSpPr/>
            <p:nvPr/>
          </p:nvSpPr>
          <p:spPr>
            <a:xfrm>
              <a:off x="5264952" y="4778286"/>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3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3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2" y="7953"/>
                    <a:pt x="35668" y="6981"/>
                  </a:cubicBezTo>
                  <a:lnTo>
                    <a:pt x="35668" y="-163"/>
                  </a:lnTo>
                  <a:cubicBezTo>
                    <a:pt x="35602" y="818"/>
                    <a:pt x="35021" y="1685"/>
                    <a:pt x="34144" y="2123"/>
                  </a:cubicBezTo>
                  <a:lnTo>
                    <a:pt x="31763" y="3457"/>
                  </a:lnTo>
                  <a:lnTo>
                    <a:pt x="21476" y="9362"/>
                  </a:lnTo>
                  <a:cubicBezTo>
                    <a:pt x="19085" y="10601"/>
                    <a:pt x="16247" y="10601"/>
                    <a:pt x="13856" y="9362"/>
                  </a:cubicBezTo>
                  <a:lnTo>
                    <a:pt x="3569" y="3457"/>
                  </a:lnTo>
                  <a:lnTo>
                    <a:pt x="1188"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45" name="íS1ïḋê">
              <a:extLst>
                <a:ext uri="{FF2B5EF4-FFF2-40B4-BE49-F238E27FC236}">
                  <a16:creationId xmlns:a16="http://schemas.microsoft.com/office/drawing/2014/main" id="{95B4C2E7-5FBF-43A1-8DED-B325DC39224F}"/>
                </a:ext>
              </a:extLst>
            </p:cNvPr>
            <p:cNvSpPr/>
            <p:nvPr/>
          </p:nvSpPr>
          <p:spPr>
            <a:xfrm>
              <a:off x="5342073" y="4791116"/>
              <a:ext cx="109883" cy="63588"/>
            </a:xfrm>
            <a:custGeom>
              <a:avLst/>
              <a:gdLst>
                <a:gd name="connsiteX0" fmla="*/ -336 w 36099"/>
                <a:gd name="connsiteY0" fmla="*/ 10291 h 20890"/>
                <a:gd name="connsiteX1" fmla="*/ 1283 w 36099"/>
                <a:gd name="connsiteY1" fmla="*/ 12577 h 20890"/>
                <a:gd name="connsiteX2" fmla="*/ 3569 w 36099"/>
                <a:gd name="connsiteY2" fmla="*/ 13910 h 20890"/>
                <a:gd name="connsiteX3" fmla="*/ 13856 w 36099"/>
                <a:gd name="connsiteY3" fmla="*/ 19721 h 20890"/>
                <a:gd name="connsiteX4" fmla="*/ 21571 w 36099"/>
                <a:gd name="connsiteY4" fmla="*/ 19721 h 20890"/>
                <a:gd name="connsiteX5" fmla="*/ 31858 w 36099"/>
                <a:gd name="connsiteY5" fmla="*/ 13910 h 20890"/>
                <a:gd name="connsiteX6" fmla="*/ 34144 w 36099"/>
                <a:gd name="connsiteY6" fmla="*/ 12577 h 20890"/>
                <a:gd name="connsiteX7" fmla="*/ 35764 w 36099"/>
                <a:gd name="connsiteY7" fmla="*/ 10291 h 20890"/>
                <a:gd name="connsiteX8" fmla="*/ 34144 w 36099"/>
                <a:gd name="connsiteY8" fmla="*/ 8100 h 20890"/>
                <a:gd name="connsiteX9" fmla="*/ 21571 w 36099"/>
                <a:gd name="connsiteY9" fmla="*/ 766 h 20890"/>
                <a:gd name="connsiteX10" fmla="*/ 13856 w 36099"/>
                <a:gd name="connsiteY10" fmla="*/ 766 h 20890"/>
                <a:gd name="connsiteX11" fmla="*/ 1283 w 36099"/>
                <a:gd name="connsiteY11" fmla="*/ 8100 h 20890"/>
                <a:gd name="connsiteX12" fmla="*/ -336 w 36099"/>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99" h="20890">
                  <a:moveTo>
                    <a:pt x="-336" y="10291"/>
                  </a:moveTo>
                  <a:cubicBezTo>
                    <a:pt x="-270" y="11301"/>
                    <a:pt x="359" y="12186"/>
                    <a:pt x="1283" y="12577"/>
                  </a:cubicBezTo>
                  <a:lnTo>
                    <a:pt x="3569" y="13910"/>
                  </a:lnTo>
                  <a:lnTo>
                    <a:pt x="13856" y="19721"/>
                  </a:lnTo>
                  <a:cubicBezTo>
                    <a:pt x="16256" y="21064"/>
                    <a:pt x="19171" y="21064"/>
                    <a:pt x="21571" y="19721"/>
                  </a:cubicBezTo>
                  <a:lnTo>
                    <a:pt x="31858" y="13910"/>
                  </a:lnTo>
                  <a:lnTo>
                    <a:pt x="34144" y="12577"/>
                  </a:lnTo>
                  <a:cubicBezTo>
                    <a:pt x="35049" y="12148"/>
                    <a:pt x="35659" y="11282"/>
                    <a:pt x="35764" y="10291"/>
                  </a:cubicBezTo>
                  <a:cubicBezTo>
                    <a:pt x="35687" y="9310"/>
                    <a:pt x="35059" y="8462"/>
                    <a:pt x="34144" y="8100"/>
                  </a:cubicBezTo>
                  <a:lnTo>
                    <a:pt x="21571" y="766"/>
                  </a:lnTo>
                  <a:cubicBezTo>
                    <a:pt x="19152" y="-472"/>
                    <a:pt x="16275" y="-472"/>
                    <a:pt x="13856" y="766"/>
                  </a:cubicBezTo>
                  <a:lnTo>
                    <a:pt x="1283" y="8100"/>
                  </a:lnTo>
                  <a:cubicBezTo>
                    <a:pt x="349" y="8443"/>
                    <a:pt x="-279" y="9301"/>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646" name="íślîḋé">
              <a:extLst>
                <a:ext uri="{FF2B5EF4-FFF2-40B4-BE49-F238E27FC236}">
                  <a16:creationId xmlns:a16="http://schemas.microsoft.com/office/drawing/2014/main" id="{86554CDE-F7D6-477C-943D-AC85A5DC4CE5}"/>
                </a:ext>
              </a:extLst>
            </p:cNvPr>
            <p:cNvSpPr/>
            <p:nvPr/>
          </p:nvSpPr>
          <p:spPr>
            <a:xfrm>
              <a:off x="5343957" y="4792273"/>
              <a:ext cx="105895" cy="61104"/>
            </a:xfrm>
            <a:custGeom>
              <a:avLst/>
              <a:gdLst>
                <a:gd name="connsiteX0" fmla="*/ 1235 w 34789"/>
                <a:gd name="connsiteY0" fmla="*/ 12006 h 20074"/>
                <a:gd name="connsiteX1" fmla="*/ 13332 w 34789"/>
                <a:gd name="connsiteY1" fmla="*/ 19054 h 20074"/>
                <a:gd name="connsiteX2" fmla="*/ 20761 w 34789"/>
                <a:gd name="connsiteY2" fmla="*/ 19054 h 20074"/>
                <a:gd name="connsiteX3" fmla="*/ 32953 w 34789"/>
                <a:gd name="connsiteY3" fmla="*/ 12006 h 20074"/>
                <a:gd name="connsiteX4" fmla="*/ 32953 w 34789"/>
                <a:gd name="connsiteY4" fmla="*/ 7719 h 20074"/>
                <a:gd name="connsiteX5" fmla="*/ 20761 w 34789"/>
                <a:gd name="connsiteY5" fmla="*/ 766 h 20074"/>
                <a:gd name="connsiteX6" fmla="*/ 13332 w 34789"/>
                <a:gd name="connsiteY6" fmla="*/ 766 h 20074"/>
                <a:gd name="connsiteX7" fmla="*/ 1235 w 34789"/>
                <a:gd name="connsiteY7" fmla="*/ 7719 h 20074"/>
                <a:gd name="connsiteX8" fmla="*/ 1235 w 34789"/>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89" h="20074">
                  <a:moveTo>
                    <a:pt x="1235" y="12006"/>
                  </a:moveTo>
                  <a:lnTo>
                    <a:pt x="13332" y="19054"/>
                  </a:lnTo>
                  <a:cubicBezTo>
                    <a:pt x="15675" y="20197"/>
                    <a:pt x="18418" y="20197"/>
                    <a:pt x="20761" y="19054"/>
                  </a:cubicBezTo>
                  <a:lnTo>
                    <a:pt x="32953" y="12006"/>
                  </a:lnTo>
                  <a:cubicBezTo>
                    <a:pt x="34954" y="10863"/>
                    <a:pt x="34954" y="8958"/>
                    <a:pt x="32953" y="7719"/>
                  </a:cubicBezTo>
                  <a:lnTo>
                    <a:pt x="20761" y="766"/>
                  </a:lnTo>
                  <a:cubicBezTo>
                    <a:pt x="18437" y="-472"/>
                    <a:pt x="15656" y="-472"/>
                    <a:pt x="13332" y="766"/>
                  </a:cubicBezTo>
                  <a:lnTo>
                    <a:pt x="1235" y="7719"/>
                  </a:lnTo>
                  <a:cubicBezTo>
                    <a:pt x="-860" y="8958"/>
                    <a:pt x="-860" y="11244"/>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647" name="îṥľîḍê">
              <a:extLst>
                <a:ext uri="{FF2B5EF4-FFF2-40B4-BE49-F238E27FC236}">
                  <a16:creationId xmlns:a16="http://schemas.microsoft.com/office/drawing/2014/main" id="{7C52CAFB-58F4-4E3B-8132-A428B6FF5FE7}"/>
                </a:ext>
              </a:extLst>
            </p:cNvPr>
            <p:cNvSpPr/>
            <p:nvPr/>
          </p:nvSpPr>
          <p:spPr>
            <a:xfrm>
              <a:off x="5342073" y="4822934"/>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4 w 36099"/>
                <a:gd name="connsiteY6" fmla="*/ 6981 h 17597"/>
                <a:gd name="connsiteX7" fmla="*/ 35764 w 36099"/>
                <a:gd name="connsiteY7" fmla="*/ -163 h 17597"/>
                <a:gd name="connsiteX8" fmla="*/ 34144 w 36099"/>
                <a:gd name="connsiteY8" fmla="*/ 2124 h 17597"/>
                <a:gd name="connsiteX9" fmla="*/ 31858 w 36099"/>
                <a:gd name="connsiteY9" fmla="*/ 3457 h 17597"/>
                <a:gd name="connsiteX10" fmla="*/ 21571 w 36099"/>
                <a:gd name="connsiteY10" fmla="*/ 9267 h 17597"/>
                <a:gd name="connsiteX11" fmla="*/ 13856 w 36099"/>
                <a:gd name="connsiteY11" fmla="*/ 9267 h 17597"/>
                <a:gd name="connsiteX12" fmla="*/ 3569 w 36099"/>
                <a:gd name="connsiteY12" fmla="*/ 3457 h 17597"/>
                <a:gd name="connsiteX13" fmla="*/ 1283 w 36099"/>
                <a:gd name="connsiteY13" fmla="*/ 2124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41" y="8048"/>
                    <a:pt x="387" y="8886"/>
                    <a:pt x="1283" y="9267"/>
                  </a:cubicBezTo>
                  <a:lnTo>
                    <a:pt x="13856" y="16506"/>
                  </a:lnTo>
                  <a:cubicBezTo>
                    <a:pt x="16275" y="17744"/>
                    <a:pt x="19152" y="17744"/>
                    <a:pt x="21571" y="16506"/>
                  </a:cubicBezTo>
                  <a:lnTo>
                    <a:pt x="34144" y="9267"/>
                  </a:lnTo>
                  <a:cubicBezTo>
                    <a:pt x="35030" y="8829"/>
                    <a:pt x="35640" y="7972"/>
                    <a:pt x="35764" y="6981"/>
                  </a:cubicBezTo>
                  <a:lnTo>
                    <a:pt x="35764" y="-163"/>
                  </a:lnTo>
                  <a:cubicBezTo>
                    <a:pt x="35659" y="828"/>
                    <a:pt x="35049" y="1695"/>
                    <a:pt x="34144" y="2124"/>
                  </a:cubicBezTo>
                  <a:lnTo>
                    <a:pt x="31858" y="3457"/>
                  </a:lnTo>
                  <a:lnTo>
                    <a:pt x="21571" y="9267"/>
                  </a:lnTo>
                  <a:cubicBezTo>
                    <a:pt x="19171" y="10610"/>
                    <a:pt x="16256" y="10610"/>
                    <a:pt x="13856" y="9267"/>
                  </a:cubicBezTo>
                  <a:lnTo>
                    <a:pt x="3569" y="3457"/>
                  </a:lnTo>
                  <a:lnTo>
                    <a:pt x="1283" y="2124"/>
                  </a:lnTo>
                  <a:cubicBezTo>
                    <a:pt x="349" y="1733"/>
                    <a:pt x="-270" y="847"/>
                    <a:pt x="-336" y="-163"/>
                  </a:cubicBezTo>
                  <a:close/>
                </a:path>
              </a:pathLst>
            </a:custGeom>
            <a:solidFill>
              <a:srgbClr val="BF4200"/>
            </a:solidFill>
            <a:ln w="9525" cap="flat">
              <a:noFill/>
              <a:prstDash val="solid"/>
              <a:miter/>
            </a:ln>
          </p:spPr>
          <p:txBody>
            <a:bodyPr rtlCol="0" anchor="ctr"/>
            <a:lstStyle/>
            <a:p>
              <a:endParaRPr lang="zh-CN" altLang="en-US"/>
            </a:p>
          </p:txBody>
        </p:sp>
        <p:sp>
          <p:nvSpPr>
            <p:cNvPr id="648" name="íṧḷîḑê">
              <a:extLst>
                <a:ext uri="{FF2B5EF4-FFF2-40B4-BE49-F238E27FC236}">
                  <a16:creationId xmlns:a16="http://schemas.microsoft.com/office/drawing/2014/main" id="{E6E6DCE7-D015-40F4-9037-D1F2C6B589F7}"/>
                </a:ext>
              </a:extLst>
            </p:cNvPr>
            <p:cNvSpPr/>
            <p:nvPr/>
          </p:nvSpPr>
          <p:spPr>
            <a:xfrm>
              <a:off x="5419486" y="4835764"/>
              <a:ext cx="109362" cy="63588"/>
            </a:xfrm>
            <a:custGeom>
              <a:avLst/>
              <a:gdLst>
                <a:gd name="connsiteX0" fmla="*/ -336 w 35928"/>
                <a:gd name="connsiteY0" fmla="*/ 10291 h 20890"/>
                <a:gd name="connsiteX1" fmla="*/ 1188 w 35928"/>
                <a:gd name="connsiteY1" fmla="*/ 12482 h 20890"/>
                <a:gd name="connsiteX2" fmla="*/ 3569 w 35928"/>
                <a:gd name="connsiteY2" fmla="*/ 13911 h 20890"/>
                <a:gd name="connsiteX3" fmla="*/ 13856 w 35928"/>
                <a:gd name="connsiteY3" fmla="*/ 19721 h 20890"/>
                <a:gd name="connsiteX4" fmla="*/ 21476 w 35928"/>
                <a:gd name="connsiteY4" fmla="*/ 19721 h 20890"/>
                <a:gd name="connsiteX5" fmla="*/ 31763 w 35928"/>
                <a:gd name="connsiteY5" fmla="*/ 13911 h 20890"/>
                <a:gd name="connsiteX6" fmla="*/ 34144 w 35928"/>
                <a:gd name="connsiteY6" fmla="*/ 12482 h 20890"/>
                <a:gd name="connsiteX7" fmla="*/ 35402 w 35928"/>
                <a:gd name="connsiteY7" fmla="*/ 9358 h 20890"/>
                <a:gd name="connsiteX8" fmla="*/ 34144 w 35928"/>
                <a:gd name="connsiteY8" fmla="*/ 8101 h 20890"/>
                <a:gd name="connsiteX9" fmla="*/ 21476 w 35928"/>
                <a:gd name="connsiteY9" fmla="*/ 766 h 20890"/>
                <a:gd name="connsiteX10" fmla="*/ 13856 w 35928"/>
                <a:gd name="connsiteY10" fmla="*/ 766 h 20890"/>
                <a:gd name="connsiteX11" fmla="*/ 1188 w 35928"/>
                <a:gd name="connsiteY11" fmla="*/ 8101 h 20890"/>
                <a:gd name="connsiteX12" fmla="*/ -336 w 35928"/>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928" h="20890">
                  <a:moveTo>
                    <a:pt x="-336" y="10291"/>
                  </a:moveTo>
                  <a:cubicBezTo>
                    <a:pt x="-298" y="11253"/>
                    <a:pt x="292" y="12110"/>
                    <a:pt x="1188" y="12482"/>
                  </a:cubicBezTo>
                  <a:lnTo>
                    <a:pt x="3569" y="13911"/>
                  </a:lnTo>
                  <a:lnTo>
                    <a:pt x="13856" y="19721"/>
                  </a:lnTo>
                  <a:cubicBezTo>
                    <a:pt x="16218" y="21064"/>
                    <a:pt x="19114" y="21064"/>
                    <a:pt x="21476" y="19721"/>
                  </a:cubicBezTo>
                  <a:lnTo>
                    <a:pt x="31763" y="13911"/>
                  </a:lnTo>
                  <a:lnTo>
                    <a:pt x="34144" y="12482"/>
                  </a:lnTo>
                  <a:cubicBezTo>
                    <a:pt x="35354" y="11967"/>
                    <a:pt x="35916" y="10567"/>
                    <a:pt x="35402" y="9358"/>
                  </a:cubicBezTo>
                  <a:cubicBezTo>
                    <a:pt x="35164" y="8796"/>
                    <a:pt x="34706" y="8339"/>
                    <a:pt x="34144" y="8101"/>
                  </a:cubicBezTo>
                  <a:lnTo>
                    <a:pt x="21476" y="766"/>
                  </a:lnTo>
                  <a:cubicBezTo>
                    <a:pt x="19085" y="-472"/>
                    <a:pt x="16247" y="-472"/>
                    <a:pt x="13856" y="766"/>
                  </a:cubicBezTo>
                  <a:lnTo>
                    <a:pt x="1188" y="8101"/>
                  </a:lnTo>
                  <a:cubicBezTo>
                    <a:pt x="292" y="8472"/>
                    <a:pt x="-298"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649" name="îsḷíḓe">
              <a:extLst>
                <a:ext uri="{FF2B5EF4-FFF2-40B4-BE49-F238E27FC236}">
                  <a16:creationId xmlns:a16="http://schemas.microsoft.com/office/drawing/2014/main" id="{F2E462A9-0F7E-4F64-9A3E-520814826E2C}"/>
                </a:ext>
              </a:extLst>
            </p:cNvPr>
            <p:cNvSpPr/>
            <p:nvPr/>
          </p:nvSpPr>
          <p:spPr>
            <a:xfrm>
              <a:off x="5421370" y="4836924"/>
              <a:ext cx="105825" cy="61101"/>
            </a:xfrm>
            <a:custGeom>
              <a:avLst/>
              <a:gdLst>
                <a:gd name="connsiteX0" fmla="*/ 1235 w 34766"/>
                <a:gd name="connsiteY0" fmla="*/ 12006 h 20073"/>
                <a:gd name="connsiteX1" fmla="*/ 13332 w 34766"/>
                <a:gd name="connsiteY1" fmla="*/ 19054 h 20073"/>
                <a:gd name="connsiteX2" fmla="*/ 20762 w 34766"/>
                <a:gd name="connsiteY2" fmla="*/ 19054 h 20073"/>
                <a:gd name="connsiteX3" fmla="*/ 32858 w 34766"/>
                <a:gd name="connsiteY3" fmla="*/ 12006 h 20073"/>
                <a:gd name="connsiteX4" fmla="*/ 32858 w 34766"/>
                <a:gd name="connsiteY4" fmla="*/ 7719 h 20073"/>
                <a:gd name="connsiteX5" fmla="*/ 20762 w 34766"/>
                <a:gd name="connsiteY5" fmla="*/ 766 h 20073"/>
                <a:gd name="connsiteX6" fmla="*/ 13332 w 34766"/>
                <a:gd name="connsiteY6" fmla="*/ 766 h 20073"/>
                <a:gd name="connsiteX7" fmla="*/ 1235 w 34766"/>
                <a:gd name="connsiteY7" fmla="*/ 7719 h 20073"/>
                <a:gd name="connsiteX8" fmla="*/ 1235 w 34766"/>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6" h="20073">
                  <a:moveTo>
                    <a:pt x="1235" y="12006"/>
                  </a:moveTo>
                  <a:lnTo>
                    <a:pt x="13332" y="19054"/>
                  </a:lnTo>
                  <a:cubicBezTo>
                    <a:pt x="15675" y="20197"/>
                    <a:pt x="18419" y="20197"/>
                    <a:pt x="20762" y="19054"/>
                  </a:cubicBezTo>
                  <a:lnTo>
                    <a:pt x="32858" y="12006"/>
                  </a:lnTo>
                  <a:cubicBezTo>
                    <a:pt x="34954" y="10863"/>
                    <a:pt x="34954" y="8957"/>
                    <a:pt x="32858" y="7719"/>
                  </a:cubicBezTo>
                  <a:lnTo>
                    <a:pt x="20762" y="766"/>
                  </a:lnTo>
                  <a:cubicBezTo>
                    <a:pt x="18437" y="-472"/>
                    <a:pt x="15656" y="-472"/>
                    <a:pt x="13332" y="766"/>
                  </a:cubicBezTo>
                  <a:lnTo>
                    <a:pt x="1235" y="7719"/>
                  </a:lnTo>
                  <a:cubicBezTo>
                    <a:pt x="-860" y="8957"/>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650" name="isḷïďê">
              <a:extLst>
                <a:ext uri="{FF2B5EF4-FFF2-40B4-BE49-F238E27FC236}">
                  <a16:creationId xmlns:a16="http://schemas.microsoft.com/office/drawing/2014/main" id="{EDEE4D96-BA89-4F73-9AA3-6E38E95DFAA0}"/>
                </a:ext>
              </a:extLst>
            </p:cNvPr>
            <p:cNvSpPr/>
            <p:nvPr/>
          </p:nvSpPr>
          <p:spPr>
            <a:xfrm>
              <a:off x="5419486" y="4867586"/>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028 h 17597"/>
                <a:gd name="connsiteX9" fmla="*/ 31763 w 36004"/>
                <a:gd name="connsiteY9" fmla="*/ 3457 h 17597"/>
                <a:gd name="connsiteX10" fmla="*/ 21476 w 36004"/>
                <a:gd name="connsiteY10" fmla="*/ 9267 h 17597"/>
                <a:gd name="connsiteX11" fmla="*/ 13856 w 36004"/>
                <a:gd name="connsiteY11" fmla="*/ 9267 h 17597"/>
                <a:gd name="connsiteX12" fmla="*/ 3569 w 36004"/>
                <a:gd name="connsiteY12" fmla="*/ 3457 h 17597"/>
                <a:gd name="connsiteX13" fmla="*/ 1188 w 36004"/>
                <a:gd name="connsiteY13" fmla="*/ 2028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3" y="7953"/>
                    <a:pt x="35668" y="6981"/>
                  </a:cubicBezTo>
                  <a:lnTo>
                    <a:pt x="35668" y="-163"/>
                  </a:lnTo>
                  <a:cubicBezTo>
                    <a:pt x="35630" y="800"/>
                    <a:pt x="35040" y="1657"/>
                    <a:pt x="34144" y="2028"/>
                  </a:cubicBezTo>
                  <a:lnTo>
                    <a:pt x="31763" y="3457"/>
                  </a:lnTo>
                  <a:lnTo>
                    <a:pt x="21476" y="9267"/>
                  </a:lnTo>
                  <a:cubicBezTo>
                    <a:pt x="19114" y="10610"/>
                    <a:pt x="16218" y="10610"/>
                    <a:pt x="13856" y="9267"/>
                  </a:cubicBezTo>
                  <a:lnTo>
                    <a:pt x="3569" y="3457"/>
                  </a:lnTo>
                  <a:lnTo>
                    <a:pt x="1188" y="2028"/>
                  </a:lnTo>
                  <a:cubicBezTo>
                    <a:pt x="292" y="1657"/>
                    <a:pt x="-298" y="800"/>
                    <a:pt x="-336" y="-163"/>
                  </a:cubicBezTo>
                  <a:close/>
                </a:path>
              </a:pathLst>
            </a:custGeom>
            <a:solidFill>
              <a:srgbClr val="BF4200"/>
            </a:solidFill>
            <a:ln w="9525" cap="flat">
              <a:noFill/>
              <a:prstDash val="solid"/>
              <a:miter/>
            </a:ln>
          </p:spPr>
          <p:txBody>
            <a:bodyPr rtlCol="0" anchor="ctr"/>
            <a:lstStyle/>
            <a:p>
              <a:endParaRPr lang="zh-CN" altLang="en-US"/>
            </a:p>
          </p:txBody>
        </p:sp>
        <p:sp>
          <p:nvSpPr>
            <p:cNvPr id="651" name="ïṥļiḓe">
              <a:extLst>
                <a:ext uri="{FF2B5EF4-FFF2-40B4-BE49-F238E27FC236}">
                  <a16:creationId xmlns:a16="http://schemas.microsoft.com/office/drawing/2014/main" id="{FDBD5F0D-4AD6-49D8-BCE2-BD4968C67C91}"/>
                </a:ext>
              </a:extLst>
            </p:cNvPr>
            <p:cNvSpPr/>
            <p:nvPr/>
          </p:nvSpPr>
          <p:spPr>
            <a:xfrm>
              <a:off x="5496607" y="4880416"/>
              <a:ext cx="109883" cy="63588"/>
            </a:xfrm>
            <a:custGeom>
              <a:avLst/>
              <a:gdLst>
                <a:gd name="connsiteX0" fmla="*/ -336 w 36099"/>
                <a:gd name="connsiteY0" fmla="*/ 10196 h 20890"/>
                <a:gd name="connsiteX1" fmla="*/ 1283 w 36099"/>
                <a:gd name="connsiteY1" fmla="*/ 12482 h 20890"/>
                <a:gd name="connsiteX2" fmla="*/ 3569 w 36099"/>
                <a:gd name="connsiteY2" fmla="*/ 13815 h 20890"/>
                <a:gd name="connsiteX3" fmla="*/ 13856 w 36099"/>
                <a:gd name="connsiteY3" fmla="*/ 19721 h 20890"/>
                <a:gd name="connsiteX4" fmla="*/ 21571 w 36099"/>
                <a:gd name="connsiteY4" fmla="*/ 19721 h 20890"/>
                <a:gd name="connsiteX5" fmla="*/ 31858 w 36099"/>
                <a:gd name="connsiteY5" fmla="*/ 13815 h 20890"/>
                <a:gd name="connsiteX6" fmla="*/ 34144 w 36099"/>
                <a:gd name="connsiteY6" fmla="*/ 12482 h 20890"/>
                <a:gd name="connsiteX7" fmla="*/ 35764 w 36099"/>
                <a:gd name="connsiteY7" fmla="*/ 10196 h 20890"/>
                <a:gd name="connsiteX8" fmla="*/ 34144 w 36099"/>
                <a:gd name="connsiteY8" fmla="*/ 8005 h 20890"/>
                <a:gd name="connsiteX9" fmla="*/ 21571 w 36099"/>
                <a:gd name="connsiteY9" fmla="*/ 766 h 20890"/>
                <a:gd name="connsiteX10" fmla="*/ 13856 w 36099"/>
                <a:gd name="connsiteY10" fmla="*/ 766 h 20890"/>
                <a:gd name="connsiteX11" fmla="*/ 1283 w 36099"/>
                <a:gd name="connsiteY11" fmla="*/ 8005 h 20890"/>
                <a:gd name="connsiteX12" fmla="*/ -336 w 36099"/>
                <a:gd name="connsiteY12" fmla="*/ 10196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99" h="20890">
                  <a:moveTo>
                    <a:pt x="-336" y="10196"/>
                  </a:moveTo>
                  <a:cubicBezTo>
                    <a:pt x="-251" y="11196"/>
                    <a:pt x="369" y="12072"/>
                    <a:pt x="1283" y="12482"/>
                  </a:cubicBezTo>
                  <a:lnTo>
                    <a:pt x="3569" y="13815"/>
                  </a:lnTo>
                  <a:lnTo>
                    <a:pt x="13856" y="19721"/>
                  </a:lnTo>
                  <a:cubicBezTo>
                    <a:pt x="16256" y="21064"/>
                    <a:pt x="19171" y="21064"/>
                    <a:pt x="21571" y="19721"/>
                  </a:cubicBezTo>
                  <a:lnTo>
                    <a:pt x="31858" y="13815"/>
                  </a:lnTo>
                  <a:lnTo>
                    <a:pt x="34144" y="12482"/>
                  </a:lnTo>
                  <a:cubicBezTo>
                    <a:pt x="35059" y="12072"/>
                    <a:pt x="35678" y="11196"/>
                    <a:pt x="35764" y="10196"/>
                  </a:cubicBezTo>
                  <a:cubicBezTo>
                    <a:pt x="35630" y="9243"/>
                    <a:pt x="35021" y="8415"/>
                    <a:pt x="34144" y="8005"/>
                  </a:cubicBezTo>
                  <a:lnTo>
                    <a:pt x="21571" y="766"/>
                  </a:lnTo>
                  <a:cubicBezTo>
                    <a:pt x="19152" y="-472"/>
                    <a:pt x="16275" y="-472"/>
                    <a:pt x="13856" y="766"/>
                  </a:cubicBezTo>
                  <a:lnTo>
                    <a:pt x="1283" y="8005"/>
                  </a:lnTo>
                  <a:cubicBezTo>
                    <a:pt x="407" y="8415"/>
                    <a:pt x="-203" y="924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652" name="iṣḷíḍè">
              <a:extLst>
                <a:ext uri="{FF2B5EF4-FFF2-40B4-BE49-F238E27FC236}">
                  <a16:creationId xmlns:a16="http://schemas.microsoft.com/office/drawing/2014/main" id="{E86FD64F-15B9-435C-91B2-904E53EAA6C4}"/>
                </a:ext>
              </a:extLst>
            </p:cNvPr>
            <p:cNvSpPr/>
            <p:nvPr/>
          </p:nvSpPr>
          <p:spPr>
            <a:xfrm>
              <a:off x="5498710" y="4881575"/>
              <a:ext cx="105679" cy="61101"/>
            </a:xfrm>
            <a:custGeom>
              <a:avLst/>
              <a:gdLst>
                <a:gd name="connsiteX0" fmla="*/ 1164 w 34718"/>
                <a:gd name="connsiteY0" fmla="*/ 12006 h 20073"/>
                <a:gd name="connsiteX1" fmla="*/ 13260 w 34718"/>
                <a:gd name="connsiteY1" fmla="*/ 19054 h 20073"/>
                <a:gd name="connsiteX2" fmla="*/ 20785 w 34718"/>
                <a:gd name="connsiteY2" fmla="*/ 19054 h 20073"/>
                <a:gd name="connsiteX3" fmla="*/ 32882 w 34718"/>
                <a:gd name="connsiteY3" fmla="*/ 12006 h 20073"/>
                <a:gd name="connsiteX4" fmla="*/ 32882 w 34718"/>
                <a:gd name="connsiteY4" fmla="*/ 7719 h 20073"/>
                <a:gd name="connsiteX5" fmla="*/ 20785 w 34718"/>
                <a:gd name="connsiteY5" fmla="*/ 766 h 20073"/>
                <a:gd name="connsiteX6" fmla="*/ 13260 w 34718"/>
                <a:gd name="connsiteY6" fmla="*/ 766 h 20073"/>
                <a:gd name="connsiteX7" fmla="*/ 1164 w 34718"/>
                <a:gd name="connsiteY7" fmla="*/ 7719 h 20073"/>
                <a:gd name="connsiteX8" fmla="*/ 1164 w 34718"/>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18" h="20073">
                  <a:moveTo>
                    <a:pt x="1164" y="12006"/>
                  </a:moveTo>
                  <a:lnTo>
                    <a:pt x="13260" y="19054"/>
                  </a:lnTo>
                  <a:cubicBezTo>
                    <a:pt x="15642" y="20197"/>
                    <a:pt x="18404" y="20197"/>
                    <a:pt x="20785" y="19054"/>
                  </a:cubicBezTo>
                  <a:lnTo>
                    <a:pt x="32882" y="12006"/>
                  </a:lnTo>
                  <a:cubicBezTo>
                    <a:pt x="34882" y="10863"/>
                    <a:pt x="34882" y="8957"/>
                    <a:pt x="32882" y="7719"/>
                  </a:cubicBezTo>
                  <a:lnTo>
                    <a:pt x="20785" y="766"/>
                  </a:lnTo>
                  <a:cubicBezTo>
                    <a:pt x="18433" y="-472"/>
                    <a:pt x="15613" y="-472"/>
                    <a:pt x="13260" y="766"/>
                  </a:cubicBezTo>
                  <a:lnTo>
                    <a:pt x="1164" y="7719"/>
                  </a:lnTo>
                  <a:cubicBezTo>
                    <a:pt x="-836" y="8957"/>
                    <a:pt x="-836" y="10481"/>
                    <a:pt x="1164" y="12006"/>
                  </a:cubicBezTo>
                  <a:close/>
                </a:path>
              </a:pathLst>
            </a:custGeom>
            <a:solidFill>
              <a:srgbClr val="D1D9E8"/>
            </a:solidFill>
            <a:ln w="9525" cap="flat">
              <a:noFill/>
              <a:prstDash val="solid"/>
              <a:miter/>
            </a:ln>
          </p:spPr>
          <p:txBody>
            <a:bodyPr rtlCol="0" anchor="ctr"/>
            <a:lstStyle/>
            <a:p>
              <a:endParaRPr lang="zh-CN" altLang="en-US"/>
            </a:p>
          </p:txBody>
        </p:sp>
        <p:sp>
          <p:nvSpPr>
            <p:cNvPr id="653" name="ïṡļiḍè">
              <a:extLst>
                <a:ext uri="{FF2B5EF4-FFF2-40B4-BE49-F238E27FC236}">
                  <a16:creationId xmlns:a16="http://schemas.microsoft.com/office/drawing/2014/main" id="{1A8CD1FC-72C2-4F65-825F-4CCF48E49DDA}"/>
                </a:ext>
              </a:extLst>
            </p:cNvPr>
            <p:cNvSpPr/>
            <p:nvPr/>
          </p:nvSpPr>
          <p:spPr>
            <a:xfrm>
              <a:off x="5496607" y="4911945"/>
              <a:ext cx="109883" cy="53804"/>
            </a:xfrm>
            <a:custGeom>
              <a:avLst/>
              <a:gdLst>
                <a:gd name="connsiteX0" fmla="*/ -336 w 36099"/>
                <a:gd name="connsiteY0" fmla="*/ -163 h 17676"/>
                <a:gd name="connsiteX1" fmla="*/ -336 w 36099"/>
                <a:gd name="connsiteY1" fmla="*/ 7076 h 17676"/>
                <a:gd name="connsiteX2" fmla="*/ 1283 w 36099"/>
                <a:gd name="connsiteY2" fmla="*/ 9362 h 17676"/>
                <a:gd name="connsiteX3" fmla="*/ 13856 w 36099"/>
                <a:gd name="connsiteY3" fmla="*/ 16506 h 17676"/>
                <a:gd name="connsiteX4" fmla="*/ 21571 w 36099"/>
                <a:gd name="connsiteY4" fmla="*/ 16506 h 17676"/>
                <a:gd name="connsiteX5" fmla="*/ 34144 w 36099"/>
                <a:gd name="connsiteY5" fmla="*/ 9362 h 17676"/>
                <a:gd name="connsiteX6" fmla="*/ 35764 w 36099"/>
                <a:gd name="connsiteY6" fmla="*/ 7076 h 17676"/>
                <a:gd name="connsiteX7" fmla="*/ 35764 w 36099"/>
                <a:gd name="connsiteY7" fmla="*/ -163 h 17676"/>
                <a:gd name="connsiteX8" fmla="*/ 34144 w 36099"/>
                <a:gd name="connsiteY8" fmla="*/ 2124 h 17676"/>
                <a:gd name="connsiteX9" fmla="*/ 31858 w 36099"/>
                <a:gd name="connsiteY9" fmla="*/ 3457 h 17676"/>
                <a:gd name="connsiteX10" fmla="*/ 21571 w 36099"/>
                <a:gd name="connsiteY10" fmla="*/ 9362 h 17676"/>
                <a:gd name="connsiteX11" fmla="*/ 13856 w 36099"/>
                <a:gd name="connsiteY11" fmla="*/ 9362 h 17676"/>
                <a:gd name="connsiteX12" fmla="*/ 3569 w 36099"/>
                <a:gd name="connsiteY12" fmla="*/ 3457 h 17676"/>
                <a:gd name="connsiteX13" fmla="*/ 1283 w 36099"/>
                <a:gd name="connsiteY13" fmla="*/ 2124 h 17676"/>
                <a:gd name="connsiteX14" fmla="*/ -336 w 36099"/>
                <a:gd name="connsiteY14" fmla="*/ -163 h 17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676">
                  <a:moveTo>
                    <a:pt x="-336" y="-163"/>
                  </a:moveTo>
                  <a:lnTo>
                    <a:pt x="-336" y="7076"/>
                  </a:lnTo>
                  <a:cubicBezTo>
                    <a:pt x="-231" y="8067"/>
                    <a:pt x="378" y="8934"/>
                    <a:pt x="1283" y="9362"/>
                  </a:cubicBezTo>
                  <a:lnTo>
                    <a:pt x="13856" y="16506"/>
                  </a:lnTo>
                  <a:cubicBezTo>
                    <a:pt x="16256" y="17849"/>
                    <a:pt x="19171" y="17849"/>
                    <a:pt x="21571" y="16506"/>
                  </a:cubicBezTo>
                  <a:lnTo>
                    <a:pt x="34144" y="9362"/>
                  </a:lnTo>
                  <a:cubicBezTo>
                    <a:pt x="35030" y="8924"/>
                    <a:pt x="35640" y="8058"/>
                    <a:pt x="35764" y="7076"/>
                  </a:cubicBezTo>
                  <a:lnTo>
                    <a:pt x="35764" y="-163"/>
                  </a:lnTo>
                  <a:cubicBezTo>
                    <a:pt x="35678" y="838"/>
                    <a:pt x="35059" y="1714"/>
                    <a:pt x="34144" y="2124"/>
                  </a:cubicBezTo>
                  <a:lnTo>
                    <a:pt x="31858" y="3457"/>
                  </a:lnTo>
                  <a:lnTo>
                    <a:pt x="21571" y="9362"/>
                  </a:lnTo>
                  <a:cubicBezTo>
                    <a:pt x="19171" y="10706"/>
                    <a:pt x="16256" y="10706"/>
                    <a:pt x="13856" y="9362"/>
                  </a:cubicBezTo>
                  <a:lnTo>
                    <a:pt x="3569" y="3457"/>
                  </a:lnTo>
                  <a:lnTo>
                    <a:pt x="1283" y="2124"/>
                  </a:lnTo>
                  <a:cubicBezTo>
                    <a:pt x="369" y="1714"/>
                    <a:pt x="-251" y="83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54" name="ïşľiḋe">
              <a:extLst>
                <a:ext uri="{FF2B5EF4-FFF2-40B4-BE49-F238E27FC236}">
                  <a16:creationId xmlns:a16="http://schemas.microsoft.com/office/drawing/2014/main" id="{9DFCAFCB-A2AB-477E-A052-326F741B0EB4}"/>
                </a:ext>
              </a:extLst>
            </p:cNvPr>
            <p:cNvSpPr/>
            <p:nvPr/>
          </p:nvSpPr>
          <p:spPr>
            <a:xfrm>
              <a:off x="5574020" y="4925064"/>
              <a:ext cx="109594" cy="63588"/>
            </a:xfrm>
            <a:custGeom>
              <a:avLst/>
              <a:gdLst>
                <a:gd name="connsiteX0" fmla="*/ -336 w 36004"/>
                <a:gd name="connsiteY0" fmla="*/ 10196 h 20890"/>
                <a:gd name="connsiteX1" fmla="*/ 1188 w 36004"/>
                <a:gd name="connsiteY1" fmla="*/ 12482 h 20890"/>
                <a:gd name="connsiteX2" fmla="*/ 3569 w 36004"/>
                <a:gd name="connsiteY2" fmla="*/ 13815 h 20890"/>
                <a:gd name="connsiteX3" fmla="*/ 13856 w 36004"/>
                <a:gd name="connsiteY3" fmla="*/ 19721 h 20890"/>
                <a:gd name="connsiteX4" fmla="*/ 21476 w 36004"/>
                <a:gd name="connsiteY4" fmla="*/ 19721 h 20890"/>
                <a:gd name="connsiteX5" fmla="*/ 31763 w 36004"/>
                <a:gd name="connsiteY5" fmla="*/ 13815 h 20890"/>
                <a:gd name="connsiteX6" fmla="*/ 34144 w 36004"/>
                <a:gd name="connsiteY6" fmla="*/ 12482 h 20890"/>
                <a:gd name="connsiteX7" fmla="*/ 35668 w 36004"/>
                <a:gd name="connsiteY7" fmla="*/ 10196 h 20890"/>
                <a:gd name="connsiteX8" fmla="*/ 34144 w 36004"/>
                <a:gd name="connsiteY8" fmla="*/ 8005 h 20890"/>
                <a:gd name="connsiteX9" fmla="*/ 21476 w 36004"/>
                <a:gd name="connsiteY9" fmla="*/ 766 h 20890"/>
                <a:gd name="connsiteX10" fmla="*/ 13856 w 36004"/>
                <a:gd name="connsiteY10" fmla="*/ 766 h 20890"/>
                <a:gd name="connsiteX11" fmla="*/ 1188 w 36004"/>
                <a:gd name="connsiteY11" fmla="*/ 8005 h 20890"/>
                <a:gd name="connsiteX12" fmla="*/ -336 w 36004"/>
                <a:gd name="connsiteY12" fmla="*/ 10196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196"/>
                  </a:moveTo>
                  <a:cubicBezTo>
                    <a:pt x="-308" y="11186"/>
                    <a:pt x="283" y="12082"/>
                    <a:pt x="1188" y="12482"/>
                  </a:cubicBezTo>
                  <a:lnTo>
                    <a:pt x="3569" y="13815"/>
                  </a:lnTo>
                  <a:lnTo>
                    <a:pt x="13856" y="19721"/>
                  </a:lnTo>
                  <a:cubicBezTo>
                    <a:pt x="16218" y="21064"/>
                    <a:pt x="19114" y="21064"/>
                    <a:pt x="21476" y="19721"/>
                  </a:cubicBezTo>
                  <a:lnTo>
                    <a:pt x="31763" y="13815"/>
                  </a:lnTo>
                  <a:lnTo>
                    <a:pt x="34144" y="12482"/>
                  </a:lnTo>
                  <a:cubicBezTo>
                    <a:pt x="35049" y="12082"/>
                    <a:pt x="35640" y="11186"/>
                    <a:pt x="35668" y="10196"/>
                  </a:cubicBezTo>
                  <a:cubicBezTo>
                    <a:pt x="35573" y="9253"/>
                    <a:pt x="34992" y="8424"/>
                    <a:pt x="34144" y="8005"/>
                  </a:cubicBezTo>
                  <a:lnTo>
                    <a:pt x="21476" y="766"/>
                  </a:lnTo>
                  <a:cubicBezTo>
                    <a:pt x="19085" y="-472"/>
                    <a:pt x="16247" y="-472"/>
                    <a:pt x="13856" y="766"/>
                  </a:cubicBezTo>
                  <a:lnTo>
                    <a:pt x="1188" y="8005"/>
                  </a:lnTo>
                  <a:cubicBezTo>
                    <a:pt x="340" y="8424"/>
                    <a:pt x="-241" y="925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655" name="iṧļïḍe">
              <a:extLst>
                <a:ext uri="{FF2B5EF4-FFF2-40B4-BE49-F238E27FC236}">
                  <a16:creationId xmlns:a16="http://schemas.microsoft.com/office/drawing/2014/main" id="{4A3228A8-801D-42EA-8183-C649E0274FF3}"/>
                </a:ext>
              </a:extLst>
            </p:cNvPr>
            <p:cNvSpPr/>
            <p:nvPr/>
          </p:nvSpPr>
          <p:spPr>
            <a:xfrm>
              <a:off x="5576154" y="4926151"/>
              <a:ext cx="105329" cy="61174"/>
            </a:xfrm>
            <a:custGeom>
              <a:avLst/>
              <a:gdLst>
                <a:gd name="connsiteX0" fmla="*/ 1154 w 34603"/>
                <a:gd name="connsiteY0" fmla="*/ 12029 h 20097"/>
                <a:gd name="connsiteX1" fmla="*/ 13251 w 34603"/>
                <a:gd name="connsiteY1" fmla="*/ 19078 h 20097"/>
                <a:gd name="connsiteX2" fmla="*/ 20680 w 34603"/>
                <a:gd name="connsiteY2" fmla="*/ 19078 h 20097"/>
                <a:gd name="connsiteX3" fmla="*/ 32777 w 34603"/>
                <a:gd name="connsiteY3" fmla="*/ 12029 h 20097"/>
                <a:gd name="connsiteX4" fmla="*/ 34120 w 34603"/>
                <a:gd name="connsiteY4" fmla="*/ 9096 h 20097"/>
                <a:gd name="connsiteX5" fmla="*/ 32777 w 34603"/>
                <a:gd name="connsiteY5" fmla="*/ 7743 h 20097"/>
                <a:gd name="connsiteX6" fmla="*/ 20680 w 34603"/>
                <a:gd name="connsiteY6" fmla="*/ 695 h 20097"/>
                <a:gd name="connsiteX7" fmla="*/ 13251 w 34603"/>
                <a:gd name="connsiteY7" fmla="*/ 695 h 20097"/>
                <a:gd name="connsiteX8" fmla="*/ 1154 w 34603"/>
                <a:gd name="connsiteY8" fmla="*/ 7743 h 20097"/>
                <a:gd name="connsiteX9" fmla="*/ -189 w 34603"/>
                <a:gd name="connsiteY9" fmla="*/ 10686 h 20097"/>
                <a:gd name="connsiteX10" fmla="*/ 1154 w 34603"/>
                <a:gd name="connsiteY10" fmla="*/ 12029 h 20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603" h="20097">
                  <a:moveTo>
                    <a:pt x="1154" y="12029"/>
                  </a:moveTo>
                  <a:lnTo>
                    <a:pt x="13251" y="19078"/>
                  </a:lnTo>
                  <a:cubicBezTo>
                    <a:pt x="15594" y="20221"/>
                    <a:pt x="18337" y="20221"/>
                    <a:pt x="20680" y="19078"/>
                  </a:cubicBezTo>
                  <a:lnTo>
                    <a:pt x="32777" y="12029"/>
                  </a:lnTo>
                  <a:cubicBezTo>
                    <a:pt x="33958" y="11591"/>
                    <a:pt x="34568" y="10277"/>
                    <a:pt x="34120" y="9096"/>
                  </a:cubicBezTo>
                  <a:cubicBezTo>
                    <a:pt x="33891" y="8467"/>
                    <a:pt x="33396" y="7971"/>
                    <a:pt x="32777" y="7743"/>
                  </a:cubicBezTo>
                  <a:lnTo>
                    <a:pt x="20680" y="695"/>
                  </a:lnTo>
                  <a:cubicBezTo>
                    <a:pt x="18337" y="-448"/>
                    <a:pt x="15594" y="-448"/>
                    <a:pt x="13251" y="695"/>
                  </a:cubicBezTo>
                  <a:lnTo>
                    <a:pt x="1154" y="7743"/>
                  </a:lnTo>
                  <a:cubicBezTo>
                    <a:pt x="-27" y="8181"/>
                    <a:pt x="-637" y="9496"/>
                    <a:pt x="-189" y="10686"/>
                  </a:cubicBezTo>
                  <a:cubicBezTo>
                    <a:pt x="40" y="11305"/>
                    <a:pt x="535" y="11801"/>
                    <a:pt x="1154" y="12029"/>
                  </a:cubicBezTo>
                  <a:close/>
                </a:path>
              </a:pathLst>
            </a:custGeom>
            <a:solidFill>
              <a:srgbClr val="D1D9E8"/>
            </a:solidFill>
            <a:ln w="9525" cap="flat">
              <a:noFill/>
              <a:prstDash val="solid"/>
              <a:miter/>
            </a:ln>
          </p:spPr>
          <p:txBody>
            <a:bodyPr rtlCol="0" anchor="ctr"/>
            <a:lstStyle/>
            <a:p>
              <a:endParaRPr lang="zh-CN" altLang="en-US"/>
            </a:p>
          </p:txBody>
        </p:sp>
        <p:sp>
          <p:nvSpPr>
            <p:cNvPr id="656" name="ïṣḷîḓê">
              <a:extLst>
                <a:ext uri="{FF2B5EF4-FFF2-40B4-BE49-F238E27FC236}">
                  <a16:creationId xmlns:a16="http://schemas.microsoft.com/office/drawing/2014/main" id="{BA439B61-7F3F-4D9A-908C-F9CA5E484FE0}"/>
                </a:ext>
              </a:extLst>
            </p:cNvPr>
            <p:cNvSpPr/>
            <p:nvPr/>
          </p:nvSpPr>
          <p:spPr>
            <a:xfrm>
              <a:off x="5574020" y="4956596"/>
              <a:ext cx="109594" cy="53801"/>
            </a:xfrm>
            <a:custGeom>
              <a:avLst/>
              <a:gdLst>
                <a:gd name="connsiteX0" fmla="*/ -336 w 36004"/>
                <a:gd name="connsiteY0" fmla="*/ -163 h 17675"/>
                <a:gd name="connsiteX1" fmla="*/ -336 w 36004"/>
                <a:gd name="connsiteY1" fmla="*/ 7076 h 17675"/>
                <a:gd name="connsiteX2" fmla="*/ 1188 w 36004"/>
                <a:gd name="connsiteY2" fmla="*/ 9267 h 17675"/>
                <a:gd name="connsiteX3" fmla="*/ 13856 w 36004"/>
                <a:gd name="connsiteY3" fmla="*/ 16506 h 17675"/>
                <a:gd name="connsiteX4" fmla="*/ 21476 w 36004"/>
                <a:gd name="connsiteY4" fmla="*/ 16506 h 17675"/>
                <a:gd name="connsiteX5" fmla="*/ 34144 w 36004"/>
                <a:gd name="connsiteY5" fmla="*/ 9267 h 17675"/>
                <a:gd name="connsiteX6" fmla="*/ 35668 w 36004"/>
                <a:gd name="connsiteY6" fmla="*/ 7076 h 17675"/>
                <a:gd name="connsiteX7" fmla="*/ 35668 w 36004"/>
                <a:gd name="connsiteY7" fmla="*/ -163 h 17675"/>
                <a:gd name="connsiteX8" fmla="*/ 34144 w 36004"/>
                <a:gd name="connsiteY8" fmla="*/ 2123 h 17675"/>
                <a:gd name="connsiteX9" fmla="*/ 31763 w 36004"/>
                <a:gd name="connsiteY9" fmla="*/ 3457 h 17675"/>
                <a:gd name="connsiteX10" fmla="*/ 21476 w 36004"/>
                <a:gd name="connsiteY10" fmla="*/ 9362 h 17675"/>
                <a:gd name="connsiteX11" fmla="*/ 13856 w 36004"/>
                <a:gd name="connsiteY11" fmla="*/ 9362 h 17675"/>
                <a:gd name="connsiteX12" fmla="*/ 3569 w 36004"/>
                <a:gd name="connsiteY12" fmla="*/ 3457 h 17675"/>
                <a:gd name="connsiteX13" fmla="*/ 1188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98" y="8038"/>
                    <a:pt x="292" y="8896"/>
                    <a:pt x="1188" y="9267"/>
                  </a:cubicBezTo>
                  <a:lnTo>
                    <a:pt x="13856" y="16506"/>
                  </a:lnTo>
                  <a:cubicBezTo>
                    <a:pt x="16218" y="17849"/>
                    <a:pt x="19114" y="17849"/>
                    <a:pt x="21476" y="16506"/>
                  </a:cubicBezTo>
                  <a:lnTo>
                    <a:pt x="34144" y="9267"/>
                  </a:lnTo>
                  <a:cubicBezTo>
                    <a:pt x="35021" y="8877"/>
                    <a:pt x="35611" y="8038"/>
                    <a:pt x="35668" y="7076"/>
                  </a:cubicBezTo>
                  <a:lnTo>
                    <a:pt x="35668" y="-163"/>
                  </a:lnTo>
                  <a:cubicBezTo>
                    <a:pt x="35640" y="828"/>
                    <a:pt x="35049" y="1723"/>
                    <a:pt x="34144" y="2123"/>
                  </a:cubicBezTo>
                  <a:lnTo>
                    <a:pt x="31763" y="3457"/>
                  </a:lnTo>
                  <a:lnTo>
                    <a:pt x="21476" y="9362"/>
                  </a:lnTo>
                  <a:cubicBezTo>
                    <a:pt x="19114" y="10705"/>
                    <a:pt x="16218" y="10705"/>
                    <a:pt x="13856" y="9362"/>
                  </a:cubicBezTo>
                  <a:lnTo>
                    <a:pt x="3569" y="3457"/>
                  </a:lnTo>
                  <a:lnTo>
                    <a:pt x="1188" y="2123"/>
                  </a:lnTo>
                  <a:cubicBezTo>
                    <a:pt x="283" y="1723"/>
                    <a:pt x="-308"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57" name="í$1îḍê">
              <a:extLst>
                <a:ext uri="{FF2B5EF4-FFF2-40B4-BE49-F238E27FC236}">
                  <a16:creationId xmlns:a16="http://schemas.microsoft.com/office/drawing/2014/main" id="{44A90F4F-D014-4067-9638-028F0A54C08F}"/>
                </a:ext>
              </a:extLst>
            </p:cNvPr>
            <p:cNvSpPr/>
            <p:nvPr/>
          </p:nvSpPr>
          <p:spPr>
            <a:xfrm>
              <a:off x="5651433" y="4969481"/>
              <a:ext cx="109450" cy="63292"/>
            </a:xfrm>
            <a:custGeom>
              <a:avLst/>
              <a:gdLst>
                <a:gd name="connsiteX0" fmla="*/ -336 w 35957"/>
                <a:gd name="connsiteY0" fmla="*/ 10177 h 20793"/>
                <a:gd name="connsiteX1" fmla="*/ 1188 w 35957"/>
                <a:gd name="connsiteY1" fmla="*/ 12463 h 20793"/>
                <a:gd name="connsiteX2" fmla="*/ 3474 w 35957"/>
                <a:gd name="connsiteY2" fmla="*/ 13796 h 20793"/>
                <a:gd name="connsiteX3" fmla="*/ 13761 w 35957"/>
                <a:gd name="connsiteY3" fmla="*/ 19702 h 20793"/>
                <a:gd name="connsiteX4" fmla="*/ 21476 w 35957"/>
                <a:gd name="connsiteY4" fmla="*/ 19702 h 20793"/>
                <a:gd name="connsiteX5" fmla="*/ 31763 w 35957"/>
                <a:gd name="connsiteY5" fmla="*/ 13796 h 20793"/>
                <a:gd name="connsiteX6" fmla="*/ 34049 w 35957"/>
                <a:gd name="connsiteY6" fmla="*/ 12463 h 20793"/>
                <a:gd name="connsiteX7" fmla="*/ 35478 w 35957"/>
                <a:gd name="connsiteY7" fmla="*/ 9415 h 20793"/>
                <a:gd name="connsiteX8" fmla="*/ 34049 w 35957"/>
                <a:gd name="connsiteY8" fmla="*/ 7986 h 20793"/>
                <a:gd name="connsiteX9" fmla="*/ 21476 w 35957"/>
                <a:gd name="connsiteY9" fmla="*/ 652 h 20793"/>
                <a:gd name="connsiteX10" fmla="*/ 13761 w 35957"/>
                <a:gd name="connsiteY10" fmla="*/ 652 h 20793"/>
                <a:gd name="connsiteX11" fmla="*/ 1188 w 35957"/>
                <a:gd name="connsiteY11" fmla="*/ 7986 h 20793"/>
                <a:gd name="connsiteX12" fmla="*/ -336 w 35957"/>
                <a:gd name="connsiteY12" fmla="*/ 10177 h 20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957" h="20793">
                  <a:moveTo>
                    <a:pt x="-336" y="10177"/>
                  </a:moveTo>
                  <a:cubicBezTo>
                    <a:pt x="-269" y="11158"/>
                    <a:pt x="312" y="12025"/>
                    <a:pt x="1188" y="12463"/>
                  </a:cubicBezTo>
                  <a:lnTo>
                    <a:pt x="3474" y="13796"/>
                  </a:lnTo>
                  <a:lnTo>
                    <a:pt x="13761" y="19702"/>
                  </a:lnTo>
                  <a:cubicBezTo>
                    <a:pt x="16180" y="20940"/>
                    <a:pt x="19057" y="20940"/>
                    <a:pt x="21476" y="19702"/>
                  </a:cubicBezTo>
                  <a:lnTo>
                    <a:pt x="31763" y="13796"/>
                  </a:lnTo>
                  <a:lnTo>
                    <a:pt x="34049" y="12463"/>
                  </a:lnTo>
                  <a:cubicBezTo>
                    <a:pt x="35287" y="12015"/>
                    <a:pt x="35925" y="10644"/>
                    <a:pt x="35478" y="9415"/>
                  </a:cubicBezTo>
                  <a:cubicBezTo>
                    <a:pt x="35230" y="8748"/>
                    <a:pt x="34716" y="8224"/>
                    <a:pt x="34049" y="7986"/>
                  </a:cubicBezTo>
                  <a:lnTo>
                    <a:pt x="21476" y="652"/>
                  </a:lnTo>
                  <a:cubicBezTo>
                    <a:pt x="19019" y="-434"/>
                    <a:pt x="16218" y="-434"/>
                    <a:pt x="13761" y="652"/>
                  </a:cubicBezTo>
                  <a:lnTo>
                    <a:pt x="1188" y="7986"/>
                  </a:lnTo>
                  <a:cubicBezTo>
                    <a:pt x="340" y="8405"/>
                    <a:pt x="-241" y="9234"/>
                    <a:pt x="-336" y="10177"/>
                  </a:cubicBezTo>
                  <a:close/>
                </a:path>
              </a:pathLst>
            </a:custGeom>
            <a:solidFill>
              <a:srgbClr val="FFFFFF"/>
            </a:solidFill>
            <a:ln w="9525" cap="flat">
              <a:noFill/>
              <a:prstDash val="solid"/>
              <a:miter/>
            </a:ln>
          </p:spPr>
          <p:txBody>
            <a:bodyPr rtlCol="0" anchor="ctr"/>
            <a:lstStyle/>
            <a:p>
              <a:endParaRPr lang="zh-CN" altLang="en-US"/>
            </a:p>
          </p:txBody>
        </p:sp>
        <p:sp>
          <p:nvSpPr>
            <p:cNvPr id="658" name="ïsļîḑè">
              <a:extLst>
                <a:ext uri="{FF2B5EF4-FFF2-40B4-BE49-F238E27FC236}">
                  <a16:creationId xmlns:a16="http://schemas.microsoft.com/office/drawing/2014/main" id="{626CCB04-3878-4271-8E53-E03773F2F1F5}"/>
                </a:ext>
              </a:extLst>
            </p:cNvPr>
            <p:cNvSpPr/>
            <p:nvPr/>
          </p:nvSpPr>
          <p:spPr>
            <a:xfrm>
              <a:off x="5653275" y="4970802"/>
              <a:ext cx="105618" cy="61104"/>
            </a:xfrm>
            <a:custGeom>
              <a:avLst/>
              <a:gdLst>
                <a:gd name="connsiteX0" fmla="*/ 1154 w 34698"/>
                <a:gd name="connsiteY0" fmla="*/ 12029 h 20074"/>
                <a:gd name="connsiteX1" fmla="*/ 13346 w 34698"/>
                <a:gd name="connsiteY1" fmla="*/ 18983 h 20074"/>
                <a:gd name="connsiteX2" fmla="*/ 20776 w 34698"/>
                <a:gd name="connsiteY2" fmla="*/ 18983 h 20074"/>
                <a:gd name="connsiteX3" fmla="*/ 32872 w 34698"/>
                <a:gd name="connsiteY3" fmla="*/ 12029 h 20074"/>
                <a:gd name="connsiteX4" fmla="*/ 34215 w 34698"/>
                <a:gd name="connsiteY4" fmla="*/ 9086 h 20074"/>
                <a:gd name="connsiteX5" fmla="*/ 32872 w 34698"/>
                <a:gd name="connsiteY5" fmla="*/ 7743 h 20074"/>
                <a:gd name="connsiteX6" fmla="*/ 20776 w 34698"/>
                <a:gd name="connsiteY6" fmla="*/ 695 h 20074"/>
                <a:gd name="connsiteX7" fmla="*/ 13346 w 34698"/>
                <a:gd name="connsiteY7" fmla="*/ 695 h 20074"/>
                <a:gd name="connsiteX8" fmla="*/ 1154 w 34698"/>
                <a:gd name="connsiteY8" fmla="*/ 7743 h 20074"/>
                <a:gd name="connsiteX9" fmla="*/ -189 w 34698"/>
                <a:gd name="connsiteY9" fmla="*/ 10686 h 20074"/>
                <a:gd name="connsiteX10" fmla="*/ 1154 w 34698"/>
                <a:gd name="connsiteY10"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698" h="20074">
                  <a:moveTo>
                    <a:pt x="1154" y="12029"/>
                  </a:moveTo>
                  <a:lnTo>
                    <a:pt x="13346" y="18983"/>
                  </a:lnTo>
                  <a:cubicBezTo>
                    <a:pt x="15670" y="20221"/>
                    <a:pt x="18451" y="20221"/>
                    <a:pt x="20776" y="18983"/>
                  </a:cubicBezTo>
                  <a:lnTo>
                    <a:pt x="32872" y="12029"/>
                  </a:lnTo>
                  <a:cubicBezTo>
                    <a:pt x="34053" y="11591"/>
                    <a:pt x="34663" y="10277"/>
                    <a:pt x="34215" y="9086"/>
                  </a:cubicBezTo>
                  <a:cubicBezTo>
                    <a:pt x="33987" y="8467"/>
                    <a:pt x="33491" y="7972"/>
                    <a:pt x="32872" y="7743"/>
                  </a:cubicBezTo>
                  <a:lnTo>
                    <a:pt x="20776" y="695"/>
                  </a:lnTo>
                  <a:cubicBezTo>
                    <a:pt x="18432" y="-448"/>
                    <a:pt x="15689" y="-448"/>
                    <a:pt x="13346" y="695"/>
                  </a:cubicBezTo>
                  <a:lnTo>
                    <a:pt x="1154" y="7743"/>
                  </a:lnTo>
                  <a:cubicBezTo>
                    <a:pt x="-27" y="8181"/>
                    <a:pt x="-637" y="9496"/>
                    <a:pt x="-189" y="10686"/>
                  </a:cubicBezTo>
                  <a:cubicBezTo>
                    <a:pt x="40" y="11306"/>
                    <a:pt x="525" y="11801"/>
                    <a:pt x="1154" y="12029"/>
                  </a:cubicBezTo>
                  <a:close/>
                </a:path>
              </a:pathLst>
            </a:custGeom>
            <a:solidFill>
              <a:srgbClr val="D1D9E8"/>
            </a:solidFill>
            <a:ln w="9525" cap="flat">
              <a:noFill/>
              <a:prstDash val="solid"/>
              <a:miter/>
            </a:ln>
          </p:spPr>
          <p:txBody>
            <a:bodyPr rtlCol="0" anchor="ctr"/>
            <a:lstStyle/>
            <a:p>
              <a:endParaRPr lang="zh-CN" altLang="en-US"/>
            </a:p>
          </p:txBody>
        </p:sp>
        <p:sp>
          <p:nvSpPr>
            <p:cNvPr id="659" name="îşḷíďê">
              <a:extLst>
                <a:ext uri="{FF2B5EF4-FFF2-40B4-BE49-F238E27FC236}">
                  <a16:creationId xmlns:a16="http://schemas.microsoft.com/office/drawing/2014/main" id="{1FDECEB1-D88C-4EFA-B7B2-90984D19E57C}"/>
                </a:ext>
              </a:extLst>
            </p:cNvPr>
            <p:cNvSpPr/>
            <p:nvPr/>
          </p:nvSpPr>
          <p:spPr>
            <a:xfrm>
              <a:off x="5651433" y="5000955"/>
              <a:ext cx="109594" cy="53801"/>
            </a:xfrm>
            <a:custGeom>
              <a:avLst/>
              <a:gdLst>
                <a:gd name="connsiteX0" fmla="*/ -336 w 36004"/>
                <a:gd name="connsiteY0" fmla="*/ -163 h 17675"/>
                <a:gd name="connsiteX1" fmla="*/ -336 w 36004"/>
                <a:gd name="connsiteY1" fmla="*/ 7076 h 17675"/>
                <a:gd name="connsiteX2" fmla="*/ 1188 w 36004"/>
                <a:gd name="connsiteY2" fmla="*/ 9267 h 17675"/>
                <a:gd name="connsiteX3" fmla="*/ 13761 w 36004"/>
                <a:gd name="connsiteY3" fmla="*/ 16506 h 17675"/>
                <a:gd name="connsiteX4" fmla="*/ 21476 w 36004"/>
                <a:gd name="connsiteY4" fmla="*/ 16506 h 17675"/>
                <a:gd name="connsiteX5" fmla="*/ 34049 w 36004"/>
                <a:gd name="connsiteY5" fmla="*/ 9267 h 17675"/>
                <a:gd name="connsiteX6" fmla="*/ 35668 w 36004"/>
                <a:gd name="connsiteY6" fmla="*/ 6981 h 17675"/>
                <a:gd name="connsiteX7" fmla="*/ 35668 w 36004"/>
                <a:gd name="connsiteY7" fmla="*/ -163 h 17675"/>
                <a:gd name="connsiteX8" fmla="*/ 34049 w 36004"/>
                <a:gd name="connsiteY8" fmla="*/ 2123 h 17675"/>
                <a:gd name="connsiteX9" fmla="*/ 31763 w 36004"/>
                <a:gd name="connsiteY9" fmla="*/ 3457 h 17675"/>
                <a:gd name="connsiteX10" fmla="*/ 21476 w 36004"/>
                <a:gd name="connsiteY10" fmla="*/ 9362 h 17675"/>
                <a:gd name="connsiteX11" fmla="*/ 13761 w 36004"/>
                <a:gd name="connsiteY11" fmla="*/ 9362 h 17675"/>
                <a:gd name="connsiteX12" fmla="*/ 3474 w 36004"/>
                <a:gd name="connsiteY12" fmla="*/ 3457 h 17675"/>
                <a:gd name="connsiteX13" fmla="*/ 1188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79" y="8038"/>
                    <a:pt x="312" y="8877"/>
                    <a:pt x="1188" y="9267"/>
                  </a:cubicBezTo>
                  <a:lnTo>
                    <a:pt x="13761" y="16506"/>
                  </a:lnTo>
                  <a:cubicBezTo>
                    <a:pt x="16161" y="17849"/>
                    <a:pt x="19076" y="17849"/>
                    <a:pt x="21476" y="16506"/>
                  </a:cubicBezTo>
                  <a:lnTo>
                    <a:pt x="34049" y="9267"/>
                  </a:lnTo>
                  <a:cubicBezTo>
                    <a:pt x="34992" y="8896"/>
                    <a:pt x="35630" y="8000"/>
                    <a:pt x="35668" y="6981"/>
                  </a:cubicBezTo>
                  <a:lnTo>
                    <a:pt x="35668" y="-163"/>
                  </a:lnTo>
                  <a:cubicBezTo>
                    <a:pt x="35602" y="847"/>
                    <a:pt x="34982" y="1733"/>
                    <a:pt x="34049" y="2123"/>
                  </a:cubicBezTo>
                  <a:lnTo>
                    <a:pt x="31763" y="3457"/>
                  </a:lnTo>
                  <a:lnTo>
                    <a:pt x="21476" y="9362"/>
                  </a:lnTo>
                  <a:cubicBezTo>
                    <a:pt x="19057" y="10601"/>
                    <a:pt x="16180" y="10601"/>
                    <a:pt x="13761" y="9362"/>
                  </a:cubicBezTo>
                  <a:lnTo>
                    <a:pt x="3474" y="3457"/>
                  </a:lnTo>
                  <a:lnTo>
                    <a:pt x="1188" y="2123"/>
                  </a:lnTo>
                  <a:cubicBezTo>
                    <a:pt x="312"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60" name="íṣlíďê">
              <a:extLst>
                <a:ext uri="{FF2B5EF4-FFF2-40B4-BE49-F238E27FC236}">
                  <a16:creationId xmlns:a16="http://schemas.microsoft.com/office/drawing/2014/main" id="{E5329D14-67AB-4AED-84AB-82C45109985E}"/>
                </a:ext>
              </a:extLst>
            </p:cNvPr>
            <p:cNvSpPr/>
            <p:nvPr/>
          </p:nvSpPr>
          <p:spPr>
            <a:xfrm>
              <a:off x="5728554" y="5014269"/>
              <a:ext cx="109740" cy="63445"/>
            </a:xfrm>
            <a:custGeom>
              <a:avLst/>
              <a:gdLst>
                <a:gd name="connsiteX0" fmla="*/ -336 w 36052"/>
                <a:gd name="connsiteY0" fmla="*/ 10227 h 20843"/>
                <a:gd name="connsiteX1" fmla="*/ 1188 w 36052"/>
                <a:gd name="connsiteY1" fmla="*/ 12513 h 20843"/>
                <a:gd name="connsiteX2" fmla="*/ 3569 w 36052"/>
                <a:gd name="connsiteY2" fmla="*/ 13846 h 20843"/>
                <a:gd name="connsiteX3" fmla="*/ 13856 w 36052"/>
                <a:gd name="connsiteY3" fmla="*/ 19752 h 20843"/>
                <a:gd name="connsiteX4" fmla="*/ 21476 w 36052"/>
                <a:gd name="connsiteY4" fmla="*/ 19752 h 20843"/>
                <a:gd name="connsiteX5" fmla="*/ 31763 w 36052"/>
                <a:gd name="connsiteY5" fmla="*/ 13846 h 20843"/>
                <a:gd name="connsiteX6" fmla="*/ 34144 w 36052"/>
                <a:gd name="connsiteY6" fmla="*/ 12513 h 20843"/>
                <a:gd name="connsiteX7" fmla="*/ 35573 w 36052"/>
                <a:gd name="connsiteY7" fmla="*/ 9465 h 20843"/>
                <a:gd name="connsiteX8" fmla="*/ 34144 w 36052"/>
                <a:gd name="connsiteY8" fmla="*/ 8036 h 20843"/>
                <a:gd name="connsiteX9" fmla="*/ 21476 w 36052"/>
                <a:gd name="connsiteY9" fmla="*/ 702 h 20843"/>
                <a:gd name="connsiteX10" fmla="*/ 13856 w 36052"/>
                <a:gd name="connsiteY10" fmla="*/ 702 h 20843"/>
                <a:gd name="connsiteX11" fmla="*/ 1188 w 36052"/>
                <a:gd name="connsiteY11" fmla="*/ 8036 h 20843"/>
                <a:gd name="connsiteX12" fmla="*/ -336 w 36052"/>
                <a:gd name="connsiteY12" fmla="*/ 10227 h 20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3">
                  <a:moveTo>
                    <a:pt x="-336" y="10227"/>
                  </a:moveTo>
                  <a:cubicBezTo>
                    <a:pt x="-269" y="11208"/>
                    <a:pt x="312" y="12075"/>
                    <a:pt x="1188" y="12513"/>
                  </a:cubicBezTo>
                  <a:lnTo>
                    <a:pt x="3569" y="13846"/>
                  </a:lnTo>
                  <a:lnTo>
                    <a:pt x="13856" y="19752"/>
                  </a:lnTo>
                  <a:cubicBezTo>
                    <a:pt x="16247" y="20990"/>
                    <a:pt x="19085" y="20990"/>
                    <a:pt x="21476" y="19752"/>
                  </a:cubicBezTo>
                  <a:lnTo>
                    <a:pt x="31763" y="13846"/>
                  </a:lnTo>
                  <a:lnTo>
                    <a:pt x="34144" y="12513"/>
                  </a:lnTo>
                  <a:cubicBezTo>
                    <a:pt x="35382" y="12065"/>
                    <a:pt x="36021" y="10694"/>
                    <a:pt x="35573" y="9465"/>
                  </a:cubicBezTo>
                  <a:cubicBezTo>
                    <a:pt x="35325" y="8798"/>
                    <a:pt x="34811" y="8274"/>
                    <a:pt x="34144"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661" name="î$lïḓê">
              <a:extLst>
                <a:ext uri="{FF2B5EF4-FFF2-40B4-BE49-F238E27FC236}">
                  <a16:creationId xmlns:a16="http://schemas.microsoft.com/office/drawing/2014/main" id="{74E15D61-C4AC-4BF2-B973-A05FC1A2D2F7}"/>
                </a:ext>
              </a:extLst>
            </p:cNvPr>
            <p:cNvSpPr/>
            <p:nvPr/>
          </p:nvSpPr>
          <p:spPr>
            <a:xfrm>
              <a:off x="5730441" y="5015450"/>
              <a:ext cx="105898" cy="61104"/>
            </a:xfrm>
            <a:custGeom>
              <a:avLst/>
              <a:gdLst>
                <a:gd name="connsiteX0" fmla="*/ 1235 w 34790"/>
                <a:gd name="connsiteY0" fmla="*/ 12029 h 20074"/>
                <a:gd name="connsiteX1" fmla="*/ 13332 w 34790"/>
                <a:gd name="connsiteY1" fmla="*/ 18983 h 20074"/>
                <a:gd name="connsiteX2" fmla="*/ 20761 w 34790"/>
                <a:gd name="connsiteY2" fmla="*/ 18983 h 20074"/>
                <a:gd name="connsiteX3" fmla="*/ 32953 w 34790"/>
                <a:gd name="connsiteY3" fmla="*/ 12029 h 20074"/>
                <a:gd name="connsiteX4" fmla="*/ 32953 w 34790"/>
                <a:gd name="connsiteY4" fmla="*/ 7743 h 20074"/>
                <a:gd name="connsiteX5" fmla="*/ 20761 w 34790"/>
                <a:gd name="connsiteY5" fmla="*/ 695 h 20074"/>
                <a:gd name="connsiteX6" fmla="*/ 13332 w 34790"/>
                <a:gd name="connsiteY6" fmla="*/ 695 h 20074"/>
                <a:gd name="connsiteX7" fmla="*/ 1235 w 34790"/>
                <a:gd name="connsiteY7" fmla="*/ 7743 h 20074"/>
                <a:gd name="connsiteX8" fmla="*/ 1235 w 34790"/>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4">
                  <a:moveTo>
                    <a:pt x="1235" y="12029"/>
                  </a:moveTo>
                  <a:lnTo>
                    <a:pt x="13332" y="18983"/>
                  </a:lnTo>
                  <a:cubicBezTo>
                    <a:pt x="15656" y="20221"/>
                    <a:pt x="18437" y="20221"/>
                    <a:pt x="20761" y="18983"/>
                  </a:cubicBezTo>
                  <a:lnTo>
                    <a:pt x="32953" y="12029"/>
                  </a:lnTo>
                  <a:cubicBezTo>
                    <a:pt x="34954" y="10791"/>
                    <a:pt x="34954" y="8886"/>
                    <a:pt x="32953" y="7743"/>
                  </a:cubicBezTo>
                  <a:lnTo>
                    <a:pt x="20761" y="695"/>
                  </a:lnTo>
                  <a:cubicBezTo>
                    <a:pt x="18418" y="-448"/>
                    <a:pt x="15675" y="-448"/>
                    <a:pt x="13332" y="695"/>
                  </a:cubicBezTo>
                  <a:lnTo>
                    <a:pt x="1235" y="7743"/>
                  </a:lnTo>
                  <a:cubicBezTo>
                    <a:pt x="-860" y="8886"/>
                    <a:pt x="-860" y="10791"/>
                    <a:pt x="1235" y="12029"/>
                  </a:cubicBezTo>
                  <a:close/>
                </a:path>
              </a:pathLst>
            </a:custGeom>
            <a:solidFill>
              <a:srgbClr val="D1D9E8"/>
            </a:solidFill>
            <a:ln w="9525" cap="flat">
              <a:noFill/>
              <a:prstDash val="solid"/>
              <a:miter/>
            </a:ln>
          </p:spPr>
          <p:txBody>
            <a:bodyPr rtlCol="0" anchor="ctr"/>
            <a:lstStyle/>
            <a:p>
              <a:endParaRPr lang="zh-CN" altLang="en-US"/>
            </a:p>
          </p:txBody>
        </p:sp>
        <p:sp>
          <p:nvSpPr>
            <p:cNvPr id="662" name="îṩḷîḓe">
              <a:extLst>
                <a:ext uri="{FF2B5EF4-FFF2-40B4-BE49-F238E27FC236}">
                  <a16:creationId xmlns:a16="http://schemas.microsoft.com/office/drawing/2014/main" id="{0C1A9DF4-16AD-46B3-822A-B2396D4A45A4}"/>
                </a:ext>
              </a:extLst>
            </p:cNvPr>
            <p:cNvSpPr/>
            <p:nvPr/>
          </p:nvSpPr>
          <p:spPr>
            <a:xfrm>
              <a:off x="5728554" y="5045893"/>
              <a:ext cx="109594" cy="53804"/>
            </a:xfrm>
            <a:custGeom>
              <a:avLst/>
              <a:gdLst>
                <a:gd name="connsiteX0" fmla="*/ -336 w 36004"/>
                <a:gd name="connsiteY0" fmla="*/ -163 h 17676"/>
                <a:gd name="connsiteX1" fmla="*/ -336 w 36004"/>
                <a:gd name="connsiteY1" fmla="*/ 7076 h 17676"/>
                <a:gd name="connsiteX2" fmla="*/ 1188 w 36004"/>
                <a:gd name="connsiteY2" fmla="*/ 9267 h 17676"/>
                <a:gd name="connsiteX3" fmla="*/ 13856 w 36004"/>
                <a:gd name="connsiteY3" fmla="*/ 16506 h 17676"/>
                <a:gd name="connsiteX4" fmla="*/ 21476 w 36004"/>
                <a:gd name="connsiteY4" fmla="*/ 16506 h 17676"/>
                <a:gd name="connsiteX5" fmla="*/ 34144 w 36004"/>
                <a:gd name="connsiteY5" fmla="*/ 9267 h 17676"/>
                <a:gd name="connsiteX6" fmla="*/ 35668 w 36004"/>
                <a:gd name="connsiteY6" fmla="*/ 6981 h 17676"/>
                <a:gd name="connsiteX7" fmla="*/ 35668 w 36004"/>
                <a:gd name="connsiteY7" fmla="*/ -163 h 17676"/>
                <a:gd name="connsiteX8" fmla="*/ 34144 w 36004"/>
                <a:gd name="connsiteY8" fmla="*/ 2124 h 17676"/>
                <a:gd name="connsiteX9" fmla="*/ 31763 w 36004"/>
                <a:gd name="connsiteY9" fmla="*/ 3457 h 17676"/>
                <a:gd name="connsiteX10" fmla="*/ 21476 w 36004"/>
                <a:gd name="connsiteY10" fmla="*/ 9362 h 17676"/>
                <a:gd name="connsiteX11" fmla="*/ 13856 w 36004"/>
                <a:gd name="connsiteY11" fmla="*/ 9362 h 17676"/>
                <a:gd name="connsiteX12" fmla="*/ 3569 w 36004"/>
                <a:gd name="connsiteY12" fmla="*/ 3457 h 17676"/>
                <a:gd name="connsiteX13" fmla="*/ 1188 w 36004"/>
                <a:gd name="connsiteY13" fmla="*/ 2124 h 17676"/>
                <a:gd name="connsiteX14" fmla="*/ -336 w 36004"/>
                <a:gd name="connsiteY14" fmla="*/ -163 h 17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6">
                  <a:moveTo>
                    <a:pt x="-336" y="-163"/>
                  </a:moveTo>
                  <a:lnTo>
                    <a:pt x="-336" y="7076"/>
                  </a:lnTo>
                  <a:cubicBezTo>
                    <a:pt x="-279" y="8029"/>
                    <a:pt x="312" y="8877"/>
                    <a:pt x="1188" y="9267"/>
                  </a:cubicBezTo>
                  <a:lnTo>
                    <a:pt x="13856" y="16506"/>
                  </a:lnTo>
                  <a:cubicBezTo>
                    <a:pt x="16218" y="17849"/>
                    <a:pt x="19114" y="17849"/>
                    <a:pt x="21476" y="16506"/>
                  </a:cubicBezTo>
                  <a:lnTo>
                    <a:pt x="34144" y="9267"/>
                  </a:lnTo>
                  <a:cubicBezTo>
                    <a:pt x="35049" y="8867"/>
                    <a:pt x="35640" y="7972"/>
                    <a:pt x="35668" y="6981"/>
                  </a:cubicBezTo>
                  <a:lnTo>
                    <a:pt x="35668" y="-163"/>
                  </a:lnTo>
                  <a:cubicBezTo>
                    <a:pt x="35602" y="819"/>
                    <a:pt x="35021" y="1685"/>
                    <a:pt x="34144" y="2124"/>
                  </a:cubicBezTo>
                  <a:lnTo>
                    <a:pt x="31763" y="3457"/>
                  </a:lnTo>
                  <a:lnTo>
                    <a:pt x="21476" y="9362"/>
                  </a:lnTo>
                  <a:cubicBezTo>
                    <a:pt x="19085" y="10601"/>
                    <a:pt x="16247" y="10601"/>
                    <a:pt x="13856" y="9362"/>
                  </a:cubicBezTo>
                  <a:lnTo>
                    <a:pt x="3569" y="3457"/>
                  </a:lnTo>
                  <a:lnTo>
                    <a:pt x="1188" y="2124"/>
                  </a:lnTo>
                  <a:cubicBezTo>
                    <a:pt x="312" y="1685"/>
                    <a:pt x="-269" y="819"/>
                    <a:pt x="-336" y="-163"/>
                  </a:cubicBezTo>
                  <a:close/>
                </a:path>
              </a:pathLst>
            </a:custGeom>
            <a:solidFill>
              <a:srgbClr val="BF4200"/>
            </a:solidFill>
            <a:ln w="9525" cap="flat">
              <a:noFill/>
              <a:prstDash val="solid"/>
              <a:miter/>
            </a:ln>
          </p:spPr>
          <p:txBody>
            <a:bodyPr rtlCol="0" anchor="ctr"/>
            <a:lstStyle/>
            <a:p>
              <a:endParaRPr lang="zh-CN" altLang="en-US"/>
            </a:p>
          </p:txBody>
        </p:sp>
        <p:sp>
          <p:nvSpPr>
            <p:cNvPr id="663" name="íṡļíḋe">
              <a:extLst>
                <a:ext uri="{FF2B5EF4-FFF2-40B4-BE49-F238E27FC236}">
                  <a16:creationId xmlns:a16="http://schemas.microsoft.com/office/drawing/2014/main" id="{2CCCE401-C154-44EA-8C40-BDB98AC0155A}"/>
                </a:ext>
              </a:extLst>
            </p:cNvPr>
            <p:cNvSpPr/>
            <p:nvPr/>
          </p:nvSpPr>
          <p:spPr>
            <a:xfrm>
              <a:off x="5805967" y="5058921"/>
              <a:ext cx="109740" cy="63445"/>
            </a:xfrm>
            <a:custGeom>
              <a:avLst/>
              <a:gdLst>
                <a:gd name="connsiteX0" fmla="*/ -336 w 36052"/>
                <a:gd name="connsiteY0" fmla="*/ 10227 h 20843"/>
                <a:gd name="connsiteX1" fmla="*/ 1188 w 36052"/>
                <a:gd name="connsiteY1" fmla="*/ 12513 h 20843"/>
                <a:gd name="connsiteX2" fmla="*/ 3569 w 36052"/>
                <a:gd name="connsiteY2" fmla="*/ 13846 h 20843"/>
                <a:gd name="connsiteX3" fmla="*/ 13856 w 36052"/>
                <a:gd name="connsiteY3" fmla="*/ 19752 h 20843"/>
                <a:gd name="connsiteX4" fmla="*/ 21476 w 36052"/>
                <a:gd name="connsiteY4" fmla="*/ 19752 h 20843"/>
                <a:gd name="connsiteX5" fmla="*/ 31763 w 36052"/>
                <a:gd name="connsiteY5" fmla="*/ 13846 h 20843"/>
                <a:gd name="connsiteX6" fmla="*/ 34144 w 36052"/>
                <a:gd name="connsiteY6" fmla="*/ 12513 h 20843"/>
                <a:gd name="connsiteX7" fmla="*/ 35573 w 36052"/>
                <a:gd name="connsiteY7" fmla="*/ 9465 h 20843"/>
                <a:gd name="connsiteX8" fmla="*/ 34144 w 36052"/>
                <a:gd name="connsiteY8" fmla="*/ 8036 h 20843"/>
                <a:gd name="connsiteX9" fmla="*/ 21476 w 36052"/>
                <a:gd name="connsiteY9" fmla="*/ 702 h 20843"/>
                <a:gd name="connsiteX10" fmla="*/ 13856 w 36052"/>
                <a:gd name="connsiteY10" fmla="*/ 702 h 20843"/>
                <a:gd name="connsiteX11" fmla="*/ 1188 w 36052"/>
                <a:gd name="connsiteY11" fmla="*/ 8036 h 20843"/>
                <a:gd name="connsiteX12" fmla="*/ -336 w 36052"/>
                <a:gd name="connsiteY12" fmla="*/ 10227 h 20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3">
                  <a:moveTo>
                    <a:pt x="-336" y="10227"/>
                  </a:moveTo>
                  <a:cubicBezTo>
                    <a:pt x="-270" y="11208"/>
                    <a:pt x="311" y="12075"/>
                    <a:pt x="1188" y="12513"/>
                  </a:cubicBezTo>
                  <a:lnTo>
                    <a:pt x="3569" y="13846"/>
                  </a:lnTo>
                  <a:lnTo>
                    <a:pt x="13856" y="19752"/>
                  </a:lnTo>
                  <a:cubicBezTo>
                    <a:pt x="16247" y="20990"/>
                    <a:pt x="19085" y="20990"/>
                    <a:pt x="21476" y="19752"/>
                  </a:cubicBezTo>
                  <a:lnTo>
                    <a:pt x="31763" y="13846"/>
                  </a:lnTo>
                  <a:lnTo>
                    <a:pt x="34144" y="12513"/>
                  </a:lnTo>
                  <a:cubicBezTo>
                    <a:pt x="35382" y="12065"/>
                    <a:pt x="36020" y="10694"/>
                    <a:pt x="35573" y="9465"/>
                  </a:cubicBezTo>
                  <a:cubicBezTo>
                    <a:pt x="35325" y="8798"/>
                    <a:pt x="34811" y="8274"/>
                    <a:pt x="34144"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664" name="îṥliḋè">
              <a:extLst>
                <a:ext uri="{FF2B5EF4-FFF2-40B4-BE49-F238E27FC236}">
                  <a16:creationId xmlns:a16="http://schemas.microsoft.com/office/drawing/2014/main" id="{22695C9E-1F0D-4BD0-A71D-FD591A1A026A}"/>
                </a:ext>
              </a:extLst>
            </p:cNvPr>
            <p:cNvSpPr/>
            <p:nvPr/>
          </p:nvSpPr>
          <p:spPr>
            <a:xfrm>
              <a:off x="5807781" y="5060102"/>
              <a:ext cx="105895" cy="61101"/>
            </a:xfrm>
            <a:custGeom>
              <a:avLst/>
              <a:gdLst>
                <a:gd name="connsiteX0" fmla="*/ 1164 w 34789"/>
                <a:gd name="connsiteY0" fmla="*/ 12029 h 20073"/>
                <a:gd name="connsiteX1" fmla="*/ 13356 w 34789"/>
                <a:gd name="connsiteY1" fmla="*/ 18982 h 20073"/>
                <a:gd name="connsiteX2" fmla="*/ 20785 w 34789"/>
                <a:gd name="connsiteY2" fmla="*/ 18982 h 20073"/>
                <a:gd name="connsiteX3" fmla="*/ 32882 w 34789"/>
                <a:gd name="connsiteY3" fmla="*/ 12029 h 20073"/>
                <a:gd name="connsiteX4" fmla="*/ 32882 w 34789"/>
                <a:gd name="connsiteY4" fmla="*/ 7743 h 20073"/>
                <a:gd name="connsiteX5" fmla="*/ 20785 w 34789"/>
                <a:gd name="connsiteY5" fmla="*/ 695 h 20073"/>
                <a:gd name="connsiteX6" fmla="*/ 13356 w 34789"/>
                <a:gd name="connsiteY6" fmla="*/ 695 h 20073"/>
                <a:gd name="connsiteX7" fmla="*/ 1164 w 34789"/>
                <a:gd name="connsiteY7" fmla="*/ 7743 h 20073"/>
                <a:gd name="connsiteX8" fmla="*/ 1164 w 34789"/>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89" h="20073">
                  <a:moveTo>
                    <a:pt x="1164" y="12029"/>
                  </a:moveTo>
                  <a:lnTo>
                    <a:pt x="13356" y="18982"/>
                  </a:lnTo>
                  <a:cubicBezTo>
                    <a:pt x="15680" y="20221"/>
                    <a:pt x="18461" y="20221"/>
                    <a:pt x="20785" y="18982"/>
                  </a:cubicBezTo>
                  <a:lnTo>
                    <a:pt x="32882" y="12029"/>
                  </a:lnTo>
                  <a:cubicBezTo>
                    <a:pt x="34977" y="10791"/>
                    <a:pt x="34977" y="8886"/>
                    <a:pt x="32882" y="7743"/>
                  </a:cubicBezTo>
                  <a:lnTo>
                    <a:pt x="20785" y="695"/>
                  </a:lnTo>
                  <a:cubicBezTo>
                    <a:pt x="18442" y="-448"/>
                    <a:pt x="15699" y="-448"/>
                    <a:pt x="13356" y="695"/>
                  </a:cubicBezTo>
                  <a:lnTo>
                    <a:pt x="1164" y="7743"/>
                  </a:lnTo>
                  <a:cubicBezTo>
                    <a:pt x="-836" y="8981"/>
                    <a:pt x="-836" y="10791"/>
                    <a:pt x="1164" y="12029"/>
                  </a:cubicBezTo>
                  <a:close/>
                </a:path>
              </a:pathLst>
            </a:custGeom>
            <a:solidFill>
              <a:srgbClr val="D1D9E8"/>
            </a:solidFill>
            <a:ln w="9525" cap="flat">
              <a:noFill/>
              <a:prstDash val="solid"/>
              <a:miter/>
            </a:ln>
          </p:spPr>
          <p:txBody>
            <a:bodyPr rtlCol="0" anchor="ctr"/>
            <a:lstStyle/>
            <a:p>
              <a:endParaRPr lang="zh-CN" altLang="en-US"/>
            </a:p>
          </p:txBody>
        </p:sp>
        <p:sp>
          <p:nvSpPr>
            <p:cNvPr id="665" name="íṡḷïde">
              <a:extLst>
                <a:ext uri="{FF2B5EF4-FFF2-40B4-BE49-F238E27FC236}">
                  <a16:creationId xmlns:a16="http://schemas.microsoft.com/office/drawing/2014/main" id="{DC597F75-2CD6-4096-BF3E-BA3CB2001104}"/>
                </a:ext>
              </a:extLst>
            </p:cNvPr>
            <p:cNvSpPr/>
            <p:nvPr/>
          </p:nvSpPr>
          <p:spPr>
            <a:xfrm>
              <a:off x="5805967" y="5090544"/>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3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3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2" y="7953"/>
                    <a:pt x="35668" y="6981"/>
                  </a:cubicBezTo>
                  <a:lnTo>
                    <a:pt x="35668" y="-163"/>
                  </a:lnTo>
                  <a:cubicBezTo>
                    <a:pt x="35602" y="818"/>
                    <a:pt x="35021" y="1685"/>
                    <a:pt x="34144" y="2123"/>
                  </a:cubicBezTo>
                  <a:lnTo>
                    <a:pt x="31763" y="3457"/>
                  </a:lnTo>
                  <a:lnTo>
                    <a:pt x="21476" y="9362"/>
                  </a:lnTo>
                  <a:cubicBezTo>
                    <a:pt x="19085" y="10601"/>
                    <a:pt x="16247" y="10601"/>
                    <a:pt x="13856" y="9362"/>
                  </a:cubicBezTo>
                  <a:lnTo>
                    <a:pt x="3569" y="3457"/>
                  </a:lnTo>
                  <a:lnTo>
                    <a:pt x="1188"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66" name="îšliďe">
              <a:extLst>
                <a:ext uri="{FF2B5EF4-FFF2-40B4-BE49-F238E27FC236}">
                  <a16:creationId xmlns:a16="http://schemas.microsoft.com/office/drawing/2014/main" id="{D018562C-4818-4980-9C0B-3CCA69D26A11}"/>
                </a:ext>
              </a:extLst>
            </p:cNvPr>
            <p:cNvSpPr/>
            <p:nvPr/>
          </p:nvSpPr>
          <p:spPr>
            <a:xfrm>
              <a:off x="5883091" y="5103721"/>
              <a:ext cx="109740" cy="63292"/>
            </a:xfrm>
            <a:custGeom>
              <a:avLst/>
              <a:gdLst>
                <a:gd name="connsiteX0" fmla="*/ -336 w 36052"/>
                <a:gd name="connsiteY0" fmla="*/ 10177 h 20793"/>
                <a:gd name="connsiteX1" fmla="*/ 1283 w 36052"/>
                <a:gd name="connsiteY1" fmla="*/ 12463 h 20793"/>
                <a:gd name="connsiteX2" fmla="*/ 3569 w 36052"/>
                <a:gd name="connsiteY2" fmla="*/ 13796 h 20793"/>
                <a:gd name="connsiteX3" fmla="*/ 13856 w 36052"/>
                <a:gd name="connsiteY3" fmla="*/ 19702 h 20793"/>
                <a:gd name="connsiteX4" fmla="*/ 21571 w 36052"/>
                <a:gd name="connsiteY4" fmla="*/ 19702 h 20793"/>
                <a:gd name="connsiteX5" fmla="*/ 31858 w 36052"/>
                <a:gd name="connsiteY5" fmla="*/ 13796 h 20793"/>
                <a:gd name="connsiteX6" fmla="*/ 34144 w 36052"/>
                <a:gd name="connsiteY6" fmla="*/ 12463 h 20793"/>
                <a:gd name="connsiteX7" fmla="*/ 35573 w 36052"/>
                <a:gd name="connsiteY7" fmla="*/ 9415 h 20793"/>
                <a:gd name="connsiteX8" fmla="*/ 34144 w 36052"/>
                <a:gd name="connsiteY8" fmla="*/ 7986 h 20793"/>
                <a:gd name="connsiteX9" fmla="*/ 21571 w 36052"/>
                <a:gd name="connsiteY9" fmla="*/ 652 h 20793"/>
                <a:gd name="connsiteX10" fmla="*/ 13856 w 36052"/>
                <a:gd name="connsiteY10" fmla="*/ 652 h 20793"/>
                <a:gd name="connsiteX11" fmla="*/ 1283 w 36052"/>
                <a:gd name="connsiteY11" fmla="*/ 7986 h 20793"/>
                <a:gd name="connsiteX12" fmla="*/ -336 w 36052"/>
                <a:gd name="connsiteY12" fmla="*/ 10177 h 20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793">
                  <a:moveTo>
                    <a:pt x="-336" y="10177"/>
                  </a:moveTo>
                  <a:cubicBezTo>
                    <a:pt x="-270" y="11186"/>
                    <a:pt x="359" y="12072"/>
                    <a:pt x="1283" y="12463"/>
                  </a:cubicBezTo>
                  <a:lnTo>
                    <a:pt x="3569" y="13796"/>
                  </a:lnTo>
                  <a:lnTo>
                    <a:pt x="13856" y="19702"/>
                  </a:lnTo>
                  <a:cubicBezTo>
                    <a:pt x="16275" y="20940"/>
                    <a:pt x="19152" y="20940"/>
                    <a:pt x="21571" y="19702"/>
                  </a:cubicBezTo>
                  <a:lnTo>
                    <a:pt x="31858" y="13796"/>
                  </a:lnTo>
                  <a:lnTo>
                    <a:pt x="34144" y="12463"/>
                  </a:lnTo>
                  <a:cubicBezTo>
                    <a:pt x="35382" y="12015"/>
                    <a:pt x="36020" y="10643"/>
                    <a:pt x="35573" y="9415"/>
                  </a:cubicBezTo>
                  <a:cubicBezTo>
                    <a:pt x="35325" y="8748"/>
                    <a:pt x="34811" y="8224"/>
                    <a:pt x="34144" y="7986"/>
                  </a:cubicBezTo>
                  <a:lnTo>
                    <a:pt x="21571" y="652"/>
                  </a:lnTo>
                  <a:cubicBezTo>
                    <a:pt x="19114" y="-434"/>
                    <a:pt x="16313" y="-434"/>
                    <a:pt x="13856" y="652"/>
                  </a:cubicBezTo>
                  <a:lnTo>
                    <a:pt x="1283" y="7986"/>
                  </a:lnTo>
                  <a:cubicBezTo>
                    <a:pt x="378" y="8367"/>
                    <a:pt x="-241" y="9205"/>
                    <a:pt x="-336" y="10177"/>
                  </a:cubicBezTo>
                  <a:close/>
                </a:path>
              </a:pathLst>
            </a:custGeom>
            <a:solidFill>
              <a:srgbClr val="FFFFFF"/>
            </a:solidFill>
            <a:ln w="9525" cap="flat">
              <a:noFill/>
              <a:prstDash val="solid"/>
              <a:miter/>
            </a:ln>
          </p:spPr>
          <p:txBody>
            <a:bodyPr rtlCol="0" anchor="ctr"/>
            <a:lstStyle/>
            <a:p>
              <a:endParaRPr lang="zh-CN" altLang="en-US"/>
            </a:p>
          </p:txBody>
        </p:sp>
        <p:sp>
          <p:nvSpPr>
            <p:cNvPr id="667" name="î$ľïďe">
              <a:extLst>
                <a:ext uri="{FF2B5EF4-FFF2-40B4-BE49-F238E27FC236}">
                  <a16:creationId xmlns:a16="http://schemas.microsoft.com/office/drawing/2014/main" id="{6A2B2681-E49D-4696-AFF7-72BB55DD3CD5}"/>
                </a:ext>
              </a:extLst>
            </p:cNvPr>
            <p:cNvSpPr/>
            <p:nvPr/>
          </p:nvSpPr>
          <p:spPr>
            <a:xfrm>
              <a:off x="5884975" y="5104750"/>
              <a:ext cx="105898" cy="61101"/>
            </a:xfrm>
            <a:custGeom>
              <a:avLst/>
              <a:gdLst>
                <a:gd name="connsiteX0" fmla="*/ 1235 w 34790"/>
                <a:gd name="connsiteY0" fmla="*/ 12029 h 20073"/>
                <a:gd name="connsiteX1" fmla="*/ 13332 w 34790"/>
                <a:gd name="connsiteY1" fmla="*/ 18983 h 20073"/>
                <a:gd name="connsiteX2" fmla="*/ 20762 w 34790"/>
                <a:gd name="connsiteY2" fmla="*/ 18983 h 20073"/>
                <a:gd name="connsiteX3" fmla="*/ 32954 w 34790"/>
                <a:gd name="connsiteY3" fmla="*/ 12029 h 20073"/>
                <a:gd name="connsiteX4" fmla="*/ 32954 w 34790"/>
                <a:gd name="connsiteY4" fmla="*/ 7743 h 20073"/>
                <a:gd name="connsiteX5" fmla="*/ 20762 w 34790"/>
                <a:gd name="connsiteY5" fmla="*/ 695 h 20073"/>
                <a:gd name="connsiteX6" fmla="*/ 13332 w 34790"/>
                <a:gd name="connsiteY6" fmla="*/ 695 h 20073"/>
                <a:gd name="connsiteX7" fmla="*/ 1235 w 34790"/>
                <a:gd name="connsiteY7" fmla="*/ 7743 h 20073"/>
                <a:gd name="connsiteX8" fmla="*/ 1235 w 34790"/>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3">
                  <a:moveTo>
                    <a:pt x="1235" y="12029"/>
                  </a:moveTo>
                  <a:lnTo>
                    <a:pt x="13332" y="18983"/>
                  </a:lnTo>
                  <a:cubicBezTo>
                    <a:pt x="15656" y="20221"/>
                    <a:pt x="18437" y="20221"/>
                    <a:pt x="20762" y="18983"/>
                  </a:cubicBezTo>
                  <a:lnTo>
                    <a:pt x="32954" y="12029"/>
                  </a:lnTo>
                  <a:cubicBezTo>
                    <a:pt x="34954" y="10791"/>
                    <a:pt x="34954" y="8886"/>
                    <a:pt x="32954" y="7743"/>
                  </a:cubicBezTo>
                  <a:lnTo>
                    <a:pt x="20762" y="695"/>
                  </a:lnTo>
                  <a:cubicBezTo>
                    <a:pt x="18419" y="-448"/>
                    <a:pt x="15675" y="-448"/>
                    <a:pt x="13332" y="695"/>
                  </a:cubicBezTo>
                  <a:lnTo>
                    <a:pt x="1235" y="7743"/>
                  </a:lnTo>
                  <a:cubicBezTo>
                    <a:pt x="-860" y="8886"/>
                    <a:pt x="-860" y="10791"/>
                    <a:pt x="1235" y="12029"/>
                  </a:cubicBezTo>
                  <a:close/>
                </a:path>
              </a:pathLst>
            </a:custGeom>
            <a:solidFill>
              <a:srgbClr val="D1D9E8"/>
            </a:solidFill>
            <a:ln w="9525" cap="flat">
              <a:noFill/>
              <a:prstDash val="solid"/>
              <a:miter/>
            </a:ln>
          </p:spPr>
          <p:txBody>
            <a:bodyPr rtlCol="0" anchor="ctr"/>
            <a:lstStyle/>
            <a:p>
              <a:endParaRPr lang="zh-CN" altLang="en-US"/>
            </a:p>
          </p:txBody>
        </p:sp>
        <p:sp>
          <p:nvSpPr>
            <p:cNvPr id="668" name="îşlîďé">
              <a:extLst>
                <a:ext uri="{FF2B5EF4-FFF2-40B4-BE49-F238E27FC236}">
                  <a16:creationId xmlns:a16="http://schemas.microsoft.com/office/drawing/2014/main" id="{C6D203AF-485E-478E-9DE8-61F5ADA07333}"/>
                </a:ext>
              </a:extLst>
            </p:cNvPr>
            <p:cNvSpPr/>
            <p:nvPr/>
          </p:nvSpPr>
          <p:spPr>
            <a:xfrm>
              <a:off x="5883091" y="5135195"/>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4 w 36099"/>
                <a:gd name="connsiteY6" fmla="*/ 6981 h 17597"/>
                <a:gd name="connsiteX7" fmla="*/ 35764 w 36099"/>
                <a:gd name="connsiteY7" fmla="*/ -163 h 17597"/>
                <a:gd name="connsiteX8" fmla="*/ 34144 w 36099"/>
                <a:gd name="connsiteY8" fmla="*/ 2123 h 17597"/>
                <a:gd name="connsiteX9" fmla="*/ 31858 w 36099"/>
                <a:gd name="connsiteY9" fmla="*/ 3457 h 17597"/>
                <a:gd name="connsiteX10" fmla="*/ 21571 w 36099"/>
                <a:gd name="connsiteY10" fmla="*/ 9362 h 17597"/>
                <a:gd name="connsiteX11" fmla="*/ 13856 w 36099"/>
                <a:gd name="connsiteY11" fmla="*/ 9362 h 17597"/>
                <a:gd name="connsiteX12" fmla="*/ 3569 w 36099"/>
                <a:gd name="connsiteY12" fmla="*/ 3457 h 17597"/>
                <a:gd name="connsiteX13" fmla="*/ 1283 w 36099"/>
                <a:gd name="connsiteY13" fmla="*/ 2123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41" y="8048"/>
                    <a:pt x="387" y="8886"/>
                    <a:pt x="1283" y="9267"/>
                  </a:cubicBezTo>
                  <a:lnTo>
                    <a:pt x="13856" y="16506"/>
                  </a:lnTo>
                  <a:cubicBezTo>
                    <a:pt x="16275" y="17744"/>
                    <a:pt x="19152" y="17744"/>
                    <a:pt x="21571" y="16506"/>
                  </a:cubicBezTo>
                  <a:lnTo>
                    <a:pt x="34144" y="9267"/>
                  </a:lnTo>
                  <a:cubicBezTo>
                    <a:pt x="35030" y="8829"/>
                    <a:pt x="35640" y="7962"/>
                    <a:pt x="35764" y="6981"/>
                  </a:cubicBezTo>
                  <a:lnTo>
                    <a:pt x="35764" y="-163"/>
                  </a:lnTo>
                  <a:cubicBezTo>
                    <a:pt x="35659" y="828"/>
                    <a:pt x="35049" y="1695"/>
                    <a:pt x="34144" y="2123"/>
                  </a:cubicBezTo>
                  <a:lnTo>
                    <a:pt x="31858" y="3457"/>
                  </a:lnTo>
                  <a:lnTo>
                    <a:pt x="21571" y="9362"/>
                  </a:lnTo>
                  <a:cubicBezTo>
                    <a:pt x="19152" y="10601"/>
                    <a:pt x="16275" y="10601"/>
                    <a:pt x="13856" y="9362"/>
                  </a:cubicBezTo>
                  <a:lnTo>
                    <a:pt x="3569" y="3457"/>
                  </a:lnTo>
                  <a:lnTo>
                    <a:pt x="1283" y="2123"/>
                  </a:lnTo>
                  <a:cubicBezTo>
                    <a:pt x="349" y="1733"/>
                    <a:pt x="-270" y="847"/>
                    <a:pt x="-336" y="-163"/>
                  </a:cubicBezTo>
                  <a:close/>
                </a:path>
              </a:pathLst>
            </a:custGeom>
            <a:solidFill>
              <a:srgbClr val="BF4200"/>
            </a:solidFill>
            <a:ln w="9525" cap="flat">
              <a:noFill/>
              <a:prstDash val="solid"/>
              <a:miter/>
            </a:ln>
          </p:spPr>
          <p:txBody>
            <a:bodyPr rtlCol="0" anchor="ctr"/>
            <a:lstStyle/>
            <a:p>
              <a:endParaRPr lang="zh-CN" altLang="en-US"/>
            </a:p>
          </p:txBody>
        </p:sp>
        <p:sp>
          <p:nvSpPr>
            <p:cNvPr id="669" name="íşľiďè">
              <a:extLst>
                <a:ext uri="{FF2B5EF4-FFF2-40B4-BE49-F238E27FC236}">
                  <a16:creationId xmlns:a16="http://schemas.microsoft.com/office/drawing/2014/main" id="{AF2055F2-0EB7-4959-A7C9-F5F21E2F1214}"/>
                </a:ext>
              </a:extLst>
            </p:cNvPr>
            <p:cNvSpPr/>
            <p:nvPr/>
          </p:nvSpPr>
          <p:spPr>
            <a:xfrm>
              <a:off x="5960501" y="5148023"/>
              <a:ext cx="109594" cy="63639"/>
            </a:xfrm>
            <a:custGeom>
              <a:avLst/>
              <a:gdLst>
                <a:gd name="connsiteX0" fmla="*/ -336 w 36004"/>
                <a:gd name="connsiteY0" fmla="*/ 10291 h 20907"/>
                <a:gd name="connsiteX1" fmla="*/ 1188 w 36004"/>
                <a:gd name="connsiteY1" fmla="*/ 12577 h 20907"/>
                <a:gd name="connsiteX2" fmla="*/ 3569 w 36004"/>
                <a:gd name="connsiteY2" fmla="*/ 13910 h 20907"/>
                <a:gd name="connsiteX3" fmla="*/ 13856 w 36004"/>
                <a:gd name="connsiteY3" fmla="*/ 19816 h 20907"/>
                <a:gd name="connsiteX4" fmla="*/ 21476 w 36004"/>
                <a:gd name="connsiteY4" fmla="*/ 19816 h 20907"/>
                <a:gd name="connsiteX5" fmla="*/ 31763 w 36004"/>
                <a:gd name="connsiteY5" fmla="*/ 13910 h 20907"/>
                <a:gd name="connsiteX6" fmla="*/ 34144 w 36004"/>
                <a:gd name="connsiteY6" fmla="*/ 12577 h 20907"/>
                <a:gd name="connsiteX7" fmla="*/ 35668 w 36004"/>
                <a:gd name="connsiteY7" fmla="*/ 10291 h 20907"/>
                <a:gd name="connsiteX8" fmla="*/ 34144 w 36004"/>
                <a:gd name="connsiteY8" fmla="*/ 8100 h 20907"/>
                <a:gd name="connsiteX9" fmla="*/ 21476 w 36004"/>
                <a:gd name="connsiteY9" fmla="*/ 766 h 20907"/>
                <a:gd name="connsiteX10" fmla="*/ 13856 w 36004"/>
                <a:gd name="connsiteY10" fmla="*/ 766 h 20907"/>
                <a:gd name="connsiteX11" fmla="*/ 1188 w 36004"/>
                <a:gd name="connsiteY11" fmla="*/ 8100 h 20907"/>
                <a:gd name="connsiteX12" fmla="*/ -336 w 36004"/>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907">
                  <a:moveTo>
                    <a:pt x="-336" y="10291"/>
                  </a:moveTo>
                  <a:cubicBezTo>
                    <a:pt x="-269" y="11272"/>
                    <a:pt x="312" y="12139"/>
                    <a:pt x="1188" y="12577"/>
                  </a:cubicBezTo>
                  <a:lnTo>
                    <a:pt x="3569" y="13910"/>
                  </a:lnTo>
                  <a:lnTo>
                    <a:pt x="13856" y="19816"/>
                  </a:lnTo>
                  <a:cubicBezTo>
                    <a:pt x="16247" y="21054"/>
                    <a:pt x="19085" y="21054"/>
                    <a:pt x="21476" y="19816"/>
                  </a:cubicBezTo>
                  <a:lnTo>
                    <a:pt x="31763" y="13910"/>
                  </a:lnTo>
                  <a:lnTo>
                    <a:pt x="34144" y="12577"/>
                  </a:lnTo>
                  <a:cubicBezTo>
                    <a:pt x="35021" y="12139"/>
                    <a:pt x="35602" y="11272"/>
                    <a:pt x="35668" y="10291"/>
                  </a:cubicBezTo>
                  <a:cubicBezTo>
                    <a:pt x="35611" y="9339"/>
                    <a:pt x="35021" y="8491"/>
                    <a:pt x="34144" y="8100"/>
                  </a:cubicBezTo>
                  <a:lnTo>
                    <a:pt x="21476" y="766"/>
                  </a:lnTo>
                  <a:cubicBezTo>
                    <a:pt x="19085" y="-472"/>
                    <a:pt x="16247" y="-472"/>
                    <a:pt x="13856" y="766"/>
                  </a:cubicBezTo>
                  <a:lnTo>
                    <a:pt x="1188" y="8100"/>
                  </a:lnTo>
                  <a:cubicBezTo>
                    <a:pt x="312" y="8491"/>
                    <a:pt x="-279"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670" name="îṩḻïḍè">
              <a:extLst>
                <a:ext uri="{FF2B5EF4-FFF2-40B4-BE49-F238E27FC236}">
                  <a16:creationId xmlns:a16="http://schemas.microsoft.com/office/drawing/2014/main" id="{51C4106F-D0D8-4C42-8B3A-7D8503DDAE9B}"/>
                </a:ext>
              </a:extLst>
            </p:cNvPr>
            <p:cNvSpPr/>
            <p:nvPr/>
          </p:nvSpPr>
          <p:spPr>
            <a:xfrm>
              <a:off x="5962388" y="5149401"/>
              <a:ext cx="105825" cy="61104"/>
            </a:xfrm>
            <a:custGeom>
              <a:avLst/>
              <a:gdLst>
                <a:gd name="connsiteX0" fmla="*/ 1235 w 34766"/>
                <a:gd name="connsiteY0" fmla="*/ 12029 h 20074"/>
                <a:gd name="connsiteX1" fmla="*/ 13332 w 34766"/>
                <a:gd name="connsiteY1" fmla="*/ 18983 h 20074"/>
                <a:gd name="connsiteX2" fmla="*/ 20761 w 34766"/>
                <a:gd name="connsiteY2" fmla="*/ 18983 h 20074"/>
                <a:gd name="connsiteX3" fmla="*/ 32858 w 34766"/>
                <a:gd name="connsiteY3" fmla="*/ 12029 h 20074"/>
                <a:gd name="connsiteX4" fmla="*/ 32858 w 34766"/>
                <a:gd name="connsiteY4" fmla="*/ 7743 h 20074"/>
                <a:gd name="connsiteX5" fmla="*/ 20761 w 34766"/>
                <a:gd name="connsiteY5" fmla="*/ 695 h 20074"/>
                <a:gd name="connsiteX6" fmla="*/ 13332 w 34766"/>
                <a:gd name="connsiteY6" fmla="*/ 695 h 20074"/>
                <a:gd name="connsiteX7" fmla="*/ 1235 w 34766"/>
                <a:gd name="connsiteY7" fmla="*/ 8219 h 20074"/>
                <a:gd name="connsiteX8" fmla="*/ 1235 w 34766"/>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6" h="20074">
                  <a:moveTo>
                    <a:pt x="1235" y="12029"/>
                  </a:moveTo>
                  <a:lnTo>
                    <a:pt x="13332" y="18983"/>
                  </a:lnTo>
                  <a:cubicBezTo>
                    <a:pt x="15656" y="20221"/>
                    <a:pt x="18437" y="20221"/>
                    <a:pt x="20761" y="18983"/>
                  </a:cubicBezTo>
                  <a:lnTo>
                    <a:pt x="32858" y="12029"/>
                  </a:lnTo>
                  <a:cubicBezTo>
                    <a:pt x="34954" y="10791"/>
                    <a:pt x="34954" y="8886"/>
                    <a:pt x="32858" y="7743"/>
                  </a:cubicBezTo>
                  <a:lnTo>
                    <a:pt x="20761" y="695"/>
                  </a:lnTo>
                  <a:cubicBezTo>
                    <a:pt x="18418" y="-448"/>
                    <a:pt x="15675" y="-448"/>
                    <a:pt x="13332" y="695"/>
                  </a:cubicBezTo>
                  <a:lnTo>
                    <a:pt x="1235" y="8219"/>
                  </a:lnTo>
                  <a:cubicBezTo>
                    <a:pt x="-860" y="8886"/>
                    <a:pt x="-860" y="10791"/>
                    <a:pt x="1235" y="12029"/>
                  </a:cubicBezTo>
                  <a:close/>
                </a:path>
              </a:pathLst>
            </a:custGeom>
            <a:solidFill>
              <a:srgbClr val="D1D9E8"/>
            </a:solidFill>
            <a:ln w="9525" cap="flat">
              <a:noFill/>
              <a:prstDash val="solid"/>
              <a:miter/>
            </a:ln>
          </p:spPr>
          <p:txBody>
            <a:bodyPr rtlCol="0" anchor="ctr"/>
            <a:lstStyle/>
            <a:p>
              <a:endParaRPr lang="zh-CN" altLang="en-US"/>
            </a:p>
          </p:txBody>
        </p:sp>
        <p:sp>
          <p:nvSpPr>
            <p:cNvPr id="671" name="iṧlîdê">
              <a:extLst>
                <a:ext uri="{FF2B5EF4-FFF2-40B4-BE49-F238E27FC236}">
                  <a16:creationId xmlns:a16="http://schemas.microsoft.com/office/drawing/2014/main" id="{C7E544C9-1BAB-47B8-8CE7-7DB9F4C35D3D}"/>
                </a:ext>
              </a:extLst>
            </p:cNvPr>
            <p:cNvSpPr/>
            <p:nvPr/>
          </p:nvSpPr>
          <p:spPr>
            <a:xfrm>
              <a:off x="5960501" y="5179844"/>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3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3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2" y="7953"/>
                    <a:pt x="35668" y="6981"/>
                  </a:cubicBezTo>
                  <a:lnTo>
                    <a:pt x="35668" y="-163"/>
                  </a:lnTo>
                  <a:cubicBezTo>
                    <a:pt x="35602" y="818"/>
                    <a:pt x="35021" y="1685"/>
                    <a:pt x="34144" y="2123"/>
                  </a:cubicBezTo>
                  <a:lnTo>
                    <a:pt x="31763" y="3457"/>
                  </a:lnTo>
                  <a:lnTo>
                    <a:pt x="21476" y="9362"/>
                  </a:lnTo>
                  <a:cubicBezTo>
                    <a:pt x="19085" y="10600"/>
                    <a:pt x="16247" y="10600"/>
                    <a:pt x="13856" y="9362"/>
                  </a:cubicBezTo>
                  <a:lnTo>
                    <a:pt x="3569" y="3457"/>
                  </a:lnTo>
                  <a:lnTo>
                    <a:pt x="1188" y="2123"/>
                  </a:lnTo>
                  <a:cubicBezTo>
                    <a:pt x="312"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72" name="ïṡľíḓe">
              <a:extLst>
                <a:ext uri="{FF2B5EF4-FFF2-40B4-BE49-F238E27FC236}">
                  <a16:creationId xmlns:a16="http://schemas.microsoft.com/office/drawing/2014/main" id="{B7750526-DD03-4A46-AE84-88136F1A0B35}"/>
                </a:ext>
              </a:extLst>
            </p:cNvPr>
            <p:cNvSpPr/>
            <p:nvPr/>
          </p:nvSpPr>
          <p:spPr>
            <a:xfrm>
              <a:off x="6037625" y="5192674"/>
              <a:ext cx="109883" cy="63639"/>
            </a:xfrm>
            <a:custGeom>
              <a:avLst/>
              <a:gdLst>
                <a:gd name="connsiteX0" fmla="*/ -336 w 36099"/>
                <a:gd name="connsiteY0" fmla="*/ 10291 h 20907"/>
                <a:gd name="connsiteX1" fmla="*/ 1283 w 36099"/>
                <a:gd name="connsiteY1" fmla="*/ 12577 h 20907"/>
                <a:gd name="connsiteX2" fmla="*/ 3569 w 36099"/>
                <a:gd name="connsiteY2" fmla="*/ 13911 h 20907"/>
                <a:gd name="connsiteX3" fmla="*/ 13856 w 36099"/>
                <a:gd name="connsiteY3" fmla="*/ 19816 h 20907"/>
                <a:gd name="connsiteX4" fmla="*/ 21571 w 36099"/>
                <a:gd name="connsiteY4" fmla="*/ 19816 h 20907"/>
                <a:gd name="connsiteX5" fmla="*/ 31858 w 36099"/>
                <a:gd name="connsiteY5" fmla="*/ 13911 h 20907"/>
                <a:gd name="connsiteX6" fmla="*/ 34144 w 36099"/>
                <a:gd name="connsiteY6" fmla="*/ 12577 h 20907"/>
                <a:gd name="connsiteX7" fmla="*/ 35764 w 36099"/>
                <a:gd name="connsiteY7" fmla="*/ 10291 h 20907"/>
                <a:gd name="connsiteX8" fmla="*/ 34144 w 36099"/>
                <a:gd name="connsiteY8" fmla="*/ 8101 h 20907"/>
                <a:gd name="connsiteX9" fmla="*/ 21571 w 36099"/>
                <a:gd name="connsiteY9" fmla="*/ 766 h 20907"/>
                <a:gd name="connsiteX10" fmla="*/ 13856 w 36099"/>
                <a:gd name="connsiteY10" fmla="*/ 766 h 20907"/>
                <a:gd name="connsiteX11" fmla="*/ 1283 w 36099"/>
                <a:gd name="connsiteY11" fmla="*/ 8101 h 20907"/>
                <a:gd name="connsiteX12" fmla="*/ -336 w 36099"/>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99" h="20907">
                  <a:moveTo>
                    <a:pt x="-336" y="10291"/>
                  </a:moveTo>
                  <a:cubicBezTo>
                    <a:pt x="-231" y="11282"/>
                    <a:pt x="378" y="12149"/>
                    <a:pt x="1283" y="12577"/>
                  </a:cubicBezTo>
                  <a:lnTo>
                    <a:pt x="3569" y="13911"/>
                  </a:lnTo>
                  <a:lnTo>
                    <a:pt x="13856" y="19816"/>
                  </a:lnTo>
                  <a:cubicBezTo>
                    <a:pt x="16275" y="21054"/>
                    <a:pt x="19152" y="21054"/>
                    <a:pt x="21571" y="19816"/>
                  </a:cubicBezTo>
                  <a:lnTo>
                    <a:pt x="31858" y="13911"/>
                  </a:lnTo>
                  <a:lnTo>
                    <a:pt x="34144" y="12577"/>
                  </a:lnTo>
                  <a:cubicBezTo>
                    <a:pt x="35049" y="12149"/>
                    <a:pt x="35659" y="11282"/>
                    <a:pt x="35764" y="10291"/>
                  </a:cubicBezTo>
                  <a:cubicBezTo>
                    <a:pt x="35649" y="9329"/>
                    <a:pt x="35030" y="8491"/>
                    <a:pt x="34144" y="8101"/>
                  </a:cubicBezTo>
                  <a:lnTo>
                    <a:pt x="21571" y="766"/>
                  </a:lnTo>
                  <a:cubicBezTo>
                    <a:pt x="19152" y="-472"/>
                    <a:pt x="16275" y="-472"/>
                    <a:pt x="13856" y="766"/>
                  </a:cubicBezTo>
                  <a:lnTo>
                    <a:pt x="1283" y="8101"/>
                  </a:lnTo>
                  <a:cubicBezTo>
                    <a:pt x="397" y="8491"/>
                    <a:pt x="-222"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673" name="ïṧļiḑè">
              <a:extLst>
                <a:ext uri="{FF2B5EF4-FFF2-40B4-BE49-F238E27FC236}">
                  <a16:creationId xmlns:a16="http://schemas.microsoft.com/office/drawing/2014/main" id="{2601025A-5EBB-497B-9C89-F1E7AED59B3B}"/>
                </a:ext>
              </a:extLst>
            </p:cNvPr>
            <p:cNvSpPr/>
            <p:nvPr/>
          </p:nvSpPr>
          <p:spPr>
            <a:xfrm>
              <a:off x="6039729" y="5193834"/>
              <a:ext cx="105679" cy="61104"/>
            </a:xfrm>
            <a:custGeom>
              <a:avLst/>
              <a:gdLst>
                <a:gd name="connsiteX0" fmla="*/ 1164 w 34718"/>
                <a:gd name="connsiteY0" fmla="*/ 12006 h 20074"/>
                <a:gd name="connsiteX1" fmla="*/ 13260 w 34718"/>
                <a:gd name="connsiteY1" fmla="*/ 19054 h 20074"/>
                <a:gd name="connsiteX2" fmla="*/ 20690 w 34718"/>
                <a:gd name="connsiteY2" fmla="*/ 19054 h 20074"/>
                <a:gd name="connsiteX3" fmla="*/ 32882 w 34718"/>
                <a:gd name="connsiteY3" fmla="*/ 12006 h 20074"/>
                <a:gd name="connsiteX4" fmla="*/ 32882 w 34718"/>
                <a:gd name="connsiteY4" fmla="*/ 7719 h 20074"/>
                <a:gd name="connsiteX5" fmla="*/ 20690 w 34718"/>
                <a:gd name="connsiteY5" fmla="*/ 766 h 20074"/>
                <a:gd name="connsiteX6" fmla="*/ 13260 w 34718"/>
                <a:gd name="connsiteY6" fmla="*/ 766 h 20074"/>
                <a:gd name="connsiteX7" fmla="*/ 1164 w 34718"/>
                <a:gd name="connsiteY7" fmla="*/ 7719 h 20074"/>
                <a:gd name="connsiteX8" fmla="*/ 1164 w 34718"/>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18" h="20074">
                  <a:moveTo>
                    <a:pt x="1164" y="12006"/>
                  </a:moveTo>
                  <a:lnTo>
                    <a:pt x="13260" y="19054"/>
                  </a:lnTo>
                  <a:cubicBezTo>
                    <a:pt x="15604" y="20197"/>
                    <a:pt x="18347" y="20197"/>
                    <a:pt x="20690" y="19054"/>
                  </a:cubicBezTo>
                  <a:lnTo>
                    <a:pt x="32882" y="12006"/>
                  </a:lnTo>
                  <a:cubicBezTo>
                    <a:pt x="34882" y="10863"/>
                    <a:pt x="34882" y="8957"/>
                    <a:pt x="32882" y="7719"/>
                  </a:cubicBezTo>
                  <a:lnTo>
                    <a:pt x="20690" y="766"/>
                  </a:lnTo>
                  <a:cubicBezTo>
                    <a:pt x="18366" y="-472"/>
                    <a:pt x="15585" y="-472"/>
                    <a:pt x="13260" y="766"/>
                  </a:cubicBezTo>
                  <a:lnTo>
                    <a:pt x="1164" y="7719"/>
                  </a:lnTo>
                  <a:cubicBezTo>
                    <a:pt x="-836" y="8957"/>
                    <a:pt x="-836" y="10863"/>
                    <a:pt x="1164" y="12006"/>
                  </a:cubicBezTo>
                  <a:close/>
                </a:path>
              </a:pathLst>
            </a:custGeom>
            <a:solidFill>
              <a:srgbClr val="D1D9E8"/>
            </a:solidFill>
            <a:ln w="9525" cap="flat">
              <a:noFill/>
              <a:prstDash val="solid"/>
              <a:miter/>
            </a:ln>
          </p:spPr>
          <p:txBody>
            <a:bodyPr rtlCol="0" anchor="ctr"/>
            <a:lstStyle/>
            <a:p>
              <a:endParaRPr lang="zh-CN" altLang="en-US"/>
            </a:p>
          </p:txBody>
        </p:sp>
        <p:sp>
          <p:nvSpPr>
            <p:cNvPr id="674" name="íṧľiḍe">
              <a:extLst>
                <a:ext uri="{FF2B5EF4-FFF2-40B4-BE49-F238E27FC236}">
                  <a16:creationId xmlns:a16="http://schemas.microsoft.com/office/drawing/2014/main" id="{F054CE81-D558-407B-9AE3-7056834DF129}"/>
                </a:ext>
              </a:extLst>
            </p:cNvPr>
            <p:cNvSpPr/>
            <p:nvPr/>
          </p:nvSpPr>
          <p:spPr>
            <a:xfrm>
              <a:off x="6037625" y="5224492"/>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4 w 36099"/>
                <a:gd name="connsiteY6" fmla="*/ 6981 h 17597"/>
                <a:gd name="connsiteX7" fmla="*/ 35764 w 36099"/>
                <a:gd name="connsiteY7" fmla="*/ -163 h 17597"/>
                <a:gd name="connsiteX8" fmla="*/ 34144 w 36099"/>
                <a:gd name="connsiteY8" fmla="*/ 2124 h 17597"/>
                <a:gd name="connsiteX9" fmla="*/ 31858 w 36099"/>
                <a:gd name="connsiteY9" fmla="*/ 3457 h 17597"/>
                <a:gd name="connsiteX10" fmla="*/ 21571 w 36099"/>
                <a:gd name="connsiteY10" fmla="*/ 9362 h 17597"/>
                <a:gd name="connsiteX11" fmla="*/ 13856 w 36099"/>
                <a:gd name="connsiteY11" fmla="*/ 9362 h 17597"/>
                <a:gd name="connsiteX12" fmla="*/ 3569 w 36099"/>
                <a:gd name="connsiteY12" fmla="*/ 3457 h 17597"/>
                <a:gd name="connsiteX13" fmla="*/ 1283 w 36099"/>
                <a:gd name="connsiteY13" fmla="*/ 2124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03" y="8029"/>
                    <a:pt x="407" y="8858"/>
                    <a:pt x="1283" y="9267"/>
                  </a:cubicBezTo>
                  <a:lnTo>
                    <a:pt x="13856" y="16506"/>
                  </a:lnTo>
                  <a:cubicBezTo>
                    <a:pt x="16275" y="17744"/>
                    <a:pt x="19152" y="17744"/>
                    <a:pt x="21571" y="16506"/>
                  </a:cubicBezTo>
                  <a:lnTo>
                    <a:pt x="34144" y="9267"/>
                  </a:lnTo>
                  <a:cubicBezTo>
                    <a:pt x="35030" y="8829"/>
                    <a:pt x="35640" y="7972"/>
                    <a:pt x="35764" y="6981"/>
                  </a:cubicBezTo>
                  <a:lnTo>
                    <a:pt x="35764" y="-163"/>
                  </a:lnTo>
                  <a:cubicBezTo>
                    <a:pt x="35659" y="828"/>
                    <a:pt x="35049" y="1695"/>
                    <a:pt x="34144" y="2124"/>
                  </a:cubicBezTo>
                  <a:lnTo>
                    <a:pt x="31858" y="3457"/>
                  </a:lnTo>
                  <a:lnTo>
                    <a:pt x="21571" y="9362"/>
                  </a:lnTo>
                  <a:cubicBezTo>
                    <a:pt x="19152" y="10601"/>
                    <a:pt x="16275" y="10601"/>
                    <a:pt x="13856" y="9362"/>
                  </a:cubicBezTo>
                  <a:lnTo>
                    <a:pt x="3569" y="3457"/>
                  </a:lnTo>
                  <a:lnTo>
                    <a:pt x="1283" y="2124"/>
                  </a:lnTo>
                  <a:cubicBezTo>
                    <a:pt x="378" y="1695"/>
                    <a:pt x="-231"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75" name="îṣ1ïḍé">
              <a:extLst>
                <a:ext uri="{FF2B5EF4-FFF2-40B4-BE49-F238E27FC236}">
                  <a16:creationId xmlns:a16="http://schemas.microsoft.com/office/drawing/2014/main" id="{D8C151B5-9B97-401A-B8D4-A061285543E6}"/>
                </a:ext>
              </a:extLst>
            </p:cNvPr>
            <p:cNvSpPr/>
            <p:nvPr/>
          </p:nvSpPr>
          <p:spPr>
            <a:xfrm>
              <a:off x="6115038" y="5237322"/>
              <a:ext cx="109594" cy="63588"/>
            </a:xfrm>
            <a:custGeom>
              <a:avLst/>
              <a:gdLst>
                <a:gd name="connsiteX0" fmla="*/ -336 w 36004"/>
                <a:gd name="connsiteY0" fmla="*/ 10291 h 20890"/>
                <a:gd name="connsiteX1" fmla="*/ 1188 w 36004"/>
                <a:gd name="connsiteY1" fmla="*/ 12577 h 20890"/>
                <a:gd name="connsiteX2" fmla="*/ 3569 w 36004"/>
                <a:gd name="connsiteY2" fmla="*/ 13911 h 20890"/>
                <a:gd name="connsiteX3" fmla="*/ 13856 w 36004"/>
                <a:gd name="connsiteY3" fmla="*/ 19721 h 20890"/>
                <a:gd name="connsiteX4" fmla="*/ 21476 w 36004"/>
                <a:gd name="connsiteY4" fmla="*/ 19721 h 20890"/>
                <a:gd name="connsiteX5" fmla="*/ 31763 w 36004"/>
                <a:gd name="connsiteY5" fmla="*/ 13911 h 20890"/>
                <a:gd name="connsiteX6" fmla="*/ 34144 w 36004"/>
                <a:gd name="connsiteY6" fmla="*/ 12577 h 20890"/>
                <a:gd name="connsiteX7" fmla="*/ 35668 w 36004"/>
                <a:gd name="connsiteY7" fmla="*/ 10291 h 20890"/>
                <a:gd name="connsiteX8" fmla="*/ 34144 w 36004"/>
                <a:gd name="connsiteY8" fmla="*/ 8100 h 20890"/>
                <a:gd name="connsiteX9" fmla="*/ 21476 w 36004"/>
                <a:gd name="connsiteY9" fmla="*/ 766 h 20890"/>
                <a:gd name="connsiteX10" fmla="*/ 13856 w 36004"/>
                <a:gd name="connsiteY10" fmla="*/ 766 h 20890"/>
                <a:gd name="connsiteX11" fmla="*/ 1188 w 36004"/>
                <a:gd name="connsiteY11" fmla="*/ 8100 h 20890"/>
                <a:gd name="connsiteX12" fmla="*/ -336 w 36004"/>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291"/>
                  </a:moveTo>
                  <a:cubicBezTo>
                    <a:pt x="-270" y="11272"/>
                    <a:pt x="311" y="12139"/>
                    <a:pt x="1188" y="12577"/>
                  </a:cubicBezTo>
                  <a:lnTo>
                    <a:pt x="3569" y="13911"/>
                  </a:lnTo>
                  <a:lnTo>
                    <a:pt x="13856" y="19721"/>
                  </a:lnTo>
                  <a:cubicBezTo>
                    <a:pt x="16218" y="21064"/>
                    <a:pt x="19114" y="21064"/>
                    <a:pt x="21476" y="19721"/>
                  </a:cubicBezTo>
                  <a:lnTo>
                    <a:pt x="31763" y="13911"/>
                  </a:lnTo>
                  <a:lnTo>
                    <a:pt x="34144" y="12577"/>
                  </a:lnTo>
                  <a:cubicBezTo>
                    <a:pt x="35021" y="12139"/>
                    <a:pt x="35601" y="11272"/>
                    <a:pt x="35668" y="10291"/>
                  </a:cubicBezTo>
                  <a:cubicBezTo>
                    <a:pt x="35630" y="9329"/>
                    <a:pt x="35039" y="8472"/>
                    <a:pt x="34144" y="8100"/>
                  </a:cubicBezTo>
                  <a:lnTo>
                    <a:pt x="21476" y="766"/>
                  </a:lnTo>
                  <a:cubicBezTo>
                    <a:pt x="19085" y="-472"/>
                    <a:pt x="16247" y="-472"/>
                    <a:pt x="13856" y="766"/>
                  </a:cubicBezTo>
                  <a:lnTo>
                    <a:pt x="1188" y="8100"/>
                  </a:lnTo>
                  <a:cubicBezTo>
                    <a:pt x="292" y="8472"/>
                    <a:pt x="-298"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676" name="íšḷiḑe">
              <a:extLst>
                <a:ext uri="{FF2B5EF4-FFF2-40B4-BE49-F238E27FC236}">
                  <a16:creationId xmlns:a16="http://schemas.microsoft.com/office/drawing/2014/main" id="{1037291F-0716-424B-A57C-00E4980973B9}"/>
                </a:ext>
              </a:extLst>
            </p:cNvPr>
            <p:cNvSpPr/>
            <p:nvPr/>
          </p:nvSpPr>
          <p:spPr>
            <a:xfrm>
              <a:off x="6116923" y="5238482"/>
              <a:ext cx="105825" cy="61101"/>
            </a:xfrm>
            <a:custGeom>
              <a:avLst/>
              <a:gdLst>
                <a:gd name="connsiteX0" fmla="*/ 1235 w 34766"/>
                <a:gd name="connsiteY0" fmla="*/ 12006 h 20073"/>
                <a:gd name="connsiteX1" fmla="*/ 13332 w 34766"/>
                <a:gd name="connsiteY1" fmla="*/ 19054 h 20073"/>
                <a:gd name="connsiteX2" fmla="*/ 20762 w 34766"/>
                <a:gd name="connsiteY2" fmla="*/ 19054 h 20073"/>
                <a:gd name="connsiteX3" fmla="*/ 32858 w 34766"/>
                <a:gd name="connsiteY3" fmla="*/ 12006 h 20073"/>
                <a:gd name="connsiteX4" fmla="*/ 32858 w 34766"/>
                <a:gd name="connsiteY4" fmla="*/ 7719 h 20073"/>
                <a:gd name="connsiteX5" fmla="*/ 20762 w 34766"/>
                <a:gd name="connsiteY5" fmla="*/ 766 h 20073"/>
                <a:gd name="connsiteX6" fmla="*/ 13332 w 34766"/>
                <a:gd name="connsiteY6" fmla="*/ 766 h 20073"/>
                <a:gd name="connsiteX7" fmla="*/ 1235 w 34766"/>
                <a:gd name="connsiteY7" fmla="*/ 7719 h 20073"/>
                <a:gd name="connsiteX8" fmla="*/ 1235 w 34766"/>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6" h="20073">
                  <a:moveTo>
                    <a:pt x="1235" y="12006"/>
                  </a:moveTo>
                  <a:lnTo>
                    <a:pt x="13332" y="19054"/>
                  </a:lnTo>
                  <a:cubicBezTo>
                    <a:pt x="15675" y="20197"/>
                    <a:pt x="18419" y="20197"/>
                    <a:pt x="20762" y="19054"/>
                  </a:cubicBezTo>
                  <a:lnTo>
                    <a:pt x="32858" y="12006"/>
                  </a:lnTo>
                  <a:cubicBezTo>
                    <a:pt x="34954" y="10863"/>
                    <a:pt x="34954" y="8957"/>
                    <a:pt x="32858" y="7719"/>
                  </a:cubicBezTo>
                  <a:lnTo>
                    <a:pt x="20762" y="766"/>
                  </a:lnTo>
                  <a:cubicBezTo>
                    <a:pt x="18437" y="-472"/>
                    <a:pt x="15656" y="-472"/>
                    <a:pt x="13332" y="766"/>
                  </a:cubicBezTo>
                  <a:lnTo>
                    <a:pt x="1235" y="7719"/>
                  </a:lnTo>
                  <a:cubicBezTo>
                    <a:pt x="-860" y="8957"/>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677" name="îSḻíḑé">
              <a:extLst>
                <a:ext uri="{FF2B5EF4-FFF2-40B4-BE49-F238E27FC236}">
                  <a16:creationId xmlns:a16="http://schemas.microsoft.com/office/drawing/2014/main" id="{CDE79BD5-D885-4BA8-BD04-3A9194680DED}"/>
                </a:ext>
              </a:extLst>
            </p:cNvPr>
            <p:cNvSpPr/>
            <p:nvPr/>
          </p:nvSpPr>
          <p:spPr>
            <a:xfrm>
              <a:off x="6115038" y="5268854"/>
              <a:ext cx="109594" cy="53564"/>
            </a:xfrm>
            <a:custGeom>
              <a:avLst/>
              <a:gdLst>
                <a:gd name="connsiteX0" fmla="*/ -336 w 36004"/>
                <a:gd name="connsiteY0" fmla="*/ -67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4 h 17597"/>
                <a:gd name="connsiteX9" fmla="*/ 31763 w 36004"/>
                <a:gd name="connsiteY9" fmla="*/ 3457 h 17597"/>
                <a:gd name="connsiteX10" fmla="*/ 21476 w 36004"/>
                <a:gd name="connsiteY10" fmla="*/ 9267 h 17597"/>
                <a:gd name="connsiteX11" fmla="*/ 13856 w 36004"/>
                <a:gd name="connsiteY11" fmla="*/ 9267 h 17597"/>
                <a:gd name="connsiteX12" fmla="*/ 3569 w 36004"/>
                <a:gd name="connsiteY12" fmla="*/ 3457 h 17597"/>
                <a:gd name="connsiteX13" fmla="*/ 1188 w 36004"/>
                <a:gd name="connsiteY13" fmla="*/ 2124 h 17597"/>
                <a:gd name="connsiteX14" fmla="*/ -336 w 36004"/>
                <a:gd name="connsiteY14" fmla="*/ -67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67"/>
                  </a:moveTo>
                  <a:lnTo>
                    <a:pt x="-336" y="7076"/>
                  </a:lnTo>
                  <a:cubicBezTo>
                    <a:pt x="-241" y="8019"/>
                    <a:pt x="340" y="8848"/>
                    <a:pt x="1188" y="9267"/>
                  </a:cubicBezTo>
                  <a:lnTo>
                    <a:pt x="13856" y="16506"/>
                  </a:lnTo>
                  <a:cubicBezTo>
                    <a:pt x="16247" y="17744"/>
                    <a:pt x="19085" y="17744"/>
                    <a:pt x="21476" y="16506"/>
                  </a:cubicBezTo>
                  <a:lnTo>
                    <a:pt x="34144" y="9267"/>
                  </a:lnTo>
                  <a:cubicBezTo>
                    <a:pt x="35011" y="8820"/>
                    <a:pt x="35582" y="7953"/>
                    <a:pt x="35668" y="6981"/>
                  </a:cubicBezTo>
                  <a:lnTo>
                    <a:pt x="35668" y="-163"/>
                  </a:lnTo>
                  <a:cubicBezTo>
                    <a:pt x="35601" y="818"/>
                    <a:pt x="35021" y="1685"/>
                    <a:pt x="34144" y="2124"/>
                  </a:cubicBezTo>
                  <a:lnTo>
                    <a:pt x="31763" y="3457"/>
                  </a:lnTo>
                  <a:lnTo>
                    <a:pt x="21476" y="9267"/>
                  </a:lnTo>
                  <a:cubicBezTo>
                    <a:pt x="19114" y="10610"/>
                    <a:pt x="16218" y="10610"/>
                    <a:pt x="13856" y="9267"/>
                  </a:cubicBezTo>
                  <a:lnTo>
                    <a:pt x="3569" y="3457"/>
                  </a:lnTo>
                  <a:lnTo>
                    <a:pt x="1188" y="2124"/>
                  </a:lnTo>
                  <a:cubicBezTo>
                    <a:pt x="340" y="1704"/>
                    <a:pt x="-241" y="876"/>
                    <a:pt x="-336" y="-67"/>
                  </a:cubicBezTo>
                  <a:close/>
                </a:path>
              </a:pathLst>
            </a:custGeom>
            <a:solidFill>
              <a:srgbClr val="BF4200"/>
            </a:solidFill>
            <a:ln w="9525" cap="flat">
              <a:noFill/>
              <a:prstDash val="solid"/>
              <a:miter/>
            </a:ln>
          </p:spPr>
          <p:txBody>
            <a:bodyPr rtlCol="0" anchor="ctr"/>
            <a:lstStyle/>
            <a:p>
              <a:endParaRPr lang="zh-CN" altLang="en-US"/>
            </a:p>
          </p:txBody>
        </p:sp>
        <p:sp>
          <p:nvSpPr>
            <p:cNvPr id="678" name="iš1íḋe">
              <a:extLst>
                <a:ext uri="{FF2B5EF4-FFF2-40B4-BE49-F238E27FC236}">
                  <a16:creationId xmlns:a16="http://schemas.microsoft.com/office/drawing/2014/main" id="{DC56CF55-22A2-4E42-BA2B-9663F7CCB87B}"/>
                </a:ext>
              </a:extLst>
            </p:cNvPr>
            <p:cNvSpPr/>
            <p:nvPr/>
          </p:nvSpPr>
          <p:spPr>
            <a:xfrm>
              <a:off x="6193030" y="5281879"/>
              <a:ext cx="197152" cy="113892"/>
            </a:xfrm>
            <a:custGeom>
              <a:avLst/>
              <a:gdLst>
                <a:gd name="connsiteX0" fmla="*/ -336 w 64769"/>
                <a:gd name="connsiteY0" fmla="*/ 10227 h 37416"/>
                <a:gd name="connsiteX1" fmla="*/ 1188 w 64769"/>
                <a:gd name="connsiteY1" fmla="*/ 12513 h 37416"/>
                <a:gd name="connsiteX2" fmla="*/ 3569 w 64769"/>
                <a:gd name="connsiteY2" fmla="*/ 13846 h 37416"/>
                <a:gd name="connsiteX3" fmla="*/ 42431 w 64769"/>
                <a:gd name="connsiteY3" fmla="*/ 36325 h 37416"/>
                <a:gd name="connsiteX4" fmla="*/ 50241 w 64769"/>
                <a:gd name="connsiteY4" fmla="*/ 36325 h 37416"/>
                <a:gd name="connsiteX5" fmla="*/ 60433 w 64769"/>
                <a:gd name="connsiteY5" fmla="*/ 30420 h 37416"/>
                <a:gd name="connsiteX6" fmla="*/ 62814 w 64769"/>
                <a:gd name="connsiteY6" fmla="*/ 28991 h 37416"/>
                <a:gd name="connsiteX7" fmla="*/ 64434 w 64769"/>
                <a:gd name="connsiteY7" fmla="*/ 27372 h 37416"/>
                <a:gd name="connsiteX8" fmla="*/ 64434 w 64769"/>
                <a:gd name="connsiteY8" fmla="*/ 26229 h 37416"/>
                <a:gd name="connsiteX9" fmla="*/ 62814 w 64769"/>
                <a:gd name="connsiteY9" fmla="*/ 24514 h 37416"/>
                <a:gd name="connsiteX10" fmla="*/ 21476 w 64769"/>
                <a:gd name="connsiteY10" fmla="*/ 702 h 37416"/>
                <a:gd name="connsiteX11" fmla="*/ 13856 w 64769"/>
                <a:gd name="connsiteY11" fmla="*/ 702 h 37416"/>
                <a:gd name="connsiteX12" fmla="*/ 1188 w 64769"/>
                <a:gd name="connsiteY12" fmla="*/ 8036 h 37416"/>
                <a:gd name="connsiteX13" fmla="*/ -336 w 64769"/>
                <a:gd name="connsiteY13" fmla="*/ 10227 h 37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4769" h="37416">
                  <a:moveTo>
                    <a:pt x="-336" y="10227"/>
                  </a:moveTo>
                  <a:cubicBezTo>
                    <a:pt x="-270" y="11208"/>
                    <a:pt x="311" y="12075"/>
                    <a:pt x="1188" y="12513"/>
                  </a:cubicBezTo>
                  <a:lnTo>
                    <a:pt x="3569" y="13846"/>
                  </a:lnTo>
                  <a:lnTo>
                    <a:pt x="42431" y="36325"/>
                  </a:lnTo>
                  <a:cubicBezTo>
                    <a:pt x="44888" y="37563"/>
                    <a:pt x="47784" y="37563"/>
                    <a:pt x="50241" y="36325"/>
                  </a:cubicBezTo>
                  <a:lnTo>
                    <a:pt x="60433" y="30420"/>
                  </a:lnTo>
                  <a:lnTo>
                    <a:pt x="62814" y="28991"/>
                  </a:lnTo>
                  <a:cubicBezTo>
                    <a:pt x="63529" y="28658"/>
                    <a:pt x="64100" y="28086"/>
                    <a:pt x="64434" y="27372"/>
                  </a:cubicBezTo>
                  <a:lnTo>
                    <a:pt x="64434" y="26229"/>
                  </a:lnTo>
                  <a:cubicBezTo>
                    <a:pt x="64024" y="25543"/>
                    <a:pt x="63472" y="24962"/>
                    <a:pt x="62814" y="24514"/>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679" name="ïṡḷîḑé">
              <a:extLst>
                <a:ext uri="{FF2B5EF4-FFF2-40B4-BE49-F238E27FC236}">
                  <a16:creationId xmlns:a16="http://schemas.microsoft.com/office/drawing/2014/main" id="{78B57CDF-5E88-4107-997B-E4B49BD1AAAB}"/>
                </a:ext>
              </a:extLst>
            </p:cNvPr>
            <p:cNvSpPr/>
            <p:nvPr/>
          </p:nvSpPr>
          <p:spPr>
            <a:xfrm>
              <a:off x="6194336" y="5282771"/>
              <a:ext cx="193168" cy="111545"/>
            </a:xfrm>
            <a:custGeom>
              <a:avLst/>
              <a:gdLst>
                <a:gd name="connsiteX0" fmla="*/ 42193 w 63460"/>
                <a:gd name="connsiteY0" fmla="*/ 35651 h 36645"/>
                <a:gd name="connsiteX1" fmla="*/ 1235 w 63460"/>
                <a:gd name="connsiteY1" fmla="*/ 12029 h 36645"/>
                <a:gd name="connsiteX2" fmla="*/ 1235 w 63460"/>
                <a:gd name="connsiteY2" fmla="*/ 7743 h 36645"/>
                <a:gd name="connsiteX3" fmla="*/ 13332 w 63460"/>
                <a:gd name="connsiteY3" fmla="*/ 695 h 36645"/>
                <a:gd name="connsiteX4" fmla="*/ 20761 w 63460"/>
                <a:gd name="connsiteY4" fmla="*/ 695 h 36645"/>
                <a:gd name="connsiteX5" fmla="*/ 61624 w 63460"/>
                <a:gd name="connsiteY5" fmla="*/ 24317 h 36645"/>
                <a:gd name="connsiteX6" fmla="*/ 61624 w 63460"/>
                <a:gd name="connsiteY6" fmla="*/ 28603 h 36645"/>
                <a:gd name="connsiteX7" fmla="*/ 49432 w 63460"/>
                <a:gd name="connsiteY7" fmla="*/ 35556 h 36645"/>
                <a:gd name="connsiteX8" fmla="*/ 42193 w 63460"/>
                <a:gd name="connsiteY8" fmla="*/ 35651 h 36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3460" h="36645">
                  <a:moveTo>
                    <a:pt x="42193" y="35651"/>
                  </a:moveTo>
                  <a:lnTo>
                    <a:pt x="1235" y="12029"/>
                  </a:lnTo>
                  <a:cubicBezTo>
                    <a:pt x="-860" y="10791"/>
                    <a:pt x="-860" y="8886"/>
                    <a:pt x="1235" y="7743"/>
                  </a:cubicBezTo>
                  <a:lnTo>
                    <a:pt x="13332" y="695"/>
                  </a:lnTo>
                  <a:cubicBezTo>
                    <a:pt x="15675" y="-448"/>
                    <a:pt x="18418" y="-448"/>
                    <a:pt x="20761" y="695"/>
                  </a:cubicBezTo>
                  <a:lnTo>
                    <a:pt x="61624" y="24317"/>
                  </a:lnTo>
                  <a:cubicBezTo>
                    <a:pt x="63624" y="25460"/>
                    <a:pt x="63624" y="27364"/>
                    <a:pt x="61624" y="28603"/>
                  </a:cubicBezTo>
                  <a:lnTo>
                    <a:pt x="49432" y="35556"/>
                  </a:lnTo>
                  <a:cubicBezTo>
                    <a:pt x="47174" y="36756"/>
                    <a:pt x="44479" y="36794"/>
                    <a:pt x="42193" y="35651"/>
                  </a:cubicBezTo>
                  <a:close/>
                </a:path>
              </a:pathLst>
            </a:custGeom>
            <a:solidFill>
              <a:srgbClr val="D1D9E8"/>
            </a:solidFill>
            <a:ln w="9525" cap="flat">
              <a:noFill/>
              <a:prstDash val="solid"/>
              <a:miter/>
            </a:ln>
          </p:spPr>
          <p:txBody>
            <a:bodyPr rtlCol="0" anchor="ctr"/>
            <a:lstStyle/>
            <a:p>
              <a:endParaRPr lang="zh-CN" altLang="en-US"/>
            </a:p>
          </p:txBody>
        </p:sp>
        <p:sp>
          <p:nvSpPr>
            <p:cNvPr id="680" name="ïšľiďè">
              <a:extLst>
                <a:ext uri="{FF2B5EF4-FFF2-40B4-BE49-F238E27FC236}">
                  <a16:creationId xmlns:a16="http://schemas.microsoft.com/office/drawing/2014/main" id="{9E09C8D2-B3D1-40DC-8B3A-94E7720F6400}"/>
                </a:ext>
              </a:extLst>
            </p:cNvPr>
            <p:cNvSpPr/>
            <p:nvPr/>
          </p:nvSpPr>
          <p:spPr>
            <a:xfrm>
              <a:off x="6193030" y="5313503"/>
              <a:ext cx="197152" cy="104011"/>
            </a:xfrm>
            <a:custGeom>
              <a:avLst/>
              <a:gdLst>
                <a:gd name="connsiteX0" fmla="*/ -336 w 64769"/>
                <a:gd name="connsiteY0" fmla="*/ -163 h 34170"/>
                <a:gd name="connsiteX1" fmla="*/ -336 w 64769"/>
                <a:gd name="connsiteY1" fmla="*/ 6981 h 34170"/>
                <a:gd name="connsiteX2" fmla="*/ 1188 w 64769"/>
                <a:gd name="connsiteY2" fmla="*/ 9267 h 34170"/>
                <a:gd name="connsiteX3" fmla="*/ 42431 w 64769"/>
                <a:gd name="connsiteY3" fmla="*/ 33080 h 34170"/>
                <a:gd name="connsiteX4" fmla="*/ 50241 w 64769"/>
                <a:gd name="connsiteY4" fmla="*/ 33080 h 34170"/>
                <a:gd name="connsiteX5" fmla="*/ 62814 w 64769"/>
                <a:gd name="connsiteY5" fmla="*/ 25841 h 34170"/>
                <a:gd name="connsiteX6" fmla="*/ 64434 w 64769"/>
                <a:gd name="connsiteY6" fmla="*/ 24126 h 34170"/>
                <a:gd name="connsiteX7" fmla="*/ 64434 w 64769"/>
                <a:gd name="connsiteY7" fmla="*/ 16982 h 34170"/>
                <a:gd name="connsiteX8" fmla="*/ 62814 w 64769"/>
                <a:gd name="connsiteY8" fmla="*/ 18602 h 34170"/>
                <a:gd name="connsiteX9" fmla="*/ 60433 w 64769"/>
                <a:gd name="connsiteY9" fmla="*/ 20030 h 34170"/>
                <a:gd name="connsiteX10" fmla="*/ 50241 w 64769"/>
                <a:gd name="connsiteY10" fmla="*/ 25936 h 34170"/>
                <a:gd name="connsiteX11" fmla="*/ 42431 w 64769"/>
                <a:gd name="connsiteY11" fmla="*/ 25936 h 34170"/>
                <a:gd name="connsiteX12" fmla="*/ 3569 w 64769"/>
                <a:gd name="connsiteY12" fmla="*/ 3457 h 34170"/>
                <a:gd name="connsiteX13" fmla="*/ 1664 w 64769"/>
                <a:gd name="connsiteY13" fmla="*/ 1933 h 34170"/>
                <a:gd name="connsiteX14" fmla="*/ -336 w 64769"/>
                <a:gd name="connsiteY14" fmla="*/ -163 h 341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4769" h="34170">
                  <a:moveTo>
                    <a:pt x="-336" y="-163"/>
                  </a:moveTo>
                  <a:lnTo>
                    <a:pt x="-336" y="6981"/>
                  </a:lnTo>
                  <a:cubicBezTo>
                    <a:pt x="-251" y="7953"/>
                    <a:pt x="321" y="8819"/>
                    <a:pt x="1188" y="9267"/>
                  </a:cubicBezTo>
                  <a:lnTo>
                    <a:pt x="42431" y="33080"/>
                  </a:lnTo>
                  <a:cubicBezTo>
                    <a:pt x="44888" y="34318"/>
                    <a:pt x="47784" y="34318"/>
                    <a:pt x="50241" y="33080"/>
                  </a:cubicBezTo>
                  <a:lnTo>
                    <a:pt x="62814" y="25841"/>
                  </a:lnTo>
                  <a:cubicBezTo>
                    <a:pt x="63472" y="25393"/>
                    <a:pt x="64024" y="24812"/>
                    <a:pt x="64434" y="24126"/>
                  </a:cubicBezTo>
                  <a:lnTo>
                    <a:pt x="64434" y="16982"/>
                  </a:lnTo>
                  <a:cubicBezTo>
                    <a:pt x="64100" y="17697"/>
                    <a:pt x="63529" y="18268"/>
                    <a:pt x="62814" y="18602"/>
                  </a:cubicBezTo>
                  <a:lnTo>
                    <a:pt x="60433" y="20030"/>
                  </a:lnTo>
                  <a:lnTo>
                    <a:pt x="50241" y="25936"/>
                  </a:lnTo>
                  <a:cubicBezTo>
                    <a:pt x="47784" y="27174"/>
                    <a:pt x="44888" y="27174"/>
                    <a:pt x="42431" y="25936"/>
                  </a:cubicBezTo>
                  <a:lnTo>
                    <a:pt x="3569" y="3457"/>
                  </a:lnTo>
                  <a:lnTo>
                    <a:pt x="1664" y="1933"/>
                  </a:lnTo>
                  <a:cubicBezTo>
                    <a:pt x="654" y="1666"/>
                    <a:pt x="-117" y="856"/>
                    <a:pt x="-336" y="-163"/>
                  </a:cubicBezTo>
                  <a:close/>
                </a:path>
              </a:pathLst>
            </a:custGeom>
            <a:solidFill>
              <a:srgbClr val="BF4200"/>
            </a:solidFill>
            <a:ln w="9525" cap="flat">
              <a:noFill/>
              <a:prstDash val="solid"/>
              <a:miter/>
            </a:ln>
          </p:spPr>
          <p:txBody>
            <a:bodyPr rtlCol="0" anchor="ctr"/>
            <a:lstStyle/>
            <a:p>
              <a:endParaRPr lang="zh-CN" altLang="en-US"/>
            </a:p>
          </p:txBody>
        </p:sp>
        <p:sp>
          <p:nvSpPr>
            <p:cNvPr id="681" name="ïsḻïdê">
              <a:extLst>
                <a:ext uri="{FF2B5EF4-FFF2-40B4-BE49-F238E27FC236}">
                  <a16:creationId xmlns:a16="http://schemas.microsoft.com/office/drawing/2014/main" id="{C1B49851-FEA6-4150-9B6E-C504E9726A6E}"/>
                </a:ext>
              </a:extLst>
            </p:cNvPr>
            <p:cNvSpPr/>
            <p:nvPr/>
          </p:nvSpPr>
          <p:spPr>
            <a:xfrm>
              <a:off x="5077942" y="4728490"/>
              <a:ext cx="197155" cy="113803"/>
            </a:xfrm>
            <a:custGeom>
              <a:avLst/>
              <a:gdLst>
                <a:gd name="connsiteX0" fmla="*/ -336 w 64770"/>
                <a:gd name="connsiteY0" fmla="*/ 10291 h 37387"/>
                <a:gd name="connsiteX1" fmla="*/ 1188 w 64770"/>
                <a:gd name="connsiteY1" fmla="*/ 12577 h 37387"/>
                <a:gd name="connsiteX2" fmla="*/ 3569 w 64770"/>
                <a:gd name="connsiteY2" fmla="*/ 13910 h 37387"/>
                <a:gd name="connsiteX3" fmla="*/ 42431 w 64770"/>
                <a:gd name="connsiteY3" fmla="*/ 36390 h 37387"/>
                <a:gd name="connsiteX4" fmla="*/ 50242 w 64770"/>
                <a:gd name="connsiteY4" fmla="*/ 36390 h 37387"/>
                <a:gd name="connsiteX5" fmla="*/ 60433 w 64770"/>
                <a:gd name="connsiteY5" fmla="*/ 30389 h 37387"/>
                <a:gd name="connsiteX6" fmla="*/ 62814 w 64770"/>
                <a:gd name="connsiteY6" fmla="*/ 29055 h 37387"/>
                <a:gd name="connsiteX7" fmla="*/ 64434 w 64770"/>
                <a:gd name="connsiteY7" fmla="*/ 27436 h 37387"/>
                <a:gd name="connsiteX8" fmla="*/ 64434 w 64770"/>
                <a:gd name="connsiteY8" fmla="*/ 26293 h 37387"/>
                <a:gd name="connsiteX9" fmla="*/ 62814 w 64770"/>
                <a:gd name="connsiteY9" fmla="*/ 24579 h 37387"/>
                <a:gd name="connsiteX10" fmla="*/ 21476 w 64770"/>
                <a:gd name="connsiteY10" fmla="*/ 766 h 37387"/>
                <a:gd name="connsiteX11" fmla="*/ 13856 w 64770"/>
                <a:gd name="connsiteY11" fmla="*/ 766 h 37387"/>
                <a:gd name="connsiteX12" fmla="*/ 1188 w 64770"/>
                <a:gd name="connsiteY12" fmla="*/ 8100 h 37387"/>
                <a:gd name="connsiteX13" fmla="*/ -336 w 64770"/>
                <a:gd name="connsiteY13" fmla="*/ 10291 h 37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4770" h="37387">
                  <a:moveTo>
                    <a:pt x="-336" y="10291"/>
                  </a:moveTo>
                  <a:cubicBezTo>
                    <a:pt x="-269" y="11272"/>
                    <a:pt x="312" y="12139"/>
                    <a:pt x="1188" y="12577"/>
                  </a:cubicBezTo>
                  <a:lnTo>
                    <a:pt x="3569" y="13910"/>
                  </a:lnTo>
                  <a:lnTo>
                    <a:pt x="42431" y="36390"/>
                  </a:lnTo>
                  <a:cubicBezTo>
                    <a:pt x="44917" y="37504"/>
                    <a:pt x="47756" y="37504"/>
                    <a:pt x="50242" y="36390"/>
                  </a:cubicBezTo>
                  <a:lnTo>
                    <a:pt x="60433" y="30389"/>
                  </a:lnTo>
                  <a:lnTo>
                    <a:pt x="62814" y="29055"/>
                  </a:lnTo>
                  <a:cubicBezTo>
                    <a:pt x="63529" y="28722"/>
                    <a:pt x="64100" y="28150"/>
                    <a:pt x="64434" y="27436"/>
                  </a:cubicBezTo>
                  <a:lnTo>
                    <a:pt x="64434" y="26293"/>
                  </a:lnTo>
                  <a:cubicBezTo>
                    <a:pt x="64081" y="25569"/>
                    <a:pt x="63510" y="24979"/>
                    <a:pt x="62814" y="24579"/>
                  </a:cubicBezTo>
                  <a:lnTo>
                    <a:pt x="21476" y="766"/>
                  </a:lnTo>
                  <a:cubicBezTo>
                    <a:pt x="19085" y="-472"/>
                    <a:pt x="16247" y="-472"/>
                    <a:pt x="13856" y="766"/>
                  </a:cubicBezTo>
                  <a:lnTo>
                    <a:pt x="1188" y="8100"/>
                  </a:lnTo>
                  <a:cubicBezTo>
                    <a:pt x="292" y="8472"/>
                    <a:pt x="-298"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682" name="íṣ1íḑé">
              <a:extLst>
                <a:ext uri="{FF2B5EF4-FFF2-40B4-BE49-F238E27FC236}">
                  <a16:creationId xmlns:a16="http://schemas.microsoft.com/office/drawing/2014/main" id="{9B53E33C-2B14-4EBF-BD57-48DE1888EA20}"/>
                </a:ext>
              </a:extLst>
            </p:cNvPr>
            <p:cNvSpPr/>
            <p:nvPr/>
          </p:nvSpPr>
          <p:spPr>
            <a:xfrm>
              <a:off x="5079829" y="4729647"/>
              <a:ext cx="193168" cy="111551"/>
            </a:xfrm>
            <a:custGeom>
              <a:avLst/>
              <a:gdLst>
                <a:gd name="connsiteX0" fmla="*/ 42002 w 63460"/>
                <a:gd name="connsiteY0" fmla="*/ 35628 h 36647"/>
                <a:gd name="connsiteX1" fmla="*/ 1235 w 63460"/>
                <a:gd name="connsiteY1" fmla="*/ 12006 h 36647"/>
                <a:gd name="connsiteX2" fmla="*/ 1235 w 63460"/>
                <a:gd name="connsiteY2" fmla="*/ 7719 h 36647"/>
                <a:gd name="connsiteX3" fmla="*/ 13332 w 63460"/>
                <a:gd name="connsiteY3" fmla="*/ 766 h 36647"/>
                <a:gd name="connsiteX4" fmla="*/ 20761 w 63460"/>
                <a:gd name="connsiteY4" fmla="*/ 766 h 36647"/>
                <a:gd name="connsiteX5" fmla="*/ 61624 w 63460"/>
                <a:gd name="connsiteY5" fmla="*/ 24293 h 36647"/>
                <a:gd name="connsiteX6" fmla="*/ 61624 w 63460"/>
                <a:gd name="connsiteY6" fmla="*/ 28579 h 36647"/>
                <a:gd name="connsiteX7" fmla="*/ 49432 w 63460"/>
                <a:gd name="connsiteY7" fmla="*/ 35628 h 36647"/>
                <a:gd name="connsiteX8" fmla="*/ 42002 w 63460"/>
                <a:gd name="connsiteY8" fmla="*/ 35628 h 366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3460" h="36647">
                  <a:moveTo>
                    <a:pt x="42002" y="35628"/>
                  </a:moveTo>
                  <a:lnTo>
                    <a:pt x="1235" y="12006"/>
                  </a:lnTo>
                  <a:cubicBezTo>
                    <a:pt x="-860" y="10863"/>
                    <a:pt x="-860" y="8958"/>
                    <a:pt x="1235" y="7719"/>
                  </a:cubicBezTo>
                  <a:lnTo>
                    <a:pt x="13332" y="766"/>
                  </a:lnTo>
                  <a:cubicBezTo>
                    <a:pt x="15656" y="-472"/>
                    <a:pt x="18437" y="-472"/>
                    <a:pt x="20761" y="766"/>
                  </a:cubicBezTo>
                  <a:lnTo>
                    <a:pt x="61624" y="24293"/>
                  </a:lnTo>
                  <a:cubicBezTo>
                    <a:pt x="63624" y="25531"/>
                    <a:pt x="63624" y="27436"/>
                    <a:pt x="61624" y="28579"/>
                  </a:cubicBezTo>
                  <a:lnTo>
                    <a:pt x="49432" y="35628"/>
                  </a:lnTo>
                  <a:cubicBezTo>
                    <a:pt x="47089" y="36771"/>
                    <a:pt x="44345" y="36771"/>
                    <a:pt x="42002" y="35628"/>
                  </a:cubicBezTo>
                  <a:close/>
                </a:path>
              </a:pathLst>
            </a:custGeom>
            <a:solidFill>
              <a:srgbClr val="D1D9E8"/>
            </a:solidFill>
            <a:ln w="9525" cap="flat">
              <a:noFill/>
              <a:prstDash val="solid"/>
              <a:miter/>
            </a:ln>
          </p:spPr>
          <p:txBody>
            <a:bodyPr rtlCol="0" anchor="ctr"/>
            <a:lstStyle/>
            <a:p>
              <a:endParaRPr lang="zh-CN" altLang="en-US"/>
            </a:p>
          </p:txBody>
        </p:sp>
        <p:sp>
          <p:nvSpPr>
            <p:cNvPr id="683" name="íşlïdé">
              <a:extLst>
                <a:ext uri="{FF2B5EF4-FFF2-40B4-BE49-F238E27FC236}">
                  <a16:creationId xmlns:a16="http://schemas.microsoft.com/office/drawing/2014/main" id="{EA9BC7D7-1709-4AB1-8AE2-3512F967DFF1}"/>
                </a:ext>
              </a:extLst>
            </p:cNvPr>
            <p:cNvSpPr/>
            <p:nvPr/>
          </p:nvSpPr>
          <p:spPr>
            <a:xfrm>
              <a:off x="5077942" y="4760308"/>
              <a:ext cx="197155" cy="104011"/>
            </a:xfrm>
            <a:custGeom>
              <a:avLst/>
              <a:gdLst>
                <a:gd name="connsiteX0" fmla="*/ -336 w 64770"/>
                <a:gd name="connsiteY0" fmla="*/ -163 h 34170"/>
                <a:gd name="connsiteX1" fmla="*/ -336 w 64770"/>
                <a:gd name="connsiteY1" fmla="*/ 6981 h 34170"/>
                <a:gd name="connsiteX2" fmla="*/ 1188 w 64770"/>
                <a:gd name="connsiteY2" fmla="*/ 9267 h 34170"/>
                <a:gd name="connsiteX3" fmla="*/ 42431 w 64770"/>
                <a:gd name="connsiteY3" fmla="*/ 33080 h 34170"/>
                <a:gd name="connsiteX4" fmla="*/ 50242 w 64770"/>
                <a:gd name="connsiteY4" fmla="*/ 33080 h 34170"/>
                <a:gd name="connsiteX5" fmla="*/ 62814 w 64770"/>
                <a:gd name="connsiteY5" fmla="*/ 25745 h 34170"/>
                <a:gd name="connsiteX6" fmla="*/ 64434 w 64770"/>
                <a:gd name="connsiteY6" fmla="*/ 24126 h 34170"/>
                <a:gd name="connsiteX7" fmla="*/ 64434 w 64770"/>
                <a:gd name="connsiteY7" fmla="*/ 16982 h 34170"/>
                <a:gd name="connsiteX8" fmla="*/ 62814 w 64770"/>
                <a:gd name="connsiteY8" fmla="*/ 18602 h 34170"/>
                <a:gd name="connsiteX9" fmla="*/ 60433 w 64770"/>
                <a:gd name="connsiteY9" fmla="*/ 19935 h 34170"/>
                <a:gd name="connsiteX10" fmla="*/ 50242 w 64770"/>
                <a:gd name="connsiteY10" fmla="*/ 25936 h 34170"/>
                <a:gd name="connsiteX11" fmla="*/ 42431 w 64770"/>
                <a:gd name="connsiteY11" fmla="*/ 25936 h 34170"/>
                <a:gd name="connsiteX12" fmla="*/ 3569 w 64770"/>
                <a:gd name="connsiteY12" fmla="*/ 3457 h 34170"/>
                <a:gd name="connsiteX13" fmla="*/ 1188 w 64770"/>
                <a:gd name="connsiteY13" fmla="*/ 2123 h 34170"/>
                <a:gd name="connsiteX14" fmla="*/ -336 w 64770"/>
                <a:gd name="connsiteY14" fmla="*/ -163 h 341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4770" h="34170">
                  <a:moveTo>
                    <a:pt x="-336" y="-163"/>
                  </a:moveTo>
                  <a:lnTo>
                    <a:pt x="-336" y="6981"/>
                  </a:lnTo>
                  <a:cubicBezTo>
                    <a:pt x="-251" y="7953"/>
                    <a:pt x="321" y="8819"/>
                    <a:pt x="1188" y="9267"/>
                  </a:cubicBezTo>
                  <a:lnTo>
                    <a:pt x="42431" y="33080"/>
                  </a:lnTo>
                  <a:cubicBezTo>
                    <a:pt x="44889" y="34318"/>
                    <a:pt x="47784" y="34318"/>
                    <a:pt x="50242" y="33080"/>
                  </a:cubicBezTo>
                  <a:lnTo>
                    <a:pt x="62814" y="25745"/>
                  </a:lnTo>
                  <a:cubicBezTo>
                    <a:pt x="63491" y="25355"/>
                    <a:pt x="64043" y="24802"/>
                    <a:pt x="64434" y="24126"/>
                  </a:cubicBezTo>
                  <a:lnTo>
                    <a:pt x="64434" y="16982"/>
                  </a:lnTo>
                  <a:cubicBezTo>
                    <a:pt x="64100" y="17697"/>
                    <a:pt x="63529" y="18268"/>
                    <a:pt x="62814" y="18602"/>
                  </a:cubicBezTo>
                  <a:lnTo>
                    <a:pt x="60433" y="19935"/>
                  </a:lnTo>
                  <a:lnTo>
                    <a:pt x="50242" y="25936"/>
                  </a:lnTo>
                  <a:cubicBezTo>
                    <a:pt x="47756" y="27050"/>
                    <a:pt x="44917" y="27050"/>
                    <a:pt x="42431" y="25936"/>
                  </a:cubicBezTo>
                  <a:lnTo>
                    <a:pt x="3569" y="3457"/>
                  </a:lnTo>
                  <a:lnTo>
                    <a:pt x="1188" y="2123"/>
                  </a:lnTo>
                  <a:cubicBezTo>
                    <a:pt x="312"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84" name="iślïďê">
              <a:extLst>
                <a:ext uri="{FF2B5EF4-FFF2-40B4-BE49-F238E27FC236}">
                  <a16:creationId xmlns:a16="http://schemas.microsoft.com/office/drawing/2014/main" id="{3D1DC968-F4F3-416F-8BB7-C3430AEC4C14}"/>
                </a:ext>
              </a:extLst>
            </p:cNvPr>
            <p:cNvSpPr/>
            <p:nvPr/>
          </p:nvSpPr>
          <p:spPr>
            <a:xfrm>
              <a:off x="5242335" y="4824456"/>
              <a:ext cx="109594" cy="63588"/>
            </a:xfrm>
            <a:custGeom>
              <a:avLst/>
              <a:gdLst>
                <a:gd name="connsiteX0" fmla="*/ -336 w 36004"/>
                <a:gd name="connsiteY0" fmla="*/ 10196 h 20890"/>
                <a:gd name="connsiteX1" fmla="*/ 1188 w 36004"/>
                <a:gd name="connsiteY1" fmla="*/ 12482 h 20890"/>
                <a:gd name="connsiteX2" fmla="*/ 3569 w 36004"/>
                <a:gd name="connsiteY2" fmla="*/ 13815 h 20890"/>
                <a:gd name="connsiteX3" fmla="*/ 13761 w 36004"/>
                <a:gd name="connsiteY3" fmla="*/ 19721 h 20890"/>
                <a:gd name="connsiteX4" fmla="*/ 21476 w 36004"/>
                <a:gd name="connsiteY4" fmla="*/ 19721 h 20890"/>
                <a:gd name="connsiteX5" fmla="*/ 31763 w 36004"/>
                <a:gd name="connsiteY5" fmla="*/ 13815 h 20890"/>
                <a:gd name="connsiteX6" fmla="*/ 34049 w 36004"/>
                <a:gd name="connsiteY6" fmla="*/ 12482 h 20890"/>
                <a:gd name="connsiteX7" fmla="*/ 35668 w 36004"/>
                <a:gd name="connsiteY7" fmla="*/ 10196 h 20890"/>
                <a:gd name="connsiteX8" fmla="*/ 34049 w 36004"/>
                <a:gd name="connsiteY8" fmla="*/ 8005 h 20890"/>
                <a:gd name="connsiteX9" fmla="*/ 21476 w 36004"/>
                <a:gd name="connsiteY9" fmla="*/ 766 h 20890"/>
                <a:gd name="connsiteX10" fmla="*/ 13761 w 36004"/>
                <a:gd name="connsiteY10" fmla="*/ 766 h 20890"/>
                <a:gd name="connsiteX11" fmla="*/ 1188 w 36004"/>
                <a:gd name="connsiteY11" fmla="*/ 8005 h 20890"/>
                <a:gd name="connsiteX12" fmla="*/ -336 w 36004"/>
                <a:gd name="connsiteY12" fmla="*/ 10196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196"/>
                  </a:moveTo>
                  <a:cubicBezTo>
                    <a:pt x="-308" y="11186"/>
                    <a:pt x="283" y="12082"/>
                    <a:pt x="1188" y="12482"/>
                  </a:cubicBezTo>
                  <a:lnTo>
                    <a:pt x="3569" y="13815"/>
                  </a:lnTo>
                  <a:lnTo>
                    <a:pt x="13761" y="19721"/>
                  </a:lnTo>
                  <a:cubicBezTo>
                    <a:pt x="16161" y="21064"/>
                    <a:pt x="19076" y="21064"/>
                    <a:pt x="21476" y="19721"/>
                  </a:cubicBezTo>
                  <a:lnTo>
                    <a:pt x="31763" y="13815"/>
                  </a:lnTo>
                  <a:lnTo>
                    <a:pt x="34049" y="12482"/>
                  </a:lnTo>
                  <a:cubicBezTo>
                    <a:pt x="34992" y="12110"/>
                    <a:pt x="35630" y="11215"/>
                    <a:pt x="35668" y="10196"/>
                  </a:cubicBezTo>
                  <a:cubicBezTo>
                    <a:pt x="35573" y="9224"/>
                    <a:pt x="34944" y="8386"/>
                    <a:pt x="34049" y="8005"/>
                  </a:cubicBezTo>
                  <a:lnTo>
                    <a:pt x="21476" y="766"/>
                  </a:lnTo>
                  <a:cubicBezTo>
                    <a:pt x="19057" y="-472"/>
                    <a:pt x="16180" y="-472"/>
                    <a:pt x="13761" y="766"/>
                  </a:cubicBezTo>
                  <a:lnTo>
                    <a:pt x="1188" y="8005"/>
                  </a:lnTo>
                  <a:cubicBezTo>
                    <a:pt x="340" y="8424"/>
                    <a:pt x="-241" y="925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685" name="îŝľiḋê">
              <a:extLst>
                <a:ext uri="{FF2B5EF4-FFF2-40B4-BE49-F238E27FC236}">
                  <a16:creationId xmlns:a16="http://schemas.microsoft.com/office/drawing/2014/main" id="{2CD46AD2-BFFA-4AF0-A818-58D68D482447}"/>
                </a:ext>
              </a:extLst>
            </p:cNvPr>
            <p:cNvSpPr/>
            <p:nvPr/>
          </p:nvSpPr>
          <p:spPr>
            <a:xfrm>
              <a:off x="5245337" y="4825038"/>
              <a:ext cx="105618" cy="61104"/>
            </a:xfrm>
            <a:custGeom>
              <a:avLst/>
              <a:gdLst>
                <a:gd name="connsiteX0" fmla="*/ 1154 w 34698"/>
                <a:gd name="connsiteY0" fmla="*/ 12006 h 20074"/>
                <a:gd name="connsiteX1" fmla="*/ 13346 w 34698"/>
                <a:gd name="connsiteY1" fmla="*/ 19054 h 20074"/>
                <a:gd name="connsiteX2" fmla="*/ 20776 w 34698"/>
                <a:gd name="connsiteY2" fmla="*/ 19054 h 20074"/>
                <a:gd name="connsiteX3" fmla="*/ 32872 w 34698"/>
                <a:gd name="connsiteY3" fmla="*/ 12006 h 20074"/>
                <a:gd name="connsiteX4" fmla="*/ 34215 w 34698"/>
                <a:gd name="connsiteY4" fmla="*/ 9062 h 20074"/>
                <a:gd name="connsiteX5" fmla="*/ 32872 w 34698"/>
                <a:gd name="connsiteY5" fmla="*/ 7719 h 20074"/>
                <a:gd name="connsiteX6" fmla="*/ 20776 w 34698"/>
                <a:gd name="connsiteY6" fmla="*/ 766 h 20074"/>
                <a:gd name="connsiteX7" fmla="*/ 13346 w 34698"/>
                <a:gd name="connsiteY7" fmla="*/ 766 h 20074"/>
                <a:gd name="connsiteX8" fmla="*/ 1154 w 34698"/>
                <a:gd name="connsiteY8" fmla="*/ 7719 h 20074"/>
                <a:gd name="connsiteX9" fmla="*/ -189 w 34698"/>
                <a:gd name="connsiteY9" fmla="*/ 10663 h 20074"/>
                <a:gd name="connsiteX10" fmla="*/ 1154 w 34698"/>
                <a:gd name="connsiteY10"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698" h="20074">
                  <a:moveTo>
                    <a:pt x="1154" y="12006"/>
                  </a:moveTo>
                  <a:lnTo>
                    <a:pt x="13346" y="19054"/>
                  </a:lnTo>
                  <a:cubicBezTo>
                    <a:pt x="15689" y="20197"/>
                    <a:pt x="18432" y="20197"/>
                    <a:pt x="20776" y="19054"/>
                  </a:cubicBezTo>
                  <a:lnTo>
                    <a:pt x="32872" y="12006"/>
                  </a:lnTo>
                  <a:cubicBezTo>
                    <a:pt x="34053" y="11567"/>
                    <a:pt x="34663" y="10253"/>
                    <a:pt x="34215" y="9062"/>
                  </a:cubicBezTo>
                  <a:cubicBezTo>
                    <a:pt x="33987" y="8443"/>
                    <a:pt x="33491" y="7948"/>
                    <a:pt x="32872" y="7719"/>
                  </a:cubicBezTo>
                  <a:lnTo>
                    <a:pt x="20776" y="766"/>
                  </a:lnTo>
                  <a:cubicBezTo>
                    <a:pt x="18451" y="-472"/>
                    <a:pt x="15670" y="-472"/>
                    <a:pt x="13346" y="766"/>
                  </a:cubicBezTo>
                  <a:lnTo>
                    <a:pt x="1154" y="7719"/>
                  </a:lnTo>
                  <a:cubicBezTo>
                    <a:pt x="-27" y="8158"/>
                    <a:pt x="-637" y="9472"/>
                    <a:pt x="-189" y="10663"/>
                  </a:cubicBezTo>
                  <a:cubicBezTo>
                    <a:pt x="40" y="11282"/>
                    <a:pt x="535" y="11777"/>
                    <a:pt x="1154" y="12006"/>
                  </a:cubicBezTo>
                  <a:close/>
                </a:path>
              </a:pathLst>
            </a:custGeom>
            <a:solidFill>
              <a:srgbClr val="D1D9E8"/>
            </a:solidFill>
            <a:ln w="9525" cap="flat">
              <a:noFill/>
              <a:prstDash val="solid"/>
              <a:miter/>
            </a:ln>
          </p:spPr>
          <p:txBody>
            <a:bodyPr rtlCol="0" anchor="ctr"/>
            <a:lstStyle/>
            <a:p>
              <a:endParaRPr lang="zh-CN" altLang="en-US"/>
            </a:p>
          </p:txBody>
        </p:sp>
        <p:sp>
          <p:nvSpPr>
            <p:cNvPr id="686" name="ïṣ1îḍé">
              <a:extLst>
                <a:ext uri="{FF2B5EF4-FFF2-40B4-BE49-F238E27FC236}">
                  <a16:creationId xmlns:a16="http://schemas.microsoft.com/office/drawing/2014/main" id="{5104BFC3-0139-48FD-95C5-6EDB188634FE}"/>
                </a:ext>
              </a:extLst>
            </p:cNvPr>
            <p:cNvSpPr/>
            <p:nvPr/>
          </p:nvSpPr>
          <p:spPr>
            <a:xfrm>
              <a:off x="5242335" y="4855988"/>
              <a:ext cx="109594" cy="53801"/>
            </a:xfrm>
            <a:custGeom>
              <a:avLst/>
              <a:gdLst>
                <a:gd name="connsiteX0" fmla="*/ -336 w 36004"/>
                <a:gd name="connsiteY0" fmla="*/ -163 h 17675"/>
                <a:gd name="connsiteX1" fmla="*/ -336 w 36004"/>
                <a:gd name="connsiteY1" fmla="*/ 7076 h 17675"/>
                <a:gd name="connsiteX2" fmla="*/ 1188 w 36004"/>
                <a:gd name="connsiteY2" fmla="*/ 9267 h 17675"/>
                <a:gd name="connsiteX3" fmla="*/ 13761 w 36004"/>
                <a:gd name="connsiteY3" fmla="*/ 16506 h 17675"/>
                <a:gd name="connsiteX4" fmla="*/ 21476 w 36004"/>
                <a:gd name="connsiteY4" fmla="*/ 16506 h 17675"/>
                <a:gd name="connsiteX5" fmla="*/ 34049 w 36004"/>
                <a:gd name="connsiteY5" fmla="*/ 9267 h 17675"/>
                <a:gd name="connsiteX6" fmla="*/ 35668 w 36004"/>
                <a:gd name="connsiteY6" fmla="*/ 7076 h 17675"/>
                <a:gd name="connsiteX7" fmla="*/ 35668 w 36004"/>
                <a:gd name="connsiteY7" fmla="*/ -163 h 17675"/>
                <a:gd name="connsiteX8" fmla="*/ 34049 w 36004"/>
                <a:gd name="connsiteY8" fmla="*/ 2123 h 17675"/>
                <a:gd name="connsiteX9" fmla="*/ 31763 w 36004"/>
                <a:gd name="connsiteY9" fmla="*/ 3457 h 17675"/>
                <a:gd name="connsiteX10" fmla="*/ 21476 w 36004"/>
                <a:gd name="connsiteY10" fmla="*/ 9362 h 17675"/>
                <a:gd name="connsiteX11" fmla="*/ 13761 w 36004"/>
                <a:gd name="connsiteY11" fmla="*/ 9362 h 17675"/>
                <a:gd name="connsiteX12" fmla="*/ 3569 w 36004"/>
                <a:gd name="connsiteY12" fmla="*/ 3457 h 17675"/>
                <a:gd name="connsiteX13" fmla="*/ 1188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98" y="8038"/>
                    <a:pt x="292" y="8896"/>
                    <a:pt x="1188" y="9267"/>
                  </a:cubicBezTo>
                  <a:lnTo>
                    <a:pt x="13761" y="16506"/>
                  </a:lnTo>
                  <a:cubicBezTo>
                    <a:pt x="16161" y="17849"/>
                    <a:pt x="19076" y="17849"/>
                    <a:pt x="21476" y="16506"/>
                  </a:cubicBezTo>
                  <a:lnTo>
                    <a:pt x="34049" y="9267"/>
                  </a:lnTo>
                  <a:cubicBezTo>
                    <a:pt x="34963" y="8905"/>
                    <a:pt x="35592" y="8058"/>
                    <a:pt x="35668" y="7076"/>
                  </a:cubicBezTo>
                  <a:lnTo>
                    <a:pt x="35668" y="-163"/>
                  </a:lnTo>
                  <a:cubicBezTo>
                    <a:pt x="35630" y="856"/>
                    <a:pt x="34992" y="1752"/>
                    <a:pt x="34049" y="2123"/>
                  </a:cubicBezTo>
                  <a:lnTo>
                    <a:pt x="31763" y="3457"/>
                  </a:lnTo>
                  <a:lnTo>
                    <a:pt x="21476" y="9362"/>
                  </a:lnTo>
                  <a:cubicBezTo>
                    <a:pt x="19076" y="10705"/>
                    <a:pt x="16161" y="10705"/>
                    <a:pt x="13761" y="9362"/>
                  </a:cubicBezTo>
                  <a:lnTo>
                    <a:pt x="3569" y="3457"/>
                  </a:lnTo>
                  <a:lnTo>
                    <a:pt x="1188" y="2123"/>
                  </a:lnTo>
                  <a:cubicBezTo>
                    <a:pt x="283" y="1723"/>
                    <a:pt x="-308"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87" name="îśḷídé">
              <a:extLst>
                <a:ext uri="{FF2B5EF4-FFF2-40B4-BE49-F238E27FC236}">
                  <a16:creationId xmlns:a16="http://schemas.microsoft.com/office/drawing/2014/main" id="{6436A32B-0D02-4123-BFE8-6B33460164D2}"/>
                </a:ext>
              </a:extLst>
            </p:cNvPr>
            <p:cNvSpPr/>
            <p:nvPr/>
          </p:nvSpPr>
          <p:spPr>
            <a:xfrm>
              <a:off x="5320619" y="4868526"/>
              <a:ext cx="109740" cy="63588"/>
            </a:xfrm>
            <a:custGeom>
              <a:avLst/>
              <a:gdLst>
                <a:gd name="connsiteX0" fmla="*/ -336 w 36052"/>
                <a:gd name="connsiteY0" fmla="*/ 10196 h 20890"/>
                <a:gd name="connsiteX1" fmla="*/ 1187 w 36052"/>
                <a:gd name="connsiteY1" fmla="*/ 12482 h 20890"/>
                <a:gd name="connsiteX2" fmla="*/ 3569 w 36052"/>
                <a:gd name="connsiteY2" fmla="*/ 13815 h 20890"/>
                <a:gd name="connsiteX3" fmla="*/ 13856 w 36052"/>
                <a:gd name="connsiteY3" fmla="*/ 19721 h 20890"/>
                <a:gd name="connsiteX4" fmla="*/ 21476 w 36052"/>
                <a:gd name="connsiteY4" fmla="*/ 19721 h 20890"/>
                <a:gd name="connsiteX5" fmla="*/ 31763 w 36052"/>
                <a:gd name="connsiteY5" fmla="*/ 13815 h 20890"/>
                <a:gd name="connsiteX6" fmla="*/ 34144 w 36052"/>
                <a:gd name="connsiteY6" fmla="*/ 12482 h 20890"/>
                <a:gd name="connsiteX7" fmla="*/ 35573 w 36052"/>
                <a:gd name="connsiteY7" fmla="*/ 9434 h 20890"/>
                <a:gd name="connsiteX8" fmla="*/ 34144 w 36052"/>
                <a:gd name="connsiteY8" fmla="*/ 8005 h 20890"/>
                <a:gd name="connsiteX9" fmla="*/ 21476 w 36052"/>
                <a:gd name="connsiteY9" fmla="*/ 766 h 20890"/>
                <a:gd name="connsiteX10" fmla="*/ 13856 w 36052"/>
                <a:gd name="connsiteY10" fmla="*/ 766 h 20890"/>
                <a:gd name="connsiteX11" fmla="*/ 1187 w 36052"/>
                <a:gd name="connsiteY11" fmla="*/ 8005 h 20890"/>
                <a:gd name="connsiteX12" fmla="*/ -336 w 36052"/>
                <a:gd name="connsiteY12" fmla="*/ 10196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90">
                  <a:moveTo>
                    <a:pt x="-336" y="10196"/>
                  </a:moveTo>
                  <a:cubicBezTo>
                    <a:pt x="-270" y="11177"/>
                    <a:pt x="311" y="12044"/>
                    <a:pt x="1187" y="12482"/>
                  </a:cubicBezTo>
                  <a:lnTo>
                    <a:pt x="3569" y="13815"/>
                  </a:lnTo>
                  <a:lnTo>
                    <a:pt x="13856" y="19721"/>
                  </a:lnTo>
                  <a:cubicBezTo>
                    <a:pt x="16218" y="21064"/>
                    <a:pt x="19114" y="21064"/>
                    <a:pt x="21476" y="19721"/>
                  </a:cubicBezTo>
                  <a:lnTo>
                    <a:pt x="31763" y="13815"/>
                  </a:lnTo>
                  <a:lnTo>
                    <a:pt x="34144" y="12482"/>
                  </a:lnTo>
                  <a:cubicBezTo>
                    <a:pt x="35382" y="12034"/>
                    <a:pt x="36020" y="10663"/>
                    <a:pt x="35573" y="9434"/>
                  </a:cubicBezTo>
                  <a:cubicBezTo>
                    <a:pt x="35325" y="8767"/>
                    <a:pt x="34811" y="8243"/>
                    <a:pt x="34144" y="8005"/>
                  </a:cubicBezTo>
                  <a:lnTo>
                    <a:pt x="21476" y="766"/>
                  </a:lnTo>
                  <a:cubicBezTo>
                    <a:pt x="19085" y="-472"/>
                    <a:pt x="16247" y="-472"/>
                    <a:pt x="13856" y="766"/>
                  </a:cubicBezTo>
                  <a:lnTo>
                    <a:pt x="1187" y="8005"/>
                  </a:lnTo>
                  <a:cubicBezTo>
                    <a:pt x="340" y="8424"/>
                    <a:pt x="-241" y="925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688" name="ïṥḻiḋé">
              <a:extLst>
                <a:ext uri="{FF2B5EF4-FFF2-40B4-BE49-F238E27FC236}">
                  <a16:creationId xmlns:a16="http://schemas.microsoft.com/office/drawing/2014/main" id="{61085068-60E7-435A-89A5-08209D0F5E53}"/>
                </a:ext>
              </a:extLst>
            </p:cNvPr>
            <p:cNvSpPr/>
            <p:nvPr/>
          </p:nvSpPr>
          <p:spPr>
            <a:xfrm>
              <a:off x="5322750" y="4869616"/>
              <a:ext cx="105618" cy="61174"/>
            </a:xfrm>
            <a:custGeom>
              <a:avLst/>
              <a:gdLst>
                <a:gd name="connsiteX0" fmla="*/ 1154 w 34698"/>
                <a:gd name="connsiteY0" fmla="*/ 12029 h 20097"/>
                <a:gd name="connsiteX1" fmla="*/ 13251 w 34698"/>
                <a:gd name="connsiteY1" fmla="*/ 19078 h 20097"/>
                <a:gd name="connsiteX2" fmla="*/ 20680 w 34698"/>
                <a:gd name="connsiteY2" fmla="*/ 19078 h 20097"/>
                <a:gd name="connsiteX3" fmla="*/ 32872 w 34698"/>
                <a:gd name="connsiteY3" fmla="*/ 12029 h 20097"/>
                <a:gd name="connsiteX4" fmla="*/ 34215 w 34698"/>
                <a:gd name="connsiteY4" fmla="*/ 9086 h 20097"/>
                <a:gd name="connsiteX5" fmla="*/ 32872 w 34698"/>
                <a:gd name="connsiteY5" fmla="*/ 7743 h 20097"/>
                <a:gd name="connsiteX6" fmla="*/ 20680 w 34698"/>
                <a:gd name="connsiteY6" fmla="*/ 695 h 20097"/>
                <a:gd name="connsiteX7" fmla="*/ 13251 w 34698"/>
                <a:gd name="connsiteY7" fmla="*/ 695 h 20097"/>
                <a:gd name="connsiteX8" fmla="*/ 1154 w 34698"/>
                <a:gd name="connsiteY8" fmla="*/ 7743 h 20097"/>
                <a:gd name="connsiteX9" fmla="*/ -189 w 34698"/>
                <a:gd name="connsiteY9" fmla="*/ 10677 h 20097"/>
                <a:gd name="connsiteX10" fmla="*/ 1154 w 34698"/>
                <a:gd name="connsiteY10" fmla="*/ 12029 h 20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698" h="20097">
                  <a:moveTo>
                    <a:pt x="1154" y="12029"/>
                  </a:moveTo>
                  <a:lnTo>
                    <a:pt x="13251" y="19078"/>
                  </a:lnTo>
                  <a:cubicBezTo>
                    <a:pt x="15594" y="20221"/>
                    <a:pt x="18337" y="20221"/>
                    <a:pt x="20680" y="19078"/>
                  </a:cubicBezTo>
                  <a:lnTo>
                    <a:pt x="32872" y="12029"/>
                  </a:lnTo>
                  <a:cubicBezTo>
                    <a:pt x="34053" y="11591"/>
                    <a:pt x="34663" y="10277"/>
                    <a:pt x="34215" y="9086"/>
                  </a:cubicBezTo>
                  <a:cubicBezTo>
                    <a:pt x="33987" y="8467"/>
                    <a:pt x="33501" y="7972"/>
                    <a:pt x="32872" y="7743"/>
                  </a:cubicBezTo>
                  <a:lnTo>
                    <a:pt x="20680" y="695"/>
                  </a:lnTo>
                  <a:cubicBezTo>
                    <a:pt x="18337" y="-448"/>
                    <a:pt x="15594" y="-448"/>
                    <a:pt x="13251" y="695"/>
                  </a:cubicBezTo>
                  <a:lnTo>
                    <a:pt x="1154" y="7743"/>
                  </a:lnTo>
                  <a:cubicBezTo>
                    <a:pt x="-27" y="8181"/>
                    <a:pt x="-637" y="9496"/>
                    <a:pt x="-189" y="10677"/>
                  </a:cubicBezTo>
                  <a:cubicBezTo>
                    <a:pt x="39" y="11306"/>
                    <a:pt x="535" y="11801"/>
                    <a:pt x="1154" y="12029"/>
                  </a:cubicBezTo>
                  <a:close/>
                </a:path>
              </a:pathLst>
            </a:custGeom>
            <a:solidFill>
              <a:srgbClr val="D1D9E8"/>
            </a:solidFill>
            <a:ln w="9525" cap="flat">
              <a:noFill/>
              <a:prstDash val="solid"/>
              <a:miter/>
            </a:ln>
          </p:spPr>
          <p:txBody>
            <a:bodyPr rtlCol="0" anchor="ctr"/>
            <a:lstStyle/>
            <a:p>
              <a:endParaRPr lang="zh-CN" altLang="en-US"/>
            </a:p>
          </p:txBody>
        </p:sp>
        <p:sp>
          <p:nvSpPr>
            <p:cNvPr id="689" name="ísḷïdé">
              <a:extLst>
                <a:ext uri="{FF2B5EF4-FFF2-40B4-BE49-F238E27FC236}">
                  <a16:creationId xmlns:a16="http://schemas.microsoft.com/office/drawing/2014/main" id="{53144D4E-1884-4F2D-A03B-01E3343AB803}"/>
                </a:ext>
              </a:extLst>
            </p:cNvPr>
            <p:cNvSpPr/>
            <p:nvPr/>
          </p:nvSpPr>
          <p:spPr>
            <a:xfrm>
              <a:off x="5320619" y="4900058"/>
              <a:ext cx="109594" cy="53804"/>
            </a:xfrm>
            <a:custGeom>
              <a:avLst/>
              <a:gdLst>
                <a:gd name="connsiteX0" fmla="*/ -336 w 36004"/>
                <a:gd name="connsiteY0" fmla="*/ -163 h 17676"/>
                <a:gd name="connsiteX1" fmla="*/ -336 w 36004"/>
                <a:gd name="connsiteY1" fmla="*/ 7076 h 17676"/>
                <a:gd name="connsiteX2" fmla="*/ 1187 w 36004"/>
                <a:gd name="connsiteY2" fmla="*/ 9267 h 17676"/>
                <a:gd name="connsiteX3" fmla="*/ 13856 w 36004"/>
                <a:gd name="connsiteY3" fmla="*/ 16506 h 17676"/>
                <a:gd name="connsiteX4" fmla="*/ 21476 w 36004"/>
                <a:gd name="connsiteY4" fmla="*/ 16506 h 17676"/>
                <a:gd name="connsiteX5" fmla="*/ 34144 w 36004"/>
                <a:gd name="connsiteY5" fmla="*/ 9267 h 17676"/>
                <a:gd name="connsiteX6" fmla="*/ 35668 w 36004"/>
                <a:gd name="connsiteY6" fmla="*/ 7076 h 17676"/>
                <a:gd name="connsiteX7" fmla="*/ 35668 w 36004"/>
                <a:gd name="connsiteY7" fmla="*/ -163 h 17676"/>
                <a:gd name="connsiteX8" fmla="*/ 34144 w 36004"/>
                <a:gd name="connsiteY8" fmla="*/ 2124 h 17676"/>
                <a:gd name="connsiteX9" fmla="*/ 31763 w 36004"/>
                <a:gd name="connsiteY9" fmla="*/ 3457 h 17676"/>
                <a:gd name="connsiteX10" fmla="*/ 21476 w 36004"/>
                <a:gd name="connsiteY10" fmla="*/ 9362 h 17676"/>
                <a:gd name="connsiteX11" fmla="*/ 13856 w 36004"/>
                <a:gd name="connsiteY11" fmla="*/ 9362 h 17676"/>
                <a:gd name="connsiteX12" fmla="*/ 3569 w 36004"/>
                <a:gd name="connsiteY12" fmla="*/ 3457 h 17676"/>
                <a:gd name="connsiteX13" fmla="*/ 1187 w 36004"/>
                <a:gd name="connsiteY13" fmla="*/ 2124 h 17676"/>
                <a:gd name="connsiteX14" fmla="*/ -336 w 36004"/>
                <a:gd name="connsiteY14" fmla="*/ -163 h 17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6">
                  <a:moveTo>
                    <a:pt x="-336" y="-163"/>
                  </a:moveTo>
                  <a:lnTo>
                    <a:pt x="-336" y="7076"/>
                  </a:lnTo>
                  <a:cubicBezTo>
                    <a:pt x="-279" y="8029"/>
                    <a:pt x="311" y="8877"/>
                    <a:pt x="1187" y="9267"/>
                  </a:cubicBezTo>
                  <a:lnTo>
                    <a:pt x="13856" y="16506"/>
                  </a:lnTo>
                  <a:cubicBezTo>
                    <a:pt x="16218" y="17849"/>
                    <a:pt x="19114" y="17849"/>
                    <a:pt x="21476" y="16506"/>
                  </a:cubicBezTo>
                  <a:lnTo>
                    <a:pt x="34144" y="9267"/>
                  </a:lnTo>
                  <a:cubicBezTo>
                    <a:pt x="35020" y="8877"/>
                    <a:pt x="35611" y="8039"/>
                    <a:pt x="35668" y="7076"/>
                  </a:cubicBezTo>
                  <a:lnTo>
                    <a:pt x="35668" y="-163"/>
                  </a:lnTo>
                  <a:cubicBezTo>
                    <a:pt x="35601" y="818"/>
                    <a:pt x="35020" y="1685"/>
                    <a:pt x="34144" y="2124"/>
                  </a:cubicBezTo>
                  <a:lnTo>
                    <a:pt x="31763" y="3457"/>
                  </a:lnTo>
                  <a:lnTo>
                    <a:pt x="21476" y="9362"/>
                  </a:lnTo>
                  <a:cubicBezTo>
                    <a:pt x="19114" y="10706"/>
                    <a:pt x="16218" y="10706"/>
                    <a:pt x="13856" y="9362"/>
                  </a:cubicBezTo>
                  <a:lnTo>
                    <a:pt x="3569" y="3457"/>
                  </a:lnTo>
                  <a:lnTo>
                    <a:pt x="1187" y="2124"/>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90" name="išlïdè">
              <a:extLst>
                <a:ext uri="{FF2B5EF4-FFF2-40B4-BE49-F238E27FC236}">
                  <a16:creationId xmlns:a16="http://schemas.microsoft.com/office/drawing/2014/main" id="{4A128708-420C-4622-B4B8-E5D440F0D2A1}"/>
                </a:ext>
              </a:extLst>
            </p:cNvPr>
            <p:cNvSpPr/>
            <p:nvPr/>
          </p:nvSpPr>
          <p:spPr>
            <a:xfrm>
              <a:off x="5398029" y="4913083"/>
              <a:ext cx="109740" cy="63445"/>
            </a:xfrm>
            <a:custGeom>
              <a:avLst/>
              <a:gdLst>
                <a:gd name="connsiteX0" fmla="*/ -336 w 36052"/>
                <a:gd name="connsiteY0" fmla="*/ 10227 h 20843"/>
                <a:gd name="connsiteX1" fmla="*/ 1188 w 36052"/>
                <a:gd name="connsiteY1" fmla="*/ 12513 h 20843"/>
                <a:gd name="connsiteX2" fmla="*/ 3569 w 36052"/>
                <a:gd name="connsiteY2" fmla="*/ 13846 h 20843"/>
                <a:gd name="connsiteX3" fmla="*/ 13856 w 36052"/>
                <a:gd name="connsiteY3" fmla="*/ 19752 h 20843"/>
                <a:gd name="connsiteX4" fmla="*/ 21476 w 36052"/>
                <a:gd name="connsiteY4" fmla="*/ 19752 h 20843"/>
                <a:gd name="connsiteX5" fmla="*/ 31763 w 36052"/>
                <a:gd name="connsiteY5" fmla="*/ 13846 h 20843"/>
                <a:gd name="connsiteX6" fmla="*/ 34144 w 36052"/>
                <a:gd name="connsiteY6" fmla="*/ 12513 h 20843"/>
                <a:gd name="connsiteX7" fmla="*/ 35573 w 36052"/>
                <a:gd name="connsiteY7" fmla="*/ 9465 h 20843"/>
                <a:gd name="connsiteX8" fmla="*/ 34144 w 36052"/>
                <a:gd name="connsiteY8" fmla="*/ 8036 h 20843"/>
                <a:gd name="connsiteX9" fmla="*/ 21476 w 36052"/>
                <a:gd name="connsiteY9" fmla="*/ 702 h 20843"/>
                <a:gd name="connsiteX10" fmla="*/ 13856 w 36052"/>
                <a:gd name="connsiteY10" fmla="*/ 702 h 20843"/>
                <a:gd name="connsiteX11" fmla="*/ 1188 w 36052"/>
                <a:gd name="connsiteY11" fmla="*/ 8036 h 20843"/>
                <a:gd name="connsiteX12" fmla="*/ -336 w 36052"/>
                <a:gd name="connsiteY12" fmla="*/ 10227 h 20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3">
                  <a:moveTo>
                    <a:pt x="-336" y="10227"/>
                  </a:moveTo>
                  <a:cubicBezTo>
                    <a:pt x="-269" y="11208"/>
                    <a:pt x="311" y="12075"/>
                    <a:pt x="1188" y="12513"/>
                  </a:cubicBezTo>
                  <a:lnTo>
                    <a:pt x="3569" y="13846"/>
                  </a:lnTo>
                  <a:lnTo>
                    <a:pt x="13856" y="19752"/>
                  </a:lnTo>
                  <a:cubicBezTo>
                    <a:pt x="16247" y="20990"/>
                    <a:pt x="19085" y="20990"/>
                    <a:pt x="21476" y="19752"/>
                  </a:cubicBezTo>
                  <a:lnTo>
                    <a:pt x="31763" y="13846"/>
                  </a:lnTo>
                  <a:lnTo>
                    <a:pt x="34144" y="12513"/>
                  </a:lnTo>
                  <a:cubicBezTo>
                    <a:pt x="35382" y="12065"/>
                    <a:pt x="36021" y="10694"/>
                    <a:pt x="35573" y="9465"/>
                  </a:cubicBezTo>
                  <a:cubicBezTo>
                    <a:pt x="35325" y="8798"/>
                    <a:pt x="34811" y="8274"/>
                    <a:pt x="34144"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691" name="í$ľíḑê">
              <a:extLst>
                <a:ext uri="{FF2B5EF4-FFF2-40B4-BE49-F238E27FC236}">
                  <a16:creationId xmlns:a16="http://schemas.microsoft.com/office/drawing/2014/main" id="{EC4C8923-3078-4C79-B984-5AB592B55BAB}"/>
                </a:ext>
              </a:extLst>
            </p:cNvPr>
            <p:cNvSpPr/>
            <p:nvPr/>
          </p:nvSpPr>
          <p:spPr>
            <a:xfrm>
              <a:off x="5399843" y="4914264"/>
              <a:ext cx="105898" cy="61101"/>
            </a:xfrm>
            <a:custGeom>
              <a:avLst/>
              <a:gdLst>
                <a:gd name="connsiteX0" fmla="*/ 1164 w 34790"/>
                <a:gd name="connsiteY0" fmla="*/ 12029 h 20073"/>
                <a:gd name="connsiteX1" fmla="*/ 13356 w 34790"/>
                <a:gd name="connsiteY1" fmla="*/ 18982 h 20073"/>
                <a:gd name="connsiteX2" fmla="*/ 20785 w 34790"/>
                <a:gd name="connsiteY2" fmla="*/ 18982 h 20073"/>
                <a:gd name="connsiteX3" fmla="*/ 32882 w 34790"/>
                <a:gd name="connsiteY3" fmla="*/ 12029 h 20073"/>
                <a:gd name="connsiteX4" fmla="*/ 32882 w 34790"/>
                <a:gd name="connsiteY4" fmla="*/ 7743 h 20073"/>
                <a:gd name="connsiteX5" fmla="*/ 20785 w 34790"/>
                <a:gd name="connsiteY5" fmla="*/ 695 h 20073"/>
                <a:gd name="connsiteX6" fmla="*/ 13356 w 34790"/>
                <a:gd name="connsiteY6" fmla="*/ 695 h 20073"/>
                <a:gd name="connsiteX7" fmla="*/ 1164 w 34790"/>
                <a:gd name="connsiteY7" fmla="*/ 7743 h 20073"/>
                <a:gd name="connsiteX8" fmla="*/ 1164 w 34790"/>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3">
                  <a:moveTo>
                    <a:pt x="1164" y="12029"/>
                  </a:moveTo>
                  <a:lnTo>
                    <a:pt x="13356" y="18982"/>
                  </a:lnTo>
                  <a:cubicBezTo>
                    <a:pt x="15680" y="20221"/>
                    <a:pt x="18461" y="20221"/>
                    <a:pt x="20785" y="18982"/>
                  </a:cubicBezTo>
                  <a:lnTo>
                    <a:pt x="32882" y="12029"/>
                  </a:lnTo>
                  <a:cubicBezTo>
                    <a:pt x="34978" y="10791"/>
                    <a:pt x="34978" y="8886"/>
                    <a:pt x="32882" y="7743"/>
                  </a:cubicBezTo>
                  <a:lnTo>
                    <a:pt x="20785" y="695"/>
                  </a:lnTo>
                  <a:cubicBezTo>
                    <a:pt x="18442" y="-448"/>
                    <a:pt x="15699" y="-448"/>
                    <a:pt x="13356" y="695"/>
                  </a:cubicBezTo>
                  <a:lnTo>
                    <a:pt x="1164" y="7743"/>
                  </a:lnTo>
                  <a:cubicBezTo>
                    <a:pt x="-836" y="9267"/>
                    <a:pt x="-836" y="10791"/>
                    <a:pt x="1164" y="12029"/>
                  </a:cubicBezTo>
                  <a:close/>
                </a:path>
              </a:pathLst>
            </a:custGeom>
            <a:solidFill>
              <a:srgbClr val="D1D9E8"/>
            </a:solidFill>
            <a:ln w="9525" cap="flat">
              <a:noFill/>
              <a:prstDash val="solid"/>
              <a:miter/>
            </a:ln>
          </p:spPr>
          <p:txBody>
            <a:bodyPr rtlCol="0" anchor="ctr"/>
            <a:lstStyle/>
            <a:p>
              <a:endParaRPr lang="zh-CN" altLang="en-US"/>
            </a:p>
          </p:txBody>
        </p:sp>
        <p:sp>
          <p:nvSpPr>
            <p:cNvPr id="692" name="îšľîdê">
              <a:extLst>
                <a:ext uri="{FF2B5EF4-FFF2-40B4-BE49-F238E27FC236}">
                  <a16:creationId xmlns:a16="http://schemas.microsoft.com/office/drawing/2014/main" id="{0EBE916F-CBE6-4D8C-8396-1826B9917480}"/>
                </a:ext>
              </a:extLst>
            </p:cNvPr>
            <p:cNvSpPr/>
            <p:nvPr/>
          </p:nvSpPr>
          <p:spPr>
            <a:xfrm>
              <a:off x="5398029" y="4944707"/>
              <a:ext cx="109594" cy="53801"/>
            </a:xfrm>
            <a:custGeom>
              <a:avLst/>
              <a:gdLst>
                <a:gd name="connsiteX0" fmla="*/ -336 w 36004"/>
                <a:gd name="connsiteY0" fmla="*/ -163 h 17675"/>
                <a:gd name="connsiteX1" fmla="*/ -336 w 36004"/>
                <a:gd name="connsiteY1" fmla="*/ 7076 h 17675"/>
                <a:gd name="connsiteX2" fmla="*/ 1188 w 36004"/>
                <a:gd name="connsiteY2" fmla="*/ 9267 h 17675"/>
                <a:gd name="connsiteX3" fmla="*/ 13856 w 36004"/>
                <a:gd name="connsiteY3" fmla="*/ 16506 h 17675"/>
                <a:gd name="connsiteX4" fmla="*/ 21476 w 36004"/>
                <a:gd name="connsiteY4" fmla="*/ 16506 h 17675"/>
                <a:gd name="connsiteX5" fmla="*/ 34144 w 36004"/>
                <a:gd name="connsiteY5" fmla="*/ 9267 h 17675"/>
                <a:gd name="connsiteX6" fmla="*/ 35668 w 36004"/>
                <a:gd name="connsiteY6" fmla="*/ 6981 h 17675"/>
                <a:gd name="connsiteX7" fmla="*/ 35668 w 36004"/>
                <a:gd name="connsiteY7" fmla="*/ -163 h 17675"/>
                <a:gd name="connsiteX8" fmla="*/ 34144 w 36004"/>
                <a:gd name="connsiteY8" fmla="*/ 2123 h 17675"/>
                <a:gd name="connsiteX9" fmla="*/ 31763 w 36004"/>
                <a:gd name="connsiteY9" fmla="*/ 3457 h 17675"/>
                <a:gd name="connsiteX10" fmla="*/ 21476 w 36004"/>
                <a:gd name="connsiteY10" fmla="*/ 9362 h 17675"/>
                <a:gd name="connsiteX11" fmla="*/ 13856 w 36004"/>
                <a:gd name="connsiteY11" fmla="*/ 9362 h 17675"/>
                <a:gd name="connsiteX12" fmla="*/ 3569 w 36004"/>
                <a:gd name="connsiteY12" fmla="*/ 3457 h 17675"/>
                <a:gd name="connsiteX13" fmla="*/ 1188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79" y="8038"/>
                    <a:pt x="311" y="8877"/>
                    <a:pt x="1188" y="9267"/>
                  </a:cubicBezTo>
                  <a:lnTo>
                    <a:pt x="13856" y="16506"/>
                  </a:lnTo>
                  <a:cubicBezTo>
                    <a:pt x="16218" y="17849"/>
                    <a:pt x="19114" y="17849"/>
                    <a:pt x="21476" y="16506"/>
                  </a:cubicBezTo>
                  <a:lnTo>
                    <a:pt x="34144" y="9267"/>
                  </a:lnTo>
                  <a:cubicBezTo>
                    <a:pt x="35049" y="8867"/>
                    <a:pt x="35640" y="7972"/>
                    <a:pt x="35668" y="6981"/>
                  </a:cubicBezTo>
                  <a:lnTo>
                    <a:pt x="35668" y="-163"/>
                  </a:lnTo>
                  <a:cubicBezTo>
                    <a:pt x="35602" y="818"/>
                    <a:pt x="35021" y="1685"/>
                    <a:pt x="34144" y="2123"/>
                  </a:cubicBezTo>
                  <a:lnTo>
                    <a:pt x="31763" y="3457"/>
                  </a:lnTo>
                  <a:lnTo>
                    <a:pt x="21476" y="9362"/>
                  </a:lnTo>
                  <a:cubicBezTo>
                    <a:pt x="19085" y="10601"/>
                    <a:pt x="16247" y="10601"/>
                    <a:pt x="13856" y="9362"/>
                  </a:cubicBezTo>
                  <a:lnTo>
                    <a:pt x="3569" y="3457"/>
                  </a:lnTo>
                  <a:lnTo>
                    <a:pt x="1188" y="2123"/>
                  </a:lnTo>
                  <a:cubicBezTo>
                    <a:pt x="311"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93" name="îṧ1îdè">
              <a:extLst>
                <a:ext uri="{FF2B5EF4-FFF2-40B4-BE49-F238E27FC236}">
                  <a16:creationId xmlns:a16="http://schemas.microsoft.com/office/drawing/2014/main" id="{F5B38880-B596-4876-B564-E91B5B98F1F6}"/>
                </a:ext>
              </a:extLst>
            </p:cNvPr>
            <p:cNvSpPr/>
            <p:nvPr/>
          </p:nvSpPr>
          <p:spPr>
            <a:xfrm>
              <a:off x="5474282" y="4957884"/>
              <a:ext cx="109740" cy="63292"/>
            </a:xfrm>
            <a:custGeom>
              <a:avLst/>
              <a:gdLst>
                <a:gd name="connsiteX0" fmla="*/ -336 w 36052"/>
                <a:gd name="connsiteY0" fmla="*/ 10177 h 20793"/>
                <a:gd name="connsiteX1" fmla="*/ 1283 w 36052"/>
                <a:gd name="connsiteY1" fmla="*/ 12463 h 20793"/>
                <a:gd name="connsiteX2" fmla="*/ 3569 w 36052"/>
                <a:gd name="connsiteY2" fmla="*/ 13796 h 20793"/>
                <a:gd name="connsiteX3" fmla="*/ 13856 w 36052"/>
                <a:gd name="connsiteY3" fmla="*/ 19702 h 20793"/>
                <a:gd name="connsiteX4" fmla="*/ 21571 w 36052"/>
                <a:gd name="connsiteY4" fmla="*/ 19702 h 20793"/>
                <a:gd name="connsiteX5" fmla="*/ 31858 w 36052"/>
                <a:gd name="connsiteY5" fmla="*/ 13796 h 20793"/>
                <a:gd name="connsiteX6" fmla="*/ 34144 w 36052"/>
                <a:gd name="connsiteY6" fmla="*/ 12463 h 20793"/>
                <a:gd name="connsiteX7" fmla="*/ 35573 w 36052"/>
                <a:gd name="connsiteY7" fmla="*/ 9415 h 20793"/>
                <a:gd name="connsiteX8" fmla="*/ 34144 w 36052"/>
                <a:gd name="connsiteY8" fmla="*/ 7986 h 20793"/>
                <a:gd name="connsiteX9" fmla="*/ 21571 w 36052"/>
                <a:gd name="connsiteY9" fmla="*/ 652 h 20793"/>
                <a:gd name="connsiteX10" fmla="*/ 13856 w 36052"/>
                <a:gd name="connsiteY10" fmla="*/ 652 h 20793"/>
                <a:gd name="connsiteX11" fmla="*/ 1283 w 36052"/>
                <a:gd name="connsiteY11" fmla="*/ 7986 h 20793"/>
                <a:gd name="connsiteX12" fmla="*/ -336 w 36052"/>
                <a:gd name="connsiteY12" fmla="*/ 10177 h 20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793">
                  <a:moveTo>
                    <a:pt x="-336" y="10177"/>
                  </a:moveTo>
                  <a:cubicBezTo>
                    <a:pt x="-270" y="11186"/>
                    <a:pt x="359" y="12072"/>
                    <a:pt x="1283" y="12463"/>
                  </a:cubicBezTo>
                  <a:lnTo>
                    <a:pt x="3569" y="13796"/>
                  </a:lnTo>
                  <a:lnTo>
                    <a:pt x="13856" y="19702"/>
                  </a:lnTo>
                  <a:cubicBezTo>
                    <a:pt x="16275" y="20940"/>
                    <a:pt x="19152" y="20940"/>
                    <a:pt x="21571" y="19702"/>
                  </a:cubicBezTo>
                  <a:lnTo>
                    <a:pt x="31858" y="13796"/>
                  </a:lnTo>
                  <a:lnTo>
                    <a:pt x="34144" y="12463"/>
                  </a:lnTo>
                  <a:cubicBezTo>
                    <a:pt x="35382" y="12015"/>
                    <a:pt x="36020" y="10643"/>
                    <a:pt x="35573" y="9415"/>
                  </a:cubicBezTo>
                  <a:cubicBezTo>
                    <a:pt x="35325" y="8748"/>
                    <a:pt x="34811" y="8224"/>
                    <a:pt x="34144" y="7986"/>
                  </a:cubicBezTo>
                  <a:lnTo>
                    <a:pt x="21571" y="652"/>
                  </a:lnTo>
                  <a:cubicBezTo>
                    <a:pt x="19114" y="-434"/>
                    <a:pt x="16313" y="-434"/>
                    <a:pt x="13856" y="652"/>
                  </a:cubicBezTo>
                  <a:lnTo>
                    <a:pt x="1283" y="7986"/>
                  </a:lnTo>
                  <a:cubicBezTo>
                    <a:pt x="387" y="8367"/>
                    <a:pt x="-241" y="9205"/>
                    <a:pt x="-336" y="10177"/>
                  </a:cubicBezTo>
                  <a:close/>
                </a:path>
              </a:pathLst>
            </a:custGeom>
            <a:solidFill>
              <a:srgbClr val="FFFFFF"/>
            </a:solidFill>
            <a:ln w="9525" cap="flat">
              <a:noFill/>
              <a:prstDash val="solid"/>
              <a:miter/>
            </a:ln>
          </p:spPr>
          <p:txBody>
            <a:bodyPr rtlCol="0" anchor="ctr"/>
            <a:lstStyle/>
            <a:p>
              <a:endParaRPr lang="zh-CN" altLang="en-US"/>
            </a:p>
          </p:txBody>
        </p:sp>
        <p:sp>
          <p:nvSpPr>
            <p:cNvPr id="694" name="iṩľïḑe">
              <a:extLst>
                <a:ext uri="{FF2B5EF4-FFF2-40B4-BE49-F238E27FC236}">
                  <a16:creationId xmlns:a16="http://schemas.microsoft.com/office/drawing/2014/main" id="{4ADD2ACB-B330-443B-AE8E-5D8C2ECFE2B0}"/>
                </a:ext>
              </a:extLst>
            </p:cNvPr>
            <p:cNvSpPr/>
            <p:nvPr/>
          </p:nvSpPr>
          <p:spPr>
            <a:xfrm>
              <a:off x="5476167" y="4958913"/>
              <a:ext cx="106766" cy="61101"/>
            </a:xfrm>
            <a:custGeom>
              <a:avLst/>
              <a:gdLst>
                <a:gd name="connsiteX0" fmla="*/ 1521 w 35075"/>
                <a:gd name="connsiteY0" fmla="*/ 12029 h 20073"/>
                <a:gd name="connsiteX1" fmla="*/ 13618 w 35075"/>
                <a:gd name="connsiteY1" fmla="*/ 18983 h 20073"/>
                <a:gd name="connsiteX2" fmla="*/ 21047 w 35075"/>
                <a:gd name="connsiteY2" fmla="*/ 18983 h 20073"/>
                <a:gd name="connsiteX3" fmla="*/ 33239 w 35075"/>
                <a:gd name="connsiteY3" fmla="*/ 12029 h 20073"/>
                <a:gd name="connsiteX4" fmla="*/ 33239 w 35075"/>
                <a:gd name="connsiteY4" fmla="*/ 7743 h 20073"/>
                <a:gd name="connsiteX5" fmla="*/ 21047 w 35075"/>
                <a:gd name="connsiteY5" fmla="*/ 695 h 20073"/>
                <a:gd name="connsiteX6" fmla="*/ 13618 w 35075"/>
                <a:gd name="connsiteY6" fmla="*/ 695 h 20073"/>
                <a:gd name="connsiteX7" fmla="*/ 1521 w 35075"/>
                <a:gd name="connsiteY7" fmla="*/ 7743 h 20073"/>
                <a:gd name="connsiteX8" fmla="*/ 1521 w 35075"/>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075" h="20073">
                  <a:moveTo>
                    <a:pt x="1521" y="12029"/>
                  </a:moveTo>
                  <a:lnTo>
                    <a:pt x="13618" y="18983"/>
                  </a:lnTo>
                  <a:cubicBezTo>
                    <a:pt x="15942" y="20221"/>
                    <a:pt x="18723" y="20221"/>
                    <a:pt x="21047" y="18983"/>
                  </a:cubicBezTo>
                  <a:lnTo>
                    <a:pt x="33239" y="12029"/>
                  </a:lnTo>
                  <a:cubicBezTo>
                    <a:pt x="35239" y="10791"/>
                    <a:pt x="35239" y="8886"/>
                    <a:pt x="33239" y="7743"/>
                  </a:cubicBezTo>
                  <a:lnTo>
                    <a:pt x="21047" y="695"/>
                  </a:lnTo>
                  <a:cubicBezTo>
                    <a:pt x="18704" y="-448"/>
                    <a:pt x="15961" y="-448"/>
                    <a:pt x="13618" y="695"/>
                  </a:cubicBezTo>
                  <a:lnTo>
                    <a:pt x="1521" y="7743"/>
                  </a:lnTo>
                  <a:cubicBezTo>
                    <a:pt x="-955" y="8886"/>
                    <a:pt x="-955" y="10791"/>
                    <a:pt x="1521" y="12029"/>
                  </a:cubicBezTo>
                  <a:close/>
                </a:path>
              </a:pathLst>
            </a:custGeom>
            <a:solidFill>
              <a:srgbClr val="D1D9E8"/>
            </a:solidFill>
            <a:ln w="9525" cap="flat">
              <a:noFill/>
              <a:prstDash val="solid"/>
              <a:miter/>
            </a:ln>
          </p:spPr>
          <p:txBody>
            <a:bodyPr rtlCol="0" anchor="ctr"/>
            <a:lstStyle/>
            <a:p>
              <a:endParaRPr lang="zh-CN" altLang="en-US"/>
            </a:p>
          </p:txBody>
        </p:sp>
        <p:sp>
          <p:nvSpPr>
            <p:cNvPr id="695" name="ïšľíḍé">
              <a:extLst>
                <a:ext uri="{FF2B5EF4-FFF2-40B4-BE49-F238E27FC236}">
                  <a16:creationId xmlns:a16="http://schemas.microsoft.com/office/drawing/2014/main" id="{4B600CE1-1803-48E4-A7D2-C51D6A2F264E}"/>
                </a:ext>
              </a:extLst>
            </p:cNvPr>
            <p:cNvSpPr/>
            <p:nvPr/>
          </p:nvSpPr>
          <p:spPr>
            <a:xfrm>
              <a:off x="5474282" y="4989358"/>
              <a:ext cx="109883" cy="53801"/>
            </a:xfrm>
            <a:custGeom>
              <a:avLst/>
              <a:gdLst>
                <a:gd name="connsiteX0" fmla="*/ -336 w 36099"/>
                <a:gd name="connsiteY0" fmla="*/ -163 h 17675"/>
                <a:gd name="connsiteX1" fmla="*/ -336 w 36099"/>
                <a:gd name="connsiteY1" fmla="*/ 7076 h 17675"/>
                <a:gd name="connsiteX2" fmla="*/ 1283 w 36099"/>
                <a:gd name="connsiteY2" fmla="*/ 9267 h 17675"/>
                <a:gd name="connsiteX3" fmla="*/ 13856 w 36099"/>
                <a:gd name="connsiteY3" fmla="*/ 16506 h 17675"/>
                <a:gd name="connsiteX4" fmla="*/ 21571 w 36099"/>
                <a:gd name="connsiteY4" fmla="*/ 16506 h 17675"/>
                <a:gd name="connsiteX5" fmla="*/ 34144 w 36099"/>
                <a:gd name="connsiteY5" fmla="*/ 9267 h 17675"/>
                <a:gd name="connsiteX6" fmla="*/ 35764 w 36099"/>
                <a:gd name="connsiteY6" fmla="*/ 6981 h 17675"/>
                <a:gd name="connsiteX7" fmla="*/ 35764 w 36099"/>
                <a:gd name="connsiteY7" fmla="*/ -163 h 17675"/>
                <a:gd name="connsiteX8" fmla="*/ 34144 w 36099"/>
                <a:gd name="connsiteY8" fmla="*/ 2123 h 17675"/>
                <a:gd name="connsiteX9" fmla="*/ 31858 w 36099"/>
                <a:gd name="connsiteY9" fmla="*/ 3457 h 17675"/>
                <a:gd name="connsiteX10" fmla="*/ 21571 w 36099"/>
                <a:gd name="connsiteY10" fmla="*/ 9362 h 17675"/>
                <a:gd name="connsiteX11" fmla="*/ 13856 w 36099"/>
                <a:gd name="connsiteY11" fmla="*/ 9362 h 17675"/>
                <a:gd name="connsiteX12" fmla="*/ 3569 w 36099"/>
                <a:gd name="connsiteY12" fmla="*/ 3457 h 17675"/>
                <a:gd name="connsiteX13" fmla="*/ 1283 w 36099"/>
                <a:gd name="connsiteY13" fmla="*/ 2123 h 17675"/>
                <a:gd name="connsiteX14" fmla="*/ -336 w 36099"/>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675">
                  <a:moveTo>
                    <a:pt x="-336" y="-163"/>
                  </a:moveTo>
                  <a:lnTo>
                    <a:pt x="-336" y="7076"/>
                  </a:lnTo>
                  <a:cubicBezTo>
                    <a:pt x="-241" y="8048"/>
                    <a:pt x="387" y="8886"/>
                    <a:pt x="1283" y="9267"/>
                  </a:cubicBezTo>
                  <a:lnTo>
                    <a:pt x="13856" y="16506"/>
                  </a:lnTo>
                  <a:cubicBezTo>
                    <a:pt x="16256" y="17849"/>
                    <a:pt x="19171" y="17849"/>
                    <a:pt x="21571" y="16506"/>
                  </a:cubicBezTo>
                  <a:lnTo>
                    <a:pt x="34144" y="9267"/>
                  </a:lnTo>
                  <a:cubicBezTo>
                    <a:pt x="35049" y="8839"/>
                    <a:pt x="35659" y="7972"/>
                    <a:pt x="35764" y="6981"/>
                  </a:cubicBezTo>
                  <a:lnTo>
                    <a:pt x="35764" y="-163"/>
                  </a:lnTo>
                  <a:cubicBezTo>
                    <a:pt x="35659" y="828"/>
                    <a:pt x="35049" y="1695"/>
                    <a:pt x="34144" y="2123"/>
                  </a:cubicBezTo>
                  <a:lnTo>
                    <a:pt x="31858" y="3457"/>
                  </a:lnTo>
                  <a:lnTo>
                    <a:pt x="21571" y="9362"/>
                  </a:lnTo>
                  <a:cubicBezTo>
                    <a:pt x="19152" y="10601"/>
                    <a:pt x="16275" y="10601"/>
                    <a:pt x="13856" y="9362"/>
                  </a:cubicBezTo>
                  <a:lnTo>
                    <a:pt x="3569" y="3457"/>
                  </a:lnTo>
                  <a:lnTo>
                    <a:pt x="1283" y="2123"/>
                  </a:lnTo>
                  <a:cubicBezTo>
                    <a:pt x="359" y="1733"/>
                    <a:pt x="-270" y="847"/>
                    <a:pt x="-336" y="-163"/>
                  </a:cubicBezTo>
                  <a:close/>
                </a:path>
              </a:pathLst>
            </a:custGeom>
            <a:solidFill>
              <a:srgbClr val="BF4200"/>
            </a:solidFill>
            <a:ln w="9525" cap="flat">
              <a:noFill/>
              <a:prstDash val="solid"/>
              <a:miter/>
            </a:ln>
          </p:spPr>
          <p:txBody>
            <a:bodyPr rtlCol="0" anchor="ctr"/>
            <a:lstStyle/>
            <a:p>
              <a:endParaRPr lang="zh-CN" altLang="en-US"/>
            </a:p>
          </p:txBody>
        </p:sp>
        <p:sp>
          <p:nvSpPr>
            <p:cNvPr id="696" name="íṣ1íḓê">
              <a:extLst>
                <a:ext uri="{FF2B5EF4-FFF2-40B4-BE49-F238E27FC236}">
                  <a16:creationId xmlns:a16="http://schemas.microsoft.com/office/drawing/2014/main" id="{829E2809-2336-47A9-A924-26018F3E6733}"/>
                </a:ext>
              </a:extLst>
            </p:cNvPr>
            <p:cNvSpPr/>
            <p:nvPr/>
          </p:nvSpPr>
          <p:spPr>
            <a:xfrm>
              <a:off x="5552566" y="5002383"/>
              <a:ext cx="109740" cy="63442"/>
            </a:xfrm>
            <a:custGeom>
              <a:avLst/>
              <a:gdLst>
                <a:gd name="connsiteX0" fmla="*/ -336 w 36052"/>
                <a:gd name="connsiteY0" fmla="*/ 10227 h 20842"/>
                <a:gd name="connsiteX1" fmla="*/ 1187 w 36052"/>
                <a:gd name="connsiteY1" fmla="*/ 12513 h 20842"/>
                <a:gd name="connsiteX2" fmla="*/ 3569 w 36052"/>
                <a:gd name="connsiteY2" fmla="*/ 13846 h 20842"/>
                <a:gd name="connsiteX3" fmla="*/ 13856 w 36052"/>
                <a:gd name="connsiteY3" fmla="*/ 19752 h 20842"/>
                <a:gd name="connsiteX4" fmla="*/ 21476 w 36052"/>
                <a:gd name="connsiteY4" fmla="*/ 19752 h 20842"/>
                <a:gd name="connsiteX5" fmla="*/ 31763 w 36052"/>
                <a:gd name="connsiteY5" fmla="*/ 13846 h 20842"/>
                <a:gd name="connsiteX6" fmla="*/ 34144 w 36052"/>
                <a:gd name="connsiteY6" fmla="*/ 12513 h 20842"/>
                <a:gd name="connsiteX7" fmla="*/ 35573 w 36052"/>
                <a:gd name="connsiteY7" fmla="*/ 9465 h 20842"/>
                <a:gd name="connsiteX8" fmla="*/ 34144 w 36052"/>
                <a:gd name="connsiteY8" fmla="*/ 8036 h 20842"/>
                <a:gd name="connsiteX9" fmla="*/ 21476 w 36052"/>
                <a:gd name="connsiteY9" fmla="*/ 702 h 20842"/>
                <a:gd name="connsiteX10" fmla="*/ 13856 w 36052"/>
                <a:gd name="connsiteY10" fmla="*/ 702 h 20842"/>
                <a:gd name="connsiteX11" fmla="*/ 1187 w 36052"/>
                <a:gd name="connsiteY11" fmla="*/ 8036 h 20842"/>
                <a:gd name="connsiteX12" fmla="*/ -336 w 36052"/>
                <a:gd name="connsiteY12" fmla="*/ 10227 h 20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2">
                  <a:moveTo>
                    <a:pt x="-336" y="10227"/>
                  </a:moveTo>
                  <a:cubicBezTo>
                    <a:pt x="-270" y="11208"/>
                    <a:pt x="311" y="12075"/>
                    <a:pt x="1187" y="12513"/>
                  </a:cubicBezTo>
                  <a:lnTo>
                    <a:pt x="3569" y="13846"/>
                  </a:lnTo>
                  <a:lnTo>
                    <a:pt x="13856" y="19752"/>
                  </a:lnTo>
                  <a:cubicBezTo>
                    <a:pt x="16247" y="20990"/>
                    <a:pt x="19085" y="20990"/>
                    <a:pt x="21476" y="19752"/>
                  </a:cubicBezTo>
                  <a:lnTo>
                    <a:pt x="31763" y="13846"/>
                  </a:lnTo>
                  <a:lnTo>
                    <a:pt x="34144" y="12513"/>
                  </a:lnTo>
                  <a:cubicBezTo>
                    <a:pt x="35382" y="12065"/>
                    <a:pt x="36020" y="10693"/>
                    <a:pt x="35573" y="9465"/>
                  </a:cubicBezTo>
                  <a:cubicBezTo>
                    <a:pt x="35325" y="8798"/>
                    <a:pt x="34811" y="8274"/>
                    <a:pt x="34144" y="8036"/>
                  </a:cubicBezTo>
                  <a:lnTo>
                    <a:pt x="21476" y="702"/>
                  </a:lnTo>
                  <a:cubicBezTo>
                    <a:pt x="19066" y="-451"/>
                    <a:pt x="16266" y="-451"/>
                    <a:pt x="13856" y="702"/>
                  </a:cubicBezTo>
                  <a:lnTo>
                    <a:pt x="1187"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697" name="iṥḻïḓè">
              <a:extLst>
                <a:ext uri="{FF2B5EF4-FFF2-40B4-BE49-F238E27FC236}">
                  <a16:creationId xmlns:a16="http://schemas.microsoft.com/office/drawing/2014/main" id="{5E55F4F6-DA3B-442B-8E33-9C37EB5265CC}"/>
                </a:ext>
              </a:extLst>
            </p:cNvPr>
            <p:cNvSpPr/>
            <p:nvPr/>
          </p:nvSpPr>
          <p:spPr>
            <a:xfrm>
              <a:off x="5554450" y="5003564"/>
              <a:ext cx="105825" cy="61104"/>
            </a:xfrm>
            <a:custGeom>
              <a:avLst/>
              <a:gdLst>
                <a:gd name="connsiteX0" fmla="*/ 1235 w 34766"/>
                <a:gd name="connsiteY0" fmla="*/ 12029 h 20074"/>
                <a:gd name="connsiteX1" fmla="*/ 13332 w 34766"/>
                <a:gd name="connsiteY1" fmla="*/ 18983 h 20074"/>
                <a:gd name="connsiteX2" fmla="*/ 20762 w 34766"/>
                <a:gd name="connsiteY2" fmla="*/ 18983 h 20074"/>
                <a:gd name="connsiteX3" fmla="*/ 32858 w 34766"/>
                <a:gd name="connsiteY3" fmla="*/ 12029 h 20074"/>
                <a:gd name="connsiteX4" fmla="*/ 32858 w 34766"/>
                <a:gd name="connsiteY4" fmla="*/ 7743 h 20074"/>
                <a:gd name="connsiteX5" fmla="*/ 20762 w 34766"/>
                <a:gd name="connsiteY5" fmla="*/ 695 h 20074"/>
                <a:gd name="connsiteX6" fmla="*/ 13332 w 34766"/>
                <a:gd name="connsiteY6" fmla="*/ 695 h 20074"/>
                <a:gd name="connsiteX7" fmla="*/ 1235 w 34766"/>
                <a:gd name="connsiteY7" fmla="*/ 7743 h 20074"/>
                <a:gd name="connsiteX8" fmla="*/ 1235 w 34766"/>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6" h="20074">
                  <a:moveTo>
                    <a:pt x="1235" y="12029"/>
                  </a:moveTo>
                  <a:lnTo>
                    <a:pt x="13332" y="18983"/>
                  </a:lnTo>
                  <a:cubicBezTo>
                    <a:pt x="15656" y="20221"/>
                    <a:pt x="18437" y="20221"/>
                    <a:pt x="20762" y="18983"/>
                  </a:cubicBezTo>
                  <a:lnTo>
                    <a:pt x="32858" y="12029"/>
                  </a:lnTo>
                  <a:cubicBezTo>
                    <a:pt x="34954" y="10791"/>
                    <a:pt x="34954" y="8886"/>
                    <a:pt x="32858" y="7743"/>
                  </a:cubicBezTo>
                  <a:lnTo>
                    <a:pt x="20762" y="695"/>
                  </a:lnTo>
                  <a:cubicBezTo>
                    <a:pt x="18419" y="-448"/>
                    <a:pt x="15675" y="-448"/>
                    <a:pt x="13332" y="695"/>
                  </a:cubicBezTo>
                  <a:lnTo>
                    <a:pt x="1235" y="7743"/>
                  </a:lnTo>
                  <a:cubicBezTo>
                    <a:pt x="-860" y="8505"/>
                    <a:pt x="-860" y="10791"/>
                    <a:pt x="1235" y="12029"/>
                  </a:cubicBezTo>
                  <a:close/>
                </a:path>
              </a:pathLst>
            </a:custGeom>
            <a:solidFill>
              <a:srgbClr val="D1D9E8"/>
            </a:solidFill>
            <a:ln w="9525" cap="flat">
              <a:noFill/>
              <a:prstDash val="solid"/>
              <a:miter/>
            </a:ln>
          </p:spPr>
          <p:txBody>
            <a:bodyPr rtlCol="0" anchor="ctr"/>
            <a:lstStyle/>
            <a:p>
              <a:endParaRPr lang="zh-CN" altLang="en-US"/>
            </a:p>
          </p:txBody>
        </p:sp>
        <p:sp>
          <p:nvSpPr>
            <p:cNvPr id="698" name="iṧ1idè">
              <a:extLst>
                <a:ext uri="{FF2B5EF4-FFF2-40B4-BE49-F238E27FC236}">
                  <a16:creationId xmlns:a16="http://schemas.microsoft.com/office/drawing/2014/main" id="{DD6D111A-2534-4BDF-897E-49E58700A2A2}"/>
                </a:ext>
              </a:extLst>
            </p:cNvPr>
            <p:cNvSpPr/>
            <p:nvPr/>
          </p:nvSpPr>
          <p:spPr>
            <a:xfrm>
              <a:off x="5552566" y="5034006"/>
              <a:ext cx="109594" cy="53564"/>
            </a:xfrm>
            <a:custGeom>
              <a:avLst/>
              <a:gdLst>
                <a:gd name="connsiteX0" fmla="*/ -336 w 36004"/>
                <a:gd name="connsiteY0" fmla="*/ -163 h 17597"/>
                <a:gd name="connsiteX1" fmla="*/ -336 w 36004"/>
                <a:gd name="connsiteY1" fmla="*/ 7076 h 17597"/>
                <a:gd name="connsiteX2" fmla="*/ 1187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3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7 w 36004"/>
                <a:gd name="connsiteY13" fmla="*/ 2123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7" y="9267"/>
                  </a:cubicBezTo>
                  <a:lnTo>
                    <a:pt x="13856" y="16506"/>
                  </a:lnTo>
                  <a:cubicBezTo>
                    <a:pt x="16247" y="17744"/>
                    <a:pt x="19085" y="17744"/>
                    <a:pt x="21476" y="16506"/>
                  </a:cubicBezTo>
                  <a:lnTo>
                    <a:pt x="34144" y="9267"/>
                  </a:lnTo>
                  <a:cubicBezTo>
                    <a:pt x="35011" y="8819"/>
                    <a:pt x="35582" y="7953"/>
                    <a:pt x="35668" y="6981"/>
                  </a:cubicBezTo>
                  <a:lnTo>
                    <a:pt x="35668" y="-163"/>
                  </a:lnTo>
                  <a:cubicBezTo>
                    <a:pt x="35601" y="818"/>
                    <a:pt x="35020" y="1685"/>
                    <a:pt x="34144" y="2123"/>
                  </a:cubicBezTo>
                  <a:lnTo>
                    <a:pt x="31763" y="3457"/>
                  </a:lnTo>
                  <a:lnTo>
                    <a:pt x="21476" y="9362"/>
                  </a:lnTo>
                  <a:cubicBezTo>
                    <a:pt x="19085" y="10600"/>
                    <a:pt x="16247" y="10600"/>
                    <a:pt x="13856" y="9362"/>
                  </a:cubicBezTo>
                  <a:lnTo>
                    <a:pt x="3569" y="3457"/>
                  </a:lnTo>
                  <a:lnTo>
                    <a:pt x="1187"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99" name="îṩḷïďé">
              <a:extLst>
                <a:ext uri="{FF2B5EF4-FFF2-40B4-BE49-F238E27FC236}">
                  <a16:creationId xmlns:a16="http://schemas.microsoft.com/office/drawing/2014/main" id="{649061F3-B284-4E64-9A0C-F84B8CD2EC0E}"/>
                </a:ext>
              </a:extLst>
            </p:cNvPr>
            <p:cNvSpPr/>
            <p:nvPr/>
          </p:nvSpPr>
          <p:spPr>
            <a:xfrm>
              <a:off x="5629687" y="5046836"/>
              <a:ext cx="109740" cy="63639"/>
            </a:xfrm>
            <a:custGeom>
              <a:avLst/>
              <a:gdLst>
                <a:gd name="connsiteX0" fmla="*/ -336 w 36052"/>
                <a:gd name="connsiteY0" fmla="*/ 10291 h 20907"/>
                <a:gd name="connsiteX1" fmla="*/ 1283 w 36052"/>
                <a:gd name="connsiteY1" fmla="*/ 12577 h 20907"/>
                <a:gd name="connsiteX2" fmla="*/ 3569 w 36052"/>
                <a:gd name="connsiteY2" fmla="*/ 13911 h 20907"/>
                <a:gd name="connsiteX3" fmla="*/ 13856 w 36052"/>
                <a:gd name="connsiteY3" fmla="*/ 19816 h 20907"/>
                <a:gd name="connsiteX4" fmla="*/ 21571 w 36052"/>
                <a:gd name="connsiteY4" fmla="*/ 19816 h 20907"/>
                <a:gd name="connsiteX5" fmla="*/ 31858 w 36052"/>
                <a:gd name="connsiteY5" fmla="*/ 13911 h 20907"/>
                <a:gd name="connsiteX6" fmla="*/ 34144 w 36052"/>
                <a:gd name="connsiteY6" fmla="*/ 12577 h 20907"/>
                <a:gd name="connsiteX7" fmla="*/ 35573 w 36052"/>
                <a:gd name="connsiteY7" fmla="*/ 9529 h 20907"/>
                <a:gd name="connsiteX8" fmla="*/ 34144 w 36052"/>
                <a:gd name="connsiteY8" fmla="*/ 8101 h 20907"/>
                <a:gd name="connsiteX9" fmla="*/ 21571 w 36052"/>
                <a:gd name="connsiteY9" fmla="*/ 766 h 20907"/>
                <a:gd name="connsiteX10" fmla="*/ 13856 w 36052"/>
                <a:gd name="connsiteY10" fmla="*/ 766 h 20907"/>
                <a:gd name="connsiteX11" fmla="*/ 1283 w 36052"/>
                <a:gd name="connsiteY11" fmla="*/ 8101 h 20907"/>
                <a:gd name="connsiteX12" fmla="*/ -336 w 36052"/>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907">
                  <a:moveTo>
                    <a:pt x="-336" y="10291"/>
                  </a:moveTo>
                  <a:cubicBezTo>
                    <a:pt x="-231" y="11282"/>
                    <a:pt x="378" y="12149"/>
                    <a:pt x="1283" y="12577"/>
                  </a:cubicBezTo>
                  <a:lnTo>
                    <a:pt x="3569" y="13911"/>
                  </a:lnTo>
                  <a:lnTo>
                    <a:pt x="13856" y="19816"/>
                  </a:lnTo>
                  <a:cubicBezTo>
                    <a:pt x="16275" y="21054"/>
                    <a:pt x="19152" y="21054"/>
                    <a:pt x="21571" y="19816"/>
                  </a:cubicBezTo>
                  <a:lnTo>
                    <a:pt x="31858" y="13911"/>
                  </a:lnTo>
                  <a:lnTo>
                    <a:pt x="34144" y="12577"/>
                  </a:lnTo>
                  <a:cubicBezTo>
                    <a:pt x="35382" y="12129"/>
                    <a:pt x="36021" y="10758"/>
                    <a:pt x="35573" y="9529"/>
                  </a:cubicBezTo>
                  <a:cubicBezTo>
                    <a:pt x="35325" y="8862"/>
                    <a:pt x="34811" y="8339"/>
                    <a:pt x="34144" y="8101"/>
                  </a:cubicBezTo>
                  <a:lnTo>
                    <a:pt x="21571" y="766"/>
                  </a:lnTo>
                  <a:cubicBezTo>
                    <a:pt x="19152" y="-472"/>
                    <a:pt x="16275" y="-472"/>
                    <a:pt x="13856" y="766"/>
                  </a:cubicBezTo>
                  <a:lnTo>
                    <a:pt x="1283" y="8101"/>
                  </a:lnTo>
                  <a:cubicBezTo>
                    <a:pt x="407" y="8510"/>
                    <a:pt x="-203" y="933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700" name="iŝļíḍé">
              <a:extLst>
                <a:ext uri="{FF2B5EF4-FFF2-40B4-BE49-F238E27FC236}">
                  <a16:creationId xmlns:a16="http://schemas.microsoft.com/office/drawing/2014/main" id="{84D6CD58-E516-415C-96FC-2D75C5043732}"/>
                </a:ext>
              </a:extLst>
            </p:cNvPr>
            <p:cNvSpPr/>
            <p:nvPr/>
          </p:nvSpPr>
          <p:spPr>
            <a:xfrm>
              <a:off x="5631791" y="5048215"/>
              <a:ext cx="105679" cy="61101"/>
            </a:xfrm>
            <a:custGeom>
              <a:avLst/>
              <a:gdLst>
                <a:gd name="connsiteX0" fmla="*/ 1164 w 34718"/>
                <a:gd name="connsiteY0" fmla="*/ 12029 h 20073"/>
                <a:gd name="connsiteX1" fmla="*/ 13260 w 34718"/>
                <a:gd name="connsiteY1" fmla="*/ 18983 h 20073"/>
                <a:gd name="connsiteX2" fmla="*/ 20690 w 34718"/>
                <a:gd name="connsiteY2" fmla="*/ 18983 h 20073"/>
                <a:gd name="connsiteX3" fmla="*/ 32882 w 34718"/>
                <a:gd name="connsiteY3" fmla="*/ 12029 h 20073"/>
                <a:gd name="connsiteX4" fmla="*/ 32882 w 34718"/>
                <a:gd name="connsiteY4" fmla="*/ 7743 h 20073"/>
                <a:gd name="connsiteX5" fmla="*/ 20690 w 34718"/>
                <a:gd name="connsiteY5" fmla="*/ 695 h 20073"/>
                <a:gd name="connsiteX6" fmla="*/ 13260 w 34718"/>
                <a:gd name="connsiteY6" fmla="*/ 695 h 20073"/>
                <a:gd name="connsiteX7" fmla="*/ 1164 w 34718"/>
                <a:gd name="connsiteY7" fmla="*/ 7743 h 20073"/>
                <a:gd name="connsiteX8" fmla="*/ 1164 w 34718"/>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18" h="20073">
                  <a:moveTo>
                    <a:pt x="1164" y="12029"/>
                  </a:moveTo>
                  <a:lnTo>
                    <a:pt x="13260" y="18983"/>
                  </a:lnTo>
                  <a:cubicBezTo>
                    <a:pt x="15585" y="20221"/>
                    <a:pt x="18366" y="20221"/>
                    <a:pt x="20690" y="18983"/>
                  </a:cubicBezTo>
                  <a:lnTo>
                    <a:pt x="32882" y="12029"/>
                  </a:lnTo>
                  <a:cubicBezTo>
                    <a:pt x="34882" y="10791"/>
                    <a:pt x="34882" y="8886"/>
                    <a:pt x="32882" y="7743"/>
                  </a:cubicBezTo>
                  <a:lnTo>
                    <a:pt x="20690" y="695"/>
                  </a:lnTo>
                  <a:cubicBezTo>
                    <a:pt x="18347" y="-448"/>
                    <a:pt x="15604" y="-448"/>
                    <a:pt x="13260" y="695"/>
                  </a:cubicBezTo>
                  <a:lnTo>
                    <a:pt x="1164" y="7743"/>
                  </a:lnTo>
                  <a:cubicBezTo>
                    <a:pt x="-836" y="8886"/>
                    <a:pt x="-836" y="10791"/>
                    <a:pt x="1164" y="12029"/>
                  </a:cubicBezTo>
                  <a:close/>
                </a:path>
              </a:pathLst>
            </a:custGeom>
            <a:solidFill>
              <a:srgbClr val="D1D9E8"/>
            </a:solidFill>
            <a:ln w="9525" cap="flat">
              <a:noFill/>
              <a:prstDash val="solid"/>
              <a:miter/>
            </a:ln>
          </p:spPr>
          <p:txBody>
            <a:bodyPr rtlCol="0" anchor="ctr"/>
            <a:lstStyle/>
            <a:p>
              <a:endParaRPr lang="zh-CN" altLang="en-US"/>
            </a:p>
          </p:txBody>
        </p:sp>
        <p:sp>
          <p:nvSpPr>
            <p:cNvPr id="701" name="íśľïḍè">
              <a:extLst>
                <a:ext uri="{FF2B5EF4-FFF2-40B4-BE49-F238E27FC236}">
                  <a16:creationId xmlns:a16="http://schemas.microsoft.com/office/drawing/2014/main" id="{1FA15F51-98B4-44E8-84CC-9B5580DCA6D2}"/>
                </a:ext>
              </a:extLst>
            </p:cNvPr>
            <p:cNvSpPr/>
            <p:nvPr/>
          </p:nvSpPr>
          <p:spPr>
            <a:xfrm>
              <a:off x="5629687" y="5078658"/>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4 w 36099"/>
                <a:gd name="connsiteY6" fmla="*/ 6981 h 17597"/>
                <a:gd name="connsiteX7" fmla="*/ 35764 w 36099"/>
                <a:gd name="connsiteY7" fmla="*/ -163 h 17597"/>
                <a:gd name="connsiteX8" fmla="*/ 34144 w 36099"/>
                <a:gd name="connsiteY8" fmla="*/ 2124 h 17597"/>
                <a:gd name="connsiteX9" fmla="*/ 31858 w 36099"/>
                <a:gd name="connsiteY9" fmla="*/ 3457 h 17597"/>
                <a:gd name="connsiteX10" fmla="*/ 21571 w 36099"/>
                <a:gd name="connsiteY10" fmla="*/ 9362 h 17597"/>
                <a:gd name="connsiteX11" fmla="*/ 13856 w 36099"/>
                <a:gd name="connsiteY11" fmla="*/ 9362 h 17597"/>
                <a:gd name="connsiteX12" fmla="*/ 3569 w 36099"/>
                <a:gd name="connsiteY12" fmla="*/ 3457 h 17597"/>
                <a:gd name="connsiteX13" fmla="*/ 1283 w 36099"/>
                <a:gd name="connsiteY13" fmla="*/ 2124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03" y="8029"/>
                    <a:pt x="407" y="8858"/>
                    <a:pt x="1283" y="9267"/>
                  </a:cubicBezTo>
                  <a:lnTo>
                    <a:pt x="13856" y="16506"/>
                  </a:lnTo>
                  <a:cubicBezTo>
                    <a:pt x="16275" y="17744"/>
                    <a:pt x="19152" y="17744"/>
                    <a:pt x="21571" y="16506"/>
                  </a:cubicBezTo>
                  <a:lnTo>
                    <a:pt x="34144" y="9267"/>
                  </a:lnTo>
                  <a:cubicBezTo>
                    <a:pt x="35030" y="8829"/>
                    <a:pt x="35640" y="7972"/>
                    <a:pt x="35764" y="6981"/>
                  </a:cubicBezTo>
                  <a:lnTo>
                    <a:pt x="35764" y="-163"/>
                  </a:lnTo>
                  <a:cubicBezTo>
                    <a:pt x="35659" y="828"/>
                    <a:pt x="35049" y="1695"/>
                    <a:pt x="34144" y="2124"/>
                  </a:cubicBezTo>
                  <a:lnTo>
                    <a:pt x="31858" y="3457"/>
                  </a:lnTo>
                  <a:lnTo>
                    <a:pt x="21571" y="9362"/>
                  </a:lnTo>
                  <a:cubicBezTo>
                    <a:pt x="19152" y="10601"/>
                    <a:pt x="16275" y="10601"/>
                    <a:pt x="13856" y="9362"/>
                  </a:cubicBezTo>
                  <a:lnTo>
                    <a:pt x="3569" y="3457"/>
                  </a:lnTo>
                  <a:lnTo>
                    <a:pt x="1283" y="2124"/>
                  </a:lnTo>
                  <a:cubicBezTo>
                    <a:pt x="378" y="1695"/>
                    <a:pt x="-231"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02" name="îṡḻiḍè">
              <a:extLst>
                <a:ext uri="{FF2B5EF4-FFF2-40B4-BE49-F238E27FC236}">
                  <a16:creationId xmlns:a16="http://schemas.microsoft.com/office/drawing/2014/main" id="{38BF5413-1691-43E3-9BB7-047D417A7722}"/>
                </a:ext>
              </a:extLst>
            </p:cNvPr>
            <p:cNvSpPr/>
            <p:nvPr/>
          </p:nvSpPr>
          <p:spPr>
            <a:xfrm>
              <a:off x="5706230" y="5091488"/>
              <a:ext cx="109594" cy="63639"/>
            </a:xfrm>
            <a:custGeom>
              <a:avLst/>
              <a:gdLst>
                <a:gd name="connsiteX0" fmla="*/ -336 w 36004"/>
                <a:gd name="connsiteY0" fmla="*/ 10291 h 20907"/>
                <a:gd name="connsiteX1" fmla="*/ 1188 w 36004"/>
                <a:gd name="connsiteY1" fmla="*/ 12577 h 20907"/>
                <a:gd name="connsiteX2" fmla="*/ 3569 w 36004"/>
                <a:gd name="connsiteY2" fmla="*/ 13911 h 20907"/>
                <a:gd name="connsiteX3" fmla="*/ 13856 w 36004"/>
                <a:gd name="connsiteY3" fmla="*/ 19816 h 20907"/>
                <a:gd name="connsiteX4" fmla="*/ 21476 w 36004"/>
                <a:gd name="connsiteY4" fmla="*/ 19816 h 20907"/>
                <a:gd name="connsiteX5" fmla="*/ 31763 w 36004"/>
                <a:gd name="connsiteY5" fmla="*/ 13911 h 20907"/>
                <a:gd name="connsiteX6" fmla="*/ 34144 w 36004"/>
                <a:gd name="connsiteY6" fmla="*/ 12577 h 20907"/>
                <a:gd name="connsiteX7" fmla="*/ 35668 w 36004"/>
                <a:gd name="connsiteY7" fmla="*/ 10291 h 20907"/>
                <a:gd name="connsiteX8" fmla="*/ 34144 w 36004"/>
                <a:gd name="connsiteY8" fmla="*/ 8100 h 20907"/>
                <a:gd name="connsiteX9" fmla="*/ 21476 w 36004"/>
                <a:gd name="connsiteY9" fmla="*/ 766 h 20907"/>
                <a:gd name="connsiteX10" fmla="*/ 13856 w 36004"/>
                <a:gd name="connsiteY10" fmla="*/ 766 h 20907"/>
                <a:gd name="connsiteX11" fmla="*/ 1188 w 36004"/>
                <a:gd name="connsiteY11" fmla="*/ 8100 h 20907"/>
                <a:gd name="connsiteX12" fmla="*/ -336 w 36004"/>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907">
                  <a:moveTo>
                    <a:pt x="-336" y="10291"/>
                  </a:moveTo>
                  <a:cubicBezTo>
                    <a:pt x="-270" y="11272"/>
                    <a:pt x="311" y="12139"/>
                    <a:pt x="1188" y="12577"/>
                  </a:cubicBezTo>
                  <a:lnTo>
                    <a:pt x="3569" y="13911"/>
                  </a:lnTo>
                  <a:lnTo>
                    <a:pt x="13856" y="19816"/>
                  </a:lnTo>
                  <a:cubicBezTo>
                    <a:pt x="16247" y="21054"/>
                    <a:pt x="19085" y="21054"/>
                    <a:pt x="21476" y="19816"/>
                  </a:cubicBezTo>
                  <a:lnTo>
                    <a:pt x="31763" y="13911"/>
                  </a:lnTo>
                  <a:lnTo>
                    <a:pt x="34144" y="12577"/>
                  </a:lnTo>
                  <a:cubicBezTo>
                    <a:pt x="35021" y="12139"/>
                    <a:pt x="35602" y="11272"/>
                    <a:pt x="35668" y="10291"/>
                  </a:cubicBezTo>
                  <a:cubicBezTo>
                    <a:pt x="35611" y="9339"/>
                    <a:pt x="35021" y="8491"/>
                    <a:pt x="34144" y="8100"/>
                  </a:cubicBezTo>
                  <a:lnTo>
                    <a:pt x="21476" y="766"/>
                  </a:lnTo>
                  <a:cubicBezTo>
                    <a:pt x="19085" y="-472"/>
                    <a:pt x="16247" y="-472"/>
                    <a:pt x="13856" y="766"/>
                  </a:cubicBezTo>
                  <a:lnTo>
                    <a:pt x="1188" y="8100"/>
                  </a:lnTo>
                  <a:cubicBezTo>
                    <a:pt x="311" y="8491"/>
                    <a:pt x="-279"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703" name="ísḷiḑê">
              <a:extLst>
                <a:ext uri="{FF2B5EF4-FFF2-40B4-BE49-F238E27FC236}">
                  <a16:creationId xmlns:a16="http://schemas.microsoft.com/office/drawing/2014/main" id="{18557B00-E9C7-4D8C-A348-9AD6131757A5}"/>
                </a:ext>
              </a:extLst>
            </p:cNvPr>
            <p:cNvSpPr/>
            <p:nvPr/>
          </p:nvSpPr>
          <p:spPr>
            <a:xfrm>
              <a:off x="5708114" y="5092647"/>
              <a:ext cx="106693" cy="61101"/>
            </a:xfrm>
            <a:custGeom>
              <a:avLst/>
              <a:gdLst>
                <a:gd name="connsiteX0" fmla="*/ 1521 w 35051"/>
                <a:gd name="connsiteY0" fmla="*/ 12006 h 20073"/>
                <a:gd name="connsiteX1" fmla="*/ 13618 w 35051"/>
                <a:gd name="connsiteY1" fmla="*/ 19054 h 20073"/>
                <a:gd name="connsiteX2" fmla="*/ 21047 w 35051"/>
                <a:gd name="connsiteY2" fmla="*/ 19054 h 20073"/>
                <a:gd name="connsiteX3" fmla="*/ 33144 w 35051"/>
                <a:gd name="connsiteY3" fmla="*/ 12006 h 20073"/>
                <a:gd name="connsiteX4" fmla="*/ 33144 w 35051"/>
                <a:gd name="connsiteY4" fmla="*/ 7719 h 20073"/>
                <a:gd name="connsiteX5" fmla="*/ 21047 w 35051"/>
                <a:gd name="connsiteY5" fmla="*/ 766 h 20073"/>
                <a:gd name="connsiteX6" fmla="*/ 13618 w 35051"/>
                <a:gd name="connsiteY6" fmla="*/ 766 h 20073"/>
                <a:gd name="connsiteX7" fmla="*/ 1521 w 35051"/>
                <a:gd name="connsiteY7" fmla="*/ 7719 h 20073"/>
                <a:gd name="connsiteX8" fmla="*/ 1521 w 35051"/>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051" h="20073">
                  <a:moveTo>
                    <a:pt x="1521" y="12006"/>
                  </a:moveTo>
                  <a:lnTo>
                    <a:pt x="13618" y="19054"/>
                  </a:lnTo>
                  <a:cubicBezTo>
                    <a:pt x="15961" y="20197"/>
                    <a:pt x="18704" y="20197"/>
                    <a:pt x="21047" y="19054"/>
                  </a:cubicBezTo>
                  <a:lnTo>
                    <a:pt x="33144" y="12006"/>
                  </a:lnTo>
                  <a:cubicBezTo>
                    <a:pt x="35239" y="10863"/>
                    <a:pt x="35239" y="8957"/>
                    <a:pt x="33144" y="7719"/>
                  </a:cubicBezTo>
                  <a:lnTo>
                    <a:pt x="21047" y="766"/>
                  </a:lnTo>
                  <a:cubicBezTo>
                    <a:pt x="18723" y="-472"/>
                    <a:pt x="15942" y="-472"/>
                    <a:pt x="13618" y="766"/>
                  </a:cubicBezTo>
                  <a:lnTo>
                    <a:pt x="1521" y="7719"/>
                  </a:lnTo>
                  <a:cubicBezTo>
                    <a:pt x="-955" y="8957"/>
                    <a:pt x="-955" y="10863"/>
                    <a:pt x="1521" y="12006"/>
                  </a:cubicBezTo>
                  <a:close/>
                </a:path>
              </a:pathLst>
            </a:custGeom>
            <a:solidFill>
              <a:srgbClr val="D1D9E8"/>
            </a:solidFill>
            <a:ln w="9525" cap="flat">
              <a:noFill/>
              <a:prstDash val="solid"/>
              <a:miter/>
            </a:ln>
          </p:spPr>
          <p:txBody>
            <a:bodyPr rtlCol="0" anchor="ctr"/>
            <a:lstStyle/>
            <a:p>
              <a:endParaRPr lang="zh-CN" altLang="en-US"/>
            </a:p>
          </p:txBody>
        </p:sp>
        <p:sp>
          <p:nvSpPr>
            <p:cNvPr id="704" name="ïşḷiḓê">
              <a:extLst>
                <a:ext uri="{FF2B5EF4-FFF2-40B4-BE49-F238E27FC236}">
                  <a16:creationId xmlns:a16="http://schemas.microsoft.com/office/drawing/2014/main" id="{88E711A4-B166-45BB-AEB6-C435E71E7153}"/>
                </a:ext>
              </a:extLst>
            </p:cNvPr>
            <p:cNvSpPr/>
            <p:nvPr/>
          </p:nvSpPr>
          <p:spPr>
            <a:xfrm>
              <a:off x="5706230" y="5123306"/>
              <a:ext cx="109594" cy="54142"/>
            </a:xfrm>
            <a:custGeom>
              <a:avLst/>
              <a:gdLst>
                <a:gd name="connsiteX0" fmla="*/ -336 w 36004"/>
                <a:gd name="connsiteY0" fmla="*/ -163 h 17787"/>
                <a:gd name="connsiteX1" fmla="*/ -336 w 36004"/>
                <a:gd name="connsiteY1" fmla="*/ 7267 h 17787"/>
                <a:gd name="connsiteX2" fmla="*/ 1188 w 36004"/>
                <a:gd name="connsiteY2" fmla="*/ 9458 h 17787"/>
                <a:gd name="connsiteX3" fmla="*/ 13856 w 36004"/>
                <a:gd name="connsiteY3" fmla="*/ 16697 h 17787"/>
                <a:gd name="connsiteX4" fmla="*/ 21476 w 36004"/>
                <a:gd name="connsiteY4" fmla="*/ 16697 h 17787"/>
                <a:gd name="connsiteX5" fmla="*/ 34144 w 36004"/>
                <a:gd name="connsiteY5" fmla="*/ 9458 h 17787"/>
                <a:gd name="connsiteX6" fmla="*/ 35668 w 36004"/>
                <a:gd name="connsiteY6" fmla="*/ 7172 h 17787"/>
                <a:gd name="connsiteX7" fmla="*/ 35668 w 36004"/>
                <a:gd name="connsiteY7" fmla="*/ 28 h 17787"/>
                <a:gd name="connsiteX8" fmla="*/ 34144 w 36004"/>
                <a:gd name="connsiteY8" fmla="*/ 2314 h 17787"/>
                <a:gd name="connsiteX9" fmla="*/ 31763 w 36004"/>
                <a:gd name="connsiteY9" fmla="*/ 3647 h 17787"/>
                <a:gd name="connsiteX10" fmla="*/ 21476 w 36004"/>
                <a:gd name="connsiteY10" fmla="*/ 9553 h 17787"/>
                <a:gd name="connsiteX11" fmla="*/ 13856 w 36004"/>
                <a:gd name="connsiteY11" fmla="*/ 9553 h 17787"/>
                <a:gd name="connsiteX12" fmla="*/ 3569 w 36004"/>
                <a:gd name="connsiteY12" fmla="*/ 3647 h 17787"/>
                <a:gd name="connsiteX13" fmla="*/ 1188 w 36004"/>
                <a:gd name="connsiteY13" fmla="*/ 2314 h 17787"/>
                <a:gd name="connsiteX14" fmla="*/ -336 w 36004"/>
                <a:gd name="connsiteY14" fmla="*/ -163 h 17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787">
                  <a:moveTo>
                    <a:pt x="-336" y="-163"/>
                  </a:moveTo>
                  <a:lnTo>
                    <a:pt x="-336" y="7267"/>
                  </a:lnTo>
                  <a:cubicBezTo>
                    <a:pt x="-241" y="8210"/>
                    <a:pt x="340" y="9039"/>
                    <a:pt x="1188" y="9458"/>
                  </a:cubicBezTo>
                  <a:lnTo>
                    <a:pt x="13856" y="16697"/>
                  </a:lnTo>
                  <a:cubicBezTo>
                    <a:pt x="16247" y="17935"/>
                    <a:pt x="19085" y="17935"/>
                    <a:pt x="21476" y="16697"/>
                  </a:cubicBezTo>
                  <a:lnTo>
                    <a:pt x="34144" y="9458"/>
                  </a:lnTo>
                  <a:cubicBezTo>
                    <a:pt x="35011" y="9010"/>
                    <a:pt x="35582" y="8143"/>
                    <a:pt x="35668" y="7172"/>
                  </a:cubicBezTo>
                  <a:lnTo>
                    <a:pt x="35668" y="28"/>
                  </a:lnTo>
                  <a:cubicBezTo>
                    <a:pt x="35602" y="1009"/>
                    <a:pt x="35021" y="1876"/>
                    <a:pt x="34144" y="2314"/>
                  </a:cubicBezTo>
                  <a:lnTo>
                    <a:pt x="31763" y="3647"/>
                  </a:lnTo>
                  <a:lnTo>
                    <a:pt x="21476" y="9553"/>
                  </a:lnTo>
                  <a:cubicBezTo>
                    <a:pt x="19085" y="10791"/>
                    <a:pt x="16247" y="10791"/>
                    <a:pt x="13856" y="9553"/>
                  </a:cubicBezTo>
                  <a:lnTo>
                    <a:pt x="3569" y="3647"/>
                  </a:lnTo>
                  <a:lnTo>
                    <a:pt x="1188" y="2314"/>
                  </a:lnTo>
                  <a:cubicBezTo>
                    <a:pt x="254" y="1847"/>
                    <a:pt x="-336" y="885"/>
                    <a:pt x="-336" y="-163"/>
                  </a:cubicBezTo>
                  <a:close/>
                </a:path>
              </a:pathLst>
            </a:custGeom>
            <a:solidFill>
              <a:srgbClr val="BF4200"/>
            </a:solidFill>
            <a:ln w="9525" cap="flat">
              <a:noFill/>
              <a:prstDash val="solid"/>
              <a:miter/>
            </a:ln>
          </p:spPr>
          <p:txBody>
            <a:bodyPr rtlCol="0" anchor="ctr"/>
            <a:lstStyle/>
            <a:p>
              <a:endParaRPr lang="zh-CN" altLang="en-US"/>
            </a:p>
          </p:txBody>
        </p:sp>
        <p:sp>
          <p:nvSpPr>
            <p:cNvPr id="705" name="ïṩḷîḋe">
              <a:extLst>
                <a:ext uri="{FF2B5EF4-FFF2-40B4-BE49-F238E27FC236}">
                  <a16:creationId xmlns:a16="http://schemas.microsoft.com/office/drawing/2014/main" id="{CA04ECC8-0A7E-4661-86D6-300386EEE136}"/>
                </a:ext>
              </a:extLst>
            </p:cNvPr>
            <p:cNvSpPr/>
            <p:nvPr/>
          </p:nvSpPr>
          <p:spPr>
            <a:xfrm>
              <a:off x="5784224" y="5136136"/>
              <a:ext cx="109883" cy="63639"/>
            </a:xfrm>
            <a:custGeom>
              <a:avLst/>
              <a:gdLst>
                <a:gd name="connsiteX0" fmla="*/ -336 w 36099"/>
                <a:gd name="connsiteY0" fmla="*/ 10291 h 20907"/>
                <a:gd name="connsiteX1" fmla="*/ 1283 w 36099"/>
                <a:gd name="connsiteY1" fmla="*/ 12577 h 20907"/>
                <a:gd name="connsiteX2" fmla="*/ 3569 w 36099"/>
                <a:gd name="connsiteY2" fmla="*/ 13911 h 20907"/>
                <a:gd name="connsiteX3" fmla="*/ 13856 w 36099"/>
                <a:gd name="connsiteY3" fmla="*/ 19816 h 20907"/>
                <a:gd name="connsiteX4" fmla="*/ 21571 w 36099"/>
                <a:gd name="connsiteY4" fmla="*/ 19816 h 20907"/>
                <a:gd name="connsiteX5" fmla="*/ 31858 w 36099"/>
                <a:gd name="connsiteY5" fmla="*/ 13911 h 20907"/>
                <a:gd name="connsiteX6" fmla="*/ 34144 w 36099"/>
                <a:gd name="connsiteY6" fmla="*/ 12577 h 20907"/>
                <a:gd name="connsiteX7" fmla="*/ 35764 w 36099"/>
                <a:gd name="connsiteY7" fmla="*/ 10291 h 20907"/>
                <a:gd name="connsiteX8" fmla="*/ 34144 w 36099"/>
                <a:gd name="connsiteY8" fmla="*/ 8100 h 20907"/>
                <a:gd name="connsiteX9" fmla="*/ 21571 w 36099"/>
                <a:gd name="connsiteY9" fmla="*/ 766 h 20907"/>
                <a:gd name="connsiteX10" fmla="*/ 13856 w 36099"/>
                <a:gd name="connsiteY10" fmla="*/ 766 h 20907"/>
                <a:gd name="connsiteX11" fmla="*/ 1283 w 36099"/>
                <a:gd name="connsiteY11" fmla="*/ 8100 h 20907"/>
                <a:gd name="connsiteX12" fmla="*/ -336 w 36099"/>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99" h="20907">
                  <a:moveTo>
                    <a:pt x="-336" y="10291"/>
                  </a:moveTo>
                  <a:cubicBezTo>
                    <a:pt x="-232" y="11282"/>
                    <a:pt x="378" y="12148"/>
                    <a:pt x="1283" y="12577"/>
                  </a:cubicBezTo>
                  <a:lnTo>
                    <a:pt x="3569" y="13911"/>
                  </a:lnTo>
                  <a:lnTo>
                    <a:pt x="13856" y="19816"/>
                  </a:lnTo>
                  <a:cubicBezTo>
                    <a:pt x="16275" y="21054"/>
                    <a:pt x="19152" y="21054"/>
                    <a:pt x="21571" y="19816"/>
                  </a:cubicBezTo>
                  <a:lnTo>
                    <a:pt x="31858" y="13911"/>
                  </a:lnTo>
                  <a:lnTo>
                    <a:pt x="34144" y="12577"/>
                  </a:lnTo>
                  <a:cubicBezTo>
                    <a:pt x="35077" y="12187"/>
                    <a:pt x="35697" y="11301"/>
                    <a:pt x="35764" y="10291"/>
                  </a:cubicBezTo>
                  <a:cubicBezTo>
                    <a:pt x="35687" y="9310"/>
                    <a:pt x="35059" y="8462"/>
                    <a:pt x="34144" y="8100"/>
                  </a:cubicBezTo>
                  <a:lnTo>
                    <a:pt x="21571" y="766"/>
                  </a:lnTo>
                  <a:cubicBezTo>
                    <a:pt x="19152" y="-472"/>
                    <a:pt x="16275" y="-472"/>
                    <a:pt x="13856" y="766"/>
                  </a:cubicBezTo>
                  <a:lnTo>
                    <a:pt x="1283" y="8100"/>
                  </a:lnTo>
                  <a:cubicBezTo>
                    <a:pt x="397" y="8491"/>
                    <a:pt x="-222"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706" name="íṧ1iḑè">
              <a:extLst>
                <a:ext uri="{FF2B5EF4-FFF2-40B4-BE49-F238E27FC236}">
                  <a16:creationId xmlns:a16="http://schemas.microsoft.com/office/drawing/2014/main" id="{4A5EE799-FEDC-454A-B8F7-D23BCDB04B26}"/>
                </a:ext>
              </a:extLst>
            </p:cNvPr>
            <p:cNvSpPr/>
            <p:nvPr/>
          </p:nvSpPr>
          <p:spPr>
            <a:xfrm>
              <a:off x="5786395" y="5137296"/>
              <a:ext cx="105828" cy="61682"/>
            </a:xfrm>
            <a:custGeom>
              <a:avLst/>
              <a:gdLst>
                <a:gd name="connsiteX0" fmla="*/ 1141 w 34767"/>
                <a:gd name="connsiteY0" fmla="*/ 12196 h 20264"/>
                <a:gd name="connsiteX1" fmla="*/ 13333 w 34767"/>
                <a:gd name="connsiteY1" fmla="*/ 19244 h 20264"/>
                <a:gd name="connsiteX2" fmla="*/ 20763 w 34767"/>
                <a:gd name="connsiteY2" fmla="*/ 19244 h 20264"/>
                <a:gd name="connsiteX3" fmla="*/ 32859 w 34767"/>
                <a:gd name="connsiteY3" fmla="*/ 12196 h 20264"/>
                <a:gd name="connsiteX4" fmla="*/ 32859 w 34767"/>
                <a:gd name="connsiteY4" fmla="*/ 7910 h 20264"/>
                <a:gd name="connsiteX5" fmla="*/ 20953 w 34767"/>
                <a:gd name="connsiteY5" fmla="*/ 766 h 20264"/>
                <a:gd name="connsiteX6" fmla="*/ 13523 w 34767"/>
                <a:gd name="connsiteY6" fmla="*/ 766 h 20264"/>
                <a:gd name="connsiteX7" fmla="*/ 1331 w 34767"/>
                <a:gd name="connsiteY7" fmla="*/ 7719 h 20264"/>
                <a:gd name="connsiteX8" fmla="*/ 1141 w 34767"/>
                <a:gd name="connsiteY8" fmla="*/ 12196 h 20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7" h="20264">
                  <a:moveTo>
                    <a:pt x="1141" y="12196"/>
                  </a:moveTo>
                  <a:lnTo>
                    <a:pt x="13333" y="19244"/>
                  </a:lnTo>
                  <a:cubicBezTo>
                    <a:pt x="15676" y="20387"/>
                    <a:pt x="18419" y="20387"/>
                    <a:pt x="20763" y="19244"/>
                  </a:cubicBezTo>
                  <a:lnTo>
                    <a:pt x="32859" y="12196"/>
                  </a:lnTo>
                  <a:cubicBezTo>
                    <a:pt x="34955" y="11053"/>
                    <a:pt x="34955" y="9148"/>
                    <a:pt x="32859" y="7910"/>
                  </a:cubicBezTo>
                  <a:lnTo>
                    <a:pt x="20953" y="766"/>
                  </a:lnTo>
                  <a:cubicBezTo>
                    <a:pt x="18629" y="-472"/>
                    <a:pt x="15847" y="-472"/>
                    <a:pt x="13523" y="766"/>
                  </a:cubicBezTo>
                  <a:lnTo>
                    <a:pt x="1331" y="7719"/>
                  </a:lnTo>
                  <a:cubicBezTo>
                    <a:pt x="-859" y="8958"/>
                    <a:pt x="-859" y="10862"/>
                    <a:pt x="1141" y="12196"/>
                  </a:cubicBezTo>
                  <a:close/>
                </a:path>
              </a:pathLst>
            </a:custGeom>
            <a:solidFill>
              <a:srgbClr val="D1D9E8"/>
            </a:solidFill>
            <a:ln w="9525" cap="flat">
              <a:noFill/>
              <a:prstDash val="solid"/>
              <a:miter/>
            </a:ln>
          </p:spPr>
          <p:txBody>
            <a:bodyPr rtlCol="0" anchor="ctr"/>
            <a:lstStyle/>
            <a:p>
              <a:endParaRPr lang="zh-CN" altLang="en-US"/>
            </a:p>
          </p:txBody>
        </p:sp>
        <p:sp>
          <p:nvSpPr>
            <p:cNvPr id="707" name="ïṡľîḋé">
              <a:extLst>
                <a:ext uri="{FF2B5EF4-FFF2-40B4-BE49-F238E27FC236}">
                  <a16:creationId xmlns:a16="http://schemas.microsoft.com/office/drawing/2014/main" id="{7CC78594-D98B-42FD-844E-239DC8C7754A}"/>
                </a:ext>
              </a:extLst>
            </p:cNvPr>
            <p:cNvSpPr/>
            <p:nvPr/>
          </p:nvSpPr>
          <p:spPr>
            <a:xfrm>
              <a:off x="5784224" y="5167957"/>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4 w 36099"/>
                <a:gd name="connsiteY6" fmla="*/ 6981 h 17597"/>
                <a:gd name="connsiteX7" fmla="*/ 35764 w 36099"/>
                <a:gd name="connsiteY7" fmla="*/ -163 h 17597"/>
                <a:gd name="connsiteX8" fmla="*/ 34144 w 36099"/>
                <a:gd name="connsiteY8" fmla="*/ 2123 h 17597"/>
                <a:gd name="connsiteX9" fmla="*/ 31858 w 36099"/>
                <a:gd name="connsiteY9" fmla="*/ 3457 h 17597"/>
                <a:gd name="connsiteX10" fmla="*/ 21571 w 36099"/>
                <a:gd name="connsiteY10" fmla="*/ 9362 h 17597"/>
                <a:gd name="connsiteX11" fmla="*/ 13856 w 36099"/>
                <a:gd name="connsiteY11" fmla="*/ 9362 h 17597"/>
                <a:gd name="connsiteX12" fmla="*/ 3569 w 36099"/>
                <a:gd name="connsiteY12" fmla="*/ 3457 h 17597"/>
                <a:gd name="connsiteX13" fmla="*/ 1283 w 36099"/>
                <a:gd name="connsiteY13" fmla="*/ 2123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03" y="8029"/>
                    <a:pt x="407" y="8857"/>
                    <a:pt x="1283" y="9267"/>
                  </a:cubicBezTo>
                  <a:lnTo>
                    <a:pt x="13856" y="16506"/>
                  </a:lnTo>
                  <a:cubicBezTo>
                    <a:pt x="16275" y="17744"/>
                    <a:pt x="19152" y="17744"/>
                    <a:pt x="21571" y="16506"/>
                  </a:cubicBezTo>
                  <a:lnTo>
                    <a:pt x="34144" y="9267"/>
                  </a:lnTo>
                  <a:cubicBezTo>
                    <a:pt x="35059" y="8857"/>
                    <a:pt x="35678" y="7981"/>
                    <a:pt x="35764" y="6981"/>
                  </a:cubicBezTo>
                  <a:lnTo>
                    <a:pt x="35764" y="-163"/>
                  </a:lnTo>
                  <a:cubicBezTo>
                    <a:pt x="35697" y="847"/>
                    <a:pt x="35077" y="1733"/>
                    <a:pt x="34144" y="2123"/>
                  </a:cubicBezTo>
                  <a:lnTo>
                    <a:pt x="31858" y="3457"/>
                  </a:lnTo>
                  <a:lnTo>
                    <a:pt x="21571" y="9362"/>
                  </a:lnTo>
                  <a:cubicBezTo>
                    <a:pt x="19152" y="10601"/>
                    <a:pt x="16275" y="10601"/>
                    <a:pt x="13856" y="9362"/>
                  </a:cubicBezTo>
                  <a:lnTo>
                    <a:pt x="3569" y="3457"/>
                  </a:lnTo>
                  <a:lnTo>
                    <a:pt x="1283" y="2123"/>
                  </a:lnTo>
                  <a:cubicBezTo>
                    <a:pt x="378" y="1695"/>
                    <a:pt x="-232"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08" name="íṩ1íḍê">
              <a:extLst>
                <a:ext uri="{FF2B5EF4-FFF2-40B4-BE49-F238E27FC236}">
                  <a16:creationId xmlns:a16="http://schemas.microsoft.com/office/drawing/2014/main" id="{32DBC4E1-F499-4602-A8C0-21D91E071DC1}"/>
                </a:ext>
              </a:extLst>
            </p:cNvPr>
            <p:cNvSpPr/>
            <p:nvPr/>
          </p:nvSpPr>
          <p:spPr>
            <a:xfrm>
              <a:off x="5861634" y="5180787"/>
              <a:ext cx="109362" cy="63588"/>
            </a:xfrm>
            <a:custGeom>
              <a:avLst/>
              <a:gdLst>
                <a:gd name="connsiteX0" fmla="*/ -336 w 35928"/>
                <a:gd name="connsiteY0" fmla="*/ 10291 h 20890"/>
                <a:gd name="connsiteX1" fmla="*/ 1188 w 35928"/>
                <a:gd name="connsiteY1" fmla="*/ 12482 h 20890"/>
                <a:gd name="connsiteX2" fmla="*/ 3569 w 35928"/>
                <a:gd name="connsiteY2" fmla="*/ 13910 h 20890"/>
                <a:gd name="connsiteX3" fmla="*/ 13856 w 35928"/>
                <a:gd name="connsiteY3" fmla="*/ 19721 h 20890"/>
                <a:gd name="connsiteX4" fmla="*/ 21476 w 35928"/>
                <a:gd name="connsiteY4" fmla="*/ 19721 h 20890"/>
                <a:gd name="connsiteX5" fmla="*/ 31763 w 35928"/>
                <a:gd name="connsiteY5" fmla="*/ 13910 h 20890"/>
                <a:gd name="connsiteX6" fmla="*/ 34144 w 35928"/>
                <a:gd name="connsiteY6" fmla="*/ 12482 h 20890"/>
                <a:gd name="connsiteX7" fmla="*/ 35402 w 35928"/>
                <a:gd name="connsiteY7" fmla="*/ 9358 h 20890"/>
                <a:gd name="connsiteX8" fmla="*/ 34144 w 35928"/>
                <a:gd name="connsiteY8" fmla="*/ 8100 h 20890"/>
                <a:gd name="connsiteX9" fmla="*/ 21476 w 35928"/>
                <a:gd name="connsiteY9" fmla="*/ 766 h 20890"/>
                <a:gd name="connsiteX10" fmla="*/ 13856 w 35928"/>
                <a:gd name="connsiteY10" fmla="*/ 766 h 20890"/>
                <a:gd name="connsiteX11" fmla="*/ 1188 w 35928"/>
                <a:gd name="connsiteY11" fmla="*/ 8100 h 20890"/>
                <a:gd name="connsiteX12" fmla="*/ -336 w 35928"/>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928" h="20890">
                  <a:moveTo>
                    <a:pt x="-336" y="10291"/>
                  </a:moveTo>
                  <a:cubicBezTo>
                    <a:pt x="-298" y="11253"/>
                    <a:pt x="292" y="12110"/>
                    <a:pt x="1188" y="12482"/>
                  </a:cubicBezTo>
                  <a:lnTo>
                    <a:pt x="3569" y="13910"/>
                  </a:lnTo>
                  <a:lnTo>
                    <a:pt x="13856" y="19721"/>
                  </a:lnTo>
                  <a:cubicBezTo>
                    <a:pt x="16218" y="21064"/>
                    <a:pt x="19114" y="21064"/>
                    <a:pt x="21476" y="19721"/>
                  </a:cubicBezTo>
                  <a:lnTo>
                    <a:pt x="31763" y="13910"/>
                  </a:lnTo>
                  <a:lnTo>
                    <a:pt x="34144" y="12482"/>
                  </a:lnTo>
                  <a:cubicBezTo>
                    <a:pt x="35354" y="11968"/>
                    <a:pt x="35916" y="10567"/>
                    <a:pt x="35402" y="9358"/>
                  </a:cubicBezTo>
                  <a:cubicBezTo>
                    <a:pt x="35164" y="8796"/>
                    <a:pt x="34706" y="8338"/>
                    <a:pt x="34144" y="8100"/>
                  </a:cubicBezTo>
                  <a:lnTo>
                    <a:pt x="21476" y="766"/>
                  </a:lnTo>
                  <a:cubicBezTo>
                    <a:pt x="19085" y="-472"/>
                    <a:pt x="16247" y="-472"/>
                    <a:pt x="13856" y="766"/>
                  </a:cubicBezTo>
                  <a:lnTo>
                    <a:pt x="1188" y="8100"/>
                  </a:lnTo>
                  <a:cubicBezTo>
                    <a:pt x="292" y="8472"/>
                    <a:pt x="-298"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709" name="ïS1ïḍé">
              <a:extLst>
                <a:ext uri="{FF2B5EF4-FFF2-40B4-BE49-F238E27FC236}">
                  <a16:creationId xmlns:a16="http://schemas.microsoft.com/office/drawing/2014/main" id="{9D66241F-5565-4851-BC76-A89778898827}"/>
                </a:ext>
              </a:extLst>
            </p:cNvPr>
            <p:cNvSpPr/>
            <p:nvPr/>
          </p:nvSpPr>
          <p:spPr>
            <a:xfrm>
              <a:off x="5863519" y="5181944"/>
              <a:ext cx="105898" cy="61104"/>
            </a:xfrm>
            <a:custGeom>
              <a:avLst/>
              <a:gdLst>
                <a:gd name="connsiteX0" fmla="*/ 1235 w 34790"/>
                <a:gd name="connsiteY0" fmla="*/ 12006 h 20074"/>
                <a:gd name="connsiteX1" fmla="*/ 13332 w 34790"/>
                <a:gd name="connsiteY1" fmla="*/ 19054 h 20074"/>
                <a:gd name="connsiteX2" fmla="*/ 20762 w 34790"/>
                <a:gd name="connsiteY2" fmla="*/ 19054 h 20074"/>
                <a:gd name="connsiteX3" fmla="*/ 32954 w 34790"/>
                <a:gd name="connsiteY3" fmla="*/ 12006 h 20074"/>
                <a:gd name="connsiteX4" fmla="*/ 32954 w 34790"/>
                <a:gd name="connsiteY4" fmla="*/ 7719 h 20074"/>
                <a:gd name="connsiteX5" fmla="*/ 20762 w 34790"/>
                <a:gd name="connsiteY5" fmla="*/ 766 h 20074"/>
                <a:gd name="connsiteX6" fmla="*/ 13332 w 34790"/>
                <a:gd name="connsiteY6" fmla="*/ 766 h 20074"/>
                <a:gd name="connsiteX7" fmla="*/ 1235 w 34790"/>
                <a:gd name="connsiteY7" fmla="*/ 7719 h 20074"/>
                <a:gd name="connsiteX8" fmla="*/ 1235 w 34790"/>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4">
                  <a:moveTo>
                    <a:pt x="1235" y="12006"/>
                  </a:moveTo>
                  <a:lnTo>
                    <a:pt x="13332" y="19054"/>
                  </a:lnTo>
                  <a:cubicBezTo>
                    <a:pt x="15675" y="20197"/>
                    <a:pt x="18419" y="20197"/>
                    <a:pt x="20762" y="19054"/>
                  </a:cubicBezTo>
                  <a:lnTo>
                    <a:pt x="32954" y="12006"/>
                  </a:lnTo>
                  <a:cubicBezTo>
                    <a:pt x="34954" y="10863"/>
                    <a:pt x="34954" y="8958"/>
                    <a:pt x="32954" y="7719"/>
                  </a:cubicBezTo>
                  <a:lnTo>
                    <a:pt x="20762" y="766"/>
                  </a:lnTo>
                  <a:cubicBezTo>
                    <a:pt x="18437" y="-472"/>
                    <a:pt x="15656" y="-472"/>
                    <a:pt x="13332" y="766"/>
                  </a:cubicBezTo>
                  <a:lnTo>
                    <a:pt x="1235" y="7719"/>
                  </a:lnTo>
                  <a:cubicBezTo>
                    <a:pt x="-860" y="8958"/>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710" name="ïṡļîďê">
              <a:extLst>
                <a:ext uri="{FF2B5EF4-FFF2-40B4-BE49-F238E27FC236}">
                  <a16:creationId xmlns:a16="http://schemas.microsoft.com/office/drawing/2014/main" id="{0FAA26E7-5C15-4DD0-B9A3-032D8165BDF5}"/>
                </a:ext>
              </a:extLst>
            </p:cNvPr>
            <p:cNvSpPr/>
            <p:nvPr/>
          </p:nvSpPr>
          <p:spPr>
            <a:xfrm>
              <a:off x="5861634" y="5212606"/>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028 h 17597"/>
                <a:gd name="connsiteX9" fmla="*/ 31763 w 36004"/>
                <a:gd name="connsiteY9" fmla="*/ 3457 h 17597"/>
                <a:gd name="connsiteX10" fmla="*/ 21476 w 36004"/>
                <a:gd name="connsiteY10" fmla="*/ 9267 h 17597"/>
                <a:gd name="connsiteX11" fmla="*/ 13856 w 36004"/>
                <a:gd name="connsiteY11" fmla="*/ 9267 h 17597"/>
                <a:gd name="connsiteX12" fmla="*/ 3569 w 36004"/>
                <a:gd name="connsiteY12" fmla="*/ 3457 h 17597"/>
                <a:gd name="connsiteX13" fmla="*/ 1188 w 36004"/>
                <a:gd name="connsiteY13" fmla="*/ 2028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20"/>
                    <a:pt x="35583" y="7953"/>
                    <a:pt x="35668" y="6981"/>
                  </a:cubicBezTo>
                  <a:lnTo>
                    <a:pt x="35668" y="-163"/>
                  </a:lnTo>
                  <a:cubicBezTo>
                    <a:pt x="35630" y="800"/>
                    <a:pt x="35040" y="1657"/>
                    <a:pt x="34144" y="2028"/>
                  </a:cubicBezTo>
                  <a:lnTo>
                    <a:pt x="31763" y="3457"/>
                  </a:lnTo>
                  <a:lnTo>
                    <a:pt x="21476" y="9267"/>
                  </a:lnTo>
                  <a:cubicBezTo>
                    <a:pt x="19114" y="10610"/>
                    <a:pt x="16218" y="10610"/>
                    <a:pt x="13856" y="9267"/>
                  </a:cubicBezTo>
                  <a:lnTo>
                    <a:pt x="3569" y="3457"/>
                  </a:lnTo>
                  <a:lnTo>
                    <a:pt x="1188" y="2028"/>
                  </a:lnTo>
                  <a:cubicBezTo>
                    <a:pt x="292" y="1657"/>
                    <a:pt x="-298" y="800"/>
                    <a:pt x="-336" y="-163"/>
                  </a:cubicBezTo>
                  <a:close/>
                </a:path>
              </a:pathLst>
            </a:custGeom>
            <a:solidFill>
              <a:srgbClr val="BF4200"/>
            </a:solidFill>
            <a:ln w="9525" cap="flat">
              <a:noFill/>
              <a:prstDash val="solid"/>
              <a:miter/>
            </a:ln>
          </p:spPr>
          <p:txBody>
            <a:bodyPr rtlCol="0" anchor="ctr"/>
            <a:lstStyle/>
            <a:p>
              <a:endParaRPr lang="zh-CN" altLang="en-US"/>
            </a:p>
          </p:txBody>
        </p:sp>
        <p:sp>
          <p:nvSpPr>
            <p:cNvPr id="711" name="î$1ïḓé">
              <a:extLst>
                <a:ext uri="{FF2B5EF4-FFF2-40B4-BE49-F238E27FC236}">
                  <a16:creationId xmlns:a16="http://schemas.microsoft.com/office/drawing/2014/main" id="{36CC1510-06C2-4A52-91E8-9B6439EFC445}"/>
                </a:ext>
              </a:extLst>
            </p:cNvPr>
            <p:cNvSpPr/>
            <p:nvPr/>
          </p:nvSpPr>
          <p:spPr>
            <a:xfrm>
              <a:off x="5938177" y="5225436"/>
              <a:ext cx="109594" cy="63588"/>
            </a:xfrm>
            <a:custGeom>
              <a:avLst/>
              <a:gdLst>
                <a:gd name="connsiteX0" fmla="*/ -336 w 36004"/>
                <a:gd name="connsiteY0" fmla="*/ 10291 h 20890"/>
                <a:gd name="connsiteX1" fmla="*/ 1188 w 36004"/>
                <a:gd name="connsiteY1" fmla="*/ 12482 h 20890"/>
                <a:gd name="connsiteX2" fmla="*/ 3569 w 36004"/>
                <a:gd name="connsiteY2" fmla="*/ 13911 h 20890"/>
                <a:gd name="connsiteX3" fmla="*/ 13856 w 36004"/>
                <a:gd name="connsiteY3" fmla="*/ 19721 h 20890"/>
                <a:gd name="connsiteX4" fmla="*/ 21476 w 36004"/>
                <a:gd name="connsiteY4" fmla="*/ 19721 h 20890"/>
                <a:gd name="connsiteX5" fmla="*/ 31763 w 36004"/>
                <a:gd name="connsiteY5" fmla="*/ 13911 h 20890"/>
                <a:gd name="connsiteX6" fmla="*/ 34144 w 36004"/>
                <a:gd name="connsiteY6" fmla="*/ 12482 h 20890"/>
                <a:gd name="connsiteX7" fmla="*/ 35668 w 36004"/>
                <a:gd name="connsiteY7" fmla="*/ 10291 h 20890"/>
                <a:gd name="connsiteX8" fmla="*/ 34144 w 36004"/>
                <a:gd name="connsiteY8" fmla="*/ 8005 h 20890"/>
                <a:gd name="connsiteX9" fmla="*/ 21476 w 36004"/>
                <a:gd name="connsiteY9" fmla="*/ 766 h 20890"/>
                <a:gd name="connsiteX10" fmla="*/ 13856 w 36004"/>
                <a:gd name="connsiteY10" fmla="*/ 766 h 20890"/>
                <a:gd name="connsiteX11" fmla="*/ 1188 w 36004"/>
                <a:gd name="connsiteY11" fmla="*/ 8005 h 20890"/>
                <a:gd name="connsiteX12" fmla="*/ -336 w 36004"/>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291"/>
                  </a:moveTo>
                  <a:cubicBezTo>
                    <a:pt x="-279" y="11244"/>
                    <a:pt x="311" y="12091"/>
                    <a:pt x="1188" y="12482"/>
                  </a:cubicBezTo>
                  <a:lnTo>
                    <a:pt x="3569" y="13911"/>
                  </a:lnTo>
                  <a:lnTo>
                    <a:pt x="13856" y="19721"/>
                  </a:lnTo>
                  <a:cubicBezTo>
                    <a:pt x="16218" y="21064"/>
                    <a:pt x="19114" y="21064"/>
                    <a:pt x="21476" y="19721"/>
                  </a:cubicBezTo>
                  <a:lnTo>
                    <a:pt x="31763" y="13911"/>
                  </a:lnTo>
                  <a:lnTo>
                    <a:pt x="34144" y="12482"/>
                  </a:lnTo>
                  <a:cubicBezTo>
                    <a:pt x="35021" y="12091"/>
                    <a:pt x="35611" y="11253"/>
                    <a:pt x="35668" y="10291"/>
                  </a:cubicBezTo>
                  <a:cubicBezTo>
                    <a:pt x="35602" y="9310"/>
                    <a:pt x="35021" y="8443"/>
                    <a:pt x="34144" y="8005"/>
                  </a:cubicBezTo>
                  <a:lnTo>
                    <a:pt x="21476" y="766"/>
                  </a:lnTo>
                  <a:cubicBezTo>
                    <a:pt x="19085" y="-472"/>
                    <a:pt x="16247" y="-472"/>
                    <a:pt x="13856" y="766"/>
                  </a:cubicBezTo>
                  <a:lnTo>
                    <a:pt x="1188" y="8005"/>
                  </a:lnTo>
                  <a:cubicBezTo>
                    <a:pt x="311" y="8443"/>
                    <a:pt x="-270" y="9310"/>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712" name="íśļídè">
              <a:extLst>
                <a:ext uri="{FF2B5EF4-FFF2-40B4-BE49-F238E27FC236}">
                  <a16:creationId xmlns:a16="http://schemas.microsoft.com/office/drawing/2014/main" id="{E1AC06DC-F730-4EA8-B4CD-4F038A553FBD}"/>
                </a:ext>
              </a:extLst>
            </p:cNvPr>
            <p:cNvSpPr/>
            <p:nvPr/>
          </p:nvSpPr>
          <p:spPr>
            <a:xfrm>
              <a:off x="5939991" y="5226595"/>
              <a:ext cx="106766" cy="61101"/>
            </a:xfrm>
            <a:custGeom>
              <a:avLst/>
              <a:gdLst>
                <a:gd name="connsiteX0" fmla="*/ 1450 w 35075"/>
                <a:gd name="connsiteY0" fmla="*/ 12006 h 20073"/>
                <a:gd name="connsiteX1" fmla="*/ 13642 w 35075"/>
                <a:gd name="connsiteY1" fmla="*/ 19054 h 20073"/>
                <a:gd name="connsiteX2" fmla="*/ 21071 w 35075"/>
                <a:gd name="connsiteY2" fmla="*/ 19054 h 20073"/>
                <a:gd name="connsiteX3" fmla="*/ 33168 w 35075"/>
                <a:gd name="connsiteY3" fmla="*/ 12006 h 20073"/>
                <a:gd name="connsiteX4" fmla="*/ 33168 w 35075"/>
                <a:gd name="connsiteY4" fmla="*/ 7719 h 20073"/>
                <a:gd name="connsiteX5" fmla="*/ 21071 w 35075"/>
                <a:gd name="connsiteY5" fmla="*/ 766 h 20073"/>
                <a:gd name="connsiteX6" fmla="*/ 13642 w 35075"/>
                <a:gd name="connsiteY6" fmla="*/ 766 h 20073"/>
                <a:gd name="connsiteX7" fmla="*/ 1450 w 35075"/>
                <a:gd name="connsiteY7" fmla="*/ 7719 h 20073"/>
                <a:gd name="connsiteX8" fmla="*/ 1450 w 35075"/>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075" h="20073">
                  <a:moveTo>
                    <a:pt x="1450" y="12006"/>
                  </a:moveTo>
                  <a:lnTo>
                    <a:pt x="13642" y="19054"/>
                  </a:lnTo>
                  <a:cubicBezTo>
                    <a:pt x="15985" y="20197"/>
                    <a:pt x="18728" y="20197"/>
                    <a:pt x="21071" y="19054"/>
                  </a:cubicBezTo>
                  <a:lnTo>
                    <a:pt x="33168" y="12006"/>
                  </a:lnTo>
                  <a:cubicBezTo>
                    <a:pt x="35263" y="10863"/>
                    <a:pt x="35263" y="8957"/>
                    <a:pt x="33168" y="7719"/>
                  </a:cubicBezTo>
                  <a:lnTo>
                    <a:pt x="21071" y="766"/>
                  </a:lnTo>
                  <a:cubicBezTo>
                    <a:pt x="18747" y="-472"/>
                    <a:pt x="15966" y="-472"/>
                    <a:pt x="13642" y="766"/>
                  </a:cubicBezTo>
                  <a:lnTo>
                    <a:pt x="1450" y="7719"/>
                  </a:lnTo>
                  <a:cubicBezTo>
                    <a:pt x="-932" y="8957"/>
                    <a:pt x="-932" y="10863"/>
                    <a:pt x="1450" y="12006"/>
                  </a:cubicBezTo>
                  <a:close/>
                </a:path>
              </a:pathLst>
            </a:custGeom>
            <a:solidFill>
              <a:srgbClr val="D1D9E8"/>
            </a:solidFill>
            <a:ln w="9525" cap="flat">
              <a:noFill/>
              <a:prstDash val="solid"/>
              <a:miter/>
            </a:ln>
          </p:spPr>
          <p:txBody>
            <a:bodyPr rtlCol="0" anchor="ctr"/>
            <a:lstStyle/>
            <a:p>
              <a:endParaRPr lang="zh-CN" altLang="en-US"/>
            </a:p>
          </p:txBody>
        </p:sp>
        <p:sp>
          <p:nvSpPr>
            <p:cNvPr id="713" name="íṡļiḓe">
              <a:extLst>
                <a:ext uri="{FF2B5EF4-FFF2-40B4-BE49-F238E27FC236}">
                  <a16:creationId xmlns:a16="http://schemas.microsoft.com/office/drawing/2014/main" id="{ABCBD151-9D9E-46AB-9A37-DB31ACD09BDE}"/>
                </a:ext>
              </a:extLst>
            </p:cNvPr>
            <p:cNvSpPr/>
            <p:nvPr/>
          </p:nvSpPr>
          <p:spPr>
            <a:xfrm>
              <a:off x="5938177" y="5257257"/>
              <a:ext cx="109594" cy="53564"/>
            </a:xfrm>
            <a:custGeom>
              <a:avLst/>
              <a:gdLst>
                <a:gd name="connsiteX0" fmla="*/ -336 w 36004"/>
                <a:gd name="connsiteY0" fmla="*/ -163 h 17597"/>
                <a:gd name="connsiteX1" fmla="*/ -336 w 36004"/>
                <a:gd name="connsiteY1" fmla="*/ 6981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028 h 17597"/>
                <a:gd name="connsiteX9" fmla="*/ 31763 w 36004"/>
                <a:gd name="connsiteY9" fmla="*/ 3457 h 17597"/>
                <a:gd name="connsiteX10" fmla="*/ 21476 w 36004"/>
                <a:gd name="connsiteY10" fmla="*/ 9267 h 17597"/>
                <a:gd name="connsiteX11" fmla="*/ 13856 w 36004"/>
                <a:gd name="connsiteY11" fmla="*/ 9267 h 17597"/>
                <a:gd name="connsiteX12" fmla="*/ 3569 w 36004"/>
                <a:gd name="connsiteY12" fmla="*/ 3457 h 17597"/>
                <a:gd name="connsiteX13" fmla="*/ 1188 w 36004"/>
                <a:gd name="connsiteY13" fmla="*/ 2028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6981"/>
                  </a:lnTo>
                  <a:cubicBezTo>
                    <a:pt x="-270" y="7962"/>
                    <a:pt x="311" y="8829"/>
                    <a:pt x="1188" y="9267"/>
                  </a:cubicBezTo>
                  <a:lnTo>
                    <a:pt x="13856" y="16506"/>
                  </a:lnTo>
                  <a:cubicBezTo>
                    <a:pt x="16247" y="17744"/>
                    <a:pt x="19085" y="17744"/>
                    <a:pt x="21476" y="16506"/>
                  </a:cubicBezTo>
                  <a:lnTo>
                    <a:pt x="34144" y="9267"/>
                  </a:lnTo>
                  <a:cubicBezTo>
                    <a:pt x="35011" y="8819"/>
                    <a:pt x="35582" y="7953"/>
                    <a:pt x="35668" y="6981"/>
                  </a:cubicBezTo>
                  <a:lnTo>
                    <a:pt x="35668" y="-163"/>
                  </a:lnTo>
                  <a:cubicBezTo>
                    <a:pt x="35611" y="790"/>
                    <a:pt x="35021" y="1638"/>
                    <a:pt x="34144" y="2028"/>
                  </a:cubicBezTo>
                  <a:lnTo>
                    <a:pt x="31763" y="3457"/>
                  </a:lnTo>
                  <a:lnTo>
                    <a:pt x="21476" y="9267"/>
                  </a:lnTo>
                  <a:cubicBezTo>
                    <a:pt x="19114" y="10610"/>
                    <a:pt x="16218" y="10610"/>
                    <a:pt x="13856" y="9267"/>
                  </a:cubicBezTo>
                  <a:lnTo>
                    <a:pt x="3569" y="3457"/>
                  </a:lnTo>
                  <a:lnTo>
                    <a:pt x="1188" y="2028"/>
                  </a:lnTo>
                  <a:cubicBezTo>
                    <a:pt x="311" y="1638"/>
                    <a:pt x="-279" y="800"/>
                    <a:pt x="-336" y="-163"/>
                  </a:cubicBezTo>
                  <a:close/>
                </a:path>
              </a:pathLst>
            </a:custGeom>
            <a:solidFill>
              <a:srgbClr val="BF4200"/>
            </a:solidFill>
            <a:ln w="9525" cap="flat">
              <a:noFill/>
              <a:prstDash val="solid"/>
              <a:miter/>
            </a:ln>
          </p:spPr>
          <p:txBody>
            <a:bodyPr rtlCol="0" anchor="ctr"/>
            <a:lstStyle/>
            <a:p>
              <a:endParaRPr lang="zh-CN" altLang="en-US"/>
            </a:p>
          </p:txBody>
        </p:sp>
        <p:sp>
          <p:nvSpPr>
            <p:cNvPr id="714" name="ïṥ1iḓè">
              <a:extLst>
                <a:ext uri="{FF2B5EF4-FFF2-40B4-BE49-F238E27FC236}">
                  <a16:creationId xmlns:a16="http://schemas.microsoft.com/office/drawing/2014/main" id="{88DA513E-BD49-44D4-AAD5-CD6C1BA9C2EC}"/>
                </a:ext>
              </a:extLst>
            </p:cNvPr>
            <p:cNvSpPr/>
            <p:nvPr/>
          </p:nvSpPr>
          <p:spPr>
            <a:xfrm>
              <a:off x="6016172" y="5270087"/>
              <a:ext cx="109594" cy="63588"/>
            </a:xfrm>
            <a:custGeom>
              <a:avLst/>
              <a:gdLst>
                <a:gd name="connsiteX0" fmla="*/ -336 w 36004"/>
                <a:gd name="connsiteY0" fmla="*/ 10196 h 20890"/>
                <a:gd name="connsiteX1" fmla="*/ 1283 w 36004"/>
                <a:gd name="connsiteY1" fmla="*/ 12482 h 20890"/>
                <a:gd name="connsiteX2" fmla="*/ 3569 w 36004"/>
                <a:gd name="connsiteY2" fmla="*/ 13815 h 20890"/>
                <a:gd name="connsiteX3" fmla="*/ 13856 w 36004"/>
                <a:gd name="connsiteY3" fmla="*/ 19721 h 20890"/>
                <a:gd name="connsiteX4" fmla="*/ 21571 w 36004"/>
                <a:gd name="connsiteY4" fmla="*/ 19721 h 20890"/>
                <a:gd name="connsiteX5" fmla="*/ 31858 w 36004"/>
                <a:gd name="connsiteY5" fmla="*/ 13815 h 20890"/>
                <a:gd name="connsiteX6" fmla="*/ 34144 w 36004"/>
                <a:gd name="connsiteY6" fmla="*/ 12482 h 20890"/>
                <a:gd name="connsiteX7" fmla="*/ 35668 w 36004"/>
                <a:gd name="connsiteY7" fmla="*/ 10196 h 20890"/>
                <a:gd name="connsiteX8" fmla="*/ 34144 w 36004"/>
                <a:gd name="connsiteY8" fmla="*/ 8005 h 20890"/>
                <a:gd name="connsiteX9" fmla="*/ 21571 w 36004"/>
                <a:gd name="connsiteY9" fmla="*/ 766 h 20890"/>
                <a:gd name="connsiteX10" fmla="*/ 13856 w 36004"/>
                <a:gd name="connsiteY10" fmla="*/ 766 h 20890"/>
                <a:gd name="connsiteX11" fmla="*/ 1283 w 36004"/>
                <a:gd name="connsiteY11" fmla="*/ 8005 h 20890"/>
                <a:gd name="connsiteX12" fmla="*/ -336 w 36004"/>
                <a:gd name="connsiteY12" fmla="*/ 10196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196"/>
                  </a:moveTo>
                  <a:cubicBezTo>
                    <a:pt x="-298" y="11215"/>
                    <a:pt x="340" y="12110"/>
                    <a:pt x="1283" y="12482"/>
                  </a:cubicBezTo>
                  <a:lnTo>
                    <a:pt x="3569" y="13815"/>
                  </a:lnTo>
                  <a:lnTo>
                    <a:pt x="13856" y="19721"/>
                  </a:lnTo>
                  <a:cubicBezTo>
                    <a:pt x="16256" y="21064"/>
                    <a:pt x="19171" y="21064"/>
                    <a:pt x="21571" y="19721"/>
                  </a:cubicBezTo>
                  <a:lnTo>
                    <a:pt x="31858" y="13815"/>
                  </a:lnTo>
                  <a:lnTo>
                    <a:pt x="34144" y="12482"/>
                  </a:lnTo>
                  <a:cubicBezTo>
                    <a:pt x="35049" y="12082"/>
                    <a:pt x="35640" y="11186"/>
                    <a:pt x="35668" y="10196"/>
                  </a:cubicBezTo>
                  <a:cubicBezTo>
                    <a:pt x="35573" y="9253"/>
                    <a:pt x="34992" y="8424"/>
                    <a:pt x="34144" y="8005"/>
                  </a:cubicBezTo>
                  <a:lnTo>
                    <a:pt x="21571" y="766"/>
                  </a:lnTo>
                  <a:cubicBezTo>
                    <a:pt x="19152" y="-472"/>
                    <a:pt x="16275" y="-472"/>
                    <a:pt x="13856" y="766"/>
                  </a:cubicBezTo>
                  <a:lnTo>
                    <a:pt x="1283" y="8005"/>
                  </a:lnTo>
                  <a:cubicBezTo>
                    <a:pt x="378" y="8386"/>
                    <a:pt x="-241" y="9224"/>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715" name="ïṣľîḋe">
              <a:extLst>
                <a:ext uri="{FF2B5EF4-FFF2-40B4-BE49-F238E27FC236}">
                  <a16:creationId xmlns:a16="http://schemas.microsoft.com/office/drawing/2014/main" id="{FDB4F631-4094-441E-8CCA-6713AA610FCE}"/>
                </a:ext>
              </a:extLst>
            </p:cNvPr>
            <p:cNvSpPr/>
            <p:nvPr/>
          </p:nvSpPr>
          <p:spPr>
            <a:xfrm>
              <a:off x="6018302" y="5271247"/>
              <a:ext cx="105618" cy="61101"/>
            </a:xfrm>
            <a:custGeom>
              <a:avLst/>
              <a:gdLst>
                <a:gd name="connsiteX0" fmla="*/ 1154 w 34698"/>
                <a:gd name="connsiteY0" fmla="*/ 12006 h 20073"/>
                <a:gd name="connsiteX1" fmla="*/ 13251 w 34698"/>
                <a:gd name="connsiteY1" fmla="*/ 19054 h 20073"/>
                <a:gd name="connsiteX2" fmla="*/ 20680 w 34698"/>
                <a:gd name="connsiteY2" fmla="*/ 19054 h 20073"/>
                <a:gd name="connsiteX3" fmla="*/ 32872 w 34698"/>
                <a:gd name="connsiteY3" fmla="*/ 12006 h 20073"/>
                <a:gd name="connsiteX4" fmla="*/ 34215 w 34698"/>
                <a:gd name="connsiteY4" fmla="*/ 9072 h 20073"/>
                <a:gd name="connsiteX5" fmla="*/ 32872 w 34698"/>
                <a:gd name="connsiteY5" fmla="*/ 7719 h 20073"/>
                <a:gd name="connsiteX6" fmla="*/ 20680 w 34698"/>
                <a:gd name="connsiteY6" fmla="*/ 766 h 20073"/>
                <a:gd name="connsiteX7" fmla="*/ 13251 w 34698"/>
                <a:gd name="connsiteY7" fmla="*/ 766 h 20073"/>
                <a:gd name="connsiteX8" fmla="*/ 1154 w 34698"/>
                <a:gd name="connsiteY8" fmla="*/ 7719 h 20073"/>
                <a:gd name="connsiteX9" fmla="*/ -189 w 34698"/>
                <a:gd name="connsiteY9" fmla="*/ 10653 h 20073"/>
                <a:gd name="connsiteX10" fmla="*/ 1154 w 34698"/>
                <a:gd name="connsiteY10"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698" h="20073">
                  <a:moveTo>
                    <a:pt x="1154" y="12006"/>
                  </a:moveTo>
                  <a:lnTo>
                    <a:pt x="13251" y="19054"/>
                  </a:lnTo>
                  <a:cubicBezTo>
                    <a:pt x="15594" y="20197"/>
                    <a:pt x="18337" y="20197"/>
                    <a:pt x="20680" y="19054"/>
                  </a:cubicBezTo>
                  <a:lnTo>
                    <a:pt x="32872" y="12006"/>
                  </a:lnTo>
                  <a:cubicBezTo>
                    <a:pt x="34053" y="11567"/>
                    <a:pt x="34663" y="10253"/>
                    <a:pt x="34215" y="9072"/>
                  </a:cubicBezTo>
                  <a:cubicBezTo>
                    <a:pt x="33987" y="8443"/>
                    <a:pt x="33491" y="7948"/>
                    <a:pt x="32872" y="7719"/>
                  </a:cubicBezTo>
                  <a:lnTo>
                    <a:pt x="20680" y="766"/>
                  </a:lnTo>
                  <a:cubicBezTo>
                    <a:pt x="18356" y="-472"/>
                    <a:pt x="15575" y="-472"/>
                    <a:pt x="13251" y="766"/>
                  </a:cubicBezTo>
                  <a:lnTo>
                    <a:pt x="1154" y="7719"/>
                  </a:lnTo>
                  <a:cubicBezTo>
                    <a:pt x="-27" y="8158"/>
                    <a:pt x="-637" y="9472"/>
                    <a:pt x="-189" y="10653"/>
                  </a:cubicBezTo>
                  <a:cubicBezTo>
                    <a:pt x="40" y="11281"/>
                    <a:pt x="535" y="11777"/>
                    <a:pt x="1154" y="12006"/>
                  </a:cubicBezTo>
                  <a:close/>
                </a:path>
              </a:pathLst>
            </a:custGeom>
            <a:solidFill>
              <a:srgbClr val="D1D9E8"/>
            </a:solidFill>
            <a:ln w="9525" cap="flat">
              <a:noFill/>
              <a:prstDash val="solid"/>
              <a:miter/>
            </a:ln>
          </p:spPr>
          <p:txBody>
            <a:bodyPr rtlCol="0" anchor="ctr"/>
            <a:lstStyle/>
            <a:p>
              <a:endParaRPr lang="zh-CN" altLang="en-US"/>
            </a:p>
          </p:txBody>
        </p:sp>
        <p:sp>
          <p:nvSpPr>
            <p:cNvPr id="716" name="ïṡľíďe">
              <a:extLst>
                <a:ext uri="{FF2B5EF4-FFF2-40B4-BE49-F238E27FC236}">
                  <a16:creationId xmlns:a16="http://schemas.microsoft.com/office/drawing/2014/main" id="{9BAFDF80-C007-4444-8CA6-988D5E1FE504}"/>
                </a:ext>
              </a:extLst>
            </p:cNvPr>
            <p:cNvSpPr/>
            <p:nvPr/>
          </p:nvSpPr>
          <p:spPr>
            <a:xfrm>
              <a:off x="6016172" y="5301616"/>
              <a:ext cx="109594" cy="53801"/>
            </a:xfrm>
            <a:custGeom>
              <a:avLst/>
              <a:gdLst>
                <a:gd name="connsiteX0" fmla="*/ -336 w 36004"/>
                <a:gd name="connsiteY0" fmla="*/ -163 h 17675"/>
                <a:gd name="connsiteX1" fmla="*/ -336 w 36004"/>
                <a:gd name="connsiteY1" fmla="*/ 7076 h 17675"/>
                <a:gd name="connsiteX2" fmla="*/ 1283 w 36004"/>
                <a:gd name="connsiteY2" fmla="*/ 9267 h 17675"/>
                <a:gd name="connsiteX3" fmla="*/ 13856 w 36004"/>
                <a:gd name="connsiteY3" fmla="*/ 16506 h 17675"/>
                <a:gd name="connsiteX4" fmla="*/ 21571 w 36004"/>
                <a:gd name="connsiteY4" fmla="*/ 16506 h 17675"/>
                <a:gd name="connsiteX5" fmla="*/ 34144 w 36004"/>
                <a:gd name="connsiteY5" fmla="*/ 9267 h 17675"/>
                <a:gd name="connsiteX6" fmla="*/ 35668 w 36004"/>
                <a:gd name="connsiteY6" fmla="*/ 7076 h 17675"/>
                <a:gd name="connsiteX7" fmla="*/ 35668 w 36004"/>
                <a:gd name="connsiteY7" fmla="*/ -163 h 17675"/>
                <a:gd name="connsiteX8" fmla="*/ 34144 w 36004"/>
                <a:gd name="connsiteY8" fmla="*/ 2123 h 17675"/>
                <a:gd name="connsiteX9" fmla="*/ 31858 w 36004"/>
                <a:gd name="connsiteY9" fmla="*/ 3457 h 17675"/>
                <a:gd name="connsiteX10" fmla="*/ 21571 w 36004"/>
                <a:gd name="connsiteY10" fmla="*/ 9362 h 17675"/>
                <a:gd name="connsiteX11" fmla="*/ 13856 w 36004"/>
                <a:gd name="connsiteY11" fmla="*/ 9362 h 17675"/>
                <a:gd name="connsiteX12" fmla="*/ 3569 w 36004"/>
                <a:gd name="connsiteY12" fmla="*/ 3457 h 17675"/>
                <a:gd name="connsiteX13" fmla="*/ 1283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79" y="8067"/>
                    <a:pt x="349" y="8924"/>
                    <a:pt x="1283" y="9267"/>
                  </a:cubicBezTo>
                  <a:lnTo>
                    <a:pt x="13856" y="16506"/>
                  </a:lnTo>
                  <a:cubicBezTo>
                    <a:pt x="16256" y="17849"/>
                    <a:pt x="19171" y="17849"/>
                    <a:pt x="21571" y="16506"/>
                  </a:cubicBezTo>
                  <a:lnTo>
                    <a:pt x="34144" y="9267"/>
                  </a:lnTo>
                  <a:cubicBezTo>
                    <a:pt x="35021" y="8877"/>
                    <a:pt x="35611" y="8029"/>
                    <a:pt x="35668" y="7076"/>
                  </a:cubicBezTo>
                  <a:lnTo>
                    <a:pt x="35668" y="-163"/>
                  </a:lnTo>
                  <a:cubicBezTo>
                    <a:pt x="35640" y="828"/>
                    <a:pt x="35049" y="1723"/>
                    <a:pt x="34144" y="2123"/>
                  </a:cubicBezTo>
                  <a:lnTo>
                    <a:pt x="31858" y="3457"/>
                  </a:lnTo>
                  <a:lnTo>
                    <a:pt x="21571" y="9362"/>
                  </a:lnTo>
                  <a:cubicBezTo>
                    <a:pt x="19171" y="10705"/>
                    <a:pt x="16256" y="10705"/>
                    <a:pt x="13856" y="9362"/>
                  </a:cubicBezTo>
                  <a:lnTo>
                    <a:pt x="3569" y="3457"/>
                  </a:lnTo>
                  <a:lnTo>
                    <a:pt x="1283" y="2123"/>
                  </a:lnTo>
                  <a:cubicBezTo>
                    <a:pt x="340" y="1752"/>
                    <a:pt x="-298" y="856"/>
                    <a:pt x="-336" y="-163"/>
                  </a:cubicBezTo>
                  <a:close/>
                </a:path>
              </a:pathLst>
            </a:custGeom>
            <a:solidFill>
              <a:srgbClr val="BF4200"/>
            </a:solidFill>
            <a:ln w="9525" cap="flat">
              <a:noFill/>
              <a:prstDash val="solid"/>
              <a:miter/>
            </a:ln>
          </p:spPr>
          <p:txBody>
            <a:bodyPr rtlCol="0" anchor="ctr"/>
            <a:lstStyle/>
            <a:p>
              <a:endParaRPr lang="zh-CN" altLang="en-US"/>
            </a:p>
          </p:txBody>
        </p:sp>
        <p:sp>
          <p:nvSpPr>
            <p:cNvPr id="717" name="îṩḷíďe">
              <a:extLst>
                <a:ext uri="{FF2B5EF4-FFF2-40B4-BE49-F238E27FC236}">
                  <a16:creationId xmlns:a16="http://schemas.microsoft.com/office/drawing/2014/main" id="{A16F4784-E2F8-4468-BD19-2E135638C365}"/>
                </a:ext>
              </a:extLst>
            </p:cNvPr>
            <p:cNvSpPr/>
            <p:nvPr/>
          </p:nvSpPr>
          <p:spPr>
            <a:xfrm>
              <a:off x="6093582" y="5314735"/>
              <a:ext cx="109740" cy="63588"/>
            </a:xfrm>
            <a:custGeom>
              <a:avLst/>
              <a:gdLst>
                <a:gd name="connsiteX0" fmla="*/ -336 w 36052"/>
                <a:gd name="connsiteY0" fmla="*/ 10196 h 20890"/>
                <a:gd name="connsiteX1" fmla="*/ 1188 w 36052"/>
                <a:gd name="connsiteY1" fmla="*/ 12482 h 20890"/>
                <a:gd name="connsiteX2" fmla="*/ 3569 w 36052"/>
                <a:gd name="connsiteY2" fmla="*/ 13815 h 20890"/>
                <a:gd name="connsiteX3" fmla="*/ 13856 w 36052"/>
                <a:gd name="connsiteY3" fmla="*/ 19721 h 20890"/>
                <a:gd name="connsiteX4" fmla="*/ 21476 w 36052"/>
                <a:gd name="connsiteY4" fmla="*/ 19721 h 20890"/>
                <a:gd name="connsiteX5" fmla="*/ 31763 w 36052"/>
                <a:gd name="connsiteY5" fmla="*/ 13815 h 20890"/>
                <a:gd name="connsiteX6" fmla="*/ 34144 w 36052"/>
                <a:gd name="connsiteY6" fmla="*/ 12482 h 20890"/>
                <a:gd name="connsiteX7" fmla="*/ 35573 w 36052"/>
                <a:gd name="connsiteY7" fmla="*/ 9434 h 20890"/>
                <a:gd name="connsiteX8" fmla="*/ 34144 w 36052"/>
                <a:gd name="connsiteY8" fmla="*/ 8005 h 20890"/>
                <a:gd name="connsiteX9" fmla="*/ 21476 w 36052"/>
                <a:gd name="connsiteY9" fmla="*/ 766 h 20890"/>
                <a:gd name="connsiteX10" fmla="*/ 13856 w 36052"/>
                <a:gd name="connsiteY10" fmla="*/ 766 h 20890"/>
                <a:gd name="connsiteX11" fmla="*/ 1188 w 36052"/>
                <a:gd name="connsiteY11" fmla="*/ 8005 h 20890"/>
                <a:gd name="connsiteX12" fmla="*/ -336 w 36052"/>
                <a:gd name="connsiteY12" fmla="*/ 10196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90">
                  <a:moveTo>
                    <a:pt x="-336" y="10196"/>
                  </a:moveTo>
                  <a:cubicBezTo>
                    <a:pt x="-269" y="11177"/>
                    <a:pt x="312" y="12044"/>
                    <a:pt x="1188" y="12482"/>
                  </a:cubicBezTo>
                  <a:lnTo>
                    <a:pt x="3569" y="13815"/>
                  </a:lnTo>
                  <a:lnTo>
                    <a:pt x="13856" y="19721"/>
                  </a:lnTo>
                  <a:cubicBezTo>
                    <a:pt x="16218" y="21064"/>
                    <a:pt x="19114" y="21064"/>
                    <a:pt x="21476" y="19721"/>
                  </a:cubicBezTo>
                  <a:lnTo>
                    <a:pt x="31763" y="13815"/>
                  </a:lnTo>
                  <a:lnTo>
                    <a:pt x="34144" y="12482"/>
                  </a:lnTo>
                  <a:cubicBezTo>
                    <a:pt x="35382" y="12034"/>
                    <a:pt x="36021" y="10663"/>
                    <a:pt x="35573" y="9434"/>
                  </a:cubicBezTo>
                  <a:cubicBezTo>
                    <a:pt x="35325" y="8767"/>
                    <a:pt x="34811" y="8243"/>
                    <a:pt x="34144" y="8005"/>
                  </a:cubicBezTo>
                  <a:lnTo>
                    <a:pt x="21476" y="766"/>
                  </a:lnTo>
                  <a:cubicBezTo>
                    <a:pt x="19085" y="-472"/>
                    <a:pt x="16247" y="-472"/>
                    <a:pt x="13856" y="766"/>
                  </a:cubicBezTo>
                  <a:lnTo>
                    <a:pt x="1188" y="8005"/>
                  </a:lnTo>
                  <a:cubicBezTo>
                    <a:pt x="340" y="8424"/>
                    <a:pt x="-241" y="925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718" name="iṡḻïḍe">
              <a:extLst>
                <a:ext uri="{FF2B5EF4-FFF2-40B4-BE49-F238E27FC236}">
                  <a16:creationId xmlns:a16="http://schemas.microsoft.com/office/drawing/2014/main" id="{C4177F47-5A50-47EE-AD7D-DDCB2E3BE2F5}"/>
                </a:ext>
              </a:extLst>
            </p:cNvPr>
            <p:cNvSpPr/>
            <p:nvPr/>
          </p:nvSpPr>
          <p:spPr>
            <a:xfrm>
              <a:off x="6095426" y="5315822"/>
              <a:ext cx="105618" cy="61174"/>
            </a:xfrm>
            <a:custGeom>
              <a:avLst/>
              <a:gdLst>
                <a:gd name="connsiteX0" fmla="*/ 1154 w 34698"/>
                <a:gd name="connsiteY0" fmla="*/ 12030 h 20097"/>
                <a:gd name="connsiteX1" fmla="*/ 13346 w 34698"/>
                <a:gd name="connsiteY1" fmla="*/ 19078 h 20097"/>
                <a:gd name="connsiteX2" fmla="*/ 20776 w 34698"/>
                <a:gd name="connsiteY2" fmla="*/ 19078 h 20097"/>
                <a:gd name="connsiteX3" fmla="*/ 32872 w 34698"/>
                <a:gd name="connsiteY3" fmla="*/ 12030 h 20097"/>
                <a:gd name="connsiteX4" fmla="*/ 34215 w 34698"/>
                <a:gd name="connsiteY4" fmla="*/ 9096 h 20097"/>
                <a:gd name="connsiteX5" fmla="*/ 32872 w 34698"/>
                <a:gd name="connsiteY5" fmla="*/ 7743 h 20097"/>
                <a:gd name="connsiteX6" fmla="*/ 20776 w 34698"/>
                <a:gd name="connsiteY6" fmla="*/ 695 h 20097"/>
                <a:gd name="connsiteX7" fmla="*/ 13346 w 34698"/>
                <a:gd name="connsiteY7" fmla="*/ 695 h 20097"/>
                <a:gd name="connsiteX8" fmla="*/ 1154 w 34698"/>
                <a:gd name="connsiteY8" fmla="*/ 7743 h 20097"/>
                <a:gd name="connsiteX9" fmla="*/ -189 w 34698"/>
                <a:gd name="connsiteY9" fmla="*/ 10686 h 20097"/>
                <a:gd name="connsiteX10" fmla="*/ 1154 w 34698"/>
                <a:gd name="connsiteY10" fmla="*/ 12030 h 20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698" h="20097">
                  <a:moveTo>
                    <a:pt x="1154" y="12030"/>
                  </a:moveTo>
                  <a:lnTo>
                    <a:pt x="13346" y="19078"/>
                  </a:lnTo>
                  <a:cubicBezTo>
                    <a:pt x="15689" y="20221"/>
                    <a:pt x="18432" y="20221"/>
                    <a:pt x="20776" y="19078"/>
                  </a:cubicBezTo>
                  <a:lnTo>
                    <a:pt x="32872" y="12030"/>
                  </a:lnTo>
                  <a:cubicBezTo>
                    <a:pt x="34053" y="11591"/>
                    <a:pt x="34663" y="10277"/>
                    <a:pt x="34215" y="9096"/>
                  </a:cubicBezTo>
                  <a:cubicBezTo>
                    <a:pt x="33987" y="8467"/>
                    <a:pt x="33491" y="7972"/>
                    <a:pt x="32872" y="7743"/>
                  </a:cubicBezTo>
                  <a:lnTo>
                    <a:pt x="20776" y="695"/>
                  </a:lnTo>
                  <a:cubicBezTo>
                    <a:pt x="18432" y="-448"/>
                    <a:pt x="15689" y="-448"/>
                    <a:pt x="13346" y="695"/>
                  </a:cubicBezTo>
                  <a:lnTo>
                    <a:pt x="1154" y="7743"/>
                  </a:lnTo>
                  <a:cubicBezTo>
                    <a:pt x="-27" y="8181"/>
                    <a:pt x="-637" y="9496"/>
                    <a:pt x="-189" y="10686"/>
                  </a:cubicBezTo>
                  <a:cubicBezTo>
                    <a:pt x="40" y="11305"/>
                    <a:pt x="525" y="11801"/>
                    <a:pt x="1154" y="12030"/>
                  </a:cubicBezTo>
                  <a:close/>
                </a:path>
              </a:pathLst>
            </a:custGeom>
            <a:solidFill>
              <a:srgbClr val="D1D9E8"/>
            </a:solidFill>
            <a:ln w="9525" cap="flat">
              <a:noFill/>
              <a:prstDash val="solid"/>
              <a:miter/>
            </a:ln>
          </p:spPr>
          <p:txBody>
            <a:bodyPr rtlCol="0" anchor="ctr"/>
            <a:lstStyle/>
            <a:p>
              <a:endParaRPr lang="zh-CN" altLang="en-US"/>
            </a:p>
          </p:txBody>
        </p:sp>
        <p:sp>
          <p:nvSpPr>
            <p:cNvPr id="719" name="ïšḷíḓè">
              <a:extLst>
                <a:ext uri="{FF2B5EF4-FFF2-40B4-BE49-F238E27FC236}">
                  <a16:creationId xmlns:a16="http://schemas.microsoft.com/office/drawing/2014/main" id="{AE9A3FCB-D92D-4FE3-B558-873297612735}"/>
                </a:ext>
              </a:extLst>
            </p:cNvPr>
            <p:cNvSpPr/>
            <p:nvPr/>
          </p:nvSpPr>
          <p:spPr>
            <a:xfrm>
              <a:off x="6093582" y="5346267"/>
              <a:ext cx="109594" cy="53801"/>
            </a:xfrm>
            <a:custGeom>
              <a:avLst/>
              <a:gdLst>
                <a:gd name="connsiteX0" fmla="*/ -336 w 36004"/>
                <a:gd name="connsiteY0" fmla="*/ -163 h 17675"/>
                <a:gd name="connsiteX1" fmla="*/ -336 w 36004"/>
                <a:gd name="connsiteY1" fmla="*/ 7076 h 17675"/>
                <a:gd name="connsiteX2" fmla="*/ 1188 w 36004"/>
                <a:gd name="connsiteY2" fmla="*/ 9267 h 17675"/>
                <a:gd name="connsiteX3" fmla="*/ 13856 w 36004"/>
                <a:gd name="connsiteY3" fmla="*/ 16506 h 17675"/>
                <a:gd name="connsiteX4" fmla="*/ 21476 w 36004"/>
                <a:gd name="connsiteY4" fmla="*/ 16506 h 17675"/>
                <a:gd name="connsiteX5" fmla="*/ 34144 w 36004"/>
                <a:gd name="connsiteY5" fmla="*/ 9267 h 17675"/>
                <a:gd name="connsiteX6" fmla="*/ 35668 w 36004"/>
                <a:gd name="connsiteY6" fmla="*/ 7076 h 17675"/>
                <a:gd name="connsiteX7" fmla="*/ 35668 w 36004"/>
                <a:gd name="connsiteY7" fmla="*/ -163 h 17675"/>
                <a:gd name="connsiteX8" fmla="*/ 34144 w 36004"/>
                <a:gd name="connsiteY8" fmla="*/ 2123 h 17675"/>
                <a:gd name="connsiteX9" fmla="*/ 31763 w 36004"/>
                <a:gd name="connsiteY9" fmla="*/ 3457 h 17675"/>
                <a:gd name="connsiteX10" fmla="*/ 21476 w 36004"/>
                <a:gd name="connsiteY10" fmla="*/ 9362 h 17675"/>
                <a:gd name="connsiteX11" fmla="*/ 13856 w 36004"/>
                <a:gd name="connsiteY11" fmla="*/ 9362 h 17675"/>
                <a:gd name="connsiteX12" fmla="*/ 3569 w 36004"/>
                <a:gd name="connsiteY12" fmla="*/ 3457 h 17675"/>
                <a:gd name="connsiteX13" fmla="*/ 1188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79" y="8038"/>
                    <a:pt x="312" y="8877"/>
                    <a:pt x="1188" y="9267"/>
                  </a:cubicBezTo>
                  <a:lnTo>
                    <a:pt x="13856" y="16506"/>
                  </a:lnTo>
                  <a:cubicBezTo>
                    <a:pt x="16218" y="17849"/>
                    <a:pt x="19114" y="17849"/>
                    <a:pt x="21476" y="16506"/>
                  </a:cubicBezTo>
                  <a:lnTo>
                    <a:pt x="34144" y="9267"/>
                  </a:lnTo>
                  <a:cubicBezTo>
                    <a:pt x="35021" y="8877"/>
                    <a:pt x="35611" y="8038"/>
                    <a:pt x="35668" y="7076"/>
                  </a:cubicBezTo>
                  <a:lnTo>
                    <a:pt x="35668" y="-163"/>
                  </a:lnTo>
                  <a:cubicBezTo>
                    <a:pt x="35602" y="818"/>
                    <a:pt x="35021" y="1685"/>
                    <a:pt x="34144" y="2123"/>
                  </a:cubicBezTo>
                  <a:lnTo>
                    <a:pt x="31763" y="3457"/>
                  </a:lnTo>
                  <a:lnTo>
                    <a:pt x="21476" y="9362"/>
                  </a:lnTo>
                  <a:cubicBezTo>
                    <a:pt x="19114" y="10705"/>
                    <a:pt x="16218" y="10705"/>
                    <a:pt x="13856" y="9362"/>
                  </a:cubicBezTo>
                  <a:lnTo>
                    <a:pt x="3569" y="3457"/>
                  </a:lnTo>
                  <a:lnTo>
                    <a:pt x="1188" y="2123"/>
                  </a:lnTo>
                  <a:cubicBezTo>
                    <a:pt x="312"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20" name="ïṣľïďe">
              <a:extLst>
                <a:ext uri="{FF2B5EF4-FFF2-40B4-BE49-F238E27FC236}">
                  <a16:creationId xmlns:a16="http://schemas.microsoft.com/office/drawing/2014/main" id="{2327C3B3-EC49-4358-AEF6-30541FC1F3CB}"/>
                </a:ext>
              </a:extLst>
            </p:cNvPr>
            <p:cNvSpPr/>
            <p:nvPr/>
          </p:nvSpPr>
          <p:spPr>
            <a:xfrm>
              <a:off x="6170124" y="5359384"/>
              <a:ext cx="140036" cy="80688"/>
            </a:xfrm>
            <a:custGeom>
              <a:avLst/>
              <a:gdLst>
                <a:gd name="connsiteX0" fmla="*/ -336 w 46005"/>
                <a:gd name="connsiteY0" fmla="*/ 10196 h 26508"/>
                <a:gd name="connsiteX1" fmla="*/ 1283 w 46005"/>
                <a:gd name="connsiteY1" fmla="*/ 12482 h 26508"/>
                <a:gd name="connsiteX2" fmla="*/ 3569 w 46005"/>
                <a:gd name="connsiteY2" fmla="*/ 13815 h 26508"/>
                <a:gd name="connsiteX3" fmla="*/ 23762 w 46005"/>
                <a:gd name="connsiteY3" fmla="*/ 25531 h 26508"/>
                <a:gd name="connsiteX4" fmla="*/ 31477 w 46005"/>
                <a:gd name="connsiteY4" fmla="*/ 25531 h 26508"/>
                <a:gd name="connsiteX5" fmla="*/ 41764 w 46005"/>
                <a:gd name="connsiteY5" fmla="*/ 19530 h 26508"/>
                <a:gd name="connsiteX6" fmla="*/ 44146 w 46005"/>
                <a:gd name="connsiteY6" fmla="*/ 18197 h 26508"/>
                <a:gd name="connsiteX7" fmla="*/ 45669 w 46005"/>
                <a:gd name="connsiteY7" fmla="*/ 16578 h 26508"/>
                <a:gd name="connsiteX8" fmla="*/ 45669 w 46005"/>
                <a:gd name="connsiteY8" fmla="*/ 15435 h 26508"/>
                <a:gd name="connsiteX9" fmla="*/ 44146 w 46005"/>
                <a:gd name="connsiteY9" fmla="*/ 13720 h 26508"/>
                <a:gd name="connsiteX10" fmla="*/ 21571 w 46005"/>
                <a:gd name="connsiteY10" fmla="*/ 766 h 26508"/>
                <a:gd name="connsiteX11" fmla="*/ 13856 w 46005"/>
                <a:gd name="connsiteY11" fmla="*/ 766 h 26508"/>
                <a:gd name="connsiteX12" fmla="*/ 1283 w 46005"/>
                <a:gd name="connsiteY12" fmla="*/ 8005 h 26508"/>
                <a:gd name="connsiteX13" fmla="*/ -336 w 46005"/>
                <a:gd name="connsiteY13" fmla="*/ 10196 h 26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005" h="26508">
                  <a:moveTo>
                    <a:pt x="-336" y="10196"/>
                  </a:moveTo>
                  <a:cubicBezTo>
                    <a:pt x="-270" y="11206"/>
                    <a:pt x="359" y="12091"/>
                    <a:pt x="1283" y="12482"/>
                  </a:cubicBezTo>
                  <a:lnTo>
                    <a:pt x="3569" y="13815"/>
                  </a:lnTo>
                  <a:lnTo>
                    <a:pt x="23762" y="25531"/>
                  </a:lnTo>
                  <a:cubicBezTo>
                    <a:pt x="26219" y="26617"/>
                    <a:pt x="29020" y="26617"/>
                    <a:pt x="31477" y="25531"/>
                  </a:cubicBezTo>
                  <a:lnTo>
                    <a:pt x="41764" y="19530"/>
                  </a:lnTo>
                  <a:lnTo>
                    <a:pt x="44146" y="18197"/>
                  </a:lnTo>
                  <a:cubicBezTo>
                    <a:pt x="44860" y="17892"/>
                    <a:pt x="45412" y="17311"/>
                    <a:pt x="45669" y="16578"/>
                  </a:cubicBezTo>
                  <a:lnTo>
                    <a:pt x="45669" y="15435"/>
                  </a:lnTo>
                  <a:cubicBezTo>
                    <a:pt x="45384" y="14692"/>
                    <a:pt x="44841" y="14082"/>
                    <a:pt x="44146" y="13720"/>
                  </a:cubicBezTo>
                  <a:lnTo>
                    <a:pt x="21571" y="766"/>
                  </a:lnTo>
                  <a:cubicBezTo>
                    <a:pt x="19152" y="-472"/>
                    <a:pt x="16275" y="-472"/>
                    <a:pt x="13856" y="766"/>
                  </a:cubicBezTo>
                  <a:lnTo>
                    <a:pt x="1283" y="8005"/>
                  </a:lnTo>
                  <a:cubicBezTo>
                    <a:pt x="387" y="8386"/>
                    <a:pt x="-241" y="9224"/>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721" name="iṧ1íḑé">
              <a:extLst>
                <a:ext uri="{FF2B5EF4-FFF2-40B4-BE49-F238E27FC236}">
                  <a16:creationId xmlns:a16="http://schemas.microsoft.com/office/drawing/2014/main" id="{2B4EA32B-C625-4A74-9EB3-91D7A807A7E0}"/>
                </a:ext>
              </a:extLst>
            </p:cNvPr>
            <p:cNvSpPr/>
            <p:nvPr/>
          </p:nvSpPr>
          <p:spPr>
            <a:xfrm>
              <a:off x="6172836" y="5359892"/>
              <a:ext cx="136018" cy="78570"/>
            </a:xfrm>
            <a:custGeom>
              <a:avLst/>
              <a:gdLst>
                <a:gd name="connsiteX0" fmla="*/ 23252 w 44685"/>
                <a:gd name="connsiteY0" fmla="*/ 24793 h 25812"/>
                <a:gd name="connsiteX1" fmla="*/ 1154 w 44685"/>
                <a:gd name="connsiteY1" fmla="*/ 12029 h 25812"/>
                <a:gd name="connsiteX2" fmla="*/ -189 w 44685"/>
                <a:gd name="connsiteY2" fmla="*/ 9096 h 25812"/>
                <a:gd name="connsiteX3" fmla="*/ 1154 w 44685"/>
                <a:gd name="connsiteY3" fmla="*/ 7743 h 25812"/>
                <a:gd name="connsiteX4" fmla="*/ 13250 w 44685"/>
                <a:gd name="connsiteY4" fmla="*/ 695 h 25812"/>
                <a:gd name="connsiteX5" fmla="*/ 20680 w 44685"/>
                <a:gd name="connsiteY5" fmla="*/ 695 h 25812"/>
                <a:gd name="connsiteX6" fmla="*/ 42778 w 44685"/>
                <a:gd name="connsiteY6" fmla="*/ 13458 h 25812"/>
                <a:gd name="connsiteX7" fmla="*/ 42778 w 44685"/>
                <a:gd name="connsiteY7" fmla="*/ 17744 h 25812"/>
                <a:gd name="connsiteX8" fmla="*/ 30681 w 44685"/>
                <a:gd name="connsiteY8" fmla="*/ 24793 h 25812"/>
                <a:gd name="connsiteX9" fmla="*/ 23252 w 44685"/>
                <a:gd name="connsiteY9" fmla="*/ 24793 h 25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4685" h="25812">
                  <a:moveTo>
                    <a:pt x="23252" y="24793"/>
                  </a:moveTo>
                  <a:lnTo>
                    <a:pt x="1154" y="12029"/>
                  </a:lnTo>
                  <a:cubicBezTo>
                    <a:pt x="-27" y="11591"/>
                    <a:pt x="-637" y="10277"/>
                    <a:pt x="-189" y="9096"/>
                  </a:cubicBezTo>
                  <a:cubicBezTo>
                    <a:pt x="39" y="8467"/>
                    <a:pt x="535" y="7972"/>
                    <a:pt x="1154" y="7743"/>
                  </a:cubicBezTo>
                  <a:lnTo>
                    <a:pt x="13250" y="695"/>
                  </a:lnTo>
                  <a:cubicBezTo>
                    <a:pt x="15594" y="-448"/>
                    <a:pt x="18337" y="-448"/>
                    <a:pt x="20680" y="695"/>
                  </a:cubicBezTo>
                  <a:lnTo>
                    <a:pt x="42778" y="13458"/>
                  </a:lnTo>
                  <a:cubicBezTo>
                    <a:pt x="44873" y="14696"/>
                    <a:pt x="44873" y="16601"/>
                    <a:pt x="42778" y="17744"/>
                  </a:cubicBezTo>
                  <a:lnTo>
                    <a:pt x="30681" y="24793"/>
                  </a:lnTo>
                  <a:cubicBezTo>
                    <a:pt x="28338" y="25936"/>
                    <a:pt x="25595" y="25936"/>
                    <a:pt x="23252" y="24793"/>
                  </a:cubicBezTo>
                  <a:close/>
                </a:path>
              </a:pathLst>
            </a:custGeom>
            <a:solidFill>
              <a:srgbClr val="D1D9E8"/>
            </a:solidFill>
            <a:ln w="9525" cap="flat">
              <a:noFill/>
              <a:prstDash val="solid"/>
              <a:miter/>
            </a:ln>
          </p:spPr>
          <p:txBody>
            <a:bodyPr rtlCol="0" anchor="ctr"/>
            <a:lstStyle/>
            <a:p>
              <a:endParaRPr lang="zh-CN" altLang="en-US"/>
            </a:p>
          </p:txBody>
        </p:sp>
        <p:sp>
          <p:nvSpPr>
            <p:cNvPr id="722" name="ïšľíḍe">
              <a:extLst>
                <a:ext uri="{FF2B5EF4-FFF2-40B4-BE49-F238E27FC236}">
                  <a16:creationId xmlns:a16="http://schemas.microsoft.com/office/drawing/2014/main" id="{3C6EFFCF-C920-4B79-9C79-BED7046010F3}"/>
                </a:ext>
              </a:extLst>
            </p:cNvPr>
            <p:cNvSpPr/>
            <p:nvPr/>
          </p:nvSpPr>
          <p:spPr>
            <a:xfrm>
              <a:off x="6170124" y="5390916"/>
              <a:ext cx="140036" cy="71249"/>
            </a:xfrm>
            <a:custGeom>
              <a:avLst/>
              <a:gdLst>
                <a:gd name="connsiteX0" fmla="*/ -336 w 46005"/>
                <a:gd name="connsiteY0" fmla="*/ -163 h 23407"/>
                <a:gd name="connsiteX1" fmla="*/ -336 w 46005"/>
                <a:gd name="connsiteY1" fmla="*/ 7076 h 23407"/>
                <a:gd name="connsiteX2" fmla="*/ 1283 w 46005"/>
                <a:gd name="connsiteY2" fmla="*/ 9267 h 23407"/>
                <a:gd name="connsiteX3" fmla="*/ 23762 w 46005"/>
                <a:gd name="connsiteY3" fmla="*/ 22316 h 23407"/>
                <a:gd name="connsiteX4" fmla="*/ 31477 w 46005"/>
                <a:gd name="connsiteY4" fmla="*/ 22316 h 23407"/>
                <a:gd name="connsiteX5" fmla="*/ 44146 w 46005"/>
                <a:gd name="connsiteY5" fmla="*/ 14982 h 23407"/>
                <a:gd name="connsiteX6" fmla="*/ 45669 w 46005"/>
                <a:gd name="connsiteY6" fmla="*/ 13363 h 23407"/>
                <a:gd name="connsiteX7" fmla="*/ 45669 w 46005"/>
                <a:gd name="connsiteY7" fmla="*/ 6219 h 23407"/>
                <a:gd name="connsiteX8" fmla="*/ 44146 w 46005"/>
                <a:gd name="connsiteY8" fmla="*/ 7838 h 23407"/>
                <a:gd name="connsiteX9" fmla="*/ 41764 w 46005"/>
                <a:gd name="connsiteY9" fmla="*/ 9172 h 23407"/>
                <a:gd name="connsiteX10" fmla="*/ 31477 w 46005"/>
                <a:gd name="connsiteY10" fmla="*/ 15172 h 23407"/>
                <a:gd name="connsiteX11" fmla="*/ 23762 w 46005"/>
                <a:gd name="connsiteY11" fmla="*/ 15172 h 23407"/>
                <a:gd name="connsiteX12" fmla="*/ 3569 w 46005"/>
                <a:gd name="connsiteY12" fmla="*/ 3457 h 23407"/>
                <a:gd name="connsiteX13" fmla="*/ 1283 w 46005"/>
                <a:gd name="connsiteY13" fmla="*/ 2123 h 23407"/>
                <a:gd name="connsiteX14" fmla="*/ -336 w 46005"/>
                <a:gd name="connsiteY14" fmla="*/ -163 h 234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6005" h="23407">
                  <a:moveTo>
                    <a:pt x="-336" y="-163"/>
                  </a:moveTo>
                  <a:lnTo>
                    <a:pt x="-336" y="7076"/>
                  </a:lnTo>
                  <a:cubicBezTo>
                    <a:pt x="-260" y="8057"/>
                    <a:pt x="369" y="8905"/>
                    <a:pt x="1283" y="9267"/>
                  </a:cubicBezTo>
                  <a:lnTo>
                    <a:pt x="23762" y="22316"/>
                  </a:lnTo>
                  <a:cubicBezTo>
                    <a:pt x="26181" y="23555"/>
                    <a:pt x="29058" y="23555"/>
                    <a:pt x="31477" y="22316"/>
                  </a:cubicBezTo>
                  <a:lnTo>
                    <a:pt x="44146" y="14982"/>
                  </a:lnTo>
                  <a:cubicBezTo>
                    <a:pt x="44822" y="14629"/>
                    <a:pt x="45355" y="14058"/>
                    <a:pt x="45669" y="13363"/>
                  </a:cubicBezTo>
                  <a:lnTo>
                    <a:pt x="45669" y="6219"/>
                  </a:lnTo>
                  <a:cubicBezTo>
                    <a:pt x="45412" y="6952"/>
                    <a:pt x="44860" y="7533"/>
                    <a:pt x="44146" y="7838"/>
                  </a:cubicBezTo>
                  <a:lnTo>
                    <a:pt x="41764" y="9172"/>
                  </a:lnTo>
                  <a:lnTo>
                    <a:pt x="31477" y="15172"/>
                  </a:lnTo>
                  <a:cubicBezTo>
                    <a:pt x="29020" y="16258"/>
                    <a:pt x="26219" y="16258"/>
                    <a:pt x="23762" y="15172"/>
                  </a:cubicBezTo>
                  <a:lnTo>
                    <a:pt x="3569" y="3457"/>
                  </a:lnTo>
                  <a:lnTo>
                    <a:pt x="1283" y="2123"/>
                  </a:lnTo>
                  <a:cubicBezTo>
                    <a:pt x="359" y="1733"/>
                    <a:pt x="-270" y="847"/>
                    <a:pt x="-336" y="-163"/>
                  </a:cubicBezTo>
                  <a:close/>
                </a:path>
              </a:pathLst>
            </a:custGeom>
            <a:solidFill>
              <a:srgbClr val="BF4200"/>
            </a:solidFill>
            <a:ln w="9525" cap="flat">
              <a:noFill/>
              <a:prstDash val="solid"/>
              <a:miter/>
            </a:ln>
          </p:spPr>
          <p:txBody>
            <a:bodyPr rtlCol="0" anchor="ctr"/>
            <a:lstStyle/>
            <a:p>
              <a:endParaRPr lang="zh-CN" altLang="en-US"/>
            </a:p>
          </p:txBody>
        </p:sp>
        <p:sp>
          <p:nvSpPr>
            <p:cNvPr id="723" name="îṩļïďè">
              <a:extLst>
                <a:ext uri="{FF2B5EF4-FFF2-40B4-BE49-F238E27FC236}">
                  <a16:creationId xmlns:a16="http://schemas.microsoft.com/office/drawing/2014/main" id="{BFD1DF04-B970-4585-B02D-9EE43FC8FBFC}"/>
                </a:ext>
              </a:extLst>
            </p:cNvPr>
            <p:cNvSpPr/>
            <p:nvPr/>
          </p:nvSpPr>
          <p:spPr>
            <a:xfrm>
              <a:off x="4999080" y="4774588"/>
              <a:ext cx="140036" cy="81035"/>
            </a:xfrm>
            <a:custGeom>
              <a:avLst/>
              <a:gdLst>
                <a:gd name="connsiteX0" fmla="*/ -336 w 46005"/>
                <a:gd name="connsiteY0" fmla="*/ 10291 h 26622"/>
                <a:gd name="connsiteX1" fmla="*/ 1283 w 46005"/>
                <a:gd name="connsiteY1" fmla="*/ 12577 h 26622"/>
                <a:gd name="connsiteX2" fmla="*/ 3569 w 46005"/>
                <a:gd name="connsiteY2" fmla="*/ 13911 h 26622"/>
                <a:gd name="connsiteX3" fmla="*/ 23762 w 46005"/>
                <a:gd name="connsiteY3" fmla="*/ 25531 h 26622"/>
                <a:gd name="connsiteX4" fmla="*/ 31572 w 46005"/>
                <a:gd name="connsiteY4" fmla="*/ 25531 h 26622"/>
                <a:gd name="connsiteX5" fmla="*/ 41764 w 46005"/>
                <a:gd name="connsiteY5" fmla="*/ 19625 h 26622"/>
                <a:gd name="connsiteX6" fmla="*/ 44146 w 46005"/>
                <a:gd name="connsiteY6" fmla="*/ 18292 h 26622"/>
                <a:gd name="connsiteX7" fmla="*/ 45670 w 46005"/>
                <a:gd name="connsiteY7" fmla="*/ 16578 h 26622"/>
                <a:gd name="connsiteX8" fmla="*/ 45670 w 46005"/>
                <a:gd name="connsiteY8" fmla="*/ 15530 h 26622"/>
                <a:gd name="connsiteX9" fmla="*/ 44146 w 46005"/>
                <a:gd name="connsiteY9" fmla="*/ 13815 h 26622"/>
                <a:gd name="connsiteX10" fmla="*/ 21571 w 46005"/>
                <a:gd name="connsiteY10" fmla="*/ 766 h 26622"/>
                <a:gd name="connsiteX11" fmla="*/ 13856 w 46005"/>
                <a:gd name="connsiteY11" fmla="*/ 766 h 26622"/>
                <a:gd name="connsiteX12" fmla="*/ 1283 w 46005"/>
                <a:gd name="connsiteY12" fmla="*/ 8100 h 26622"/>
                <a:gd name="connsiteX13" fmla="*/ -336 w 46005"/>
                <a:gd name="connsiteY13" fmla="*/ 10291 h 26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005" h="26622">
                  <a:moveTo>
                    <a:pt x="-336" y="10291"/>
                  </a:moveTo>
                  <a:cubicBezTo>
                    <a:pt x="-231" y="11282"/>
                    <a:pt x="378" y="12148"/>
                    <a:pt x="1283" y="12577"/>
                  </a:cubicBezTo>
                  <a:lnTo>
                    <a:pt x="3569" y="13911"/>
                  </a:lnTo>
                  <a:lnTo>
                    <a:pt x="23762" y="25531"/>
                  </a:lnTo>
                  <a:cubicBezTo>
                    <a:pt x="26220" y="26769"/>
                    <a:pt x="29115" y="26769"/>
                    <a:pt x="31572" y="25531"/>
                  </a:cubicBezTo>
                  <a:lnTo>
                    <a:pt x="41764" y="19625"/>
                  </a:lnTo>
                  <a:lnTo>
                    <a:pt x="44146" y="18292"/>
                  </a:lnTo>
                  <a:cubicBezTo>
                    <a:pt x="44850" y="17930"/>
                    <a:pt x="45384" y="17321"/>
                    <a:pt x="45670" y="16578"/>
                  </a:cubicBezTo>
                  <a:lnTo>
                    <a:pt x="45670" y="15530"/>
                  </a:lnTo>
                  <a:cubicBezTo>
                    <a:pt x="45384" y="14787"/>
                    <a:pt x="44850" y="14177"/>
                    <a:pt x="44146" y="13815"/>
                  </a:cubicBezTo>
                  <a:lnTo>
                    <a:pt x="21571" y="766"/>
                  </a:lnTo>
                  <a:cubicBezTo>
                    <a:pt x="19152" y="-472"/>
                    <a:pt x="16275" y="-472"/>
                    <a:pt x="13856" y="766"/>
                  </a:cubicBezTo>
                  <a:lnTo>
                    <a:pt x="1283" y="8100"/>
                  </a:lnTo>
                  <a:cubicBezTo>
                    <a:pt x="397" y="8491"/>
                    <a:pt x="-222"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724" name="í$líḓè">
              <a:extLst>
                <a:ext uri="{FF2B5EF4-FFF2-40B4-BE49-F238E27FC236}">
                  <a16:creationId xmlns:a16="http://schemas.microsoft.com/office/drawing/2014/main" id="{42BB5702-613B-4259-BD74-D0CA2FFDF602}"/>
                </a:ext>
              </a:extLst>
            </p:cNvPr>
            <p:cNvSpPr/>
            <p:nvPr/>
          </p:nvSpPr>
          <p:spPr>
            <a:xfrm>
              <a:off x="5001183" y="4775747"/>
              <a:ext cx="136121" cy="78716"/>
            </a:xfrm>
            <a:custGeom>
              <a:avLst/>
              <a:gdLst>
                <a:gd name="connsiteX0" fmla="*/ 23262 w 44719"/>
                <a:gd name="connsiteY0" fmla="*/ 24769 h 25860"/>
                <a:gd name="connsiteX1" fmla="*/ 1164 w 44719"/>
                <a:gd name="connsiteY1" fmla="*/ 12006 h 25860"/>
                <a:gd name="connsiteX2" fmla="*/ 1164 w 44719"/>
                <a:gd name="connsiteY2" fmla="*/ 7719 h 25860"/>
                <a:gd name="connsiteX3" fmla="*/ 13356 w 44719"/>
                <a:gd name="connsiteY3" fmla="*/ 766 h 25860"/>
                <a:gd name="connsiteX4" fmla="*/ 20785 w 44719"/>
                <a:gd name="connsiteY4" fmla="*/ 766 h 25860"/>
                <a:gd name="connsiteX5" fmla="*/ 42883 w 44719"/>
                <a:gd name="connsiteY5" fmla="*/ 13530 h 25860"/>
                <a:gd name="connsiteX6" fmla="*/ 42883 w 44719"/>
                <a:gd name="connsiteY6" fmla="*/ 17816 h 25860"/>
                <a:gd name="connsiteX7" fmla="*/ 30691 w 44719"/>
                <a:gd name="connsiteY7" fmla="*/ 24769 h 25860"/>
                <a:gd name="connsiteX8" fmla="*/ 23262 w 44719"/>
                <a:gd name="connsiteY8" fmla="*/ 24769 h 25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719" h="25860">
                  <a:moveTo>
                    <a:pt x="23262" y="24769"/>
                  </a:moveTo>
                  <a:lnTo>
                    <a:pt x="1164" y="12006"/>
                  </a:lnTo>
                  <a:cubicBezTo>
                    <a:pt x="-836" y="10863"/>
                    <a:pt x="-836" y="8958"/>
                    <a:pt x="1164" y="7719"/>
                  </a:cubicBezTo>
                  <a:lnTo>
                    <a:pt x="13356" y="766"/>
                  </a:lnTo>
                  <a:cubicBezTo>
                    <a:pt x="15680" y="-472"/>
                    <a:pt x="18461" y="-472"/>
                    <a:pt x="20785" y="766"/>
                  </a:cubicBezTo>
                  <a:lnTo>
                    <a:pt x="42883" y="13530"/>
                  </a:lnTo>
                  <a:cubicBezTo>
                    <a:pt x="44884" y="14673"/>
                    <a:pt x="44884" y="16577"/>
                    <a:pt x="42883" y="17816"/>
                  </a:cubicBezTo>
                  <a:lnTo>
                    <a:pt x="30691" y="24769"/>
                  </a:lnTo>
                  <a:cubicBezTo>
                    <a:pt x="28367" y="26007"/>
                    <a:pt x="25586" y="26007"/>
                    <a:pt x="23262" y="24769"/>
                  </a:cubicBezTo>
                  <a:close/>
                </a:path>
              </a:pathLst>
            </a:custGeom>
            <a:solidFill>
              <a:srgbClr val="D1D9E8"/>
            </a:solidFill>
            <a:ln w="9525" cap="flat">
              <a:noFill/>
              <a:prstDash val="solid"/>
              <a:miter/>
            </a:ln>
          </p:spPr>
          <p:txBody>
            <a:bodyPr rtlCol="0" anchor="ctr"/>
            <a:lstStyle/>
            <a:p>
              <a:endParaRPr lang="zh-CN" altLang="en-US"/>
            </a:p>
          </p:txBody>
        </p:sp>
        <p:sp>
          <p:nvSpPr>
            <p:cNvPr id="725" name="íṥḷïḑè">
              <a:extLst>
                <a:ext uri="{FF2B5EF4-FFF2-40B4-BE49-F238E27FC236}">
                  <a16:creationId xmlns:a16="http://schemas.microsoft.com/office/drawing/2014/main" id="{F932B142-4D32-465F-8D6B-35AEC0A91430}"/>
                </a:ext>
              </a:extLst>
            </p:cNvPr>
            <p:cNvSpPr/>
            <p:nvPr/>
          </p:nvSpPr>
          <p:spPr>
            <a:xfrm>
              <a:off x="4999080" y="4806409"/>
              <a:ext cx="140036" cy="69806"/>
            </a:xfrm>
            <a:custGeom>
              <a:avLst/>
              <a:gdLst>
                <a:gd name="connsiteX0" fmla="*/ -336 w 46005"/>
                <a:gd name="connsiteY0" fmla="*/ -163 h 22933"/>
                <a:gd name="connsiteX1" fmla="*/ -336 w 46005"/>
                <a:gd name="connsiteY1" fmla="*/ 6600 h 22933"/>
                <a:gd name="connsiteX2" fmla="*/ 1283 w 46005"/>
                <a:gd name="connsiteY2" fmla="*/ 8886 h 22933"/>
                <a:gd name="connsiteX3" fmla="*/ 23762 w 46005"/>
                <a:gd name="connsiteY3" fmla="*/ 21935 h 22933"/>
                <a:gd name="connsiteX4" fmla="*/ 31572 w 46005"/>
                <a:gd name="connsiteY4" fmla="*/ 21935 h 22933"/>
                <a:gd name="connsiteX5" fmla="*/ 44146 w 46005"/>
                <a:gd name="connsiteY5" fmla="*/ 14601 h 22933"/>
                <a:gd name="connsiteX6" fmla="*/ 45670 w 46005"/>
                <a:gd name="connsiteY6" fmla="*/ 12982 h 22933"/>
                <a:gd name="connsiteX7" fmla="*/ 45670 w 46005"/>
                <a:gd name="connsiteY7" fmla="*/ 6600 h 22933"/>
                <a:gd name="connsiteX8" fmla="*/ 44146 w 46005"/>
                <a:gd name="connsiteY8" fmla="*/ 8314 h 22933"/>
                <a:gd name="connsiteX9" fmla="*/ 41764 w 46005"/>
                <a:gd name="connsiteY9" fmla="*/ 9648 h 22933"/>
                <a:gd name="connsiteX10" fmla="*/ 31572 w 46005"/>
                <a:gd name="connsiteY10" fmla="*/ 15554 h 22933"/>
                <a:gd name="connsiteX11" fmla="*/ 23762 w 46005"/>
                <a:gd name="connsiteY11" fmla="*/ 15554 h 22933"/>
                <a:gd name="connsiteX12" fmla="*/ 3379 w 46005"/>
                <a:gd name="connsiteY12" fmla="*/ 3457 h 22933"/>
                <a:gd name="connsiteX13" fmla="*/ 1093 w 46005"/>
                <a:gd name="connsiteY13" fmla="*/ 2123 h 22933"/>
                <a:gd name="connsiteX14" fmla="*/ -336 w 46005"/>
                <a:gd name="connsiteY14" fmla="*/ -163 h 229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6005" h="22933">
                  <a:moveTo>
                    <a:pt x="-336" y="-163"/>
                  </a:moveTo>
                  <a:lnTo>
                    <a:pt x="-336" y="6600"/>
                  </a:lnTo>
                  <a:cubicBezTo>
                    <a:pt x="-213" y="7581"/>
                    <a:pt x="397" y="8448"/>
                    <a:pt x="1283" y="8886"/>
                  </a:cubicBezTo>
                  <a:lnTo>
                    <a:pt x="23762" y="21935"/>
                  </a:lnTo>
                  <a:cubicBezTo>
                    <a:pt x="26248" y="23050"/>
                    <a:pt x="29087" y="23050"/>
                    <a:pt x="31572" y="21935"/>
                  </a:cubicBezTo>
                  <a:lnTo>
                    <a:pt x="44146" y="14601"/>
                  </a:lnTo>
                  <a:cubicBezTo>
                    <a:pt x="44822" y="14249"/>
                    <a:pt x="45355" y="13677"/>
                    <a:pt x="45670" y="12982"/>
                  </a:cubicBezTo>
                  <a:lnTo>
                    <a:pt x="45670" y="6600"/>
                  </a:lnTo>
                  <a:cubicBezTo>
                    <a:pt x="45384" y="7343"/>
                    <a:pt x="44850" y="7953"/>
                    <a:pt x="44146" y="8314"/>
                  </a:cubicBezTo>
                  <a:lnTo>
                    <a:pt x="41764" y="9648"/>
                  </a:lnTo>
                  <a:lnTo>
                    <a:pt x="31572" y="15554"/>
                  </a:lnTo>
                  <a:cubicBezTo>
                    <a:pt x="29115" y="16792"/>
                    <a:pt x="26220" y="16792"/>
                    <a:pt x="23762" y="15554"/>
                  </a:cubicBezTo>
                  <a:lnTo>
                    <a:pt x="3379" y="3457"/>
                  </a:lnTo>
                  <a:lnTo>
                    <a:pt x="1093" y="2123"/>
                  </a:lnTo>
                  <a:cubicBezTo>
                    <a:pt x="264" y="1647"/>
                    <a:pt x="-269" y="790"/>
                    <a:pt x="-336" y="-163"/>
                  </a:cubicBezTo>
                  <a:close/>
                </a:path>
              </a:pathLst>
            </a:custGeom>
            <a:solidFill>
              <a:srgbClr val="BF4200"/>
            </a:solidFill>
            <a:ln w="9525" cap="flat">
              <a:noFill/>
              <a:prstDash val="solid"/>
              <a:miter/>
            </a:ln>
          </p:spPr>
          <p:txBody>
            <a:bodyPr rtlCol="0" anchor="ctr"/>
            <a:lstStyle/>
            <a:p>
              <a:endParaRPr lang="zh-CN" altLang="en-US"/>
            </a:p>
          </p:txBody>
        </p:sp>
        <p:sp>
          <p:nvSpPr>
            <p:cNvPr id="726" name="îšļîde">
              <a:extLst>
                <a:ext uri="{FF2B5EF4-FFF2-40B4-BE49-F238E27FC236}">
                  <a16:creationId xmlns:a16="http://schemas.microsoft.com/office/drawing/2014/main" id="{E682B62B-E71D-4ED0-85D1-5DB3ECBA7565}"/>
                </a:ext>
              </a:extLst>
            </p:cNvPr>
            <p:cNvSpPr/>
            <p:nvPr/>
          </p:nvSpPr>
          <p:spPr>
            <a:xfrm>
              <a:off x="5107806" y="4836635"/>
              <a:ext cx="109594" cy="63639"/>
            </a:xfrm>
            <a:custGeom>
              <a:avLst/>
              <a:gdLst>
                <a:gd name="connsiteX0" fmla="*/ -336 w 36004"/>
                <a:gd name="connsiteY0" fmla="*/ 10291 h 20907"/>
                <a:gd name="connsiteX1" fmla="*/ 1188 w 36004"/>
                <a:gd name="connsiteY1" fmla="*/ 12577 h 20907"/>
                <a:gd name="connsiteX2" fmla="*/ 3569 w 36004"/>
                <a:gd name="connsiteY2" fmla="*/ 13911 h 20907"/>
                <a:gd name="connsiteX3" fmla="*/ 13856 w 36004"/>
                <a:gd name="connsiteY3" fmla="*/ 19816 h 20907"/>
                <a:gd name="connsiteX4" fmla="*/ 21476 w 36004"/>
                <a:gd name="connsiteY4" fmla="*/ 19816 h 20907"/>
                <a:gd name="connsiteX5" fmla="*/ 31763 w 36004"/>
                <a:gd name="connsiteY5" fmla="*/ 13911 h 20907"/>
                <a:gd name="connsiteX6" fmla="*/ 34144 w 36004"/>
                <a:gd name="connsiteY6" fmla="*/ 12577 h 20907"/>
                <a:gd name="connsiteX7" fmla="*/ 35668 w 36004"/>
                <a:gd name="connsiteY7" fmla="*/ 10291 h 20907"/>
                <a:gd name="connsiteX8" fmla="*/ 34144 w 36004"/>
                <a:gd name="connsiteY8" fmla="*/ 8101 h 20907"/>
                <a:gd name="connsiteX9" fmla="*/ 21476 w 36004"/>
                <a:gd name="connsiteY9" fmla="*/ 766 h 20907"/>
                <a:gd name="connsiteX10" fmla="*/ 13856 w 36004"/>
                <a:gd name="connsiteY10" fmla="*/ 766 h 20907"/>
                <a:gd name="connsiteX11" fmla="*/ 1188 w 36004"/>
                <a:gd name="connsiteY11" fmla="*/ 8101 h 20907"/>
                <a:gd name="connsiteX12" fmla="*/ -336 w 36004"/>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907">
                  <a:moveTo>
                    <a:pt x="-336" y="10291"/>
                  </a:moveTo>
                  <a:cubicBezTo>
                    <a:pt x="-269" y="11272"/>
                    <a:pt x="312" y="12139"/>
                    <a:pt x="1188" y="12577"/>
                  </a:cubicBezTo>
                  <a:lnTo>
                    <a:pt x="3569" y="13911"/>
                  </a:lnTo>
                  <a:lnTo>
                    <a:pt x="13856" y="19816"/>
                  </a:lnTo>
                  <a:cubicBezTo>
                    <a:pt x="16247" y="21054"/>
                    <a:pt x="19085" y="21054"/>
                    <a:pt x="21476" y="19816"/>
                  </a:cubicBezTo>
                  <a:lnTo>
                    <a:pt x="31763" y="13911"/>
                  </a:lnTo>
                  <a:lnTo>
                    <a:pt x="34144" y="12577"/>
                  </a:lnTo>
                  <a:cubicBezTo>
                    <a:pt x="35021" y="12139"/>
                    <a:pt x="35602" y="11272"/>
                    <a:pt x="35668" y="10291"/>
                  </a:cubicBezTo>
                  <a:cubicBezTo>
                    <a:pt x="35611" y="9339"/>
                    <a:pt x="35021" y="8491"/>
                    <a:pt x="34144" y="8101"/>
                  </a:cubicBezTo>
                  <a:lnTo>
                    <a:pt x="21476" y="766"/>
                  </a:lnTo>
                  <a:cubicBezTo>
                    <a:pt x="19085" y="-472"/>
                    <a:pt x="16247" y="-472"/>
                    <a:pt x="13856" y="766"/>
                  </a:cubicBezTo>
                  <a:lnTo>
                    <a:pt x="1188" y="8101"/>
                  </a:lnTo>
                  <a:cubicBezTo>
                    <a:pt x="312" y="8491"/>
                    <a:pt x="-279"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727" name="iŝḻíḓé">
              <a:extLst>
                <a:ext uri="{FF2B5EF4-FFF2-40B4-BE49-F238E27FC236}">
                  <a16:creationId xmlns:a16="http://schemas.microsoft.com/office/drawing/2014/main" id="{00958AEB-AB5F-43DE-AA7E-849008BF07A8}"/>
                </a:ext>
              </a:extLst>
            </p:cNvPr>
            <p:cNvSpPr/>
            <p:nvPr/>
          </p:nvSpPr>
          <p:spPr>
            <a:xfrm>
              <a:off x="5109690" y="4837795"/>
              <a:ext cx="105898" cy="61104"/>
            </a:xfrm>
            <a:custGeom>
              <a:avLst/>
              <a:gdLst>
                <a:gd name="connsiteX0" fmla="*/ 1235 w 34790"/>
                <a:gd name="connsiteY0" fmla="*/ 12006 h 20074"/>
                <a:gd name="connsiteX1" fmla="*/ 13332 w 34790"/>
                <a:gd name="connsiteY1" fmla="*/ 19054 h 20074"/>
                <a:gd name="connsiteX2" fmla="*/ 20762 w 34790"/>
                <a:gd name="connsiteY2" fmla="*/ 19054 h 20074"/>
                <a:gd name="connsiteX3" fmla="*/ 32954 w 34790"/>
                <a:gd name="connsiteY3" fmla="*/ 12006 h 20074"/>
                <a:gd name="connsiteX4" fmla="*/ 32954 w 34790"/>
                <a:gd name="connsiteY4" fmla="*/ 7719 h 20074"/>
                <a:gd name="connsiteX5" fmla="*/ 20762 w 34790"/>
                <a:gd name="connsiteY5" fmla="*/ 766 h 20074"/>
                <a:gd name="connsiteX6" fmla="*/ 13332 w 34790"/>
                <a:gd name="connsiteY6" fmla="*/ 766 h 20074"/>
                <a:gd name="connsiteX7" fmla="*/ 1235 w 34790"/>
                <a:gd name="connsiteY7" fmla="*/ 7719 h 20074"/>
                <a:gd name="connsiteX8" fmla="*/ 1235 w 34790"/>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4">
                  <a:moveTo>
                    <a:pt x="1235" y="12006"/>
                  </a:moveTo>
                  <a:lnTo>
                    <a:pt x="13332" y="19054"/>
                  </a:lnTo>
                  <a:cubicBezTo>
                    <a:pt x="15675" y="20197"/>
                    <a:pt x="18419" y="20197"/>
                    <a:pt x="20762" y="19054"/>
                  </a:cubicBezTo>
                  <a:lnTo>
                    <a:pt x="32954" y="12006"/>
                  </a:lnTo>
                  <a:cubicBezTo>
                    <a:pt x="34954" y="10863"/>
                    <a:pt x="34954" y="8957"/>
                    <a:pt x="32954" y="7719"/>
                  </a:cubicBezTo>
                  <a:lnTo>
                    <a:pt x="20762" y="766"/>
                  </a:lnTo>
                  <a:cubicBezTo>
                    <a:pt x="18437" y="-472"/>
                    <a:pt x="15656" y="-472"/>
                    <a:pt x="13332" y="766"/>
                  </a:cubicBezTo>
                  <a:lnTo>
                    <a:pt x="1235" y="7719"/>
                  </a:lnTo>
                  <a:cubicBezTo>
                    <a:pt x="-860" y="8957"/>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728" name="îṡľíḓe">
              <a:extLst>
                <a:ext uri="{FF2B5EF4-FFF2-40B4-BE49-F238E27FC236}">
                  <a16:creationId xmlns:a16="http://schemas.microsoft.com/office/drawing/2014/main" id="{CE218FC2-88ED-4F75-A550-5B1D498B5BC5}"/>
                </a:ext>
              </a:extLst>
            </p:cNvPr>
            <p:cNvSpPr/>
            <p:nvPr/>
          </p:nvSpPr>
          <p:spPr>
            <a:xfrm>
              <a:off x="5107806" y="4868453"/>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4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4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3" y="7953"/>
                    <a:pt x="35668" y="6981"/>
                  </a:cubicBezTo>
                  <a:lnTo>
                    <a:pt x="35668" y="-163"/>
                  </a:lnTo>
                  <a:cubicBezTo>
                    <a:pt x="35602" y="818"/>
                    <a:pt x="35021" y="1685"/>
                    <a:pt x="34144" y="2124"/>
                  </a:cubicBezTo>
                  <a:lnTo>
                    <a:pt x="31763" y="3457"/>
                  </a:lnTo>
                  <a:lnTo>
                    <a:pt x="21476" y="9362"/>
                  </a:lnTo>
                  <a:cubicBezTo>
                    <a:pt x="19085" y="10601"/>
                    <a:pt x="16247" y="10601"/>
                    <a:pt x="13856" y="9362"/>
                  </a:cubicBezTo>
                  <a:lnTo>
                    <a:pt x="3569" y="3457"/>
                  </a:lnTo>
                  <a:lnTo>
                    <a:pt x="1188" y="2124"/>
                  </a:lnTo>
                  <a:cubicBezTo>
                    <a:pt x="312"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29" name="ïšḷiḍé">
              <a:extLst>
                <a:ext uri="{FF2B5EF4-FFF2-40B4-BE49-F238E27FC236}">
                  <a16:creationId xmlns:a16="http://schemas.microsoft.com/office/drawing/2014/main" id="{45ECB459-51E0-4AFE-85A9-1DFDD17DDBC3}"/>
                </a:ext>
              </a:extLst>
            </p:cNvPr>
            <p:cNvSpPr/>
            <p:nvPr/>
          </p:nvSpPr>
          <p:spPr>
            <a:xfrm>
              <a:off x="5184348" y="4882154"/>
              <a:ext cx="109594" cy="63639"/>
            </a:xfrm>
            <a:custGeom>
              <a:avLst/>
              <a:gdLst>
                <a:gd name="connsiteX0" fmla="*/ -336 w 36004"/>
                <a:gd name="connsiteY0" fmla="*/ 10291 h 20907"/>
                <a:gd name="connsiteX1" fmla="*/ 1188 w 36004"/>
                <a:gd name="connsiteY1" fmla="*/ 12577 h 20907"/>
                <a:gd name="connsiteX2" fmla="*/ 3569 w 36004"/>
                <a:gd name="connsiteY2" fmla="*/ 13911 h 20907"/>
                <a:gd name="connsiteX3" fmla="*/ 13856 w 36004"/>
                <a:gd name="connsiteY3" fmla="*/ 19816 h 20907"/>
                <a:gd name="connsiteX4" fmla="*/ 21476 w 36004"/>
                <a:gd name="connsiteY4" fmla="*/ 19816 h 20907"/>
                <a:gd name="connsiteX5" fmla="*/ 31763 w 36004"/>
                <a:gd name="connsiteY5" fmla="*/ 13911 h 20907"/>
                <a:gd name="connsiteX6" fmla="*/ 34049 w 36004"/>
                <a:gd name="connsiteY6" fmla="*/ 12577 h 20907"/>
                <a:gd name="connsiteX7" fmla="*/ 35668 w 36004"/>
                <a:gd name="connsiteY7" fmla="*/ 10291 h 20907"/>
                <a:gd name="connsiteX8" fmla="*/ 34049 w 36004"/>
                <a:gd name="connsiteY8" fmla="*/ 8100 h 20907"/>
                <a:gd name="connsiteX9" fmla="*/ 21476 w 36004"/>
                <a:gd name="connsiteY9" fmla="*/ 766 h 20907"/>
                <a:gd name="connsiteX10" fmla="*/ 13856 w 36004"/>
                <a:gd name="connsiteY10" fmla="*/ 766 h 20907"/>
                <a:gd name="connsiteX11" fmla="*/ 1188 w 36004"/>
                <a:gd name="connsiteY11" fmla="*/ 8100 h 20907"/>
                <a:gd name="connsiteX12" fmla="*/ -336 w 36004"/>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907">
                  <a:moveTo>
                    <a:pt x="-336" y="10291"/>
                  </a:moveTo>
                  <a:cubicBezTo>
                    <a:pt x="-270" y="11272"/>
                    <a:pt x="311" y="12139"/>
                    <a:pt x="1188" y="12577"/>
                  </a:cubicBezTo>
                  <a:lnTo>
                    <a:pt x="3569" y="13911"/>
                  </a:lnTo>
                  <a:lnTo>
                    <a:pt x="13856" y="19816"/>
                  </a:lnTo>
                  <a:cubicBezTo>
                    <a:pt x="16247" y="21054"/>
                    <a:pt x="19085" y="21054"/>
                    <a:pt x="21476" y="19816"/>
                  </a:cubicBezTo>
                  <a:lnTo>
                    <a:pt x="31763" y="13911"/>
                  </a:lnTo>
                  <a:lnTo>
                    <a:pt x="34049" y="12577"/>
                  </a:lnTo>
                  <a:cubicBezTo>
                    <a:pt x="34973" y="12187"/>
                    <a:pt x="35602" y="11301"/>
                    <a:pt x="35668" y="10291"/>
                  </a:cubicBezTo>
                  <a:cubicBezTo>
                    <a:pt x="35592" y="9310"/>
                    <a:pt x="34963" y="8462"/>
                    <a:pt x="34049" y="8100"/>
                  </a:cubicBezTo>
                  <a:lnTo>
                    <a:pt x="21476" y="766"/>
                  </a:lnTo>
                  <a:cubicBezTo>
                    <a:pt x="19085" y="-472"/>
                    <a:pt x="16247" y="-472"/>
                    <a:pt x="13856" y="766"/>
                  </a:cubicBezTo>
                  <a:lnTo>
                    <a:pt x="1188" y="8100"/>
                  </a:lnTo>
                  <a:cubicBezTo>
                    <a:pt x="311" y="8491"/>
                    <a:pt x="-279"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730" name="ïš1îde">
              <a:extLst>
                <a:ext uri="{FF2B5EF4-FFF2-40B4-BE49-F238E27FC236}">
                  <a16:creationId xmlns:a16="http://schemas.microsoft.com/office/drawing/2014/main" id="{7ACA539A-A8E4-4295-973C-02E72437392C}"/>
                </a:ext>
              </a:extLst>
            </p:cNvPr>
            <p:cNvSpPr/>
            <p:nvPr/>
          </p:nvSpPr>
          <p:spPr>
            <a:xfrm>
              <a:off x="5186163" y="4882443"/>
              <a:ext cx="106766" cy="61101"/>
            </a:xfrm>
            <a:custGeom>
              <a:avLst/>
              <a:gdLst>
                <a:gd name="connsiteX0" fmla="*/ 1450 w 35075"/>
                <a:gd name="connsiteY0" fmla="*/ 12006 h 20073"/>
                <a:gd name="connsiteX1" fmla="*/ 13642 w 35075"/>
                <a:gd name="connsiteY1" fmla="*/ 19054 h 20073"/>
                <a:gd name="connsiteX2" fmla="*/ 21071 w 35075"/>
                <a:gd name="connsiteY2" fmla="*/ 19054 h 20073"/>
                <a:gd name="connsiteX3" fmla="*/ 33168 w 35075"/>
                <a:gd name="connsiteY3" fmla="*/ 12006 h 20073"/>
                <a:gd name="connsiteX4" fmla="*/ 33168 w 35075"/>
                <a:gd name="connsiteY4" fmla="*/ 7719 h 20073"/>
                <a:gd name="connsiteX5" fmla="*/ 21071 w 35075"/>
                <a:gd name="connsiteY5" fmla="*/ 766 h 20073"/>
                <a:gd name="connsiteX6" fmla="*/ 13642 w 35075"/>
                <a:gd name="connsiteY6" fmla="*/ 766 h 20073"/>
                <a:gd name="connsiteX7" fmla="*/ 1450 w 35075"/>
                <a:gd name="connsiteY7" fmla="*/ 7719 h 20073"/>
                <a:gd name="connsiteX8" fmla="*/ 1450 w 35075"/>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075" h="20073">
                  <a:moveTo>
                    <a:pt x="1450" y="12006"/>
                  </a:moveTo>
                  <a:lnTo>
                    <a:pt x="13642" y="19054"/>
                  </a:lnTo>
                  <a:cubicBezTo>
                    <a:pt x="15985" y="20197"/>
                    <a:pt x="18728" y="20197"/>
                    <a:pt x="21071" y="19054"/>
                  </a:cubicBezTo>
                  <a:lnTo>
                    <a:pt x="33168" y="12006"/>
                  </a:lnTo>
                  <a:cubicBezTo>
                    <a:pt x="35263" y="10863"/>
                    <a:pt x="35263" y="8957"/>
                    <a:pt x="33168" y="7719"/>
                  </a:cubicBezTo>
                  <a:lnTo>
                    <a:pt x="21071" y="766"/>
                  </a:lnTo>
                  <a:cubicBezTo>
                    <a:pt x="18747" y="-472"/>
                    <a:pt x="15966" y="-472"/>
                    <a:pt x="13642" y="766"/>
                  </a:cubicBezTo>
                  <a:lnTo>
                    <a:pt x="1450" y="7719"/>
                  </a:lnTo>
                  <a:cubicBezTo>
                    <a:pt x="-932" y="8957"/>
                    <a:pt x="-932" y="10863"/>
                    <a:pt x="1450" y="12006"/>
                  </a:cubicBezTo>
                  <a:close/>
                </a:path>
              </a:pathLst>
            </a:custGeom>
            <a:solidFill>
              <a:srgbClr val="D1D9E8"/>
            </a:solidFill>
            <a:ln w="9525" cap="flat">
              <a:noFill/>
              <a:prstDash val="solid"/>
              <a:miter/>
            </a:ln>
          </p:spPr>
          <p:txBody>
            <a:bodyPr rtlCol="0" anchor="ctr"/>
            <a:lstStyle/>
            <a:p>
              <a:endParaRPr lang="zh-CN" altLang="en-US"/>
            </a:p>
          </p:txBody>
        </p:sp>
        <p:sp>
          <p:nvSpPr>
            <p:cNvPr id="731" name="ïSliḓé">
              <a:extLst>
                <a:ext uri="{FF2B5EF4-FFF2-40B4-BE49-F238E27FC236}">
                  <a16:creationId xmlns:a16="http://schemas.microsoft.com/office/drawing/2014/main" id="{37FF4F82-FF48-4170-866A-D5DCE5352208}"/>
                </a:ext>
              </a:extLst>
            </p:cNvPr>
            <p:cNvSpPr/>
            <p:nvPr/>
          </p:nvSpPr>
          <p:spPr>
            <a:xfrm>
              <a:off x="5184348" y="4913975"/>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049 w 36004"/>
                <a:gd name="connsiteY5" fmla="*/ 9267 h 17597"/>
                <a:gd name="connsiteX6" fmla="*/ 35668 w 36004"/>
                <a:gd name="connsiteY6" fmla="*/ 6981 h 17597"/>
                <a:gd name="connsiteX7" fmla="*/ 35668 w 36004"/>
                <a:gd name="connsiteY7" fmla="*/ -163 h 17597"/>
                <a:gd name="connsiteX8" fmla="*/ 34049 w 36004"/>
                <a:gd name="connsiteY8" fmla="*/ 2123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3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049" y="9267"/>
                  </a:lnTo>
                  <a:cubicBezTo>
                    <a:pt x="34963" y="8857"/>
                    <a:pt x="35582" y="7981"/>
                    <a:pt x="35668" y="6981"/>
                  </a:cubicBezTo>
                  <a:lnTo>
                    <a:pt x="35668" y="-163"/>
                  </a:lnTo>
                  <a:cubicBezTo>
                    <a:pt x="35602" y="847"/>
                    <a:pt x="34973" y="1733"/>
                    <a:pt x="34049" y="2123"/>
                  </a:cubicBezTo>
                  <a:lnTo>
                    <a:pt x="31763" y="3457"/>
                  </a:lnTo>
                  <a:lnTo>
                    <a:pt x="21476" y="9362"/>
                  </a:lnTo>
                  <a:cubicBezTo>
                    <a:pt x="19085" y="10601"/>
                    <a:pt x="16247" y="10601"/>
                    <a:pt x="13856" y="9362"/>
                  </a:cubicBezTo>
                  <a:lnTo>
                    <a:pt x="3569" y="3457"/>
                  </a:lnTo>
                  <a:lnTo>
                    <a:pt x="1188"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32" name="îşlíďe">
              <a:extLst>
                <a:ext uri="{FF2B5EF4-FFF2-40B4-BE49-F238E27FC236}">
                  <a16:creationId xmlns:a16="http://schemas.microsoft.com/office/drawing/2014/main" id="{3EB3ED79-19CA-45E7-942A-9D88B0E92A9C}"/>
                </a:ext>
              </a:extLst>
            </p:cNvPr>
            <p:cNvSpPr/>
            <p:nvPr/>
          </p:nvSpPr>
          <p:spPr>
            <a:xfrm>
              <a:off x="5262343" y="4925935"/>
              <a:ext cx="109362" cy="63588"/>
            </a:xfrm>
            <a:custGeom>
              <a:avLst/>
              <a:gdLst>
                <a:gd name="connsiteX0" fmla="*/ -336 w 35928"/>
                <a:gd name="connsiteY0" fmla="*/ 10291 h 20890"/>
                <a:gd name="connsiteX1" fmla="*/ 1188 w 35928"/>
                <a:gd name="connsiteY1" fmla="*/ 12482 h 20890"/>
                <a:gd name="connsiteX2" fmla="*/ 3569 w 35928"/>
                <a:gd name="connsiteY2" fmla="*/ 13911 h 20890"/>
                <a:gd name="connsiteX3" fmla="*/ 13856 w 35928"/>
                <a:gd name="connsiteY3" fmla="*/ 19721 h 20890"/>
                <a:gd name="connsiteX4" fmla="*/ 21476 w 35928"/>
                <a:gd name="connsiteY4" fmla="*/ 19721 h 20890"/>
                <a:gd name="connsiteX5" fmla="*/ 31763 w 35928"/>
                <a:gd name="connsiteY5" fmla="*/ 13911 h 20890"/>
                <a:gd name="connsiteX6" fmla="*/ 34144 w 35928"/>
                <a:gd name="connsiteY6" fmla="*/ 12482 h 20890"/>
                <a:gd name="connsiteX7" fmla="*/ 35401 w 35928"/>
                <a:gd name="connsiteY7" fmla="*/ 9357 h 20890"/>
                <a:gd name="connsiteX8" fmla="*/ 34144 w 35928"/>
                <a:gd name="connsiteY8" fmla="*/ 8100 h 20890"/>
                <a:gd name="connsiteX9" fmla="*/ 21476 w 35928"/>
                <a:gd name="connsiteY9" fmla="*/ 766 h 20890"/>
                <a:gd name="connsiteX10" fmla="*/ 13856 w 35928"/>
                <a:gd name="connsiteY10" fmla="*/ 766 h 20890"/>
                <a:gd name="connsiteX11" fmla="*/ 1188 w 35928"/>
                <a:gd name="connsiteY11" fmla="*/ 8100 h 20890"/>
                <a:gd name="connsiteX12" fmla="*/ -336 w 35928"/>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928" h="20890">
                  <a:moveTo>
                    <a:pt x="-336" y="10291"/>
                  </a:moveTo>
                  <a:cubicBezTo>
                    <a:pt x="-298" y="11253"/>
                    <a:pt x="292" y="12110"/>
                    <a:pt x="1188" y="12482"/>
                  </a:cubicBezTo>
                  <a:lnTo>
                    <a:pt x="3569" y="13911"/>
                  </a:lnTo>
                  <a:lnTo>
                    <a:pt x="13856" y="19721"/>
                  </a:lnTo>
                  <a:cubicBezTo>
                    <a:pt x="16218" y="21064"/>
                    <a:pt x="19114" y="21064"/>
                    <a:pt x="21476" y="19721"/>
                  </a:cubicBezTo>
                  <a:lnTo>
                    <a:pt x="31763" y="13911"/>
                  </a:lnTo>
                  <a:lnTo>
                    <a:pt x="34144" y="12482"/>
                  </a:lnTo>
                  <a:cubicBezTo>
                    <a:pt x="35354" y="11967"/>
                    <a:pt x="35916" y="10567"/>
                    <a:pt x="35401" y="9357"/>
                  </a:cubicBezTo>
                  <a:cubicBezTo>
                    <a:pt x="35163" y="8796"/>
                    <a:pt x="34706" y="8338"/>
                    <a:pt x="34144" y="8100"/>
                  </a:cubicBezTo>
                  <a:lnTo>
                    <a:pt x="21476" y="766"/>
                  </a:lnTo>
                  <a:cubicBezTo>
                    <a:pt x="19085" y="-472"/>
                    <a:pt x="16247" y="-472"/>
                    <a:pt x="13856" y="766"/>
                  </a:cubicBezTo>
                  <a:lnTo>
                    <a:pt x="1188" y="8100"/>
                  </a:lnTo>
                  <a:cubicBezTo>
                    <a:pt x="292" y="8472"/>
                    <a:pt x="-298"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733" name="ísľîḓè">
              <a:extLst>
                <a:ext uri="{FF2B5EF4-FFF2-40B4-BE49-F238E27FC236}">
                  <a16:creationId xmlns:a16="http://schemas.microsoft.com/office/drawing/2014/main" id="{3FB93348-B9D5-40E4-8F2D-BA40A8E211D0}"/>
                </a:ext>
              </a:extLst>
            </p:cNvPr>
            <p:cNvSpPr/>
            <p:nvPr/>
          </p:nvSpPr>
          <p:spPr>
            <a:xfrm>
              <a:off x="5264154" y="4927094"/>
              <a:ext cx="105895" cy="61101"/>
            </a:xfrm>
            <a:custGeom>
              <a:avLst/>
              <a:gdLst>
                <a:gd name="connsiteX0" fmla="*/ 1164 w 34789"/>
                <a:gd name="connsiteY0" fmla="*/ 12006 h 20073"/>
                <a:gd name="connsiteX1" fmla="*/ 13356 w 34789"/>
                <a:gd name="connsiteY1" fmla="*/ 19054 h 20073"/>
                <a:gd name="connsiteX2" fmla="*/ 20785 w 34789"/>
                <a:gd name="connsiteY2" fmla="*/ 19054 h 20073"/>
                <a:gd name="connsiteX3" fmla="*/ 32882 w 34789"/>
                <a:gd name="connsiteY3" fmla="*/ 12006 h 20073"/>
                <a:gd name="connsiteX4" fmla="*/ 32882 w 34789"/>
                <a:gd name="connsiteY4" fmla="*/ 7719 h 20073"/>
                <a:gd name="connsiteX5" fmla="*/ 20785 w 34789"/>
                <a:gd name="connsiteY5" fmla="*/ 766 h 20073"/>
                <a:gd name="connsiteX6" fmla="*/ 13356 w 34789"/>
                <a:gd name="connsiteY6" fmla="*/ 766 h 20073"/>
                <a:gd name="connsiteX7" fmla="*/ 1164 w 34789"/>
                <a:gd name="connsiteY7" fmla="*/ 7719 h 20073"/>
                <a:gd name="connsiteX8" fmla="*/ 1164 w 34789"/>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89" h="20073">
                  <a:moveTo>
                    <a:pt x="1164" y="12006"/>
                  </a:moveTo>
                  <a:lnTo>
                    <a:pt x="13356" y="19054"/>
                  </a:lnTo>
                  <a:cubicBezTo>
                    <a:pt x="15699" y="20197"/>
                    <a:pt x="18442" y="20197"/>
                    <a:pt x="20785" y="19054"/>
                  </a:cubicBezTo>
                  <a:lnTo>
                    <a:pt x="32882" y="12006"/>
                  </a:lnTo>
                  <a:cubicBezTo>
                    <a:pt x="34977" y="10862"/>
                    <a:pt x="34977" y="8958"/>
                    <a:pt x="32882" y="7719"/>
                  </a:cubicBezTo>
                  <a:lnTo>
                    <a:pt x="20785" y="766"/>
                  </a:lnTo>
                  <a:cubicBezTo>
                    <a:pt x="18461" y="-472"/>
                    <a:pt x="15680" y="-472"/>
                    <a:pt x="13356" y="766"/>
                  </a:cubicBezTo>
                  <a:lnTo>
                    <a:pt x="1164" y="7719"/>
                  </a:lnTo>
                  <a:cubicBezTo>
                    <a:pt x="-836" y="8958"/>
                    <a:pt x="-836" y="10862"/>
                    <a:pt x="1164" y="12006"/>
                  </a:cubicBezTo>
                  <a:close/>
                </a:path>
              </a:pathLst>
            </a:custGeom>
            <a:solidFill>
              <a:srgbClr val="D1D9E8"/>
            </a:solidFill>
            <a:ln w="9525" cap="flat">
              <a:noFill/>
              <a:prstDash val="solid"/>
              <a:miter/>
            </a:ln>
          </p:spPr>
          <p:txBody>
            <a:bodyPr rtlCol="0" anchor="ctr"/>
            <a:lstStyle/>
            <a:p>
              <a:endParaRPr lang="zh-CN" altLang="en-US"/>
            </a:p>
          </p:txBody>
        </p:sp>
        <p:sp>
          <p:nvSpPr>
            <p:cNvPr id="734" name="ïşḷíďé">
              <a:extLst>
                <a:ext uri="{FF2B5EF4-FFF2-40B4-BE49-F238E27FC236}">
                  <a16:creationId xmlns:a16="http://schemas.microsoft.com/office/drawing/2014/main" id="{551F6F8C-7868-40C9-A4E1-F87D00AD81F3}"/>
                </a:ext>
              </a:extLst>
            </p:cNvPr>
            <p:cNvSpPr/>
            <p:nvPr/>
          </p:nvSpPr>
          <p:spPr>
            <a:xfrm>
              <a:off x="5262343" y="4957756"/>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028 h 17597"/>
                <a:gd name="connsiteX9" fmla="*/ 31763 w 36004"/>
                <a:gd name="connsiteY9" fmla="*/ 3457 h 17597"/>
                <a:gd name="connsiteX10" fmla="*/ 21476 w 36004"/>
                <a:gd name="connsiteY10" fmla="*/ 9267 h 17597"/>
                <a:gd name="connsiteX11" fmla="*/ 13856 w 36004"/>
                <a:gd name="connsiteY11" fmla="*/ 9267 h 17597"/>
                <a:gd name="connsiteX12" fmla="*/ 3569 w 36004"/>
                <a:gd name="connsiteY12" fmla="*/ 3457 h 17597"/>
                <a:gd name="connsiteX13" fmla="*/ 1188 w 36004"/>
                <a:gd name="connsiteY13" fmla="*/ 2028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2" y="7953"/>
                    <a:pt x="35668" y="6981"/>
                  </a:cubicBezTo>
                  <a:lnTo>
                    <a:pt x="35668" y="-163"/>
                  </a:lnTo>
                  <a:cubicBezTo>
                    <a:pt x="35630" y="799"/>
                    <a:pt x="35039" y="1656"/>
                    <a:pt x="34144" y="2028"/>
                  </a:cubicBezTo>
                  <a:lnTo>
                    <a:pt x="31763" y="3457"/>
                  </a:lnTo>
                  <a:lnTo>
                    <a:pt x="21476" y="9267"/>
                  </a:lnTo>
                  <a:cubicBezTo>
                    <a:pt x="19114" y="10610"/>
                    <a:pt x="16218" y="10610"/>
                    <a:pt x="13856" y="9267"/>
                  </a:cubicBezTo>
                  <a:lnTo>
                    <a:pt x="3569" y="3457"/>
                  </a:lnTo>
                  <a:lnTo>
                    <a:pt x="1188" y="2028"/>
                  </a:lnTo>
                  <a:cubicBezTo>
                    <a:pt x="292" y="1656"/>
                    <a:pt x="-298" y="799"/>
                    <a:pt x="-336" y="-163"/>
                  </a:cubicBezTo>
                  <a:close/>
                </a:path>
              </a:pathLst>
            </a:custGeom>
            <a:solidFill>
              <a:srgbClr val="BF4200"/>
            </a:solidFill>
            <a:ln w="9525" cap="flat">
              <a:noFill/>
              <a:prstDash val="solid"/>
              <a:miter/>
            </a:ln>
          </p:spPr>
          <p:txBody>
            <a:bodyPr rtlCol="0" anchor="ctr"/>
            <a:lstStyle/>
            <a:p>
              <a:endParaRPr lang="zh-CN" altLang="en-US"/>
            </a:p>
          </p:txBody>
        </p:sp>
        <p:sp>
          <p:nvSpPr>
            <p:cNvPr id="735" name="îṩľïḑè">
              <a:extLst>
                <a:ext uri="{FF2B5EF4-FFF2-40B4-BE49-F238E27FC236}">
                  <a16:creationId xmlns:a16="http://schemas.microsoft.com/office/drawing/2014/main" id="{41680ECD-4712-48AA-9682-CDCF19CAA5C2}"/>
                </a:ext>
              </a:extLst>
            </p:cNvPr>
            <p:cNvSpPr/>
            <p:nvPr/>
          </p:nvSpPr>
          <p:spPr>
            <a:xfrm>
              <a:off x="5339464" y="4970583"/>
              <a:ext cx="109594" cy="63588"/>
            </a:xfrm>
            <a:custGeom>
              <a:avLst/>
              <a:gdLst>
                <a:gd name="connsiteX0" fmla="*/ -336 w 36004"/>
                <a:gd name="connsiteY0" fmla="*/ 10291 h 20890"/>
                <a:gd name="connsiteX1" fmla="*/ 1283 w 36004"/>
                <a:gd name="connsiteY1" fmla="*/ 12482 h 20890"/>
                <a:gd name="connsiteX2" fmla="*/ 3569 w 36004"/>
                <a:gd name="connsiteY2" fmla="*/ 13815 h 20890"/>
                <a:gd name="connsiteX3" fmla="*/ 13856 w 36004"/>
                <a:gd name="connsiteY3" fmla="*/ 19721 h 20890"/>
                <a:gd name="connsiteX4" fmla="*/ 21571 w 36004"/>
                <a:gd name="connsiteY4" fmla="*/ 19721 h 20890"/>
                <a:gd name="connsiteX5" fmla="*/ 31858 w 36004"/>
                <a:gd name="connsiteY5" fmla="*/ 13815 h 20890"/>
                <a:gd name="connsiteX6" fmla="*/ 34144 w 36004"/>
                <a:gd name="connsiteY6" fmla="*/ 12482 h 20890"/>
                <a:gd name="connsiteX7" fmla="*/ 35668 w 36004"/>
                <a:gd name="connsiteY7" fmla="*/ 10291 h 20890"/>
                <a:gd name="connsiteX8" fmla="*/ 34144 w 36004"/>
                <a:gd name="connsiteY8" fmla="*/ 8005 h 20890"/>
                <a:gd name="connsiteX9" fmla="*/ 21571 w 36004"/>
                <a:gd name="connsiteY9" fmla="*/ 766 h 20890"/>
                <a:gd name="connsiteX10" fmla="*/ 13856 w 36004"/>
                <a:gd name="connsiteY10" fmla="*/ 766 h 20890"/>
                <a:gd name="connsiteX11" fmla="*/ 1283 w 36004"/>
                <a:gd name="connsiteY11" fmla="*/ 8005 h 20890"/>
                <a:gd name="connsiteX12" fmla="*/ -336 w 36004"/>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291"/>
                  </a:moveTo>
                  <a:cubicBezTo>
                    <a:pt x="-260" y="11272"/>
                    <a:pt x="369" y="12120"/>
                    <a:pt x="1283" y="12482"/>
                  </a:cubicBezTo>
                  <a:lnTo>
                    <a:pt x="3569" y="13815"/>
                  </a:lnTo>
                  <a:lnTo>
                    <a:pt x="13856" y="19721"/>
                  </a:lnTo>
                  <a:cubicBezTo>
                    <a:pt x="16256" y="21064"/>
                    <a:pt x="19171" y="21064"/>
                    <a:pt x="21571" y="19721"/>
                  </a:cubicBezTo>
                  <a:lnTo>
                    <a:pt x="31858" y="13815"/>
                  </a:lnTo>
                  <a:lnTo>
                    <a:pt x="34144" y="12482"/>
                  </a:lnTo>
                  <a:cubicBezTo>
                    <a:pt x="35021" y="12091"/>
                    <a:pt x="35611" y="11253"/>
                    <a:pt x="35668" y="10291"/>
                  </a:cubicBezTo>
                  <a:cubicBezTo>
                    <a:pt x="35601" y="9310"/>
                    <a:pt x="35021" y="8443"/>
                    <a:pt x="34144" y="8005"/>
                  </a:cubicBezTo>
                  <a:lnTo>
                    <a:pt x="21571" y="766"/>
                  </a:lnTo>
                  <a:cubicBezTo>
                    <a:pt x="19152" y="-472"/>
                    <a:pt x="16275" y="-472"/>
                    <a:pt x="13856" y="766"/>
                  </a:cubicBezTo>
                  <a:lnTo>
                    <a:pt x="1283" y="8005"/>
                  </a:lnTo>
                  <a:cubicBezTo>
                    <a:pt x="349" y="8396"/>
                    <a:pt x="-270" y="9281"/>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736" name="iṡḷïḋê">
              <a:extLst>
                <a:ext uri="{FF2B5EF4-FFF2-40B4-BE49-F238E27FC236}">
                  <a16:creationId xmlns:a16="http://schemas.microsoft.com/office/drawing/2014/main" id="{869809BB-92F1-4986-80AD-A9069C3F36E1}"/>
                </a:ext>
              </a:extLst>
            </p:cNvPr>
            <p:cNvSpPr/>
            <p:nvPr/>
          </p:nvSpPr>
          <p:spPr>
            <a:xfrm>
              <a:off x="5341348" y="4971743"/>
              <a:ext cx="105898" cy="61104"/>
            </a:xfrm>
            <a:custGeom>
              <a:avLst/>
              <a:gdLst>
                <a:gd name="connsiteX0" fmla="*/ 1235 w 34790"/>
                <a:gd name="connsiteY0" fmla="*/ 12006 h 20074"/>
                <a:gd name="connsiteX1" fmla="*/ 13332 w 34790"/>
                <a:gd name="connsiteY1" fmla="*/ 19054 h 20074"/>
                <a:gd name="connsiteX2" fmla="*/ 20762 w 34790"/>
                <a:gd name="connsiteY2" fmla="*/ 19054 h 20074"/>
                <a:gd name="connsiteX3" fmla="*/ 32954 w 34790"/>
                <a:gd name="connsiteY3" fmla="*/ 12006 h 20074"/>
                <a:gd name="connsiteX4" fmla="*/ 32954 w 34790"/>
                <a:gd name="connsiteY4" fmla="*/ 7719 h 20074"/>
                <a:gd name="connsiteX5" fmla="*/ 20762 w 34790"/>
                <a:gd name="connsiteY5" fmla="*/ 766 h 20074"/>
                <a:gd name="connsiteX6" fmla="*/ 13332 w 34790"/>
                <a:gd name="connsiteY6" fmla="*/ 766 h 20074"/>
                <a:gd name="connsiteX7" fmla="*/ 1235 w 34790"/>
                <a:gd name="connsiteY7" fmla="*/ 7719 h 20074"/>
                <a:gd name="connsiteX8" fmla="*/ 1235 w 34790"/>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4">
                  <a:moveTo>
                    <a:pt x="1235" y="12006"/>
                  </a:moveTo>
                  <a:lnTo>
                    <a:pt x="13332" y="19054"/>
                  </a:lnTo>
                  <a:cubicBezTo>
                    <a:pt x="15675" y="20197"/>
                    <a:pt x="18419" y="20197"/>
                    <a:pt x="20762" y="19054"/>
                  </a:cubicBezTo>
                  <a:lnTo>
                    <a:pt x="32954" y="12006"/>
                  </a:lnTo>
                  <a:cubicBezTo>
                    <a:pt x="34954" y="10863"/>
                    <a:pt x="34954" y="8958"/>
                    <a:pt x="32954" y="7719"/>
                  </a:cubicBezTo>
                  <a:lnTo>
                    <a:pt x="20762" y="766"/>
                  </a:lnTo>
                  <a:cubicBezTo>
                    <a:pt x="18437" y="-472"/>
                    <a:pt x="15656" y="-472"/>
                    <a:pt x="13332" y="766"/>
                  </a:cubicBezTo>
                  <a:lnTo>
                    <a:pt x="1235" y="7719"/>
                  </a:lnTo>
                  <a:cubicBezTo>
                    <a:pt x="-860" y="9434"/>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737" name="iṡļïḓê">
              <a:extLst>
                <a:ext uri="{FF2B5EF4-FFF2-40B4-BE49-F238E27FC236}">
                  <a16:creationId xmlns:a16="http://schemas.microsoft.com/office/drawing/2014/main" id="{DDA5E6AA-F7BC-41D7-B5FC-EB19B596CA59}"/>
                </a:ext>
              </a:extLst>
            </p:cNvPr>
            <p:cNvSpPr/>
            <p:nvPr/>
          </p:nvSpPr>
          <p:spPr>
            <a:xfrm>
              <a:off x="5339464" y="5001244"/>
              <a:ext cx="110464" cy="54724"/>
            </a:xfrm>
            <a:custGeom>
              <a:avLst/>
              <a:gdLst>
                <a:gd name="connsiteX0" fmla="*/ -336 w 36290"/>
                <a:gd name="connsiteY0" fmla="*/ 218 h 17978"/>
                <a:gd name="connsiteX1" fmla="*/ -336 w 36290"/>
                <a:gd name="connsiteY1" fmla="*/ 7362 h 17978"/>
                <a:gd name="connsiteX2" fmla="*/ 1283 w 36290"/>
                <a:gd name="connsiteY2" fmla="*/ 9648 h 17978"/>
                <a:gd name="connsiteX3" fmla="*/ 13856 w 36290"/>
                <a:gd name="connsiteY3" fmla="*/ 16887 h 17978"/>
                <a:gd name="connsiteX4" fmla="*/ 21571 w 36290"/>
                <a:gd name="connsiteY4" fmla="*/ 16887 h 17978"/>
                <a:gd name="connsiteX5" fmla="*/ 34430 w 36290"/>
                <a:gd name="connsiteY5" fmla="*/ 9267 h 17978"/>
                <a:gd name="connsiteX6" fmla="*/ 35954 w 36290"/>
                <a:gd name="connsiteY6" fmla="*/ 6981 h 17978"/>
                <a:gd name="connsiteX7" fmla="*/ 35954 w 36290"/>
                <a:gd name="connsiteY7" fmla="*/ -163 h 17978"/>
                <a:gd name="connsiteX8" fmla="*/ 34430 w 36290"/>
                <a:gd name="connsiteY8" fmla="*/ 2028 h 17978"/>
                <a:gd name="connsiteX9" fmla="*/ 32144 w 36290"/>
                <a:gd name="connsiteY9" fmla="*/ 3362 h 17978"/>
                <a:gd name="connsiteX10" fmla="*/ 21857 w 36290"/>
                <a:gd name="connsiteY10" fmla="*/ 9267 h 17978"/>
                <a:gd name="connsiteX11" fmla="*/ 14142 w 36290"/>
                <a:gd name="connsiteY11" fmla="*/ 9267 h 17978"/>
                <a:gd name="connsiteX12" fmla="*/ 3855 w 36290"/>
                <a:gd name="connsiteY12" fmla="*/ 3362 h 17978"/>
                <a:gd name="connsiteX13" fmla="*/ 1568 w 36290"/>
                <a:gd name="connsiteY13" fmla="*/ 2028 h 17978"/>
                <a:gd name="connsiteX14" fmla="*/ -336 w 36290"/>
                <a:gd name="connsiteY14" fmla="*/ 218 h 17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290" h="17978">
                  <a:moveTo>
                    <a:pt x="-336" y="218"/>
                  </a:moveTo>
                  <a:lnTo>
                    <a:pt x="-336" y="7362"/>
                  </a:lnTo>
                  <a:cubicBezTo>
                    <a:pt x="-270" y="8372"/>
                    <a:pt x="359" y="9257"/>
                    <a:pt x="1283" y="9648"/>
                  </a:cubicBezTo>
                  <a:lnTo>
                    <a:pt x="13856" y="16887"/>
                  </a:lnTo>
                  <a:cubicBezTo>
                    <a:pt x="16275" y="18125"/>
                    <a:pt x="19152" y="18125"/>
                    <a:pt x="21571" y="16887"/>
                  </a:cubicBezTo>
                  <a:lnTo>
                    <a:pt x="34430" y="9267"/>
                  </a:lnTo>
                  <a:cubicBezTo>
                    <a:pt x="35297" y="8819"/>
                    <a:pt x="35868" y="7953"/>
                    <a:pt x="35954" y="6981"/>
                  </a:cubicBezTo>
                  <a:lnTo>
                    <a:pt x="35954" y="-163"/>
                  </a:lnTo>
                  <a:cubicBezTo>
                    <a:pt x="35897" y="799"/>
                    <a:pt x="35306" y="1638"/>
                    <a:pt x="34430" y="2028"/>
                  </a:cubicBezTo>
                  <a:lnTo>
                    <a:pt x="32144" y="3362"/>
                  </a:lnTo>
                  <a:lnTo>
                    <a:pt x="21857" y="9267"/>
                  </a:lnTo>
                  <a:cubicBezTo>
                    <a:pt x="19457" y="10610"/>
                    <a:pt x="16542" y="10610"/>
                    <a:pt x="14142" y="9267"/>
                  </a:cubicBezTo>
                  <a:lnTo>
                    <a:pt x="3855" y="3362"/>
                  </a:lnTo>
                  <a:lnTo>
                    <a:pt x="1568" y="2028"/>
                  </a:lnTo>
                  <a:cubicBezTo>
                    <a:pt x="654" y="1818"/>
                    <a:pt x="-79" y="1123"/>
                    <a:pt x="-336" y="218"/>
                  </a:cubicBezTo>
                  <a:close/>
                </a:path>
              </a:pathLst>
            </a:custGeom>
            <a:solidFill>
              <a:srgbClr val="BF4200"/>
            </a:solidFill>
            <a:ln w="9525" cap="flat">
              <a:noFill/>
              <a:prstDash val="solid"/>
              <a:miter/>
            </a:ln>
          </p:spPr>
          <p:txBody>
            <a:bodyPr rtlCol="0" anchor="ctr"/>
            <a:lstStyle/>
            <a:p>
              <a:endParaRPr lang="zh-CN" altLang="en-US"/>
            </a:p>
          </p:txBody>
        </p:sp>
        <p:sp>
          <p:nvSpPr>
            <p:cNvPr id="738" name="ïṩḻîḓè">
              <a:extLst>
                <a:ext uri="{FF2B5EF4-FFF2-40B4-BE49-F238E27FC236}">
                  <a16:creationId xmlns:a16="http://schemas.microsoft.com/office/drawing/2014/main" id="{11AB723C-F5EC-4166-922C-18B6637B5766}"/>
                </a:ext>
              </a:extLst>
            </p:cNvPr>
            <p:cNvSpPr/>
            <p:nvPr/>
          </p:nvSpPr>
          <p:spPr>
            <a:xfrm>
              <a:off x="5416296" y="5015234"/>
              <a:ext cx="109594" cy="63588"/>
            </a:xfrm>
            <a:custGeom>
              <a:avLst/>
              <a:gdLst>
                <a:gd name="connsiteX0" fmla="*/ -336 w 36004"/>
                <a:gd name="connsiteY0" fmla="*/ 10196 h 20890"/>
                <a:gd name="connsiteX1" fmla="*/ 1188 w 36004"/>
                <a:gd name="connsiteY1" fmla="*/ 12482 h 20890"/>
                <a:gd name="connsiteX2" fmla="*/ 3569 w 36004"/>
                <a:gd name="connsiteY2" fmla="*/ 13815 h 20890"/>
                <a:gd name="connsiteX3" fmla="*/ 13856 w 36004"/>
                <a:gd name="connsiteY3" fmla="*/ 19721 h 20890"/>
                <a:gd name="connsiteX4" fmla="*/ 21476 w 36004"/>
                <a:gd name="connsiteY4" fmla="*/ 19721 h 20890"/>
                <a:gd name="connsiteX5" fmla="*/ 31763 w 36004"/>
                <a:gd name="connsiteY5" fmla="*/ 13815 h 20890"/>
                <a:gd name="connsiteX6" fmla="*/ 34144 w 36004"/>
                <a:gd name="connsiteY6" fmla="*/ 12482 h 20890"/>
                <a:gd name="connsiteX7" fmla="*/ 35668 w 36004"/>
                <a:gd name="connsiteY7" fmla="*/ 10196 h 20890"/>
                <a:gd name="connsiteX8" fmla="*/ 34144 w 36004"/>
                <a:gd name="connsiteY8" fmla="*/ 8005 h 20890"/>
                <a:gd name="connsiteX9" fmla="*/ 21476 w 36004"/>
                <a:gd name="connsiteY9" fmla="*/ 766 h 20890"/>
                <a:gd name="connsiteX10" fmla="*/ 13856 w 36004"/>
                <a:gd name="connsiteY10" fmla="*/ 766 h 20890"/>
                <a:gd name="connsiteX11" fmla="*/ 1188 w 36004"/>
                <a:gd name="connsiteY11" fmla="*/ 8005 h 20890"/>
                <a:gd name="connsiteX12" fmla="*/ -336 w 36004"/>
                <a:gd name="connsiteY12" fmla="*/ 10196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196"/>
                  </a:moveTo>
                  <a:cubicBezTo>
                    <a:pt x="-308" y="11186"/>
                    <a:pt x="283" y="12082"/>
                    <a:pt x="1188" y="12482"/>
                  </a:cubicBezTo>
                  <a:lnTo>
                    <a:pt x="3569" y="13815"/>
                  </a:lnTo>
                  <a:lnTo>
                    <a:pt x="13856" y="19721"/>
                  </a:lnTo>
                  <a:cubicBezTo>
                    <a:pt x="16218" y="21064"/>
                    <a:pt x="19114" y="21064"/>
                    <a:pt x="21476" y="19721"/>
                  </a:cubicBezTo>
                  <a:lnTo>
                    <a:pt x="31763" y="13815"/>
                  </a:lnTo>
                  <a:lnTo>
                    <a:pt x="34144" y="12482"/>
                  </a:lnTo>
                  <a:cubicBezTo>
                    <a:pt x="35049" y="12082"/>
                    <a:pt x="35640" y="11186"/>
                    <a:pt x="35668" y="10196"/>
                  </a:cubicBezTo>
                  <a:cubicBezTo>
                    <a:pt x="35573" y="9253"/>
                    <a:pt x="34992" y="8424"/>
                    <a:pt x="34144" y="8005"/>
                  </a:cubicBezTo>
                  <a:lnTo>
                    <a:pt x="21476" y="766"/>
                  </a:lnTo>
                  <a:cubicBezTo>
                    <a:pt x="19085" y="-472"/>
                    <a:pt x="16247" y="-472"/>
                    <a:pt x="13856" y="766"/>
                  </a:cubicBezTo>
                  <a:lnTo>
                    <a:pt x="1188" y="8005"/>
                  </a:lnTo>
                  <a:cubicBezTo>
                    <a:pt x="340" y="8424"/>
                    <a:pt x="-241" y="925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739" name="í$1ïḓe">
              <a:extLst>
                <a:ext uri="{FF2B5EF4-FFF2-40B4-BE49-F238E27FC236}">
                  <a16:creationId xmlns:a16="http://schemas.microsoft.com/office/drawing/2014/main" id="{63A36A64-1E52-4B38-BCDE-2B245F301AEF}"/>
                </a:ext>
              </a:extLst>
            </p:cNvPr>
            <p:cNvSpPr/>
            <p:nvPr/>
          </p:nvSpPr>
          <p:spPr>
            <a:xfrm>
              <a:off x="5419008" y="5016394"/>
              <a:ext cx="105329" cy="61101"/>
            </a:xfrm>
            <a:custGeom>
              <a:avLst/>
              <a:gdLst>
                <a:gd name="connsiteX0" fmla="*/ 1154 w 34603"/>
                <a:gd name="connsiteY0" fmla="*/ 12006 h 20073"/>
                <a:gd name="connsiteX1" fmla="*/ 13250 w 34603"/>
                <a:gd name="connsiteY1" fmla="*/ 19054 h 20073"/>
                <a:gd name="connsiteX2" fmla="*/ 20680 w 34603"/>
                <a:gd name="connsiteY2" fmla="*/ 19054 h 20073"/>
                <a:gd name="connsiteX3" fmla="*/ 32777 w 34603"/>
                <a:gd name="connsiteY3" fmla="*/ 12006 h 20073"/>
                <a:gd name="connsiteX4" fmla="*/ 34120 w 34603"/>
                <a:gd name="connsiteY4" fmla="*/ 9062 h 20073"/>
                <a:gd name="connsiteX5" fmla="*/ 32777 w 34603"/>
                <a:gd name="connsiteY5" fmla="*/ 7719 h 20073"/>
                <a:gd name="connsiteX6" fmla="*/ 20680 w 34603"/>
                <a:gd name="connsiteY6" fmla="*/ 766 h 20073"/>
                <a:gd name="connsiteX7" fmla="*/ 13250 w 34603"/>
                <a:gd name="connsiteY7" fmla="*/ 766 h 20073"/>
                <a:gd name="connsiteX8" fmla="*/ 1154 w 34603"/>
                <a:gd name="connsiteY8" fmla="*/ 7719 h 20073"/>
                <a:gd name="connsiteX9" fmla="*/ -189 w 34603"/>
                <a:gd name="connsiteY9" fmla="*/ 10653 h 20073"/>
                <a:gd name="connsiteX10" fmla="*/ 1154 w 34603"/>
                <a:gd name="connsiteY10"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603" h="20073">
                  <a:moveTo>
                    <a:pt x="1154" y="12006"/>
                  </a:moveTo>
                  <a:lnTo>
                    <a:pt x="13250" y="19054"/>
                  </a:lnTo>
                  <a:cubicBezTo>
                    <a:pt x="15594" y="20197"/>
                    <a:pt x="18337" y="20197"/>
                    <a:pt x="20680" y="19054"/>
                  </a:cubicBezTo>
                  <a:lnTo>
                    <a:pt x="32777" y="12006"/>
                  </a:lnTo>
                  <a:cubicBezTo>
                    <a:pt x="33958" y="11567"/>
                    <a:pt x="34567" y="10253"/>
                    <a:pt x="34120" y="9062"/>
                  </a:cubicBezTo>
                  <a:cubicBezTo>
                    <a:pt x="33891" y="8443"/>
                    <a:pt x="33396" y="7948"/>
                    <a:pt x="32777" y="7719"/>
                  </a:cubicBezTo>
                  <a:lnTo>
                    <a:pt x="20680" y="766"/>
                  </a:lnTo>
                  <a:cubicBezTo>
                    <a:pt x="18356" y="-472"/>
                    <a:pt x="15575" y="-472"/>
                    <a:pt x="13250" y="766"/>
                  </a:cubicBezTo>
                  <a:lnTo>
                    <a:pt x="1154" y="7719"/>
                  </a:lnTo>
                  <a:cubicBezTo>
                    <a:pt x="-27" y="8158"/>
                    <a:pt x="-637" y="9472"/>
                    <a:pt x="-189" y="10653"/>
                  </a:cubicBezTo>
                  <a:cubicBezTo>
                    <a:pt x="39" y="11282"/>
                    <a:pt x="535" y="11777"/>
                    <a:pt x="1154" y="12006"/>
                  </a:cubicBezTo>
                  <a:close/>
                </a:path>
              </a:pathLst>
            </a:custGeom>
            <a:solidFill>
              <a:srgbClr val="D1D9E8"/>
            </a:solidFill>
            <a:ln w="9525" cap="flat">
              <a:noFill/>
              <a:prstDash val="solid"/>
              <a:miter/>
            </a:ln>
          </p:spPr>
          <p:txBody>
            <a:bodyPr rtlCol="0" anchor="ctr"/>
            <a:lstStyle/>
            <a:p>
              <a:endParaRPr lang="zh-CN" altLang="en-US"/>
            </a:p>
          </p:txBody>
        </p:sp>
        <p:sp>
          <p:nvSpPr>
            <p:cNvPr id="740" name="iṥ1îḓè">
              <a:extLst>
                <a:ext uri="{FF2B5EF4-FFF2-40B4-BE49-F238E27FC236}">
                  <a16:creationId xmlns:a16="http://schemas.microsoft.com/office/drawing/2014/main" id="{90DB9E14-DBEB-45D1-914D-0A4BA3F412DB}"/>
                </a:ext>
              </a:extLst>
            </p:cNvPr>
            <p:cNvSpPr/>
            <p:nvPr/>
          </p:nvSpPr>
          <p:spPr>
            <a:xfrm>
              <a:off x="5416296" y="5046763"/>
              <a:ext cx="109594" cy="53804"/>
            </a:xfrm>
            <a:custGeom>
              <a:avLst/>
              <a:gdLst>
                <a:gd name="connsiteX0" fmla="*/ -336 w 36004"/>
                <a:gd name="connsiteY0" fmla="*/ -163 h 17676"/>
                <a:gd name="connsiteX1" fmla="*/ -336 w 36004"/>
                <a:gd name="connsiteY1" fmla="*/ 7076 h 17676"/>
                <a:gd name="connsiteX2" fmla="*/ 1188 w 36004"/>
                <a:gd name="connsiteY2" fmla="*/ 9267 h 17676"/>
                <a:gd name="connsiteX3" fmla="*/ 13856 w 36004"/>
                <a:gd name="connsiteY3" fmla="*/ 16506 h 17676"/>
                <a:gd name="connsiteX4" fmla="*/ 21476 w 36004"/>
                <a:gd name="connsiteY4" fmla="*/ 16506 h 17676"/>
                <a:gd name="connsiteX5" fmla="*/ 34144 w 36004"/>
                <a:gd name="connsiteY5" fmla="*/ 9267 h 17676"/>
                <a:gd name="connsiteX6" fmla="*/ 35668 w 36004"/>
                <a:gd name="connsiteY6" fmla="*/ 7076 h 17676"/>
                <a:gd name="connsiteX7" fmla="*/ 35668 w 36004"/>
                <a:gd name="connsiteY7" fmla="*/ -163 h 17676"/>
                <a:gd name="connsiteX8" fmla="*/ 34144 w 36004"/>
                <a:gd name="connsiteY8" fmla="*/ 2124 h 17676"/>
                <a:gd name="connsiteX9" fmla="*/ 31763 w 36004"/>
                <a:gd name="connsiteY9" fmla="*/ 3457 h 17676"/>
                <a:gd name="connsiteX10" fmla="*/ 21476 w 36004"/>
                <a:gd name="connsiteY10" fmla="*/ 9362 h 17676"/>
                <a:gd name="connsiteX11" fmla="*/ 13856 w 36004"/>
                <a:gd name="connsiteY11" fmla="*/ 9362 h 17676"/>
                <a:gd name="connsiteX12" fmla="*/ 3569 w 36004"/>
                <a:gd name="connsiteY12" fmla="*/ 3457 h 17676"/>
                <a:gd name="connsiteX13" fmla="*/ 1188 w 36004"/>
                <a:gd name="connsiteY13" fmla="*/ 2124 h 17676"/>
                <a:gd name="connsiteX14" fmla="*/ -336 w 36004"/>
                <a:gd name="connsiteY14" fmla="*/ -163 h 17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6">
                  <a:moveTo>
                    <a:pt x="-336" y="-163"/>
                  </a:moveTo>
                  <a:lnTo>
                    <a:pt x="-336" y="7076"/>
                  </a:lnTo>
                  <a:cubicBezTo>
                    <a:pt x="-298" y="8039"/>
                    <a:pt x="292" y="8896"/>
                    <a:pt x="1188" y="9267"/>
                  </a:cubicBezTo>
                  <a:lnTo>
                    <a:pt x="13856" y="16506"/>
                  </a:lnTo>
                  <a:cubicBezTo>
                    <a:pt x="16218" y="17849"/>
                    <a:pt x="19114" y="17849"/>
                    <a:pt x="21476" y="16506"/>
                  </a:cubicBezTo>
                  <a:lnTo>
                    <a:pt x="34144" y="9267"/>
                  </a:lnTo>
                  <a:cubicBezTo>
                    <a:pt x="35021" y="8877"/>
                    <a:pt x="35611" y="8039"/>
                    <a:pt x="35668" y="7076"/>
                  </a:cubicBezTo>
                  <a:lnTo>
                    <a:pt x="35668" y="-163"/>
                  </a:lnTo>
                  <a:cubicBezTo>
                    <a:pt x="35640" y="828"/>
                    <a:pt x="35049" y="1724"/>
                    <a:pt x="34144" y="2124"/>
                  </a:cubicBezTo>
                  <a:lnTo>
                    <a:pt x="31763" y="3457"/>
                  </a:lnTo>
                  <a:lnTo>
                    <a:pt x="21476" y="9362"/>
                  </a:lnTo>
                  <a:cubicBezTo>
                    <a:pt x="19114" y="10706"/>
                    <a:pt x="16218" y="10706"/>
                    <a:pt x="13856" y="9362"/>
                  </a:cubicBezTo>
                  <a:lnTo>
                    <a:pt x="3569" y="3457"/>
                  </a:lnTo>
                  <a:lnTo>
                    <a:pt x="1188" y="2124"/>
                  </a:lnTo>
                  <a:cubicBezTo>
                    <a:pt x="283" y="1724"/>
                    <a:pt x="-308"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41" name="iṧľiḍé">
              <a:extLst>
                <a:ext uri="{FF2B5EF4-FFF2-40B4-BE49-F238E27FC236}">
                  <a16:creationId xmlns:a16="http://schemas.microsoft.com/office/drawing/2014/main" id="{59696EA9-896D-400D-B028-03E79E259CDE}"/>
                </a:ext>
              </a:extLst>
            </p:cNvPr>
            <p:cNvSpPr/>
            <p:nvPr/>
          </p:nvSpPr>
          <p:spPr>
            <a:xfrm>
              <a:off x="5493998" y="5059883"/>
              <a:ext cx="109740" cy="63350"/>
            </a:xfrm>
            <a:custGeom>
              <a:avLst/>
              <a:gdLst>
                <a:gd name="connsiteX0" fmla="*/ -336 w 36052"/>
                <a:gd name="connsiteY0" fmla="*/ 10196 h 20812"/>
                <a:gd name="connsiteX1" fmla="*/ 1283 w 36052"/>
                <a:gd name="connsiteY1" fmla="*/ 12482 h 20812"/>
                <a:gd name="connsiteX2" fmla="*/ 3569 w 36052"/>
                <a:gd name="connsiteY2" fmla="*/ 13815 h 20812"/>
                <a:gd name="connsiteX3" fmla="*/ 13856 w 36052"/>
                <a:gd name="connsiteY3" fmla="*/ 19721 h 20812"/>
                <a:gd name="connsiteX4" fmla="*/ 21571 w 36052"/>
                <a:gd name="connsiteY4" fmla="*/ 19721 h 20812"/>
                <a:gd name="connsiteX5" fmla="*/ 31858 w 36052"/>
                <a:gd name="connsiteY5" fmla="*/ 13815 h 20812"/>
                <a:gd name="connsiteX6" fmla="*/ 34144 w 36052"/>
                <a:gd name="connsiteY6" fmla="*/ 12482 h 20812"/>
                <a:gd name="connsiteX7" fmla="*/ 35573 w 36052"/>
                <a:gd name="connsiteY7" fmla="*/ 9434 h 20812"/>
                <a:gd name="connsiteX8" fmla="*/ 34144 w 36052"/>
                <a:gd name="connsiteY8" fmla="*/ 8005 h 20812"/>
                <a:gd name="connsiteX9" fmla="*/ 21571 w 36052"/>
                <a:gd name="connsiteY9" fmla="*/ 766 h 20812"/>
                <a:gd name="connsiteX10" fmla="*/ 13856 w 36052"/>
                <a:gd name="connsiteY10" fmla="*/ 766 h 20812"/>
                <a:gd name="connsiteX11" fmla="*/ 1283 w 36052"/>
                <a:gd name="connsiteY11" fmla="*/ 8005 h 20812"/>
                <a:gd name="connsiteX12" fmla="*/ -336 w 36052"/>
                <a:gd name="connsiteY12" fmla="*/ 10196 h 20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12">
                  <a:moveTo>
                    <a:pt x="-336" y="10196"/>
                  </a:moveTo>
                  <a:cubicBezTo>
                    <a:pt x="-231" y="11186"/>
                    <a:pt x="378" y="12053"/>
                    <a:pt x="1283" y="12482"/>
                  </a:cubicBezTo>
                  <a:lnTo>
                    <a:pt x="3569" y="13815"/>
                  </a:lnTo>
                  <a:lnTo>
                    <a:pt x="13856" y="19721"/>
                  </a:lnTo>
                  <a:cubicBezTo>
                    <a:pt x="16275" y="20959"/>
                    <a:pt x="19152" y="20959"/>
                    <a:pt x="21571" y="19721"/>
                  </a:cubicBezTo>
                  <a:lnTo>
                    <a:pt x="31858" y="13815"/>
                  </a:lnTo>
                  <a:lnTo>
                    <a:pt x="34144" y="12482"/>
                  </a:lnTo>
                  <a:cubicBezTo>
                    <a:pt x="35382" y="12034"/>
                    <a:pt x="36021" y="10663"/>
                    <a:pt x="35573" y="9434"/>
                  </a:cubicBezTo>
                  <a:cubicBezTo>
                    <a:pt x="35325" y="8767"/>
                    <a:pt x="34811" y="8243"/>
                    <a:pt x="34144" y="8005"/>
                  </a:cubicBezTo>
                  <a:lnTo>
                    <a:pt x="21571" y="766"/>
                  </a:lnTo>
                  <a:cubicBezTo>
                    <a:pt x="19152" y="-472"/>
                    <a:pt x="16275" y="-472"/>
                    <a:pt x="13856" y="766"/>
                  </a:cubicBezTo>
                  <a:lnTo>
                    <a:pt x="1283" y="8005"/>
                  </a:lnTo>
                  <a:cubicBezTo>
                    <a:pt x="407" y="8415"/>
                    <a:pt x="-203" y="924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742" name="íṣḷîḑè">
              <a:extLst>
                <a:ext uri="{FF2B5EF4-FFF2-40B4-BE49-F238E27FC236}">
                  <a16:creationId xmlns:a16="http://schemas.microsoft.com/office/drawing/2014/main" id="{927C74EA-7C9A-470A-B6EA-1CF334DABAE0}"/>
                </a:ext>
              </a:extLst>
            </p:cNvPr>
            <p:cNvSpPr/>
            <p:nvPr/>
          </p:nvSpPr>
          <p:spPr>
            <a:xfrm>
              <a:off x="5496132" y="5060972"/>
              <a:ext cx="105618" cy="61174"/>
            </a:xfrm>
            <a:custGeom>
              <a:avLst/>
              <a:gdLst>
                <a:gd name="connsiteX0" fmla="*/ 1154 w 34698"/>
                <a:gd name="connsiteY0" fmla="*/ 12029 h 20097"/>
                <a:gd name="connsiteX1" fmla="*/ 13251 w 34698"/>
                <a:gd name="connsiteY1" fmla="*/ 19078 h 20097"/>
                <a:gd name="connsiteX2" fmla="*/ 20680 w 34698"/>
                <a:gd name="connsiteY2" fmla="*/ 19078 h 20097"/>
                <a:gd name="connsiteX3" fmla="*/ 32872 w 34698"/>
                <a:gd name="connsiteY3" fmla="*/ 12029 h 20097"/>
                <a:gd name="connsiteX4" fmla="*/ 34215 w 34698"/>
                <a:gd name="connsiteY4" fmla="*/ 9096 h 20097"/>
                <a:gd name="connsiteX5" fmla="*/ 32872 w 34698"/>
                <a:gd name="connsiteY5" fmla="*/ 7743 h 20097"/>
                <a:gd name="connsiteX6" fmla="*/ 20680 w 34698"/>
                <a:gd name="connsiteY6" fmla="*/ 695 h 20097"/>
                <a:gd name="connsiteX7" fmla="*/ 13251 w 34698"/>
                <a:gd name="connsiteY7" fmla="*/ 695 h 20097"/>
                <a:gd name="connsiteX8" fmla="*/ 1154 w 34698"/>
                <a:gd name="connsiteY8" fmla="*/ 7743 h 20097"/>
                <a:gd name="connsiteX9" fmla="*/ -189 w 34698"/>
                <a:gd name="connsiteY9" fmla="*/ 10677 h 20097"/>
                <a:gd name="connsiteX10" fmla="*/ 1154 w 34698"/>
                <a:gd name="connsiteY10" fmla="*/ 12029 h 20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698" h="20097">
                  <a:moveTo>
                    <a:pt x="1154" y="12029"/>
                  </a:moveTo>
                  <a:lnTo>
                    <a:pt x="13251" y="19078"/>
                  </a:lnTo>
                  <a:cubicBezTo>
                    <a:pt x="15594" y="20221"/>
                    <a:pt x="18337" y="20221"/>
                    <a:pt x="20680" y="19078"/>
                  </a:cubicBezTo>
                  <a:lnTo>
                    <a:pt x="32872" y="12029"/>
                  </a:lnTo>
                  <a:cubicBezTo>
                    <a:pt x="34053" y="11591"/>
                    <a:pt x="34663" y="10277"/>
                    <a:pt x="34215" y="9096"/>
                  </a:cubicBezTo>
                  <a:cubicBezTo>
                    <a:pt x="33986" y="8467"/>
                    <a:pt x="33491" y="7972"/>
                    <a:pt x="32872" y="7743"/>
                  </a:cubicBezTo>
                  <a:lnTo>
                    <a:pt x="20680" y="695"/>
                  </a:lnTo>
                  <a:cubicBezTo>
                    <a:pt x="18337" y="-448"/>
                    <a:pt x="15594" y="-448"/>
                    <a:pt x="13251" y="695"/>
                  </a:cubicBezTo>
                  <a:lnTo>
                    <a:pt x="1154" y="7743"/>
                  </a:lnTo>
                  <a:cubicBezTo>
                    <a:pt x="-27" y="8181"/>
                    <a:pt x="-637" y="9496"/>
                    <a:pt x="-189" y="10677"/>
                  </a:cubicBezTo>
                  <a:cubicBezTo>
                    <a:pt x="39" y="11305"/>
                    <a:pt x="535" y="11801"/>
                    <a:pt x="1154" y="12029"/>
                  </a:cubicBezTo>
                  <a:close/>
                </a:path>
              </a:pathLst>
            </a:custGeom>
            <a:solidFill>
              <a:srgbClr val="D1D9E8"/>
            </a:solidFill>
            <a:ln w="9525" cap="flat">
              <a:noFill/>
              <a:prstDash val="solid"/>
              <a:miter/>
            </a:ln>
          </p:spPr>
          <p:txBody>
            <a:bodyPr rtlCol="0" anchor="ctr"/>
            <a:lstStyle/>
            <a:p>
              <a:endParaRPr lang="zh-CN" altLang="en-US"/>
            </a:p>
          </p:txBody>
        </p:sp>
        <p:sp>
          <p:nvSpPr>
            <p:cNvPr id="743" name="îSlïḑé">
              <a:extLst>
                <a:ext uri="{FF2B5EF4-FFF2-40B4-BE49-F238E27FC236}">
                  <a16:creationId xmlns:a16="http://schemas.microsoft.com/office/drawing/2014/main" id="{42468E60-4921-4E25-88E4-BD2224C94268}"/>
                </a:ext>
              </a:extLst>
            </p:cNvPr>
            <p:cNvSpPr/>
            <p:nvPr/>
          </p:nvSpPr>
          <p:spPr>
            <a:xfrm>
              <a:off x="5493998" y="5091415"/>
              <a:ext cx="109883" cy="53801"/>
            </a:xfrm>
            <a:custGeom>
              <a:avLst/>
              <a:gdLst>
                <a:gd name="connsiteX0" fmla="*/ -336 w 36099"/>
                <a:gd name="connsiteY0" fmla="*/ -163 h 17675"/>
                <a:gd name="connsiteX1" fmla="*/ -336 w 36099"/>
                <a:gd name="connsiteY1" fmla="*/ 7076 h 17675"/>
                <a:gd name="connsiteX2" fmla="*/ 1283 w 36099"/>
                <a:gd name="connsiteY2" fmla="*/ 9267 h 17675"/>
                <a:gd name="connsiteX3" fmla="*/ 13856 w 36099"/>
                <a:gd name="connsiteY3" fmla="*/ 16506 h 17675"/>
                <a:gd name="connsiteX4" fmla="*/ 21571 w 36099"/>
                <a:gd name="connsiteY4" fmla="*/ 16506 h 17675"/>
                <a:gd name="connsiteX5" fmla="*/ 34144 w 36099"/>
                <a:gd name="connsiteY5" fmla="*/ 9267 h 17675"/>
                <a:gd name="connsiteX6" fmla="*/ 35764 w 36099"/>
                <a:gd name="connsiteY6" fmla="*/ 7076 h 17675"/>
                <a:gd name="connsiteX7" fmla="*/ 35764 w 36099"/>
                <a:gd name="connsiteY7" fmla="*/ -163 h 17675"/>
                <a:gd name="connsiteX8" fmla="*/ 34144 w 36099"/>
                <a:gd name="connsiteY8" fmla="*/ 2123 h 17675"/>
                <a:gd name="connsiteX9" fmla="*/ 31858 w 36099"/>
                <a:gd name="connsiteY9" fmla="*/ 3457 h 17675"/>
                <a:gd name="connsiteX10" fmla="*/ 21571 w 36099"/>
                <a:gd name="connsiteY10" fmla="*/ 9362 h 17675"/>
                <a:gd name="connsiteX11" fmla="*/ 13856 w 36099"/>
                <a:gd name="connsiteY11" fmla="*/ 9362 h 17675"/>
                <a:gd name="connsiteX12" fmla="*/ 3569 w 36099"/>
                <a:gd name="connsiteY12" fmla="*/ 3457 h 17675"/>
                <a:gd name="connsiteX13" fmla="*/ 1283 w 36099"/>
                <a:gd name="connsiteY13" fmla="*/ 2123 h 17675"/>
                <a:gd name="connsiteX14" fmla="*/ -336 w 36099"/>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675">
                  <a:moveTo>
                    <a:pt x="-336" y="-163"/>
                  </a:moveTo>
                  <a:lnTo>
                    <a:pt x="-336" y="7076"/>
                  </a:lnTo>
                  <a:cubicBezTo>
                    <a:pt x="-222" y="8038"/>
                    <a:pt x="397" y="8877"/>
                    <a:pt x="1283" y="9267"/>
                  </a:cubicBezTo>
                  <a:lnTo>
                    <a:pt x="13856" y="16506"/>
                  </a:lnTo>
                  <a:cubicBezTo>
                    <a:pt x="16256" y="17849"/>
                    <a:pt x="19171" y="17849"/>
                    <a:pt x="21571" y="16506"/>
                  </a:cubicBezTo>
                  <a:lnTo>
                    <a:pt x="34144" y="9267"/>
                  </a:lnTo>
                  <a:cubicBezTo>
                    <a:pt x="35030" y="8877"/>
                    <a:pt x="35649" y="8038"/>
                    <a:pt x="35764" y="7076"/>
                  </a:cubicBezTo>
                  <a:lnTo>
                    <a:pt x="35764" y="-163"/>
                  </a:lnTo>
                  <a:cubicBezTo>
                    <a:pt x="35659" y="828"/>
                    <a:pt x="35049" y="1695"/>
                    <a:pt x="34144" y="2123"/>
                  </a:cubicBezTo>
                  <a:lnTo>
                    <a:pt x="31858" y="3457"/>
                  </a:lnTo>
                  <a:lnTo>
                    <a:pt x="21571" y="9362"/>
                  </a:lnTo>
                  <a:cubicBezTo>
                    <a:pt x="19152" y="10601"/>
                    <a:pt x="16275" y="10601"/>
                    <a:pt x="13856" y="9362"/>
                  </a:cubicBezTo>
                  <a:lnTo>
                    <a:pt x="3569" y="3457"/>
                  </a:lnTo>
                  <a:lnTo>
                    <a:pt x="1283" y="2123"/>
                  </a:lnTo>
                  <a:cubicBezTo>
                    <a:pt x="378" y="1695"/>
                    <a:pt x="-231"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44" name="îšḷiḑè">
              <a:extLst>
                <a:ext uri="{FF2B5EF4-FFF2-40B4-BE49-F238E27FC236}">
                  <a16:creationId xmlns:a16="http://schemas.microsoft.com/office/drawing/2014/main" id="{DDFB7903-C374-4223-9C70-10657E43A362}"/>
                </a:ext>
              </a:extLst>
            </p:cNvPr>
            <p:cNvSpPr/>
            <p:nvPr/>
          </p:nvSpPr>
          <p:spPr>
            <a:xfrm>
              <a:off x="5571411" y="5104440"/>
              <a:ext cx="109740" cy="63445"/>
            </a:xfrm>
            <a:custGeom>
              <a:avLst/>
              <a:gdLst>
                <a:gd name="connsiteX0" fmla="*/ -336 w 36052"/>
                <a:gd name="connsiteY0" fmla="*/ 10227 h 20843"/>
                <a:gd name="connsiteX1" fmla="*/ 1188 w 36052"/>
                <a:gd name="connsiteY1" fmla="*/ 12513 h 20843"/>
                <a:gd name="connsiteX2" fmla="*/ 3569 w 36052"/>
                <a:gd name="connsiteY2" fmla="*/ 13846 h 20843"/>
                <a:gd name="connsiteX3" fmla="*/ 13856 w 36052"/>
                <a:gd name="connsiteY3" fmla="*/ 19752 h 20843"/>
                <a:gd name="connsiteX4" fmla="*/ 21476 w 36052"/>
                <a:gd name="connsiteY4" fmla="*/ 19752 h 20843"/>
                <a:gd name="connsiteX5" fmla="*/ 31763 w 36052"/>
                <a:gd name="connsiteY5" fmla="*/ 13846 h 20843"/>
                <a:gd name="connsiteX6" fmla="*/ 34144 w 36052"/>
                <a:gd name="connsiteY6" fmla="*/ 12513 h 20843"/>
                <a:gd name="connsiteX7" fmla="*/ 35573 w 36052"/>
                <a:gd name="connsiteY7" fmla="*/ 9465 h 20843"/>
                <a:gd name="connsiteX8" fmla="*/ 34144 w 36052"/>
                <a:gd name="connsiteY8" fmla="*/ 8036 h 20843"/>
                <a:gd name="connsiteX9" fmla="*/ 21476 w 36052"/>
                <a:gd name="connsiteY9" fmla="*/ 702 h 20843"/>
                <a:gd name="connsiteX10" fmla="*/ 13856 w 36052"/>
                <a:gd name="connsiteY10" fmla="*/ 702 h 20843"/>
                <a:gd name="connsiteX11" fmla="*/ 1188 w 36052"/>
                <a:gd name="connsiteY11" fmla="*/ 8036 h 20843"/>
                <a:gd name="connsiteX12" fmla="*/ -336 w 36052"/>
                <a:gd name="connsiteY12" fmla="*/ 10227 h 20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3">
                  <a:moveTo>
                    <a:pt x="-336" y="10227"/>
                  </a:moveTo>
                  <a:cubicBezTo>
                    <a:pt x="-270" y="11208"/>
                    <a:pt x="311" y="12075"/>
                    <a:pt x="1188" y="12513"/>
                  </a:cubicBezTo>
                  <a:lnTo>
                    <a:pt x="3569" y="13846"/>
                  </a:lnTo>
                  <a:lnTo>
                    <a:pt x="13856" y="19752"/>
                  </a:lnTo>
                  <a:cubicBezTo>
                    <a:pt x="16247" y="20990"/>
                    <a:pt x="19085" y="20990"/>
                    <a:pt x="21476" y="19752"/>
                  </a:cubicBezTo>
                  <a:lnTo>
                    <a:pt x="31763" y="13846"/>
                  </a:lnTo>
                  <a:lnTo>
                    <a:pt x="34144" y="12513"/>
                  </a:lnTo>
                  <a:cubicBezTo>
                    <a:pt x="35382" y="12065"/>
                    <a:pt x="36020" y="10694"/>
                    <a:pt x="35573" y="9465"/>
                  </a:cubicBezTo>
                  <a:cubicBezTo>
                    <a:pt x="35325" y="8798"/>
                    <a:pt x="34811" y="8274"/>
                    <a:pt x="34144"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745" name="i$ļîḑê">
              <a:extLst>
                <a:ext uri="{FF2B5EF4-FFF2-40B4-BE49-F238E27FC236}">
                  <a16:creationId xmlns:a16="http://schemas.microsoft.com/office/drawing/2014/main" id="{CC5B2D39-3831-48B7-9CEA-D3914233B968}"/>
                </a:ext>
              </a:extLst>
            </p:cNvPr>
            <p:cNvSpPr/>
            <p:nvPr/>
          </p:nvSpPr>
          <p:spPr>
            <a:xfrm>
              <a:off x="5573295" y="5105621"/>
              <a:ext cx="105825" cy="61101"/>
            </a:xfrm>
            <a:custGeom>
              <a:avLst/>
              <a:gdLst>
                <a:gd name="connsiteX0" fmla="*/ 1235 w 34766"/>
                <a:gd name="connsiteY0" fmla="*/ 12030 h 20073"/>
                <a:gd name="connsiteX1" fmla="*/ 13332 w 34766"/>
                <a:gd name="connsiteY1" fmla="*/ 18983 h 20073"/>
                <a:gd name="connsiteX2" fmla="*/ 20762 w 34766"/>
                <a:gd name="connsiteY2" fmla="*/ 18983 h 20073"/>
                <a:gd name="connsiteX3" fmla="*/ 32858 w 34766"/>
                <a:gd name="connsiteY3" fmla="*/ 12030 h 20073"/>
                <a:gd name="connsiteX4" fmla="*/ 32858 w 34766"/>
                <a:gd name="connsiteY4" fmla="*/ 7743 h 20073"/>
                <a:gd name="connsiteX5" fmla="*/ 20762 w 34766"/>
                <a:gd name="connsiteY5" fmla="*/ 695 h 20073"/>
                <a:gd name="connsiteX6" fmla="*/ 13332 w 34766"/>
                <a:gd name="connsiteY6" fmla="*/ 695 h 20073"/>
                <a:gd name="connsiteX7" fmla="*/ 1235 w 34766"/>
                <a:gd name="connsiteY7" fmla="*/ 7743 h 20073"/>
                <a:gd name="connsiteX8" fmla="*/ 1235 w 34766"/>
                <a:gd name="connsiteY8" fmla="*/ 12030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6" h="20073">
                  <a:moveTo>
                    <a:pt x="1235" y="12030"/>
                  </a:moveTo>
                  <a:lnTo>
                    <a:pt x="13332" y="18983"/>
                  </a:lnTo>
                  <a:cubicBezTo>
                    <a:pt x="15656" y="20221"/>
                    <a:pt x="18437" y="20221"/>
                    <a:pt x="20762" y="18983"/>
                  </a:cubicBezTo>
                  <a:lnTo>
                    <a:pt x="32858" y="12030"/>
                  </a:lnTo>
                  <a:cubicBezTo>
                    <a:pt x="34954" y="10791"/>
                    <a:pt x="34954" y="8886"/>
                    <a:pt x="32858" y="7743"/>
                  </a:cubicBezTo>
                  <a:lnTo>
                    <a:pt x="20762" y="695"/>
                  </a:lnTo>
                  <a:cubicBezTo>
                    <a:pt x="18419" y="-448"/>
                    <a:pt x="15675" y="-448"/>
                    <a:pt x="13332" y="695"/>
                  </a:cubicBezTo>
                  <a:lnTo>
                    <a:pt x="1235" y="7743"/>
                  </a:lnTo>
                  <a:cubicBezTo>
                    <a:pt x="-860" y="8886"/>
                    <a:pt x="-860" y="10791"/>
                    <a:pt x="1235" y="12030"/>
                  </a:cubicBezTo>
                  <a:close/>
                </a:path>
              </a:pathLst>
            </a:custGeom>
            <a:solidFill>
              <a:srgbClr val="D1D9E8"/>
            </a:solidFill>
            <a:ln w="9525" cap="flat">
              <a:noFill/>
              <a:prstDash val="solid"/>
              <a:miter/>
            </a:ln>
          </p:spPr>
          <p:txBody>
            <a:bodyPr rtlCol="0" anchor="ctr"/>
            <a:lstStyle/>
            <a:p>
              <a:endParaRPr lang="zh-CN" altLang="en-US"/>
            </a:p>
          </p:txBody>
        </p:sp>
        <p:sp>
          <p:nvSpPr>
            <p:cNvPr id="746" name="îṥḷiḓe">
              <a:extLst>
                <a:ext uri="{FF2B5EF4-FFF2-40B4-BE49-F238E27FC236}">
                  <a16:creationId xmlns:a16="http://schemas.microsoft.com/office/drawing/2014/main" id="{D82267E0-1868-4E72-A8F4-1E8C98462757}"/>
                </a:ext>
              </a:extLst>
            </p:cNvPr>
            <p:cNvSpPr/>
            <p:nvPr/>
          </p:nvSpPr>
          <p:spPr>
            <a:xfrm>
              <a:off x="5571411" y="5136063"/>
              <a:ext cx="109594" cy="53801"/>
            </a:xfrm>
            <a:custGeom>
              <a:avLst/>
              <a:gdLst>
                <a:gd name="connsiteX0" fmla="*/ -336 w 36004"/>
                <a:gd name="connsiteY0" fmla="*/ -163 h 17675"/>
                <a:gd name="connsiteX1" fmla="*/ -336 w 36004"/>
                <a:gd name="connsiteY1" fmla="*/ 7076 h 17675"/>
                <a:gd name="connsiteX2" fmla="*/ 1188 w 36004"/>
                <a:gd name="connsiteY2" fmla="*/ 9267 h 17675"/>
                <a:gd name="connsiteX3" fmla="*/ 13856 w 36004"/>
                <a:gd name="connsiteY3" fmla="*/ 16506 h 17675"/>
                <a:gd name="connsiteX4" fmla="*/ 21476 w 36004"/>
                <a:gd name="connsiteY4" fmla="*/ 16506 h 17675"/>
                <a:gd name="connsiteX5" fmla="*/ 34144 w 36004"/>
                <a:gd name="connsiteY5" fmla="*/ 9267 h 17675"/>
                <a:gd name="connsiteX6" fmla="*/ 35668 w 36004"/>
                <a:gd name="connsiteY6" fmla="*/ 6981 h 17675"/>
                <a:gd name="connsiteX7" fmla="*/ 35668 w 36004"/>
                <a:gd name="connsiteY7" fmla="*/ -163 h 17675"/>
                <a:gd name="connsiteX8" fmla="*/ 34144 w 36004"/>
                <a:gd name="connsiteY8" fmla="*/ 2123 h 17675"/>
                <a:gd name="connsiteX9" fmla="*/ 31763 w 36004"/>
                <a:gd name="connsiteY9" fmla="*/ 3457 h 17675"/>
                <a:gd name="connsiteX10" fmla="*/ 21476 w 36004"/>
                <a:gd name="connsiteY10" fmla="*/ 9362 h 17675"/>
                <a:gd name="connsiteX11" fmla="*/ 13856 w 36004"/>
                <a:gd name="connsiteY11" fmla="*/ 9362 h 17675"/>
                <a:gd name="connsiteX12" fmla="*/ 3569 w 36004"/>
                <a:gd name="connsiteY12" fmla="*/ 3457 h 17675"/>
                <a:gd name="connsiteX13" fmla="*/ 1188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79" y="8038"/>
                    <a:pt x="311" y="8877"/>
                    <a:pt x="1188" y="9267"/>
                  </a:cubicBezTo>
                  <a:lnTo>
                    <a:pt x="13856" y="16506"/>
                  </a:lnTo>
                  <a:cubicBezTo>
                    <a:pt x="16218" y="17849"/>
                    <a:pt x="19114" y="17849"/>
                    <a:pt x="21476" y="16506"/>
                  </a:cubicBezTo>
                  <a:lnTo>
                    <a:pt x="34144" y="9267"/>
                  </a:lnTo>
                  <a:cubicBezTo>
                    <a:pt x="35049" y="8867"/>
                    <a:pt x="35640" y="7972"/>
                    <a:pt x="35668" y="6981"/>
                  </a:cubicBezTo>
                  <a:lnTo>
                    <a:pt x="35668" y="-163"/>
                  </a:lnTo>
                  <a:cubicBezTo>
                    <a:pt x="35601" y="818"/>
                    <a:pt x="35021" y="1685"/>
                    <a:pt x="34144" y="2123"/>
                  </a:cubicBezTo>
                  <a:lnTo>
                    <a:pt x="31763" y="3457"/>
                  </a:lnTo>
                  <a:lnTo>
                    <a:pt x="21476" y="9362"/>
                  </a:lnTo>
                  <a:cubicBezTo>
                    <a:pt x="19085" y="10601"/>
                    <a:pt x="16247" y="10601"/>
                    <a:pt x="13856" y="9362"/>
                  </a:cubicBezTo>
                  <a:lnTo>
                    <a:pt x="3569" y="3457"/>
                  </a:lnTo>
                  <a:lnTo>
                    <a:pt x="1188"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47" name="íşḻíde">
              <a:extLst>
                <a:ext uri="{FF2B5EF4-FFF2-40B4-BE49-F238E27FC236}">
                  <a16:creationId xmlns:a16="http://schemas.microsoft.com/office/drawing/2014/main" id="{688CA885-4697-4E1E-BDEC-6258328FC44B}"/>
                </a:ext>
              </a:extLst>
            </p:cNvPr>
            <p:cNvSpPr/>
            <p:nvPr/>
          </p:nvSpPr>
          <p:spPr>
            <a:xfrm>
              <a:off x="5648243" y="5149240"/>
              <a:ext cx="109740" cy="63289"/>
            </a:xfrm>
            <a:custGeom>
              <a:avLst/>
              <a:gdLst>
                <a:gd name="connsiteX0" fmla="*/ -336 w 36052"/>
                <a:gd name="connsiteY0" fmla="*/ 10177 h 20792"/>
                <a:gd name="connsiteX1" fmla="*/ 1283 w 36052"/>
                <a:gd name="connsiteY1" fmla="*/ 12463 h 20792"/>
                <a:gd name="connsiteX2" fmla="*/ 3569 w 36052"/>
                <a:gd name="connsiteY2" fmla="*/ 13796 h 20792"/>
                <a:gd name="connsiteX3" fmla="*/ 13856 w 36052"/>
                <a:gd name="connsiteY3" fmla="*/ 19702 h 20792"/>
                <a:gd name="connsiteX4" fmla="*/ 21571 w 36052"/>
                <a:gd name="connsiteY4" fmla="*/ 19702 h 20792"/>
                <a:gd name="connsiteX5" fmla="*/ 31858 w 36052"/>
                <a:gd name="connsiteY5" fmla="*/ 13796 h 20792"/>
                <a:gd name="connsiteX6" fmla="*/ 34144 w 36052"/>
                <a:gd name="connsiteY6" fmla="*/ 12463 h 20792"/>
                <a:gd name="connsiteX7" fmla="*/ 35573 w 36052"/>
                <a:gd name="connsiteY7" fmla="*/ 9415 h 20792"/>
                <a:gd name="connsiteX8" fmla="*/ 34144 w 36052"/>
                <a:gd name="connsiteY8" fmla="*/ 7986 h 20792"/>
                <a:gd name="connsiteX9" fmla="*/ 21571 w 36052"/>
                <a:gd name="connsiteY9" fmla="*/ 652 h 20792"/>
                <a:gd name="connsiteX10" fmla="*/ 13856 w 36052"/>
                <a:gd name="connsiteY10" fmla="*/ 652 h 20792"/>
                <a:gd name="connsiteX11" fmla="*/ 1283 w 36052"/>
                <a:gd name="connsiteY11" fmla="*/ 7986 h 20792"/>
                <a:gd name="connsiteX12" fmla="*/ -336 w 36052"/>
                <a:gd name="connsiteY12" fmla="*/ 10177 h 20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792">
                  <a:moveTo>
                    <a:pt x="-336" y="10177"/>
                  </a:moveTo>
                  <a:cubicBezTo>
                    <a:pt x="-232" y="11167"/>
                    <a:pt x="378" y="12034"/>
                    <a:pt x="1283" y="12463"/>
                  </a:cubicBezTo>
                  <a:lnTo>
                    <a:pt x="3569" y="13796"/>
                  </a:lnTo>
                  <a:lnTo>
                    <a:pt x="13856" y="19702"/>
                  </a:lnTo>
                  <a:cubicBezTo>
                    <a:pt x="16275" y="20940"/>
                    <a:pt x="19152" y="20940"/>
                    <a:pt x="21571" y="19702"/>
                  </a:cubicBezTo>
                  <a:lnTo>
                    <a:pt x="31858" y="13796"/>
                  </a:lnTo>
                  <a:lnTo>
                    <a:pt x="34144" y="12463"/>
                  </a:lnTo>
                  <a:cubicBezTo>
                    <a:pt x="35382" y="12015"/>
                    <a:pt x="36020" y="10643"/>
                    <a:pt x="35573" y="9415"/>
                  </a:cubicBezTo>
                  <a:cubicBezTo>
                    <a:pt x="35325" y="8748"/>
                    <a:pt x="34811" y="8224"/>
                    <a:pt x="34144" y="7986"/>
                  </a:cubicBezTo>
                  <a:lnTo>
                    <a:pt x="21571" y="652"/>
                  </a:lnTo>
                  <a:cubicBezTo>
                    <a:pt x="19114" y="-434"/>
                    <a:pt x="16313" y="-434"/>
                    <a:pt x="13856" y="652"/>
                  </a:cubicBezTo>
                  <a:lnTo>
                    <a:pt x="1283" y="7986"/>
                  </a:lnTo>
                  <a:cubicBezTo>
                    <a:pt x="407" y="8396"/>
                    <a:pt x="-203" y="9224"/>
                    <a:pt x="-336" y="10177"/>
                  </a:cubicBezTo>
                  <a:close/>
                </a:path>
              </a:pathLst>
            </a:custGeom>
            <a:solidFill>
              <a:srgbClr val="FFFFFF"/>
            </a:solidFill>
            <a:ln w="9525" cap="flat">
              <a:noFill/>
              <a:prstDash val="solid"/>
              <a:miter/>
            </a:ln>
          </p:spPr>
          <p:txBody>
            <a:bodyPr rtlCol="0" anchor="ctr"/>
            <a:lstStyle/>
            <a:p>
              <a:endParaRPr lang="zh-CN" altLang="en-US"/>
            </a:p>
          </p:txBody>
        </p:sp>
        <p:sp>
          <p:nvSpPr>
            <p:cNvPr id="748" name="îŝḷîdé">
              <a:extLst>
                <a:ext uri="{FF2B5EF4-FFF2-40B4-BE49-F238E27FC236}">
                  <a16:creationId xmlns:a16="http://schemas.microsoft.com/office/drawing/2014/main" id="{EBE0AC25-5AF7-4E92-91C4-516BDBCFC911}"/>
                </a:ext>
              </a:extLst>
            </p:cNvPr>
            <p:cNvSpPr/>
            <p:nvPr/>
          </p:nvSpPr>
          <p:spPr>
            <a:xfrm>
              <a:off x="5649984" y="5150269"/>
              <a:ext cx="106330" cy="61104"/>
            </a:xfrm>
            <a:custGeom>
              <a:avLst/>
              <a:gdLst>
                <a:gd name="connsiteX0" fmla="*/ 1378 w 34932"/>
                <a:gd name="connsiteY0" fmla="*/ 12029 h 20074"/>
                <a:gd name="connsiteX1" fmla="*/ 13570 w 34932"/>
                <a:gd name="connsiteY1" fmla="*/ 18983 h 20074"/>
                <a:gd name="connsiteX2" fmla="*/ 21000 w 34932"/>
                <a:gd name="connsiteY2" fmla="*/ 18983 h 20074"/>
                <a:gd name="connsiteX3" fmla="*/ 33097 w 34932"/>
                <a:gd name="connsiteY3" fmla="*/ 12029 h 20074"/>
                <a:gd name="connsiteX4" fmla="*/ 33097 w 34932"/>
                <a:gd name="connsiteY4" fmla="*/ 7743 h 20074"/>
                <a:gd name="connsiteX5" fmla="*/ 21000 w 34932"/>
                <a:gd name="connsiteY5" fmla="*/ 695 h 20074"/>
                <a:gd name="connsiteX6" fmla="*/ 13570 w 34932"/>
                <a:gd name="connsiteY6" fmla="*/ 695 h 20074"/>
                <a:gd name="connsiteX7" fmla="*/ 1378 w 34932"/>
                <a:gd name="connsiteY7" fmla="*/ 7743 h 20074"/>
                <a:gd name="connsiteX8" fmla="*/ 1378 w 34932"/>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932" h="20074">
                  <a:moveTo>
                    <a:pt x="1378" y="12029"/>
                  </a:moveTo>
                  <a:lnTo>
                    <a:pt x="13570" y="18983"/>
                  </a:lnTo>
                  <a:cubicBezTo>
                    <a:pt x="15894" y="20221"/>
                    <a:pt x="18676" y="20221"/>
                    <a:pt x="21000" y="18983"/>
                  </a:cubicBezTo>
                  <a:lnTo>
                    <a:pt x="33097" y="12029"/>
                  </a:lnTo>
                  <a:cubicBezTo>
                    <a:pt x="35097" y="10791"/>
                    <a:pt x="35097" y="8886"/>
                    <a:pt x="33097" y="7743"/>
                  </a:cubicBezTo>
                  <a:lnTo>
                    <a:pt x="21000" y="695"/>
                  </a:lnTo>
                  <a:cubicBezTo>
                    <a:pt x="18656" y="-448"/>
                    <a:pt x="15913" y="-448"/>
                    <a:pt x="13570" y="695"/>
                  </a:cubicBezTo>
                  <a:lnTo>
                    <a:pt x="1378" y="7743"/>
                  </a:lnTo>
                  <a:cubicBezTo>
                    <a:pt x="-908" y="8886"/>
                    <a:pt x="-908" y="10791"/>
                    <a:pt x="1378" y="12029"/>
                  </a:cubicBezTo>
                  <a:close/>
                </a:path>
              </a:pathLst>
            </a:custGeom>
            <a:solidFill>
              <a:srgbClr val="D1D9E8"/>
            </a:solidFill>
            <a:ln w="9525" cap="flat">
              <a:noFill/>
              <a:prstDash val="solid"/>
              <a:miter/>
            </a:ln>
          </p:spPr>
          <p:txBody>
            <a:bodyPr rtlCol="0" anchor="ctr"/>
            <a:lstStyle/>
            <a:p>
              <a:endParaRPr lang="zh-CN" altLang="en-US"/>
            </a:p>
          </p:txBody>
        </p:sp>
        <p:sp>
          <p:nvSpPr>
            <p:cNvPr id="749" name="ïś1îďê">
              <a:extLst>
                <a:ext uri="{FF2B5EF4-FFF2-40B4-BE49-F238E27FC236}">
                  <a16:creationId xmlns:a16="http://schemas.microsoft.com/office/drawing/2014/main" id="{0D7796B6-D7C8-4F91-84EC-33815DAAA207}"/>
                </a:ext>
              </a:extLst>
            </p:cNvPr>
            <p:cNvSpPr/>
            <p:nvPr/>
          </p:nvSpPr>
          <p:spPr>
            <a:xfrm>
              <a:off x="5648240" y="5180714"/>
              <a:ext cx="109889" cy="54961"/>
            </a:xfrm>
            <a:custGeom>
              <a:avLst/>
              <a:gdLst>
                <a:gd name="connsiteX0" fmla="*/ -335 w 36101"/>
                <a:gd name="connsiteY0" fmla="*/ -163 h 18056"/>
                <a:gd name="connsiteX1" fmla="*/ -335 w 36101"/>
                <a:gd name="connsiteY1" fmla="*/ 7457 h 18056"/>
                <a:gd name="connsiteX2" fmla="*/ 1285 w 36101"/>
                <a:gd name="connsiteY2" fmla="*/ 9648 h 18056"/>
                <a:gd name="connsiteX3" fmla="*/ 13857 w 36101"/>
                <a:gd name="connsiteY3" fmla="*/ 16887 h 18056"/>
                <a:gd name="connsiteX4" fmla="*/ 21573 w 36101"/>
                <a:gd name="connsiteY4" fmla="*/ 16887 h 18056"/>
                <a:gd name="connsiteX5" fmla="*/ 34146 w 36101"/>
                <a:gd name="connsiteY5" fmla="*/ 9648 h 18056"/>
                <a:gd name="connsiteX6" fmla="*/ 35765 w 36101"/>
                <a:gd name="connsiteY6" fmla="*/ 7362 h 18056"/>
                <a:gd name="connsiteX7" fmla="*/ 35765 w 36101"/>
                <a:gd name="connsiteY7" fmla="*/ 218 h 18056"/>
                <a:gd name="connsiteX8" fmla="*/ 34146 w 36101"/>
                <a:gd name="connsiteY8" fmla="*/ 2504 h 18056"/>
                <a:gd name="connsiteX9" fmla="*/ 31860 w 36101"/>
                <a:gd name="connsiteY9" fmla="*/ 3838 h 18056"/>
                <a:gd name="connsiteX10" fmla="*/ 21573 w 36101"/>
                <a:gd name="connsiteY10" fmla="*/ 9743 h 18056"/>
                <a:gd name="connsiteX11" fmla="*/ 13857 w 36101"/>
                <a:gd name="connsiteY11" fmla="*/ 9743 h 18056"/>
                <a:gd name="connsiteX12" fmla="*/ 3571 w 36101"/>
                <a:gd name="connsiteY12" fmla="*/ 3838 h 18056"/>
                <a:gd name="connsiteX13" fmla="*/ 1285 w 36101"/>
                <a:gd name="connsiteY13" fmla="*/ 2504 h 18056"/>
                <a:gd name="connsiteX14" fmla="*/ -335 w 36101"/>
                <a:gd name="connsiteY14" fmla="*/ -163 h 18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101" h="18056">
                  <a:moveTo>
                    <a:pt x="-335" y="-163"/>
                  </a:moveTo>
                  <a:lnTo>
                    <a:pt x="-335" y="7457"/>
                  </a:lnTo>
                  <a:cubicBezTo>
                    <a:pt x="-201" y="8410"/>
                    <a:pt x="408" y="9239"/>
                    <a:pt x="1285" y="9648"/>
                  </a:cubicBezTo>
                  <a:lnTo>
                    <a:pt x="13857" y="16887"/>
                  </a:lnTo>
                  <a:cubicBezTo>
                    <a:pt x="16258" y="18230"/>
                    <a:pt x="19173" y="18230"/>
                    <a:pt x="21573" y="16887"/>
                  </a:cubicBezTo>
                  <a:lnTo>
                    <a:pt x="34146" y="9648"/>
                  </a:lnTo>
                  <a:cubicBezTo>
                    <a:pt x="35070" y="9257"/>
                    <a:pt x="35698" y="8372"/>
                    <a:pt x="35765" y="7362"/>
                  </a:cubicBezTo>
                  <a:lnTo>
                    <a:pt x="35765" y="218"/>
                  </a:lnTo>
                  <a:cubicBezTo>
                    <a:pt x="35698" y="1228"/>
                    <a:pt x="35070" y="2114"/>
                    <a:pt x="34146" y="2504"/>
                  </a:cubicBezTo>
                  <a:lnTo>
                    <a:pt x="31860" y="3838"/>
                  </a:lnTo>
                  <a:lnTo>
                    <a:pt x="21573" y="9743"/>
                  </a:lnTo>
                  <a:cubicBezTo>
                    <a:pt x="19153" y="10981"/>
                    <a:pt x="16277" y="10981"/>
                    <a:pt x="13857" y="9743"/>
                  </a:cubicBezTo>
                  <a:lnTo>
                    <a:pt x="3571" y="3838"/>
                  </a:lnTo>
                  <a:lnTo>
                    <a:pt x="1285" y="2504"/>
                  </a:lnTo>
                  <a:cubicBezTo>
                    <a:pt x="265" y="2018"/>
                    <a:pt x="-373" y="971"/>
                    <a:pt x="-335" y="-163"/>
                  </a:cubicBezTo>
                  <a:close/>
                </a:path>
              </a:pathLst>
            </a:custGeom>
            <a:solidFill>
              <a:srgbClr val="BF4200"/>
            </a:solidFill>
            <a:ln w="9525" cap="flat">
              <a:noFill/>
              <a:prstDash val="solid"/>
              <a:miter/>
            </a:ln>
          </p:spPr>
          <p:txBody>
            <a:bodyPr rtlCol="0" anchor="ctr"/>
            <a:lstStyle/>
            <a:p>
              <a:endParaRPr lang="zh-CN" altLang="en-US"/>
            </a:p>
          </p:txBody>
        </p:sp>
        <p:sp>
          <p:nvSpPr>
            <p:cNvPr id="750" name="îslïḓè">
              <a:extLst>
                <a:ext uri="{FF2B5EF4-FFF2-40B4-BE49-F238E27FC236}">
                  <a16:creationId xmlns:a16="http://schemas.microsoft.com/office/drawing/2014/main" id="{E3DEC783-FAC2-4F35-9CB8-20D881237EF0}"/>
                </a:ext>
              </a:extLst>
            </p:cNvPr>
            <p:cNvSpPr/>
            <p:nvPr/>
          </p:nvSpPr>
          <p:spPr>
            <a:xfrm>
              <a:off x="5725945" y="5193739"/>
              <a:ext cx="109740" cy="63445"/>
            </a:xfrm>
            <a:custGeom>
              <a:avLst/>
              <a:gdLst>
                <a:gd name="connsiteX0" fmla="*/ -336 w 36052"/>
                <a:gd name="connsiteY0" fmla="*/ 10227 h 20843"/>
                <a:gd name="connsiteX1" fmla="*/ 1188 w 36052"/>
                <a:gd name="connsiteY1" fmla="*/ 12513 h 20843"/>
                <a:gd name="connsiteX2" fmla="*/ 3569 w 36052"/>
                <a:gd name="connsiteY2" fmla="*/ 13846 h 20843"/>
                <a:gd name="connsiteX3" fmla="*/ 13856 w 36052"/>
                <a:gd name="connsiteY3" fmla="*/ 19752 h 20843"/>
                <a:gd name="connsiteX4" fmla="*/ 21476 w 36052"/>
                <a:gd name="connsiteY4" fmla="*/ 19752 h 20843"/>
                <a:gd name="connsiteX5" fmla="*/ 31763 w 36052"/>
                <a:gd name="connsiteY5" fmla="*/ 13846 h 20843"/>
                <a:gd name="connsiteX6" fmla="*/ 34144 w 36052"/>
                <a:gd name="connsiteY6" fmla="*/ 12513 h 20843"/>
                <a:gd name="connsiteX7" fmla="*/ 35573 w 36052"/>
                <a:gd name="connsiteY7" fmla="*/ 9465 h 20843"/>
                <a:gd name="connsiteX8" fmla="*/ 34144 w 36052"/>
                <a:gd name="connsiteY8" fmla="*/ 8036 h 20843"/>
                <a:gd name="connsiteX9" fmla="*/ 21476 w 36052"/>
                <a:gd name="connsiteY9" fmla="*/ 702 h 20843"/>
                <a:gd name="connsiteX10" fmla="*/ 13856 w 36052"/>
                <a:gd name="connsiteY10" fmla="*/ 702 h 20843"/>
                <a:gd name="connsiteX11" fmla="*/ 1188 w 36052"/>
                <a:gd name="connsiteY11" fmla="*/ 8036 h 20843"/>
                <a:gd name="connsiteX12" fmla="*/ -336 w 36052"/>
                <a:gd name="connsiteY12" fmla="*/ 10227 h 20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3">
                  <a:moveTo>
                    <a:pt x="-336" y="10227"/>
                  </a:moveTo>
                  <a:cubicBezTo>
                    <a:pt x="-269" y="11208"/>
                    <a:pt x="311" y="12075"/>
                    <a:pt x="1188" y="12513"/>
                  </a:cubicBezTo>
                  <a:lnTo>
                    <a:pt x="3569" y="13846"/>
                  </a:lnTo>
                  <a:lnTo>
                    <a:pt x="13856" y="19752"/>
                  </a:lnTo>
                  <a:cubicBezTo>
                    <a:pt x="16247" y="20990"/>
                    <a:pt x="19085" y="20990"/>
                    <a:pt x="21476" y="19752"/>
                  </a:cubicBezTo>
                  <a:lnTo>
                    <a:pt x="31763" y="13846"/>
                  </a:lnTo>
                  <a:lnTo>
                    <a:pt x="34144" y="12513"/>
                  </a:lnTo>
                  <a:cubicBezTo>
                    <a:pt x="35382" y="12065"/>
                    <a:pt x="36021" y="10694"/>
                    <a:pt x="35573" y="9465"/>
                  </a:cubicBezTo>
                  <a:cubicBezTo>
                    <a:pt x="35325" y="8798"/>
                    <a:pt x="34811" y="8274"/>
                    <a:pt x="34144"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751" name="ïṧ1iďê">
              <a:extLst>
                <a:ext uri="{FF2B5EF4-FFF2-40B4-BE49-F238E27FC236}">
                  <a16:creationId xmlns:a16="http://schemas.microsoft.com/office/drawing/2014/main" id="{196062B8-5CC3-414E-BB3D-236296D19742}"/>
                </a:ext>
              </a:extLst>
            </p:cNvPr>
            <p:cNvSpPr/>
            <p:nvPr/>
          </p:nvSpPr>
          <p:spPr>
            <a:xfrm>
              <a:off x="5727829" y="5195791"/>
              <a:ext cx="105898" cy="61101"/>
            </a:xfrm>
            <a:custGeom>
              <a:avLst/>
              <a:gdLst>
                <a:gd name="connsiteX0" fmla="*/ 1235 w 34790"/>
                <a:gd name="connsiteY0" fmla="*/ 12029 h 20073"/>
                <a:gd name="connsiteX1" fmla="*/ 13332 w 34790"/>
                <a:gd name="connsiteY1" fmla="*/ 18983 h 20073"/>
                <a:gd name="connsiteX2" fmla="*/ 20761 w 34790"/>
                <a:gd name="connsiteY2" fmla="*/ 18983 h 20073"/>
                <a:gd name="connsiteX3" fmla="*/ 32953 w 34790"/>
                <a:gd name="connsiteY3" fmla="*/ 12029 h 20073"/>
                <a:gd name="connsiteX4" fmla="*/ 32953 w 34790"/>
                <a:gd name="connsiteY4" fmla="*/ 7743 h 20073"/>
                <a:gd name="connsiteX5" fmla="*/ 20761 w 34790"/>
                <a:gd name="connsiteY5" fmla="*/ 695 h 20073"/>
                <a:gd name="connsiteX6" fmla="*/ 13332 w 34790"/>
                <a:gd name="connsiteY6" fmla="*/ 695 h 20073"/>
                <a:gd name="connsiteX7" fmla="*/ 1235 w 34790"/>
                <a:gd name="connsiteY7" fmla="*/ 7743 h 20073"/>
                <a:gd name="connsiteX8" fmla="*/ 1235 w 34790"/>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3">
                  <a:moveTo>
                    <a:pt x="1235" y="12029"/>
                  </a:moveTo>
                  <a:lnTo>
                    <a:pt x="13332" y="18983"/>
                  </a:lnTo>
                  <a:cubicBezTo>
                    <a:pt x="15656" y="20221"/>
                    <a:pt x="18437" y="20221"/>
                    <a:pt x="20761" y="18983"/>
                  </a:cubicBezTo>
                  <a:lnTo>
                    <a:pt x="32953" y="12029"/>
                  </a:lnTo>
                  <a:cubicBezTo>
                    <a:pt x="34954" y="10791"/>
                    <a:pt x="34954" y="8886"/>
                    <a:pt x="32953" y="7743"/>
                  </a:cubicBezTo>
                  <a:lnTo>
                    <a:pt x="20761" y="695"/>
                  </a:lnTo>
                  <a:cubicBezTo>
                    <a:pt x="18418" y="-448"/>
                    <a:pt x="15675" y="-448"/>
                    <a:pt x="13332" y="695"/>
                  </a:cubicBezTo>
                  <a:lnTo>
                    <a:pt x="1235" y="7743"/>
                  </a:lnTo>
                  <a:cubicBezTo>
                    <a:pt x="-860" y="8600"/>
                    <a:pt x="-860" y="10505"/>
                    <a:pt x="1235" y="12029"/>
                  </a:cubicBezTo>
                  <a:close/>
                </a:path>
              </a:pathLst>
            </a:custGeom>
            <a:solidFill>
              <a:srgbClr val="D1D9E8"/>
            </a:solidFill>
            <a:ln w="9525" cap="flat">
              <a:noFill/>
              <a:prstDash val="solid"/>
              <a:miter/>
            </a:ln>
          </p:spPr>
          <p:txBody>
            <a:bodyPr rtlCol="0" anchor="ctr"/>
            <a:lstStyle/>
            <a:p>
              <a:endParaRPr lang="zh-CN" altLang="en-US"/>
            </a:p>
          </p:txBody>
        </p:sp>
        <p:sp>
          <p:nvSpPr>
            <p:cNvPr id="752" name="îṩľiḑé">
              <a:extLst>
                <a:ext uri="{FF2B5EF4-FFF2-40B4-BE49-F238E27FC236}">
                  <a16:creationId xmlns:a16="http://schemas.microsoft.com/office/drawing/2014/main" id="{D84F20E0-0431-4D53-8BD4-8134669C4253}"/>
                </a:ext>
              </a:extLst>
            </p:cNvPr>
            <p:cNvSpPr/>
            <p:nvPr/>
          </p:nvSpPr>
          <p:spPr>
            <a:xfrm>
              <a:off x="5725945" y="5225363"/>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4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4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20"/>
                    <a:pt x="35582" y="7953"/>
                    <a:pt x="35668" y="6981"/>
                  </a:cubicBezTo>
                  <a:lnTo>
                    <a:pt x="35668" y="-163"/>
                  </a:lnTo>
                  <a:cubicBezTo>
                    <a:pt x="35602" y="818"/>
                    <a:pt x="35021" y="1685"/>
                    <a:pt x="34144" y="2124"/>
                  </a:cubicBezTo>
                  <a:lnTo>
                    <a:pt x="31763" y="3457"/>
                  </a:lnTo>
                  <a:lnTo>
                    <a:pt x="21476" y="9362"/>
                  </a:lnTo>
                  <a:cubicBezTo>
                    <a:pt x="19085" y="10601"/>
                    <a:pt x="16247" y="10601"/>
                    <a:pt x="13856" y="9362"/>
                  </a:cubicBezTo>
                  <a:lnTo>
                    <a:pt x="3569" y="3457"/>
                  </a:lnTo>
                  <a:lnTo>
                    <a:pt x="1188" y="2124"/>
                  </a:lnTo>
                  <a:cubicBezTo>
                    <a:pt x="311"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53" name="îṡḷîḍê">
              <a:extLst>
                <a:ext uri="{FF2B5EF4-FFF2-40B4-BE49-F238E27FC236}">
                  <a16:creationId xmlns:a16="http://schemas.microsoft.com/office/drawing/2014/main" id="{39B618A4-1EBC-4C34-8A77-911134B0F03A}"/>
                </a:ext>
              </a:extLst>
            </p:cNvPr>
            <p:cNvSpPr/>
            <p:nvPr/>
          </p:nvSpPr>
          <p:spPr>
            <a:xfrm>
              <a:off x="5803358" y="5238388"/>
              <a:ext cx="109447" cy="63445"/>
            </a:xfrm>
            <a:custGeom>
              <a:avLst/>
              <a:gdLst>
                <a:gd name="connsiteX0" fmla="*/ -336 w 35956"/>
                <a:gd name="connsiteY0" fmla="*/ 10227 h 20843"/>
                <a:gd name="connsiteX1" fmla="*/ 1188 w 35956"/>
                <a:gd name="connsiteY1" fmla="*/ 12513 h 20843"/>
                <a:gd name="connsiteX2" fmla="*/ 3569 w 35956"/>
                <a:gd name="connsiteY2" fmla="*/ 13846 h 20843"/>
                <a:gd name="connsiteX3" fmla="*/ 13856 w 35956"/>
                <a:gd name="connsiteY3" fmla="*/ 19752 h 20843"/>
                <a:gd name="connsiteX4" fmla="*/ 21476 w 35956"/>
                <a:gd name="connsiteY4" fmla="*/ 19752 h 20843"/>
                <a:gd name="connsiteX5" fmla="*/ 31763 w 35956"/>
                <a:gd name="connsiteY5" fmla="*/ 13846 h 20843"/>
                <a:gd name="connsiteX6" fmla="*/ 34049 w 35956"/>
                <a:gd name="connsiteY6" fmla="*/ 12513 h 20843"/>
                <a:gd name="connsiteX7" fmla="*/ 35477 w 35956"/>
                <a:gd name="connsiteY7" fmla="*/ 9465 h 20843"/>
                <a:gd name="connsiteX8" fmla="*/ 34049 w 35956"/>
                <a:gd name="connsiteY8" fmla="*/ 8036 h 20843"/>
                <a:gd name="connsiteX9" fmla="*/ 21476 w 35956"/>
                <a:gd name="connsiteY9" fmla="*/ 702 h 20843"/>
                <a:gd name="connsiteX10" fmla="*/ 13856 w 35956"/>
                <a:gd name="connsiteY10" fmla="*/ 702 h 20843"/>
                <a:gd name="connsiteX11" fmla="*/ 1188 w 35956"/>
                <a:gd name="connsiteY11" fmla="*/ 8036 h 20843"/>
                <a:gd name="connsiteX12" fmla="*/ -336 w 35956"/>
                <a:gd name="connsiteY12" fmla="*/ 10227 h 20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956" h="20843">
                  <a:moveTo>
                    <a:pt x="-336" y="10227"/>
                  </a:moveTo>
                  <a:cubicBezTo>
                    <a:pt x="-270" y="11208"/>
                    <a:pt x="311" y="12075"/>
                    <a:pt x="1188" y="12513"/>
                  </a:cubicBezTo>
                  <a:lnTo>
                    <a:pt x="3569" y="13846"/>
                  </a:lnTo>
                  <a:lnTo>
                    <a:pt x="13856" y="19752"/>
                  </a:lnTo>
                  <a:cubicBezTo>
                    <a:pt x="16247" y="20990"/>
                    <a:pt x="19085" y="20990"/>
                    <a:pt x="21476" y="19752"/>
                  </a:cubicBezTo>
                  <a:lnTo>
                    <a:pt x="31763" y="13846"/>
                  </a:lnTo>
                  <a:lnTo>
                    <a:pt x="34049" y="12513"/>
                  </a:lnTo>
                  <a:cubicBezTo>
                    <a:pt x="35287" y="12065"/>
                    <a:pt x="35925" y="10694"/>
                    <a:pt x="35477" y="9465"/>
                  </a:cubicBezTo>
                  <a:cubicBezTo>
                    <a:pt x="35230" y="8798"/>
                    <a:pt x="34716" y="8274"/>
                    <a:pt x="34049"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754" name="ïṥ1ïďè">
              <a:extLst>
                <a:ext uri="{FF2B5EF4-FFF2-40B4-BE49-F238E27FC236}">
                  <a16:creationId xmlns:a16="http://schemas.microsoft.com/office/drawing/2014/main" id="{66E77DE4-7691-4EC9-AAFB-FFC6EFB852B2}"/>
                </a:ext>
              </a:extLst>
            </p:cNvPr>
            <p:cNvSpPr/>
            <p:nvPr/>
          </p:nvSpPr>
          <p:spPr>
            <a:xfrm>
              <a:off x="5805170" y="5239572"/>
              <a:ext cx="105898" cy="61101"/>
            </a:xfrm>
            <a:custGeom>
              <a:avLst/>
              <a:gdLst>
                <a:gd name="connsiteX0" fmla="*/ 1164 w 34790"/>
                <a:gd name="connsiteY0" fmla="*/ 12029 h 20073"/>
                <a:gd name="connsiteX1" fmla="*/ 13356 w 34790"/>
                <a:gd name="connsiteY1" fmla="*/ 18982 h 20073"/>
                <a:gd name="connsiteX2" fmla="*/ 20785 w 34790"/>
                <a:gd name="connsiteY2" fmla="*/ 18982 h 20073"/>
                <a:gd name="connsiteX3" fmla="*/ 32882 w 34790"/>
                <a:gd name="connsiteY3" fmla="*/ 12029 h 20073"/>
                <a:gd name="connsiteX4" fmla="*/ 32882 w 34790"/>
                <a:gd name="connsiteY4" fmla="*/ 7743 h 20073"/>
                <a:gd name="connsiteX5" fmla="*/ 20785 w 34790"/>
                <a:gd name="connsiteY5" fmla="*/ 695 h 20073"/>
                <a:gd name="connsiteX6" fmla="*/ 13356 w 34790"/>
                <a:gd name="connsiteY6" fmla="*/ 695 h 20073"/>
                <a:gd name="connsiteX7" fmla="*/ 1164 w 34790"/>
                <a:gd name="connsiteY7" fmla="*/ 7743 h 20073"/>
                <a:gd name="connsiteX8" fmla="*/ 1164 w 34790"/>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3">
                  <a:moveTo>
                    <a:pt x="1164" y="12029"/>
                  </a:moveTo>
                  <a:lnTo>
                    <a:pt x="13356" y="18982"/>
                  </a:lnTo>
                  <a:cubicBezTo>
                    <a:pt x="15680" y="20221"/>
                    <a:pt x="18461" y="20221"/>
                    <a:pt x="20785" y="18982"/>
                  </a:cubicBezTo>
                  <a:lnTo>
                    <a:pt x="32882" y="12029"/>
                  </a:lnTo>
                  <a:cubicBezTo>
                    <a:pt x="34978" y="10791"/>
                    <a:pt x="34978" y="8886"/>
                    <a:pt x="32882" y="7743"/>
                  </a:cubicBezTo>
                  <a:lnTo>
                    <a:pt x="20785" y="695"/>
                  </a:lnTo>
                  <a:cubicBezTo>
                    <a:pt x="18442" y="-448"/>
                    <a:pt x="15699" y="-448"/>
                    <a:pt x="13356" y="695"/>
                  </a:cubicBezTo>
                  <a:lnTo>
                    <a:pt x="1164" y="7743"/>
                  </a:lnTo>
                  <a:cubicBezTo>
                    <a:pt x="-836" y="8886"/>
                    <a:pt x="-836" y="10791"/>
                    <a:pt x="1164" y="12029"/>
                  </a:cubicBezTo>
                  <a:close/>
                </a:path>
              </a:pathLst>
            </a:custGeom>
            <a:solidFill>
              <a:srgbClr val="D1D9E8"/>
            </a:solidFill>
            <a:ln w="9525" cap="flat">
              <a:noFill/>
              <a:prstDash val="solid"/>
              <a:miter/>
            </a:ln>
          </p:spPr>
          <p:txBody>
            <a:bodyPr rtlCol="0" anchor="ctr"/>
            <a:lstStyle/>
            <a:p>
              <a:endParaRPr lang="zh-CN" altLang="en-US"/>
            </a:p>
          </p:txBody>
        </p:sp>
        <p:sp>
          <p:nvSpPr>
            <p:cNvPr id="755" name="îsļïḑé">
              <a:extLst>
                <a:ext uri="{FF2B5EF4-FFF2-40B4-BE49-F238E27FC236}">
                  <a16:creationId xmlns:a16="http://schemas.microsoft.com/office/drawing/2014/main" id="{CD9273CC-D65A-40AC-A298-37CB0AC1F338}"/>
                </a:ext>
              </a:extLst>
            </p:cNvPr>
            <p:cNvSpPr/>
            <p:nvPr/>
          </p:nvSpPr>
          <p:spPr>
            <a:xfrm>
              <a:off x="5803358" y="5268854"/>
              <a:ext cx="109594" cy="53804"/>
            </a:xfrm>
            <a:custGeom>
              <a:avLst/>
              <a:gdLst>
                <a:gd name="connsiteX0" fmla="*/ -336 w 36004"/>
                <a:gd name="connsiteY0" fmla="*/ 218 h 17676"/>
                <a:gd name="connsiteX1" fmla="*/ -336 w 36004"/>
                <a:gd name="connsiteY1" fmla="*/ 7076 h 17676"/>
                <a:gd name="connsiteX2" fmla="*/ 1188 w 36004"/>
                <a:gd name="connsiteY2" fmla="*/ 9267 h 17676"/>
                <a:gd name="connsiteX3" fmla="*/ 13856 w 36004"/>
                <a:gd name="connsiteY3" fmla="*/ 16506 h 17676"/>
                <a:gd name="connsiteX4" fmla="*/ 21476 w 36004"/>
                <a:gd name="connsiteY4" fmla="*/ 16506 h 17676"/>
                <a:gd name="connsiteX5" fmla="*/ 34049 w 36004"/>
                <a:gd name="connsiteY5" fmla="*/ 9267 h 17676"/>
                <a:gd name="connsiteX6" fmla="*/ 35668 w 36004"/>
                <a:gd name="connsiteY6" fmla="*/ 6981 h 17676"/>
                <a:gd name="connsiteX7" fmla="*/ 35668 w 36004"/>
                <a:gd name="connsiteY7" fmla="*/ -163 h 17676"/>
                <a:gd name="connsiteX8" fmla="*/ 34049 w 36004"/>
                <a:gd name="connsiteY8" fmla="*/ 2124 h 17676"/>
                <a:gd name="connsiteX9" fmla="*/ 31763 w 36004"/>
                <a:gd name="connsiteY9" fmla="*/ 3457 h 17676"/>
                <a:gd name="connsiteX10" fmla="*/ 21476 w 36004"/>
                <a:gd name="connsiteY10" fmla="*/ 9362 h 17676"/>
                <a:gd name="connsiteX11" fmla="*/ 13856 w 36004"/>
                <a:gd name="connsiteY11" fmla="*/ 9362 h 17676"/>
                <a:gd name="connsiteX12" fmla="*/ 3569 w 36004"/>
                <a:gd name="connsiteY12" fmla="*/ 3457 h 17676"/>
                <a:gd name="connsiteX13" fmla="*/ 1188 w 36004"/>
                <a:gd name="connsiteY13" fmla="*/ 2124 h 17676"/>
                <a:gd name="connsiteX14" fmla="*/ -336 w 36004"/>
                <a:gd name="connsiteY14" fmla="*/ 218 h 17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6">
                  <a:moveTo>
                    <a:pt x="-336" y="218"/>
                  </a:moveTo>
                  <a:lnTo>
                    <a:pt x="-336" y="7076"/>
                  </a:lnTo>
                  <a:cubicBezTo>
                    <a:pt x="-279" y="8029"/>
                    <a:pt x="311" y="8877"/>
                    <a:pt x="1188" y="9267"/>
                  </a:cubicBezTo>
                  <a:lnTo>
                    <a:pt x="13856" y="16506"/>
                  </a:lnTo>
                  <a:cubicBezTo>
                    <a:pt x="16218" y="17849"/>
                    <a:pt x="19114" y="17849"/>
                    <a:pt x="21476" y="16506"/>
                  </a:cubicBezTo>
                  <a:lnTo>
                    <a:pt x="34049" y="9267"/>
                  </a:lnTo>
                  <a:cubicBezTo>
                    <a:pt x="34992" y="8896"/>
                    <a:pt x="35630" y="8000"/>
                    <a:pt x="35668" y="6981"/>
                  </a:cubicBezTo>
                  <a:lnTo>
                    <a:pt x="35668" y="-163"/>
                  </a:lnTo>
                  <a:cubicBezTo>
                    <a:pt x="35601" y="847"/>
                    <a:pt x="34973" y="1733"/>
                    <a:pt x="34049" y="2124"/>
                  </a:cubicBezTo>
                  <a:lnTo>
                    <a:pt x="31763" y="3457"/>
                  </a:lnTo>
                  <a:lnTo>
                    <a:pt x="21476" y="9362"/>
                  </a:lnTo>
                  <a:cubicBezTo>
                    <a:pt x="19085" y="10601"/>
                    <a:pt x="16247" y="10601"/>
                    <a:pt x="13856" y="9362"/>
                  </a:cubicBezTo>
                  <a:lnTo>
                    <a:pt x="3569" y="3457"/>
                  </a:lnTo>
                  <a:lnTo>
                    <a:pt x="1188" y="2124"/>
                  </a:lnTo>
                  <a:cubicBezTo>
                    <a:pt x="416" y="1761"/>
                    <a:pt x="-156" y="1057"/>
                    <a:pt x="-336" y="218"/>
                  </a:cubicBezTo>
                  <a:close/>
                </a:path>
              </a:pathLst>
            </a:custGeom>
            <a:solidFill>
              <a:srgbClr val="BF4200"/>
            </a:solidFill>
            <a:ln w="9525" cap="flat">
              <a:noFill/>
              <a:prstDash val="solid"/>
              <a:miter/>
            </a:ln>
          </p:spPr>
          <p:txBody>
            <a:bodyPr rtlCol="0" anchor="ctr"/>
            <a:lstStyle/>
            <a:p>
              <a:endParaRPr lang="zh-CN" altLang="en-US"/>
            </a:p>
          </p:txBody>
        </p:sp>
        <p:sp>
          <p:nvSpPr>
            <p:cNvPr id="756" name="ïṥ1îḍè">
              <a:extLst>
                <a:ext uri="{FF2B5EF4-FFF2-40B4-BE49-F238E27FC236}">
                  <a16:creationId xmlns:a16="http://schemas.microsoft.com/office/drawing/2014/main" id="{292D7253-DAD1-4D7B-9FBA-5238B7AAB45A}"/>
                </a:ext>
              </a:extLst>
            </p:cNvPr>
            <p:cNvSpPr/>
            <p:nvPr/>
          </p:nvSpPr>
          <p:spPr>
            <a:xfrm>
              <a:off x="5880190" y="5283039"/>
              <a:ext cx="109740" cy="63445"/>
            </a:xfrm>
            <a:custGeom>
              <a:avLst/>
              <a:gdLst>
                <a:gd name="connsiteX0" fmla="*/ -336 w 36052"/>
                <a:gd name="connsiteY0" fmla="*/ 10227 h 20843"/>
                <a:gd name="connsiteX1" fmla="*/ 1188 w 36052"/>
                <a:gd name="connsiteY1" fmla="*/ 12513 h 20843"/>
                <a:gd name="connsiteX2" fmla="*/ 3569 w 36052"/>
                <a:gd name="connsiteY2" fmla="*/ 13846 h 20843"/>
                <a:gd name="connsiteX3" fmla="*/ 13856 w 36052"/>
                <a:gd name="connsiteY3" fmla="*/ 19752 h 20843"/>
                <a:gd name="connsiteX4" fmla="*/ 21476 w 36052"/>
                <a:gd name="connsiteY4" fmla="*/ 19752 h 20843"/>
                <a:gd name="connsiteX5" fmla="*/ 31763 w 36052"/>
                <a:gd name="connsiteY5" fmla="*/ 13846 h 20843"/>
                <a:gd name="connsiteX6" fmla="*/ 34144 w 36052"/>
                <a:gd name="connsiteY6" fmla="*/ 12513 h 20843"/>
                <a:gd name="connsiteX7" fmla="*/ 35573 w 36052"/>
                <a:gd name="connsiteY7" fmla="*/ 9465 h 20843"/>
                <a:gd name="connsiteX8" fmla="*/ 34144 w 36052"/>
                <a:gd name="connsiteY8" fmla="*/ 8036 h 20843"/>
                <a:gd name="connsiteX9" fmla="*/ 21476 w 36052"/>
                <a:gd name="connsiteY9" fmla="*/ 702 h 20843"/>
                <a:gd name="connsiteX10" fmla="*/ 13856 w 36052"/>
                <a:gd name="connsiteY10" fmla="*/ 702 h 20843"/>
                <a:gd name="connsiteX11" fmla="*/ 1188 w 36052"/>
                <a:gd name="connsiteY11" fmla="*/ 8036 h 20843"/>
                <a:gd name="connsiteX12" fmla="*/ -336 w 36052"/>
                <a:gd name="connsiteY12" fmla="*/ 10227 h 20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3">
                  <a:moveTo>
                    <a:pt x="-336" y="10227"/>
                  </a:moveTo>
                  <a:cubicBezTo>
                    <a:pt x="-270" y="11208"/>
                    <a:pt x="311" y="12075"/>
                    <a:pt x="1188" y="12513"/>
                  </a:cubicBezTo>
                  <a:lnTo>
                    <a:pt x="3569" y="13846"/>
                  </a:lnTo>
                  <a:lnTo>
                    <a:pt x="13856" y="19752"/>
                  </a:lnTo>
                  <a:cubicBezTo>
                    <a:pt x="16247" y="20990"/>
                    <a:pt x="19085" y="20990"/>
                    <a:pt x="21476" y="19752"/>
                  </a:cubicBezTo>
                  <a:lnTo>
                    <a:pt x="31763" y="13846"/>
                  </a:lnTo>
                  <a:lnTo>
                    <a:pt x="34144" y="12513"/>
                  </a:lnTo>
                  <a:cubicBezTo>
                    <a:pt x="35382" y="12065"/>
                    <a:pt x="36020" y="10693"/>
                    <a:pt x="35573" y="9465"/>
                  </a:cubicBezTo>
                  <a:cubicBezTo>
                    <a:pt x="35325" y="8798"/>
                    <a:pt x="34811" y="8274"/>
                    <a:pt x="34144"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757" name="iṩḷîďé">
              <a:extLst>
                <a:ext uri="{FF2B5EF4-FFF2-40B4-BE49-F238E27FC236}">
                  <a16:creationId xmlns:a16="http://schemas.microsoft.com/office/drawing/2014/main" id="{2BDA689A-97F4-4FBB-9FC6-1F359020D99D}"/>
                </a:ext>
              </a:extLst>
            </p:cNvPr>
            <p:cNvSpPr/>
            <p:nvPr/>
          </p:nvSpPr>
          <p:spPr>
            <a:xfrm>
              <a:off x="5881931" y="5284220"/>
              <a:ext cx="106550" cy="61104"/>
            </a:xfrm>
            <a:custGeom>
              <a:avLst/>
              <a:gdLst>
                <a:gd name="connsiteX0" fmla="*/ 1378 w 35004"/>
                <a:gd name="connsiteY0" fmla="*/ 12029 h 20074"/>
                <a:gd name="connsiteX1" fmla="*/ 13570 w 35004"/>
                <a:gd name="connsiteY1" fmla="*/ 18983 h 20074"/>
                <a:gd name="connsiteX2" fmla="*/ 21000 w 35004"/>
                <a:gd name="connsiteY2" fmla="*/ 18983 h 20074"/>
                <a:gd name="connsiteX3" fmla="*/ 33097 w 35004"/>
                <a:gd name="connsiteY3" fmla="*/ 12029 h 20074"/>
                <a:gd name="connsiteX4" fmla="*/ 33097 w 35004"/>
                <a:gd name="connsiteY4" fmla="*/ 7743 h 20074"/>
                <a:gd name="connsiteX5" fmla="*/ 21000 w 35004"/>
                <a:gd name="connsiteY5" fmla="*/ 695 h 20074"/>
                <a:gd name="connsiteX6" fmla="*/ 13570 w 35004"/>
                <a:gd name="connsiteY6" fmla="*/ 695 h 20074"/>
                <a:gd name="connsiteX7" fmla="*/ 1378 w 35004"/>
                <a:gd name="connsiteY7" fmla="*/ 7743 h 20074"/>
                <a:gd name="connsiteX8" fmla="*/ 1378 w 35004"/>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004" h="20074">
                  <a:moveTo>
                    <a:pt x="1378" y="12029"/>
                  </a:moveTo>
                  <a:lnTo>
                    <a:pt x="13570" y="18983"/>
                  </a:lnTo>
                  <a:cubicBezTo>
                    <a:pt x="15894" y="20221"/>
                    <a:pt x="18676" y="20221"/>
                    <a:pt x="21000" y="18983"/>
                  </a:cubicBezTo>
                  <a:lnTo>
                    <a:pt x="33097" y="12029"/>
                  </a:lnTo>
                  <a:cubicBezTo>
                    <a:pt x="35192" y="10791"/>
                    <a:pt x="35192" y="8886"/>
                    <a:pt x="33097" y="7743"/>
                  </a:cubicBezTo>
                  <a:lnTo>
                    <a:pt x="21000" y="695"/>
                  </a:lnTo>
                  <a:cubicBezTo>
                    <a:pt x="18656" y="-448"/>
                    <a:pt x="15913" y="-448"/>
                    <a:pt x="13570" y="695"/>
                  </a:cubicBezTo>
                  <a:lnTo>
                    <a:pt x="1378" y="7743"/>
                  </a:lnTo>
                  <a:cubicBezTo>
                    <a:pt x="-908" y="8886"/>
                    <a:pt x="-908" y="10791"/>
                    <a:pt x="1378" y="12029"/>
                  </a:cubicBezTo>
                  <a:close/>
                </a:path>
              </a:pathLst>
            </a:custGeom>
            <a:solidFill>
              <a:srgbClr val="D1D9E8"/>
            </a:solidFill>
            <a:ln w="9525" cap="flat">
              <a:noFill/>
              <a:prstDash val="solid"/>
              <a:miter/>
            </a:ln>
          </p:spPr>
          <p:txBody>
            <a:bodyPr rtlCol="0" anchor="ctr"/>
            <a:lstStyle/>
            <a:p>
              <a:endParaRPr lang="zh-CN" altLang="en-US"/>
            </a:p>
          </p:txBody>
        </p:sp>
        <p:sp>
          <p:nvSpPr>
            <p:cNvPr id="758" name="íŝḷíďé">
              <a:extLst>
                <a:ext uri="{FF2B5EF4-FFF2-40B4-BE49-F238E27FC236}">
                  <a16:creationId xmlns:a16="http://schemas.microsoft.com/office/drawing/2014/main" id="{0672DC44-DFB5-4EE6-A7DC-62CEDDA27E7A}"/>
                </a:ext>
              </a:extLst>
            </p:cNvPr>
            <p:cNvSpPr/>
            <p:nvPr/>
          </p:nvSpPr>
          <p:spPr>
            <a:xfrm>
              <a:off x="5880190" y="5314662"/>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3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3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2" y="7953"/>
                    <a:pt x="35668" y="6981"/>
                  </a:cubicBezTo>
                  <a:lnTo>
                    <a:pt x="35668" y="-163"/>
                  </a:lnTo>
                  <a:cubicBezTo>
                    <a:pt x="35602" y="818"/>
                    <a:pt x="35021" y="1685"/>
                    <a:pt x="34144" y="2123"/>
                  </a:cubicBezTo>
                  <a:lnTo>
                    <a:pt x="31763" y="3457"/>
                  </a:lnTo>
                  <a:lnTo>
                    <a:pt x="21476" y="9362"/>
                  </a:lnTo>
                  <a:cubicBezTo>
                    <a:pt x="19085" y="10601"/>
                    <a:pt x="16247" y="10601"/>
                    <a:pt x="13856" y="9362"/>
                  </a:cubicBezTo>
                  <a:lnTo>
                    <a:pt x="3569" y="3457"/>
                  </a:lnTo>
                  <a:lnTo>
                    <a:pt x="1188"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59" name="ïsḷíde">
              <a:extLst>
                <a:ext uri="{FF2B5EF4-FFF2-40B4-BE49-F238E27FC236}">
                  <a16:creationId xmlns:a16="http://schemas.microsoft.com/office/drawing/2014/main" id="{ED7A2CB4-55DE-4FA9-B8AB-57A3CF3AEC20}"/>
                </a:ext>
              </a:extLst>
            </p:cNvPr>
            <p:cNvSpPr/>
            <p:nvPr/>
          </p:nvSpPr>
          <p:spPr>
            <a:xfrm>
              <a:off x="5957893" y="5327492"/>
              <a:ext cx="109594" cy="63639"/>
            </a:xfrm>
            <a:custGeom>
              <a:avLst/>
              <a:gdLst>
                <a:gd name="connsiteX0" fmla="*/ -336 w 36004"/>
                <a:gd name="connsiteY0" fmla="*/ 10291 h 20907"/>
                <a:gd name="connsiteX1" fmla="*/ 1188 w 36004"/>
                <a:gd name="connsiteY1" fmla="*/ 12577 h 20907"/>
                <a:gd name="connsiteX2" fmla="*/ 3569 w 36004"/>
                <a:gd name="connsiteY2" fmla="*/ 13910 h 20907"/>
                <a:gd name="connsiteX3" fmla="*/ 13856 w 36004"/>
                <a:gd name="connsiteY3" fmla="*/ 19816 h 20907"/>
                <a:gd name="connsiteX4" fmla="*/ 21476 w 36004"/>
                <a:gd name="connsiteY4" fmla="*/ 19816 h 20907"/>
                <a:gd name="connsiteX5" fmla="*/ 31763 w 36004"/>
                <a:gd name="connsiteY5" fmla="*/ 13910 h 20907"/>
                <a:gd name="connsiteX6" fmla="*/ 34144 w 36004"/>
                <a:gd name="connsiteY6" fmla="*/ 12577 h 20907"/>
                <a:gd name="connsiteX7" fmla="*/ 35668 w 36004"/>
                <a:gd name="connsiteY7" fmla="*/ 10291 h 20907"/>
                <a:gd name="connsiteX8" fmla="*/ 34144 w 36004"/>
                <a:gd name="connsiteY8" fmla="*/ 8100 h 20907"/>
                <a:gd name="connsiteX9" fmla="*/ 21476 w 36004"/>
                <a:gd name="connsiteY9" fmla="*/ 766 h 20907"/>
                <a:gd name="connsiteX10" fmla="*/ 13856 w 36004"/>
                <a:gd name="connsiteY10" fmla="*/ 766 h 20907"/>
                <a:gd name="connsiteX11" fmla="*/ 1188 w 36004"/>
                <a:gd name="connsiteY11" fmla="*/ 8100 h 20907"/>
                <a:gd name="connsiteX12" fmla="*/ -336 w 36004"/>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907">
                  <a:moveTo>
                    <a:pt x="-336" y="10291"/>
                  </a:moveTo>
                  <a:cubicBezTo>
                    <a:pt x="-269" y="11272"/>
                    <a:pt x="311" y="12139"/>
                    <a:pt x="1188" y="12577"/>
                  </a:cubicBezTo>
                  <a:lnTo>
                    <a:pt x="3569" y="13910"/>
                  </a:lnTo>
                  <a:lnTo>
                    <a:pt x="13856" y="19816"/>
                  </a:lnTo>
                  <a:cubicBezTo>
                    <a:pt x="16247" y="21054"/>
                    <a:pt x="19085" y="21054"/>
                    <a:pt x="21476" y="19816"/>
                  </a:cubicBezTo>
                  <a:lnTo>
                    <a:pt x="31763" y="13910"/>
                  </a:lnTo>
                  <a:lnTo>
                    <a:pt x="34144" y="12577"/>
                  </a:lnTo>
                  <a:cubicBezTo>
                    <a:pt x="35021" y="12139"/>
                    <a:pt x="35602" y="11272"/>
                    <a:pt x="35668" y="10291"/>
                  </a:cubicBezTo>
                  <a:cubicBezTo>
                    <a:pt x="35611" y="9339"/>
                    <a:pt x="35021" y="8491"/>
                    <a:pt x="34144" y="8100"/>
                  </a:cubicBezTo>
                  <a:lnTo>
                    <a:pt x="21476" y="766"/>
                  </a:lnTo>
                  <a:cubicBezTo>
                    <a:pt x="19085" y="-472"/>
                    <a:pt x="16247" y="-472"/>
                    <a:pt x="13856" y="766"/>
                  </a:cubicBezTo>
                  <a:lnTo>
                    <a:pt x="1188" y="8100"/>
                  </a:lnTo>
                  <a:cubicBezTo>
                    <a:pt x="311" y="8491"/>
                    <a:pt x="-279"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760" name="işḻîḋê">
              <a:extLst>
                <a:ext uri="{FF2B5EF4-FFF2-40B4-BE49-F238E27FC236}">
                  <a16:creationId xmlns:a16="http://schemas.microsoft.com/office/drawing/2014/main" id="{AEC3B2BC-6010-466F-9AEA-3F316BC7528C}"/>
                </a:ext>
              </a:extLst>
            </p:cNvPr>
            <p:cNvSpPr/>
            <p:nvPr/>
          </p:nvSpPr>
          <p:spPr>
            <a:xfrm>
              <a:off x="5959841" y="5328868"/>
              <a:ext cx="105761" cy="61104"/>
            </a:xfrm>
            <a:custGeom>
              <a:avLst/>
              <a:gdLst>
                <a:gd name="connsiteX0" fmla="*/ 1119 w 34745"/>
                <a:gd name="connsiteY0" fmla="*/ 12029 h 20074"/>
                <a:gd name="connsiteX1" fmla="*/ 13311 w 34745"/>
                <a:gd name="connsiteY1" fmla="*/ 18983 h 20074"/>
                <a:gd name="connsiteX2" fmla="*/ 20741 w 34745"/>
                <a:gd name="connsiteY2" fmla="*/ 18983 h 20074"/>
                <a:gd name="connsiteX3" fmla="*/ 32838 w 34745"/>
                <a:gd name="connsiteY3" fmla="*/ 12029 h 20074"/>
                <a:gd name="connsiteX4" fmla="*/ 32838 w 34745"/>
                <a:gd name="connsiteY4" fmla="*/ 7743 h 20074"/>
                <a:gd name="connsiteX5" fmla="*/ 21122 w 34745"/>
                <a:gd name="connsiteY5" fmla="*/ 695 h 20074"/>
                <a:gd name="connsiteX6" fmla="*/ 13692 w 34745"/>
                <a:gd name="connsiteY6" fmla="*/ 695 h 20074"/>
                <a:gd name="connsiteX7" fmla="*/ 1500 w 34745"/>
                <a:gd name="connsiteY7" fmla="*/ 7743 h 20074"/>
                <a:gd name="connsiteX8" fmla="*/ 1119 w 34745"/>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45" h="20074">
                  <a:moveTo>
                    <a:pt x="1119" y="12029"/>
                  </a:moveTo>
                  <a:lnTo>
                    <a:pt x="13311" y="18983"/>
                  </a:lnTo>
                  <a:cubicBezTo>
                    <a:pt x="15636" y="20221"/>
                    <a:pt x="18417" y="20221"/>
                    <a:pt x="20741" y="18983"/>
                  </a:cubicBezTo>
                  <a:lnTo>
                    <a:pt x="32838" y="12029"/>
                  </a:lnTo>
                  <a:cubicBezTo>
                    <a:pt x="34933" y="10791"/>
                    <a:pt x="34933" y="8886"/>
                    <a:pt x="32838" y="7743"/>
                  </a:cubicBezTo>
                  <a:lnTo>
                    <a:pt x="21122" y="695"/>
                  </a:lnTo>
                  <a:cubicBezTo>
                    <a:pt x="18779" y="-448"/>
                    <a:pt x="16036" y="-448"/>
                    <a:pt x="13692" y="695"/>
                  </a:cubicBezTo>
                  <a:lnTo>
                    <a:pt x="1500" y="7743"/>
                  </a:lnTo>
                  <a:cubicBezTo>
                    <a:pt x="-881" y="8886"/>
                    <a:pt x="-881" y="10791"/>
                    <a:pt x="1119" y="12029"/>
                  </a:cubicBezTo>
                  <a:close/>
                </a:path>
              </a:pathLst>
            </a:custGeom>
            <a:solidFill>
              <a:srgbClr val="D1D9E8"/>
            </a:solidFill>
            <a:ln w="9525" cap="flat">
              <a:noFill/>
              <a:prstDash val="solid"/>
              <a:miter/>
            </a:ln>
          </p:spPr>
          <p:txBody>
            <a:bodyPr rtlCol="0" anchor="ctr"/>
            <a:lstStyle/>
            <a:p>
              <a:endParaRPr lang="zh-CN" altLang="en-US"/>
            </a:p>
          </p:txBody>
        </p:sp>
        <p:sp>
          <p:nvSpPr>
            <p:cNvPr id="761" name="íṧḻïḍê">
              <a:extLst>
                <a:ext uri="{FF2B5EF4-FFF2-40B4-BE49-F238E27FC236}">
                  <a16:creationId xmlns:a16="http://schemas.microsoft.com/office/drawing/2014/main" id="{54C459E8-DDFA-43D9-A6BA-4F95DBF1A99A}"/>
                </a:ext>
              </a:extLst>
            </p:cNvPr>
            <p:cNvSpPr/>
            <p:nvPr/>
          </p:nvSpPr>
          <p:spPr>
            <a:xfrm>
              <a:off x="5957893" y="5359314"/>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4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4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20"/>
                    <a:pt x="35582" y="7953"/>
                    <a:pt x="35668" y="6981"/>
                  </a:cubicBezTo>
                  <a:lnTo>
                    <a:pt x="35668" y="-163"/>
                  </a:lnTo>
                  <a:cubicBezTo>
                    <a:pt x="35602" y="819"/>
                    <a:pt x="35021" y="1685"/>
                    <a:pt x="34144" y="2124"/>
                  </a:cubicBezTo>
                  <a:lnTo>
                    <a:pt x="31763" y="3457"/>
                  </a:lnTo>
                  <a:lnTo>
                    <a:pt x="21476" y="9362"/>
                  </a:lnTo>
                  <a:cubicBezTo>
                    <a:pt x="19085" y="10601"/>
                    <a:pt x="16247" y="10601"/>
                    <a:pt x="13856" y="9362"/>
                  </a:cubicBezTo>
                  <a:lnTo>
                    <a:pt x="3569" y="3457"/>
                  </a:lnTo>
                  <a:lnTo>
                    <a:pt x="1188" y="2124"/>
                  </a:lnTo>
                  <a:cubicBezTo>
                    <a:pt x="311" y="1685"/>
                    <a:pt x="-269" y="819"/>
                    <a:pt x="-336" y="-163"/>
                  </a:cubicBezTo>
                  <a:close/>
                </a:path>
              </a:pathLst>
            </a:custGeom>
            <a:solidFill>
              <a:srgbClr val="BF4200"/>
            </a:solidFill>
            <a:ln w="9525" cap="flat">
              <a:noFill/>
              <a:prstDash val="solid"/>
              <a:miter/>
            </a:ln>
          </p:spPr>
          <p:txBody>
            <a:bodyPr rtlCol="0" anchor="ctr"/>
            <a:lstStyle/>
            <a:p>
              <a:endParaRPr lang="zh-CN" altLang="en-US"/>
            </a:p>
          </p:txBody>
        </p:sp>
        <p:sp>
          <p:nvSpPr>
            <p:cNvPr id="762" name="íşḻîḍê">
              <a:extLst>
                <a:ext uri="{FF2B5EF4-FFF2-40B4-BE49-F238E27FC236}">
                  <a16:creationId xmlns:a16="http://schemas.microsoft.com/office/drawing/2014/main" id="{51A328CD-D0DB-4693-A594-CD23A1F004A9}"/>
                </a:ext>
              </a:extLst>
            </p:cNvPr>
            <p:cNvSpPr/>
            <p:nvPr/>
          </p:nvSpPr>
          <p:spPr>
            <a:xfrm>
              <a:off x="6035595" y="5373498"/>
              <a:ext cx="197155" cy="113892"/>
            </a:xfrm>
            <a:custGeom>
              <a:avLst/>
              <a:gdLst>
                <a:gd name="connsiteX0" fmla="*/ -336 w 64770"/>
                <a:gd name="connsiteY0" fmla="*/ 10227 h 37416"/>
                <a:gd name="connsiteX1" fmla="*/ 1188 w 64770"/>
                <a:gd name="connsiteY1" fmla="*/ 12513 h 37416"/>
                <a:gd name="connsiteX2" fmla="*/ 3569 w 64770"/>
                <a:gd name="connsiteY2" fmla="*/ 13846 h 37416"/>
                <a:gd name="connsiteX3" fmla="*/ 42526 w 64770"/>
                <a:gd name="connsiteY3" fmla="*/ 36325 h 37416"/>
                <a:gd name="connsiteX4" fmla="*/ 50242 w 64770"/>
                <a:gd name="connsiteY4" fmla="*/ 36325 h 37416"/>
                <a:gd name="connsiteX5" fmla="*/ 60433 w 64770"/>
                <a:gd name="connsiteY5" fmla="*/ 30420 h 37416"/>
                <a:gd name="connsiteX6" fmla="*/ 62814 w 64770"/>
                <a:gd name="connsiteY6" fmla="*/ 28991 h 37416"/>
                <a:gd name="connsiteX7" fmla="*/ 64434 w 64770"/>
                <a:gd name="connsiteY7" fmla="*/ 27372 h 37416"/>
                <a:gd name="connsiteX8" fmla="*/ 64434 w 64770"/>
                <a:gd name="connsiteY8" fmla="*/ 26229 h 37416"/>
                <a:gd name="connsiteX9" fmla="*/ 62814 w 64770"/>
                <a:gd name="connsiteY9" fmla="*/ 24610 h 37416"/>
                <a:gd name="connsiteX10" fmla="*/ 21476 w 64770"/>
                <a:gd name="connsiteY10" fmla="*/ 702 h 37416"/>
                <a:gd name="connsiteX11" fmla="*/ 13856 w 64770"/>
                <a:gd name="connsiteY11" fmla="*/ 702 h 37416"/>
                <a:gd name="connsiteX12" fmla="*/ 1188 w 64770"/>
                <a:gd name="connsiteY12" fmla="*/ 8036 h 37416"/>
                <a:gd name="connsiteX13" fmla="*/ -336 w 64770"/>
                <a:gd name="connsiteY13" fmla="*/ 10227 h 37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4770" h="37416">
                  <a:moveTo>
                    <a:pt x="-336" y="10227"/>
                  </a:moveTo>
                  <a:cubicBezTo>
                    <a:pt x="-269" y="11208"/>
                    <a:pt x="312" y="12075"/>
                    <a:pt x="1188" y="12513"/>
                  </a:cubicBezTo>
                  <a:lnTo>
                    <a:pt x="3569" y="13846"/>
                  </a:lnTo>
                  <a:lnTo>
                    <a:pt x="42526" y="36325"/>
                  </a:lnTo>
                  <a:cubicBezTo>
                    <a:pt x="44946" y="37563"/>
                    <a:pt x="47822" y="37563"/>
                    <a:pt x="50242" y="36325"/>
                  </a:cubicBezTo>
                  <a:lnTo>
                    <a:pt x="60433" y="30420"/>
                  </a:lnTo>
                  <a:lnTo>
                    <a:pt x="62814" y="28991"/>
                  </a:lnTo>
                  <a:cubicBezTo>
                    <a:pt x="63529" y="28658"/>
                    <a:pt x="64100" y="28086"/>
                    <a:pt x="64434" y="27372"/>
                  </a:cubicBezTo>
                  <a:lnTo>
                    <a:pt x="64434" y="26229"/>
                  </a:lnTo>
                  <a:cubicBezTo>
                    <a:pt x="64043" y="25553"/>
                    <a:pt x="63491" y="25000"/>
                    <a:pt x="62814" y="24610"/>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763" name="isḷíḓe">
              <a:extLst>
                <a:ext uri="{FF2B5EF4-FFF2-40B4-BE49-F238E27FC236}">
                  <a16:creationId xmlns:a16="http://schemas.microsoft.com/office/drawing/2014/main" id="{071DD57A-0C44-4039-8C6D-74CCE1CD3299}"/>
                </a:ext>
              </a:extLst>
            </p:cNvPr>
            <p:cNvSpPr/>
            <p:nvPr/>
          </p:nvSpPr>
          <p:spPr>
            <a:xfrm>
              <a:off x="6037479" y="5374679"/>
              <a:ext cx="193168" cy="111551"/>
            </a:xfrm>
            <a:custGeom>
              <a:avLst/>
              <a:gdLst>
                <a:gd name="connsiteX0" fmla="*/ 42002 w 63460"/>
                <a:gd name="connsiteY0" fmla="*/ 35556 h 36647"/>
                <a:gd name="connsiteX1" fmla="*/ 1235 w 63460"/>
                <a:gd name="connsiteY1" fmla="*/ 12030 h 36647"/>
                <a:gd name="connsiteX2" fmla="*/ 1235 w 63460"/>
                <a:gd name="connsiteY2" fmla="*/ 7743 h 36647"/>
                <a:gd name="connsiteX3" fmla="*/ 13332 w 63460"/>
                <a:gd name="connsiteY3" fmla="*/ 695 h 36647"/>
                <a:gd name="connsiteX4" fmla="*/ 20762 w 63460"/>
                <a:gd name="connsiteY4" fmla="*/ 695 h 36647"/>
                <a:gd name="connsiteX5" fmla="*/ 61624 w 63460"/>
                <a:gd name="connsiteY5" fmla="*/ 24317 h 36647"/>
                <a:gd name="connsiteX6" fmla="*/ 61624 w 63460"/>
                <a:gd name="connsiteY6" fmla="*/ 28603 h 36647"/>
                <a:gd name="connsiteX7" fmla="*/ 49432 w 63460"/>
                <a:gd name="connsiteY7" fmla="*/ 35556 h 36647"/>
                <a:gd name="connsiteX8" fmla="*/ 42002 w 63460"/>
                <a:gd name="connsiteY8" fmla="*/ 35556 h 366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3460" h="36647">
                  <a:moveTo>
                    <a:pt x="42002" y="35556"/>
                  </a:moveTo>
                  <a:lnTo>
                    <a:pt x="1235" y="12030"/>
                  </a:lnTo>
                  <a:cubicBezTo>
                    <a:pt x="-860" y="10791"/>
                    <a:pt x="-860" y="8886"/>
                    <a:pt x="1235" y="7743"/>
                  </a:cubicBezTo>
                  <a:lnTo>
                    <a:pt x="13332" y="695"/>
                  </a:lnTo>
                  <a:cubicBezTo>
                    <a:pt x="15675" y="-448"/>
                    <a:pt x="18419" y="-448"/>
                    <a:pt x="20762" y="695"/>
                  </a:cubicBezTo>
                  <a:lnTo>
                    <a:pt x="61624" y="24317"/>
                  </a:lnTo>
                  <a:cubicBezTo>
                    <a:pt x="63624" y="25460"/>
                    <a:pt x="63624" y="27365"/>
                    <a:pt x="61624" y="28603"/>
                  </a:cubicBezTo>
                  <a:lnTo>
                    <a:pt x="49432" y="35556"/>
                  </a:lnTo>
                  <a:cubicBezTo>
                    <a:pt x="47108" y="36794"/>
                    <a:pt x="44327" y="36794"/>
                    <a:pt x="42002" y="35556"/>
                  </a:cubicBezTo>
                  <a:close/>
                </a:path>
              </a:pathLst>
            </a:custGeom>
            <a:solidFill>
              <a:srgbClr val="D1D9E8"/>
            </a:solidFill>
            <a:ln w="9525" cap="flat">
              <a:noFill/>
              <a:prstDash val="solid"/>
              <a:miter/>
            </a:ln>
          </p:spPr>
          <p:txBody>
            <a:bodyPr rtlCol="0" anchor="ctr"/>
            <a:lstStyle/>
            <a:p>
              <a:endParaRPr lang="zh-CN" altLang="en-US"/>
            </a:p>
          </p:txBody>
        </p:sp>
        <p:sp>
          <p:nvSpPr>
            <p:cNvPr id="764" name="îś1iďè">
              <a:extLst>
                <a:ext uri="{FF2B5EF4-FFF2-40B4-BE49-F238E27FC236}">
                  <a16:creationId xmlns:a16="http://schemas.microsoft.com/office/drawing/2014/main" id="{7D9D27D9-6748-4614-A112-2C98BE28EC17}"/>
                </a:ext>
              </a:extLst>
            </p:cNvPr>
            <p:cNvSpPr/>
            <p:nvPr/>
          </p:nvSpPr>
          <p:spPr>
            <a:xfrm>
              <a:off x="6035595" y="5405122"/>
              <a:ext cx="197155" cy="104011"/>
            </a:xfrm>
            <a:custGeom>
              <a:avLst/>
              <a:gdLst>
                <a:gd name="connsiteX0" fmla="*/ -336 w 64770"/>
                <a:gd name="connsiteY0" fmla="*/ -163 h 34170"/>
                <a:gd name="connsiteX1" fmla="*/ -336 w 64770"/>
                <a:gd name="connsiteY1" fmla="*/ 6981 h 34170"/>
                <a:gd name="connsiteX2" fmla="*/ 1188 w 64770"/>
                <a:gd name="connsiteY2" fmla="*/ 9267 h 34170"/>
                <a:gd name="connsiteX3" fmla="*/ 42526 w 64770"/>
                <a:gd name="connsiteY3" fmla="*/ 33080 h 34170"/>
                <a:gd name="connsiteX4" fmla="*/ 50242 w 64770"/>
                <a:gd name="connsiteY4" fmla="*/ 33080 h 34170"/>
                <a:gd name="connsiteX5" fmla="*/ 62814 w 64770"/>
                <a:gd name="connsiteY5" fmla="*/ 25841 h 34170"/>
                <a:gd name="connsiteX6" fmla="*/ 64434 w 64770"/>
                <a:gd name="connsiteY6" fmla="*/ 24221 h 34170"/>
                <a:gd name="connsiteX7" fmla="*/ 64434 w 64770"/>
                <a:gd name="connsiteY7" fmla="*/ 16982 h 34170"/>
                <a:gd name="connsiteX8" fmla="*/ 62814 w 64770"/>
                <a:gd name="connsiteY8" fmla="*/ 18602 h 34170"/>
                <a:gd name="connsiteX9" fmla="*/ 60433 w 64770"/>
                <a:gd name="connsiteY9" fmla="*/ 20030 h 34170"/>
                <a:gd name="connsiteX10" fmla="*/ 50242 w 64770"/>
                <a:gd name="connsiteY10" fmla="*/ 25936 h 34170"/>
                <a:gd name="connsiteX11" fmla="*/ 42526 w 64770"/>
                <a:gd name="connsiteY11" fmla="*/ 25936 h 34170"/>
                <a:gd name="connsiteX12" fmla="*/ 3569 w 64770"/>
                <a:gd name="connsiteY12" fmla="*/ 3457 h 34170"/>
                <a:gd name="connsiteX13" fmla="*/ 1188 w 64770"/>
                <a:gd name="connsiteY13" fmla="*/ 2123 h 34170"/>
                <a:gd name="connsiteX14" fmla="*/ -336 w 64770"/>
                <a:gd name="connsiteY14" fmla="*/ -163 h 341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4770" h="34170">
                  <a:moveTo>
                    <a:pt x="-336" y="-163"/>
                  </a:moveTo>
                  <a:lnTo>
                    <a:pt x="-336" y="6981"/>
                  </a:lnTo>
                  <a:cubicBezTo>
                    <a:pt x="-269" y="7962"/>
                    <a:pt x="312" y="8829"/>
                    <a:pt x="1188" y="9267"/>
                  </a:cubicBezTo>
                  <a:lnTo>
                    <a:pt x="42526" y="33080"/>
                  </a:lnTo>
                  <a:cubicBezTo>
                    <a:pt x="44946" y="34318"/>
                    <a:pt x="47822" y="34318"/>
                    <a:pt x="50242" y="33080"/>
                  </a:cubicBezTo>
                  <a:lnTo>
                    <a:pt x="62814" y="25841"/>
                  </a:lnTo>
                  <a:cubicBezTo>
                    <a:pt x="63443" y="25402"/>
                    <a:pt x="63996" y="24850"/>
                    <a:pt x="64434" y="24221"/>
                  </a:cubicBezTo>
                  <a:lnTo>
                    <a:pt x="64434" y="16982"/>
                  </a:lnTo>
                  <a:cubicBezTo>
                    <a:pt x="64100" y="17697"/>
                    <a:pt x="63529" y="18268"/>
                    <a:pt x="62814" y="18602"/>
                  </a:cubicBezTo>
                  <a:lnTo>
                    <a:pt x="60433" y="20030"/>
                  </a:lnTo>
                  <a:lnTo>
                    <a:pt x="50242" y="25936"/>
                  </a:lnTo>
                  <a:cubicBezTo>
                    <a:pt x="47822" y="27174"/>
                    <a:pt x="44946" y="27174"/>
                    <a:pt x="42526" y="25936"/>
                  </a:cubicBezTo>
                  <a:lnTo>
                    <a:pt x="3569" y="3457"/>
                  </a:lnTo>
                  <a:lnTo>
                    <a:pt x="1188" y="2123"/>
                  </a:lnTo>
                  <a:cubicBezTo>
                    <a:pt x="312"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65" name="ïṩľïḍè">
              <a:extLst>
                <a:ext uri="{FF2B5EF4-FFF2-40B4-BE49-F238E27FC236}">
                  <a16:creationId xmlns:a16="http://schemas.microsoft.com/office/drawing/2014/main" id="{04B388A3-46D6-45E3-9172-A529AA2E238C}"/>
                </a:ext>
              </a:extLst>
            </p:cNvPr>
            <p:cNvSpPr/>
            <p:nvPr/>
          </p:nvSpPr>
          <p:spPr>
            <a:xfrm>
              <a:off x="4920799" y="4820746"/>
              <a:ext cx="109740" cy="63289"/>
            </a:xfrm>
            <a:custGeom>
              <a:avLst/>
              <a:gdLst>
                <a:gd name="connsiteX0" fmla="*/ -336 w 36052"/>
                <a:gd name="connsiteY0" fmla="*/ 10177 h 20792"/>
                <a:gd name="connsiteX1" fmla="*/ 1283 w 36052"/>
                <a:gd name="connsiteY1" fmla="*/ 12463 h 20792"/>
                <a:gd name="connsiteX2" fmla="*/ 3569 w 36052"/>
                <a:gd name="connsiteY2" fmla="*/ 13796 h 20792"/>
                <a:gd name="connsiteX3" fmla="*/ 13856 w 36052"/>
                <a:gd name="connsiteY3" fmla="*/ 19702 h 20792"/>
                <a:gd name="connsiteX4" fmla="*/ 21571 w 36052"/>
                <a:gd name="connsiteY4" fmla="*/ 19702 h 20792"/>
                <a:gd name="connsiteX5" fmla="*/ 31858 w 36052"/>
                <a:gd name="connsiteY5" fmla="*/ 13796 h 20792"/>
                <a:gd name="connsiteX6" fmla="*/ 34144 w 36052"/>
                <a:gd name="connsiteY6" fmla="*/ 12463 h 20792"/>
                <a:gd name="connsiteX7" fmla="*/ 35573 w 36052"/>
                <a:gd name="connsiteY7" fmla="*/ 9415 h 20792"/>
                <a:gd name="connsiteX8" fmla="*/ 34144 w 36052"/>
                <a:gd name="connsiteY8" fmla="*/ 7986 h 20792"/>
                <a:gd name="connsiteX9" fmla="*/ 21571 w 36052"/>
                <a:gd name="connsiteY9" fmla="*/ 652 h 20792"/>
                <a:gd name="connsiteX10" fmla="*/ 13856 w 36052"/>
                <a:gd name="connsiteY10" fmla="*/ 652 h 20792"/>
                <a:gd name="connsiteX11" fmla="*/ 1283 w 36052"/>
                <a:gd name="connsiteY11" fmla="*/ 7986 h 20792"/>
                <a:gd name="connsiteX12" fmla="*/ -336 w 36052"/>
                <a:gd name="connsiteY12" fmla="*/ 10177 h 20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792">
                  <a:moveTo>
                    <a:pt x="-336" y="10177"/>
                  </a:moveTo>
                  <a:cubicBezTo>
                    <a:pt x="-232" y="11167"/>
                    <a:pt x="378" y="12034"/>
                    <a:pt x="1283" y="12463"/>
                  </a:cubicBezTo>
                  <a:lnTo>
                    <a:pt x="3569" y="13796"/>
                  </a:lnTo>
                  <a:lnTo>
                    <a:pt x="13856" y="19702"/>
                  </a:lnTo>
                  <a:cubicBezTo>
                    <a:pt x="16275" y="20940"/>
                    <a:pt x="19152" y="20940"/>
                    <a:pt x="21571" y="19702"/>
                  </a:cubicBezTo>
                  <a:lnTo>
                    <a:pt x="31858" y="13796"/>
                  </a:lnTo>
                  <a:lnTo>
                    <a:pt x="34144" y="12463"/>
                  </a:lnTo>
                  <a:cubicBezTo>
                    <a:pt x="35382" y="12015"/>
                    <a:pt x="36020" y="10643"/>
                    <a:pt x="35573" y="9415"/>
                  </a:cubicBezTo>
                  <a:cubicBezTo>
                    <a:pt x="35325" y="8748"/>
                    <a:pt x="34811" y="8224"/>
                    <a:pt x="34144" y="7986"/>
                  </a:cubicBezTo>
                  <a:lnTo>
                    <a:pt x="21571" y="652"/>
                  </a:lnTo>
                  <a:cubicBezTo>
                    <a:pt x="19114" y="-434"/>
                    <a:pt x="16313" y="-434"/>
                    <a:pt x="13856" y="652"/>
                  </a:cubicBezTo>
                  <a:lnTo>
                    <a:pt x="1283" y="7986"/>
                  </a:lnTo>
                  <a:cubicBezTo>
                    <a:pt x="407" y="8396"/>
                    <a:pt x="-203" y="9224"/>
                    <a:pt x="-336" y="10177"/>
                  </a:cubicBezTo>
                  <a:close/>
                </a:path>
              </a:pathLst>
            </a:custGeom>
            <a:solidFill>
              <a:srgbClr val="FFFFFF"/>
            </a:solidFill>
            <a:ln w="9525" cap="flat">
              <a:noFill/>
              <a:prstDash val="solid"/>
              <a:miter/>
            </a:ln>
          </p:spPr>
          <p:txBody>
            <a:bodyPr rtlCol="0" anchor="ctr"/>
            <a:lstStyle/>
            <a:p>
              <a:endParaRPr lang="zh-CN" altLang="en-US"/>
            </a:p>
          </p:txBody>
        </p:sp>
        <p:sp>
          <p:nvSpPr>
            <p:cNvPr id="766" name="íṩlïḋe">
              <a:extLst>
                <a:ext uri="{FF2B5EF4-FFF2-40B4-BE49-F238E27FC236}">
                  <a16:creationId xmlns:a16="http://schemas.microsoft.com/office/drawing/2014/main" id="{7539D7A0-EB84-49B5-93C0-DED68F7C194B}"/>
                </a:ext>
              </a:extLst>
            </p:cNvPr>
            <p:cNvSpPr/>
            <p:nvPr/>
          </p:nvSpPr>
          <p:spPr>
            <a:xfrm>
              <a:off x="4922902" y="4821774"/>
              <a:ext cx="105679" cy="61101"/>
            </a:xfrm>
            <a:custGeom>
              <a:avLst/>
              <a:gdLst>
                <a:gd name="connsiteX0" fmla="*/ 1164 w 34718"/>
                <a:gd name="connsiteY0" fmla="*/ 12029 h 20073"/>
                <a:gd name="connsiteX1" fmla="*/ 13261 w 34718"/>
                <a:gd name="connsiteY1" fmla="*/ 18982 h 20073"/>
                <a:gd name="connsiteX2" fmla="*/ 20690 w 34718"/>
                <a:gd name="connsiteY2" fmla="*/ 18982 h 20073"/>
                <a:gd name="connsiteX3" fmla="*/ 32882 w 34718"/>
                <a:gd name="connsiteY3" fmla="*/ 12029 h 20073"/>
                <a:gd name="connsiteX4" fmla="*/ 32882 w 34718"/>
                <a:gd name="connsiteY4" fmla="*/ 7743 h 20073"/>
                <a:gd name="connsiteX5" fmla="*/ 20690 w 34718"/>
                <a:gd name="connsiteY5" fmla="*/ 695 h 20073"/>
                <a:gd name="connsiteX6" fmla="*/ 13261 w 34718"/>
                <a:gd name="connsiteY6" fmla="*/ 695 h 20073"/>
                <a:gd name="connsiteX7" fmla="*/ 1164 w 34718"/>
                <a:gd name="connsiteY7" fmla="*/ 7743 h 20073"/>
                <a:gd name="connsiteX8" fmla="*/ 1164 w 34718"/>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18" h="20073">
                  <a:moveTo>
                    <a:pt x="1164" y="12029"/>
                  </a:moveTo>
                  <a:lnTo>
                    <a:pt x="13261" y="18982"/>
                  </a:lnTo>
                  <a:cubicBezTo>
                    <a:pt x="15585" y="20221"/>
                    <a:pt x="18366" y="20221"/>
                    <a:pt x="20690" y="18982"/>
                  </a:cubicBezTo>
                  <a:lnTo>
                    <a:pt x="32882" y="12029"/>
                  </a:lnTo>
                  <a:cubicBezTo>
                    <a:pt x="34882" y="10791"/>
                    <a:pt x="34882" y="8886"/>
                    <a:pt x="32882" y="7743"/>
                  </a:cubicBezTo>
                  <a:lnTo>
                    <a:pt x="20690" y="695"/>
                  </a:lnTo>
                  <a:cubicBezTo>
                    <a:pt x="18347" y="-448"/>
                    <a:pt x="15604" y="-448"/>
                    <a:pt x="13261" y="695"/>
                  </a:cubicBezTo>
                  <a:lnTo>
                    <a:pt x="1164" y="7743"/>
                  </a:lnTo>
                  <a:cubicBezTo>
                    <a:pt x="-836" y="8886"/>
                    <a:pt x="-836" y="11077"/>
                    <a:pt x="1164" y="12029"/>
                  </a:cubicBezTo>
                  <a:close/>
                </a:path>
              </a:pathLst>
            </a:custGeom>
            <a:solidFill>
              <a:srgbClr val="D1D9E8"/>
            </a:solidFill>
            <a:ln w="9525" cap="flat">
              <a:noFill/>
              <a:prstDash val="solid"/>
              <a:miter/>
            </a:ln>
          </p:spPr>
          <p:txBody>
            <a:bodyPr rtlCol="0" anchor="ctr"/>
            <a:lstStyle/>
            <a:p>
              <a:endParaRPr lang="zh-CN" altLang="en-US"/>
            </a:p>
          </p:txBody>
        </p:sp>
        <p:sp>
          <p:nvSpPr>
            <p:cNvPr id="767" name="îṩlïďe">
              <a:extLst>
                <a:ext uri="{FF2B5EF4-FFF2-40B4-BE49-F238E27FC236}">
                  <a16:creationId xmlns:a16="http://schemas.microsoft.com/office/drawing/2014/main" id="{1D5F43EE-1618-49B2-AA2A-0D77F4E30E8F}"/>
                </a:ext>
              </a:extLst>
            </p:cNvPr>
            <p:cNvSpPr/>
            <p:nvPr/>
          </p:nvSpPr>
          <p:spPr>
            <a:xfrm>
              <a:off x="4920799" y="4852217"/>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4 w 36099"/>
                <a:gd name="connsiteY6" fmla="*/ 6981 h 17597"/>
                <a:gd name="connsiteX7" fmla="*/ 35764 w 36099"/>
                <a:gd name="connsiteY7" fmla="*/ -163 h 17597"/>
                <a:gd name="connsiteX8" fmla="*/ 34144 w 36099"/>
                <a:gd name="connsiteY8" fmla="*/ 2123 h 17597"/>
                <a:gd name="connsiteX9" fmla="*/ 31858 w 36099"/>
                <a:gd name="connsiteY9" fmla="*/ 3457 h 17597"/>
                <a:gd name="connsiteX10" fmla="*/ 21571 w 36099"/>
                <a:gd name="connsiteY10" fmla="*/ 9362 h 17597"/>
                <a:gd name="connsiteX11" fmla="*/ 13856 w 36099"/>
                <a:gd name="connsiteY11" fmla="*/ 9362 h 17597"/>
                <a:gd name="connsiteX12" fmla="*/ 3569 w 36099"/>
                <a:gd name="connsiteY12" fmla="*/ 3457 h 17597"/>
                <a:gd name="connsiteX13" fmla="*/ 1283 w 36099"/>
                <a:gd name="connsiteY13" fmla="*/ 2123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03" y="8029"/>
                    <a:pt x="407" y="8857"/>
                    <a:pt x="1283" y="9267"/>
                  </a:cubicBezTo>
                  <a:lnTo>
                    <a:pt x="13856" y="16506"/>
                  </a:lnTo>
                  <a:cubicBezTo>
                    <a:pt x="16275" y="17744"/>
                    <a:pt x="19152" y="17744"/>
                    <a:pt x="21571" y="16506"/>
                  </a:cubicBezTo>
                  <a:lnTo>
                    <a:pt x="34144" y="9267"/>
                  </a:lnTo>
                  <a:cubicBezTo>
                    <a:pt x="35030" y="8829"/>
                    <a:pt x="35640" y="7962"/>
                    <a:pt x="35764" y="6981"/>
                  </a:cubicBezTo>
                  <a:lnTo>
                    <a:pt x="35764" y="-163"/>
                  </a:lnTo>
                  <a:cubicBezTo>
                    <a:pt x="35659" y="828"/>
                    <a:pt x="35049" y="1695"/>
                    <a:pt x="34144" y="2123"/>
                  </a:cubicBezTo>
                  <a:lnTo>
                    <a:pt x="31858" y="3457"/>
                  </a:lnTo>
                  <a:lnTo>
                    <a:pt x="21571" y="9362"/>
                  </a:lnTo>
                  <a:cubicBezTo>
                    <a:pt x="19152" y="10601"/>
                    <a:pt x="16275" y="10601"/>
                    <a:pt x="13856" y="9362"/>
                  </a:cubicBezTo>
                  <a:lnTo>
                    <a:pt x="3569" y="3457"/>
                  </a:lnTo>
                  <a:lnTo>
                    <a:pt x="1283" y="2123"/>
                  </a:lnTo>
                  <a:cubicBezTo>
                    <a:pt x="378" y="1695"/>
                    <a:pt x="-232"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68" name="îṩḷîḋe">
              <a:extLst>
                <a:ext uri="{FF2B5EF4-FFF2-40B4-BE49-F238E27FC236}">
                  <a16:creationId xmlns:a16="http://schemas.microsoft.com/office/drawing/2014/main" id="{720027C5-90CE-437D-9089-D36A073C7668}"/>
                </a:ext>
              </a:extLst>
            </p:cNvPr>
            <p:cNvSpPr/>
            <p:nvPr/>
          </p:nvSpPr>
          <p:spPr>
            <a:xfrm>
              <a:off x="4998212" y="4865047"/>
              <a:ext cx="109740" cy="63639"/>
            </a:xfrm>
            <a:custGeom>
              <a:avLst/>
              <a:gdLst>
                <a:gd name="connsiteX0" fmla="*/ -336 w 36052"/>
                <a:gd name="connsiteY0" fmla="*/ 10291 h 20907"/>
                <a:gd name="connsiteX1" fmla="*/ 1188 w 36052"/>
                <a:gd name="connsiteY1" fmla="*/ 12577 h 20907"/>
                <a:gd name="connsiteX2" fmla="*/ 3569 w 36052"/>
                <a:gd name="connsiteY2" fmla="*/ 13911 h 20907"/>
                <a:gd name="connsiteX3" fmla="*/ 13856 w 36052"/>
                <a:gd name="connsiteY3" fmla="*/ 19816 h 20907"/>
                <a:gd name="connsiteX4" fmla="*/ 21476 w 36052"/>
                <a:gd name="connsiteY4" fmla="*/ 19816 h 20907"/>
                <a:gd name="connsiteX5" fmla="*/ 31763 w 36052"/>
                <a:gd name="connsiteY5" fmla="*/ 13911 h 20907"/>
                <a:gd name="connsiteX6" fmla="*/ 34144 w 36052"/>
                <a:gd name="connsiteY6" fmla="*/ 12577 h 20907"/>
                <a:gd name="connsiteX7" fmla="*/ 35573 w 36052"/>
                <a:gd name="connsiteY7" fmla="*/ 9529 h 20907"/>
                <a:gd name="connsiteX8" fmla="*/ 34144 w 36052"/>
                <a:gd name="connsiteY8" fmla="*/ 8100 h 20907"/>
                <a:gd name="connsiteX9" fmla="*/ 21476 w 36052"/>
                <a:gd name="connsiteY9" fmla="*/ 766 h 20907"/>
                <a:gd name="connsiteX10" fmla="*/ 13856 w 36052"/>
                <a:gd name="connsiteY10" fmla="*/ 766 h 20907"/>
                <a:gd name="connsiteX11" fmla="*/ 1188 w 36052"/>
                <a:gd name="connsiteY11" fmla="*/ 8100 h 20907"/>
                <a:gd name="connsiteX12" fmla="*/ -336 w 36052"/>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907">
                  <a:moveTo>
                    <a:pt x="-336" y="10291"/>
                  </a:moveTo>
                  <a:cubicBezTo>
                    <a:pt x="-269" y="11272"/>
                    <a:pt x="312" y="12139"/>
                    <a:pt x="1188" y="12577"/>
                  </a:cubicBezTo>
                  <a:lnTo>
                    <a:pt x="3569" y="13911"/>
                  </a:lnTo>
                  <a:lnTo>
                    <a:pt x="13856" y="19816"/>
                  </a:lnTo>
                  <a:cubicBezTo>
                    <a:pt x="16247" y="21054"/>
                    <a:pt x="19085" y="21054"/>
                    <a:pt x="21476" y="19816"/>
                  </a:cubicBezTo>
                  <a:lnTo>
                    <a:pt x="31763" y="13911"/>
                  </a:lnTo>
                  <a:lnTo>
                    <a:pt x="34144" y="12577"/>
                  </a:lnTo>
                  <a:cubicBezTo>
                    <a:pt x="35382" y="12129"/>
                    <a:pt x="36021" y="10758"/>
                    <a:pt x="35573" y="9529"/>
                  </a:cubicBezTo>
                  <a:cubicBezTo>
                    <a:pt x="35325" y="8862"/>
                    <a:pt x="34811" y="8338"/>
                    <a:pt x="34144" y="8100"/>
                  </a:cubicBezTo>
                  <a:lnTo>
                    <a:pt x="21476" y="766"/>
                  </a:lnTo>
                  <a:cubicBezTo>
                    <a:pt x="19085" y="-472"/>
                    <a:pt x="16247" y="-472"/>
                    <a:pt x="13856" y="766"/>
                  </a:cubicBezTo>
                  <a:lnTo>
                    <a:pt x="1188" y="8100"/>
                  </a:lnTo>
                  <a:cubicBezTo>
                    <a:pt x="340" y="8519"/>
                    <a:pt x="-241" y="9348"/>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769" name="îṧlïdê">
              <a:extLst>
                <a:ext uri="{FF2B5EF4-FFF2-40B4-BE49-F238E27FC236}">
                  <a16:creationId xmlns:a16="http://schemas.microsoft.com/office/drawing/2014/main" id="{D296E0A0-D5E7-4207-9A7F-EFCE78822F3D}"/>
                </a:ext>
              </a:extLst>
            </p:cNvPr>
            <p:cNvSpPr/>
            <p:nvPr/>
          </p:nvSpPr>
          <p:spPr>
            <a:xfrm>
              <a:off x="5000096" y="4866426"/>
              <a:ext cx="105825" cy="61101"/>
            </a:xfrm>
            <a:custGeom>
              <a:avLst/>
              <a:gdLst>
                <a:gd name="connsiteX0" fmla="*/ 1235 w 34766"/>
                <a:gd name="connsiteY0" fmla="*/ 12030 h 20073"/>
                <a:gd name="connsiteX1" fmla="*/ 13332 w 34766"/>
                <a:gd name="connsiteY1" fmla="*/ 18983 h 20073"/>
                <a:gd name="connsiteX2" fmla="*/ 20761 w 34766"/>
                <a:gd name="connsiteY2" fmla="*/ 18983 h 20073"/>
                <a:gd name="connsiteX3" fmla="*/ 32858 w 34766"/>
                <a:gd name="connsiteY3" fmla="*/ 12030 h 20073"/>
                <a:gd name="connsiteX4" fmla="*/ 32858 w 34766"/>
                <a:gd name="connsiteY4" fmla="*/ 7743 h 20073"/>
                <a:gd name="connsiteX5" fmla="*/ 20761 w 34766"/>
                <a:gd name="connsiteY5" fmla="*/ 695 h 20073"/>
                <a:gd name="connsiteX6" fmla="*/ 13332 w 34766"/>
                <a:gd name="connsiteY6" fmla="*/ 695 h 20073"/>
                <a:gd name="connsiteX7" fmla="*/ 1235 w 34766"/>
                <a:gd name="connsiteY7" fmla="*/ 7743 h 20073"/>
                <a:gd name="connsiteX8" fmla="*/ 1235 w 34766"/>
                <a:gd name="connsiteY8" fmla="*/ 12030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6" h="20073">
                  <a:moveTo>
                    <a:pt x="1235" y="12030"/>
                  </a:moveTo>
                  <a:lnTo>
                    <a:pt x="13332" y="18983"/>
                  </a:lnTo>
                  <a:cubicBezTo>
                    <a:pt x="15656" y="20221"/>
                    <a:pt x="18437" y="20221"/>
                    <a:pt x="20761" y="18983"/>
                  </a:cubicBezTo>
                  <a:lnTo>
                    <a:pt x="32858" y="12030"/>
                  </a:lnTo>
                  <a:cubicBezTo>
                    <a:pt x="34954" y="10791"/>
                    <a:pt x="34954" y="8886"/>
                    <a:pt x="32858" y="7743"/>
                  </a:cubicBezTo>
                  <a:lnTo>
                    <a:pt x="20761" y="695"/>
                  </a:lnTo>
                  <a:cubicBezTo>
                    <a:pt x="18419" y="-448"/>
                    <a:pt x="15675" y="-448"/>
                    <a:pt x="13332" y="695"/>
                  </a:cubicBezTo>
                  <a:lnTo>
                    <a:pt x="1235" y="7743"/>
                  </a:lnTo>
                  <a:cubicBezTo>
                    <a:pt x="-860" y="8886"/>
                    <a:pt x="-860" y="10791"/>
                    <a:pt x="1235" y="12030"/>
                  </a:cubicBezTo>
                  <a:close/>
                </a:path>
              </a:pathLst>
            </a:custGeom>
            <a:solidFill>
              <a:srgbClr val="D1D9E8"/>
            </a:solidFill>
            <a:ln w="9525" cap="flat">
              <a:noFill/>
              <a:prstDash val="solid"/>
              <a:miter/>
            </a:ln>
          </p:spPr>
          <p:txBody>
            <a:bodyPr rtlCol="0" anchor="ctr"/>
            <a:lstStyle/>
            <a:p>
              <a:endParaRPr lang="zh-CN" altLang="en-US"/>
            </a:p>
          </p:txBody>
        </p:sp>
        <p:sp>
          <p:nvSpPr>
            <p:cNvPr id="770" name="î$ḻíďê">
              <a:extLst>
                <a:ext uri="{FF2B5EF4-FFF2-40B4-BE49-F238E27FC236}">
                  <a16:creationId xmlns:a16="http://schemas.microsoft.com/office/drawing/2014/main" id="{A5EA3187-8D26-44EB-A0BF-8BFA9FA1CFE6}"/>
                </a:ext>
              </a:extLst>
            </p:cNvPr>
            <p:cNvSpPr/>
            <p:nvPr/>
          </p:nvSpPr>
          <p:spPr>
            <a:xfrm>
              <a:off x="4998212" y="4896868"/>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3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3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3" y="7953"/>
                    <a:pt x="35668" y="6981"/>
                  </a:cubicBezTo>
                  <a:lnTo>
                    <a:pt x="35668" y="-163"/>
                  </a:lnTo>
                  <a:cubicBezTo>
                    <a:pt x="35602" y="818"/>
                    <a:pt x="35021" y="1685"/>
                    <a:pt x="34144" y="2123"/>
                  </a:cubicBezTo>
                  <a:lnTo>
                    <a:pt x="31763" y="3457"/>
                  </a:lnTo>
                  <a:lnTo>
                    <a:pt x="21476" y="9362"/>
                  </a:lnTo>
                  <a:cubicBezTo>
                    <a:pt x="19085" y="10601"/>
                    <a:pt x="16247" y="10601"/>
                    <a:pt x="13856" y="9362"/>
                  </a:cubicBezTo>
                  <a:lnTo>
                    <a:pt x="3569" y="3457"/>
                  </a:lnTo>
                  <a:lnTo>
                    <a:pt x="1188" y="2123"/>
                  </a:lnTo>
                  <a:cubicBezTo>
                    <a:pt x="312"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71" name="îṥľîḋê">
              <a:extLst>
                <a:ext uri="{FF2B5EF4-FFF2-40B4-BE49-F238E27FC236}">
                  <a16:creationId xmlns:a16="http://schemas.microsoft.com/office/drawing/2014/main" id="{E3F1E167-18E3-4513-AC3F-490566F5DE83}"/>
                </a:ext>
              </a:extLst>
            </p:cNvPr>
            <p:cNvSpPr/>
            <p:nvPr/>
          </p:nvSpPr>
          <p:spPr>
            <a:xfrm>
              <a:off x="5075333" y="4911147"/>
              <a:ext cx="109015" cy="63639"/>
            </a:xfrm>
            <a:custGeom>
              <a:avLst/>
              <a:gdLst>
                <a:gd name="connsiteX0" fmla="*/ -336 w 35814"/>
                <a:gd name="connsiteY0" fmla="*/ 10291 h 20907"/>
                <a:gd name="connsiteX1" fmla="*/ 1283 w 35814"/>
                <a:gd name="connsiteY1" fmla="*/ 12577 h 20907"/>
                <a:gd name="connsiteX2" fmla="*/ 3569 w 35814"/>
                <a:gd name="connsiteY2" fmla="*/ 13911 h 20907"/>
                <a:gd name="connsiteX3" fmla="*/ 13856 w 35814"/>
                <a:gd name="connsiteY3" fmla="*/ 19816 h 20907"/>
                <a:gd name="connsiteX4" fmla="*/ 21571 w 35814"/>
                <a:gd name="connsiteY4" fmla="*/ 19816 h 20907"/>
                <a:gd name="connsiteX5" fmla="*/ 31858 w 35814"/>
                <a:gd name="connsiteY5" fmla="*/ 13911 h 20907"/>
                <a:gd name="connsiteX6" fmla="*/ 34144 w 35814"/>
                <a:gd name="connsiteY6" fmla="*/ 12577 h 20907"/>
                <a:gd name="connsiteX7" fmla="*/ 35478 w 35814"/>
                <a:gd name="connsiteY7" fmla="*/ 10291 h 20907"/>
                <a:gd name="connsiteX8" fmla="*/ 33858 w 35814"/>
                <a:gd name="connsiteY8" fmla="*/ 8100 h 20907"/>
                <a:gd name="connsiteX9" fmla="*/ 21286 w 35814"/>
                <a:gd name="connsiteY9" fmla="*/ 766 h 20907"/>
                <a:gd name="connsiteX10" fmla="*/ 13570 w 35814"/>
                <a:gd name="connsiteY10" fmla="*/ 766 h 20907"/>
                <a:gd name="connsiteX11" fmla="*/ 997 w 35814"/>
                <a:gd name="connsiteY11" fmla="*/ 8100 h 20907"/>
                <a:gd name="connsiteX12" fmla="*/ -336 w 35814"/>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814" h="20907">
                  <a:moveTo>
                    <a:pt x="-336" y="10291"/>
                  </a:moveTo>
                  <a:cubicBezTo>
                    <a:pt x="-231" y="11282"/>
                    <a:pt x="378" y="12149"/>
                    <a:pt x="1283" y="12577"/>
                  </a:cubicBezTo>
                  <a:lnTo>
                    <a:pt x="3569" y="13911"/>
                  </a:lnTo>
                  <a:lnTo>
                    <a:pt x="13856" y="19816"/>
                  </a:lnTo>
                  <a:cubicBezTo>
                    <a:pt x="16275" y="21054"/>
                    <a:pt x="19152" y="21054"/>
                    <a:pt x="21571" y="19816"/>
                  </a:cubicBezTo>
                  <a:lnTo>
                    <a:pt x="31858" y="13911"/>
                  </a:lnTo>
                  <a:lnTo>
                    <a:pt x="34144" y="12577"/>
                  </a:lnTo>
                  <a:cubicBezTo>
                    <a:pt x="34964" y="12101"/>
                    <a:pt x="35468" y="11234"/>
                    <a:pt x="35478" y="10291"/>
                  </a:cubicBezTo>
                  <a:cubicBezTo>
                    <a:pt x="35402" y="9310"/>
                    <a:pt x="34773" y="8462"/>
                    <a:pt x="33858" y="8100"/>
                  </a:cubicBezTo>
                  <a:lnTo>
                    <a:pt x="21286" y="766"/>
                  </a:lnTo>
                  <a:cubicBezTo>
                    <a:pt x="18866" y="-472"/>
                    <a:pt x="15990" y="-472"/>
                    <a:pt x="13570" y="766"/>
                  </a:cubicBezTo>
                  <a:lnTo>
                    <a:pt x="997" y="8100"/>
                  </a:lnTo>
                  <a:cubicBezTo>
                    <a:pt x="216" y="8567"/>
                    <a:pt x="-279" y="9386"/>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772" name="ïṡḷîḑè">
              <a:extLst>
                <a:ext uri="{FF2B5EF4-FFF2-40B4-BE49-F238E27FC236}">
                  <a16:creationId xmlns:a16="http://schemas.microsoft.com/office/drawing/2014/main" id="{8897BE13-B5A0-46CE-9E47-8D566C462FEC}"/>
                </a:ext>
              </a:extLst>
            </p:cNvPr>
            <p:cNvSpPr/>
            <p:nvPr/>
          </p:nvSpPr>
          <p:spPr>
            <a:xfrm>
              <a:off x="5077437" y="4910858"/>
              <a:ext cx="105679" cy="61104"/>
            </a:xfrm>
            <a:custGeom>
              <a:avLst/>
              <a:gdLst>
                <a:gd name="connsiteX0" fmla="*/ 1164 w 34718"/>
                <a:gd name="connsiteY0" fmla="*/ 12006 h 20074"/>
                <a:gd name="connsiteX1" fmla="*/ 13356 w 34718"/>
                <a:gd name="connsiteY1" fmla="*/ 19054 h 20074"/>
                <a:gd name="connsiteX2" fmla="*/ 20785 w 34718"/>
                <a:gd name="connsiteY2" fmla="*/ 19054 h 20074"/>
                <a:gd name="connsiteX3" fmla="*/ 32882 w 34718"/>
                <a:gd name="connsiteY3" fmla="*/ 12006 h 20074"/>
                <a:gd name="connsiteX4" fmla="*/ 32882 w 34718"/>
                <a:gd name="connsiteY4" fmla="*/ 7719 h 20074"/>
                <a:gd name="connsiteX5" fmla="*/ 20785 w 34718"/>
                <a:gd name="connsiteY5" fmla="*/ 766 h 20074"/>
                <a:gd name="connsiteX6" fmla="*/ 13356 w 34718"/>
                <a:gd name="connsiteY6" fmla="*/ 766 h 20074"/>
                <a:gd name="connsiteX7" fmla="*/ 1164 w 34718"/>
                <a:gd name="connsiteY7" fmla="*/ 7719 h 20074"/>
                <a:gd name="connsiteX8" fmla="*/ 1164 w 34718"/>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18" h="20074">
                  <a:moveTo>
                    <a:pt x="1164" y="12006"/>
                  </a:moveTo>
                  <a:lnTo>
                    <a:pt x="13356" y="19054"/>
                  </a:lnTo>
                  <a:cubicBezTo>
                    <a:pt x="15699" y="20197"/>
                    <a:pt x="18442" y="20197"/>
                    <a:pt x="20785" y="19054"/>
                  </a:cubicBezTo>
                  <a:lnTo>
                    <a:pt x="32882" y="12006"/>
                  </a:lnTo>
                  <a:cubicBezTo>
                    <a:pt x="34882" y="10863"/>
                    <a:pt x="34882" y="8958"/>
                    <a:pt x="32882" y="7719"/>
                  </a:cubicBezTo>
                  <a:lnTo>
                    <a:pt x="20785" y="766"/>
                  </a:lnTo>
                  <a:cubicBezTo>
                    <a:pt x="18461" y="-472"/>
                    <a:pt x="15680" y="-472"/>
                    <a:pt x="13356" y="766"/>
                  </a:cubicBezTo>
                  <a:lnTo>
                    <a:pt x="1164" y="7719"/>
                  </a:lnTo>
                  <a:cubicBezTo>
                    <a:pt x="-836" y="8958"/>
                    <a:pt x="-836" y="10863"/>
                    <a:pt x="1164" y="12006"/>
                  </a:cubicBezTo>
                  <a:close/>
                </a:path>
              </a:pathLst>
            </a:custGeom>
            <a:solidFill>
              <a:srgbClr val="D1D9E8"/>
            </a:solidFill>
            <a:ln w="9525" cap="flat">
              <a:noFill/>
              <a:prstDash val="solid"/>
              <a:miter/>
            </a:ln>
          </p:spPr>
          <p:txBody>
            <a:bodyPr rtlCol="0" anchor="ctr"/>
            <a:lstStyle/>
            <a:p>
              <a:endParaRPr lang="zh-CN" altLang="en-US"/>
            </a:p>
          </p:txBody>
        </p:sp>
        <p:sp>
          <p:nvSpPr>
            <p:cNvPr id="773" name="ïŝľiḑé">
              <a:extLst>
                <a:ext uri="{FF2B5EF4-FFF2-40B4-BE49-F238E27FC236}">
                  <a16:creationId xmlns:a16="http://schemas.microsoft.com/office/drawing/2014/main" id="{B392D23A-7B7B-4934-960E-4E73E80226E8}"/>
                </a:ext>
              </a:extLst>
            </p:cNvPr>
            <p:cNvSpPr/>
            <p:nvPr/>
          </p:nvSpPr>
          <p:spPr>
            <a:xfrm>
              <a:off x="5075333" y="4942968"/>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4 w 36099"/>
                <a:gd name="connsiteY6" fmla="*/ 6981 h 17597"/>
                <a:gd name="connsiteX7" fmla="*/ 35764 w 36099"/>
                <a:gd name="connsiteY7" fmla="*/ -163 h 17597"/>
                <a:gd name="connsiteX8" fmla="*/ 34144 w 36099"/>
                <a:gd name="connsiteY8" fmla="*/ 2123 h 17597"/>
                <a:gd name="connsiteX9" fmla="*/ 31858 w 36099"/>
                <a:gd name="connsiteY9" fmla="*/ 3457 h 17597"/>
                <a:gd name="connsiteX10" fmla="*/ 21571 w 36099"/>
                <a:gd name="connsiteY10" fmla="*/ 9362 h 17597"/>
                <a:gd name="connsiteX11" fmla="*/ 13856 w 36099"/>
                <a:gd name="connsiteY11" fmla="*/ 9362 h 17597"/>
                <a:gd name="connsiteX12" fmla="*/ 3569 w 36099"/>
                <a:gd name="connsiteY12" fmla="*/ 3457 h 17597"/>
                <a:gd name="connsiteX13" fmla="*/ 1283 w 36099"/>
                <a:gd name="connsiteY13" fmla="*/ 2123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03" y="8038"/>
                    <a:pt x="407" y="8857"/>
                    <a:pt x="1283" y="9267"/>
                  </a:cubicBezTo>
                  <a:lnTo>
                    <a:pt x="13856" y="16506"/>
                  </a:lnTo>
                  <a:cubicBezTo>
                    <a:pt x="16275" y="17744"/>
                    <a:pt x="19152" y="17744"/>
                    <a:pt x="21571" y="16506"/>
                  </a:cubicBezTo>
                  <a:lnTo>
                    <a:pt x="34144" y="9267"/>
                  </a:lnTo>
                  <a:cubicBezTo>
                    <a:pt x="35059" y="8857"/>
                    <a:pt x="35678" y="7981"/>
                    <a:pt x="35764" y="6981"/>
                  </a:cubicBezTo>
                  <a:lnTo>
                    <a:pt x="35764" y="-163"/>
                  </a:lnTo>
                  <a:cubicBezTo>
                    <a:pt x="35697" y="847"/>
                    <a:pt x="35068" y="1733"/>
                    <a:pt x="34144" y="2123"/>
                  </a:cubicBezTo>
                  <a:lnTo>
                    <a:pt x="31858" y="3457"/>
                  </a:lnTo>
                  <a:lnTo>
                    <a:pt x="21571" y="9362"/>
                  </a:lnTo>
                  <a:cubicBezTo>
                    <a:pt x="19152" y="10601"/>
                    <a:pt x="16275" y="10601"/>
                    <a:pt x="13856" y="9362"/>
                  </a:cubicBezTo>
                  <a:lnTo>
                    <a:pt x="3569" y="3457"/>
                  </a:lnTo>
                  <a:lnTo>
                    <a:pt x="1283" y="2123"/>
                  </a:lnTo>
                  <a:cubicBezTo>
                    <a:pt x="378" y="1695"/>
                    <a:pt x="-231"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74" name="ïslíḋé">
              <a:extLst>
                <a:ext uri="{FF2B5EF4-FFF2-40B4-BE49-F238E27FC236}">
                  <a16:creationId xmlns:a16="http://schemas.microsoft.com/office/drawing/2014/main" id="{71B060B7-65A2-47F6-8352-3D76221B386F}"/>
                </a:ext>
              </a:extLst>
            </p:cNvPr>
            <p:cNvSpPr/>
            <p:nvPr/>
          </p:nvSpPr>
          <p:spPr>
            <a:xfrm>
              <a:off x="5152746" y="4953476"/>
              <a:ext cx="140036" cy="81035"/>
            </a:xfrm>
            <a:custGeom>
              <a:avLst/>
              <a:gdLst>
                <a:gd name="connsiteX0" fmla="*/ -336 w 46005"/>
                <a:gd name="connsiteY0" fmla="*/ 10196 h 26622"/>
                <a:gd name="connsiteX1" fmla="*/ 1283 w 46005"/>
                <a:gd name="connsiteY1" fmla="*/ 12482 h 26622"/>
                <a:gd name="connsiteX2" fmla="*/ 3569 w 46005"/>
                <a:gd name="connsiteY2" fmla="*/ 13815 h 26622"/>
                <a:gd name="connsiteX3" fmla="*/ 23762 w 46005"/>
                <a:gd name="connsiteY3" fmla="*/ 25531 h 26622"/>
                <a:gd name="connsiteX4" fmla="*/ 31477 w 46005"/>
                <a:gd name="connsiteY4" fmla="*/ 25531 h 26622"/>
                <a:gd name="connsiteX5" fmla="*/ 41764 w 46005"/>
                <a:gd name="connsiteY5" fmla="*/ 19530 h 26622"/>
                <a:gd name="connsiteX6" fmla="*/ 44145 w 46005"/>
                <a:gd name="connsiteY6" fmla="*/ 18197 h 26622"/>
                <a:gd name="connsiteX7" fmla="*/ 45669 w 46005"/>
                <a:gd name="connsiteY7" fmla="*/ 16578 h 26622"/>
                <a:gd name="connsiteX8" fmla="*/ 45669 w 46005"/>
                <a:gd name="connsiteY8" fmla="*/ 15435 h 26622"/>
                <a:gd name="connsiteX9" fmla="*/ 44145 w 46005"/>
                <a:gd name="connsiteY9" fmla="*/ 13720 h 26622"/>
                <a:gd name="connsiteX10" fmla="*/ 21571 w 46005"/>
                <a:gd name="connsiteY10" fmla="*/ 766 h 26622"/>
                <a:gd name="connsiteX11" fmla="*/ 13856 w 46005"/>
                <a:gd name="connsiteY11" fmla="*/ 766 h 26622"/>
                <a:gd name="connsiteX12" fmla="*/ 1283 w 46005"/>
                <a:gd name="connsiteY12" fmla="*/ 8005 h 26622"/>
                <a:gd name="connsiteX13" fmla="*/ -336 w 46005"/>
                <a:gd name="connsiteY13" fmla="*/ 10196 h 26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005" h="26622">
                  <a:moveTo>
                    <a:pt x="-336" y="10196"/>
                  </a:moveTo>
                  <a:cubicBezTo>
                    <a:pt x="-298" y="11215"/>
                    <a:pt x="340" y="12110"/>
                    <a:pt x="1283" y="12482"/>
                  </a:cubicBezTo>
                  <a:lnTo>
                    <a:pt x="3569" y="13815"/>
                  </a:lnTo>
                  <a:lnTo>
                    <a:pt x="23762" y="25531"/>
                  </a:lnTo>
                  <a:cubicBezTo>
                    <a:pt x="26181" y="26769"/>
                    <a:pt x="29058" y="26769"/>
                    <a:pt x="31477" y="25531"/>
                  </a:cubicBezTo>
                  <a:lnTo>
                    <a:pt x="41764" y="19530"/>
                  </a:lnTo>
                  <a:lnTo>
                    <a:pt x="44145" y="18197"/>
                  </a:lnTo>
                  <a:cubicBezTo>
                    <a:pt x="44860" y="17892"/>
                    <a:pt x="45412" y="17311"/>
                    <a:pt x="45669" y="16578"/>
                  </a:cubicBezTo>
                  <a:lnTo>
                    <a:pt x="45669" y="15435"/>
                  </a:lnTo>
                  <a:cubicBezTo>
                    <a:pt x="45384" y="14692"/>
                    <a:pt x="44850" y="14082"/>
                    <a:pt x="44145" y="13720"/>
                  </a:cubicBezTo>
                  <a:lnTo>
                    <a:pt x="21571" y="766"/>
                  </a:lnTo>
                  <a:cubicBezTo>
                    <a:pt x="19152" y="-472"/>
                    <a:pt x="16275" y="-472"/>
                    <a:pt x="13856" y="766"/>
                  </a:cubicBezTo>
                  <a:lnTo>
                    <a:pt x="1283" y="8005"/>
                  </a:lnTo>
                  <a:cubicBezTo>
                    <a:pt x="378" y="8386"/>
                    <a:pt x="-241" y="9224"/>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775" name="iṩľide">
              <a:extLst>
                <a:ext uri="{FF2B5EF4-FFF2-40B4-BE49-F238E27FC236}">
                  <a16:creationId xmlns:a16="http://schemas.microsoft.com/office/drawing/2014/main" id="{3CF7866E-A5F9-4F76-893F-B9D584EDAC8D}"/>
                </a:ext>
              </a:extLst>
            </p:cNvPr>
            <p:cNvSpPr/>
            <p:nvPr/>
          </p:nvSpPr>
          <p:spPr>
            <a:xfrm>
              <a:off x="5154880" y="4953984"/>
              <a:ext cx="136021" cy="78570"/>
            </a:xfrm>
            <a:custGeom>
              <a:avLst/>
              <a:gdLst>
                <a:gd name="connsiteX0" fmla="*/ 23252 w 44686"/>
                <a:gd name="connsiteY0" fmla="*/ 24793 h 25812"/>
                <a:gd name="connsiteX1" fmla="*/ 1154 w 44686"/>
                <a:gd name="connsiteY1" fmla="*/ 12029 h 25812"/>
                <a:gd name="connsiteX2" fmla="*/ -189 w 44686"/>
                <a:gd name="connsiteY2" fmla="*/ 9096 h 25812"/>
                <a:gd name="connsiteX3" fmla="*/ 1154 w 44686"/>
                <a:gd name="connsiteY3" fmla="*/ 7743 h 25812"/>
                <a:gd name="connsiteX4" fmla="*/ 13251 w 44686"/>
                <a:gd name="connsiteY4" fmla="*/ 695 h 25812"/>
                <a:gd name="connsiteX5" fmla="*/ 20680 w 44686"/>
                <a:gd name="connsiteY5" fmla="*/ 695 h 25812"/>
                <a:gd name="connsiteX6" fmla="*/ 42778 w 44686"/>
                <a:gd name="connsiteY6" fmla="*/ 13458 h 25812"/>
                <a:gd name="connsiteX7" fmla="*/ 42778 w 44686"/>
                <a:gd name="connsiteY7" fmla="*/ 17744 h 25812"/>
                <a:gd name="connsiteX8" fmla="*/ 30681 w 44686"/>
                <a:gd name="connsiteY8" fmla="*/ 24793 h 25812"/>
                <a:gd name="connsiteX9" fmla="*/ 23252 w 44686"/>
                <a:gd name="connsiteY9" fmla="*/ 24793 h 25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4686" h="25812">
                  <a:moveTo>
                    <a:pt x="23252" y="24793"/>
                  </a:moveTo>
                  <a:lnTo>
                    <a:pt x="1154" y="12029"/>
                  </a:lnTo>
                  <a:cubicBezTo>
                    <a:pt x="-27" y="11591"/>
                    <a:pt x="-637" y="10277"/>
                    <a:pt x="-189" y="9096"/>
                  </a:cubicBezTo>
                  <a:cubicBezTo>
                    <a:pt x="40" y="8467"/>
                    <a:pt x="535" y="7972"/>
                    <a:pt x="1154" y="7743"/>
                  </a:cubicBezTo>
                  <a:lnTo>
                    <a:pt x="13251" y="695"/>
                  </a:lnTo>
                  <a:cubicBezTo>
                    <a:pt x="15594" y="-448"/>
                    <a:pt x="18337" y="-448"/>
                    <a:pt x="20680" y="695"/>
                  </a:cubicBezTo>
                  <a:lnTo>
                    <a:pt x="42778" y="13458"/>
                  </a:lnTo>
                  <a:cubicBezTo>
                    <a:pt x="44874" y="14696"/>
                    <a:pt x="44874" y="16601"/>
                    <a:pt x="42778" y="17744"/>
                  </a:cubicBezTo>
                  <a:lnTo>
                    <a:pt x="30681" y="24793"/>
                  </a:lnTo>
                  <a:cubicBezTo>
                    <a:pt x="28338" y="25936"/>
                    <a:pt x="25595" y="25936"/>
                    <a:pt x="23252" y="24793"/>
                  </a:cubicBezTo>
                  <a:close/>
                </a:path>
              </a:pathLst>
            </a:custGeom>
            <a:solidFill>
              <a:srgbClr val="D1D9E8"/>
            </a:solidFill>
            <a:ln w="9525" cap="flat">
              <a:noFill/>
              <a:prstDash val="solid"/>
              <a:miter/>
            </a:ln>
          </p:spPr>
          <p:txBody>
            <a:bodyPr rtlCol="0" anchor="ctr"/>
            <a:lstStyle/>
            <a:p>
              <a:endParaRPr lang="zh-CN" altLang="en-US"/>
            </a:p>
          </p:txBody>
        </p:sp>
        <p:sp>
          <p:nvSpPr>
            <p:cNvPr id="776" name="iśľíḋè">
              <a:extLst>
                <a:ext uri="{FF2B5EF4-FFF2-40B4-BE49-F238E27FC236}">
                  <a16:creationId xmlns:a16="http://schemas.microsoft.com/office/drawing/2014/main" id="{3E9E979B-266C-49FC-AC2E-809C258F0A99}"/>
                </a:ext>
              </a:extLst>
            </p:cNvPr>
            <p:cNvSpPr/>
            <p:nvPr/>
          </p:nvSpPr>
          <p:spPr>
            <a:xfrm>
              <a:off x="5152746" y="4985008"/>
              <a:ext cx="140036" cy="71249"/>
            </a:xfrm>
            <a:custGeom>
              <a:avLst/>
              <a:gdLst>
                <a:gd name="connsiteX0" fmla="*/ -336 w 46005"/>
                <a:gd name="connsiteY0" fmla="*/ -163 h 23407"/>
                <a:gd name="connsiteX1" fmla="*/ -336 w 46005"/>
                <a:gd name="connsiteY1" fmla="*/ 7076 h 23407"/>
                <a:gd name="connsiteX2" fmla="*/ 1283 w 46005"/>
                <a:gd name="connsiteY2" fmla="*/ 9267 h 23407"/>
                <a:gd name="connsiteX3" fmla="*/ 23762 w 46005"/>
                <a:gd name="connsiteY3" fmla="*/ 22316 h 23407"/>
                <a:gd name="connsiteX4" fmla="*/ 31477 w 46005"/>
                <a:gd name="connsiteY4" fmla="*/ 22316 h 23407"/>
                <a:gd name="connsiteX5" fmla="*/ 44145 w 46005"/>
                <a:gd name="connsiteY5" fmla="*/ 14982 h 23407"/>
                <a:gd name="connsiteX6" fmla="*/ 45669 w 46005"/>
                <a:gd name="connsiteY6" fmla="*/ 13363 h 23407"/>
                <a:gd name="connsiteX7" fmla="*/ 45669 w 46005"/>
                <a:gd name="connsiteY7" fmla="*/ 6219 h 23407"/>
                <a:gd name="connsiteX8" fmla="*/ 44145 w 46005"/>
                <a:gd name="connsiteY8" fmla="*/ 7838 h 23407"/>
                <a:gd name="connsiteX9" fmla="*/ 41764 w 46005"/>
                <a:gd name="connsiteY9" fmla="*/ 9172 h 23407"/>
                <a:gd name="connsiteX10" fmla="*/ 31477 w 46005"/>
                <a:gd name="connsiteY10" fmla="*/ 15172 h 23407"/>
                <a:gd name="connsiteX11" fmla="*/ 23762 w 46005"/>
                <a:gd name="connsiteY11" fmla="*/ 15172 h 23407"/>
                <a:gd name="connsiteX12" fmla="*/ 3569 w 46005"/>
                <a:gd name="connsiteY12" fmla="*/ 3457 h 23407"/>
                <a:gd name="connsiteX13" fmla="*/ 1283 w 46005"/>
                <a:gd name="connsiteY13" fmla="*/ 2123 h 23407"/>
                <a:gd name="connsiteX14" fmla="*/ -336 w 46005"/>
                <a:gd name="connsiteY14" fmla="*/ -163 h 234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6005" h="23407">
                  <a:moveTo>
                    <a:pt x="-336" y="-163"/>
                  </a:moveTo>
                  <a:lnTo>
                    <a:pt x="-336" y="7076"/>
                  </a:lnTo>
                  <a:cubicBezTo>
                    <a:pt x="-260" y="8057"/>
                    <a:pt x="369" y="8905"/>
                    <a:pt x="1283" y="9267"/>
                  </a:cubicBezTo>
                  <a:lnTo>
                    <a:pt x="23762" y="22316"/>
                  </a:lnTo>
                  <a:cubicBezTo>
                    <a:pt x="26181" y="23555"/>
                    <a:pt x="29058" y="23555"/>
                    <a:pt x="31477" y="22316"/>
                  </a:cubicBezTo>
                  <a:lnTo>
                    <a:pt x="44145" y="14982"/>
                  </a:lnTo>
                  <a:cubicBezTo>
                    <a:pt x="44822" y="14629"/>
                    <a:pt x="45355" y="14058"/>
                    <a:pt x="45669" y="13363"/>
                  </a:cubicBezTo>
                  <a:lnTo>
                    <a:pt x="45669" y="6219"/>
                  </a:lnTo>
                  <a:cubicBezTo>
                    <a:pt x="45412" y="6952"/>
                    <a:pt x="44860" y="7533"/>
                    <a:pt x="44145" y="7838"/>
                  </a:cubicBezTo>
                  <a:lnTo>
                    <a:pt x="41764" y="9172"/>
                  </a:lnTo>
                  <a:lnTo>
                    <a:pt x="31477" y="15172"/>
                  </a:lnTo>
                  <a:cubicBezTo>
                    <a:pt x="29058" y="16411"/>
                    <a:pt x="26181" y="16411"/>
                    <a:pt x="23762" y="15172"/>
                  </a:cubicBezTo>
                  <a:lnTo>
                    <a:pt x="3569" y="3457"/>
                  </a:lnTo>
                  <a:lnTo>
                    <a:pt x="1283" y="2123"/>
                  </a:lnTo>
                  <a:cubicBezTo>
                    <a:pt x="340" y="1752"/>
                    <a:pt x="-298" y="856"/>
                    <a:pt x="-336" y="-163"/>
                  </a:cubicBezTo>
                  <a:close/>
                </a:path>
              </a:pathLst>
            </a:custGeom>
            <a:solidFill>
              <a:srgbClr val="BF4200"/>
            </a:solidFill>
            <a:ln w="9525" cap="flat">
              <a:noFill/>
              <a:prstDash val="solid"/>
              <a:miter/>
            </a:ln>
          </p:spPr>
          <p:txBody>
            <a:bodyPr rtlCol="0" anchor="ctr"/>
            <a:lstStyle/>
            <a:p>
              <a:endParaRPr lang="zh-CN" altLang="en-US"/>
            </a:p>
          </p:txBody>
        </p:sp>
        <p:sp>
          <p:nvSpPr>
            <p:cNvPr id="777" name="îşlïďê">
              <a:extLst>
                <a:ext uri="{FF2B5EF4-FFF2-40B4-BE49-F238E27FC236}">
                  <a16:creationId xmlns:a16="http://schemas.microsoft.com/office/drawing/2014/main" id="{ADCC4F74-B715-4A72-B74F-8D0A24CE443D}"/>
                </a:ext>
              </a:extLst>
            </p:cNvPr>
            <p:cNvSpPr/>
            <p:nvPr/>
          </p:nvSpPr>
          <p:spPr>
            <a:xfrm>
              <a:off x="5261180" y="5016300"/>
              <a:ext cx="505645" cy="291913"/>
            </a:xfrm>
            <a:custGeom>
              <a:avLst/>
              <a:gdLst>
                <a:gd name="connsiteX0" fmla="*/ -336 w 166116"/>
                <a:gd name="connsiteY0" fmla="*/ 10227 h 95900"/>
                <a:gd name="connsiteX1" fmla="*/ 1188 w 166116"/>
                <a:gd name="connsiteY1" fmla="*/ 12513 h 95900"/>
                <a:gd name="connsiteX2" fmla="*/ 3569 w 166116"/>
                <a:gd name="connsiteY2" fmla="*/ 13846 h 95900"/>
                <a:gd name="connsiteX3" fmla="*/ 143872 w 166116"/>
                <a:gd name="connsiteY3" fmla="*/ 94809 h 95900"/>
                <a:gd name="connsiteX4" fmla="*/ 151588 w 166116"/>
                <a:gd name="connsiteY4" fmla="*/ 94809 h 95900"/>
                <a:gd name="connsiteX5" fmla="*/ 161779 w 166116"/>
                <a:gd name="connsiteY5" fmla="*/ 88903 h 95900"/>
                <a:gd name="connsiteX6" fmla="*/ 164161 w 166116"/>
                <a:gd name="connsiteY6" fmla="*/ 87570 h 95900"/>
                <a:gd name="connsiteX7" fmla="*/ 165780 w 166116"/>
                <a:gd name="connsiteY7" fmla="*/ 85951 h 95900"/>
                <a:gd name="connsiteX8" fmla="*/ 165780 w 166116"/>
                <a:gd name="connsiteY8" fmla="*/ 84808 h 95900"/>
                <a:gd name="connsiteX9" fmla="*/ 164161 w 166116"/>
                <a:gd name="connsiteY9" fmla="*/ 83093 h 95900"/>
                <a:gd name="connsiteX10" fmla="*/ 21286 w 166116"/>
                <a:gd name="connsiteY10" fmla="*/ 702 h 95900"/>
                <a:gd name="connsiteX11" fmla="*/ 13665 w 166116"/>
                <a:gd name="connsiteY11" fmla="*/ 702 h 95900"/>
                <a:gd name="connsiteX12" fmla="*/ 997 w 166116"/>
                <a:gd name="connsiteY12" fmla="*/ 8036 h 95900"/>
                <a:gd name="connsiteX13" fmla="*/ -336 w 166116"/>
                <a:gd name="connsiteY13" fmla="*/ 10227 h 95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6116" h="95900">
                  <a:moveTo>
                    <a:pt x="-336" y="10227"/>
                  </a:moveTo>
                  <a:cubicBezTo>
                    <a:pt x="-269" y="11208"/>
                    <a:pt x="311" y="12075"/>
                    <a:pt x="1188" y="12513"/>
                  </a:cubicBezTo>
                  <a:lnTo>
                    <a:pt x="3569" y="13846"/>
                  </a:lnTo>
                  <a:lnTo>
                    <a:pt x="143872" y="94809"/>
                  </a:lnTo>
                  <a:cubicBezTo>
                    <a:pt x="146292" y="96047"/>
                    <a:pt x="149168" y="96047"/>
                    <a:pt x="151588" y="94809"/>
                  </a:cubicBezTo>
                  <a:lnTo>
                    <a:pt x="161779" y="88903"/>
                  </a:lnTo>
                  <a:lnTo>
                    <a:pt x="164161" y="87570"/>
                  </a:lnTo>
                  <a:cubicBezTo>
                    <a:pt x="164875" y="87236"/>
                    <a:pt x="165446" y="86665"/>
                    <a:pt x="165780" y="85951"/>
                  </a:cubicBezTo>
                  <a:lnTo>
                    <a:pt x="165780" y="84808"/>
                  </a:lnTo>
                  <a:cubicBezTo>
                    <a:pt x="165484" y="84046"/>
                    <a:pt x="164903" y="83436"/>
                    <a:pt x="164161" y="83093"/>
                  </a:cubicBezTo>
                  <a:lnTo>
                    <a:pt x="21286" y="702"/>
                  </a:lnTo>
                  <a:cubicBezTo>
                    <a:pt x="18876" y="-451"/>
                    <a:pt x="16075" y="-451"/>
                    <a:pt x="13665" y="702"/>
                  </a:cubicBezTo>
                  <a:lnTo>
                    <a:pt x="997" y="8036"/>
                  </a:lnTo>
                  <a:cubicBezTo>
                    <a:pt x="216" y="8503"/>
                    <a:pt x="-279" y="9322"/>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778" name="íşlïďè">
              <a:extLst>
                <a:ext uri="{FF2B5EF4-FFF2-40B4-BE49-F238E27FC236}">
                  <a16:creationId xmlns:a16="http://schemas.microsoft.com/office/drawing/2014/main" id="{70B64131-23E6-4B1F-B036-7D7B5362AEE3}"/>
                </a:ext>
              </a:extLst>
            </p:cNvPr>
            <p:cNvSpPr/>
            <p:nvPr/>
          </p:nvSpPr>
          <p:spPr>
            <a:xfrm>
              <a:off x="5263067" y="5017481"/>
              <a:ext cx="501657" cy="289569"/>
            </a:xfrm>
            <a:custGeom>
              <a:avLst/>
              <a:gdLst>
                <a:gd name="connsiteX0" fmla="*/ 143348 w 164806"/>
                <a:gd name="connsiteY0" fmla="*/ 94039 h 95130"/>
                <a:gd name="connsiteX1" fmla="*/ 1235 w 164806"/>
                <a:gd name="connsiteY1" fmla="*/ 12029 h 95130"/>
                <a:gd name="connsiteX2" fmla="*/ 1235 w 164806"/>
                <a:gd name="connsiteY2" fmla="*/ 7743 h 95130"/>
                <a:gd name="connsiteX3" fmla="*/ 13332 w 164806"/>
                <a:gd name="connsiteY3" fmla="*/ 695 h 95130"/>
                <a:gd name="connsiteX4" fmla="*/ 20761 w 164806"/>
                <a:gd name="connsiteY4" fmla="*/ 695 h 95130"/>
                <a:gd name="connsiteX5" fmla="*/ 162970 w 164806"/>
                <a:gd name="connsiteY5" fmla="*/ 82800 h 95130"/>
                <a:gd name="connsiteX6" fmla="*/ 162970 w 164806"/>
                <a:gd name="connsiteY6" fmla="*/ 87086 h 95130"/>
                <a:gd name="connsiteX7" fmla="*/ 150778 w 164806"/>
                <a:gd name="connsiteY7" fmla="*/ 94039 h 95130"/>
                <a:gd name="connsiteX8" fmla="*/ 143348 w 164806"/>
                <a:gd name="connsiteY8" fmla="*/ 94039 h 95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4806" h="95130">
                  <a:moveTo>
                    <a:pt x="143348" y="94039"/>
                  </a:moveTo>
                  <a:lnTo>
                    <a:pt x="1235" y="12029"/>
                  </a:lnTo>
                  <a:cubicBezTo>
                    <a:pt x="-860" y="10791"/>
                    <a:pt x="-860" y="8886"/>
                    <a:pt x="1235" y="7743"/>
                  </a:cubicBezTo>
                  <a:lnTo>
                    <a:pt x="13332" y="695"/>
                  </a:lnTo>
                  <a:cubicBezTo>
                    <a:pt x="15675" y="-448"/>
                    <a:pt x="18418" y="-448"/>
                    <a:pt x="20761" y="695"/>
                  </a:cubicBezTo>
                  <a:lnTo>
                    <a:pt x="162970" y="82800"/>
                  </a:lnTo>
                  <a:cubicBezTo>
                    <a:pt x="164970" y="83943"/>
                    <a:pt x="164970" y="85848"/>
                    <a:pt x="162970" y="87086"/>
                  </a:cubicBezTo>
                  <a:lnTo>
                    <a:pt x="150778" y="94039"/>
                  </a:lnTo>
                  <a:cubicBezTo>
                    <a:pt x="148454" y="95278"/>
                    <a:pt x="145672" y="95278"/>
                    <a:pt x="143348" y="94039"/>
                  </a:cubicBezTo>
                  <a:close/>
                </a:path>
              </a:pathLst>
            </a:custGeom>
            <a:solidFill>
              <a:srgbClr val="D1D9E8"/>
            </a:solidFill>
            <a:ln w="9525" cap="flat">
              <a:noFill/>
              <a:prstDash val="solid"/>
              <a:miter/>
            </a:ln>
          </p:spPr>
          <p:txBody>
            <a:bodyPr rtlCol="0" anchor="ctr"/>
            <a:lstStyle/>
            <a:p>
              <a:endParaRPr lang="zh-CN" altLang="en-US"/>
            </a:p>
          </p:txBody>
        </p:sp>
        <p:sp>
          <p:nvSpPr>
            <p:cNvPr id="779" name="îṥļíḓê">
              <a:extLst>
                <a:ext uri="{FF2B5EF4-FFF2-40B4-BE49-F238E27FC236}">
                  <a16:creationId xmlns:a16="http://schemas.microsoft.com/office/drawing/2014/main" id="{ECED8C06-AB4B-4A49-91EB-B07AAC223F6A}"/>
                </a:ext>
              </a:extLst>
            </p:cNvPr>
            <p:cNvSpPr/>
            <p:nvPr/>
          </p:nvSpPr>
          <p:spPr>
            <a:xfrm>
              <a:off x="5261180" y="5047923"/>
              <a:ext cx="506223" cy="281974"/>
            </a:xfrm>
            <a:custGeom>
              <a:avLst/>
              <a:gdLst>
                <a:gd name="connsiteX0" fmla="*/ -336 w 166306"/>
                <a:gd name="connsiteY0" fmla="*/ -163 h 92635"/>
                <a:gd name="connsiteX1" fmla="*/ -336 w 166306"/>
                <a:gd name="connsiteY1" fmla="*/ 6981 h 92635"/>
                <a:gd name="connsiteX2" fmla="*/ 1188 w 166306"/>
                <a:gd name="connsiteY2" fmla="*/ 9267 h 92635"/>
                <a:gd name="connsiteX3" fmla="*/ 144063 w 166306"/>
                <a:gd name="connsiteY3" fmla="*/ 91659 h 92635"/>
                <a:gd name="connsiteX4" fmla="*/ 151778 w 166306"/>
                <a:gd name="connsiteY4" fmla="*/ 91659 h 92635"/>
                <a:gd name="connsiteX5" fmla="*/ 164351 w 166306"/>
                <a:gd name="connsiteY5" fmla="*/ 84324 h 92635"/>
                <a:gd name="connsiteX6" fmla="*/ 165970 w 166306"/>
                <a:gd name="connsiteY6" fmla="*/ 82705 h 92635"/>
                <a:gd name="connsiteX7" fmla="*/ 165970 w 166306"/>
                <a:gd name="connsiteY7" fmla="*/ 75561 h 92635"/>
                <a:gd name="connsiteX8" fmla="*/ 164351 w 166306"/>
                <a:gd name="connsiteY8" fmla="*/ 77180 h 92635"/>
                <a:gd name="connsiteX9" fmla="*/ 161970 w 166306"/>
                <a:gd name="connsiteY9" fmla="*/ 78514 h 92635"/>
                <a:gd name="connsiteX10" fmla="*/ 151778 w 166306"/>
                <a:gd name="connsiteY10" fmla="*/ 84419 h 92635"/>
                <a:gd name="connsiteX11" fmla="*/ 144063 w 166306"/>
                <a:gd name="connsiteY11" fmla="*/ 84419 h 92635"/>
                <a:gd name="connsiteX12" fmla="*/ 3569 w 166306"/>
                <a:gd name="connsiteY12" fmla="*/ 3457 h 92635"/>
                <a:gd name="connsiteX13" fmla="*/ 1188 w 166306"/>
                <a:gd name="connsiteY13" fmla="*/ 2123 h 92635"/>
                <a:gd name="connsiteX14" fmla="*/ -336 w 166306"/>
                <a:gd name="connsiteY14" fmla="*/ -163 h 92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66306" h="92635">
                  <a:moveTo>
                    <a:pt x="-336" y="-163"/>
                  </a:moveTo>
                  <a:lnTo>
                    <a:pt x="-336" y="6981"/>
                  </a:lnTo>
                  <a:cubicBezTo>
                    <a:pt x="-251" y="7953"/>
                    <a:pt x="321" y="8819"/>
                    <a:pt x="1188" y="9267"/>
                  </a:cubicBezTo>
                  <a:lnTo>
                    <a:pt x="144063" y="91659"/>
                  </a:lnTo>
                  <a:cubicBezTo>
                    <a:pt x="146520" y="92744"/>
                    <a:pt x="149321" y="92744"/>
                    <a:pt x="151778" y="91659"/>
                  </a:cubicBezTo>
                  <a:lnTo>
                    <a:pt x="164351" y="84324"/>
                  </a:lnTo>
                  <a:cubicBezTo>
                    <a:pt x="165066" y="83991"/>
                    <a:pt x="165637" y="83419"/>
                    <a:pt x="165970" y="82705"/>
                  </a:cubicBezTo>
                  <a:lnTo>
                    <a:pt x="165970" y="75561"/>
                  </a:lnTo>
                  <a:cubicBezTo>
                    <a:pt x="165637" y="76275"/>
                    <a:pt x="165066" y="76847"/>
                    <a:pt x="164351" y="77180"/>
                  </a:cubicBezTo>
                  <a:lnTo>
                    <a:pt x="161970" y="78514"/>
                  </a:lnTo>
                  <a:lnTo>
                    <a:pt x="151778" y="84419"/>
                  </a:lnTo>
                  <a:cubicBezTo>
                    <a:pt x="149359" y="85658"/>
                    <a:pt x="146482" y="85658"/>
                    <a:pt x="144063" y="84419"/>
                  </a:cubicBezTo>
                  <a:lnTo>
                    <a:pt x="3569" y="3457"/>
                  </a:lnTo>
                  <a:lnTo>
                    <a:pt x="1188" y="2123"/>
                  </a:lnTo>
                  <a:cubicBezTo>
                    <a:pt x="311"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80" name="îslïḍé">
              <a:extLst>
                <a:ext uri="{FF2B5EF4-FFF2-40B4-BE49-F238E27FC236}">
                  <a16:creationId xmlns:a16="http://schemas.microsoft.com/office/drawing/2014/main" id="{27F7D28B-2636-47A5-BC3F-FD044A2AB783}"/>
                </a:ext>
              </a:extLst>
            </p:cNvPr>
            <p:cNvSpPr/>
            <p:nvPr/>
          </p:nvSpPr>
          <p:spPr>
            <a:xfrm>
              <a:off x="5735223" y="5289705"/>
              <a:ext cx="109740" cy="63445"/>
            </a:xfrm>
            <a:custGeom>
              <a:avLst/>
              <a:gdLst>
                <a:gd name="connsiteX0" fmla="*/ -336 w 36052"/>
                <a:gd name="connsiteY0" fmla="*/ 10227 h 20843"/>
                <a:gd name="connsiteX1" fmla="*/ 1188 w 36052"/>
                <a:gd name="connsiteY1" fmla="*/ 12513 h 20843"/>
                <a:gd name="connsiteX2" fmla="*/ 3569 w 36052"/>
                <a:gd name="connsiteY2" fmla="*/ 13846 h 20843"/>
                <a:gd name="connsiteX3" fmla="*/ 13856 w 36052"/>
                <a:gd name="connsiteY3" fmla="*/ 19752 h 20843"/>
                <a:gd name="connsiteX4" fmla="*/ 21476 w 36052"/>
                <a:gd name="connsiteY4" fmla="*/ 19752 h 20843"/>
                <a:gd name="connsiteX5" fmla="*/ 31763 w 36052"/>
                <a:gd name="connsiteY5" fmla="*/ 13846 h 20843"/>
                <a:gd name="connsiteX6" fmla="*/ 34144 w 36052"/>
                <a:gd name="connsiteY6" fmla="*/ 12513 h 20843"/>
                <a:gd name="connsiteX7" fmla="*/ 35573 w 36052"/>
                <a:gd name="connsiteY7" fmla="*/ 9465 h 20843"/>
                <a:gd name="connsiteX8" fmla="*/ 34144 w 36052"/>
                <a:gd name="connsiteY8" fmla="*/ 8036 h 20843"/>
                <a:gd name="connsiteX9" fmla="*/ 21476 w 36052"/>
                <a:gd name="connsiteY9" fmla="*/ 702 h 20843"/>
                <a:gd name="connsiteX10" fmla="*/ 13856 w 36052"/>
                <a:gd name="connsiteY10" fmla="*/ 702 h 20843"/>
                <a:gd name="connsiteX11" fmla="*/ 1188 w 36052"/>
                <a:gd name="connsiteY11" fmla="*/ 8036 h 20843"/>
                <a:gd name="connsiteX12" fmla="*/ -336 w 36052"/>
                <a:gd name="connsiteY12" fmla="*/ 10227 h 20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3">
                  <a:moveTo>
                    <a:pt x="-336" y="10227"/>
                  </a:moveTo>
                  <a:cubicBezTo>
                    <a:pt x="-270" y="11208"/>
                    <a:pt x="311" y="12075"/>
                    <a:pt x="1188" y="12513"/>
                  </a:cubicBezTo>
                  <a:lnTo>
                    <a:pt x="3569" y="13846"/>
                  </a:lnTo>
                  <a:lnTo>
                    <a:pt x="13856" y="19752"/>
                  </a:lnTo>
                  <a:cubicBezTo>
                    <a:pt x="16247" y="20990"/>
                    <a:pt x="19085" y="20990"/>
                    <a:pt x="21476" y="19752"/>
                  </a:cubicBezTo>
                  <a:lnTo>
                    <a:pt x="31763" y="13846"/>
                  </a:lnTo>
                  <a:lnTo>
                    <a:pt x="34144" y="12513"/>
                  </a:lnTo>
                  <a:cubicBezTo>
                    <a:pt x="35382" y="12065"/>
                    <a:pt x="36020" y="10694"/>
                    <a:pt x="35573" y="9465"/>
                  </a:cubicBezTo>
                  <a:cubicBezTo>
                    <a:pt x="35325" y="8798"/>
                    <a:pt x="34811" y="8274"/>
                    <a:pt x="34144"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781" name="îṣlîḍè">
              <a:extLst>
                <a:ext uri="{FF2B5EF4-FFF2-40B4-BE49-F238E27FC236}">
                  <a16:creationId xmlns:a16="http://schemas.microsoft.com/office/drawing/2014/main" id="{A419EBA3-666B-4FE5-B4D0-839476ED0445}"/>
                </a:ext>
              </a:extLst>
            </p:cNvPr>
            <p:cNvSpPr/>
            <p:nvPr/>
          </p:nvSpPr>
          <p:spPr>
            <a:xfrm>
              <a:off x="5736818" y="5290889"/>
              <a:ext cx="105898" cy="61104"/>
            </a:xfrm>
            <a:custGeom>
              <a:avLst/>
              <a:gdLst>
                <a:gd name="connsiteX0" fmla="*/ 1235 w 34790"/>
                <a:gd name="connsiteY0" fmla="*/ 12029 h 20074"/>
                <a:gd name="connsiteX1" fmla="*/ 13332 w 34790"/>
                <a:gd name="connsiteY1" fmla="*/ 18983 h 20074"/>
                <a:gd name="connsiteX2" fmla="*/ 20761 w 34790"/>
                <a:gd name="connsiteY2" fmla="*/ 18983 h 20074"/>
                <a:gd name="connsiteX3" fmla="*/ 32953 w 34790"/>
                <a:gd name="connsiteY3" fmla="*/ 12029 h 20074"/>
                <a:gd name="connsiteX4" fmla="*/ 32953 w 34790"/>
                <a:gd name="connsiteY4" fmla="*/ 7743 h 20074"/>
                <a:gd name="connsiteX5" fmla="*/ 20761 w 34790"/>
                <a:gd name="connsiteY5" fmla="*/ 695 h 20074"/>
                <a:gd name="connsiteX6" fmla="*/ 13332 w 34790"/>
                <a:gd name="connsiteY6" fmla="*/ 695 h 20074"/>
                <a:gd name="connsiteX7" fmla="*/ 1235 w 34790"/>
                <a:gd name="connsiteY7" fmla="*/ 7743 h 20074"/>
                <a:gd name="connsiteX8" fmla="*/ 1235 w 34790"/>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4">
                  <a:moveTo>
                    <a:pt x="1235" y="12029"/>
                  </a:moveTo>
                  <a:lnTo>
                    <a:pt x="13332" y="18983"/>
                  </a:lnTo>
                  <a:cubicBezTo>
                    <a:pt x="15656" y="20221"/>
                    <a:pt x="18437" y="20221"/>
                    <a:pt x="20761" y="18983"/>
                  </a:cubicBezTo>
                  <a:lnTo>
                    <a:pt x="32953" y="12029"/>
                  </a:lnTo>
                  <a:cubicBezTo>
                    <a:pt x="34954" y="10791"/>
                    <a:pt x="34954" y="8886"/>
                    <a:pt x="32953" y="7743"/>
                  </a:cubicBezTo>
                  <a:lnTo>
                    <a:pt x="20761" y="695"/>
                  </a:lnTo>
                  <a:cubicBezTo>
                    <a:pt x="18418" y="-448"/>
                    <a:pt x="15675" y="-448"/>
                    <a:pt x="13332" y="695"/>
                  </a:cubicBezTo>
                  <a:lnTo>
                    <a:pt x="1235" y="7743"/>
                  </a:lnTo>
                  <a:cubicBezTo>
                    <a:pt x="-860" y="9362"/>
                    <a:pt x="-860" y="10791"/>
                    <a:pt x="1235" y="12029"/>
                  </a:cubicBezTo>
                  <a:close/>
                </a:path>
              </a:pathLst>
            </a:custGeom>
            <a:solidFill>
              <a:srgbClr val="D1D9E8"/>
            </a:solidFill>
            <a:ln w="9525" cap="flat">
              <a:noFill/>
              <a:prstDash val="solid"/>
              <a:miter/>
            </a:ln>
          </p:spPr>
          <p:txBody>
            <a:bodyPr rtlCol="0" anchor="ctr"/>
            <a:lstStyle/>
            <a:p>
              <a:endParaRPr lang="zh-CN" altLang="en-US"/>
            </a:p>
          </p:txBody>
        </p:sp>
        <p:sp>
          <p:nvSpPr>
            <p:cNvPr id="782" name="ïṩľïḑé">
              <a:extLst>
                <a:ext uri="{FF2B5EF4-FFF2-40B4-BE49-F238E27FC236}">
                  <a16:creationId xmlns:a16="http://schemas.microsoft.com/office/drawing/2014/main" id="{2FA2C075-7330-4BD4-AFA1-C4A750A28101}"/>
                </a:ext>
              </a:extLst>
            </p:cNvPr>
            <p:cNvSpPr/>
            <p:nvPr/>
          </p:nvSpPr>
          <p:spPr>
            <a:xfrm>
              <a:off x="5735223" y="5321332"/>
              <a:ext cx="109594" cy="53804"/>
            </a:xfrm>
            <a:custGeom>
              <a:avLst/>
              <a:gdLst>
                <a:gd name="connsiteX0" fmla="*/ -336 w 36004"/>
                <a:gd name="connsiteY0" fmla="*/ -163 h 17676"/>
                <a:gd name="connsiteX1" fmla="*/ -336 w 36004"/>
                <a:gd name="connsiteY1" fmla="*/ 7076 h 17676"/>
                <a:gd name="connsiteX2" fmla="*/ 1188 w 36004"/>
                <a:gd name="connsiteY2" fmla="*/ 9267 h 17676"/>
                <a:gd name="connsiteX3" fmla="*/ 13856 w 36004"/>
                <a:gd name="connsiteY3" fmla="*/ 16506 h 17676"/>
                <a:gd name="connsiteX4" fmla="*/ 21476 w 36004"/>
                <a:gd name="connsiteY4" fmla="*/ 16506 h 17676"/>
                <a:gd name="connsiteX5" fmla="*/ 34144 w 36004"/>
                <a:gd name="connsiteY5" fmla="*/ 9267 h 17676"/>
                <a:gd name="connsiteX6" fmla="*/ 35668 w 36004"/>
                <a:gd name="connsiteY6" fmla="*/ 6981 h 17676"/>
                <a:gd name="connsiteX7" fmla="*/ 35668 w 36004"/>
                <a:gd name="connsiteY7" fmla="*/ -163 h 17676"/>
                <a:gd name="connsiteX8" fmla="*/ 34144 w 36004"/>
                <a:gd name="connsiteY8" fmla="*/ 2124 h 17676"/>
                <a:gd name="connsiteX9" fmla="*/ 31763 w 36004"/>
                <a:gd name="connsiteY9" fmla="*/ 3457 h 17676"/>
                <a:gd name="connsiteX10" fmla="*/ 21476 w 36004"/>
                <a:gd name="connsiteY10" fmla="*/ 9362 h 17676"/>
                <a:gd name="connsiteX11" fmla="*/ 13856 w 36004"/>
                <a:gd name="connsiteY11" fmla="*/ 9362 h 17676"/>
                <a:gd name="connsiteX12" fmla="*/ 3569 w 36004"/>
                <a:gd name="connsiteY12" fmla="*/ 3457 h 17676"/>
                <a:gd name="connsiteX13" fmla="*/ 1188 w 36004"/>
                <a:gd name="connsiteY13" fmla="*/ 2124 h 17676"/>
                <a:gd name="connsiteX14" fmla="*/ -336 w 36004"/>
                <a:gd name="connsiteY14" fmla="*/ -163 h 17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6">
                  <a:moveTo>
                    <a:pt x="-336" y="-163"/>
                  </a:moveTo>
                  <a:lnTo>
                    <a:pt x="-336" y="7076"/>
                  </a:lnTo>
                  <a:cubicBezTo>
                    <a:pt x="-279" y="8029"/>
                    <a:pt x="311" y="8877"/>
                    <a:pt x="1188" y="9267"/>
                  </a:cubicBezTo>
                  <a:lnTo>
                    <a:pt x="13856" y="16506"/>
                  </a:lnTo>
                  <a:cubicBezTo>
                    <a:pt x="16218" y="17849"/>
                    <a:pt x="19114" y="17849"/>
                    <a:pt x="21476" y="16506"/>
                  </a:cubicBezTo>
                  <a:lnTo>
                    <a:pt x="34144" y="9267"/>
                  </a:lnTo>
                  <a:cubicBezTo>
                    <a:pt x="35049" y="8867"/>
                    <a:pt x="35640" y="7972"/>
                    <a:pt x="35668" y="6981"/>
                  </a:cubicBezTo>
                  <a:lnTo>
                    <a:pt x="35668" y="-163"/>
                  </a:lnTo>
                  <a:cubicBezTo>
                    <a:pt x="35602" y="819"/>
                    <a:pt x="35021" y="1685"/>
                    <a:pt x="34144" y="2124"/>
                  </a:cubicBezTo>
                  <a:lnTo>
                    <a:pt x="31763" y="3457"/>
                  </a:lnTo>
                  <a:lnTo>
                    <a:pt x="21476" y="9362"/>
                  </a:lnTo>
                  <a:cubicBezTo>
                    <a:pt x="19085" y="10601"/>
                    <a:pt x="16247" y="10601"/>
                    <a:pt x="13856" y="9362"/>
                  </a:cubicBezTo>
                  <a:lnTo>
                    <a:pt x="3569" y="3457"/>
                  </a:lnTo>
                  <a:lnTo>
                    <a:pt x="1188" y="2124"/>
                  </a:lnTo>
                  <a:cubicBezTo>
                    <a:pt x="311" y="1685"/>
                    <a:pt x="-270" y="819"/>
                    <a:pt x="-336" y="-163"/>
                  </a:cubicBezTo>
                  <a:close/>
                </a:path>
              </a:pathLst>
            </a:custGeom>
            <a:solidFill>
              <a:srgbClr val="BF4200"/>
            </a:solidFill>
            <a:ln w="9525" cap="flat">
              <a:noFill/>
              <a:prstDash val="solid"/>
              <a:miter/>
            </a:ln>
          </p:spPr>
          <p:txBody>
            <a:bodyPr rtlCol="0" anchor="ctr"/>
            <a:lstStyle/>
            <a:p>
              <a:endParaRPr lang="zh-CN" altLang="en-US"/>
            </a:p>
          </p:txBody>
        </p:sp>
        <p:sp>
          <p:nvSpPr>
            <p:cNvPr id="783" name="íşlídè">
              <a:extLst>
                <a:ext uri="{FF2B5EF4-FFF2-40B4-BE49-F238E27FC236}">
                  <a16:creationId xmlns:a16="http://schemas.microsoft.com/office/drawing/2014/main" id="{E3A65BA0-C3E1-4C3A-8966-C537DC70B9D7}"/>
                </a:ext>
              </a:extLst>
            </p:cNvPr>
            <p:cNvSpPr/>
            <p:nvPr/>
          </p:nvSpPr>
          <p:spPr>
            <a:xfrm>
              <a:off x="5812636" y="5334451"/>
              <a:ext cx="108202" cy="63588"/>
            </a:xfrm>
            <a:custGeom>
              <a:avLst/>
              <a:gdLst>
                <a:gd name="connsiteX0" fmla="*/ -336 w 35547"/>
                <a:gd name="connsiteY0" fmla="*/ 10291 h 20890"/>
                <a:gd name="connsiteX1" fmla="*/ 1187 w 35547"/>
                <a:gd name="connsiteY1" fmla="*/ 12482 h 20890"/>
                <a:gd name="connsiteX2" fmla="*/ 3569 w 35547"/>
                <a:gd name="connsiteY2" fmla="*/ 13911 h 20890"/>
                <a:gd name="connsiteX3" fmla="*/ 13856 w 35547"/>
                <a:gd name="connsiteY3" fmla="*/ 19721 h 20890"/>
                <a:gd name="connsiteX4" fmla="*/ 21476 w 35547"/>
                <a:gd name="connsiteY4" fmla="*/ 19721 h 20890"/>
                <a:gd name="connsiteX5" fmla="*/ 31382 w 35547"/>
                <a:gd name="connsiteY5" fmla="*/ 14101 h 20890"/>
                <a:gd name="connsiteX6" fmla="*/ 33763 w 35547"/>
                <a:gd name="connsiteY6" fmla="*/ 12672 h 20890"/>
                <a:gd name="connsiteX7" fmla="*/ 35020 w 35547"/>
                <a:gd name="connsiteY7" fmla="*/ 9548 h 20890"/>
                <a:gd name="connsiteX8" fmla="*/ 33763 w 35547"/>
                <a:gd name="connsiteY8" fmla="*/ 8291 h 20890"/>
                <a:gd name="connsiteX9" fmla="*/ 21857 w 35547"/>
                <a:gd name="connsiteY9" fmla="*/ 766 h 20890"/>
                <a:gd name="connsiteX10" fmla="*/ 14237 w 35547"/>
                <a:gd name="connsiteY10" fmla="*/ 766 h 20890"/>
                <a:gd name="connsiteX11" fmla="*/ 1568 w 35547"/>
                <a:gd name="connsiteY11" fmla="*/ 8100 h 20890"/>
                <a:gd name="connsiteX12" fmla="*/ -336 w 35547"/>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547" h="20890">
                  <a:moveTo>
                    <a:pt x="-336" y="10291"/>
                  </a:moveTo>
                  <a:cubicBezTo>
                    <a:pt x="-298" y="11253"/>
                    <a:pt x="292" y="12110"/>
                    <a:pt x="1187" y="12482"/>
                  </a:cubicBezTo>
                  <a:lnTo>
                    <a:pt x="3569" y="13911"/>
                  </a:lnTo>
                  <a:lnTo>
                    <a:pt x="13856" y="19721"/>
                  </a:lnTo>
                  <a:cubicBezTo>
                    <a:pt x="16218" y="21064"/>
                    <a:pt x="19114" y="21064"/>
                    <a:pt x="21476" y="19721"/>
                  </a:cubicBezTo>
                  <a:lnTo>
                    <a:pt x="31382" y="14101"/>
                  </a:lnTo>
                  <a:lnTo>
                    <a:pt x="33763" y="12672"/>
                  </a:lnTo>
                  <a:cubicBezTo>
                    <a:pt x="34973" y="12158"/>
                    <a:pt x="35535" y="10758"/>
                    <a:pt x="35020" y="9548"/>
                  </a:cubicBezTo>
                  <a:cubicBezTo>
                    <a:pt x="34782" y="8986"/>
                    <a:pt x="34325" y="8529"/>
                    <a:pt x="33763" y="8291"/>
                  </a:cubicBezTo>
                  <a:lnTo>
                    <a:pt x="21857" y="766"/>
                  </a:lnTo>
                  <a:cubicBezTo>
                    <a:pt x="19466" y="-472"/>
                    <a:pt x="16627" y="-472"/>
                    <a:pt x="14237" y="766"/>
                  </a:cubicBezTo>
                  <a:lnTo>
                    <a:pt x="1568" y="8100"/>
                  </a:lnTo>
                  <a:cubicBezTo>
                    <a:pt x="530" y="8338"/>
                    <a:pt x="-241" y="9224"/>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784" name="í$ľiḑé">
              <a:extLst>
                <a:ext uri="{FF2B5EF4-FFF2-40B4-BE49-F238E27FC236}">
                  <a16:creationId xmlns:a16="http://schemas.microsoft.com/office/drawing/2014/main" id="{11DBEB68-2D0A-42DB-8E1B-E47D7A5160E3}"/>
                </a:ext>
              </a:extLst>
            </p:cNvPr>
            <p:cNvSpPr/>
            <p:nvPr/>
          </p:nvSpPr>
          <p:spPr>
            <a:xfrm>
              <a:off x="5814521" y="5335611"/>
              <a:ext cx="105825" cy="61101"/>
            </a:xfrm>
            <a:custGeom>
              <a:avLst/>
              <a:gdLst>
                <a:gd name="connsiteX0" fmla="*/ 1235 w 34766"/>
                <a:gd name="connsiteY0" fmla="*/ 12006 h 20073"/>
                <a:gd name="connsiteX1" fmla="*/ 13332 w 34766"/>
                <a:gd name="connsiteY1" fmla="*/ 19054 h 20073"/>
                <a:gd name="connsiteX2" fmla="*/ 20762 w 34766"/>
                <a:gd name="connsiteY2" fmla="*/ 19054 h 20073"/>
                <a:gd name="connsiteX3" fmla="*/ 32858 w 34766"/>
                <a:gd name="connsiteY3" fmla="*/ 12006 h 20073"/>
                <a:gd name="connsiteX4" fmla="*/ 32858 w 34766"/>
                <a:gd name="connsiteY4" fmla="*/ 7719 h 20073"/>
                <a:gd name="connsiteX5" fmla="*/ 20762 w 34766"/>
                <a:gd name="connsiteY5" fmla="*/ 766 h 20073"/>
                <a:gd name="connsiteX6" fmla="*/ 13332 w 34766"/>
                <a:gd name="connsiteY6" fmla="*/ 766 h 20073"/>
                <a:gd name="connsiteX7" fmla="*/ 1235 w 34766"/>
                <a:gd name="connsiteY7" fmla="*/ 7719 h 20073"/>
                <a:gd name="connsiteX8" fmla="*/ 1235 w 34766"/>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6" h="20073">
                  <a:moveTo>
                    <a:pt x="1235" y="12006"/>
                  </a:moveTo>
                  <a:lnTo>
                    <a:pt x="13332" y="19054"/>
                  </a:lnTo>
                  <a:cubicBezTo>
                    <a:pt x="15675" y="20197"/>
                    <a:pt x="18419" y="20197"/>
                    <a:pt x="20762" y="19054"/>
                  </a:cubicBezTo>
                  <a:lnTo>
                    <a:pt x="32858" y="12006"/>
                  </a:lnTo>
                  <a:cubicBezTo>
                    <a:pt x="34954" y="10863"/>
                    <a:pt x="34954" y="8957"/>
                    <a:pt x="32858" y="7719"/>
                  </a:cubicBezTo>
                  <a:lnTo>
                    <a:pt x="20762" y="766"/>
                  </a:lnTo>
                  <a:cubicBezTo>
                    <a:pt x="18437" y="-472"/>
                    <a:pt x="15656" y="-472"/>
                    <a:pt x="13332" y="766"/>
                  </a:cubicBezTo>
                  <a:lnTo>
                    <a:pt x="1235" y="7719"/>
                  </a:lnTo>
                  <a:cubicBezTo>
                    <a:pt x="-860" y="8957"/>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785" name="îṧļîḑe">
              <a:extLst>
                <a:ext uri="{FF2B5EF4-FFF2-40B4-BE49-F238E27FC236}">
                  <a16:creationId xmlns:a16="http://schemas.microsoft.com/office/drawing/2014/main" id="{C5537C90-9E55-421D-BA35-C043D68A67DB}"/>
                </a:ext>
              </a:extLst>
            </p:cNvPr>
            <p:cNvSpPr/>
            <p:nvPr/>
          </p:nvSpPr>
          <p:spPr>
            <a:xfrm>
              <a:off x="5812591" y="5366272"/>
              <a:ext cx="109639" cy="53564"/>
            </a:xfrm>
            <a:custGeom>
              <a:avLst/>
              <a:gdLst>
                <a:gd name="connsiteX0" fmla="*/ -321 w 36019"/>
                <a:gd name="connsiteY0" fmla="*/ -163 h 17597"/>
                <a:gd name="connsiteX1" fmla="*/ -321 w 36019"/>
                <a:gd name="connsiteY1" fmla="*/ 7076 h 17597"/>
                <a:gd name="connsiteX2" fmla="*/ 1203 w 36019"/>
                <a:gd name="connsiteY2" fmla="*/ 9267 h 17597"/>
                <a:gd name="connsiteX3" fmla="*/ 13871 w 36019"/>
                <a:gd name="connsiteY3" fmla="*/ 16506 h 17597"/>
                <a:gd name="connsiteX4" fmla="*/ 21491 w 36019"/>
                <a:gd name="connsiteY4" fmla="*/ 16506 h 17597"/>
                <a:gd name="connsiteX5" fmla="*/ 34159 w 36019"/>
                <a:gd name="connsiteY5" fmla="*/ 9267 h 17597"/>
                <a:gd name="connsiteX6" fmla="*/ 35684 w 36019"/>
                <a:gd name="connsiteY6" fmla="*/ 6981 h 17597"/>
                <a:gd name="connsiteX7" fmla="*/ 35684 w 36019"/>
                <a:gd name="connsiteY7" fmla="*/ -163 h 17597"/>
                <a:gd name="connsiteX8" fmla="*/ 34159 w 36019"/>
                <a:gd name="connsiteY8" fmla="*/ 2028 h 17597"/>
                <a:gd name="connsiteX9" fmla="*/ 31397 w 36019"/>
                <a:gd name="connsiteY9" fmla="*/ 3647 h 17597"/>
                <a:gd name="connsiteX10" fmla="*/ 21110 w 36019"/>
                <a:gd name="connsiteY10" fmla="*/ 9457 h 17597"/>
                <a:gd name="connsiteX11" fmla="*/ 13490 w 36019"/>
                <a:gd name="connsiteY11" fmla="*/ 9457 h 17597"/>
                <a:gd name="connsiteX12" fmla="*/ 3203 w 36019"/>
                <a:gd name="connsiteY12" fmla="*/ 3647 h 17597"/>
                <a:gd name="connsiteX13" fmla="*/ 822 w 36019"/>
                <a:gd name="connsiteY13" fmla="*/ 2219 h 17597"/>
                <a:gd name="connsiteX14" fmla="*/ -321 w 3601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19" h="17597">
                  <a:moveTo>
                    <a:pt x="-321" y="-163"/>
                  </a:moveTo>
                  <a:lnTo>
                    <a:pt x="-321" y="7076"/>
                  </a:lnTo>
                  <a:cubicBezTo>
                    <a:pt x="-226" y="8019"/>
                    <a:pt x="355" y="8848"/>
                    <a:pt x="1203" y="9267"/>
                  </a:cubicBezTo>
                  <a:lnTo>
                    <a:pt x="13871" y="16506"/>
                  </a:lnTo>
                  <a:cubicBezTo>
                    <a:pt x="16262" y="17744"/>
                    <a:pt x="19101" y="17744"/>
                    <a:pt x="21491" y="16506"/>
                  </a:cubicBezTo>
                  <a:lnTo>
                    <a:pt x="34159" y="9267"/>
                  </a:lnTo>
                  <a:cubicBezTo>
                    <a:pt x="35026" y="8819"/>
                    <a:pt x="35598" y="7953"/>
                    <a:pt x="35684" y="6981"/>
                  </a:cubicBezTo>
                  <a:lnTo>
                    <a:pt x="35684" y="-163"/>
                  </a:lnTo>
                  <a:cubicBezTo>
                    <a:pt x="35645" y="799"/>
                    <a:pt x="35055" y="1656"/>
                    <a:pt x="34159" y="2028"/>
                  </a:cubicBezTo>
                  <a:lnTo>
                    <a:pt x="31397" y="3647"/>
                  </a:lnTo>
                  <a:lnTo>
                    <a:pt x="21110" y="9457"/>
                  </a:lnTo>
                  <a:cubicBezTo>
                    <a:pt x="18748" y="10801"/>
                    <a:pt x="15852" y="10801"/>
                    <a:pt x="13490" y="9457"/>
                  </a:cubicBezTo>
                  <a:lnTo>
                    <a:pt x="3203" y="3647"/>
                  </a:lnTo>
                  <a:lnTo>
                    <a:pt x="822" y="2219"/>
                  </a:lnTo>
                  <a:cubicBezTo>
                    <a:pt x="12" y="1714"/>
                    <a:pt x="-426" y="780"/>
                    <a:pt x="-321" y="-163"/>
                  </a:cubicBezTo>
                  <a:close/>
                </a:path>
              </a:pathLst>
            </a:custGeom>
            <a:solidFill>
              <a:srgbClr val="BF4200"/>
            </a:solidFill>
            <a:ln w="9525" cap="flat">
              <a:noFill/>
              <a:prstDash val="solid"/>
              <a:miter/>
            </a:ln>
          </p:spPr>
          <p:txBody>
            <a:bodyPr rtlCol="0" anchor="ctr"/>
            <a:lstStyle/>
            <a:p>
              <a:endParaRPr lang="zh-CN" altLang="en-US"/>
            </a:p>
          </p:txBody>
        </p:sp>
        <p:sp>
          <p:nvSpPr>
            <p:cNvPr id="786" name="iṣļîḋè">
              <a:extLst>
                <a:ext uri="{FF2B5EF4-FFF2-40B4-BE49-F238E27FC236}">
                  <a16:creationId xmlns:a16="http://schemas.microsoft.com/office/drawing/2014/main" id="{63566C68-D1FD-4277-A6E3-EF17EFE1B74B}"/>
                </a:ext>
              </a:extLst>
            </p:cNvPr>
            <p:cNvSpPr/>
            <p:nvPr/>
          </p:nvSpPr>
          <p:spPr>
            <a:xfrm>
              <a:off x="5889757" y="5379102"/>
              <a:ext cx="109450" cy="63350"/>
            </a:xfrm>
            <a:custGeom>
              <a:avLst/>
              <a:gdLst>
                <a:gd name="connsiteX0" fmla="*/ -336 w 35957"/>
                <a:gd name="connsiteY0" fmla="*/ 10196 h 20812"/>
                <a:gd name="connsiteX1" fmla="*/ 1188 w 35957"/>
                <a:gd name="connsiteY1" fmla="*/ 12482 h 20812"/>
                <a:gd name="connsiteX2" fmla="*/ 3569 w 35957"/>
                <a:gd name="connsiteY2" fmla="*/ 13815 h 20812"/>
                <a:gd name="connsiteX3" fmla="*/ 13761 w 35957"/>
                <a:gd name="connsiteY3" fmla="*/ 19721 h 20812"/>
                <a:gd name="connsiteX4" fmla="*/ 21476 w 35957"/>
                <a:gd name="connsiteY4" fmla="*/ 19721 h 20812"/>
                <a:gd name="connsiteX5" fmla="*/ 31763 w 35957"/>
                <a:gd name="connsiteY5" fmla="*/ 13815 h 20812"/>
                <a:gd name="connsiteX6" fmla="*/ 34049 w 35957"/>
                <a:gd name="connsiteY6" fmla="*/ 12482 h 20812"/>
                <a:gd name="connsiteX7" fmla="*/ 35478 w 35957"/>
                <a:gd name="connsiteY7" fmla="*/ 9434 h 20812"/>
                <a:gd name="connsiteX8" fmla="*/ 34049 w 35957"/>
                <a:gd name="connsiteY8" fmla="*/ 8005 h 20812"/>
                <a:gd name="connsiteX9" fmla="*/ 21476 w 35957"/>
                <a:gd name="connsiteY9" fmla="*/ 766 h 20812"/>
                <a:gd name="connsiteX10" fmla="*/ 13761 w 35957"/>
                <a:gd name="connsiteY10" fmla="*/ 766 h 20812"/>
                <a:gd name="connsiteX11" fmla="*/ 1188 w 35957"/>
                <a:gd name="connsiteY11" fmla="*/ 8005 h 20812"/>
                <a:gd name="connsiteX12" fmla="*/ -336 w 35957"/>
                <a:gd name="connsiteY12" fmla="*/ 10196 h 20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957" h="20812">
                  <a:moveTo>
                    <a:pt x="-336" y="10196"/>
                  </a:moveTo>
                  <a:cubicBezTo>
                    <a:pt x="-269" y="11177"/>
                    <a:pt x="312" y="12044"/>
                    <a:pt x="1188" y="12482"/>
                  </a:cubicBezTo>
                  <a:lnTo>
                    <a:pt x="3569" y="13815"/>
                  </a:lnTo>
                  <a:lnTo>
                    <a:pt x="13761" y="19721"/>
                  </a:lnTo>
                  <a:cubicBezTo>
                    <a:pt x="16180" y="20959"/>
                    <a:pt x="19057" y="20959"/>
                    <a:pt x="21476" y="19721"/>
                  </a:cubicBezTo>
                  <a:lnTo>
                    <a:pt x="31763" y="13815"/>
                  </a:lnTo>
                  <a:lnTo>
                    <a:pt x="34049" y="12482"/>
                  </a:lnTo>
                  <a:cubicBezTo>
                    <a:pt x="35287" y="12034"/>
                    <a:pt x="35925" y="10662"/>
                    <a:pt x="35478" y="9434"/>
                  </a:cubicBezTo>
                  <a:cubicBezTo>
                    <a:pt x="35230" y="8767"/>
                    <a:pt x="34716" y="8243"/>
                    <a:pt x="34049" y="8005"/>
                  </a:cubicBezTo>
                  <a:lnTo>
                    <a:pt x="21476" y="766"/>
                  </a:lnTo>
                  <a:cubicBezTo>
                    <a:pt x="19057" y="-472"/>
                    <a:pt x="16180" y="-472"/>
                    <a:pt x="13761" y="766"/>
                  </a:cubicBezTo>
                  <a:lnTo>
                    <a:pt x="1188" y="8005"/>
                  </a:lnTo>
                  <a:cubicBezTo>
                    <a:pt x="340" y="8424"/>
                    <a:pt x="-241" y="925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787" name="îŝļïdé">
              <a:extLst>
                <a:ext uri="{FF2B5EF4-FFF2-40B4-BE49-F238E27FC236}">
                  <a16:creationId xmlns:a16="http://schemas.microsoft.com/office/drawing/2014/main" id="{EFFC3D8F-9F4D-4ED2-99EE-199335A81C1E}"/>
                </a:ext>
              </a:extLst>
            </p:cNvPr>
            <p:cNvSpPr/>
            <p:nvPr/>
          </p:nvSpPr>
          <p:spPr>
            <a:xfrm>
              <a:off x="5891602" y="5380189"/>
              <a:ext cx="105618" cy="61174"/>
            </a:xfrm>
            <a:custGeom>
              <a:avLst/>
              <a:gdLst>
                <a:gd name="connsiteX0" fmla="*/ 1154 w 34698"/>
                <a:gd name="connsiteY0" fmla="*/ 12029 h 20097"/>
                <a:gd name="connsiteX1" fmla="*/ 13346 w 34698"/>
                <a:gd name="connsiteY1" fmla="*/ 19078 h 20097"/>
                <a:gd name="connsiteX2" fmla="*/ 20775 w 34698"/>
                <a:gd name="connsiteY2" fmla="*/ 19078 h 20097"/>
                <a:gd name="connsiteX3" fmla="*/ 32872 w 34698"/>
                <a:gd name="connsiteY3" fmla="*/ 12029 h 20097"/>
                <a:gd name="connsiteX4" fmla="*/ 34215 w 34698"/>
                <a:gd name="connsiteY4" fmla="*/ 9086 h 20097"/>
                <a:gd name="connsiteX5" fmla="*/ 32872 w 34698"/>
                <a:gd name="connsiteY5" fmla="*/ 7743 h 20097"/>
                <a:gd name="connsiteX6" fmla="*/ 20775 w 34698"/>
                <a:gd name="connsiteY6" fmla="*/ 695 h 20097"/>
                <a:gd name="connsiteX7" fmla="*/ 13346 w 34698"/>
                <a:gd name="connsiteY7" fmla="*/ 695 h 20097"/>
                <a:gd name="connsiteX8" fmla="*/ 1154 w 34698"/>
                <a:gd name="connsiteY8" fmla="*/ 7743 h 20097"/>
                <a:gd name="connsiteX9" fmla="*/ -189 w 34698"/>
                <a:gd name="connsiteY9" fmla="*/ 10686 h 20097"/>
                <a:gd name="connsiteX10" fmla="*/ 1154 w 34698"/>
                <a:gd name="connsiteY10" fmla="*/ 12029 h 20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698" h="20097">
                  <a:moveTo>
                    <a:pt x="1154" y="12029"/>
                  </a:moveTo>
                  <a:lnTo>
                    <a:pt x="13346" y="19078"/>
                  </a:lnTo>
                  <a:cubicBezTo>
                    <a:pt x="15689" y="20221"/>
                    <a:pt x="18432" y="20221"/>
                    <a:pt x="20775" y="19078"/>
                  </a:cubicBezTo>
                  <a:lnTo>
                    <a:pt x="32872" y="12029"/>
                  </a:lnTo>
                  <a:cubicBezTo>
                    <a:pt x="34053" y="11591"/>
                    <a:pt x="34663" y="10277"/>
                    <a:pt x="34215" y="9086"/>
                  </a:cubicBezTo>
                  <a:cubicBezTo>
                    <a:pt x="33987" y="8467"/>
                    <a:pt x="33491" y="7972"/>
                    <a:pt x="32872" y="7743"/>
                  </a:cubicBezTo>
                  <a:lnTo>
                    <a:pt x="20775" y="695"/>
                  </a:lnTo>
                  <a:cubicBezTo>
                    <a:pt x="18432" y="-448"/>
                    <a:pt x="15689" y="-448"/>
                    <a:pt x="13346" y="695"/>
                  </a:cubicBezTo>
                  <a:lnTo>
                    <a:pt x="1154" y="7743"/>
                  </a:lnTo>
                  <a:cubicBezTo>
                    <a:pt x="-27" y="8181"/>
                    <a:pt x="-637" y="9496"/>
                    <a:pt x="-189" y="10686"/>
                  </a:cubicBezTo>
                  <a:cubicBezTo>
                    <a:pt x="40" y="11305"/>
                    <a:pt x="525" y="11801"/>
                    <a:pt x="1154" y="12029"/>
                  </a:cubicBezTo>
                  <a:close/>
                </a:path>
              </a:pathLst>
            </a:custGeom>
            <a:solidFill>
              <a:srgbClr val="D1D9E8"/>
            </a:solidFill>
            <a:ln w="9525" cap="flat">
              <a:noFill/>
              <a:prstDash val="solid"/>
              <a:miter/>
            </a:ln>
          </p:spPr>
          <p:txBody>
            <a:bodyPr rtlCol="0" anchor="ctr"/>
            <a:lstStyle/>
            <a:p>
              <a:endParaRPr lang="zh-CN" altLang="en-US"/>
            </a:p>
          </p:txBody>
        </p:sp>
        <p:sp>
          <p:nvSpPr>
            <p:cNvPr id="788" name="ïṣḻïdé">
              <a:extLst>
                <a:ext uri="{FF2B5EF4-FFF2-40B4-BE49-F238E27FC236}">
                  <a16:creationId xmlns:a16="http://schemas.microsoft.com/office/drawing/2014/main" id="{5C282766-58CD-4819-880B-9FFB23DE5FC5}"/>
                </a:ext>
              </a:extLst>
            </p:cNvPr>
            <p:cNvSpPr/>
            <p:nvPr/>
          </p:nvSpPr>
          <p:spPr>
            <a:xfrm>
              <a:off x="5889757" y="5410631"/>
              <a:ext cx="109594" cy="53801"/>
            </a:xfrm>
            <a:custGeom>
              <a:avLst/>
              <a:gdLst>
                <a:gd name="connsiteX0" fmla="*/ -336 w 36004"/>
                <a:gd name="connsiteY0" fmla="*/ -163 h 17675"/>
                <a:gd name="connsiteX1" fmla="*/ -336 w 36004"/>
                <a:gd name="connsiteY1" fmla="*/ 7076 h 17675"/>
                <a:gd name="connsiteX2" fmla="*/ 1188 w 36004"/>
                <a:gd name="connsiteY2" fmla="*/ 9267 h 17675"/>
                <a:gd name="connsiteX3" fmla="*/ 13761 w 36004"/>
                <a:gd name="connsiteY3" fmla="*/ 16506 h 17675"/>
                <a:gd name="connsiteX4" fmla="*/ 21476 w 36004"/>
                <a:gd name="connsiteY4" fmla="*/ 16506 h 17675"/>
                <a:gd name="connsiteX5" fmla="*/ 34049 w 36004"/>
                <a:gd name="connsiteY5" fmla="*/ 9267 h 17675"/>
                <a:gd name="connsiteX6" fmla="*/ 35668 w 36004"/>
                <a:gd name="connsiteY6" fmla="*/ 7076 h 17675"/>
                <a:gd name="connsiteX7" fmla="*/ 35668 w 36004"/>
                <a:gd name="connsiteY7" fmla="*/ -163 h 17675"/>
                <a:gd name="connsiteX8" fmla="*/ 34049 w 36004"/>
                <a:gd name="connsiteY8" fmla="*/ 2123 h 17675"/>
                <a:gd name="connsiteX9" fmla="*/ 31763 w 36004"/>
                <a:gd name="connsiteY9" fmla="*/ 3457 h 17675"/>
                <a:gd name="connsiteX10" fmla="*/ 21476 w 36004"/>
                <a:gd name="connsiteY10" fmla="*/ 9362 h 17675"/>
                <a:gd name="connsiteX11" fmla="*/ 13761 w 36004"/>
                <a:gd name="connsiteY11" fmla="*/ 9362 h 17675"/>
                <a:gd name="connsiteX12" fmla="*/ 3569 w 36004"/>
                <a:gd name="connsiteY12" fmla="*/ 3457 h 17675"/>
                <a:gd name="connsiteX13" fmla="*/ 1188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79" y="8038"/>
                    <a:pt x="312" y="8877"/>
                    <a:pt x="1188" y="9267"/>
                  </a:cubicBezTo>
                  <a:lnTo>
                    <a:pt x="13761" y="16506"/>
                  </a:lnTo>
                  <a:cubicBezTo>
                    <a:pt x="16161" y="17849"/>
                    <a:pt x="19076" y="17849"/>
                    <a:pt x="21476" y="16506"/>
                  </a:cubicBezTo>
                  <a:lnTo>
                    <a:pt x="34049" y="9267"/>
                  </a:lnTo>
                  <a:cubicBezTo>
                    <a:pt x="34964" y="8905"/>
                    <a:pt x="35592" y="8058"/>
                    <a:pt x="35668" y="7076"/>
                  </a:cubicBezTo>
                  <a:lnTo>
                    <a:pt x="35668" y="-163"/>
                  </a:lnTo>
                  <a:cubicBezTo>
                    <a:pt x="35602" y="847"/>
                    <a:pt x="34973" y="1733"/>
                    <a:pt x="34049" y="2123"/>
                  </a:cubicBezTo>
                  <a:lnTo>
                    <a:pt x="31763" y="3457"/>
                  </a:lnTo>
                  <a:lnTo>
                    <a:pt x="21476" y="9362"/>
                  </a:lnTo>
                  <a:cubicBezTo>
                    <a:pt x="19057" y="10601"/>
                    <a:pt x="16180" y="10601"/>
                    <a:pt x="13761" y="9362"/>
                  </a:cubicBezTo>
                  <a:lnTo>
                    <a:pt x="3569" y="3457"/>
                  </a:lnTo>
                  <a:lnTo>
                    <a:pt x="1188" y="2123"/>
                  </a:lnTo>
                  <a:cubicBezTo>
                    <a:pt x="312"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89" name="îś1ïḍe">
              <a:extLst>
                <a:ext uri="{FF2B5EF4-FFF2-40B4-BE49-F238E27FC236}">
                  <a16:creationId xmlns:a16="http://schemas.microsoft.com/office/drawing/2014/main" id="{DE082C42-174D-4580-ACD5-0752B0C76AFA}"/>
                </a:ext>
              </a:extLst>
            </p:cNvPr>
            <p:cNvSpPr/>
            <p:nvPr/>
          </p:nvSpPr>
          <p:spPr>
            <a:xfrm>
              <a:off x="5997905" y="5423656"/>
              <a:ext cx="78716" cy="45467"/>
            </a:xfrm>
            <a:custGeom>
              <a:avLst/>
              <a:gdLst>
                <a:gd name="connsiteX0" fmla="*/ -336 w 25860"/>
                <a:gd name="connsiteY0" fmla="*/ 4321 h 14937"/>
                <a:gd name="connsiteX1" fmla="*/ 1283 w 25860"/>
                <a:gd name="connsiteY1" fmla="*/ 6607 h 14937"/>
                <a:gd name="connsiteX2" fmla="*/ 3569 w 25860"/>
                <a:gd name="connsiteY2" fmla="*/ 7941 h 14937"/>
                <a:gd name="connsiteX3" fmla="*/ 13856 w 25860"/>
                <a:gd name="connsiteY3" fmla="*/ 13846 h 14937"/>
                <a:gd name="connsiteX4" fmla="*/ 21571 w 25860"/>
                <a:gd name="connsiteY4" fmla="*/ 13846 h 14937"/>
                <a:gd name="connsiteX5" fmla="*/ 21571 w 25860"/>
                <a:gd name="connsiteY5" fmla="*/ 13846 h 14937"/>
                <a:gd name="connsiteX6" fmla="*/ 23952 w 25860"/>
                <a:gd name="connsiteY6" fmla="*/ 12513 h 14937"/>
                <a:gd name="connsiteX7" fmla="*/ 25381 w 25860"/>
                <a:gd name="connsiteY7" fmla="*/ 9465 h 14937"/>
                <a:gd name="connsiteX8" fmla="*/ 23952 w 25860"/>
                <a:gd name="connsiteY8" fmla="*/ 8036 h 14937"/>
                <a:gd name="connsiteX9" fmla="*/ 11284 w 25860"/>
                <a:gd name="connsiteY9" fmla="*/ 702 h 14937"/>
                <a:gd name="connsiteX10" fmla="*/ 3664 w 25860"/>
                <a:gd name="connsiteY10" fmla="*/ 702 h 14937"/>
                <a:gd name="connsiteX11" fmla="*/ 1283 w 25860"/>
                <a:gd name="connsiteY11" fmla="*/ 2130 h 14937"/>
                <a:gd name="connsiteX12" fmla="*/ -336 w 25860"/>
                <a:gd name="connsiteY12" fmla="*/ 4321 h 149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5860" h="14937">
                  <a:moveTo>
                    <a:pt x="-336" y="4321"/>
                  </a:moveTo>
                  <a:cubicBezTo>
                    <a:pt x="-231" y="5312"/>
                    <a:pt x="378" y="6178"/>
                    <a:pt x="1283" y="6607"/>
                  </a:cubicBezTo>
                  <a:lnTo>
                    <a:pt x="3569" y="7941"/>
                  </a:lnTo>
                  <a:lnTo>
                    <a:pt x="13856" y="13846"/>
                  </a:lnTo>
                  <a:cubicBezTo>
                    <a:pt x="16275" y="15084"/>
                    <a:pt x="19152" y="15084"/>
                    <a:pt x="21571" y="13846"/>
                  </a:cubicBezTo>
                  <a:lnTo>
                    <a:pt x="21571" y="13846"/>
                  </a:lnTo>
                  <a:lnTo>
                    <a:pt x="23952" y="12513"/>
                  </a:lnTo>
                  <a:cubicBezTo>
                    <a:pt x="25191" y="12065"/>
                    <a:pt x="25829" y="10693"/>
                    <a:pt x="25381" y="9465"/>
                  </a:cubicBezTo>
                  <a:cubicBezTo>
                    <a:pt x="25134" y="8798"/>
                    <a:pt x="24619" y="8274"/>
                    <a:pt x="23952" y="8036"/>
                  </a:cubicBezTo>
                  <a:lnTo>
                    <a:pt x="11284" y="702"/>
                  </a:lnTo>
                  <a:cubicBezTo>
                    <a:pt x="8874" y="-451"/>
                    <a:pt x="6074" y="-451"/>
                    <a:pt x="3664" y="702"/>
                  </a:cubicBezTo>
                  <a:lnTo>
                    <a:pt x="1283" y="2130"/>
                  </a:lnTo>
                  <a:cubicBezTo>
                    <a:pt x="397" y="2521"/>
                    <a:pt x="-222" y="3359"/>
                    <a:pt x="-336" y="4321"/>
                  </a:cubicBezTo>
                  <a:close/>
                </a:path>
              </a:pathLst>
            </a:custGeom>
            <a:solidFill>
              <a:srgbClr val="FFFFFF"/>
            </a:solidFill>
            <a:ln w="9525" cap="flat">
              <a:noFill/>
              <a:prstDash val="solid"/>
              <a:miter/>
            </a:ln>
          </p:spPr>
          <p:txBody>
            <a:bodyPr rtlCol="0" anchor="ctr"/>
            <a:lstStyle/>
            <a:p>
              <a:endParaRPr lang="zh-CN" altLang="en-US"/>
            </a:p>
          </p:txBody>
        </p:sp>
        <p:sp>
          <p:nvSpPr>
            <p:cNvPr id="790" name="iṥ1îdé">
              <a:extLst>
                <a:ext uri="{FF2B5EF4-FFF2-40B4-BE49-F238E27FC236}">
                  <a16:creationId xmlns:a16="http://schemas.microsoft.com/office/drawing/2014/main" id="{36FA47B0-500F-4D49-980E-6E2BA962E36C}"/>
                </a:ext>
              </a:extLst>
            </p:cNvPr>
            <p:cNvSpPr/>
            <p:nvPr/>
          </p:nvSpPr>
          <p:spPr>
            <a:xfrm>
              <a:off x="6000005" y="5424837"/>
              <a:ext cx="74585" cy="42910"/>
            </a:xfrm>
            <a:custGeom>
              <a:avLst/>
              <a:gdLst>
                <a:gd name="connsiteX0" fmla="*/ 1164 w 24503"/>
                <a:gd name="connsiteY0" fmla="*/ 6029 h 14097"/>
                <a:gd name="connsiteX1" fmla="*/ 13261 w 24503"/>
                <a:gd name="connsiteY1" fmla="*/ 13077 h 14097"/>
                <a:gd name="connsiteX2" fmla="*/ 20690 w 24503"/>
                <a:gd name="connsiteY2" fmla="*/ 13077 h 14097"/>
                <a:gd name="connsiteX3" fmla="*/ 22595 w 24503"/>
                <a:gd name="connsiteY3" fmla="*/ 12029 h 14097"/>
                <a:gd name="connsiteX4" fmla="*/ 22595 w 24503"/>
                <a:gd name="connsiteY4" fmla="*/ 7743 h 14097"/>
                <a:gd name="connsiteX5" fmla="*/ 10498 w 24503"/>
                <a:gd name="connsiteY5" fmla="*/ 695 h 14097"/>
                <a:gd name="connsiteX6" fmla="*/ 3069 w 24503"/>
                <a:gd name="connsiteY6" fmla="*/ 695 h 14097"/>
                <a:gd name="connsiteX7" fmla="*/ 1164 w 24503"/>
                <a:gd name="connsiteY7" fmla="*/ 1742 h 14097"/>
                <a:gd name="connsiteX8" fmla="*/ 1164 w 24503"/>
                <a:gd name="connsiteY8" fmla="*/ 6029 h 14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503" h="14097">
                  <a:moveTo>
                    <a:pt x="1164" y="6029"/>
                  </a:moveTo>
                  <a:lnTo>
                    <a:pt x="13261" y="13077"/>
                  </a:lnTo>
                  <a:cubicBezTo>
                    <a:pt x="15604" y="14220"/>
                    <a:pt x="18347" y="14220"/>
                    <a:pt x="20690" y="13077"/>
                  </a:cubicBezTo>
                  <a:lnTo>
                    <a:pt x="22595" y="12029"/>
                  </a:lnTo>
                  <a:cubicBezTo>
                    <a:pt x="24691" y="10791"/>
                    <a:pt x="24691" y="8886"/>
                    <a:pt x="22595" y="7743"/>
                  </a:cubicBezTo>
                  <a:lnTo>
                    <a:pt x="10498" y="695"/>
                  </a:lnTo>
                  <a:cubicBezTo>
                    <a:pt x="8155" y="-448"/>
                    <a:pt x="5412" y="-448"/>
                    <a:pt x="3069" y="695"/>
                  </a:cubicBezTo>
                  <a:lnTo>
                    <a:pt x="1164" y="1742"/>
                  </a:lnTo>
                  <a:cubicBezTo>
                    <a:pt x="-836" y="3457"/>
                    <a:pt x="-836" y="4886"/>
                    <a:pt x="1164" y="6029"/>
                  </a:cubicBezTo>
                  <a:close/>
                </a:path>
              </a:pathLst>
            </a:custGeom>
            <a:solidFill>
              <a:srgbClr val="D1D9E8"/>
            </a:solidFill>
            <a:ln w="9525" cap="flat">
              <a:noFill/>
              <a:prstDash val="solid"/>
              <a:miter/>
            </a:ln>
          </p:spPr>
          <p:txBody>
            <a:bodyPr rtlCol="0" anchor="ctr"/>
            <a:lstStyle/>
            <a:p>
              <a:endParaRPr lang="zh-CN" altLang="en-US"/>
            </a:p>
          </p:txBody>
        </p:sp>
        <p:sp>
          <p:nvSpPr>
            <p:cNvPr id="791" name="î$ḷíďê">
              <a:extLst>
                <a:ext uri="{FF2B5EF4-FFF2-40B4-BE49-F238E27FC236}">
                  <a16:creationId xmlns:a16="http://schemas.microsoft.com/office/drawing/2014/main" id="{CCC638CA-300F-42BE-9FF5-B85462D88B9A}"/>
                </a:ext>
              </a:extLst>
            </p:cNvPr>
            <p:cNvSpPr/>
            <p:nvPr/>
          </p:nvSpPr>
          <p:spPr>
            <a:xfrm>
              <a:off x="5997905" y="5437305"/>
              <a:ext cx="78570" cy="53564"/>
            </a:xfrm>
            <a:custGeom>
              <a:avLst/>
              <a:gdLst>
                <a:gd name="connsiteX0" fmla="*/ -336 w 25812"/>
                <a:gd name="connsiteY0" fmla="*/ -163 h 17597"/>
                <a:gd name="connsiteX1" fmla="*/ -336 w 25812"/>
                <a:gd name="connsiteY1" fmla="*/ 7076 h 17597"/>
                <a:gd name="connsiteX2" fmla="*/ 1283 w 25812"/>
                <a:gd name="connsiteY2" fmla="*/ 9267 h 17597"/>
                <a:gd name="connsiteX3" fmla="*/ 13856 w 25812"/>
                <a:gd name="connsiteY3" fmla="*/ 16506 h 17597"/>
                <a:gd name="connsiteX4" fmla="*/ 21571 w 25812"/>
                <a:gd name="connsiteY4" fmla="*/ 16506 h 17597"/>
                <a:gd name="connsiteX5" fmla="*/ 23952 w 25812"/>
                <a:gd name="connsiteY5" fmla="*/ 15173 h 17597"/>
                <a:gd name="connsiteX6" fmla="*/ 25476 w 25812"/>
                <a:gd name="connsiteY6" fmla="*/ 12887 h 17597"/>
                <a:gd name="connsiteX7" fmla="*/ 25476 w 25812"/>
                <a:gd name="connsiteY7" fmla="*/ 5743 h 17597"/>
                <a:gd name="connsiteX8" fmla="*/ 23952 w 25812"/>
                <a:gd name="connsiteY8" fmla="*/ 8029 h 17597"/>
                <a:gd name="connsiteX9" fmla="*/ 21571 w 25812"/>
                <a:gd name="connsiteY9" fmla="*/ 9362 h 17597"/>
                <a:gd name="connsiteX10" fmla="*/ 21571 w 25812"/>
                <a:gd name="connsiteY10" fmla="*/ 9362 h 17597"/>
                <a:gd name="connsiteX11" fmla="*/ 13856 w 25812"/>
                <a:gd name="connsiteY11" fmla="*/ 9362 h 17597"/>
                <a:gd name="connsiteX12" fmla="*/ 3569 w 25812"/>
                <a:gd name="connsiteY12" fmla="*/ 3457 h 17597"/>
                <a:gd name="connsiteX13" fmla="*/ 1283 w 25812"/>
                <a:gd name="connsiteY13" fmla="*/ 2124 h 17597"/>
                <a:gd name="connsiteX14" fmla="*/ -336 w 25812"/>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5812" h="17597">
                  <a:moveTo>
                    <a:pt x="-336" y="-163"/>
                  </a:moveTo>
                  <a:lnTo>
                    <a:pt x="-336" y="7076"/>
                  </a:lnTo>
                  <a:cubicBezTo>
                    <a:pt x="-203" y="8029"/>
                    <a:pt x="407" y="8858"/>
                    <a:pt x="1283" y="9267"/>
                  </a:cubicBezTo>
                  <a:lnTo>
                    <a:pt x="13856" y="16506"/>
                  </a:lnTo>
                  <a:cubicBezTo>
                    <a:pt x="16275" y="17744"/>
                    <a:pt x="19152" y="17744"/>
                    <a:pt x="21571" y="16506"/>
                  </a:cubicBezTo>
                  <a:lnTo>
                    <a:pt x="23952" y="15173"/>
                  </a:lnTo>
                  <a:cubicBezTo>
                    <a:pt x="24819" y="14725"/>
                    <a:pt x="25391" y="13858"/>
                    <a:pt x="25476" y="12887"/>
                  </a:cubicBezTo>
                  <a:lnTo>
                    <a:pt x="25476" y="5743"/>
                  </a:lnTo>
                  <a:cubicBezTo>
                    <a:pt x="25410" y="6724"/>
                    <a:pt x="24829" y="7591"/>
                    <a:pt x="23952" y="8029"/>
                  </a:cubicBezTo>
                  <a:lnTo>
                    <a:pt x="21571" y="9362"/>
                  </a:lnTo>
                  <a:lnTo>
                    <a:pt x="21571" y="9362"/>
                  </a:lnTo>
                  <a:cubicBezTo>
                    <a:pt x="19152" y="10601"/>
                    <a:pt x="16275" y="10601"/>
                    <a:pt x="13856" y="9362"/>
                  </a:cubicBezTo>
                  <a:lnTo>
                    <a:pt x="3569" y="3457"/>
                  </a:lnTo>
                  <a:lnTo>
                    <a:pt x="1283" y="2124"/>
                  </a:lnTo>
                  <a:cubicBezTo>
                    <a:pt x="378" y="1695"/>
                    <a:pt x="-231"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92" name="iṧḷïḓè">
              <a:extLst>
                <a:ext uri="{FF2B5EF4-FFF2-40B4-BE49-F238E27FC236}">
                  <a16:creationId xmlns:a16="http://schemas.microsoft.com/office/drawing/2014/main" id="{F5E83523-9450-49B7-91EB-01D2E70E1E39}"/>
                </a:ext>
              </a:extLst>
            </p:cNvPr>
            <p:cNvSpPr/>
            <p:nvPr/>
          </p:nvSpPr>
          <p:spPr>
            <a:xfrm>
              <a:off x="5967170" y="5441436"/>
              <a:ext cx="78603" cy="45902"/>
            </a:xfrm>
            <a:custGeom>
              <a:avLst/>
              <a:gdLst>
                <a:gd name="connsiteX0" fmla="*/ -336 w 25823"/>
                <a:gd name="connsiteY0" fmla="*/ 4386 h 15080"/>
                <a:gd name="connsiteX1" fmla="*/ 1283 w 25823"/>
                <a:gd name="connsiteY1" fmla="*/ 6672 h 15080"/>
                <a:gd name="connsiteX2" fmla="*/ 3569 w 25823"/>
                <a:gd name="connsiteY2" fmla="*/ 8005 h 15080"/>
                <a:gd name="connsiteX3" fmla="*/ 13856 w 25823"/>
                <a:gd name="connsiteY3" fmla="*/ 13911 h 15080"/>
                <a:gd name="connsiteX4" fmla="*/ 21571 w 25823"/>
                <a:gd name="connsiteY4" fmla="*/ 13911 h 15080"/>
                <a:gd name="connsiteX5" fmla="*/ 21571 w 25823"/>
                <a:gd name="connsiteY5" fmla="*/ 13911 h 15080"/>
                <a:gd name="connsiteX6" fmla="*/ 23857 w 25823"/>
                <a:gd name="connsiteY6" fmla="*/ 12482 h 15080"/>
                <a:gd name="connsiteX7" fmla="*/ 25391 w 25823"/>
                <a:gd name="connsiteY7" fmla="*/ 9634 h 15080"/>
                <a:gd name="connsiteX8" fmla="*/ 23857 w 25823"/>
                <a:gd name="connsiteY8" fmla="*/ 8100 h 15080"/>
                <a:gd name="connsiteX9" fmla="*/ 11284 w 25823"/>
                <a:gd name="connsiteY9" fmla="*/ 766 h 15080"/>
                <a:gd name="connsiteX10" fmla="*/ 3569 w 25823"/>
                <a:gd name="connsiteY10" fmla="*/ 766 h 15080"/>
                <a:gd name="connsiteX11" fmla="*/ 1283 w 25823"/>
                <a:gd name="connsiteY11" fmla="*/ 2099 h 15080"/>
                <a:gd name="connsiteX12" fmla="*/ -336 w 25823"/>
                <a:gd name="connsiteY12" fmla="*/ 4386 h 15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5823" h="15080">
                  <a:moveTo>
                    <a:pt x="-336" y="4386"/>
                  </a:moveTo>
                  <a:cubicBezTo>
                    <a:pt x="-298" y="5405"/>
                    <a:pt x="340" y="6300"/>
                    <a:pt x="1283" y="6672"/>
                  </a:cubicBezTo>
                  <a:lnTo>
                    <a:pt x="3569" y="8005"/>
                  </a:lnTo>
                  <a:lnTo>
                    <a:pt x="13856" y="13911"/>
                  </a:lnTo>
                  <a:cubicBezTo>
                    <a:pt x="16256" y="15254"/>
                    <a:pt x="19171" y="15254"/>
                    <a:pt x="21571" y="13911"/>
                  </a:cubicBezTo>
                  <a:lnTo>
                    <a:pt x="21571" y="13911"/>
                  </a:lnTo>
                  <a:lnTo>
                    <a:pt x="23857" y="12482"/>
                  </a:lnTo>
                  <a:cubicBezTo>
                    <a:pt x="25067" y="12120"/>
                    <a:pt x="25753" y="10843"/>
                    <a:pt x="25391" y="9634"/>
                  </a:cubicBezTo>
                  <a:cubicBezTo>
                    <a:pt x="25172" y="8900"/>
                    <a:pt x="24600" y="8319"/>
                    <a:pt x="23857" y="8100"/>
                  </a:cubicBezTo>
                  <a:lnTo>
                    <a:pt x="11284" y="766"/>
                  </a:lnTo>
                  <a:cubicBezTo>
                    <a:pt x="8865" y="-472"/>
                    <a:pt x="5988" y="-472"/>
                    <a:pt x="3569" y="766"/>
                  </a:cubicBezTo>
                  <a:lnTo>
                    <a:pt x="1283" y="2099"/>
                  </a:lnTo>
                  <a:cubicBezTo>
                    <a:pt x="359" y="2490"/>
                    <a:pt x="-270" y="3376"/>
                    <a:pt x="-336" y="4386"/>
                  </a:cubicBezTo>
                  <a:close/>
                </a:path>
              </a:pathLst>
            </a:custGeom>
            <a:solidFill>
              <a:srgbClr val="FFFFFF"/>
            </a:solidFill>
            <a:ln w="9525" cap="flat">
              <a:noFill/>
              <a:prstDash val="solid"/>
              <a:miter/>
            </a:ln>
          </p:spPr>
          <p:txBody>
            <a:bodyPr rtlCol="0" anchor="ctr"/>
            <a:lstStyle/>
            <a:p>
              <a:endParaRPr lang="zh-CN" altLang="en-US"/>
            </a:p>
          </p:txBody>
        </p:sp>
        <p:sp>
          <p:nvSpPr>
            <p:cNvPr id="793" name="ïṣ1ïdê">
              <a:extLst>
                <a:ext uri="{FF2B5EF4-FFF2-40B4-BE49-F238E27FC236}">
                  <a16:creationId xmlns:a16="http://schemas.microsoft.com/office/drawing/2014/main" id="{B6893468-5703-4826-B42C-C3CC0145243B}"/>
                </a:ext>
              </a:extLst>
            </p:cNvPr>
            <p:cNvSpPr/>
            <p:nvPr/>
          </p:nvSpPr>
          <p:spPr>
            <a:xfrm>
              <a:off x="5968692" y="5442885"/>
              <a:ext cx="74585" cy="43126"/>
            </a:xfrm>
            <a:custGeom>
              <a:avLst/>
              <a:gdLst>
                <a:gd name="connsiteX0" fmla="*/ 1164 w 24503"/>
                <a:gd name="connsiteY0" fmla="*/ 6100 h 14168"/>
                <a:gd name="connsiteX1" fmla="*/ 13261 w 24503"/>
                <a:gd name="connsiteY1" fmla="*/ 13149 h 14168"/>
                <a:gd name="connsiteX2" fmla="*/ 20690 w 24503"/>
                <a:gd name="connsiteY2" fmla="*/ 13149 h 14168"/>
                <a:gd name="connsiteX3" fmla="*/ 22595 w 24503"/>
                <a:gd name="connsiteY3" fmla="*/ 12006 h 14168"/>
                <a:gd name="connsiteX4" fmla="*/ 22595 w 24503"/>
                <a:gd name="connsiteY4" fmla="*/ 7719 h 14168"/>
                <a:gd name="connsiteX5" fmla="*/ 10498 w 24503"/>
                <a:gd name="connsiteY5" fmla="*/ 766 h 14168"/>
                <a:gd name="connsiteX6" fmla="*/ 3069 w 24503"/>
                <a:gd name="connsiteY6" fmla="*/ 766 h 14168"/>
                <a:gd name="connsiteX7" fmla="*/ 1164 w 24503"/>
                <a:gd name="connsiteY7" fmla="*/ 1814 h 14168"/>
                <a:gd name="connsiteX8" fmla="*/ 1164 w 24503"/>
                <a:gd name="connsiteY8" fmla="*/ 6100 h 14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503" h="14168">
                  <a:moveTo>
                    <a:pt x="1164" y="6100"/>
                  </a:moveTo>
                  <a:lnTo>
                    <a:pt x="13261" y="13149"/>
                  </a:lnTo>
                  <a:cubicBezTo>
                    <a:pt x="15604" y="14292"/>
                    <a:pt x="18347" y="14292"/>
                    <a:pt x="20690" y="13149"/>
                  </a:cubicBezTo>
                  <a:lnTo>
                    <a:pt x="22595" y="12006"/>
                  </a:lnTo>
                  <a:cubicBezTo>
                    <a:pt x="24691" y="10863"/>
                    <a:pt x="24691" y="8958"/>
                    <a:pt x="22595" y="7719"/>
                  </a:cubicBezTo>
                  <a:lnTo>
                    <a:pt x="10498" y="766"/>
                  </a:lnTo>
                  <a:cubicBezTo>
                    <a:pt x="8174" y="-472"/>
                    <a:pt x="5393" y="-472"/>
                    <a:pt x="3069" y="766"/>
                  </a:cubicBezTo>
                  <a:lnTo>
                    <a:pt x="1164" y="1814"/>
                  </a:lnTo>
                  <a:cubicBezTo>
                    <a:pt x="-836" y="3052"/>
                    <a:pt x="-836" y="4957"/>
                    <a:pt x="1164" y="6100"/>
                  </a:cubicBezTo>
                  <a:close/>
                </a:path>
              </a:pathLst>
            </a:custGeom>
            <a:solidFill>
              <a:srgbClr val="D1D9E8"/>
            </a:solidFill>
            <a:ln w="9525" cap="flat">
              <a:noFill/>
              <a:prstDash val="solid"/>
              <a:miter/>
            </a:ln>
          </p:spPr>
          <p:txBody>
            <a:bodyPr rtlCol="0" anchor="ctr"/>
            <a:lstStyle/>
            <a:p>
              <a:endParaRPr lang="zh-CN" altLang="en-US"/>
            </a:p>
          </p:txBody>
        </p:sp>
        <p:sp>
          <p:nvSpPr>
            <p:cNvPr id="794" name="îŝḷïďè">
              <a:extLst>
                <a:ext uri="{FF2B5EF4-FFF2-40B4-BE49-F238E27FC236}">
                  <a16:creationId xmlns:a16="http://schemas.microsoft.com/office/drawing/2014/main" id="{624DE2D7-5E3D-47EE-AB25-A7DFCCE78D52}"/>
                </a:ext>
              </a:extLst>
            </p:cNvPr>
            <p:cNvSpPr/>
            <p:nvPr/>
          </p:nvSpPr>
          <p:spPr>
            <a:xfrm>
              <a:off x="5967170" y="5455283"/>
              <a:ext cx="78570" cy="53801"/>
            </a:xfrm>
            <a:custGeom>
              <a:avLst/>
              <a:gdLst>
                <a:gd name="connsiteX0" fmla="*/ -336 w 25812"/>
                <a:gd name="connsiteY0" fmla="*/ -163 h 17675"/>
                <a:gd name="connsiteX1" fmla="*/ -336 w 25812"/>
                <a:gd name="connsiteY1" fmla="*/ 7076 h 17675"/>
                <a:gd name="connsiteX2" fmla="*/ 1283 w 25812"/>
                <a:gd name="connsiteY2" fmla="*/ 9267 h 17675"/>
                <a:gd name="connsiteX3" fmla="*/ 13856 w 25812"/>
                <a:gd name="connsiteY3" fmla="*/ 16506 h 17675"/>
                <a:gd name="connsiteX4" fmla="*/ 21571 w 25812"/>
                <a:gd name="connsiteY4" fmla="*/ 16506 h 17675"/>
                <a:gd name="connsiteX5" fmla="*/ 23857 w 25812"/>
                <a:gd name="connsiteY5" fmla="*/ 15268 h 17675"/>
                <a:gd name="connsiteX6" fmla="*/ 25476 w 25812"/>
                <a:gd name="connsiteY6" fmla="*/ 12982 h 17675"/>
                <a:gd name="connsiteX7" fmla="*/ 25476 w 25812"/>
                <a:gd name="connsiteY7" fmla="*/ 5838 h 17675"/>
                <a:gd name="connsiteX8" fmla="*/ 23857 w 25812"/>
                <a:gd name="connsiteY8" fmla="*/ 8029 h 17675"/>
                <a:gd name="connsiteX9" fmla="*/ 21571 w 25812"/>
                <a:gd name="connsiteY9" fmla="*/ 9457 h 17675"/>
                <a:gd name="connsiteX10" fmla="*/ 21571 w 25812"/>
                <a:gd name="connsiteY10" fmla="*/ 9457 h 17675"/>
                <a:gd name="connsiteX11" fmla="*/ 13856 w 25812"/>
                <a:gd name="connsiteY11" fmla="*/ 9457 h 17675"/>
                <a:gd name="connsiteX12" fmla="*/ 3569 w 25812"/>
                <a:gd name="connsiteY12" fmla="*/ 3552 h 17675"/>
                <a:gd name="connsiteX13" fmla="*/ 1283 w 25812"/>
                <a:gd name="connsiteY13" fmla="*/ 2219 h 17675"/>
                <a:gd name="connsiteX14" fmla="*/ -336 w 25812"/>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5812" h="17675">
                  <a:moveTo>
                    <a:pt x="-336" y="-163"/>
                  </a:moveTo>
                  <a:lnTo>
                    <a:pt x="-336" y="7076"/>
                  </a:lnTo>
                  <a:cubicBezTo>
                    <a:pt x="-279" y="8067"/>
                    <a:pt x="349" y="8924"/>
                    <a:pt x="1283" y="9267"/>
                  </a:cubicBezTo>
                  <a:lnTo>
                    <a:pt x="13856" y="16506"/>
                  </a:lnTo>
                  <a:cubicBezTo>
                    <a:pt x="16256" y="17849"/>
                    <a:pt x="19171" y="17849"/>
                    <a:pt x="21571" y="16506"/>
                  </a:cubicBezTo>
                  <a:lnTo>
                    <a:pt x="23857" y="15268"/>
                  </a:lnTo>
                  <a:cubicBezTo>
                    <a:pt x="24771" y="14858"/>
                    <a:pt x="25391" y="13982"/>
                    <a:pt x="25476" y="12982"/>
                  </a:cubicBezTo>
                  <a:lnTo>
                    <a:pt x="25476" y="5838"/>
                  </a:lnTo>
                  <a:cubicBezTo>
                    <a:pt x="25419" y="6829"/>
                    <a:pt x="24791" y="7686"/>
                    <a:pt x="23857" y="8029"/>
                  </a:cubicBezTo>
                  <a:lnTo>
                    <a:pt x="21571" y="9457"/>
                  </a:lnTo>
                  <a:lnTo>
                    <a:pt x="21571" y="9457"/>
                  </a:lnTo>
                  <a:cubicBezTo>
                    <a:pt x="19171" y="10801"/>
                    <a:pt x="16256" y="10801"/>
                    <a:pt x="13856" y="9457"/>
                  </a:cubicBezTo>
                  <a:lnTo>
                    <a:pt x="3569" y="3552"/>
                  </a:lnTo>
                  <a:lnTo>
                    <a:pt x="1283" y="2219"/>
                  </a:lnTo>
                  <a:cubicBezTo>
                    <a:pt x="311" y="1828"/>
                    <a:pt x="-336" y="885"/>
                    <a:pt x="-336" y="-163"/>
                  </a:cubicBezTo>
                  <a:close/>
                </a:path>
              </a:pathLst>
            </a:custGeom>
            <a:solidFill>
              <a:srgbClr val="BF4200"/>
            </a:solidFill>
            <a:ln w="9525" cap="flat">
              <a:noFill/>
              <a:prstDash val="solid"/>
              <a:miter/>
            </a:ln>
          </p:spPr>
          <p:txBody>
            <a:bodyPr rtlCol="0" anchor="ctr"/>
            <a:lstStyle/>
            <a:p>
              <a:endParaRPr lang="zh-CN" altLang="en-US"/>
            </a:p>
          </p:txBody>
        </p:sp>
        <p:sp>
          <p:nvSpPr>
            <p:cNvPr id="795" name="islíḋé">
              <a:extLst>
                <a:ext uri="{FF2B5EF4-FFF2-40B4-BE49-F238E27FC236}">
                  <a16:creationId xmlns:a16="http://schemas.microsoft.com/office/drawing/2014/main" id="{B15E2F62-4A7C-48F9-BBB5-624B381CE9E7}"/>
                </a:ext>
              </a:extLst>
            </p:cNvPr>
            <p:cNvSpPr/>
            <p:nvPr/>
          </p:nvSpPr>
          <p:spPr>
            <a:xfrm>
              <a:off x="6044294" y="5468110"/>
              <a:ext cx="109594" cy="63588"/>
            </a:xfrm>
            <a:custGeom>
              <a:avLst/>
              <a:gdLst>
                <a:gd name="connsiteX0" fmla="*/ -336 w 36004"/>
                <a:gd name="connsiteY0" fmla="*/ 10291 h 20890"/>
                <a:gd name="connsiteX1" fmla="*/ 1188 w 36004"/>
                <a:gd name="connsiteY1" fmla="*/ 12577 h 20890"/>
                <a:gd name="connsiteX2" fmla="*/ 3569 w 36004"/>
                <a:gd name="connsiteY2" fmla="*/ 13911 h 20890"/>
                <a:gd name="connsiteX3" fmla="*/ 13856 w 36004"/>
                <a:gd name="connsiteY3" fmla="*/ 19721 h 20890"/>
                <a:gd name="connsiteX4" fmla="*/ 21476 w 36004"/>
                <a:gd name="connsiteY4" fmla="*/ 19721 h 20890"/>
                <a:gd name="connsiteX5" fmla="*/ 31763 w 36004"/>
                <a:gd name="connsiteY5" fmla="*/ 13911 h 20890"/>
                <a:gd name="connsiteX6" fmla="*/ 34144 w 36004"/>
                <a:gd name="connsiteY6" fmla="*/ 12577 h 20890"/>
                <a:gd name="connsiteX7" fmla="*/ 35668 w 36004"/>
                <a:gd name="connsiteY7" fmla="*/ 10291 h 20890"/>
                <a:gd name="connsiteX8" fmla="*/ 34144 w 36004"/>
                <a:gd name="connsiteY8" fmla="*/ 8101 h 20890"/>
                <a:gd name="connsiteX9" fmla="*/ 21476 w 36004"/>
                <a:gd name="connsiteY9" fmla="*/ 766 h 20890"/>
                <a:gd name="connsiteX10" fmla="*/ 13856 w 36004"/>
                <a:gd name="connsiteY10" fmla="*/ 766 h 20890"/>
                <a:gd name="connsiteX11" fmla="*/ 1188 w 36004"/>
                <a:gd name="connsiteY11" fmla="*/ 8101 h 20890"/>
                <a:gd name="connsiteX12" fmla="*/ -336 w 36004"/>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291"/>
                  </a:moveTo>
                  <a:cubicBezTo>
                    <a:pt x="-270" y="11272"/>
                    <a:pt x="311" y="12139"/>
                    <a:pt x="1188" y="12577"/>
                  </a:cubicBezTo>
                  <a:lnTo>
                    <a:pt x="3569" y="13911"/>
                  </a:lnTo>
                  <a:lnTo>
                    <a:pt x="13856" y="19721"/>
                  </a:lnTo>
                  <a:cubicBezTo>
                    <a:pt x="16218" y="21064"/>
                    <a:pt x="19114" y="21064"/>
                    <a:pt x="21476" y="19721"/>
                  </a:cubicBezTo>
                  <a:lnTo>
                    <a:pt x="31763" y="13911"/>
                  </a:lnTo>
                  <a:lnTo>
                    <a:pt x="34144" y="12577"/>
                  </a:lnTo>
                  <a:cubicBezTo>
                    <a:pt x="35021" y="12139"/>
                    <a:pt x="35602" y="11272"/>
                    <a:pt x="35668" y="10291"/>
                  </a:cubicBezTo>
                  <a:cubicBezTo>
                    <a:pt x="35611" y="9339"/>
                    <a:pt x="35021" y="8491"/>
                    <a:pt x="34144" y="8101"/>
                  </a:cubicBezTo>
                  <a:lnTo>
                    <a:pt x="21476" y="766"/>
                  </a:lnTo>
                  <a:cubicBezTo>
                    <a:pt x="19085" y="-472"/>
                    <a:pt x="16247" y="-472"/>
                    <a:pt x="13856" y="766"/>
                  </a:cubicBezTo>
                  <a:lnTo>
                    <a:pt x="1188" y="8101"/>
                  </a:lnTo>
                  <a:cubicBezTo>
                    <a:pt x="311" y="8491"/>
                    <a:pt x="-279"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796" name="íşļïdê">
              <a:extLst>
                <a:ext uri="{FF2B5EF4-FFF2-40B4-BE49-F238E27FC236}">
                  <a16:creationId xmlns:a16="http://schemas.microsoft.com/office/drawing/2014/main" id="{EA1DC5C8-3296-475C-AA25-5F9B59ED2ABC}"/>
                </a:ext>
              </a:extLst>
            </p:cNvPr>
            <p:cNvSpPr/>
            <p:nvPr/>
          </p:nvSpPr>
          <p:spPr>
            <a:xfrm>
              <a:off x="6046179" y="5469269"/>
              <a:ext cx="105825" cy="61104"/>
            </a:xfrm>
            <a:custGeom>
              <a:avLst/>
              <a:gdLst>
                <a:gd name="connsiteX0" fmla="*/ 1235 w 34766"/>
                <a:gd name="connsiteY0" fmla="*/ 12006 h 20074"/>
                <a:gd name="connsiteX1" fmla="*/ 13332 w 34766"/>
                <a:gd name="connsiteY1" fmla="*/ 19054 h 20074"/>
                <a:gd name="connsiteX2" fmla="*/ 20761 w 34766"/>
                <a:gd name="connsiteY2" fmla="*/ 19054 h 20074"/>
                <a:gd name="connsiteX3" fmla="*/ 32858 w 34766"/>
                <a:gd name="connsiteY3" fmla="*/ 12006 h 20074"/>
                <a:gd name="connsiteX4" fmla="*/ 32858 w 34766"/>
                <a:gd name="connsiteY4" fmla="*/ 7719 h 20074"/>
                <a:gd name="connsiteX5" fmla="*/ 20761 w 34766"/>
                <a:gd name="connsiteY5" fmla="*/ 766 h 20074"/>
                <a:gd name="connsiteX6" fmla="*/ 13332 w 34766"/>
                <a:gd name="connsiteY6" fmla="*/ 766 h 20074"/>
                <a:gd name="connsiteX7" fmla="*/ 1235 w 34766"/>
                <a:gd name="connsiteY7" fmla="*/ 7719 h 20074"/>
                <a:gd name="connsiteX8" fmla="*/ 1235 w 34766"/>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6" h="20074">
                  <a:moveTo>
                    <a:pt x="1235" y="12006"/>
                  </a:moveTo>
                  <a:lnTo>
                    <a:pt x="13332" y="19054"/>
                  </a:lnTo>
                  <a:cubicBezTo>
                    <a:pt x="15675" y="20197"/>
                    <a:pt x="18418" y="20197"/>
                    <a:pt x="20761" y="19054"/>
                  </a:cubicBezTo>
                  <a:lnTo>
                    <a:pt x="32858" y="12006"/>
                  </a:lnTo>
                  <a:cubicBezTo>
                    <a:pt x="34954" y="10863"/>
                    <a:pt x="34954" y="8957"/>
                    <a:pt x="32858" y="7719"/>
                  </a:cubicBezTo>
                  <a:lnTo>
                    <a:pt x="20761" y="766"/>
                  </a:lnTo>
                  <a:cubicBezTo>
                    <a:pt x="18437" y="-472"/>
                    <a:pt x="15656" y="-472"/>
                    <a:pt x="13332" y="766"/>
                  </a:cubicBezTo>
                  <a:lnTo>
                    <a:pt x="1235" y="7719"/>
                  </a:lnTo>
                  <a:cubicBezTo>
                    <a:pt x="-860" y="8957"/>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797" name="îṣḷïḓè">
              <a:extLst>
                <a:ext uri="{FF2B5EF4-FFF2-40B4-BE49-F238E27FC236}">
                  <a16:creationId xmlns:a16="http://schemas.microsoft.com/office/drawing/2014/main" id="{324F7CB5-ED1E-4C42-94F3-222683A99F0B}"/>
                </a:ext>
              </a:extLst>
            </p:cNvPr>
            <p:cNvSpPr/>
            <p:nvPr/>
          </p:nvSpPr>
          <p:spPr>
            <a:xfrm>
              <a:off x="6044288" y="5499931"/>
              <a:ext cx="109600" cy="54435"/>
            </a:xfrm>
            <a:custGeom>
              <a:avLst/>
              <a:gdLst>
                <a:gd name="connsiteX0" fmla="*/ -335 w 36006"/>
                <a:gd name="connsiteY0" fmla="*/ -163 h 17883"/>
                <a:gd name="connsiteX1" fmla="*/ -335 w 36006"/>
                <a:gd name="connsiteY1" fmla="*/ 7362 h 17883"/>
                <a:gd name="connsiteX2" fmla="*/ 1189 w 36006"/>
                <a:gd name="connsiteY2" fmla="*/ 9553 h 17883"/>
                <a:gd name="connsiteX3" fmla="*/ 13858 w 36006"/>
                <a:gd name="connsiteY3" fmla="*/ 16792 h 17883"/>
                <a:gd name="connsiteX4" fmla="*/ 21478 w 36006"/>
                <a:gd name="connsiteY4" fmla="*/ 16792 h 17883"/>
                <a:gd name="connsiteX5" fmla="*/ 34146 w 36006"/>
                <a:gd name="connsiteY5" fmla="*/ 9553 h 17883"/>
                <a:gd name="connsiteX6" fmla="*/ 35670 w 36006"/>
                <a:gd name="connsiteY6" fmla="*/ 7267 h 17883"/>
                <a:gd name="connsiteX7" fmla="*/ 35670 w 36006"/>
                <a:gd name="connsiteY7" fmla="*/ 123 h 17883"/>
                <a:gd name="connsiteX8" fmla="*/ 34146 w 36006"/>
                <a:gd name="connsiteY8" fmla="*/ 2409 h 17883"/>
                <a:gd name="connsiteX9" fmla="*/ 31765 w 36006"/>
                <a:gd name="connsiteY9" fmla="*/ 3743 h 17883"/>
                <a:gd name="connsiteX10" fmla="*/ 21478 w 36006"/>
                <a:gd name="connsiteY10" fmla="*/ 9553 h 17883"/>
                <a:gd name="connsiteX11" fmla="*/ 13858 w 36006"/>
                <a:gd name="connsiteY11" fmla="*/ 9553 h 17883"/>
                <a:gd name="connsiteX12" fmla="*/ 3571 w 36006"/>
                <a:gd name="connsiteY12" fmla="*/ 3743 h 17883"/>
                <a:gd name="connsiteX13" fmla="*/ 1189 w 36006"/>
                <a:gd name="connsiteY13" fmla="*/ 2409 h 17883"/>
                <a:gd name="connsiteX14" fmla="*/ -335 w 36006"/>
                <a:gd name="connsiteY14" fmla="*/ -163 h 17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6" h="17883">
                  <a:moveTo>
                    <a:pt x="-335" y="-163"/>
                  </a:moveTo>
                  <a:lnTo>
                    <a:pt x="-335" y="7362"/>
                  </a:lnTo>
                  <a:cubicBezTo>
                    <a:pt x="-239" y="8305"/>
                    <a:pt x="342" y="9134"/>
                    <a:pt x="1189" y="9553"/>
                  </a:cubicBezTo>
                  <a:lnTo>
                    <a:pt x="13858" y="16792"/>
                  </a:lnTo>
                  <a:cubicBezTo>
                    <a:pt x="16248" y="18030"/>
                    <a:pt x="19087" y="18030"/>
                    <a:pt x="21478" y="16792"/>
                  </a:cubicBezTo>
                  <a:lnTo>
                    <a:pt x="34146" y="9553"/>
                  </a:lnTo>
                  <a:cubicBezTo>
                    <a:pt x="35013" y="9105"/>
                    <a:pt x="35584" y="8239"/>
                    <a:pt x="35670" y="7267"/>
                  </a:cubicBezTo>
                  <a:lnTo>
                    <a:pt x="35670" y="123"/>
                  </a:lnTo>
                  <a:cubicBezTo>
                    <a:pt x="35603" y="1104"/>
                    <a:pt x="35022" y="1971"/>
                    <a:pt x="34146" y="2409"/>
                  </a:cubicBezTo>
                  <a:lnTo>
                    <a:pt x="31765" y="3743"/>
                  </a:lnTo>
                  <a:lnTo>
                    <a:pt x="21478" y="9553"/>
                  </a:lnTo>
                  <a:cubicBezTo>
                    <a:pt x="19115" y="10896"/>
                    <a:pt x="16220" y="10896"/>
                    <a:pt x="13858" y="9553"/>
                  </a:cubicBezTo>
                  <a:lnTo>
                    <a:pt x="3571" y="3743"/>
                  </a:lnTo>
                  <a:lnTo>
                    <a:pt x="1189" y="2409"/>
                  </a:lnTo>
                  <a:cubicBezTo>
                    <a:pt x="218" y="1923"/>
                    <a:pt x="-373" y="923"/>
                    <a:pt x="-335" y="-163"/>
                  </a:cubicBezTo>
                  <a:close/>
                </a:path>
              </a:pathLst>
            </a:custGeom>
            <a:solidFill>
              <a:srgbClr val="BF4200"/>
            </a:solidFill>
            <a:ln w="9525" cap="flat">
              <a:noFill/>
              <a:prstDash val="solid"/>
              <a:miter/>
            </a:ln>
          </p:spPr>
          <p:txBody>
            <a:bodyPr rtlCol="0" anchor="ctr"/>
            <a:lstStyle/>
            <a:p>
              <a:endParaRPr lang="zh-CN" altLang="en-US"/>
            </a:p>
          </p:txBody>
        </p:sp>
        <p:sp>
          <p:nvSpPr>
            <p:cNvPr id="798" name="ïŝľîdê">
              <a:extLst>
                <a:ext uri="{FF2B5EF4-FFF2-40B4-BE49-F238E27FC236}">
                  <a16:creationId xmlns:a16="http://schemas.microsoft.com/office/drawing/2014/main" id="{34CA68B2-58AC-49D4-8884-C13252F074A8}"/>
                </a:ext>
              </a:extLst>
            </p:cNvPr>
            <p:cNvSpPr/>
            <p:nvPr/>
          </p:nvSpPr>
          <p:spPr>
            <a:xfrm>
              <a:off x="5927812" y="4346502"/>
              <a:ext cx="1038326" cy="599437"/>
            </a:xfrm>
            <a:custGeom>
              <a:avLst/>
              <a:gdLst>
                <a:gd name="connsiteX0" fmla="*/ 126894 w 341114"/>
                <a:gd name="connsiteY0" fmla="*/ 182551 h 196929"/>
                <a:gd name="connsiteX1" fmla="*/ 24310 w 341114"/>
                <a:gd name="connsiteY1" fmla="*/ 123305 h 196929"/>
                <a:gd name="connsiteX2" fmla="*/ 24310 w 341114"/>
                <a:gd name="connsiteY2" fmla="*/ 54630 h 196929"/>
                <a:gd name="connsiteX3" fmla="*/ 94509 w 341114"/>
                <a:gd name="connsiteY3" fmla="*/ 14053 h 196929"/>
                <a:gd name="connsiteX4" fmla="*/ 213571 w 341114"/>
                <a:gd name="connsiteY4" fmla="*/ 14053 h 196929"/>
                <a:gd name="connsiteX5" fmla="*/ 316060 w 341114"/>
                <a:gd name="connsiteY5" fmla="*/ 73299 h 196929"/>
                <a:gd name="connsiteX6" fmla="*/ 316060 w 341114"/>
                <a:gd name="connsiteY6" fmla="*/ 141974 h 196929"/>
                <a:gd name="connsiteX7" fmla="*/ 245861 w 341114"/>
                <a:gd name="connsiteY7" fmla="*/ 182551 h 196929"/>
                <a:gd name="connsiteX8" fmla="*/ 126894 w 341114"/>
                <a:gd name="connsiteY8" fmla="*/ 182551 h 196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1114" h="196929">
                  <a:moveTo>
                    <a:pt x="126894" y="182551"/>
                  </a:moveTo>
                  <a:lnTo>
                    <a:pt x="24310" y="123305"/>
                  </a:lnTo>
                  <a:cubicBezTo>
                    <a:pt x="-8552" y="104255"/>
                    <a:pt x="-8552" y="73585"/>
                    <a:pt x="24310" y="54630"/>
                  </a:cubicBezTo>
                  <a:lnTo>
                    <a:pt x="94509" y="14053"/>
                  </a:lnTo>
                  <a:cubicBezTo>
                    <a:pt x="131932" y="-4901"/>
                    <a:pt x="176148" y="-4901"/>
                    <a:pt x="213571" y="14053"/>
                  </a:cubicBezTo>
                  <a:lnTo>
                    <a:pt x="316060" y="73299"/>
                  </a:lnTo>
                  <a:cubicBezTo>
                    <a:pt x="349017" y="92349"/>
                    <a:pt x="349017" y="123019"/>
                    <a:pt x="316060" y="141974"/>
                  </a:cubicBezTo>
                  <a:lnTo>
                    <a:pt x="245861" y="182551"/>
                  </a:lnTo>
                  <a:cubicBezTo>
                    <a:pt x="208475" y="201506"/>
                    <a:pt x="164279" y="201506"/>
                    <a:pt x="126894" y="182551"/>
                  </a:cubicBezTo>
                  <a:close/>
                </a:path>
              </a:pathLst>
            </a:custGeom>
            <a:solidFill>
              <a:srgbClr val="BF4200"/>
            </a:solidFill>
            <a:ln w="9525" cap="flat">
              <a:noFill/>
              <a:prstDash val="solid"/>
              <a:miter/>
            </a:ln>
          </p:spPr>
          <p:txBody>
            <a:bodyPr rtlCol="0" anchor="ctr"/>
            <a:lstStyle/>
            <a:p>
              <a:endParaRPr lang="zh-CN" altLang="en-US"/>
            </a:p>
          </p:txBody>
        </p:sp>
        <p:sp>
          <p:nvSpPr>
            <p:cNvPr id="799" name="iśľidè">
              <a:extLst>
                <a:ext uri="{FF2B5EF4-FFF2-40B4-BE49-F238E27FC236}">
                  <a16:creationId xmlns:a16="http://schemas.microsoft.com/office/drawing/2014/main" id="{65E867A8-5334-46AE-B99E-C3A6429353C4}"/>
                </a:ext>
              </a:extLst>
            </p:cNvPr>
            <p:cNvSpPr/>
            <p:nvPr/>
          </p:nvSpPr>
          <p:spPr>
            <a:xfrm>
              <a:off x="5927812" y="4311710"/>
              <a:ext cx="1038326" cy="599437"/>
            </a:xfrm>
            <a:custGeom>
              <a:avLst/>
              <a:gdLst>
                <a:gd name="connsiteX0" fmla="*/ 126894 w 341114"/>
                <a:gd name="connsiteY0" fmla="*/ 182551 h 196929"/>
                <a:gd name="connsiteX1" fmla="*/ 24310 w 341114"/>
                <a:gd name="connsiteY1" fmla="*/ 123305 h 196929"/>
                <a:gd name="connsiteX2" fmla="*/ 24310 w 341114"/>
                <a:gd name="connsiteY2" fmla="*/ 54630 h 196929"/>
                <a:gd name="connsiteX3" fmla="*/ 94509 w 341114"/>
                <a:gd name="connsiteY3" fmla="*/ 14053 h 196929"/>
                <a:gd name="connsiteX4" fmla="*/ 213571 w 341114"/>
                <a:gd name="connsiteY4" fmla="*/ 14053 h 196929"/>
                <a:gd name="connsiteX5" fmla="*/ 316060 w 341114"/>
                <a:gd name="connsiteY5" fmla="*/ 73299 h 196929"/>
                <a:gd name="connsiteX6" fmla="*/ 316060 w 341114"/>
                <a:gd name="connsiteY6" fmla="*/ 141974 h 196929"/>
                <a:gd name="connsiteX7" fmla="*/ 245861 w 341114"/>
                <a:gd name="connsiteY7" fmla="*/ 182551 h 196929"/>
                <a:gd name="connsiteX8" fmla="*/ 126894 w 341114"/>
                <a:gd name="connsiteY8" fmla="*/ 182551 h 196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1114" h="196929">
                  <a:moveTo>
                    <a:pt x="126894" y="182551"/>
                  </a:moveTo>
                  <a:lnTo>
                    <a:pt x="24310" y="123305"/>
                  </a:lnTo>
                  <a:cubicBezTo>
                    <a:pt x="-8552" y="104255"/>
                    <a:pt x="-8552" y="73585"/>
                    <a:pt x="24310" y="54630"/>
                  </a:cubicBezTo>
                  <a:lnTo>
                    <a:pt x="94509" y="14053"/>
                  </a:lnTo>
                  <a:cubicBezTo>
                    <a:pt x="131932" y="-4901"/>
                    <a:pt x="176148" y="-4901"/>
                    <a:pt x="213571" y="14053"/>
                  </a:cubicBezTo>
                  <a:lnTo>
                    <a:pt x="316060" y="73299"/>
                  </a:lnTo>
                  <a:cubicBezTo>
                    <a:pt x="349017" y="92349"/>
                    <a:pt x="349017" y="123019"/>
                    <a:pt x="316060" y="141974"/>
                  </a:cubicBezTo>
                  <a:lnTo>
                    <a:pt x="245861" y="182551"/>
                  </a:lnTo>
                  <a:cubicBezTo>
                    <a:pt x="208475" y="201505"/>
                    <a:pt x="164279" y="201505"/>
                    <a:pt x="126894" y="182551"/>
                  </a:cubicBezTo>
                  <a:close/>
                </a:path>
              </a:pathLst>
            </a:custGeom>
            <a:solidFill>
              <a:srgbClr val="FF7D33"/>
            </a:solidFill>
            <a:ln w="9525" cap="flat">
              <a:noFill/>
              <a:prstDash val="solid"/>
              <a:miter/>
            </a:ln>
          </p:spPr>
          <p:txBody>
            <a:bodyPr rtlCol="0" anchor="ctr"/>
            <a:lstStyle/>
            <a:p>
              <a:endParaRPr lang="zh-CN" altLang="en-US"/>
            </a:p>
          </p:txBody>
        </p:sp>
        <p:sp>
          <p:nvSpPr>
            <p:cNvPr id="800" name="ïšlídé">
              <a:extLst>
                <a:ext uri="{FF2B5EF4-FFF2-40B4-BE49-F238E27FC236}">
                  <a16:creationId xmlns:a16="http://schemas.microsoft.com/office/drawing/2014/main" id="{07929FBF-E6DA-45B1-8304-362A633089AB}"/>
                </a:ext>
              </a:extLst>
            </p:cNvPr>
            <p:cNvSpPr/>
            <p:nvPr/>
          </p:nvSpPr>
          <p:spPr>
            <a:xfrm>
              <a:off x="6375915" y="4006641"/>
              <a:ext cx="260198" cy="150440"/>
            </a:xfrm>
            <a:custGeom>
              <a:avLst/>
              <a:gdLst>
                <a:gd name="connsiteX0" fmla="*/ 71979 w 85481"/>
                <a:gd name="connsiteY0" fmla="*/ 6737 h 49423"/>
                <a:gd name="connsiteX1" fmla="*/ 73218 w 85481"/>
                <a:gd name="connsiteY1" fmla="*/ 41694 h 49423"/>
                <a:gd name="connsiteX2" fmla="*/ 12829 w 85481"/>
                <a:gd name="connsiteY2" fmla="*/ 42361 h 49423"/>
                <a:gd name="connsiteX3" fmla="*/ 11591 w 85481"/>
                <a:gd name="connsiteY3" fmla="*/ 7404 h 49423"/>
                <a:gd name="connsiteX4" fmla="*/ 71979 w 85481"/>
                <a:gd name="connsiteY4" fmla="*/ 6737 h 49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481" h="49423">
                  <a:moveTo>
                    <a:pt x="71979" y="6737"/>
                  </a:moveTo>
                  <a:cubicBezTo>
                    <a:pt x="89029" y="16262"/>
                    <a:pt x="89601" y="31884"/>
                    <a:pt x="73218" y="41694"/>
                  </a:cubicBezTo>
                  <a:cubicBezTo>
                    <a:pt x="54349" y="51543"/>
                    <a:pt x="31908" y="51791"/>
                    <a:pt x="12829" y="42361"/>
                  </a:cubicBezTo>
                  <a:cubicBezTo>
                    <a:pt x="-4221" y="32836"/>
                    <a:pt x="-4792" y="17215"/>
                    <a:pt x="11591" y="7404"/>
                  </a:cubicBezTo>
                  <a:cubicBezTo>
                    <a:pt x="30460" y="-2445"/>
                    <a:pt x="52901" y="-2692"/>
                    <a:pt x="71979" y="6737"/>
                  </a:cubicBezTo>
                  <a:close/>
                </a:path>
              </a:pathLst>
            </a:custGeom>
            <a:solidFill>
              <a:srgbClr val="E73E1E"/>
            </a:solidFill>
            <a:ln w="9525" cap="flat">
              <a:noFill/>
              <a:prstDash val="solid"/>
              <a:miter/>
            </a:ln>
          </p:spPr>
          <p:txBody>
            <a:bodyPr rtlCol="0" anchor="ctr"/>
            <a:lstStyle/>
            <a:p>
              <a:endParaRPr lang="zh-CN" altLang="en-US"/>
            </a:p>
          </p:txBody>
        </p:sp>
        <p:sp>
          <p:nvSpPr>
            <p:cNvPr id="801" name="ïŝľiḑê">
              <a:extLst>
                <a:ext uri="{FF2B5EF4-FFF2-40B4-BE49-F238E27FC236}">
                  <a16:creationId xmlns:a16="http://schemas.microsoft.com/office/drawing/2014/main" id="{37C44FC7-80DB-4517-87F8-EE1F2D1C7CAE}"/>
                </a:ext>
              </a:extLst>
            </p:cNvPr>
            <p:cNvSpPr/>
            <p:nvPr/>
          </p:nvSpPr>
          <p:spPr>
            <a:xfrm>
              <a:off x="6375398" y="4081863"/>
              <a:ext cx="260070" cy="535488"/>
            </a:xfrm>
            <a:custGeom>
              <a:avLst/>
              <a:gdLst>
                <a:gd name="connsiteX0" fmla="*/ 85103 w 85439"/>
                <a:gd name="connsiteY0" fmla="*/ 151190 h 175920"/>
                <a:gd name="connsiteX1" fmla="*/ 85103 w 85439"/>
                <a:gd name="connsiteY1" fmla="*/ 123 h 175920"/>
                <a:gd name="connsiteX2" fmla="*/ 73197 w 85439"/>
                <a:gd name="connsiteY2" fmla="*/ 17173 h 175920"/>
                <a:gd name="connsiteX3" fmla="*/ 12808 w 85439"/>
                <a:gd name="connsiteY3" fmla="*/ 17744 h 175920"/>
                <a:gd name="connsiteX4" fmla="*/ -336 w 85439"/>
                <a:gd name="connsiteY4" fmla="*/ -163 h 175920"/>
                <a:gd name="connsiteX5" fmla="*/ -336 w 85439"/>
                <a:gd name="connsiteY5" fmla="*/ 150904 h 175920"/>
                <a:gd name="connsiteX6" fmla="*/ 12808 w 85439"/>
                <a:gd name="connsiteY6" fmla="*/ 168811 h 175920"/>
                <a:gd name="connsiteX7" fmla="*/ 73197 w 85439"/>
                <a:gd name="connsiteY7" fmla="*/ 168239 h 175920"/>
                <a:gd name="connsiteX8" fmla="*/ 85103 w 85439"/>
                <a:gd name="connsiteY8" fmla="*/ 151190 h 175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5439" h="175920">
                  <a:moveTo>
                    <a:pt x="85103" y="151190"/>
                  </a:moveTo>
                  <a:lnTo>
                    <a:pt x="85103" y="123"/>
                  </a:lnTo>
                  <a:cubicBezTo>
                    <a:pt x="84436" y="7515"/>
                    <a:pt x="79902" y="14001"/>
                    <a:pt x="73197" y="17173"/>
                  </a:cubicBezTo>
                  <a:cubicBezTo>
                    <a:pt x="54309" y="26993"/>
                    <a:pt x="31877" y="27203"/>
                    <a:pt x="12808" y="17744"/>
                  </a:cubicBezTo>
                  <a:cubicBezTo>
                    <a:pt x="5474" y="14639"/>
                    <a:pt x="426" y="7762"/>
                    <a:pt x="-336" y="-163"/>
                  </a:cubicBezTo>
                  <a:lnTo>
                    <a:pt x="-336" y="150904"/>
                  </a:lnTo>
                  <a:cubicBezTo>
                    <a:pt x="426" y="158829"/>
                    <a:pt x="5474" y="165706"/>
                    <a:pt x="12808" y="168811"/>
                  </a:cubicBezTo>
                  <a:cubicBezTo>
                    <a:pt x="31877" y="178269"/>
                    <a:pt x="54309" y="178059"/>
                    <a:pt x="73197" y="168239"/>
                  </a:cubicBezTo>
                  <a:cubicBezTo>
                    <a:pt x="79902" y="165068"/>
                    <a:pt x="84436" y="158581"/>
                    <a:pt x="85103" y="151190"/>
                  </a:cubicBezTo>
                  <a:close/>
                </a:path>
              </a:pathLst>
            </a:custGeom>
            <a:solidFill>
              <a:srgbClr val="BF4200"/>
            </a:solidFill>
            <a:ln w="9525" cap="flat">
              <a:noFill/>
              <a:prstDash val="solid"/>
              <a:miter/>
            </a:ln>
          </p:spPr>
          <p:txBody>
            <a:bodyPr rtlCol="0" anchor="ctr"/>
            <a:lstStyle/>
            <a:p>
              <a:endParaRPr lang="zh-CN" altLang="en-US"/>
            </a:p>
          </p:txBody>
        </p:sp>
        <p:sp>
          <p:nvSpPr>
            <p:cNvPr id="802" name="ïšļiḋè">
              <a:extLst>
                <a:ext uri="{FF2B5EF4-FFF2-40B4-BE49-F238E27FC236}">
                  <a16:creationId xmlns:a16="http://schemas.microsoft.com/office/drawing/2014/main" id="{62B5AA3F-B058-4E45-991D-FCF2CB2B88D6}"/>
                </a:ext>
              </a:extLst>
            </p:cNvPr>
            <p:cNvSpPr/>
            <p:nvPr/>
          </p:nvSpPr>
          <p:spPr>
            <a:xfrm>
              <a:off x="7368421" y="4755091"/>
              <a:ext cx="168451" cy="100264"/>
            </a:xfrm>
            <a:custGeom>
              <a:avLst/>
              <a:gdLst>
                <a:gd name="connsiteX0" fmla="*/ 32811 w 55340"/>
                <a:gd name="connsiteY0" fmla="*/ 27746 h 32939"/>
                <a:gd name="connsiteX1" fmla="*/ 32811 w 55340"/>
                <a:gd name="connsiteY1" fmla="*/ 27746 h 32939"/>
                <a:gd name="connsiteX2" fmla="*/ 36335 w 55340"/>
                <a:gd name="connsiteY2" fmla="*/ 25650 h 32939"/>
                <a:gd name="connsiteX3" fmla="*/ 44146 w 55340"/>
                <a:gd name="connsiteY3" fmla="*/ 20221 h 32939"/>
                <a:gd name="connsiteX4" fmla="*/ 50432 w 55340"/>
                <a:gd name="connsiteY4" fmla="*/ 13553 h 32939"/>
                <a:gd name="connsiteX5" fmla="*/ 53575 w 55340"/>
                <a:gd name="connsiteY5" fmla="*/ 7362 h 32939"/>
                <a:gd name="connsiteX6" fmla="*/ 55004 w 55340"/>
                <a:gd name="connsiteY6" fmla="*/ -163 h 32939"/>
                <a:gd name="connsiteX7" fmla="*/ 55004 w 55340"/>
                <a:gd name="connsiteY7" fmla="*/ -163 h 32939"/>
                <a:gd name="connsiteX8" fmla="*/ 53671 w 55340"/>
                <a:gd name="connsiteY8" fmla="*/ 2219 h 32939"/>
                <a:gd name="connsiteX9" fmla="*/ 53671 w 55340"/>
                <a:gd name="connsiteY9" fmla="*/ 2219 h 32939"/>
                <a:gd name="connsiteX10" fmla="*/ 53194 w 55340"/>
                <a:gd name="connsiteY10" fmla="*/ 2695 h 32939"/>
                <a:gd name="connsiteX11" fmla="*/ 53194 w 55340"/>
                <a:gd name="connsiteY11" fmla="*/ 2695 h 32939"/>
                <a:gd name="connsiteX12" fmla="*/ 52528 w 55340"/>
                <a:gd name="connsiteY12" fmla="*/ 3362 h 32939"/>
                <a:gd name="connsiteX13" fmla="*/ 51861 w 55340"/>
                <a:gd name="connsiteY13" fmla="*/ 3933 h 32939"/>
                <a:gd name="connsiteX14" fmla="*/ 49480 w 55340"/>
                <a:gd name="connsiteY14" fmla="*/ 5743 h 32939"/>
                <a:gd name="connsiteX15" fmla="*/ 48813 w 55340"/>
                <a:gd name="connsiteY15" fmla="*/ 6315 h 32939"/>
                <a:gd name="connsiteX16" fmla="*/ 48813 w 55340"/>
                <a:gd name="connsiteY16" fmla="*/ 6315 h 32939"/>
                <a:gd name="connsiteX17" fmla="*/ 48051 w 55340"/>
                <a:gd name="connsiteY17" fmla="*/ 6886 h 32939"/>
                <a:gd name="connsiteX18" fmla="*/ 45098 w 55340"/>
                <a:gd name="connsiteY18" fmla="*/ 8696 h 32939"/>
                <a:gd name="connsiteX19" fmla="*/ 41574 w 55340"/>
                <a:gd name="connsiteY19" fmla="*/ 10696 h 32939"/>
                <a:gd name="connsiteX20" fmla="*/ 23476 w 55340"/>
                <a:gd name="connsiteY20" fmla="*/ 16030 h 32939"/>
                <a:gd name="connsiteX21" fmla="*/ 23476 w 55340"/>
                <a:gd name="connsiteY21" fmla="*/ 16030 h 32939"/>
                <a:gd name="connsiteX22" fmla="*/ 22619 w 55340"/>
                <a:gd name="connsiteY22" fmla="*/ 21269 h 32939"/>
                <a:gd name="connsiteX23" fmla="*/ 22143 w 55340"/>
                <a:gd name="connsiteY23" fmla="*/ 22793 h 32939"/>
                <a:gd name="connsiteX24" fmla="*/ 22143 w 55340"/>
                <a:gd name="connsiteY24" fmla="*/ 22793 h 32939"/>
                <a:gd name="connsiteX25" fmla="*/ 21476 w 55340"/>
                <a:gd name="connsiteY25" fmla="*/ 24317 h 32939"/>
                <a:gd name="connsiteX26" fmla="*/ 21476 w 55340"/>
                <a:gd name="connsiteY26" fmla="*/ 24317 h 32939"/>
                <a:gd name="connsiteX27" fmla="*/ 16523 w 55340"/>
                <a:gd name="connsiteY27" fmla="*/ 29651 h 32939"/>
                <a:gd name="connsiteX28" fmla="*/ 9189 w 55340"/>
                <a:gd name="connsiteY28" fmla="*/ 31175 h 32939"/>
                <a:gd name="connsiteX29" fmla="*/ -336 w 55340"/>
                <a:gd name="connsiteY29" fmla="*/ 28222 h 32939"/>
                <a:gd name="connsiteX30" fmla="*/ 10903 w 55340"/>
                <a:gd name="connsiteY30" fmla="*/ 32699 h 32939"/>
                <a:gd name="connsiteX31" fmla="*/ 14142 w 55340"/>
                <a:gd name="connsiteY31" fmla="*/ 32699 h 32939"/>
                <a:gd name="connsiteX32" fmla="*/ 18333 w 55340"/>
                <a:gd name="connsiteY32" fmla="*/ 32223 h 32939"/>
                <a:gd name="connsiteX33" fmla="*/ 18333 w 55340"/>
                <a:gd name="connsiteY33" fmla="*/ 32223 h 32939"/>
                <a:gd name="connsiteX34" fmla="*/ 31858 w 55340"/>
                <a:gd name="connsiteY34" fmla="*/ 27269 h 32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55340" h="32939">
                  <a:moveTo>
                    <a:pt x="32811" y="27746"/>
                  </a:moveTo>
                  <a:lnTo>
                    <a:pt x="32811" y="27746"/>
                  </a:lnTo>
                  <a:lnTo>
                    <a:pt x="36335" y="25650"/>
                  </a:lnTo>
                  <a:cubicBezTo>
                    <a:pt x="39088" y="24069"/>
                    <a:pt x="41707" y="22259"/>
                    <a:pt x="44146" y="20221"/>
                  </a:cubicBezTo>
                  <a:cubicBezTo>
                    <a:pt x="46498" y="18259"/>
                    <a:pt x="48613" y="16020"/>
                    <a:pt x="50432" y="13553"/>
                  </a:cubicBezTo>
                  <a:cubicBezTo>
                    <a:pt x="51737" y="11629"/>
                    <a:pt x="52794" y="9553"/>
                    <a:pt x="53575" y="7362"/>
                  </a:cubicBezTo>
                  <a:cubicBezTo>
                    <a:pt x="54423" y="4933"/>
                    <a:pt x="54899" y="2400"/>
                    <a:pt x="55004" y="-163"/>
                  </a:cubicBezTo>
                  <a:lnTo>
                    <a:pt x="55004" y="-163"/>
                  </a:lnTo>
                  <a:cubicBezTo>
                    <a:pt x="54785" y="742"/>
                    <a:pt x="54328" y="1561"/>
                    <a:pt x="53671" y="2219"/>
                  </a:cubicBezTo>
                  <a:lnTo>
                    <a:pt x="53671" y="2219"/>
                  </a:lnTo>
                  <a:cubicBezTo>
                    <a:pt x="53671" y="2219"/>
                    <a:pt x="53671" y="2219"/>
                    <a:pt x="53194" y="2695"/>
                  </a:cubicBezTo>
                  <a:lnTo>
                    <a:pt x="53194" y="2695"/>
                  </a:lnTo>
                  <a:lnTo>
                    <a:pt x="52528" y="3362"/>
                  </a:lnTo>
                  <a:lnTo>
                    <a:pt x="51861" y="3933"/>
                  </a:lnTo>
                  <a:lnTo>
                    <a:pt x="49480" y="5743"/>
                  </a:lnTo>
                  <a:lnTo>
                    <a:pt x="48813" y="6315"/>
                  </a:lnTo>
                  <a:lnTo>
                    <a:pt x="48813" y="6315"/>
                  </a:lnTo>
                  <a:lnTo>
                    <a:pt x="48051" y="6886"/>
                  </a:lnTo>
                  <a:lnTo>
                    <a:pt x="45098" y="8696"/>
                  </a:lnTo>
                  <a:lnTo>
                    <a:pt x="41574" y="10696"/>
                  </a:lnTo>
                  <a:cubicBezTo>
                    <a:pt x="33954" y="15173"/>
                    <a:pt x="25762" y="17554"/>
                    <a:pt x="23476" y="16030"/>
                  </a:cubicBezTo>
                  <a:lnTo>
                    <a:pt x="23476" y="16030"/>
                  </a:lnTo>
                  <a:cubicBezTo>
                    <a:pt x="23305" y="17792"/>
                    <a:pt x="23019" y="19545"/>
                    <a:pt x="22619" y="21269"/>
                  </a:cubicBezTo>
                  <a:cubicBezTo>
                    <a:pt x="22619" y="21840"/>
                    <a:pt x="22619" y="22317"/>
                    <a:pt x="22143" y="22793"/>
                  </a:cubicBezTo>
                  <a:lnTo>
                    <a:pt x="22143" y="22793"/>
                  </a:lnTo>
                  <a:cubicBezTo>
                    <a:pt x="21981" y="23326"/>
                    <a:pt x="21752" y="23831"/>
                    <a:pt x="21476" y="24317"/>
                  </a:cubicBezTo>
                  <a:lnTo>
                    <a:pt x="21476" y="24317"/>
                  </a:lnTo>
                  <a:cubicBezTo>
                    <a:pt x="20352" y="26517"/>
                    <a:pt x="18638" y="28365"/>
                    <a:pt x="16523" y="29651"/>
                  </a:cubicBezTo>
                  <a:cubicBezTo>
                    <a:pt x="14275" y="30851"/>
                    <a:pt x="11732" y="31384"/>
                    <a:pt x="9189" y="31175"/>
                  </a:cubicBezTo>
                  <a:cubicBezTo>
                    <a:pt x="5826" y="30946"/>
                    <a:pt x="2569" y="29936"/>
                    <a:pt x="-336" y="28222"/>
                  </a:cubicBezTo>
                  <a:cubicBezTo>
                    <a:pt x="3159" y="30279"/>
                    <a:pt x="6950" y="31784"/>
                    <a:pt x="10903" y="32699"/>
                  </a:cubicBezTo>
                  <a:cubicBezTo>
                    <a:pt x="11979" y="32803"/>
                    <a:pt x="13065" y="32803"/>
                    <a:pt x="14142" y="32699"/>
                  </a:cubicBezTo>
                  <a:cubicBezTo>
                    <a:pt x="15551" y="32651"/>
                    <a:pt x="16952" y="32489"/>
                    <a:pt x="18333" y="32223"/>
                  </a:cubicBezTo>
                  <a:lnTo>
                    <a:pt x="18333" y="32223"/>
                  </a:lnTo>
                  <a:cubicBezTo>
                    <a:pt x="23076" y="31289"/>
                    <a:pt x="27639" y="29622"/>
                    <a:pt x="31858" y="27269"/>
                  </a:cubicBezTo>
                  <a:close/>
                </a:path>
              </a:pathLst>
            </a:custGeom>
            <a:solidFill>
              <a:srgbClr val="BF4200"/>
            </a:solidFill>
            <a:ln w="9525" cap="flat">
              <a:noFill/>
              <a:prstDash val="solid"/>
              <a:miter/>
            </a:ln>
          </p:spPr>
          <p:txBody>
            <a:bodyPr rtlCol="0" anchor="ctr"/>
            <a:lstStyle/>
            <a:p>
              <a:endParaRPr lang="zh-CN" altLang="en-US"/>
            </a:p>
          </p:txBody>
        </p:sp>
        <p:sp>
          <p:nvSpPr>
            <p:cNvPr id="803" name="iṣḻíďè">
              <a:extLst>
                <a:ext uri="{FF2B5EF4-FFF2-40B4-BE49-F238E27FC236}">
                  <a16:creationId xmlns:a16="http://schemas.microsoft.com/office/drawing/2014/main" id="{4E8CD3CF-EACD-428B-BC70-93E7F1F02D45}"/>
                </a:ext>
              </a:extLst>
            </p:cNvPr>
            <p:cNvSpPr/>
            <p:nvPr/>
          </p:nvSpPr>
          <p:spPr>
            <a:xfrm>
              <a:off x="5454710" y="1859559"/>
              <a:ext cx="166278" cy="110425"/>
            </a:xfrm>
            <a:custGeom>
              <a:avLst/>
              <a:gdLst>
                <a:gd name="connsiteX0" fmla="*/ 37621 w 54626"/>
                <a:gd name="connsiteY0" fmla="*/ 9826 h 36277"/>
                <a:gd name="connsiteX1" fmla="*/ 41050 w 54626"/>
                <a:gd name="connsiteY1" fmla="*/ 7825 h 36277"/>
                <a:gd name="connsiteX2" fmla="*/ 43622 w 54626"/>
                <a:gd name="connsiteY2" fmla="*/ 6492 h 36277"/>
                <a:gd name="connsiteX3" fmla="*/ 45241 w 54626"/>
                <a:gd name="connsiteY3" fmla="*/ 5635 h 36277"/>
                <a:gd name="connsiteX4" fmla="*/ 50671 w 54626"/>
                <a:gd name="connsiteY4" fmla="*/ 3634 h 36277"/>
                <a:gd name="connsiteX5" fmla="*/ 51147 w 54626"/>
                <a:gd name="connsiteY5" fmla="*/ 3634 h 36277"/>
                <a:gd name="connsiteX6" fmla="*/ 54290 w 54626"/>
                <a:gd name="connsiteY6" fmla="*/ 3634 h 36277"/>
                <a:gd name="connsiteX7" fmla="*/ 46099 w 54626"/>
                <a:gd name="connsiteY7" fmla="*/ 491 h 36277"/>
                <a:gd name="connsiteX8" fmla="*/ 38574 w 54626"/>
                <a:gd name="connsiteY8" fmla="*/ -80 h 36277"/>
                <a:gd name="connsiteX9" fmla="*/ 21238 w 54626"/>
                <a:gd name="connsiteY9" fmla="*/ 5730 h 36277"/>
                <a:gd name="connsiteX10" fmla="*/ 21238 w 54626"/>
                <a:gd name="connsiteY10" fmla="*/ 5730 h 36277"/>
                <a:gd name="connsiteX11" fmla="*/ 17809 w 54626"/>
                <a:gd name="connsiteY11" fmla="*/ 7730 h 36277"/>
                <a:gd name="connsiteX12" fmla="*/ 9522 w 54626"/>
                <a:gd name="connsiteY12" fmla="*/ 13540 h 36277"/>
                <a:gd name="connsiteX13" fmla="*/ 3141 w 54626"/>
                <a:gd name="connsiteY13" fmla="*/ 20684 h 36277"/>
                <a:gd name="connsiteX14" fmla="*/ 379 w 54626"/>
                <a:gd name="connsiteY14" fmla="*/ 27256 h 36277"/>
                <a:gd name="connsiteX15" fmla="*/ -288 w 54626"/>
                <a:gd name="connsiteY15" fmla="*/ 36115 h 36277"/>
                <a:gd name="connsiteX16" fmla="*/ 6855 w 54626"/>
                <a:gd name="connsiteY16" fmla="*/ 20970 h 36277"/>
                <a:gd name="connsiteX17" fmla="*/ 12380 w 54626"/>
                <a:gd name="connsiteY17" fmla="*/ 19446 h 36277"/>
                <a:gd name="connsiteX18" fmla="*/ 13047 w 54626"/>
                <a:gd name="connsiteY18" fmla="*/ 19446 h 36277"/>
                <a:gd name="connsiteX19" fmla="*/ 15428 w 54626"/>
                <a:gd name="connsiteY19" fmla="*/ 19446 h 36277"/>
                <a:gd name="connsiteX20" fmla="*/ 16666 w 54626"/>
                <a:gd name="connsiteY20" fmla="*/ 19446 h 36277"/>
                <a:gd name="connsiteX21" fmla="*/ 17428 w 54626"/>
                <a:gd name="connsiteY21" fmla="*/ 19446 h 36277"/>
                <a:gd name="connsiteX22" fmla="*/ 18095 w 54626"/>
                <a:gd name="connsiteY22" fmla="*/ 19446 h 36277"/>
                <a:gd name="connsiteX23" fmla="*/ 18857 w 54626"/>
                <a:gd name="connsiteY23" fmla="*/ 19446 h 36277"/>
                <a:gd name="connsiteX24" fmla="*/ 19619 w 54626"/>
                <a:gd name="connsiteY24" fmla="*/ 19446 h 36277"/>
                <a:gd name="connsiteX25" fmla="*/ 20571 w 54626"/>
                <a:gd name="connsiteY25" fmla="*/ 19446 h 36277"/>
                <a:gd name="connsiteX26" fmla="*/ 21524 w 54626"/>
                <a:gd name="connsiteY26" fmla="*/ 19446 h 36277"/>
                <a:gd name="connsiteX27" fmla="*/ 22191 w 54626"/>
                <a:gd name="connsiteY27" fmla="*/ 19446 h 36277"/>
                <a:gd name="connsiteX28" fmla="*/ 23905 w 54626"/>
                <a:gd name="connsiteY28" fmla="*/ 20303 h 36277"/>
                <a:gd name="connsiteX29" fmla="*/ 23905 w 54626"/>
                <a:gd name="connsiteY29" fmla="*/ 20303 h 36277"/>
                <a:gd name="connsiteX30" fmla="*/ 37621 w 54626"/>
                <a:gd name="connsiteY30" fmla="*/ 9826 h 36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54626" h="36277">
                  <a:moveTo>
                    <a:pt x="37621" y="9826"/>
                  </a:moveTo>
                  <a:lnTo>
                    <a:pt x="41050" y="7825"/>
                  </a:lnTo>
                  <a:lnTo>
                    <a:pt x="43622" y="6492"/>
                  </a:lnTo>
                  <a:cubicBezTo>
                    <a:pt x="44117" y="6130"/>
                    <a:pt x="44660" y="5844"/>
                    <a:pt x="45241" y="5635"/>
                  </a:cubicBezTo>
                  <a:cubicBezTo>
                    <a:pt x="46984" y="4806"/>
                    <a:pt x="48804" y="4139"/>
                    <a:pt x="50671" y="3634"/>
                  </a:cubicBezTo>
                  <a:lnTo>
                    <a:pt x="51147" y="3634"/>
                  </a:lnTo>
                  <a:lnTo>
                    <a:pt x="54290" y="3634"/>
                  </a:lnTo>
                  <a:cubicBezTo>
                    <a:pt x="51699" y="2244"/>
                    <a:pt x="48946" y="1196"/>
                    <a:pt x="46099" y="491"/>
                  </a:cubicBezTo>
                  <a:cubicBezTo>
                    <a:pt x="43641" y="-99"/>
                    <a:pt x="41098" y="-290"/>
                    <a:pt x="38574" y="-80"/>
                  </a:cubicBezTo>
                  <a:cubicBezTo>
                    <a:pt x="32440" y="567"/>
                    <a:pt x="26525" y="2549"/>
                    <a:pt x="21238" y="5730"/>
                  </a:cubicBezTo>
                  <a:lnTo>
                    <a:pt x="21238" y="5730"/>
                  </a:lnTo>
                  <a:lnTo>
                    <a:pt x="17809" y="7730"/>
                  </a:lnTo>
                  <a:cubicBezTo>
                    <a:pt x="14866" y="9397"/>
                    <a:pt x="12094" y="11340"/>
                    <a:pt x="9522" y="13540"/>
                  </a:cubicBezTo>
                  <a:cubicBezTo>
                    <a:pt x="7084" y="15626"/>
                    <a:pt x="4941" y="18027"/>
                    <a:pt x="3141" y="20684"/>
                  </a:cubicBezTo>
                  <a:cubicBezTo>
                    <a:pt x="1950" y="22751"/>
                    <a:pt x="1017" y="24961"/>
                    <a:pt x="379" y="27256"/>
                  </a:cubicBezTo>
                  <a:cubicBezTo>
                    <a:pt x="-117" y="30181"/>
                    <a:pt x="-345" y="33143"/>
                    <a:pt x="-288" y="36115"/>
                  </a:cubicBezTo>
                  <a:cubicBezTo>
                    <a:pt x="-736" y="30162"/>
                    <a:pt x="1969" y="24408"/>
                    <a:pt x="6855" y="20970"/>
                  </a:cubicBezTo>
                  <a:cubicBezTo>
                    <a:pt x="8551" y="20027"/>
                    <a:pt x="10447" y="19503"/>
                    <a:pt x="12380" y="19446"/>
                  </a:cubicBezTo>
                  <a:lnTo>
                    <a:pt x="13047" y="19446"/>
                  </a:lnTo>
                  <a:cubicBezTo>
                    <a:pt x="13837" y="19360"/>
                    <a:pt x="14638" y="19360"/>
                    <a:pt x="15428" y="19446"/>
                  </a:cubicBezTo>
                  <a:lnTo>
                    <a:pt x="16666" y="19446"/>
                  </a:lnTo>
                  <a:lnTo>
                    <a:pt x="17428" y="19446"/>
                  </a:lnTo>
                  <a:lnTo>
                    <a:pt x="18095" y="19446"/>
                  </a:lnTo>
                  <a:lnTo>
                    <a:pt x="18857" y="19446"/>
                  </a:lnTo>
                  <a:cubicBezTo>
                    <a:pt x="18857" y="19446"/>
                    <a:pt x="18857" y="19446"/>
                    <a:pt x="19619" y="19446"/>
                  </a:cubicBezTo>
                  <a:lnTo>
                    <a:pt x="20571" y="19446"/>
                  </a:lnTo>
                  <a:lnTo>
                    <a:pt x="21524" y="19446"/>
                  </a:lnTo>
                  <a:lnTo>
                    <a:pt x="22191" y="19446"/>
                  </a:lnTo>
                  <a:lnTo>
                    <a:pt x="23905" y="20303"/>
                  </a:lnTo>
                  <a:lnTo>
                    <a:pt x="23905" y="20303"/>
                  </a:lnTo>
                  <a:cubicBezTo>
                    <a:pt x="23620" y="20113"/>
                    <a:pt x="29906" y="14302"/>
                    <a:pt x="37621" y="9826"/>
                  </a:cubicBezTo>
                  <a:close/>
                </a:path>
              </a:pathLst>
            </a:custGeom>
            <a:solidFill>
              <a:srgbClr val="D9530B"/>
            </a:solidFill>
            <a:ln w="9525" cap="flat">
              <a:noFill/>
              <a:prstDash val="solid"/>
              <a:miter/>
            </a:ln>
          </p:spPr>
          <p:txBody>
            <a:bodyPr rtlCol="0" anchor="ctr"/>
            <a:lstStyle/>
            <a:p>
              <a:endParaRPr lang="zh-CN" altLang="en-US"/>
            </a:p>
          </p:txBody>
        </p:sp>
        <p:sp>
          <p:nvSpPr>
            <p:cNvPr id="804" name="ïṩ1íḋe">
              <a:extLst>
                <a:ext uri="{FF2B5EF4-FFF2-40B4-BE49-F238E27FC236}">
                  <a16:creationId xmlns:a16="http://schemas.microsoft.com/office/drawing/2014/main" id="{89BBFA73-B929-434E-8DAB-D73E5A956ADA}"/>
                </a:ext>
              </a:extLst>
            </p:cNvPr>
            <p:cNvSpPr/>
            <p:nvPr/>
          </p:nvSpPr>
          <p:spPr>
            <a:xfrm>
              <a:off x="5527630" y="1869668"/>
              <a:ext cx="1931250" cy="1119145"/>
            </a:xfrm>
            <a:custGeom>
              <a:avLst/>
              <a:gdLst>
                <a:gd name="connsiteX0" fmla="*/ 617265 w 634460"/>
                <a:gd name="connsiteY0" fmla="*/ 355025 h 367665"/>
                <a:gd name="connsiteX1" fmla="*/ 620694 w 634460"/>
                <a:gd name="connsiteY1" fmla="*/ 353024 h 367665"/>
                <a:gd name="connsiteX2" fmla="*/ 634124 w 634460"/>
                <a:gd name="connsiteY2" fmla="*/ 348738 h 367665"/>
                <a:gd name="connsiteX3" fmla="*/ 30525 w 634460"/>
                <a:gd name="connsiteY3" fmla="*/ -163 h 367665"/>
                <a:gd name="connsiteX4" fmla="*/ 27191 w 634460"/>
                <a:gd name="connsiteY4" fmla="*/ -163 h 367665"/>
                <a:gd name="connsiteX5" fmla="*/ 26715 w 634460"/>
                <a:gd name="connsiteY5" fmla="*/ -163 h 367665"/>
                <a:gd name="connsiteX6" fmla="*/ 21285 w 634460"/>
                <a:gd name="connsiteY6" fmla="*/ 1838 h 367665"/>
                <a:gd name="connsiteX7" fmla="*/ 19666 w 634460"/>
                <a:gd name="connsiteY7" fmla="*/ 2695 h 367665"/>
                <a:gd name="connsiteX8" fmla="*/ 17095 w 634460"/>
                <a:gd name="connsiteY8" fmla="*/ 4028 h 367665"/>
                <a:gd name="connsiteX9" fmla="*/ 13665 w 634460"/>
                <a:gd name="connsiteY9" fmla="*/ 6029 h 367665"/>
                <a:gd name="connsiteX10" fmla="*/ -336 w 634460"/>
                <a:gd name="connsiteY10" fmla="*/ 18983 h 367665"/>
                <a:gd name="connsiteX11" fmla="*/ 603263 w 634460"/>
                <a:gd name="connsiteY11" fmla="*/ 367502 h 367665"/>
                <a:gd name="connsiteX12" fmla="*/ 617265 w 634460"/>
                <a:gd name="connsiteY12" fmla="*/ 355025 h 3676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34460" h="367665">
                  <a:moveTo>
                    <a:pt x="617265" y="355025"/>
                  </a:moveTo>
                  <a:lnTo>
                    <a:pt x="620694" y="353024"/>
                  </a:lnTo>
                  <a:cubicBezTo>
                    <a:pt x="627075" y="349405"/>
                    <a:pt x="632409" y="347786"/>
                    <a:pt x="634124" y="348738"/>
                  </a:cubicBezTo>
                  <a:lnTo>
                    <a:pt x="30525" y="-163"/>
                  </a:lnTo>
                  <a:lnTo>
                    <a:pt x="27191" y="-163"/>
                  </a:lnTo>
                  <a:lnTo>
                    <a:pt x="26715" y="-163"/>
                  </a:lnTo>
                  <a:cubicBezTo>
                    <a:pt x="24848" y="342"/>
                    <a:pt x="23029" y="1009"/>
                    <a:pt x="21285" y="1838"/>
                  </a:cubicBezTo>
                  <a:cubicBezTo>
                    <a:pt x="20705" y="2047"/>
                    <a:pt x="20162" y="2333"/>
                    <a:pt x="19666" y="2695"/>
                  </a:cubicBezTo>
                  <a:lnTo>
                    <a:pt x="17095" y="4028"/>
                  </a:lnTo>
                  <a:lnTo>
                    <a:pt x="13665" y="6029"/>
                  </a:lnTo>
                  <a:cubicBezTo>
                    <a:pt x="5950" y="10505"/>
                    <a:pt x="-336" y="16316"/>
                    <a:pt x="-336" y="18983"/>
                  </a:cubicBezTo>
                  <a:lnTo>
                    <a:pt x="603263" y="367502"/>
                  </a:lnTo>
                  <a:cubicBezTo>
                    <a:pt x="603263" y="365312"/>
                    <a:pt x="609549" y="359501"/>
                    <a:pt x="617265" y="355025"/>
                  </a:cubicBezTo>
                  <a:close/>
                </a:path>
              </a:pathLst>
            </a:custGeom>
            <a:solidFill>
              <a:srgbClr val="FF7D33"/>
            </a:solidFill>
            <a:ln w="9525" cap="flat">
              <a:noFill/>
              <a:prstDash val="solid"/>
              <a:miter/>
            </a:ln>
          </p:spPr>
          <p:txBody>
            <a:bodyPr rtlCol="0" anchor="ctr"/>
            <a:lstStyle/>
            <a:p>
              <a:endParaRPr lang="zh-CN" altLang="en-US"/>
            </a:p>
          </p:txBody>
        </p:sp>
        <p:sp>
          <p:nvSpPr>
            <p:cNvPr id="805" name="i$ḻiďe">
              <a:extLst>
                <a:ext uri="{FF2B5EF4-FFF2-40B4-BE49-F238E27FC236}">
                  <a16:creationId xmlns:a16="http://schemas.microsoft.com/office/drawing/2014/main" id="{B21D6CF6-FFBE-41BF-9E8C-474C6E6F3B92}"/>
                </a:ext>
              </a:extLst>
            </p:cNvPr>
            <p:cNvSpPr/>
            <p:nvPr/>
          </p:nvSpPr>
          <p:spPr>
            <a:xfrm>
              <a:off x="7437716" y="3069702"/>
              <a:ext cx="97707" cy="1739361"/>
            </a:xfrm>
            <a:custGeom>
              <a:avLst/>
              <a:gdLst>
                <a:gd name="connsiteX0" fmla="*/ 18333 w 32099"/>
                <a:gd name="connsiteY0" fmla="*/ 564956 h 571420"/>
                <a:gd name="connsiteX1" fmla="*/ 21857 w 32099"/>
                <a:gd name="connsiteY1" fmla="*/ 562956 h 571420"/>
                <a:gd name="connsiteX2" fmla="*/ 24810 w 32099"/>
                <a:gd name="connsiteY2" fmla="*/ 561146 h 571420"/>
                <a:gd name="connsiteX3" fmla="*/ 25572 w 32099"/>
                <a:gd name="connsiteY3" fmla="*/ 560574 h 571420"/>
                <a:gd name="connsiteX4" fmla="*/ 25572 w 32099"/>
                <a:gd name="connsiteY4" fmla="*/ 560574 h 571420"/>
                <a:gd name="connsiteX5" fmla="*/ 26239 w 32099"/>
                <a:gd name="connsiteY5" fmla="*/ 560003 h 571420"/>
                <a:gd name="connsiteX6" fmla="*/ 28620 w 32099"/>
                <a:gd name="connsiteY6" fmla="*/ 558193 h 571420"/>
                <a:gd name="connsiteX7" fmla="*/ 29286 w 32099"/>
                <a:gd name="connsiteY7" fmla="*/ 557622 h 571420"/>
                <a:gd name="connsiteX8" fmla="*/ 29953 w 32099"/>
                <a:gd name="connsiteY8" fmla="*/ 556955 h 571420"/>
                <a:gd name="connsiteX9" fmla="*/ 29953 w 32099"/>
                <a:gd name="connsiteY9" fmla="*/ 556955 h 571420"/>
                <a:gd name="connsiteX10" fmla="*/ 30430 w 32099"/>
                <a:gd name="connsiteY10" fmla="*/ 556478 h 571420"/>
                <a:gd name="connsiteX11" fmla="*/ 30430 w 32099"/>
                <a:gd name="connsiteY11" fmla="*/ 556478 h 571420"/>
                <a:gd name="connsiteX12" fmla="*/ 31763 w 32099"/>
                <a:gd name="connsiteY12" fmla="*/ 554097 h 571420"/>
                <a:gd name="connsiteX13" fmla="*/ 31763 w 32099"/>
                <a:gd name="connsiteY13" fmla="*/ 554097 h 571420"/>
                <a:gd name="connsiteX14" fmla="*/ 31763 w 32099"/>
                <a:gd name="connsiteY14" fmla="*/ -163 h 571420"/>
                <a:gd name="connsiteX15" fmla="*/ 21285 w 32099"/>
                <a:gd name="connsiteY15" fmla="*/ 9362 h 571420"/>
                <a:gd name="connsiteX16" fmla="*/ 17856 w 32099"/>
                <a:gd name="connsiteY16" fmla="*/ 11363 h 571420"/>
                <a:gd name="connsiteX17" fmla="*/ -336 w 32099"/>
                <a:gd name="connsiteY17" fmla="*/ 16982 h 571420"/>
                <a:gd name="connsiteX18" fmla="*/ -336 w 32099"/>
                <a:gd name="connsiteY18" fmla="*/ 571147 h 571420"/>
                <a:gd name="connsiteX19" fmla="*/ -336 w 32099"/>
                <a:gd name="connsiteY19" fmla="*/ 571147 h 571420"/>
                <a:gd name="connsiteX20" fmla="*/ 18333 w 32099"/>
                <a:gd name="connsiteY20" fmla="*/ 564956 h 571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2099" h="571420">
                  <a:moveTo>
                    <a:pt x="18333" y="564956"/>
                  </a:moveTo>
                  <a:lnTo>
                    <a:pt x="21857" y="562956"/>
                  </a:lnTo>
                  <a:lnTo>
                    <a:pt x="24810" y="561146"/>
                  </a:lnTo>
                  <a:lnTo>
                    <a:pt x="25572" y="560574"/>
                  </a:lnTo>
                  <a:lnTo>
                    <a:pt x="25572" y="560574"/>
                  </a:lnTo>
                  <a:lnTo>
                    <a:pt x="26239" y="560003"/>
                  </a:lnTo>
                  <a:lnTo>
                    <a:pt x="28620" y="558193"/>
                  </a:lnTo>
                  <a:lnTo>
                    <a:pt x="29286" y="557622"/>
                  </a:lnTo>
                  <a:lnTo>
                    <a:pt x="29953" y="556955"/>
                  </a:lnTo>
                  <a:lnTo>
                    <a:pt x="29953" y="556955"/>
                  </a:lnTo>
                  <a:cubicBezTo>
                    <a:pt x="29953" y="556955"/>
                    <a:pt x="29953" y="556955"/>
                    <a:pt x="30430" y="556478"/>
                  </a:cubicBezTo>
                  <a:lnTo>
                    <a:pt x="30430" y="556478"/>
                  </a:lnTo>
                  <a:cubicBezTo>
                    <a:pt x="31087" y="555821"/>
                    <a:pt x="31544" y="555002"/>
                    <a:pt x="31763" y="554097"/>
                  </a:cubicBezTo>
                  <a:lnTo>
                    <a:pt x="31763" y="554097"/>
                  </a:lnTo>
                  <a:cubicBezTo>
                    <a:pt x="31763" y="321116"/>
                    <a:pt x="31763" y="232819"/>
                    <a:pt x="31763" y="-163"/>
                  </a:cubicBezTo>
                  <a:cubicBezTo>
                    <a:pt x="31763" y="1838"/>
                    <a:pt x="27667" y="5648"/>
                    <a:pt x="21285" y="9362"/>
                  </a:cubicBezTo>
                  <a:lnTo>
                    <a:pt x="17856" y="11363"/>
                  </a:lnTo>
                  <a:cubicBezTo>
                    <a:pt x="10046" y="15744"/>
                    <a:pt x="1950" y="18316"/>
                    <a:pt x="-336" y="16982"/>
                  </a:cubicBezTo>
                  <a:cubicBezTo>
                    <a:pt x="-336" y="249869"/>
                    <a:pt x="-336" y="338261"/>
                    <a:pt x="-336" y="571147"/>
                  </a:cubicBezTo>
                  <a:lnTo>
                    <a:pt x="-336" y="571147"/>
                  </a:lnTo>
                  <a:cubicBezTo>
                    <a:pt x="2331" y="571814"/>
                    <a:pt x="10713" y="569432"/>
                    <a:pt x="18333" y="564956"/>
                  </a:cubicBezTo>
                  <a:close/>
                </a:path>
              </a:pathLst>
            </a:custGeom>
            <a:solidFill>
              <a:srgbClr val="BF4200"/>
            </a:solidFill>
            <a:ln w="9525" cap="flat">
              <a:noFill/>
              <a:prstDash val="solid"/>
              <a:miter/>
            </a:ln>
          </p:spPr>
          <p:txBody>
            <a:bodyPr rtlCol="0" anchor="ctr"/>
            <a:lstStyle/>
            <a:p>
              <a:endParaRPr lang="zh-CN" altLang="en-US"/>
            </a:p>
          </p:txBody>
        </p:sp>
        <p:sp>
          <p:nvSpPr>
            <p:cNvPr id="806" name="îśľiḋe">
              <a:extLst>
                <a:ext uri="{FF2B5EF4-FFF2-40B4-BE49-F238E27FC236}">
                  <a16:creationId xmlns:a16="http://schemas.microsoft.com/office/drawing/2014/main" id="{9F780B28-95DD-4F56-8488-283BE4711079}"/>
                </a:ext>
              </a:extLst>
            </p:cNvPr>
            <p:cNvSpPr/>
            <p:nvPr/>
          </p:nvSpPr>
          <p:spPr>
            <a:xfrm>
              <a:off x="5452829" y="1919241"/>
              <a:ext cx="1985758" cy="2934488"/>
            </a:xfrm>
            <a:custGeom>
              <a:avLst/>
              <a:gdLst>
                <a:gd name="connsiteX0" fmla="*/ 6712 w 652367"/>
                <a:gd name="connsiteY0" fmla="*/ 593818 h 964047"/>
                <a:gd name="connsiteX1" fmla="*/ 22428 w 652367"/>
                <a:gd name="connsiteY1" fmla="*/ 611153 h 964047"/>
                <a:gd name="connsiteX2" fmla="*/ 24048 w 652367"/>
                <a:gd name="connsiteY2" fmla="*/ 612106 h 964047"/>
                <a:gd name="connsiteX3" fmla="*/ 627552 w 652367"/>
                <a:gd name="connsiteY3" fmla="*/ 960530 h 964047"/>
                <a:gd name="connsiteX4" fmla="*/ 652031 w 652367"/>
                <a:gd name="connsiteY4" fmla="*/ 946433 h 964047"/>
                <a:gd name="connsiteX5" fmla="*/ 652031 w 652367"/>
                <a:gd name="connsiteY5" fmla="*/ 393983 h 964047"/>
                <a:gd name="connsiteX6" fmla="*/ 652031 w 652367"/>
                <a:gd name="connsiteY6" fmla="*/ 392174 h 964047"/>
                <a:gd name="connsiteX7" fmla="*/ 644887 w 652367"/>
                <a:gd name="connsiteY7" fmla="*/ 369885 h 964047"/>
                <a:gd name="connsiteX8" fmla="*/ 627647 w 652367"/>
                <a:gd name="connsiteY8" fmla="*/ 351597 h 964047"/>
                <a:gd name="connsiteX9" fmla="*/ 24143 w 652367"/>
                <a:gd name="connsiteY9" fmla="*/ 3173 h 964047"/>
                <a:gd name="connsiteX10" fmla="*/ -336 w 652367"/>
                <a:gd name="connsiteY10" fmla="*/ 17365 h 964047"/>
                <a:gd name="connsiteX11" fmla="*/ -336 w 652367"/>
                <a:gd name="connsiteY11" fmla="*/ 569815 h 964047"/>
                <a:gd name="connsiteX12" fmla="*/ 6712 w 652367"/>
                <a:gd name="connsiteY12" fmla="*/ 593818 h 9640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2367" h="964047">
                  <a:moveTo>
                    <a:pt x="6712" y="593818"/>
                  </a:moveTo>
                  <a:cubicBezTo>
                    <a:pt x="10570" y="600714"/>
                    <a:pt x="15951" y="606639"/>
                    <a:pt x="22428" y="611153"/>
                  </a:cubicBezTo>
                  <a:lnTo>
                    <a:pt x="24048" y="612106"/>
                  </a:lnTo>
                  <a:lnTo>
                    <a:pt x="627552" y="960530"/>
                  </a:lnTo>
                  <a:cubicBezTo>
                    <a:pt x="641077" y="968341"/>
                    <a:pt x="652031" y="962054"/>
                    <a:pt x="652031" y="946433"/>
                  </a:cubicBezTo>
                  <a:lnTo>
                    <a:pt x="652031" y="393983"/>
                  </a:lnTo>
                  <a:cubicBezTo>
                    <a:pt x="651983" y="393383"/>
                    <a:pt x="651983" y="392774"/>
                    <a:pt x="652031" y="392174"/>
                  </a:cubicBezTo>
                  <a:cubicBezTo>
                    <a:pt x="651412" y="384287"/>
                    <a:pt x="648964" y="376657"/>
                    <a:pt x="644887" y="369885"/>
                  </a:cubicBezTo>
                  <a:cubicBezTo>
                    <a:pt x="640791" y="362418"/>
                    <a:pt x="634857" y="356122"/>
                    <a:pt x="627647" y="351597"/>
                  </a:cubicBezTo>
                  <a:lnTo>
                    <a:pt x="24143" y="3173"/>
                  </a:lnTo>
                  <a:cubicBezTo>
                    <a:pt x="10617" y="-4638"/>
                    <a:pt x="-336" y="1744"/>
                    <a:pt x="-336" y="17365"/>
                  </a:cubicBezTo>
                  <a:lnTo>
                    <a:pt x="-336" y="569815"/>
                  </a:lnTo>
                  <a:cubicBezTo>
                    <a:pt x="-89" y="578292"/>
                    <a:pt x="2340" y="586560"/>
                    <a:pt x="6712" y="593818"/>
                  </a:cubicBezTo>
                  <a:close/>
                </a:path>
              </a:pathLst>
            </a:custGeom>
            <a:solidFill>
              <a:srgbClr val="D9530B"/>
            </a:solidFill>
            <a:ln w="9525" cap="flat">
              <a:noFill/>
              <a:prstDash val="solid"/>
              <a:miter/>
            </a:ln>
          </p:spPr>
          <p:txBody>
            <a:bodyPr rtlCol="0" anchor="ctr"/>
            <a:lstStyle/>
            <a:p>
              <a:endParaRPr lang="zh-CN" altLang="en-US"/>
            </a:p>
          </p:txBody>
        </p:sp>
        <p:sp>
          <p:nvSpPr>
            <p:cNvPr id="807" name="ïš1îďe">
              <a:extLst>
                <a:ext uri="{FF2B5EF4-FFF2-40B4-BE49-F238E27FC236}">
                  <a16:creationId xmlns:a16="http://schemas.microsoft.com/office/drawing/2014/main" id="{8DCB870C-63AE-40BF-A678-4A1F4AF144D8}"/>
                </a:ext>
              </a:extLst>
            </p:cNvPr>
            <p:cNvSpPr/>
            <p:nvPr/>
          </p:nvSpPr>
          <p:spPr>
            <a:xfrm>
              <a:off x="5540969" y="2067691"/>
              <a:ext cx="1810348" cy="2427035"/>
            </a:xfrm>
            <a:custGeom>
              <a:avLst/>
              <a:gdLst>
                <a:gd name="connsiteX0" fmla="*/ 594741 w 594741"/>
                <a:gd name="connsiteY0" fmla="*/ 797338 h 797337"/>
                <a:gd name="connsiteX1" fmla="*/ 594741 w 594741"/>
                <a:gd name="connsiteY1" fmla="*/ 343376 h 797337"/>
                <a:gd name="connsiteX2" fmla="*/ 0 w 594741"/>
                <a:gd name="connsiteY2" fmla="*/ 0 h 797337"/>
                <a:gd name="connsiteX3" fmla="*/ 0 w 594741"/>
                <a:gd name="connsiteY3" fmla="*/ 453962 h 797337"/>
                <a:gd name="connsiteX4" fmla="*/ 594741 w 594741"/>
                <a:gd name="connsiteY4" fmla="*/ 797338 h 7973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4741" h="797337">
                  <a:moveTo>
                    <a:pt x="594741" y="797338"/>
                  </a:moveTo>
                  <a:lnTo>
                    <a:pt x="594741" y="343376"/>
                  </a:lnTo>
                  <a:lnTo>
                    <a:pt x="0" y="0"/>
                  </a:lnTo>
                  <a:lnTo>
                    <a:pt x="0" y="453962"/>
                  </a:lnTo>
                  <a:lnTo>
                    <a:pt x="594741" y="797338"/>
                  </a:lnTo>
                  <a:close/>
                </a:path>
              </a:pathLst>
            </a:custGeom>
            <a:solidFill>
              <a:srgbClr val="73A1FF"/>
            </a:solidFill>
            <a:ln w="9525" cap="flat">
              <a:noFill/>
              <a:prstDash val="solid"/>
              <a:miter/>
            </a:ln>
          </p:spPr>
          <p:txBody>
            <a:bodyPr rtlCol="0" anchor="ctr"/>
            <a:lstStyle/>
            <a:p>
              <a:endParaRPr lang="zh-CN" altLang="en-US"/>
            </a:p>
          </p:txBody>
        </p:sp>
        <p:sp>
          <p:nvSpPr>
            <p:cNvPr id="808" name="íş1iďè">
              <a:extLst>
                <a:ext uri="{FF2B5EF4-FFF2-40B4-BE49-F238E27FC236}">
                  <a16:creationId xmlns:a16="http://schemas.microsoft.com/office/drawing/2014/main" id="{CD7F518F-52F7-4056-8576-9F82939D0A0C}"/>
                </a:ext>
              </a:extLst>
            </p:cNvPr>
            <p:cNvSpPr/>
            <p:nvPr/>
          </p:nvSpPr>
          <p:spPr>
            <a:xfrm>
              <a:off x="6426426" y="2495140"/>
              <a:ext cx="39720" cy="50864"/>
            </a:xfrm>
            <a:custGeom>
              <a:avLst/>
              <a:gdLst>
                <a:gd name="connsiteX0" fmla="*/ 6236 w 13049"/>
                <a:gd name="connsiteY0" fmla="*/ 15716 h 16710"/>
                <a:gd name="connsiteX1" fmla="*/ 12713 w 13049"/>
                <a:gd name="connsiteY1" fmla="*/ 12002 h 16710"/>
                <a:gd name="connsiteX2" fmla="*/ 6236 w 13049"/>
                <a:gd name="connsiteY2" fmla="*/ 667 h 16710"/>
                <a:gd name="connsiteX3" fmla="*/ -336 w 13049"/>
                <a:gd name="connsiteY3" fmla="*/ 4477 h 16710"/>
                <a:gd name="connsiteX4" fmla="*/ 6236 w 13049"/>
                <a:gd name="connsiteY4" fmla="*/ 15716 h 167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49" h="16710">
                  <a:moveTo>
                    <a:pt x="6236" y="15716"/>
                  </a:moveTo>
                  <a:cubicBezTo>
                    <a:pt x="9760" y="17812"/>
                    <a:pt x="12713" y="15716"/>
                    <a:pt x="12713" y="12002"/>
                  </a:cubicBezTo>
                  <a:cubicBezTo>
                    <a:pt x="12446" y="7420"/>
                    <a:pt x="10046" y="3220"/>
                    <a:pt x="6236" y="667"/>
                  </a:cubicBezTo>
                  <a:cubicBezTo>
                    <a:pt x="2616" y="-1429"/>
                    <a:pt x="-336" y="667"/>
                    <a:pt x="-336" y="4477"/>
                  </a:cubicBezTo>
                  <a:cubicBezTo>
                    <a:pt x="-51" y="9049"/>
                    <a:pt x="2388" y="13221"/>
                    <a:pt x="6236" y="15716"/>
                  </a:cubicBezTo>
                  <a:close/>
                </a:path>
              </a:pathLst>
            </a:custGeom>
            <a:solidFill>
              <a:srgbClr val="BF4200"/>
            </a:solidFill>
            <a:ln w="9525" cap="flat">
              <a:noFill/>
              <a:prstDash val="solid"/>
              <a:miter/>
            </a:ln>
          </p:spPr>
          <p:txBody>
            <a:bodyPr rtlCol="0" anchor="ctr"/>
            <a:lstStyle/>
            <a:p>
              <a:endParaRPr lang="zh-CN" altLang="en-US"/>
            </a:p>
          </p:txBody>
        </p:sp>
        <p:sp>
          <p:nvSpPr>
            <p:cNvPr id="809" name="íṣḻïḑé">
              <a:extLst>
                <a:ext uri="{FF2B5EF4-FFF2-40B4-BE49-F238E27FC236}">
                  <a16:creationId xmlns:a16="http://schemas.microsoft.com/office/drawing/2014/main" id="{94F9CDCC-7441-4F07-9AE0-41224977642F}"/>
                </a:ext>
              </a:extLst>
            </p:cNvPr>
            <p:cNvSpPr/>
            <p:nvPr/>
          </p:nvSpPr>
          <p:spPr>
            <a:xfrm>
              <a:off x="6433966" y="2504747"/>
              <a:ext cx="24644" cy="31642"/>
            </a:xfrm>
            <a:custGeom>
              <a:avLst/>
              <a:gdLst>
                <a:gd name="connsiteX0" fmla="*/ 3759 w 8096"/>
                <a:gd name="connsiteY0" fmla="*/ 9703 h 10395"/>
                <a:gd name="connsiteX1" fmla="*/ 7760 w 8096"/>
                <a:gd name="connsiteY1" fmla="*/ 7416 h 10395"/>
                <a:gd name="connsiteX2" fmla="*/ 3759 w 8096"/>
                <a:gd name="connsiteY2" fmla="*/ 368 h 10395"/>
                <a:gd name="connsiteX3" fmla="*/ -336 w 8096"/>
                <a:gd name="connsiteY3" fmla="*/ 2654 h 10395"/>
                <a:gd name="connsiteX4" fmla="*/ 3759 w 8096"/>
                <a:gd name="connsiteY4" fmla="*/ 9703 h 103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96" h="10395">
                  <a:moveTo>
                    <a:pt x="3759" y="9703"/>
                  </a:moveTo>
                  <a:cubicBezTo>
                    <a:pt x="5950" y="11036"/>
                    <a:pt x="7760" y="9703"/>
                    <a:pt x="7760" y="7416"/>
                  </a:cubicBezTo>
                  <a:cubicBezTo>
                    <a:pt x="7645" y="4559"/>
                    <a:pt x="6150" y="1930"/>
                    <a:pt x="3759" y="368"/>
                  </a:cubicBezTo>
                  <a:cubicBezTo>
                    <a:pt x="1473" y="-965"/>
                    <a:pt x="-336" y="368"/>
                    <a:pt x="-336" y="2654"/>
                  </a:cubicBezTo>
                  <a:cubicBezTo>
                    <a:pt x="-213" y="5531"/>
                    <a:pt x="1321" y="8169"/>
                    <a:pt x="3759" y="9703"/>
                  </a:cubicBezTo>
                  <a:close/>
                </a:path>
              </a:pathLst>
            </a:custGeom>
            <a:solidFill>
              <a:srgbClr val="171A42"/>
            </a:solidFill>
            <a:ln w="9525" cap="flat">
              <a:noFill/>
              <a:prstDash val="solid"/>
              <a:miter/>
            </a:ln>
          </p:spPr>
          <p:txBody>
            <a:bodyPr rtlCol="0" anchor="ctr"/>
            <a:lstStyle/>
            <a:p>
              <a:endParaRPr lang="zh-CN" altLang="en-US"/>
            </a:p>
          </p:txBody>
        </p:sp>
        <p:sp>
          <p:nvSpPr>
            <p:cNvPr id="810" name="îṩľíďè">
              <a:extLst>
                <a:ext uri="{FF2B5EF4-FFF2-40B4-BE49-F238E27FC236}">
                  <a16:creationId xmlns:a16="http://schemas.microsoft.com/office/drawing/2014/main" id="{D0AD837C-F765-4C26-9E57-9EBF73F4055D}"/>
                </a:ext>
              </a:extLst>
            </p:cNvPr>
            <p:cNvSpPr/>
            <p:nvPr/>
          </p:nvSpPr>
          <p:spPr>
            <a:xfrm>
              <a:off x="5453100" y="1919957"/>
              <a:ext cx="1987164" cy="2935252"/>
            </a:xfrm>
            <a:custGeom>
              <a:avLst/>
              <a:gdLst>
                <a:gd name="connsiteX0" fmla="*/ 9005 w 652829"/>
                <a:gd name="connsiteY0" fmla="*/ 4938 h 964298"/>
                <a:gd name="connsiteX1" fmla="*/ 25388 w 652829"/>
                <a:gd name="connsiteY1" fmla="*/ 6557 h 964298"/>
                <a:gd name="connsiteX2" fmla="*/ 628891 w 652829"/>
                <a:gd name="connsiteY2" fmla="*/ 354791 h 964298"/>
                <a:gd name="connsiteX3" fmla="*/ 643846 w 652829"/>
                <a:gd name="connsiteY3" fmla="*/ 370222 h 964298"/>
                <a:gd name="connsiteX4" fmla="*/ 649751 w 652829"/>
                <a:gd name="connsiteY4" fmla="*/ 389272 h 964298"/>
                <a:gd name="connsiteX5" fmla="*/ 649751 w 652829"/>
                <a:gd name="connsiteY5" fmla="*/ 943246 h 964298"/>
                <a:gd name="connsiteX6" fmla="*/ 642893 w 652829"/>
                <a:gd name="connsiteY6" fmla="*/ 958295 h 964298"/>
                <a:gd name="connsiteX7" fmla="*/ 626510 w 652829"/>
                <a:gd name="connsiteY7" fmla="*/ 956676 h 964298"/>
                <a:gd name="connsiteX8" fmla="*/ 23006 w 652829"/>
                <a:gd name="connsiteY8" fmla="*/ 608251 h 964298"/>
                <a:gd name="connsiteX9" fmla="*/ 21578 w 652829"/>
                <a:gd name="connsiteY9" fmla="*/ 607394 h 964298"/>
                <a:gd name="connsiteX10" fmla="*/ 8147 w 652829"/>
                <a:gd name="connsiteY10" fmla="*/ 592821 h 964298"/>
                <a:gd name="connsiteX11" fmla="*/ 2147 w 652829"/>
                <a:gd name="connsiteY11" fmla="*/ 572152 h 964298"/>
                <a:gd name="connsiteX12" fmla="*/ 2147 w 652829"/>
                <a:gd name="connsiteY12" fmla="*/ 19702 h 964298"/>
                <a:gd name="connsiteX13" fmla="*/ 9005 w 652829"/>
                <a:gd name="connsiteY13" fmla="*/ 4652 h 964298"/>
                <a:gd name="connsiteX14" fmla="*/ 6909 w 652829"/>
                <a:gd name="connsiteY14" fmla="*/ 1318 h 964298"/>
                <a:gd name="connsiteX15" fmla="*/ -235 w 652829"/>
                <a:gd name="connsiteY15" fmla="*/ 17225 h 964298"/>
                <a:gd name="connsiteX16" fmla="*/ -235 w 652829"/>
                <a:gd name="connsiteY16" fmla="*/ 569675 h 964298"/>
                <a:gd name="connsiteX17" fmla="*/ 6909 w 652829"/>
                <a:gd name="connsiteY17" fmla="*/ 593773 h 964298"/>
                <a:gd name="connsiteX18" fmla="*/ 22625 w 652829"/>
                <a:gd name="connsiteY18" fmla="*/ 611109 h 964298"/>
                <a:gd name="connsiteX19" fmla="*/ 24245 w 652829"/>
                <a:gd name="connsiteY19" fmla="*/ 612061 h 964298"/>
                <a:gd name="connsiteX20" fmla="*/ 627748 w 652829"/>
                <a:gd name="connsiteY20" fmla="*/ 960486 h 964298"/>
                <a:gd name="connsiteX21" fmla="*/ 648846 w 652829"/>
                <a:gd name="connsiteY21" fmla="*/ 958971 h 964298"/>
                <a:gd name="connsiteX22" fmla="*/ 652228 w 652829"/>
                <a:gd name="connsiteY22" fmla="*/ 946389 h 964298"/>
                <a:gd name="connsiteX23" fmla="*/ 652228 w 652829"/>
                <a:gd name="connsiteY23" fmla="*/ 393939 h 964298"/>
                <a:gd name="connsiteX24" fmla="*/ 652228 w 652829"/>
                <a:gd name="connsiteY24" fmla="*/ 392129 h 964298"/>
                <a:gd name="connsiteX25" fmla="*/ 645084 w 652829"/>
                <a:gd name="connsiteY25" fmla="*/ 369841 h 964298"/>
                <a:gd name="connsiteX26" fmla="*/ 627844 w 652829"/>
                <a:gd name="connsiteY26" fmla="*/ 351553 h 964298"/>
                <a:gd name="connsiteX27" fmla="*/ 24340 w 652829"/>
                <a:gd name="connsiteY27" fmla="*/ 3128 h 964298"/>
                <a:gd name="connsiteX28" fmla="*/ 7004 w 652829"/>
                <a:gd name="connsiteY28" fmla="*/ 1414 h 964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652829" h="964298">
                  <a:moveTo>
                    <a:pt x="9005" y="4938"/>
                  </a:moveTo>
                  <a:cubicBezTo>
                    <a:pt x="14367" y="2519"/>
                    <a:pt x="20606" y="3128"/>
                    <a:pt x="25388" y="6557"/>
                  </a:cubicBezTo>
                  <a:lnTo>
                    <a:pt x="628891" y="354791"/>
                  </a:lnTo>
                  <a:cubicBezTo>
                    <a:pt x="635102" y="358592"/>
                    <a:pt x="640245" y="363897"/>
                    <a:pt x="643846" y="370222"/>
                  </a:cubicBezTo>
                  <a:cubicBezTo>
                    <a:pt x="647208" y="376051"/>
                    <a:pt x="649227" y="382566"/>
                    <a:pt x="649751" y="389272"/>
                  </a:cubicBezTo>
                  <a:lnTo>
                    <a:pt x="649751" y="943246"/>
                  </a:lnTo>
                  <a:cubicBezTo>
                    <a:pt x="650370" y="949132"/>
                    <a:pt x="647741" y="954895"/>
                    <a:pt x="642893" y="958295"/>
                  </a:cubicBezTo>
                  <a:cubicBezTo>
                    <a:pt x="637550" y="960800"/>
                    <a:pt x="631263" y="960181"/>
                    <a:pt x="626510" y="956676"/>
                  </a:cubicBezTo>
                  <a:lnTo>
                    <a:pt x="23006" y="608251"/>
                  </a:lnTo>
                  <a:lnTo>
                    <a:pt x="21578" y="607394"/>
                  </a:lnTo>
                  <a:cubicBezTo>
                    <a:pt x="16034" y="603641"/>
                    <a:pt x="11433" y="598650"/>
                    <a:pt x="8147" y="592821"/>
                  </a:cubicBezTo>
                  <a:cubicBezTo>
                    <a:pt x="4375" y="586573"/>
                    <a:pt x="2308" y="579448"/>
                    <a:pt x="2147" y="572152"/>
                  </a:cubicBezTo>
                  <a:lnTo>
                    <a:pt x="2147" y="19702"/>
                  </a:lnTo>
                  <a:cubicBezTo>
                    <a:pt x="1565" y="13815"/>
                    <a:pt x="4185" y="8072"/>
                    <a:pt x="9005" y="4652"/>
                  </a:cubicBezTo>
                  <a:close/>
                  <a:moveTo>
                    <a:pt x="6909" y="1318"/>
                  </a:moveTo>
                  <a:cubicBezTo>
                    <a:pt x="1823" y="4938"/>
                    <a:pt x="-911" y="11024"/>
                    <a:pt x="-235" y="17225"/>
                  </a:cubicBezTo>
                  <a:lnTo>
                    <a:pt x="-235" y="569675"/>
                  </a:lnTo>
                  <a:cubicBezTo>
                    <a:pt x="23" y="578191"/>
                    <a:pt x="2480" y="586496"/>
                    <a:pt x="6909" y="593773"/>
                  </a:cubicBezTo>
                  <a:cubicBezTo>
                    <a:pt x="10767" y="600670"/>
                    <a:pt x="16148" y="606594"/>
                    <a:pt x="22625" y="611109"/>
                  </a:cubicBezTo>
                  <a:lnTo>
                    <a:pt x="24245" y="612061"/>
                  </a:lnTo>
                  <a:lnTo>
                    <a:pt x="627748" y="960486"/>
                  </a:lnTo>
                  <a:cubicBezTo>
                    <a:pt x="633997" y="965896"/>
                    <a:pt x="643436" y="965210"/>
                    <a:pt x="648846" y="958971"/>
                  </a:cubicBezTo>
                  <a:cubicBezTo>
                    <a:pt x="651837" y="955514"/>
                    <a:pt x="653085" y="950875"/>
                    <a:pt x="652228" y="946389"/>
                  </a:cubicBezTo>
                  <a:lnTo>
                    <a:pt x="652228" y="393939"/>
                  </a:lnTo>
                  <a:cubicBezTo>
                    <a:pt x="652180" y="393339"/>
                    <a:pt x="652180" y="392729"/>
                    <a:pt x="652228" y="392129"/>
                  </a:cubicBezTo>
                  <a:cubicBezTo>
                    <a:pt x="651609" y="384242"/>
                    <a:pt x="649161" y="376613"/>
                    <a:pt x="645084" y="369841"/>
                  </a:cubicBezTo>
                  <a:cubicBezTo>
                    <a:pt x="640988" y="362373"/>
                    <a:pt x="635054" y="356077"/>
                    <a:pt x="627844" y="351553"/>
                  </a:cubicBezTo>
                  <a:lnTo>
                    <a:pt x="24340" y="3128"/>
                  </a:lnTo>
                  <a:cubicBezTo>
                    <a:pt x="19291" y="-539"/>
                    <a:pt x="12672" y="-1187"/>
                    <a:pt x="7004" y="1414"/>
                  </a:cubicBezTo>
                  <a:close/>
                </a:path>
              </a:pathLst>
            </a:custGeom>
            <a:solidFill>
              <a:srgbClr val="D1D9E8"/>
            </a:solidFill>
            <a:ln w="9525" cap="flat">
              <a:noFill/>
              <a:prstDash val="solid"/>
              <a:miter/>
            </a:ln>
          </p:spPr>
          <p:txBody>
            <a:bodyPr rtlCol="0" anchor="ctr"/>
            <a:lstStyle/>
            <a:p>
              <a:endParaRPr lang="zh-CN" altLang="en-US"/>
            </a:p>
          </p:txBody>
        </p:sp>
        <p:sp>
          <p:nvSpPr>
            <p:cNvPr id="811" name="ïṥḻíḍê">
              <a:extLst>
                <a:ext uri="{FF2B5EF4-FFF2-40B4-BE49-F238E27FC236}">
                  <a16:creationId xmlns:a16="http://schemas.microsoft.com/office/drawing/2014/main" id="{E579A483-10B4-42DB-9C39-A74477E3BE2E}"/>
                </a:ext>
              </a:extLst>
            </p:cNvPr>
            <p:cNvSpPr/>
            <p:nvPr/>
          </p:nvSpPr>
          <p:spPr>
            <a:xfrm>
              <a:off x="5541258" y="2067694"/>
              <a:ext cx="1810348" cy="2425586"/>
            </a:xfrm>
            <a:custGeom>
              <a:avLst/>
              <a:gdLst>
                <a:gd name="connsiteX0" fmla="*/ 2045 w 594741"/>
                <a:gd name="connsiteY0" fmla="*/ 4028 h 796861"/>
                <a:gd name="connsiteX1" fmla="*/ 591928 w 594741"/>
                <a:gd name="connsiteY1" fmla="*/ 344357 h 796861"/>
                <a:gd name="connsiteX2" fmla="*/ 591928 w 594741"/>
                <a:gd name="connsiteY2" fmla="*/ 792984 h 796861"/>
                <a:gd name="connsiteX3" fmla="*/ 2045 w 594741"/>
                <a:gd name="connsiteY3" fmla="*/ 452370 h 796861"/>
                <a:gd name="connsiteX4" fmla="*/ 2045 w 594741"/>
                <a:gd name="connsiteY4" fmla="*/ 4028 h 796861"/>
                <a:gd name="connsiteX5" fmla="*/ -336 w 594741"/>
                <a:gd name="connsiteY5" fmla="*/ -163 h 796861"/>
                <a:gd name="connsiteX6" fmla="*/ -336 w 594741"/>
                <a:gd name="connsiteY6" fmla="*/ 453799 h 796861"/>
                <a:gd name="connsiteX7" fmla="*/ 594405 w 594741"/>
                <a:gd name="connsiteY7" fmla="*/ 796699 h 796861"/>
                <a:gd name="connsiteX8" fmla="*/ 594405 w 594741"/>
                <a:gd name="connsiteY8" fmla="*/ 343214 h 796861"/>
                <a:gd name="connsiteX9" fmla="*/ -336 w 594741"/>
                <a:gd name="connsiteY9" fmla="*/ 314 h 796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94741" h="796861">
                  <a:moveTo>
                    <a:pt x="2045" y="4028"/>
                  </a:moveTo>
                  <a:lnTo>
                    <a:pt x="591928" y="344357"/>
                  </a:lnTo>
                  <a:lnTo>
                    <a:pt x="591928" y="792984"/>
                  </a:lnTo>
                  <a:lnTo>
                    <a:pt x="2045" y="452370"/>
                  </a:lnTo>
                  <a:lnTo>
                    <a:pt x="2045" y="4028"/>
                  </a:lnTo>
                  <a:close/>
                  <a:moveTo>
                    <a:pt x="-336" y="-163"/>
                  </a:moveTo>
                  <a:lnTo>
                    <a:pt x="-336" y="453799"/>
                  </a:lnTo>
                  <a:lnTo>
                    <a:pt x="594405" y="796699"/>
                  </a:lnTo>
                  <a:lnTo>
                    <a:pt x="594405" y="343214"/>
                  </a:lnTo>
                  <a:lnTo>
                    <a:pt x="-336" y="314"/>
                  </a:lnTo>
                  <a:close/>
                </a:path>
              </a:pathLst>
            </a:custGeom>
            <a:solidFill>
              <a:srgbClr val="316DE6"/>
            </a:solidFill>
            <a:ln w="9525" cap="flat">
              <a:noFill/>
              <a:prstDash val="solid"/>
              <a:miter/>
            </a:ln>
          </p:spPr>
          <p:txBody>
            <a:bodyPr rtlCol="0" anchor="ctr"/>
            <a:lstStyle/>
            <a:p>
              <a:endParaRPr lang="zh-CN" altLang="en-US"/>
            </a:p>
          </p:txBody>
        </p:sp>
        <p:sp>
          <p:nvSpPr>
            <p:cNvPr id="812" name="ïsľïḍe">
              <a:extLst>
                <a:ext uri="{FF2B5EF4-FFF2-40B4-BE49-F238E27FC236}">
                  <a16:creationId xmlns:a16="http://schemas.microsoft.com/office/drawing/2014/main" id="{F6936D73-B50B-46E0-9433-3B94B076AC93}"/>
                </a:ext>
              </a:extLst>
            </p:cNvPr>
            <p:cNvSpPr/>
            <p:nvPr/>
          </p:nvSpPr>
          <p:spPr>
            <a:xfrm>
              <a:off x="6693165" y="2844613"/>
              <a:ext cx="510479" cy="888747"/>
            </a:xfrm>
            <a:custGeom>
              <a:avLst/>
              <a:gdLst>
                <a:gd name="connsiteX0" fmla="*/ 167304 w 167704"/>
                <a:gd name="connsiteY0" fmla="*/ 111504 h 291974"/>
                <a:gd name="connsiteX1" fmla="*/ 167304 w 167704"/>
                <a:gd name="connsiteY1" fmla="*/ 268380 h 291974"/>
                <a:gd name="connsiteX2" fmla="*/ 160636 w 167704"/>
                <a:gd name="connsiteY2" fmla="*/ 284478 h 291974"/>
                <a:gd name="connsiteX3" fmla="*/ 158636 w 167704"/>
                <a:gd name="connsiteY3" fmla="*/ 285621 h 291974"/>
                <a:gd name="connsiteX4" fmla="*/ 147873 w 167704"/>
                <a:gd name="connsiteY4" fmla="*/ 291812 h 291974"/>
                <a:gd name="connsiteX5" fmla="*/ 152159 w 167704"/>
                <a:gd name="connsiteY5" fmla="*/ 286668 h 291974"/>
                <a:gd name="connsiteX6" fmla="*/ 154445 w 167704"/>
                <a:gd name="connsiteY6" fmla="*/ 275810 h 291974"/>
                <a:gd name="connsiteX7" fmla="*/ 154445 w 167704"/>
                <a:gd name="connsiteY7" fmla="*/ 118933 h 291974"/>
                <a:gd name="connsiteX8" fmla="*/ 152254 w 167704"/>
                <a:gd name="connsiteY8" fmla="*/ 105693 h 291974"/>
                <a:gd name="connsiteX9" fmla="*/ 128823 w 167704"/>
                <a:gd name="connsiteY9" fmla="*/ 74451 h 291974"/>
                <a:gd name="connsiteX10" fmla="*/ 17761 w 167704"/>
                <a:gd name="connsiteY10" fmla="*/ 10443 h 291974"/>
                <a:gd name="connsiteX11" fmla="*/ 7188 w 167704"/>
                <a:gd name="connsiteY11" fmla="*/ 6919 h 291974"/>
                <a:gd name="connsiteX12" fmla="*/ -336 w 167704"/>
                <a:gd name="connsiteY12" fmla="*/ 8634 h 291974"/>
                <a:gd name="connsiteX13" fmla="*/ 12046 w 167704"/>
                <a:gd name="connsiteY13" fmla="*/ 1490 h 291974"/>
                <a:gd name="connsiteX14" fmla="*/ 12046 w 167704"/>
                <a:gd name="connsiteY14" fmla="*/ 1490 h 291974"/>
                <a:gd name="connsiteX15" fmla="*/ 30239 w 167704"/>
                <a:gd name="connsiteY15" fmla="*/ 3300 h 291974"/>
                <a:gd name="connsiteX16" fmla="*/ 141205 w 167704"/>
                <a:gd name="connsiteY16" fmla="*/ 67403 h 291974"/>
                <a:gd name="connsiteX17" fmla="*/ 167304 w 167704"/>
                <a:gd name="connsiteY17" fmla="*/ 111504 h 2919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67704" h="291974">
                  <a:moveTo>
                    <a:pt x="167304" y="111504"/>
                  </a:moveTo>
                  <a:lnTo>
                    <a:pt x="167304" y="268380"/>
                  </a:lnTo>
                  <a:cubicBezTo>
                    <a:pt x="167808" y="274505"/>
                    <a:pt x="165322" y="280506"/>
                    <a:pt x="160636" y="284478"/>
                  </a:cubicBezTo>
                  <a:lnTo>
                    <a:pt x="158636" y="285621"/>
                  </a:lnTo>
                  <a:lnTo>
                    <a:pt x="147873" y="291812"/>
                  </a:lnTo>
                  <a:cubicBezTo>
                    <a:pt x="149711" y="290488"/>
                    <a:pt x="151187" y="288716"/>
                    <a:pt x="152159" y="286668"/>
                  </a:cubicBezTo>
                  <a:cubicBezTo>
                    <a:pt x="153797" y="283287"/>
                    <a:pt x="154578" y="279563"/>
                    <a:pt x="154445" y="275810"/>
                  </a:cubicBezTo>
                  <a:lnTo>
                    <a:pt x="154445" y="118933"/>
                  </a:lnTo>
                  <a:cubicBezTo>
                    <a:pt x="154397" y="114437"/>
                    <a:pt x="153664" y="109970"/>
                    <a:pt x="152254" y="105693"/>
                  </a:cubicBezTo>
                  <a:cubicBezTo>
                    <a:pt x="148358" y="92854"/>
                    <a:pt x="140062" y="81795"/>
                    <a:pt x="128823" y="74451"/>
                  </a:cubicBezTo>
                  <a:lnTo>
                    <a:pt x="17761" y="10443"/>
                  </a:lnTo>
                  <a:cubicBezTo>
                    <a:pt x="14561" y="8453"/>
                    <a:pt x="10941" y="7243"/>
                    <a:pt x="7188" y="6919"/>
                  </a:cubicBezTo>
                  <a:cubicBezTo>
                    <a:pt x="4569" y="6776"/>
                    <a:pt x="1959" y="7367"/>
                    <a:pt x="-336" y="8634"/>
                  </a:cubicBezTo>
                  <a:lnTo>
                    <a:pt x="12046" y="1490"/>
                  </a:lnTo>
                  <a:lnTo>
                    <a:pt x="12046" y="1490"/>
                  </a:lnTo>
                  <a:cubicBezTo>
                    <a:pt x="17990" y="-1244"/>
                    <a:pt x="24943" y="-549"/>
                    <a:pt x="30239" y="3300"/>
                  </a:cubicBezTo>
                  <a:lnTo>
                    <a:pt x="141205" y="67403"/>
                  </a:lnTo>
                  <a:cubicBezTo>
                    <a:pt x="156455" y="77080"/>
                    <a:pt x="166160" y="93473"/>
                    <a:pt x="167304" y="111504"/>
                  </a:cubicBezTo>
                  <a:close/>
                </a:path>
              </a:pathLst>
            </a:custGeom>
            <a:solidFill>
              <a:srgbClr val="D9530B"/>
            </a:solidFill>
            <a:ln w="9525" cap="flat">
              <a:noFill/>
              <a:prstDash val="solid"/>
              <a:miter/>
            </a:ln>
          </p:spPr>
          <p:txBody>
            <a:bodyPr rtlCol="0" anchor="ctr"/>
            <a:lstStyle/>
            <a:p>
              <a:endParaRPr lang="zh-CN" altLang="en-US"/>
            </a:p>
          </p:txBody>
        </p:sp>
        <p:sp>
          <p:nvSpPr>
            <p:cNvPr id="813" name="i$ļïďè">
              <a:extLst>
                <a:ext uri="{FF2B5EF4-FFF2-40B4-BE49-F238E27FC236}">
                  <a16:creationId xmlns:a16="http://schemas.microsoft.com/office/drawing/2014/main" id="{C4EB154B-4ED8-49ED-9D91-578475FE1BE5}"/>
                </a:ext>
              </a:extLst>
            </p:cNvPr>
            <p:cNvSpPr/>
            <p:nvPr/>
          </p:nvSpPr>
          <p:spPr>
            <a:xfrm>
              <a:off x="6669977" y="2868426"/>
              <a:ext cx="494331" cy="347114"/>
            </a:xfrm>
            <a:custGeom>
              <a:avLst/>
              <a:gdLst>
                <a:gd name="connsiteX0" fmla="*/ 162063 w 162399"/>
                <a:gd name="connsiteY0" fmla="*/ 111110 h 114035"/>
                <a:gd name="connsiteX1" fmla="*/ 162063 w 162399"/>
                <a:gd name="connsiteY1" fmla="*/ 113873 h 114035"/>
                <a:gd name="connsiteX2" fmla="*/ 12616 w 162399"/>
                <a:gd name="connsiteY2" fmla="*/ 28148 h 114035"/>
                <a:gd name="connsiteX3" fmla="*/ -243 w 162399"/>
                <a:gd name="connsiteY3" fmla="*/ 20718 h 114035"/>
                <a:gd name="connsiteX4" fmla="*/ -243 w 162399"/>
                <a:gd name="connsiteY4" fmla="*/ 17861 h 114035"/>
                <a:gd name="connsiteX5" fmla="*/ 6805 w 162399"/>
                <a:gd name="connsiteY5" fmla="*/ 1573 h 114035"/>
                <a:gd name="connsiteX6" fmla="*/ 7282 w 162399"/>
                <a:gd name="connsiteY6" fmla="*/ 1573 h 114035"/>
                <a:gd name="connsiteX7" fmla="*/ 14806 w 162399"/>
                <a:gd name="connsiteY7" fmla="*/ -142 h 114035"/>
                <a:gd name="connsiteX8" fmla="*/ 25379 w 162399"/>
                <a:gd name="connsiteY8" fmla="*/ 3383 h 114035"/>
                <a:gd name="connsiteX9" fmla="*/ 136441 w 162399"/>
                <a:gd name="connsiteY9" fmla="*/ 67391 h 114035"/>
                <a:gd name="connsiteX10" fmla="*/ 159872 w 162399"/>
                <a:gd name="connsiteY10" fmla="*/ 98633 h 114035"/>
                <a:gd name="connsiteX11" fmla="*/ 162063 w 162399"/>
                <a:gd name="connsiteY11" fmla="*/ 111110 h 1140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2399" h="114035">
                  <a:moveTo>
                    <a:pt x="162063" y="111110"/>
                  </a:moveTo>
                  <a:lnTo>
                    <a:pt x="162063" y="113873"/>
                  </a:lnTo>
                  <a:lnTo>
                    <a:pt x="12616" y="28148"/>
                  </a:lnTo>
                  <a:lnTo>
                    <a:pt x="-243" y="20718"/>
                  </a:lnTo>
                  <a:lnTo>
                    <a:pt x="-243" y="17861"/>
                  </a:lnTo>
                  <a:cubicBezTo>
                    <a:pt x="-881" y="11574"/>
                    <a:pt x="1786" y="5411"/>
                    <a:pt x="6805" y="1573"/>
                  </a:cubicBezTo>
                  <a:lnTo>
                    <a:pt x="7282" y="1573"/>
                  </a:lnTo>
                  <a:cubicBezTo>
                    <a:pt x="9577" y="306"/>
                    <a:pt x="12187" y="-285"/>
                    <a:pt x="14806" y="-142"/>
                  </a:cubicBezTo>
                  <a:cubicBezTo>
                    <a:pt x="18559" y="182"/>
                    <a:pt x="22179" y="1392"/>
                    <a:pt x="25379" y="3383"/>
                  </a:cubicBezTo>
                  <a:lnTo>
                    <a:pt x="136441" y="67391"/>
                  </a:lnTo>
                  <a:cubicBezTo>
                    <a:pt x="147680" y="74734"/>
                    <a:pt x="155976" y="85793"/>
                    <a:pt x="159872" y="98633"/>
                  </a:cubicBezTo>
                  <a:cubicBezTo>
                    <a:pt x="161206" y="102662"/>
                    <a:pt x="161939" y="106862"/>
                    <a:pt x="162063" y="111110"/>
                  </a:cubicBezTo>
                  <a:close/>
                </a:path>
              </a:pathLst>
            </a:custGeom>
            <a:solidFill>
              <a:srgbClr val="FF7D33"/>
            </a:solidFill>
            <a:ln w="9525" cap="flat">
              <a:noFill/>
              <a:prstDash val="solid"/>
              <a:miter/>
            </a:ln>
          </p:spPr>
          <p:txBody>
            <a:bodyPr rtlCol="0" anchor="ctr"/>
            <a:lstStyle/>
            <a:p>
              <a:endParaRPr lang="zh-CN" altLang="en-US"/>
            </a:p>
          </p:txBody>
        </p:sp>
        <p:sp>
          <p:nvSpPr>
            <p:cNvPr id="814" name="ïslíḓè">
              <a:extLst>
                <a:ext uri="{FF2B5EF4-FFF2-40B4-BE49-F238E27FC236}">
                  <a16:creationId xmlns:a16="http://schemas.microsoft.com/office/drawing/2014/main" id="{97F203B2-2BA3-44AA-816F-65A9CEF2DF4F}"/>
                </a:ext>
              </a:extLst>
            </p:cNvPr>
            <p:cNvSpPr/>
            <p:nvPr/>
          </p:nvSpPr>
          <p:spPr>
            <a:xfrm>
              <a:off x="6670263" y="3390952"/>
              <a:ext cx="494090" cy="349053"/>
            </a:xfrm>
            <a:custGeom>
              <a:avLst/>
              <a:gdLst>
                <a:gd name="connsiteX0" fmla="*/ 161970 w 162320"/>
                <a:gd name="connsiteY0" fmla="*/ 93468 h 114672"/>
                <a:gd name="connsiteX1" fmla="*/ 161970 w 162320"/>
                <a:gd name="connsiteY1" fmla="*/ 96326 h 114672"/>
                <a:gd name="connsiteX2" fmla="*/ 159684 w 162320"/>
                <a:gd name="connsiteY2" fmla="*/ 107184 h 114672"/>
                <a:gd name="connsiteX3" fmla="*/ 155397 w 162320"/>
                <a:gd name="connsiteY3" fmla="*/ 112328 h 114672"/>
                <a:gd name="connsiteX4" fmla="*/ 153302 w 162320"/>
                <a:gd name="connsiteY4" fmla="*/ 113471 h 114672"/>
                <a:gd name="connsiteX5" fmla="*/ 136347 w 162320"/>
                <a:gd name="connsiteY5" fmla="*/ 111185 h 114672"/>
                <a:gd name="connsiteX6" fmla="*/ 25286 w 162320"/>
                <a:gd name="connsiteY6" fmla="*/ 47081 h 114672"/>
                <a:gd name="connsiteX7" fmla="*/ -336 w 162320"/>
                <a:gd name="connsiteY7" fmla="*/ 2600 h 114672"/>
                <a:gd name="connsiteX8" fmla="*/ -336 w 162320"/>
                <a:gd name="connsiteY8" fmla="*/ -163 h 114672"/>
                <a:gd name="connsiteX9" fmla="*/ 14713 w 162320"/>
                <a:gd name="connsiteY9" fmla="*/ 8505 h 114672"/>
                <a:gd name="connsiteX10" fmla="*/ 25762 w 162320"/>
                <a:gd name="connsiteY10" fmla="*/ 14887 h 114672"/>
                <a:gd name="connsiteX11" fmla="*/ 37002 w 162320"/>
                <a:gd name="connsiteY11" fmla="*/ 21364 h 114672"/>
                <a:gd name="connsiteX12" fmla="*/ 128823 w 162320"/>
                <a:gd name="connsiteY12" fmla="*/ 74418 h 114672"/>
                <a:gd name="connsiteX13" fmla="*/ 141491 w 162320"/>
                <a:gd name="connsiteY13" fmla="*/ 81752 h 114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2320" h="114672">
                  <a:moveTo>
                    <a:pt x="161970" y="93468"/>
                  </a:moveTo>
                  <a:lnTo>
                    <a:pt x="161970" y="96326"/>
                  </a:lnTo>
                  <a:cubicBezTo>
                    <a:pt x="162103" y="100078"/>
                    <a:pt x="161322" y="103803"/>
                    <a:pt x="159684" y="107184"/>
                  </a:cubicBezTo>
                  <a:cubicBezTo>
                    <a:pt x="158712" y="109232"/>
                    <a:pt x="157236" y="111004"/>
                    <a:pt x="155397" y="112328"/>
                  </a:cubicBezTo>
                  <a:lnTo>
                    <a:pt x="153302" y="113471"/>
                  </a:lnTo>
                  <a:cubicBezTo>
                    <a:pt x="147606" y="115433"/>
                    <a:pt x="141320" y="114585"/>
                    <a:pt x="136347" y="111185"/>
                  </a:cubicBezTo>
                  <a:lnTo>
                    <a:pt x="25286" y="47081"/>
                  </a:lnTo>
                  <a:cubicBezTo>
                    <a:pt x="10189" y="37137"/>
                    <a:pt x="692" y="20640"/>
                    <a:pt x="-336" y="2600"/>
                  </a:cubicBezTo>
                  <a:lnTo>
                    <a:pt x="-336" y="-163"/>
                  </a:lnTo>
                  <a:lnTo>
                    <a:pt x="14713" y="8505"/>
                  </a:lnTo>
                  <a:lnTo>
                    <a:pt x="25762" y="14887"/>
                  </a:lnTo>
                  <a:lnTo>
                    <a:pt x="37002" y="21364"/>
                  </a:lnTo>
                  <a:lnTo>
                    <a:pt x="128823" y="74418"/>
                  </a:lnTo>
                  <a:lnTo>
                    <a:pt x="141491" y="81752"/>
                  </a:lnTo>
                  <a:close/>
                </a:path>
              </a:pathLst>
            </a:custGeom>
            <a:solidFill>
              <a:srgbClr val="FF7D33"/>
            </a:solidFill>
            <a:ln w="9525" cap="flat">
              <a:noFill/>
              <a:prstDash val="solid"/>
              <a:miter/>
            </a:ln>
          </p:spPr>
          <p:txBody>
            <a:bodyPr rtlCol="0" anchor="ctr"/>
            <a:lstStyle/>
            <a:p>
              <a:endParaRPr lang="zh-CN" altLang="en-US"/>
            </a:p>
          </p:txBody>
        </p:sp>
        <p:sp>
          <p:nvSpPr>
            <p:cNvPr id="815" name="íŝḷïḍé">
              <a:extLst>
                <a:ext uri="{FF2B5EF4-FFF2-40B4-BE49-F238E27FC236}">
                  <a16:creationId xmlns:a16="http://schemas.microsoft.com/office/drawing/2014/main" id="{6AFEC9CC-894A-47C0-985B-FD3C9BC1FC42}"/>
                </a:ext>
              </a:extLst>
            </p:cNvPr>
            <p:cNvSpPr/>
            <p:nvPr/>
          </p:nvSpPr>
          <p:spPr>
            <a:xfrm>
              <a:off x="6669971" y="2930245"/>
              <a:ext cx="494337" cy="745707"/>
            </a:xfrm>
            <a:custGeom>
              <a:avLst/>
              <a:gdLst>
                <a:gd name="connsiteX0" fmla="*/ 162401 w 162401"/>
                <a:gd name="connsiteY0" fmla="*/ 93726 h 244982"/>
                <a:gd name="connsiteX1" fmla="*/ 162401 w 162401"/>
                <a:gd name="connsiteY1" fmla="*/ 244983 h 244982"/>
                <a:gd name="connsiteX2" fmla="*/ 141922 w 162401"/>
                <a:gd name="connsiteY2" fmla="*/ 233172 h 244982"/>
                <a:gd name="connsiteX3" fmla="*/ 129254 w 162401"/>
                <a:gd name="connsiteY3" fmla="*/ 225838 h 244982"/>
                <a:gd name="connsiteX4" fmla="*/ 37433 w 162401"/>
                <a:gd name="connsiteY4" fmla="*/ 172879 h 244982"/>
                <a:gd name="connsiteX5" fmla="*/ 26194 w 162401"/>
                <a:gd name="connsiteY5" fmla="*/ 166306 h 244982"/>
                <a:gd name="connsiteX6" fmla="*/ 15050 w 162401"/>
                <a:gd name="connsiteY6" fmla="*/ 159925 h 244982"/>
                <a:gd name="connsiteX7" fmla="*/ 0 w 162401"/>
                <a:gd name="connsiteY7" fmla="*/ 151257 h 244982"/>
                <a:gd name="connsiteX8" fmla="*/ 0 w 162401"/>
                <a:gd name="connsiteY8" fmla="*/ 0 h 244982"/>
                <a:gd name="connsiteX9" fmla="*/ 12859 w 162401"/>
                <a:gd name="connsiteY9" fmla="*/ 7429 h 244982"/>
                <a:gd name="connsiteX10" fmla="*/ 162401 w 162401"/>
                <a:gd name="connsiteY10" fmla="*/ 93726 h 244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2401" h="244982">
                  <a:moveTo>
                    <a:pt x="162401" y="93726"/>
                  </a:moveTo>
                  <a:lnTo>
                    <a:pt x="162401" y="244983"/>
                  </a:lnTo>
                  <a:lnTo>
                    <a:pt x="141922" y="233172"/>
                  </a:lnTo>
                  <a:lnTo>
                    <a:pt x="129254" y="225838"/>
                  </a:lnTo>
                  <a:lnTo>
                    <a:pt x="37433" y="172879"/>
                  </a:lnTo>
                  <a:lnTo>
                    <a:pt x="26194" y="166306"/>
                  </a:lnTo>
                  <a:lnTo>
                    <a:pt x="15050" y="159925"/>
                  </a:lnTo>
                  <a:lnTo>
                    <a:pt x="0" y="151257"/>
                  </a:lnTo>
                  <a:lnTo>
                    <a:pt x="0" y="0"/>
                  </a:lnTo>
                  <a:lnTo>
                    <a:pt x="12859" y="7429"/>
                  </a:lnTo>
                  <a:lnTo>
                    <a:pt x="162401" y="93726"/>
                  </a:lnTo>
                  <a:close/>
                </a:path>
              </a:pathLst>
            </a:custGeom>
            <a:solidFill>
              <a:srgbClr val="EDF4FF"/>
            </a:solidFill>
            <a:ln w="9525" cap="flat">
              <a:noFill/>
              <a:prstDash val="solid"/>
              <a:miter/>
            </a:ln>
          </p:spPr>
          <p:txBody>
            <a:bodyPr rtlCol="0" anchor="ctr"/>
            <a:lstStyle/>
            <a:p>
              <a:endParaRPr lang="zh-CN" altLang="en-US"/>
            </a:p>
          </p:txBody>
        </p:sp>
        <p:sp>
          <p:nvSpPr>
            <p:cNvPr id="816" name="îṡḻîḓè">
              <a:extLst>
                <a:ext uri="{FF2B5EF4-FFF2-40B4-BE49-F238E27FC236}">
                  <a16:creationId xmlns:a16="http://schemas.microsoft.com/office/drawing/2014/main" id="{D5F2D606-37C9-46BD-9EF7-160DAF41903B}"/>
                </a:ext>
              </a:extLst>
            </p:cNvPr>
            <p:cNvSpPr/>
            <p:nvPr/>
          </p:nvSpPr>
          <p:spPr>
            <a:xfrm>
              <a:off x="6809955" y="3127117"/>
              <a:ext cx="227363" cy="241797"/>
            </a:xfrm>
            <a:custGeom>
              <a:avLst/>
              <a:gdLst>
                <a:gd name="connsiteX0" fmla="*/ 74358 w 74694"/>
                <a:gd name="connsiteY0" fmla="*/ 69749 h 79436"/>
                <a:gd name="connsiteX1" fmla="*/ 73215 w 74694"/>
                <a:gd name="connsiteY1" fmla="*/ 79274 h 79436"/>
                <a:gd name="connsiteX2" fmla="*/ 65595 w 74694"/>
                <a:gd name="connsiteY2" fmla="*/ 74988 h 79436"/>
                <a:gd name="connsiteX3" fmla="*/ 67119 w 74694"/>
                <a:gd name="connsiteY3" fmla="*/ 65463 h 79436"/>
                <a:gd name="connsiteX4" fmla="*/ 62261 w 74694"/>
                <a:gd name="connsiteY4" fmla="*/ 43841 h 79436"/>
                <a:gd name="connsiteX5" fmla="*/ 11779 w 74694"/>
                <a:gd name="connsiteY5" fmla="*/ 14599 h 79436"/>
                <a:gd name="connsiteX6" fmla="*/ 6921 w 74694"/>
                <a:gd name="connsiteY6" fmla="*/ 30697 h 79436"/>
                <a:gd name="connsiteX7" fmla="*/ 8350 w 74694"/>
                <a:gd name="connsiteY7" fmla="*/ 42222 h 79436"/>
                <a:gd name="connsiteX8" fmla="*/ 825 w 74694"/>
                <a:gd name="connsiteY8" fmla="*/ 37840 h 79436"/>
                <a:gd name="connsiteX9" fmla="*/ -318 w 74694"/>
                <a:gd name="connsiteY9" fmla="*/ 26506 h 79436"/>
                <a:gd name="connsiteX10" fmla="*/ 3397 w 74694"/>
                <a:gd name="connsiteY10" fmla="*/ 9837 h 79436"/>
                <a:gd name="connsiteX11" fmla="*/ 37020 w 74694"/>
                <a:gd name="connsiteY11" fmla="*/ 4884 h 79436"/>
                <a:gd name="connsiteX12" fmla="*/ 70548 w 74694"/>
                <a:gd name="connsiteY12" fmla="*/ 48604 h 79436"/>
                <a:gd name="connsiteX13" fmla="*/ 74358 w 74694"/>
                <a:gd name="connsiteY13" fmla="*/ 69749 h 794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4694" h="79436">
                  <a:moveTo>
                    <a:pt x="74358" y="69749"/>
                  </a:moveTo>
                  <a:cubicBezTo>
                    <a:pt x="74320" y="72959"/>
                    <a:pt x="73929" y="76150"/>
                    <a:pt x="73215" y="79274"/>
                  </a:cubicBezTo>
                  <a:lnTo>
                    <a:pt x="65595" y="74988"/>
                  </a:lnTo>
                  <a:cubicBezTo>
                    <a:pt x="66605" y="71911"/>
                    <a:pt x="67119" y="68701"/>
                    <a:pt x="67119" y="65463"/>
                  </a:cubicBezTo>
                  <a:cubicBezTo>
                    <a:pt x="66957" y="58005"/>
                    <a:pt x="65309" y="50652"/>
                    <a:pt x="62261" y="43841"/>
                  </a:cubicBezTo>
                  <a:lnTo>
                    <a:pt x="11779" y="14599"/>
                  </a:lnTo>
                  <a:cubicBezTo>
                    <a:pt x="8350" y="19238"/>
                    <a:pt x="6626" y="24934"/>
                    <a:pt x="6921" y="30697"/>
                  </a:cubicBezTo>
                  <a:cubicBezTo>
                    <a:pt x="6940" y="34583"/>
                    <a:pt x="7416" y="38450"/>
                    <a:pt x="8350" y="42222"/>
                  </a:cubicBezTo>
                  <a:lnTo>
                    <a:pt x="825" y="37840"/>
                  </a:lnTo>
                  <a:cubicBezTo>
                    <a:pt x="82" y="34107"/>
                    <a:pt x="-299" y="30316"/>
                    <a:pt x="-318" y="26506"/>
                  </a:cubicBezTo>
                  <a:cubicBezTo>
                    <a:pt x="-509" y="20724"/>
                    <a:pt x="777" y="14990"/>
                    <a:pt x="3397" y="9837"/>
                  </a:cubicBezTo>
                  <a:cubicBezTo>
                    <a:pt x="9493" y="-1022"/>
                    <a:pt x="22447" y="-3593"/>
                    <a:pt x="37020" y="4884"/>
                  </a:cubicBezTo>
                  <a:cubicBezTo>
                    <a:pt x="52879" y="15180"/>
                    <a:pt x="64719" y="30611"/>
                    <a:pt x="70548" y="48604"/>
                  </a:cubicBezTo>
                  <a:cubicBezTo>
                    <a:pt x="73006" y="55385"/>
                    <a:pt x="74292" y="62539"/>
                    <a:pt x="74358" y="69749"/>
                  </a:cubicBezTo>
                  <a:close/>
                </a:path>
              </a:pathLst>
            </a:custGeom>
            <a:solidFill>
              <a:srgbClr val="D9530B"/>
            </a:solidFill>
            <a:ln w="9525" cap="flat">
              <a:noFill/>
              <a:prstDash val="solid"/>
              <a:miter/>
            </a:ln>
          </p:spPr>
          <p:txBody>
            <a:bodyPr rtlCol="0" anchor="ctr"/>
            <a:lstStyle/>
            <a:p>
              <a:endParaRPr lang="zh-CN" altLang="en-US"/>
            </a:p>
          </p:txBody>
        </p:sp>
        <p:sp>
          <p:nvSpPr>
            <p:cNvPr id="817" name="íSľidê">
              <a:extLst>
                <a:ext uri="{FF2B5EF4-FFF2-40B4-BE49-F238E27FC236}">
                  <a16:creationId xmlns:a16="http://schemas.microsoft.com/office/drawing/2014/main" id="{90748980-C0CC-4962-8706-CA228CC9CD60}"/>
                </a:ext>
              </a:extLst>
            </p:cNvPr>
            <p:cNvSpPr/>
            <p:nvPr/>
          </p:nvSpPr>
          <p:spPr>
            <a:xfrm>
              <a:off x="6783917" y="3350940"/>
              <a:ext cx="279493" cy="267028"/>
            </a:xfrm>
            <a:custGeom>
              <a:avLst/>
              <a:gdLst>
                <a:gd name="connsiteX0" fmla="*/ 91485 w 91820"/>
                <a:gd name="connsiteY0" fmla="*/ 87563 h 87725"/>
                <a:gd name="connsiteX1" fmla="*/ -336 w 91820"/>
                <a:gd name="connsiteY1" fmla="*/ 34508 h 87725"/>
                <a:gd name="connsiteX2" fmla="*/ 19952 w 91820"/>
                <a:gd name="connsiteY2" fmla="*/ 409 h 87725"/>
                <a:gd name="connsiteX3" fmla="*/ 25762 w 91820"/>
                <a:gd name="connsiteY3" fmla="*/ -163 h 87725"/>
                <a:gd name="connsiteX4" fmla="*/ 33096 w 91820"/>
                <a:gd name="connsiteY4" fmla="*/ 790 h 87725"/>
                <a:gd name="connsiteX5" fmla="*/ 35192 w 91820"/>
                <a:gd name="connsiteY5" fmla="*/ 1266 h 87725"/>
                <a:gd name="connsiteX6" fmla="*/ 45574 w 91820"/>
                <a:gd name="connsiteY6" fmla="*/ 9458 h 87725"/>
                <a:gd name="connsiteX7" fmla="*/ 55956 w 91820"/>
                <a:gd name="connsiteY7" fmla="*/ 13363 h 87725"/>
                <a:gd name="connsiteX8" fmla="*/ 58052 w 91820"/>
                <a:gd name="connsiteY8" fmla="*/ 15077 h 87725"/>
                <a:gd name="connsiteX9" fmla="*/ 65386 w 91820"/>
                <a:gd name="connsiteY9" fmla="*/ 22697 h 87725"/>
                <a:gd name="connsiteX10" fmla="*/ 71101 w 91820"/>
                <a:gd name="connsiteY10" fmla="*/ 29936 h 87725"/>
                <a:gd name="connsiteX11" fmla="*/ 91485 w 91820"/>
                <a:gd name="connsiteY11" fmla="*/ 87563 h 87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1820" h="87725">
                  <a:moveTo>
                    <a:pt x="91485" y="87563"/>
                  </a:moveTo>
                  <a:lnTo>
                    <a:pt x="-336" y="34508"/>
                  </a:lnTo>
                  <a:cubicBezTo>
                    <a:pt x="-336" y="15458"/>
                    <a:pt x="7760" y="3266"/>
                    <a:pt x="19952" y="409"/>
                  </a:cubicBezTo>
                  <a:cubicBezTo>
                    <a:pt x="21866" y="28"/>
                    <a:pt x="23809" y="-163"/>
                    <a:pt x="25762" y="-163"/>
                  </a:cubicBezTo>
                  <a:cubicBezTo>
                    <a:pt x="28239" y="-163"/>
                    <a:pt x="30705" y="152"/>
                    <a:pt x="33096" y="790"/>
                  </a:cubicBezTo>
                  <a:lnTo>
                    <a:pt x="35192" y="1266"/>
                  </a:lnTo>
                  <a:cubicBezTo>
                    <a:pt x="38240" y="4476"/>
                    <a:pt x="41736" y="7238"/>
                    <a:pt x="45574" y="9458"/>
                  </a:cubicBezTo>
                  <a:cubicBezTo>
                    <a:pt x="48755" y="11401"/>
                    <a:pt x="52280" y="12725"/>
                    <a:pt x="55956" y="13363"/>
                  </a:cubicBezTo>
                  <a:lnTo>
                    <a:pt x="58052" y="15077"/>
                  </a:lnTo>
                  <a:cubicBezTo>
                    <a:pt x="60528" y="17459"/>
                    <a:pt x="63005" y="19935"/>
                    <a:pt x="65386" y="22697"/>
                  </a:cubicBezTo>
                  <a:cubicBezTo>
                    <a:pt x="67415" y="25012"/>
                    <a:pt x="69329" y="27422"/>
                    <a:pt x="71101" y="29936"/>
                  </a:cubicBezTo>
                  <a:cubicBezTo>
                    <a:pt x="83550" y="46653"/>
                    <a:pt x="90656" y="66741"/>
                    <a:pt x="91485" y="87563"/>
                  </a:cubicBezTo>
                  <a:close/>
                </a:path>
              </a:pathLst>
            </a:custGeom>
            <a:solidFill>
              <a:srgbClr val="316DE6"/>
            </a:solidFill>
            <a:ln w="9525" cap="flat">
              <a:noFill/>
              <a:prstDash val="solid"/>
              <a:miter/>
            </a:ln>
          </p:spPr>
          <p:txBody>
            <a:bodyPr rtlCol="0" anchor="ctr"/>
            <a:lstStyle/>
            <a:p>
              <a:endParaRPr lang="zh-CN" altLang="en-US"/>
            </a:p>
          </p:txBody>
        </p:sp>
        <p:sp>
          <p:nvSpPr>
            <p:cNvPr id="818" name="iŝ1ïḓè">
              <a:extLst>
                <a:ext uri="{FF2B5EF4-FFF2-40B4-BE49-F238E27FC236}">
                  <a16:creationId xmlns:a16="http://schemas.microsoft.com/office/drawing/2014/main" id="{27EE3898-6F5E-44B1-94B8-FBF0CE8F53D9}"/>
                </a:ext>
              </a:extLst>
            </p:cNvPr>
            <p:cNvSpPr/>
            <p:nvPr/>
          </p:nvSpPr>
          <p:spPr>
            <a:xfrm>
              <a:off x="6831944" y="3171762"/>
              <a:ext cx="183336" cy="220411"/>
            </a:xfrm>
            <a:custGeom>
              <a:avLst/>
              <a:gdLst>
                <a:gd name="connsiteX0" fmla="*/ 59894 w 60230"/>
                <a:gd name="connsiteY0" fmla="*/ 50987 h 72410"/>
                <a:gd name="connsiteX1" fmla="*/ 58370 w 60230"/>
                <a:gd name="connsiteY1" fmla="*/ 60512 h 72410"/>
                <a:gd name="connsiteX2" fmla="*/ 40177 w 60230"/>
                <a:gd name="connsiteY2" fmla="*/ 71942 h 72410"/>
                <a:gd name="connsiteX3" fmla="*/ 29795 w 60230"/>
                <a:gd name="connsiteY3" fmla="*/ 68036 h 72410"/>
                <a:gd name="connsiteX4" fmla="*/ 19413 w 60230"/>
                <a:gd name="connsiteY4" fmla="*/ 59845 h 72410"/>
                <a:gd name="connsiteX5" fmla="*/ 1125 w 60230"/>
                <a:gd name="connsiteY5" fmla="*/ 27460 h 72410"/>
                <a:gd name="connsiteX6" fmla="*/ -304 w 60230"/>
                <a:gd name="connsiteY6" fmla="*/ 15935 h 72410"/>
                <a:gd name="connsiteX7" fmla="*/ 4554 w 60230"/>
                <a:gd name="connsiteY7" fmla="*/ -163 h 72410"/>
                <a:gd name="connsiteX8" fmla="*/ 55037 w 60230"/>
                <a:gd name="connsiteY8" fmla="*/ 29079 h 72410"/>
                <a:gd name="connsiteX9" fmla="*/ 59894 w 60230"/>
                <a:gd name="connsiteY9" fmla="*/ 50987 h 72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0230" h="72410">
                  <a:moveTo>
                    <a:pt x="59894" y="50987"/>
                  </a:moveTo>
                  <a:cubicBezTo>
                    <a:pt x="59894" y="54225"/>
                    <a:pt x="59380" y="57435"/>
                    <a:pt x="58370" y="60512"/>
                  </a:cubicBezTo>
                  <a:cubicBezTo>
                    <a:pt x="56303" y="68551"/>
                    <a:pt x="48312" y="73570"/>
                    <a:pt x="40177" y="71942"/>
                  </a:cubicBezTo>
                  <a:cubicBezTo>
                    <a:pt x="36501" y="71303"/>
                    <a:pt x="32977" y="69979"/>
                    <a:pt x="29795" y="68036"/>
                  </a:cubicBezTo>
                  <a:cubicBezTo>
                    <a:pt x="25957" y="65817"/>
                    <a:pt x="22461" y="63055"/>
                    <a:pt x="19413" y="59845"/>
                  </a:cubicBezTo>
                  <a:cubicBezTo>
                    <a:pt x="10564" y="50853"/>
                    <a:pt x="4259" y="39680"/>
                    <a:pt x="1125" y="27460"/>
                  </a:cubicBezTo>
                  <a:cubicBezTo>
                    <a:pt x="191" y="23688"/>
                    <a:pt x="-285" y="19821"/>
                    <a:pt x="-304" y="15935"/>
                  </a:cubicBezTo>
                  <a:cubicBezTo>
                    <a:pt x="-599" y="10172"/>
                    <a:pt x="1125" y="4476"/>
                    <a:pt x="4554" y="-163"/>
                  </a:cubicBezTo>
                  <a:lnTo>
                    <a:pt x="55037" y="29079"/>
                  </a:lnTo>
                  <a:cubicBezTo>
                    <a:pt x="58123" y="35975"/>
                    <a:pt x="59770" y="43433"/>
                    <a:pt x="59894" y="50987"/>
                  </a:cubicBezTo>
                  <a:close/>
                </a:path>
              </a:pathLst>
            </a:custGeom>
            <a:solidFill>
              <a:srgbClr val="FFB4A1"/>
            </a:solidFill>
            <a:ln w="9525" cap="flat">
              <a:noFill/>
              <a:prstDash val="solid"/>
              <a:miter/>
            </a:ln>
          </p:spPr>
          <p:txBody>
            <a:bodyPr rtlCol="0" anchor="ctr"/>
            <a:lstStyle/>
            <a:p>
              <a:endParaRPr lang="zh-CN" altLang="en-US"/>
            </a:p>
          </p:txBody>
        </p:sp>
        <p:sp>
          <p:nvSpPr>
            <p:cNvPr id="819" name="išļiḍê">
              <a:extLst>
                <a:ext uri="{FF2B5EF4-FFF2-40B4-BE49-F238E27FC236}">
                  <a16:creationId xmlns:a16="http://schemas.microsoft.com/office/drawing/2014/main" id="{AF998AC8-7F03-4245-B791-5F03F65A5F5A}"/>
                </a:ext>
              </a:extLst>
            </p:cNvPr>
            <p:cNvSpPr/>
            <p:nvPr/>
          </p:nvSpPr>
          <p:spPr>
            <a:xfrm>
              <a:off x="7048915" y="3088934"/>
              <a:ext cx="80116" cy="105728"/>
            </a:xfrm>
            <a:custGeom>
              <a:avLst/>
              <a:gdLst>
                <a:gd name="connsiteX0" fmla="*/ 25953 w 26320"/>
                <a:gd name="connsiteY0" fmla="*/ 23523 h 34734"/>
                <a:gd name="connsiteX1" fmla="*/ 22429 w 26320"/>
                <a:gd name="connsiteY1" fmla="*/ 31715 h 34734"/>
                <a:gd name="connsiteX2" fmla="*/ 17475 w 26320"/>
                <a:gd name="connsiteY2" fmla="*/ 34572 h 34734"/>
                <a:gd name="connsiteX3" fmla="*/ 19380 w 26320"/>
                <a:gd name="connsiteY3" fmla="*/ 32572 h 34734"/>
                <a:gd name="connsiteX4" fmla="*/ 21000 w 26320"/>
                <a:gd name="connsiteY4" fmla="*/ 26381 h 34734"/>
                <a:gd name="connsiteX5" fmla="*/ 8331 w 26320"/>
                <a:gd name="connsiteY5" fmla="*/ 4378 h 34734"/>
                <a:gd name="connsiteX6" fmla="*/ 2140 w 26320"/>
                <a:gd name="connsiteY6" fmla="*/ 2664 h 34734"/>
                <a:gd name="connsiteX7" fmla="*/ -336 w 26320"/>
                <a:gd name="connsiteY7" fmla="*/ 3330 h 34734"/>
                <a:gd name="connsiteX8" fmla="*/ 3855 w 26320"/>
                <a:gd name="connsiteY8" fmla="*/ 949 h 34734"/>
                <a:gd name="connsiteX9" fmla="*/ 3855 w 26320"/>
                <a:gd name="connsiteY9" fmla="*/ 949 h 34734"/>
                <a:gd name="connsiteX10" fmla="*/ 4712 w 26320"/>
                <a:gd name="connsiteY10" fmla="*/ 378 h 34734"/>
                <a:gd name="connsiteX11" fmla="*/ 13284 w 26320"/>
                <a:gd name="connsiteY11" fmla="*/ 1521 h 34734"/>
                <a:gd name="connsiteX12" fmla="*/ 25953 w 26320"/>
                <a:gd name="connsiteY12" fmla="*/ 23523 h 34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320" h="34734">
                  <a:moveTo>
                    <a:pt x="25953" y="23523"/>
                  </a:moveTo>
                  <a:cubicBezTo>
                    <a:pt x="26210" y="26667"/>
                    <a:pt x="24886" y="29734"/>
                    <a:pt x="22429" y="31715"/>
                  </a:cubicBezTo>
                  <a:lnTo>
                    <a:pt x="17475" y="34572"/>
                  </a:lnTo>
                  <a:cubicBezTo>
                    <a:pt x="18266" y="34077"/>
                    <a:pt x="18923" y="33391"/>
                    <a:pt x="19380" y="32572"/>
                  </a:cubicBezTo>
                  <a:cubicBezTo>
                    <a:pt x="20533" y="30715"/>
                    <a:pt x="21095" y="28562"/>
                    <a:pt x="21000" y="26381"/>
                  </a:cubicBezTo>
                  <a:cubicBezTo>
                    <a:pt x="20447" y="17475"/>
                    <a:pt x="15761" y="9331"/>
                    <a:pt x="8331" y="4378"/>
                  </a:cubicBezTo>
                  <a:cubicBezTo>
                    <a:pt x="6464" y="3254"/>
                    <a:pt x="4322" y="2664"/>
                    <a:pt x="2140" y="2664"/>
                  </a:cubicBezTo>
                  <a:cubicBezTo>
                    <a:pt x="1283" y="2740"/>
                    <a:pt x="445" y="2968"/>
                    <a:pt x="-336" y="3330"/>
                  </a:cubicBezTo>
                  <a:lnTo>
                    <a:pt x="3855" y="949"/>
                  </a:lnTo>
                  <a:lnTo>
                    <a:pt x="3855" y="949"/>
                  </a:lnTo>
                  <a:lnTo>
                    <a:pt x="4712" y="378"/>
                  </a:lnTo>
                  <a:cubicBezTo>
                    <a:pt x="7588" y="-632"/>
                    <a:pt x="10779" y="-213"/>
                    <a:pt x="13284" y="1521"/>
                  </a:cubicBezTo>
                  <a:cubicBezTo>
                    <a:pt x="20790" y="6397"/>
                    <a:pt x="25505" y="14579"/>
                    <a:pt x="25953" y="23523"/>
                  </a:cubicBezTo>
                  <a:close/>
                </a:path>
              </a:pathLst>
            </a:custGeom>
            <a:solidFill>
              <a:srgbClr val="BF4200"/>
            </a:solidFill>
            <a:ln w="9525" cap="flat">
              <a:noFill/>
              <a:prstDash val="solid"/>
              <a:miter/>
            </a:ln>
          </p:spPr>
          <p:txBody>
            <a:bodyPr rtlCol="0" anchor="ctr"/>
            <a:lstStyle/>
            <a:p>
              <a:endParaRPr lang="zh-CN" altLang="en-US"/>
            </a:p>
          </p:txBody>
        </p:sp>
        <p:sp>
          <p:nvSpPr>
            <p:cNvPr id="820" name="iṥḷîďê">
              <a:extLst>
                <a:ext uri="{FF2B5EF4-FFF2-40B4-BE49-F238E27FC236}">
                  <a16:creationId xmlns:a16="http://schemas.microsoft.com/office/drawing/2014/main" id="{0FFA7302-59BD-4A1B-99D0-7449B4960359}"/>
                </a:ext>
              </a:extLst>
            </p:cNvPr>
            <p:cNvSpPr/>
            <p:nvPr/>
          </p:nvSpPr>
          <p:spPr>
            <a:xfrm>
              <a:off x="7035218" y="3097539"/>
              <a:ext cx="78670" cy="100237"/>
            </a:xfrm>
            <a:custGeom>
              <a:avLst/>
              <a:gdLst>
                <a:gd name="connsiteX0" fmla="*/ 25499 w 25845"/>
                <a:gd name="connsiteY0" fmla="*/ 23555 h 32930"/>
                <a:gd name="connsiteX1" fmla="*/ 23880 w 25845"/>
                <a:gd name="connsiteY1" fmla="*/ 29746 h 32930"/>
                <a:gd name="connsiteX2" fmla="*/ 21975 w 25845"/>
                <a:gd name="connsiteY2" fmla="*/ 31746 h 32930"/>
                <a:gd name="connsiteX3" fmla="*/ 12450 w 25845"/>
                <a:gd name="connsiteY3" fmla="*/ 30889 h 32930"/>
                <a:gd name="connsiteX4" fmla="*/ -313 w 25845"/>
                <a:gd name="connsiteY4" fmla="*/ 8886 h 32930"/>
                <a:gd name="connsiteX5" fmla="*/ 3020 w 25845"/>
                <a:gd name="connsiteY5" fmla="*/ 980 h 32930"/>
                <a:gd name="connsiteX6" fmla="*/ 3020 w 25845"/>
                <a:gd name="connsiteY6" fmla="*/ 980 h 32930"/>
                <a:gd name="connsiteX7" fmla="*/ 3782 w 25845"/>
                <a:gd name="connsiteY7" fmla="*/ 504 h 32930"/>
                <a:gd name="connsiteX8" fmla="*/ 6259 w 25845"/>
                <a:gd name="connsiteY8" fmla="*/ -163 h 32930"/>
                <a:gd name="connsiteX9" fmla="*/ 12450 w 25845"/>
                <a:gd name="connsiteY9" fmla="*/ 1552 h 32930"/>
                <a:gd name="connsiteX10" fmla="*/ 25499 w 25845"/>
                <a:gd name="connsiteY10" fmla="*/ 23555 h 329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5845" h="32930">
                  <a:moveTo>
                    <a:pt x="25499" y="23555"/>
                  </a:moveTo>
                  <a:cubicBezTo>
                    <a:pt x="25595" y="25736"/>
                    <a:pt x="25033" y="27888"/>
                    <a:pt x="23880" y="29746"/>
                  </a:cubicBezTo>
                  <a:cubicBezTo>
                    <a:pt x="23423" y="30565"/>
                    <a:pt x="22766" y="31251"/>
                    <a:pt x="21975" y="31746"/>
                  </a:cubicBezTo>
                  <a:cubicBezTo>
                    <a:pt x="18908" y="33375"/>
                    <a:pt x="15174" y="33032"/>
                    <a:pt x="12450" y="30889"/>
                  </a:cubicBezTo>
                  <a:cubicBezTo>
                    <a:pt x="4916" y="26022"/>
                    <a:pt x="172" y="17840"/>
                    <a:pt x="-313" y="8886"/>
                  </a:cubicBezTo>
                  <a:cubicBezTo>
                    <a:pt x="-523" y="5867"/>
                    <a:pt x="715" y="2933"/>
                    <a:pt x="3020" y="980"/>
                  </a:cubicBezTo>
                  <a:lnTo>
                    <a:pt x="3020" y="980"/>
                  </a:lnTo>
                  <a:lnTo>
                    <a:pt x="3782" y="504"/>
                  </a:lnTo>
                  <a:cubicBezTo>
                    <a:pt x="4563" y="142"/>
                    <a:pt x="5402" y="-86"/>
                    <a:pt x="6259" y="-163"/>
                  </a:cubicBezTo>
                  <a:cubicBezTo>
                    <a:pt x="8440" y="-163"/>
                    <a:pt x="10583" y="428"/>
                    <a:pt x="12450" y="1552"/>
                  </a:cubicBezTo>
                  <a:cubicBezTo>
                    <a:pt x="20023" y="6419"/>
                    <a:pt x="24861" y="14573"/>
                    <a:pt x="25499" y="23555"/>
                  </a:cubicBezTo>
                  <a:close/>
                </a:path>
              </a:pathLst>
            </a:custGeom>
            <a:solidFill>
              <a:srgbClr val="D9530B"/>
            </a:solidFill>
            <a:ln w="9525" cap="flat">
              <a:noFill/>
              <a:prstDash val="solid"/>
              <a:miter/>
            </a:ln>
          </p:spPr>
          <p:txBody>
            <a:bodyPr rtlCol="0" anchor="ctr"/>
            <a:lstStyle/>
            <a:p>
              <a:endParaRPr lang="zh-CN" altLang="en-US"/>
            </a:p>
          </p:txBody>
        </p:sp>
        <p:sp>
          <p:nvSpPr>
            <p:cNvPr id="821" name="í$ḷîde">
              <a:extLst>
                <a:ext uri="{FF2B5EF4-FFF2-40B4-BE49-F238E27FC236}">
                  <a16:creationId xmlns:a16="http://schemas.microsoft.com/office/drawing/2014/main" id="{265F52D0-5DDF-4A08-8A31-F429559AA622}"/>
                </a:ext>
              </a:extLst>
            </p:cNvPr>
            <p:cNvSpPr/>
            <p:nvPr/>
          </p:nvSpPr>
          <p:spPr>
            <a:xfrm>
              <a:off x="5661292" y="2264030"/>
              <a:ext cx="830368" cy="1632674"/>
            </a:xfrm>
            <a:custGeom>
              <a:avLst/>
              <a:gdLst>
                <a:gd name="connsiteX0" fmla="*/ -336 w 272795"/>
                <a:gd name="connsiteY0" fmla="*/ 357674 h 536371"/>
                <a:gd name="connsiteX1" fmla="*/ -336 w 272795"/>
                <a:gd name="connsiteY1" fmla="*/ 20966 h 536371"/>
                <a:gd name="connsiteX2" fmla="*/ 29096 w 272795"/>
                <a:gd name="connsiteY2" fmla="*/ 3916 h 536371"/>
                <a:gd name="connsiteX3" fmla="*/ 243027 w 272795"/>
                <a:gd name="connsiteY3" fmla="*/ 127455 h 536371"/>
                <a:gd name="connsiteX4" fmla="*/ 272460 w 272795"/>
                <a:gd name="connsiteY4" fmla="*/ 178509 h 536371"/>
                <a:gd name="connsiteX5" fmla="*/ 272460 w 272795"/>
                <a:gd name="connsiteY5" fmla="*/ 515123 h 536371"/>
                <a:gd name="connsiteX6" fmla="*/ 243027 w 272795"/>
                <a:gd name="connsiteY6" fmla="*/ 532172 h 536371"/>
                <a:gd name="connsiteX7" fmla="*/ 29191 w 272795"/>
                <a:gd name="connsiteY7" fmla="*/ 408347 h 536371"/>
                <a:gd name="connsiteX8" fmla="*/ -336 w 272795"/>
                <a:gd name="connsiteY8" fmla="*/ 357674 h 536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2795" h="536371">
                  <a:moveTo>
                    <a:pt x="-336" y="357674"/>
                  </a:moveTo>
                  <a:lnTo>
                    <a:pt x="-336" y="20966"/>
                  </a:lnTo>
                  <a:cubicBezTo>
                    <a:pt x="-336" y="1916"/>
                    <a:pt x="12808" y="-5514"/>
                    <a:pt x="29096" y="3916"/>
                  </a:cubicBezTo>
                  <a:lnTo>
                    <a:pt x="243027" y="127455"/>
                  </a:lnTo>
                  <a:cubicBezTo>
                    <a:pt x="260411" y="138809"/>
                    <a:pt x="271345" y="157773"/>
                    <a:pt x="272460" y="178509"/>
                  </a:cubicBezTo>
                  <a:lnTo>
                    <a:pt x="272460" y="515123"/>
                  </a:lnTo>
                  <a:cubicBezTo>
                    <a:pt x="272460" y="534173"/>
                    <a:pt x="259315" y="541507"/>
                    <a:pt x="243027" y="532172"/>
                  </a:cubicBezTo>
                  <a:lnTo>
                    <a:pt x="29191" y="408347"/>
                  </a:lnTo>
                  <a:cubicBezTo>
                    <a:pt x="11875" y="397089"/>
                    <a:pt x="921" y="378286"/>
                    <a:pt x="-336" y="357674"/>
                  </a:cubicBezTo>
                  <a:close/>
                </a:path>
              </a:pathLst>
            </a:custGeom>
            <a:solidFill>
              <a:srgbClr val="D1D9E8"/>
            </a:solidFill>
            <a:ln w="9525" cap="flat">
              <a:noFill/>
              <a:prstDash val="solid"/>
              <a:miter/>
            </a:ln>
          </p:spPr>
          <p:txBody>
            <a:bodyPr rtlCol="0" anchor="ctr"/>
            <a:lstStyle/>
            <a:p>
              <a:endParaRPr lang="zh-CN" altLang="en-US"/>
            </a:p>
          </p:txBody>
        </p:sp>
        <p:sp>
          <p:nvSpPr>
            <p:cNvPr id="822" name="iṩļíḍê">
              <a:extLst>
                <a:ext uri="{FF2B5EF4-FFF2-40B4-BE49-F238E27FC236}">
                  <a16:creationId xmlns:a16="http://schemas.microsoft.com/office/drawing/2014/main" id="{8C056275-4AD6-4C10-AAC2-85CA85873F13}"/>
                </a:ext>
              </a:extLst>
            </p:cNvPr>
            <p:cNvSpPr/>
            <p:nvPr/>
          </p:nvSpPr>
          <p:spPr>
            <a:xfrm>
              <a:off x="5643026" y="2274595"/>
              <a:ext cx="830368" cy="1633834"/>
            </a:xfrm>
            <a:custGeom>
              <a:avLst/>
              <a:gdLst>
                <a:gd name="connsiteX0" fmla="*/ -336 w 272795"/>
                <a:gd name="connsiteY0" fmla="*/ 357633 h 536752"/>
                <a:gd name="connsiteX1" fmla="*/ -336 w 272795"/>
                <a:gd name="connsiteY1" fmla="*/ 20924 h 536752"/>
                <a:gd name="connsiteX2" fmla="*/ 29191 w 272795"/>
                <a:gd name="connsiteY2" fmla="*/ 3874 h 536752"/>
                <a:gd name="connsiteX3" fmla="*/ 242932 w 272795"/>
                <a:gd name="connsiteY3" fmla="*/ 127699 h 536752"/>
                <a:gd name="connsiteX4" fmla="*/ 272460 w 272795"/>
                <a:gd name="connsiteY4" fmla="*/ 178753 h 536752"/>
                <a:gd name="connsiteX5" fmla="*/ 272460 w 272795"/>
                <a:gd name="connsiteY5" fmla="*/ 515462 h 536752"/>
                <a:gd name="connsiteX6" fmla="*/ 242932 w 272795"/>
                <a:gd name="connsiteY6" fmla="*/ 532512 h 536752"/>
                <a:gd name="connsiteX7" fmla="*/ 29191 w 272795"/>
                <a:gd name="connsiteY7" fmla="*/ 408687 h 536752"/>
                <a:gd name="connsiteX8" fmla="*/ -336 w 272795"/>
                <a:gd name="connsiteY8" fmla="*/ 357633 h 5367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2795" h="536752">
                  <a:moveTo>
                    <a:pt x="-336" y="357633"/>
                  </a:moveTo>
                  <a:lnTo>
                    <a:pt x="-336" y="20924"/>
                  </a:lnTo>
                  <a:cubicBezTo>
                    <a:pt x="-336" y="1874"/>
                    <a:pt x="12903" y="-5460"/>
                    <a:pt x="29191" y="3874"/>
                  </a:cubicBezTo>
                  <a:lnTo>
                    <a:pt x="242932" y="127699"/>
                  </a:lnTo>
                  <a:cubicBezTo>
                    <a:pt x="260344" y="139043"/>
                    <a:pt x="271307" y="158008"/>
                    <a:pt x="272460" y="178753"/>
                  </a:cubicBezTo>
                  <a:lnTo>
                    <a:pt x="272460" y="515462"/>
                  </a:lnTo>
                  <a:cubicBezTo>
                    <a:pt x="272460" y="534512"/>
                    <a:pt x="259220" y="541941"/>
                    <a:pt x="242932" y="532512"/>
                  </a:cubicBezTo>
                  <a:lnTo>
                    <a:pt x="29191" y="408687"/>
                  </a:lnTo>
                  <a:cubicBezTo>
                    <a:pt x="11780" y="397342"/>
                    <a:pt x="816" y="378378"/>
                    <a:pt x="-336" y="357633"/>
                  </a:cubicBezTo>
                  <a:close/>
                </a:path>
              </a:pathLst>
            </a:custGeom>
            <a:solidFill>
              <a:srgbClr val="EDF4FF"/>
            </a:solidFill>
            <a:ln w="9525" cap="flat">
              <a:noFill/>
              <a:prstDash val="solid"/>
              <a:miter/>
            </a:ln>
          </p:spPr>
          <p:txBody>
            <a:bodyPr rtlCol="0" anchor="ctr"/>
            <a:lstStyle/>
            <a:p>
              <a:endParaRPr lang="zh-CN" altLang="en-US"/>
            </a:p>
          </p:txBody>
        </p:sp>
        <p:sp>
          <p:nvSpPr>
            <p:cNvPr id="823" name="ïş1íḍe">
              <a:extLst>
                <a:ext uri="{FF2B5EF4-FFF2-40B4-BE49-F238E27FC236}">
                  <a16:creationId xmlns:a16="http://schemas.microsoft.com/office/drawing/2014/main" id="{B5F245E8-E8BA-46C7-A37C-C6EBF002BE92}"/>
                </a:ext>
              </a:extLst>
            </p:cNvPr>
            <p:cNvSpPr/>
            <p:nvPr/>
          </p:nvSpPr>
          <p:spPr>
            <a:xfrm>
              <a:off x="5963819" y="2599522"/>
              <a:ext cx="431315" cy="268967"/>
            </a:xfrm>
            <a:custGeom>
              <a:avLst/>
              <a:gdLst>
                <a:gd name="connsiteX0" fmla="*/ 134115 w 141697"/>
                <a:gd name="connsiteY0" fmla="*/ 88009 h 88362"/>
                <a:gd name="connsiteX1" fmla="*/ 130400 w 141697"/>
                <a:gd name="connsiteY1" fmla="*/ 87057 h 88362"/>
                <a:gd name="connsiteX2" fmla="*/ 2670 w 141697"/>
                <a:gd name="connsiteY2" fmla="*/ 13238 h 88362"/>
                <a:gd name="connsiteX3" fmla="*/ 1127 w 141697"/>
                <a:gd name="connsiteY3" fmla="*/ 2846 h 88362"/>
                <a:gd name="connsiteX4" fmla="*/ 10100 w 141697"/>
                <a:gd name="connsiteY4" fmla="*/ 474 h 88362"/>
                <a:gd name="connsiteX5" fmla="*/ 137735 w 141697"/>
                <a:gd name="connsiteY5" fmla="*/ 74388 h 88362"/>
                <a:gd name="connsiteX6" fmla="*/ 140316 w 141697"/>
                <a:gd name="connsiteY6" fmla="*/ 84571 h 88362"/>
                <a:gd name="connsiteX7" fmla="*/ 134020 w 141697"/>
                <a:gd name="connsiteY7" fmla="*/ 88200 h 883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1697" h="88362">
                  <a:moveTo>
                    <a:pt x="134115" y="88009"/>
                  </a:moveTo>
                  <a:cubicBezTo>
                    <a:pt x="132820" y="88009"/>
                    <a:pt x="131544" y="87685"/>
                    <a:pt x="130400" y="87057"/>
                  </a:cubicBezTo>
                  <a:lnTo>
                    <a:pt x="2670" y="13238"/>
                  </a:lnTo>
                  <a:cubicBezTo>
                    <a:pt x="-625" y="10800"/>
                    <a:pt x="-1321" y="6142"/>
                    <a:pt x="1127" y="2846"/>
                  </a:cubicBezTo>
                  <a:cubicBezTo>
                    <a:pt x="3194" y="55"/>
                    <a:pt x="6918" y="-935"/>
                    <a:pt x="10100" y="474"/>
                  </a:cubicBezTo>
                  <a:lnTo>
                    <a:pt x="137735" y="74388"/>
                  </a:lnTo>
                  <a:cubicBezTo>
                    <a:pt x="141259" y="76493"/>
                    <a:pt x="142412" y="81046"/>
                    <a:pt x="140316" y="84571"/>
                  </a:cubicBezTo>
                  <a:cubicBezTo>
                    <a:pt x="138992" y="86799"/>
                    <a:pt x="136611" y="88171"/>
                    <a:pt x="134020" y="88200"/>
                  </a:cubicBezTo>
                  <a:close/>
                </a:path>
              </a:pathLst>
            </a:custGeom>
            <a:solidFill>
              <a:srgbClr val="D1D9E8"/>
            </a:solidFill>
            <a:ln w="9525" cap="flat">
              <a:noFill/>
              <a:prstDash val="solid"/>
              <a:miter/>
            </a:ln>
          </p:spPr>
          <p:txBody>
            <a:bodyPr rtlCol="0" anchor="ctr"/>
            <a:lstStyle/>
            <a:p>
              <a:endParaRPr lang="zh-CN" altLang="en-US"/>
            </a:p>
          </p:txBody>
        </p:sp>
        <p:sp>
          <p:nvSpPr>
            <p:cNvPr id="824" name="iṩḻíḓè">
              <a:extLst>
                <a:ext uri="{FF2B5EF4-FFF2-40B4-BE49-F238E27FC236}">
                  <a16:creationId xmlns:a16="http://schemas.microsoft.com/office/drawing/2014/main" id="{993562D3-3035-4D56-B631-75DD1C92C6F3}"/>
                </a:ext>
              </a:extLst>
            </p:cNvPr>
            <p:cNvSpPr/>
            <p:nvPr/>
          </p:nvSpPr>
          <p:spPr>
            <a:xfrm>
              <a:off x="5962318" y="2676789"/>
              <a:ext cx="433108" cy="269111"/>
            </a:xfrm>
            <a:custGeom>
              <a:avLst/>
              <a:gdLst>
                <a:gd name="connsiteX0" fmla="*/ 134608 w 142286"/>
                <a:gd name="connsiteY0" fmla="*/ 88247 h 88409"/>
                <a:gd name="connsiteX1" fmla="*/ 130893 w 142286"/>
                <a:gd name="connsiteY1" fmla="*/ 87295 h 88409"/>
                <a:gd name="connsiteX2" fmla="*/ 3163 w 142286"/>
                <a:gd name="connsiteY2" fmla="*/ 13571 h 88409"/>
                <a:gd name="connsiteX3" fmla="*/ 792 w 142286"/>
                <a:gd name="connsiteY3" fmla="*/ 3341 h 88409"/>
                <a:gd name="connsiteX4" fmla="*/ 10593 w 142286"/>
                <a:gd name="connsiteY4" fmla="*/ 713 h 88409"/>
                <a:gd name="connsiteX5" fmla="*/ 138323 w 142286"/>
                <a:gd name="connsiteY5" fmla="*/ 74436 h 88409"/>
                <a:gd name="connsiteX6" fmla="*/ 140905 w 142286"/>
                <a:gd name="connsiteY6" fmla="*/ 84618 h 88409"/>
                <a:gd name="connsiteX7" fmla="*/ 134608 w 142286"/>
                <a:gd name="connsiteY7" fmla="*/ 88247 h 88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2286" h="88409">
                  <a:moveTo>
                    <a:pt x="134608" y="88247"/>
                  </a:moveTo>
                  <a:cubicBezTo>
                    <a:pt x="133313" y="88247"/>
                    <a:pt x="132037" y="87923"/>
                    <a:pt x="130893" y="87295"/>
                  </a:cubicBezTo>
                  <a:lnTo>
                    <a:pt x="3163" y="13571"/>
                  </a:lnTo>
                  <a:cubicBezTo>
                    <a:pt x="-323" y="11400"/>
                    <a:pt x="-1380" y="6818"/>
                    <a:pt x="792" y="3341"/>
                  </a:cubicBezTo>
                  <a:cubicBezTo>
                    <a:pt x="2859" y="17"/>
                    <a:pt x="7145" y="-1126"/>
                    <a:pt x="10593" y="713"/>
                  </a:cubicBezTo>
                  <a:lnTo>
                    <a:pt x="138323" y="74436"/>
                  </a:lnTo>
                  <a:cubicBezTo>
                    <a:pt x="141847" y="76541"/>
                    <a:pt x="143000" y="81094"/>
                    <a:pt x="140905" y="84618"/>
                  </a:cubicBezTo>
                  <a:cubicBezTo>
                    <a:pt x="139580" y="86847"/>
                    <a:pt x="137199" y="88219"/>
                    <a:pt x="134608" y="88247"/>
                  </a:cubicBezTo>
                  <a:close/>
                </a:path>
              </a:pathLst>
            </a:custGeom>
            <a:solidFill>
              <a:srgbClr val="D1D9E8"/>
            </a:solidFill>
            <a:ln w="9525" cap="flat">
              <a:noFill/>
              <a:prstDash val="solid"/>
              <a:miter/>
            </a:ln>
          </p:spPr>
          <p:txBody>
            <a:bodyPr rtlCol="0" anchor="ctr"/>
            <a:lstStyle/>
            <a:p>
              <a:endParaRPr lang="zh-CN" altLang="en-US"/>
            </a:p>
          </p:txBody>
        </p:sp>
        <p:sp>
          <p:nvSpPr>
            <p:cNvPr id="825" name="iŝḻiḑe">
              <a:extLst>
                <a:ext uri="{FF2B5EF4-FFF2-40B4-BE49-F238E27FC236}">
                  <a16:creationId xmlns:a16="http://schemas.microsoft.com/office/drawing/2014/main" id="{64F59885-A00C-472A-B6A7-DB5AAC53509D}"/>
                </a:ext>
              </a:extLst>
            </p:cNvPr>
            <p:cNvSpPr/>
            <p:nvPr/>
          </p:nvSpPr>
          <p:spPr>
            <a:xfrm>
              <a:off x="5716743" y="3357576"/>
              <a:ext cx="433985" cy="269668"/>
            </a:xfrm>
            <a:custGeom>
              <a:avLst/>
              <a:gdLst>
                <a:gd name="connsiteX0" fmla="*/ 134798 w 142574"/>
                <a:gd name="connsiteY0" fmla="*/ 88430 h 88592"/>
                <a:gd name="connsiteX1" fmla="*/ 131084 w 142574"/>
                <a:gd name="connsiteY1" fmla="*/ 87383 h 88592"/>
                <a:gd name="connsiteX2" fmla="*/ 3353 w 142574"/>
                <a:gd name="connsiteY2" fmla="*/ 13659 h 88592"/>
                <a:gd name="connsiteX3" fmla="*/ 639 w 142574"/>
                <a:gd name="connsiteY3" fmla="*/ 3648 h 88592"/>
                <a:gd name="connsiteX4" fmla="*/ 686 w 142574"/>
                <a:gd name="connsiteY4" fmla="*/ 3563 h 88592"/>
                <a:gd name="connsiteX5" fmla="*/ 10783 w 142574"/>
                <a:gd name="connsiteY5" fmla="*/ 800 h 88592"/>
                <a:gd name="connsiteX6" fmla="*/ 138513 w 142574"/>
                <a:gd name="connsiteY6" fmla="*/ 74619 h 88592"/>
                <a:gd name="connsiteX7" fmla="*/ 141275 w 142574"/>
                <a:gd name="connsiteY7" fmla="*/ 84716 h 88592"/>
                <a:gd name="connsiteX8" fmla="*/ 134798 w 142574"/>
                <a:gd name="connsiteY8" fmla="*/ 88430 h 885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574" h="88592">
                  <a:moveTo>
                    <a:pt x="134798" y="88430"/>
                  </a:moveTo>
                  <a:cubicBezTo>
                    <a:pt x="133493" y="88402"/>
                    <a:pt x="132217" y="88040"/>
                    <a:pt x="131084" y="87383"/>
                  </a:cubicBezTo>
                  <a:lnTo>
                    <a:pt x="3353" y="13659"/>
                  </a:lnTo>
                  <a:cubicBezTo>
                    <a:pt x="-161" y="11649"/>
                    <a:pt x="-1381" y="7163"/>
                    <a:pt x="639" y="3648"/>
                  </a:cubicBezTo>
                  <a:cubicBezTo>
                    <a:pt x="648" y="3620"/>
                    <a:pt x="667" y="3591"/>
                    <a:pt x="686" y="3563"/>
                  </a:cubicBezTo>
                  <a:cubicBezTo>
                    <a:pt x="2725" y="29"/>
                    <a:pt x="7230" y="-1209"/>
                    <a:pt x="10783" y="800"/>
                  </a:cubicBezTo>
                  <a:lnTo>
                    <a:pt x="138513" y="74619"/>
                  </a:lnTo>
                  <a:cubicBezTo>
                    <a:pt x="142047" y="76658"/>
                    <a:pt x="143285" y="81163"/>
                    <a:pt x="141275" y="84716"/>
                  </a:cubicBezTo>
                  <a:cubicBezTo>
                    <a:pt x="139923" y="87011"/>
                    <a:pt x="137465" y="88430"/>
                    <a:pt x="134798" y="88430"/>
                  </a:cubicBezTo>
                  <a:close/>
                </a:path>
              </a:pathLst>
            </a:custGeom>
            <a:solidFill>
              <a:srgbClr val="D1D9E8"/>
            </a:solidFill>
            <a:ln w="9525" cap="flat">
              <a:noFill/>
              <a:prstDash val="solid"/>
              <a:miter/>
            </a:ln>
          </p:spPr>
          <p:txBody>
            <a:bodyPr rtlCol="0" anchor="ctr"/>
            <a:lstStyle/>
            <a:p>
              <a:endParaRPr lang="zh-CN" altLang="en-US"/>
            </a:p>
          </p:txBody>
        </p:sp>
        <p:sp>
          <p:nvSpPr>
            <p:cNvPr id="826" name="íṧ1îḓê">
              <a:extLst>
                <a:ext uri="{FF2B5EF4-FFF2-40B4-BE49-F238E27FC236}">
                  <a16:creationId xmlns:a16="http://schemas.microsoft.com/office/drawing/2014/main" id="{1EC2C900-F6A5-4629-9C62-2C181DC65BF5}"/>
                </a:ext>
              </a:extLst>
            </p:cNvPr>
            <p:cNvSpPr/>
            <p:nvPr/>
          </p:nvSpPr>
          <p:spPr>
            <a:xfrm>
              <a:off x="5721017" y="2673928"/>
              <a:ext cx="674397" cy="922602"/>
            </a:xfrm>
            <a:custGeom>
              <a:avLst/>
              <a:gdLst>
                <a:gd name="connsiteX0" fmla="*/ 192640 w 221555"/>
                <a:gd name="connsiteY0" fmla="*/ 299023 h 303096"/>
                <a:gd name="connsiteX1" fmla="*/ 28239 w 221555"/>
                <a:gd name="connsiteY1" fmla="*/ 203773 h 303096"/>
                <a:gd name="connsiteX2" fmla="*/ -336 w 221555"/>
                <a:gd name="connsiteY2" fmla="*/ 153767 h 303096"/>
                <a:gd name="connsiteX3" fmla="*/ -336 w 221555"/>
                <a:gd name="connsiteY3" fmla="*/ 20417 h 303096"/>
                <a:gd name="connsiteX4" fmla="*/ 28239 w 221555"/>
                <a:gd name="connsiteY4" fmla="*/ 3748 h 303096"/>
                <a:gd name="connsiteX5" fmla="*/ 192640 w 221555"/>
                <a:gd name="connsiteY5" fmla="*/ 98998 h 303096"/>
                <a:gd name="connsiteX6" fmla="*/ 221215 w 221555"/>
                <a:gd name="connsiteY6" fmla="*/ 149004 h 303096"/>
                <a:gd name="connsiteX7" fmla="*/ 221215 w 221555"/>
                <a:gd name="connsiteY7" fmla="*/ 282354 h 303096"/>
                <a:gd name="connsiteX8" fmla="*/ 192640 w 221555"/>
                <a:gd name="connsiteY8" fmla="*/ 299023 h 303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1555" h="303096">
                  <a:moveTo>
                    <a:pt x="192640" y="299023"/>
                  </a:moveTo>
                  <a:lnTo>
                    <a:pt x="28239" y="203773"/>
                  </a:lnTo>
                  <a:cubicBezTo>
                    <a:pt x="11293" y="192610"/>
                    <a:pt x="683" y="174036"/>
                    <a:pt x="-336" y="153767"/>
                  </a:cubicBezTo>
                  <a:lnTo>
                    <a:pt x="-336" y="20417"/>
                  </a:lnTo>
                  <a:cubicBezTo>
                    <a:pt x="-336" y="2034"/>
                    <a:pt x="12618" y="-5396"/>
                    <a:pt x="28239" y="3748"/>
                  </a:cubicBezTo>
                  <a:lnTo>
                    <a:pt x="192640" y="98998"/>
                  </a:lnTo>
                  <a:cubicBezTo>
                    <a:pt x="209547" y="110200"/>
                    <a:pt x="220148" y="128754"/>
                    <a:pt x="221215" y="149004"/>
                  </a:cubicBezTo>
                  <a:lnTo>
                    <a:pt x="221215" y="282354"/>
                  </a:lnTo>
                  <a:cubicBezTo>
                    <a:pt x="221501" y="300738"/>
                    <a:pt x="208547" y="308167"/>
                    <a:pt x="192640" y="299023"/>
                  </a:cubicBezTo>
                  <a:close/>
                </a:path>
              </a:pathLst>
            </a:custGeom>
            <a:solidFill>
              <a:srgbClr val="D1D9E8"/>
            </a:solidFill>
            <a:ln w="9525" cap="flat">
              <a:noFill/>
              <a:prstDash val="solid"/>
              <a:miter/>
            </a:ln>
          </p:spPr>
          <p:txBody>
            <a:bodyPr rtlCol="0" anchor="ctr"/>
            <a:lstStyle/>
            <a:p>
              <a:endParaRPr lang="zh-CN" altLang="en-US"/>
            </a:p>
          </p:txBody>
        </p:sp>
        <p:sp>
          <p:nvSpPr>
            <p:cNvPr id="827" name="iṡļiḑè">
              <a:extLst>
                <a:ext uri="{FF2B5EF4-FFF2-40B4-BE49-F238E27FC236}">
                  <a16:creationId xmlns:a16="http://schemas.microsoft.com/office/drawing/2014/main" id="{1B134461-EF03-4910-8FE7-C60869608561}"/>
                </a:ext>
              </a:extLst>
            </p:cNvPr>
            <p:cNvSpPr/>
            <p:nvPr/>
          </p:nvSpPr>
          <p:spPr>
            <a:xfrm>
              <a:off x="5684667" y="2813404"/>
              <a:ext cx="92307" cy="154534"/>
            </a:xfrm>
            <a:custGeom>
              <a:avLst/>
              <a:gdLst>
                <a:gd name="connsiteX0" fmla="*/ 12272 w 30325"/>
                <a:gd name="connsiteY0" fmla="*/ 50606 h 50768"/>
                <a:gd name="connsiteX1" fmla="*/ 29989 w 30325"/>
                <a:gd name="connsiteY1" fmla="*/ 40414 h 50768"/>
                <a:gd name="connsiteX2" fmla="*/ 17416 w 30325"/>
                <a:gd name="connsiteY2" fmla="*/ 3171 h 50768"/>
                <a:gd name="connsiteX3" fmla="*/ 17416 w 30325"/>
                <a:gd name="connsiteY3" fmla="*/ -163 h 50768"/>
                <a:gd name="connsiteX4" fmla="*/ -301 w 30325"/>
                <a:gd name="connsiteY4" fmla="*/ 10029 h 50768"/>
                <a:gd name="connsiteX5" fmla="*/ -301 w 30325"/>
                <a:gd name="connsiteY5" fmla="*/ 12220 h 50768"/>
                <a:gd name="connsiteX6" fmla="*/ -301 w 30325"/>
                <a:gd name="connsiteY6" fmla="*/ 12220 h 50768"/>
                <a:gd name="connsiteX7" fmla="*/ -301 w 30325"/>
                <a:gd name="connsiteY7" fmla="*/ 13363 h 50768"/>
                <a:gd name="connsiteX8" fmla="*/ 12272 w 30325"/>
                <a:gd name="connsiteY8" fmla="*/ 50606 h 50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325" h="50768">
                  <a:moveTo>
                    <a:pt x="12272" y="50606"/>
                  </a:moveTo>
                  <a:lnTo>
                    <a:pt x="29989" y="40414"/>
                  </a:lnTo>
                  <a:cubicBezTo>
                    <a:pt x="22321" y="29460"/>
                    <a:pt x="17949" y="16535"/>
                    <a:pt x="17416" y="3171"/>
                  </a:cubicBezTo>
                  <a:cubicBezTo>
                    <a:pt x="17416" y="2028"/>
                    <a:pt x="17416" y="885"/>
                    <a:pt x="17416" y="-163"/>
                  </a:cubicBezTo>
                  <a:lnTo>
                    <a:pt x="-301" y="10029"/>
                  </a:lnTo>
                  <a:cubicBezTo>
                    <a:pt x="-301" y="10696"/>
                    <a:pt x="-301" y="11458"/>
                    <a:pt x="-301" y="12220"/>
                  </a:cubicBezTo>
                  <a:lnTo>
                    <a:pt x="-301" y="12220"/>
                  </a:lnTo>
                  <a:cubicBezTo>
                    <a:pt x="-348" y="12601"/>
                    <a:pt x="-348" y="12982"/>
                    <a:pt x="-301" y="13363"/>
                  </a:cubicBezTo>
                  <a:cubicBezTo>
                    <a:pt x="233" y="26726"/>
                    <a:pt x="4605" y="39652"/>
                    <a:pt x="12272" y="50606"/>
                  </a:cubicBezTo>
                  <a:close/>
                </a:path>
              </a:pathLst>
            </a:custGeom>
            <a:solidFill>
              <a:srgbClr val="214EA6"/>
            </a:solidFill>
            <a:ln w="9525" cap="flat">
              <a:noFill/>
              <a:prstDash val="solid"/>
              <a:miter/>
            </a:ln>
          </p:spPr>
          <p:txBody>
            <a:bodyPr rtlCol="0" anchor="ctr"/>
            <a:lstStyle/>
            <a:p>
              <a:endParaRPr lang="zh-CN" altLang="en-US"/>
            </a:p>
          </p:txBody>
        </p:sp>
        <p:sp>
          <p:nvSpPr>
            <p:cNvPr id="828" name="ïṧľîdé">
              <a:extLst>
                <a:ext uri="{FF2B5EF4-FFF2-40B4-BE49-F238E27FC236}">
                  <a16:creationId xmlns:a16="http://schemas.microsoft.com/office/drawing/2014/main" id="{4A73E1D4-A6C8-4D75-AA25-A4CDB96CB4DC}"/>
                </a:ext>
              </a:extLst>
            </p:cNvPr>
            <p:cNvSpPr/>
            <p:nvPr/>
          </p:nvSpPr>
          <p:spPr>
            <a:xfrm>
              <a:off x="5623021" y="2802385"/>
              <a:ext cx="100026" cy="199475"/>
            </a:xfrm>
            <a:custGeom>
              <a:avLst/>
              <a:gdLst>
                <a:gd name="connsiteX0" fmla="*/ 19761 w 32861"/>
                <a:gd name="connsiteY0" fmla="*/ 65369 h 65532"/>
                <a:gd name="connsiteX1" fmla="*/ 32525 w 32861"/>
                <a:gd name="connsiteY1" fmla="*/ 54225 h 65532"/>
                <a:gd name="connsiteX2" fmla="*/ 19952 w 32861"/>
                <a:gd name="connsiteY2" fmla="*/ 16982 h 65532"/>
                <a:gd name="connsiteX3" fmla="*/ 19952 w 32861"/>
                <a:gd name="connsiteY3" fmla="*/ 15839 h 65532"/>
                <a:gd name="connsiteX4" fmla="*/ 19952 w 32861"/>
                <a:gd name="connsiteY4" fmla="*/ 15839 h 65532"/>
                <a:gd name="connsiteX5" fmla="*/ 19952 w 32861"/>
                <a:gd name="connsiteY5" fmla="*/ 13649 h 65532"/>
                <a:gd name="connsiteX6" fmla="*/ 19190 w 32861"/>
                <a:gd name="connsiteY6" fmla="*/ 13077 h 65532"/>
                <a:gd name="connsiteX7" fmla="*/ -336 w 32861"/>
                <a:gd name="connsiteY7" fmla="*/ -163 h 65532"/>
                <a:gd name="connsiteX8" fmla="*/ -336 w 32861"/>
                <a:gd name="connsiteY8" fmla="*/ 5171 h 65532"/>
                <a:gd name="connsiteX9" fmla="*/ 19761 w 32861"/>
                <a:gd name="connsiteY9" fmla="*/ 65369 h 65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2861" h="65532">
                  <a:moveTo>
                    <a:pt x="19761" y="65369"/>
                  </a:moveTo>
                  <a:lnTo>
                    <a:pt x="32525" y="54225"/>
                  </a:lnTo>
                  <a:cubicBezTo>
                    <a:pt x="24857" y="43271"/>
                    <a:pt x="20485" y="30346"/>
                    <a:pt x="19952" y="16982"/>
                  </a:cubicBezTo>
                  <a:cubicBezTo>
                    <a:pt x="19904" y="16601"/>
                    <a:pt x="19904" y="16220"/>
                    <a:pt x="19952" y="15839"/>
                  </a:cubicBezTo>
                  <a:lnTo>
                    <a:pt x="19952" y="15839"/>
                  </a:lnTo>
                  <a:cubicBezTo>
                    <a:pt x="19952" y="15077"/>
                    <a:pt x="19952" y="14315"/>
                    <a:pt x="19952" y="13649"/>
                  </a:cubicBezTo>
                  <a:lnTo>
                    <a:pt x="19190" y="13077"/>
                  </a:lnTo>
                  <a:lnTo>
                    <a:pt x="-336" y="-163"/>
                  </a:lnTo>
                  <a:cubicBezTo>
                    <a:pt x="-336" y="1552"/>
                    <a:pt x="-336" y="3266"/>
                    <a:pt x="-336" y="5171"/>
                  </a:cubicBezTo>
                  <a:cubicBezTo>
                    <a:pt x="549" y="26736"/>
                    <a:pt x="7512" y="47605"/>
                    <a:pt x="19761" y="65369"/>
                  </a:cubicBezTo>
                  <a:close/>
                </a:path>
              </a:pathLst>
            </a:custGeom>
            <a:solidFill>
              <a:srgbClr val="316DE6"/>
            </a:solidFill>
            <a:ln w="9525" cap="flat">
              <a:noFill/>
              <a:prstDash val="solid"/>
              <a:miter/>
            </a:ln>
          </p:spPr>
          <p:txBody>
            <a:bodyPr rtlCol="0" anchor="ctr"/>
            <a:lstStyle/>
            <a:p>
              <a:endParaRPr lang="zh-CN" altLang="en-US"/>
            </a:p>
          </p:txBody>
        </p:sp>
        <p:sp>
          <p:nvSpPr>
            <p:cNvPr id="829" name="îŝlîḍé">
              <a:extLst>
                <a:ext uri="{FF2B5EF4-FFF2-40B4-BE49-F238E27FC236}">
                  <a16:creationId xmlns:a16="http://schemas.microsoft.com/office/drawing/2014/main" id="{E9406A8C-7ADA-4D4F-8048-8A09D241813C}"/>
                </a:ext>
              </a:extLst>
            </p:cNvPr>
            <p:cNvSpPr/>
            <p:nvPr/>
          </p:nvSpPr>
          <p:spPr>
            <a:xfrm>
              <a:off x="5623599" y="2757444"/>
              <a:ext cx="115392" cy="86688"/>
            </a:xfrm>
            <a:custGeom>
              <a:avLst/>
              <a:gdLst>
                <a:gd name="connsiteX0" fmla="*/ 0 w 37909"/>
                <a:gd name="connsiteY0" fmla="*/ 14668 h 28479"/>
                <a:gd name="connsiteX1" fmla="*/ 25527 w 37909"/>
                <a:gd name="connsiteY1" fmla="*/ 0 h 28479"/>
                <a:gd name="connsiteX2" fmla="*/ 37909 w 37909"/>
                <a:gd name="connsiteY2" fmla="*/ 18288 h 28479"/>
                <a:gd name="connsiteX3" fmla="*/ 20288 w 37909"/>
                <a:gd name="connsiteY3" fmla="*/ 28480 h 28479"/>
                <a:gd name="connsiteX4" fmla="*/ 0 w 37909"/>
                <a:gd name="connsiteY4" fmla="*/ 14668 h 284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09" h="28479">
                  <a:moveTo>
                    <a:pt x="0" y="14668"/>
                  </a:moveTo>
                  <a:lnTo>
                    <a:pt x="25527" y="0"/>
                  </a:lnTo>
                  <a:lnTo>
                    <a:pt x="37909" y="18288"/>
                  </a:lnTo>
                  <a:lnTo>
                    <a:pt x="20288" y="28480"/>
                  </a:lnTo>
                  <a:lnTo>
                    <a:pt x="0" y="14668"/>
                  </a:lnTo>
                  <a:close/>
                </a:path>
              </a:pathLst>
            </a:custGeom>
            <a:solidFill>
              <a:srgbClr val="323A82"/>
            </a:solidFill>
            <a:ln w="9525" cap="flat">
              <a:noFill/>
              <a:prstDash val="solid"/>
              <a:miter/>
            </a:ln>
          </p:spPr>
          <p:txBody>
            <a:bodyPr rtlCol="0" anchor="ctr"/>
            <a:lstStyle/>
            <a:p>
              <a:endParaRPr lang="zh-CN" altLang="en-US"/>
            </a:p>
          </p:txBody>
        </p:sp>
        <p:sp>
          <p:nvSpPr>
            <p:cNvPr id="830" name="ïšļíḑè">
              <a:extLst>
                <a:ext uri="{FF2B5EF4-FFF2-40B4-BE49-F238E27FC236}">
                  <a16:creationId xmlns:a16="http://schemas.microsoft.com/office/drawing/2014/main" id="{EA1258CE-D948-45DA-9436-79899DB17B28}"/>
                </a:ext>
              </a:extLst>
            </p:cNvPr>
            <p:cNvSpPr/>
            <p:nvPr/>
          </p:nvSpPr>
          <p:spPr>
            <a:xfrm>
              <a:off x="5684195" y="2936914"/>
              <a:ext cx="92487" cy="64653"/>
            </a:xfrm>
            <a:custGeom>
              <a:avLst/>
              <a:gdLst>
                <a:gd name="connsiteX0" fmla="*/ 0 w 30384"/>
                <a:gd name="connsiteY0" fmla="*/ 21241 h 21240"/>
                <a:gd name="connsiteX1" fmla="*/ 23622 w 30384"/>
                <a:gd name="connsiteY1" fmla="*/ 7715 h 21240"/>
                <a:gd name="connsiteX2" fmla="*/ 30385 w 30384"/>
                <a:gd name="connsiteY2" fmla="*/ 0 h 21240"/>
                <a:gd name="connsiteX3" fmla="*/ 12668 w 30384"/>
                <a:gd name="connsiteY3" fmla="*/ 10192 h 21240"/>
                <a:gd name="connsiteX4" fmla="*/ 0 w 30384"/>
                <a:gd name="connsiteY4" fmla="*/ 21241 h 212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384" h="21240">
                  <a:moveTo>
                    <a:pt x="0" y="21241"/>
                  </a:moveTo>
                  <a:lnTo>
                    <a:pt x="23622" y="7715"/>
                  </a:lnTo>
                  <a:lnTo>
                    <a:pt x="30385" y="0"/>
                  </a:lnTo>
                  <a:lnTo>
                    <a:pt x="12668" y="10192"/>
                  </a:lnTo>
                  <a:lnTo>
                    <a:pt x="0" y="21241"/>
                  </a:lnTo>
                  <a:close/>
                </a:path>
              </a:pathLst>
            </a:custGeom>
            <a:solidFill>
              <a:srgbClr val="171A42"/>
            </a:solidFill>
            <a:ln w="9525" cap="flat">
              <a:noFill/>
              <a:prstDash val="solid"/>
              <a:miter/>
            </a:ln>
          </p:spPr>
          <p:txBody>
            <a:bodyPr rtlCol="0" anchor="ctr"/>
            <a:lstStyle/>
            <a:p>
              <a:endParaRPr lang="zh-CN" altLang="en-US"/>
            </a:p>
          </p:txBody>
        </p:sp>
        <p:sp>
          <p:nvSpPr>
            <p:cNvPr id="831" name="isḻíḓé">
              <a:extLst>
                <a:ext uri="{FF2B5EF4-FFF2-40B4-BE49-F238E27FC236}">
                  <a16:creationId xmlns:a16="http://schemas.microsoft.com/office/drawing/2014/main" id="{5A73807E-06F1-4E91-B6DF-3591A48E13D7}"/>
                </a:ext>
              </a:extLst>
            </p:cNvPr>
            <p:cNvSpPr/>
            <p:nvPr/>
          </p:nvSpPr>
          <p:spPr>
            <a:xfrm>
              <a:off x="5735223" y="2763243"/>
              <a:ext cx="31021" cy="17685"/>
            </a:xfrm>
            <a:custGeom>
              <a:avLst/>
              <a:gdLst>
                <a:gd name="connsiteX0" fmla="*/ -336 w 10191"/>
                <a:gd name="connsiteY0" fmla="*/ 5647 h 5810"/>
                <a:gd name="connsiteX1" fmla="*/ 9855 w 10191"/>
                <a:gd name="connsiteY1" fmla="*/ -163 h 5810"/>
                <a:gd name="connsiteX2" fmla="*/ 2331 w 10191"/>
                <a:gd name="connsiteY2" fmla="*/ 2980 h 5810"/>
                <a:gd name="connsiteX3" fmla="*/ -336 w 10191"/>
                <a:gd name="connsiteY3" fmla="*/ 5647 h 5810"/>
              </a:gdLst>
              <a:ahLst/>
              <a:cxnLst>
                <a:cxn ang="0">
                  <a:pos x="connsiteX0" y="connsiteY0"/>
                </a:cxn>
                <a:cxn ang="0">
                  <a:pos x="connsiteX1" y="connsiteY1"/>
                </a:cxn>
                <a:cxn ang="0">
                  <a:pos x="connsiteX2" y="connsiteY2"/>
                </a:cxn>
                <a:cxn ang="0">
                  <a:pos x="connsiteX3" y="connsiteY3"/>
                </a:cxn>
              </a:cxnLst>
              <a:rect l="l" t="t" r="r" b="b"/>
              <a:pathLst>
                <a:path w="10191" h="5810">
                  <a:moveTo>
                    <a:pt x="-336" y="5647"/>
                  </a:moveTo>
                  <a:lnTo>
                    <a:pt x="9855" y="-163"/>
                  </a:lnTo>
                  <a:cubicBezTo>
                    <a:pt x="7122" y="218"/>
                    <a:pt x="4531" y="1304"/>
                    <a:pt x="2331" y="2980"/>
                  </a:cubicBezTo>
                  <a:cubicBezTo>
                    <a:pt x="1350" y="3771"/>
                    <a:pt x="454" y="4666"/>
                    <a:pt x="-336" y="5647"/>
                  </a:cubicBezTo>
                  <a:close/>
                </a:path>
              </a:pathLst>
            </a:custGeom>
            <a:solidFill>
              <a:srgbClr val="D9530B"/>
            </a:solidFill>
            <a:ln w="9525" cap="flat">
              <a:noFill/>
              <a:prstDash val="solid"/>
              <a:miter/>
            </a:ln>
          </p:spPr>
          <p:txBody>
            <a:bodyPr rtlCol="0" anchor="ctr"/>
            <a:lstStyle/>
            <a:p>
              <a:endParaRPr lang="zh-CN" altLang="en-US"/>
            </a:p>
          </p:txBody>
        </p:sp>
        <p:sp>
          <p:nvSpPr>
            <p:cNvPr id="832" name="ïśliḋê">
              <a:extLst>
                <a:ext uri="{FF2B5EF4-FFF2-40B4-BE49-F238E27FC236}">
                  <a16:creationId xmlns:a16="http://schemas.microsoft.com/office/drawing/2014/main" id="{F29405DE-2A04-4565-837A-930752D6186D}"/>
                </a:ext>
              </a:extLst>
            </p:cNvPr>
            <p:cNvSpPr/>
            <p:nvPr/>
          </p:nvSpPr>
          <p:spPr>
            <a:xfrm>
              <a:off x="5706230" y="2651093"/>
              <a:ext cx="281816" cy="172168"/>
            </a:xfrm>
            <a:custGeom>
              <a:avLst/>
              <a:gdLst>
                <a:gd name="connsiteX0" fmla="*/ 74530 w 92583"/>
                <a:gd name="connsiteY0" fmla="*/ 56399 h 56561"/>
                <a:gd name="connsiteX1" fmla="*/ 92247 w 92583"/>
                <a:gd name="connsiteY1" fmla="*/ 46207 h 56561"/>
                <a:gd name="connsiteX2" fmla="*/ 55099 w 92583"/>
                <a:gd name="connsiteY2" fmla="*/ 7250 h 56561"/>
                <a:gd name="connsiteX3" fmla="*/ 16999 w 92583"/>
                <a:gd name="connsiteY3" fmla="*/ 3440 h 56561"/>
                <a:gd name="connsiteX4" fmla="*/ -336 w 92583"/>
                <a:gd name="connsiteY4" fmla="*/ 13631 h 56561"/>
                <a:gd name="connsiteX5" fmla="*/ 9189 w 92583"/>
                <a:gd name="connsiteY5" fmla="*/ 10393 h 56561"/>
                <a:gd name="connsiteX6" fmla="*/ 10141 w 92583"/>
                <a:gd name="connsiteY6" fmla="*/ 10393 h 56561"/>
                <a:gd name="connsiteX7" fmla="*/ 37192 w 92583"/>
                <a:gd name="connsiteY7" fmla="*/ 17632 h 56561"/>
                <a:gd name="connsiteX8" fmla="*/ 53956 w 92583"/>
                <a:gd name="connsiteY8" fmla="*/ 30491 h 56561"/>
                <a:gd name="connsiteX9" fmla="*/ 53956 w 92583"/>
                <a:gd name="connsiteY9" fmla="*/ 30491 h 56561"/>
                <a:gd name="connsiteX10" fmla="*/ 74530 w 92583"/>
                <a:gd name="connsiteY10" fmla="*/ 56399 h 565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2583" h="56561">
                  <a:moveTo>
                    <a:pt x="74530" y="56399"/>
                  </a:moveTo>
                  <a:lnTo>
                    <a:pt x="92247" y="46207"/>
                  </a:lnTo>
                  <a:cubicBezTo>
                    <a:pt x="83303" y="30329"/>
                    <a:pt x="70539" y="16936"/>
                    <a:pt x="55099" y="7250"/>
                  </a:cubicBezTo>
                  <a:cubicBezTo>
                    <a:pt x="40240" y="-1323"/>
                    <a:pt x="26524" y="-2275"/>
                    <a:pt x="16999" y="3440"/>
                  </a:cubicBezTo>
                  <a:lnTo>
                    <a:pt x="-336" y="13631"/>
                  </a:lnTo>
                  <a:cubicBezTo>
                    <a:pt x="2588" y="11917"/>
                    <a:pt x="5826" y="10812"/>
                    <a:pt x="9189" y="10393"/>
                  </a:cubicBezTo>
                  <a:lnTo>
                    <a:pt x="10141" y="10393"/>
                  </a:lnTo>
                  <a:cubicBezTo>
                    <a:pt x="19695" y="9945"/>
                    <a:pt x="29144" y="12479"/>
                    <a:pt x="37192" y="17632"/>
                  </a:cubicBezTo>
                  <a:cubicBezTo>
                    <a:pt x="43260" y="21251"/>
                    <a:pt x="48879" y="25576"/>
                    <a:pt x="53956" y="30491"/>
                  </a:cubicBezTo>
                  <a:lnTo>
                    <a:pt x="53956" y="30491"/>
                  </a:lnTo>
                  <a:cubicBezTo>
                    <a:pt x="61948" y="38158"/>
                    <a:pt x="68872" y="46874"/>
                    <a:pt x="74530" y="56399"/>
                  </a:cubicBezTo>
                  <a:close/>
                </a:path>
              </a:pathLst>
            </a:custGeom>
            <a:solidFill>
              <a:srgbClr val="D9530B"/>
            </a:solidFill>
            <a:ln w="9525" cap="flat">
              <a:noFill/>
              <a:prstDash val="solid"/>
              <a:miter/>
            </a:ln>
          </p:spPr>
          <p:txBody>
            <a:bodyPr rtlCol="0" anchor="ctr"/>
            <a:lstStyle/>
            <a:p>
              <a:endParaRPr lang="zh-CN" altLang="en-US"/>
            </a:p>
          </p:txBody>
        </p:sp>
        <p:sp>
          <p:nvSpPr>
            <p:cNvPr id="833" name="îsḻîḑê">
              <a:extLst>
                <a:ext uri="{FF2B5EF4-FFF2-40B4-BE49-F238E27FC236}">
                  <a16:creationId xmlns:a16="http://schemas.microsoft.com/office/drawing/2014/main" id="{55CB0A6F-EB1D-46AE-8BE3-46E54E88FAA6}"/>
                </a:ext>
              </a:extLst>
            </p:cNvPr>
            <p:cNvSpPr/>
            <p:nvPr/>
          </p:nvSpPr>
          <p:spPr>
            <a:xfrm>
              <a:off x="5685936" y="2682488"/>
              <a:ext cx="248181" cy="167154"/>
            </a:xfrm>
            <a:custGeom>
              <a:avLst/>
              <a:gdLst>
                <a:gd name="connsiteX0" fmla="*/ 67005 w 81533"/>
                <a:gd name="connsiteY0" fmla="*/ 54752 h 54914"/>
                <a:gd name="connsiteX1" fmla="*/ 81198 w 81533"/>
                <a:gd name="connsiteY1" fmla="*/ 46084 h 54914"/>
                <a:gd name="connsiteX2" fmla="*/ 60814 w 81533"/>
                <a:gd name="connsiteY2" fmla="*/ 19986 h 54914"/>
                <a:gd name="connsiteX3" fmla="*/ 60814 w 81533"/>
                <a:gd name="connsiteY3" fmla="*/ 19986 h 54914"/>
                <a:gd name="connsiteX4" fmla="*/ 44431 w 81533"/>
                <a:gd name="connsiteY4" fmla="*/ 7127 h 54914"/>
                <a:gd name="connsiteX5" fmla="*/ 17380 w 81533"/>
                <a:gd name="connsiteY5" fmla="*/ -112 h 54914"/>
                <a:gd name="connsiteX6" fmla="*/ 16428 w 81533"/>
                <a:gd name="connsiteY6" fmla="*/ -112 h 54914"/>
                <a:gd name="connsiteX7" fmla="*/ 6903 w 81533"/>
                <a:gd name="connsiteY7" fmla="*/ 3127 h 54914"/>
                <a:gd name="connsiteX8" fmla="*/ -336 w 81533"/>
                <a:gd name="connsiteY8" fmla="*/ 9318 h 54914"/>
                <a:gd name="connsiteX9" fmla="*/ 9189 w 81533"/>
                <a:gd name="connsiteY9" fmla="*/ 21891 h 54914"/>
                <a:gd name="connsiteX10" fmla="*/ 9855 w 81533"/>
                <a:gd name="connsiteY10" fmla="*/ 22748 h 54914"/>
                <a:gd name="connsiteX11" fmla="*/ 9855 w 81533"/>
                <a:gd name="connsiteY11" fmla="*/ 22748 h 54914"/>
                <a:gd name="connsiteX12" fmla="*/ 16809 w 81533"/>
                <a:gd name="connsiteY12" fmla="*/ 32273 h 54914"/>
                <a:gd name="connsiteX13" fmla="*/ 19476 w 81533"/>
                <a:gd name="connsiteY13" fmla="*/ 29606 h 54914"/>
                <a:gd name="connsiteX14" fmla="*/ 27001 w 81533"/>
                <a:gd name="connsiteY14" fmla="*/ 26463 h 54914"/>
                <a:gd name="connsiteX15" fmla="*/ 31954 w 81533"/>
                <a:gd name="connsiteY15" fmla="*/ 26463 h 54914"/>
                <a:gd name="connsiteX16" fmla="*/ 44812 w 81533"/>
                <a:gd name="connsiteY16" fmla="*/ 30940 h 54914"/>
                <a:gd name="connsiteX17" fmla="*/ 67005 w 81533"/>
                <a:gd name="connsiteY17" fmla="*/ 54752 h 54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1533" h="54914">
                  <a:moveTo>
                    <a:pt x="67005" y="54752"/>
                  </a:moveTo>
                  <a:lnTo>
                    <a:pt x="81198" y="46084"/>
                  </a:lnTo>
                  <a:cubicBezTo>
                    <a:pt x="75607" y="36502"/>
                    <a:pt x="68749" y="27730"/>
                    <a:pt x="60814" y="19986"/>
                  </a:cubicBezTo>
                  <a:lnTo>
                    <a:pt x="60814" y="19986"/>
                  </a:lnTo>
                  <a:cubicBezTo>
                    <a:pt x="55861" y="15090"/>
                    <a:pt x="50365" y="10775"/>
                    <a:pt x="44431" y="7127"/>
                  </a:cubicBezTo>
                  <a:cubicBezTo>
                    <a:pt x="36383" y="1974"/>
                    <a:pt x="26934" y="-560"/>
                    <a:pt x="17380" y="-112"/>
                  </a:cubicBezTo>
                  <a:lnTo>
                    <a:pt x="16428" y="-112"/>
                  </a:lnTo>
                  <a:cubicBezTo>
                    <a:pt x="13065" y="307"/>
                    <a:pt x="9827" y="1412"/>
                    <a:pt x="6903" y="3127"/>
                  </a:cubicBezTo>
                  <a:cubicBezTo>
                    <a:pt x="4131" y="4736"/>
                    <a:pt x="1683" y="6832"/>
                    <a:pt x="-336" y="9318"/>
                  </a:cubicBezTo>
                  <a:lnTo>
                    <a:pt x="9189" y="21891"/>
                  </a:lnTo>
                  <a:lnTo>
                    <a:pt x="9855" y="22748"/>
                  </a:lnTo>
                  <a:lnTo>
                    <a:pt x="9855" y="22748"/>
                  </a:lnTo>
                  <a:lnTo>
                    <a:pt x="16809" y="32273"/>
                  </a:lnTo>
                  <a:cubicBezTo>
                    <a:pt x="17599" y="31292"/>
                    <a:pt x="18495" y="30397"/>
                    <a:pt x="19476" y="29606"/>
                  </a:cubicBezTo>
                  <a:cubicBezTo>
                    <a:pt x="21676" y="27930"/>
                    <a:pt x="24267" y="26844"/>
                    <a:pt x="27001" y="26463"/>
                  </a:cubicBezTo>
                  <a:cubicBezTo>
                    <a:pt x="28639" y="26215"/>
                    <a:pt x="30315" y="26215"/>
                    <a:pt x="31954" y="26463"/>
                  </a:cubicBezTo>
                  <a:cubicBezTo>
                    <a:pt x="36516" y="27015"/>
                    <a:pt x="40897" y="28539"/>
                    <a:pt x="44812" y="30940"/>
                  </a:cubicBezTo>
                  <a:cubicBezTo>
                    <a:pt x="54061" y="36921"/>
                    <a:pt x="61691" y="45103"/>
                    <a:pt x="67005" y="54752"/>
                  </a:cubicBezTo>
                  <a:close/>
                </a:path>
              </a:pathLst>
            </a:custGeom>
            <a:solidFill>
              <a:srgbClr val="FF7D33"/>
            </a:solidFill>
            <a:ln w="9525" cap="flat">
              <a:noFill/>
              <a:prstDash val="solid"/>
              <a:miter/>
            </a:ln>
          </p:spPr>
          <p:txBody>
            <a:bodyPr rtlCol="0" anchor="ctr"/>
            <a:lstStyle/>
            <a:p>
              <a:endParaRPr lang="zh-CN" altLang="en-US"/>
            </a:p>
          </p:txBody>
        </p:sp>
        <p:sp>
          <p:nvSpPr>
            <p:cNvPr id="834" name="ïṥļíḍê">
              <a:extLst>
                <a:ext uri="{FF2B5EF4-FFF2-40B4-BE49-F238E27FC236}">
                  <a16:creationId xmlns:a16="http://schemas.microsoft.com/office/drawing/2014/main" id="{1DBF95BD-F3B9-4C5C-ADEC-EE0283F866BF}"/>
                </a:ext>
              </a:extLst>
            </p:cNvPr>
            <p:cNvSpPr/>
            <p:nvPr/>
          </p:nvSpPr>
          <p:spPr>
            <a:xfrm>
              <a:off x="5934119" y="2792236"/>
              <a:ext cx="104041" cy="300950"/>
            </a:xfrm>
            <a:custGeom>
              <a:avLst/>
              <a:gdLst>
                <a:gd name="connsiteX0" fmla="*/ 140 w 34180"/>
                <a:gd name="connsiteY0" fmla="*/ 98707 h 98869"/>
                <a:gd name="connsiteX1" fmla="*/ 17856 w 34180"/>
                <a:gd name="connsiteY1" fmla="*/ 88515 h 98869"/>
                <a:gd name="connsiteX2" fmla="*/ 33668 w 34180"/>
                <a:gd name="connsiteY2" fmla="*/ 53844 h 98869"/>
                <a:gd name="connsiteX3" fmla="*/ 17380 w 34180"/>
                <a:gd name="connsiteY3" fmla="*/ -163 h 98869"/>
                <a:gd name="connsiteX4" fmla="*/ -336 w 34180"/>
                <a:gd name="connsiteY4" fmla="*/ 10029 h 98869"/>
                <a:gd name="connsiteX5" fmla="*/ 13285 w 34180"/>
                <a:gd name="connsiteY5" fmla="*/ 43081 h 98869"/>
                <a:gd name="connsiteX6" fmla="*/ 15952 w 34180"/>
                <a:gd name="connsiteY6" fmla="*/ 64036 h 98869"/>
                <a:gd name="connsiteX7" fmla="*/ 10998 w 34180"/>
                <a:gd name="connsiteY7" fmla="*/ 86991 h 98869"/>
                <a:gd name="connsiteX8" fmla="*/ 7951 w 34180"/>
                <a:gd name="connsiteY8" fmla="*/ 91754 h 98869"/>
                <a:gd name="connsiteX9" fmla="*/ 140 w 34180"/>
                <a:gd name="connsiteY9" fmla="*/ 98707 h 98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4180" h="98869">
                  <a:moveTo>
                    <a:pt x="140" y="98707"/>
                  </a:moveTo>
                  <a:lnTo>
                    <a:pt x="17856" y="88515"/>
                  </a:lnTo>
                  <a:cubicBezTo>
                    <a:pt x="28944" y="80609"/>
                    <a:pt x="34973" y="67398"/>
                    <a:pt x="33668" y="53844"/>
                  </a:cubicBezTo>
                  <a:cubicBezTo>
                    <a:pt x="32982" y="34737"/>
                    <a:pt x="27372" y="16135"/>
                    <a:pt x="17380" y="-163"/>
                  </a:cubicBezTo>
                  <a:lnTo>
                    <a:pt x="-336" y="10029"/>
                  </a:lnTo>
                  <a:cubicBezTo>
                    <a:pt x="5779" y="20326"/>
                    <a:pt x="10370" y="31460"/>
                    <a:pt x="13285" y="43081"/>
                  </a:cubicBezTo>
                  <a:cubicBezTo>
                    <a:pt x="14989" y="49939"/>
                    <a:pt x="15885" y="56968"/>
                    <a:pt x="15952" y="64036"/>
                  </a:cubicBezTo>
                  <a:cubicBezTo>
                    <a:pt x="16104" y="71970"/>
                    <a:pt x="14408" y="79828"/>
                    <a:pt x="10998" y="86991"/>
                  </a:cubicBezTo>
                  <a:cubicBezTo>
                    <a:pt x="10151" y="88677"/>
                    <a:pt x="9132" y="90277"/>
                    <a:pt x="7951" y="91754"/>
                  </a:cubicBezTo>
                  <a:cubicBezTo>
                    <a:pt x="5855" y="94582"/>
                    <a:pt x="3188" y="96945"/>
                    <a:pt x="140" y="98707"/>
                  </a:cubicBezTo>
                  <a:close/>
                </a:path>
              </a:pathLst>
            </a:custGeom>
            <a:solidFill>
              <a:srgbClr val="171A42"/>
            </a:solidFill>
            <a:ln w="9525" cap="flat">
              <a:noFill/>
              <a:prstDash val="solid"/>
              <a:miter/>
            </a:ln>
          </p:spPr>
          <p:txBody>
            <a:bodyPr rtlCol="0" anchor="ctr"/>
            <a:lstStyle/>
            <a:p>
              <a:endParaRPr lang="zh-CN" altLang="en-US"/>
            </a:p>
          </p:txBody>
        </p:sp>
        <p:sp>
          <p:nvSpPr>
            <p:cNvPr id="835" name="ïṧľîďê">
              <a:extLst>
                <a:ext uri="{FF2B5EF4-FFF2-40B4-BE49-F238E27FC236}">
                  <a16:creationId xmlns:a16="http://schemas.microsoft.com/office/drawing/2014/main" id="{9ED0951F-C03D-4CAE-8A53-84FF6AAA820C}"/>
                </a:ext>
              </a:extLst>
            </p:cNvPr>
            <p:cNvSpPr/>
            <p:nvPr/>
          </p:nvSpPr>
          <p:spPr>
            <a:xfrm>
              <a:off x="5882510" y="2823260"/>
              <a:ext cx="101214" cy="276596"/>
            </a:xfrm>
            <a:custGeom>
              <a:avLst/>
              <a:gdLst>
                <a:gd name="connsiteX0" fmla="*/ 17095 w 33251"/>
                <a:gd name="connsiteY0" fmla="*/ 88515 h 90868"/>
                <a:gd name="connsiteX1" fmla="*/ 24905 w 33251"/>
                <a:gd name="connsiteY1" fmla="*/ 81562 h 90868"/>
                <a:gd name="connsiteX2" fmla="*/ 27953 w 33251"/>
                <a:gd name="connsiteY2" fmla="*/ 76799 h 90868"/>
                <a:gd name="connsiteX3" fmla="*/ 32906 w 33251"/>
                <a:gd name="connsiteY3" fmla="*/ 53844 h 90868"/>
                <a:gd name="connsiteX4" fmla="*/ 30239 w 33251"/>
                <a:gd name="connsiteY4" fmla="*/ 32889 h 90868"/>
                <a:gd name="connsiteX5" fmla="*/ 16618 w 33251"/>
                <a:gd name="connsiteY5" fmla="*/ -163 h 90868"/>
                <a:gd name="connsiteX6" fmla="*/ 2426 w 33251"/>
                <a:gd name="connsiteY6" fmla="*/ 8505 h 90868"/>
                <a:gd name="connsiteX7" fmla="*/ 12522 w 33251"/>
                <a:gd name="connsiteY7" fmla="*/ 42033 h 90868"/>
                <a:gd name="connsiteX8" fmla="*/ 9951 w 33251"/>
                <a:gd name="connsiteY8" fmla="*/ 55463 h 90868"/>
                <a:gd name="connsiteX9" fmla="*/ 5474 w 33251"/>
                <a:gd name="connsiteY9" fmla="*/ 61559 h 90868"/>
                <a:gd name="connsiteX10" fmla="*/ -336 w 33251"/>
                <a:gd name="connsiteY10" fmla="*/ 64893 h 90868"/>
                <a:gd name="connsiteX11" fmla="*/ 6522 w 33251"/>
                <a:gd name="connsiteY11" fmla="*/ 79085 h 90868"/>
                <a:gd name="connsiteX12" fmla="*/ 12142 w 33251"/>
                <a:gd name="connsiteY12" fmla="*/ 90706 h 90868"/>
                <a:gd name="connsiteX13" fmla="*/ 17095 w 33251"/>
                <a:gd name="connsiteY13" fmla="*/ 88515 h 90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3251" h="90868">
                  <a:moveTo>
                    <a:pt x="17095" y="88515"/>
                  </a:moveTo>
                  <a:cubicBezTo>
                    <a:pt x="20143" y="86753"/>
                    <a:pt x="22810" y="84391"/>
                    <a:pt x="24905" y="81562"/>
                  </a:cubicBezTo>
                  <a:cubicBezTo>
                    <a:pt x="26086" y="80086"/>
                    <a:pt x="27105" y="78485"/>
                    <a:pt x="27953" y="76799"/>
                  </a:cubicBezTo>
                  <a:cubicBezTo>
                    <a:pt x="31363" y="69637"/>
                    <a:pt x="33058" y="61779"/>
                    <a:pt x="32906" y="53844"/>
                  </a:cubicBezTo>
                  <a:cubicBezTo>
                    <a:pt x="32839" y="46777"/>
                    <a:pt x="31944" y="39747"/>
                    <a:pt x="30239" y="32889"/>
                  </a:cubicBezTo>
                  <a:cubicBezTo>
                    <a:pt x="27324" y="21269"/>
                    <a:pt x="22733" y="10134"/>
                    <a:pt x="16618" y="-163"/>
                  </a:cubicBezTo>
                  <a:lnTo>
                    <a:pt x="2426" y="8505"/>
                  </a:lnTo>
                  <a:cubicBezTo>
                    <a:pt x="8646" y="18611"/>
                    <a:pt x="12132" y="30165"/>
                    <a:pt x="12522" y="42033"/>
                  </a:cubicBezTo>
                  <a:cubicBezTo>
                    <a:pt x="12618" y="46643"/>
                    <a:pt x="11741" y="51215"/>
                    <a:pt x="9951" y="55463"/>
                  </a:cubicBezTo>
                  <a:cubicBezTo>
                    <a:pt x="8865" y="57768"/>
                    <a:pt x="7341" y="59835"/>
                    <a:pt x="5474" y="61559"/>
                  </a:cubicBezTo>
                  <a:cubicBezTo>
                    <a:pt x="3807" y="63083"/>
                    <a:pt x="1826" y="64217"/>
                    <a:pt x="-336" y="64893"/>
                  </a:cubicBezTo>
                  <a:lnTo>
                    <a:pt x="6522" y="79085"/>
                  </a:lnTo>
                  <a:lnTo>
                    <a:pt x="12142" y="90706"/>
                  </a:lnTo>
                  <a:cubicBezTo>
                    <a:pt x="13856" y="90134"/>
                    <a:pt x="15513" y="89401"/>
                    <a:pt x="17095" y="88515"/>
                  </a:cubicBezTo>
                  <a:close/>
                </a:path>
              </a:pathLst>
            </a:custGeom>
            <a:solidFill>
              <a:srgbClr val="323A82"/>
            </a:solidFill>
            <a:ln w="9525" cap="flat">
              <a:noFill/>
              <a:prstDash val="solid"/>
              <a:miter/>
            </a:ln>
          </p:spPr>
          <p:txBody>
            <a:bodyPr rtlCol="0" anchor="ctr"/>
            <a:lstStyle/>
            <a:p>
              <a:endParaRPr lang="zh-CN" altLang="en-US"/>
            </a:p>
          </p:txBody>
        </p:sp>
        <p:sp>
          <p:nvSpPr>
            <p:cNvPr id="836" name="íṧḻidé">
              <a:extLst>
                <a:ext uri="{FF2B5EF4-FFF2-40B4-BE49-F238E27FC236}">
                  <a16:creationId xmlns:a16="http://schemas.microsoft.com/office/drawing/2014/main" id="{38392300-FEB3-4657-BDBB-A8519C3F0BB4}"/>
                </a:ext>
              </a:extLst>
            </p:cNvPr>
            <p:cNvSpPr/>
            <p:nvPr/>
          </p:nvSpPr>
          <p:spPr>
            <a:xfrm>
              <a:off x="5757547" y="2917199"/>
              <a:ext cx="156272" cy="104623"/>
            </a:xfrm>
            <a:custGeom>
              <a:avLst/>
              <a:gdLst>
                <a:gd name="connsiteX0" fmla="*/ 46527 w 51339"/>
                <a:gd name="connsiteY0" fmla="*/ 30698 h 34371"/>
                <a:gd name="connsiteX1" fmla="*/ 51004 w 51339"/>
                <a:gd name="connsiteY1" fmla="*/ 24602 h 34371"/>
                <a:gd name="connsiteX2" fmla="*/ 38049 w 51339"/>
                <a:gd name="connsiteY2" fmla="*/ 20126 h 34371"/>
                <a:gd name="connsiteX3" fmla="*/ 17380 w 51339"/>
                <a:gd name="connsiteY3" fmla="*/ -163 h 34371"/>
                <a:gd name="connsiteX4" fmla="*/ -336 w 51339"/>
                <a:gd name="connsiteY4" fmla="*/ 9934 h 34371"/>
                <a:gd name="connsiteX5" fmla="*/ 20333 w 51339"/>
                <a:gd name="connsiteY5" fmla="*/ 30317 h 34371"/>
                <a:gd name="connsiteX6" fmla="*/ 21286 w 51339"/>
                <a:gd name="connsiteY6" fmla="*/ 30317 h 34371"/>
                <a:gd name="connsiteX7" fmla="*/ 40336 w 51339"/>
                <a:gd name="connsiteY7" fmla="*/ 33556 h 34371"/>
                <a:gd name="connsiteX8" fmla="*/ 46527 w 51339"/>
                <a:gd name="connsiteY8" fmla="*/ 30698 h 34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339" h="34371">
                  <a:moveTo>
                    <a:pt x="46527" y="30698"/>
                  </a:moveTo>
                  <a:cubicBezTo>
                    <a:pt x="48394" y="28974"/>
                    <a:pt x="49918" y="26907"/>
                    <a:pt x="51004" y="24602"/>
                  </a:cubicBezTo>
                  <a:cubicBezTo>
                    <a:pt x="46413" y="24069"/>
                    <a:pt x="41993" y="22535"/>
                    <a:pt x="38049" y="20126"/>
                  </a:cubicBezTo>
                  <a:cubicBezTo>
                    <a:pt x="29734" y="14992"/>
                    <a:pt x="22667" y="8057"/>
                    <a:pt x="17380" y="-163"/>
                  </a:cubicBezTo>
                  <a:lnTo>
                    <a:pt x="-336" y="9934"/>
                  </a:lnTo>
                  <a:cubicBezTo>
                    <a:pt x="4950" y="18182"/>
                    <a:pt x="12008" y="25145"/>
                    <a:pt x="20333" y="30317"/>
                  </a:cubicBezTo>
                  <a:cubicBezTo>
                    <a:pt x="20647" y="30365"/>
                    <a:pt x="20971" y="30365"/>
                    <a:pt x="21286" y="30317"/>
                  </a:cubicBezTo>
                  <a:cubicBezTo>
                    <a:pt x="26943" y="33908"/>
                    <a:pt x="33811" y="35080"/>
                    <a:pt x="40336" y="33556"/>
                  </a:cubicBezTo>
                  <a:cubicBezTo>
                    <a:pt x="42583" y="33080"/>
                    <a:pt x="44698" y="32098"/>
                    <a:pt x="46527" y="30698"/>
                  </a:cubicBezTo>
                  <a:close/>
                </a:path>
              </a:pathLst>
            </a:custGeom>
            <a:solidFill>
              <a:srgbClr val="171A42"/>
            </a:solidFill>
            <a:ln w="9525" cap="flat">
              <a:noFill/>
              <a:prstDash val="solid"/>
              <a:miter/>
            </a:ln>
          </p:spPr>
          <p:txBody>
            <a:bodyPr rtlCol="0" anchor="ctr"/>
            <a:lstStyle/>
            <a:p>
              <a:endParaRPr lang="zh-CN" altLang="en-US"/>
            </a:p>
          </p:txBody>
        </p:sp>
        <p:sp>
          <p:nvSpPr>
            <p:cNvPr id="837" name="íṡḻîḓê">
              <a:extLst>
                <a:ext uri="{FF2B5EF4-FFF2-40B4-BE49-F238E27FC236}">
                  <a16:creationId xmlns:a16="http://schemas.microsoft.com/office/drawing/2014/main" id="{3BF1685C-4C11-41EB-A345-7975D0FD340A}"/>
                </a:ext>
              </a:extLst>
            </p:cNvPr>
            <p:cNvSpPr/>
            <p:nvPr/>
          </p:nvSpPr>
          <p:spPr>
            <a:xfrm>
              <a:off x="5720147" y="2949382"/>
              <a:ext cx="200342" cy="154096"/>
            </a:xfrm>
            <a:custGeom>
              <a:avLst/>
              <a:gdLst>
                <a:gd name="connsiteX0" fmla="*/ 65481 w 65817"/>
                <a:gd name="connsiteY0" fmla="*/ 49272 h 50624"/>
                <a:gd name="connsiteX1" fmla="*/ 59861 w 65817"/>
                <a:gd name="connsiteY1" fmla="*/ 37652 h 50624"/>
                <a:gd name="connsiteX2" fmla="*/ 53003 w 65817"/>
                <a:gd name="connsiteY2" fmla="*/ 23459 h 50624"/>
                <a:gd name="connsiteX3" fmla="*/ 33953 w 65817"/>
                <a:gd name="connsiteY3" fmla="*/ 20221 h 50624"/>
                <a:gd name="connsiteX4" fmla="*/ 33001 w 65817"/>
                <a:gd name="connsiteY4" fmla="*/ 20221 h 50624"/>
                <a:gd name="connsiteX5" fmla="*/ 12332 w 65817"/>
                <a:gd name="connsiteY5" fmla="*/ -163 h 50624"/>
                <a:gd name="connsiteX6" fmla="*/ -336 w 65817"/>
                <a:gd name="connsiteY6" fmla="*/ 10982 h 50624"/>
                <a:gd name="connsiteX7" fmla="*/ 32906 w 65817"/>
                <a:gd name="connsiteY7" fmla="*/ 43748 h 50624"/>
                <a:gd name="connsiteX8" fmla="*/ 65481 w 65817"/>
                <a:gd name="connsiteY8" fmla="*/ 49272 h 506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5817" h="50624">
                  <a:moveTo>
                    <a:pt x="65481" y="49272"/>
                  </a:moveTo>
                  <a:lnTo>
                    <a:pt x="59861" y="37652"/>
                  </a:lnTo>
                  <a:lnTo>
                    <a:pt x="53003" y="23459"/>
                  </a:lnTo>
                  <a:cubicBezTo>
                    <a:pt x="46479" y="24983"/>
                    <a:pt x="39612" y="23812"/>
                    <a:pt x="33953" y="20221"/>
                  </a:cubicBezTo>
                  <a:cubicBezTo>
                    <a:pt x="33639" y="20268"/>
                    <a:pt x="33315" y="20268"/>
                    <a:pt x="33001" y="20221"/>
                  </a:cubicBezTo>
                  <a:cubicBezTo>
                    <a:pt x="24676" y="15049"/>
                    <a:pt x="17618" y="8086"/>
                    <a:pt x="12332" y="-163"/>
                  </a:cubicBezTo>
                  <a:lnTo>
                    <a:pt x="-336" y="10982"/>
                  </a:lnTo>
                  <a:cubicBezTo>
                    <a:pt x="8160" y="24250"/>
                    <a:pt x="19523" y="35442"/>
                    <a:pt x="32906" y="43748"/>
                  </a:cubicBezTo>
                  <a:cubicBezTo>
                    <a:pt x="42545" y="49996"/>
                    <a:pt x="54327" y="51996"/>
                    <a:pt x="65481" y="49272"/>
                  </a:cubicBezTo>
                  <a:close/>
                </a:path>
              </a:pathLst>
            </a:custGeom>
            <a:solidFill>
              <a:srgbClr val="323A82"/>
            </a:solidFill>
            <a:ln w="9525" cap="flat">
              <a:noFill/>
              <a:prstDash val="solid"/>
              <a:miter/>
            </a:ln>
          </p:spPr>
          <p:txBody>
            <a:bodyPr rtlCol="0" anchor="ctr"/>
            <a:lstStyle/>
            <a:p>
              <a:endParaRPr lang="zh-CN" altLang="en-US"/>
            </a:p>
          </p:txBody>
        </p:sp>
        <p:sp>
          <p:nvSpPr>
            <p:cNvPr id="838" name="íṩľíḋe">
              <a:extLst>
                <a:ext uri="{FF2B5EF4-FFF2-40B4-BE49-F238E27FC236}">
                  <a16:creationId xmlns:a16="http://schemas.microsoft.com/office/drawing/2014/main" id="{6FC3C3F2-D28F-405D-BEA1-A291D2DFBFF2}"/>
                </a:ext>
              </a:extLst>
            </p:cNvPr>
            <p:cNvSpPr/>
            <p:nvPr/>
          </p:nvSpPr>
          <p:spPr>
            <a:xfrm>
              <a:off x="5719857" y="2762229"/>
              <a:ext cx="61755" cy="62190"/>
            </a:xfrm>
            <a:custGeom>
              <a:avLst/>
              <a:gdLst>
                <a:gd name="connsiteX0" fmla="*/ -336 w 20288"/>
                <a:gd name="connsiteY0" fmla="*/ 20268 h 20431"/>
                <a:gd name="connsiteX1" fmla="*/ 17380 w 20288"/>
                <a:gd name="connsiteY1" fmla="*/ 10077 h 20431"/>
                <a:gd name="connsiteX2" fmla="*/ 19952 w 20288"/>
                <a:gd name="connsiteY2" fmla="*/ -20 h 20431"/>
                <a:gd name="connsiteX3" fmla="*/ 15094 w 20288"/>
                <a:gd name="connsiteY3" fmla="*/ -20 h 20431"/>
                <a:gd name="connsiteX4" fmla="*/ 4902 w 20288"/>
                <a:gd name="connsiteY4" fmla="*/ 5791 h 20431"/>
                <a:gd name="connsiteX5" fmla="*/ -336 w 20288"/>
                <a:gd name="connsiteY5" fmla="*/ 20268 h 20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288" h="20431">
                  <a:moveTo>
                    <a:pt x="-336" y="20268"/>
                  </a:moveTo>
                  <a:lnTo>
                    <a:pt x="17380" y="10077"/>
                  </a:lnTo>
                  <a:cubicBezTo>
                    <a:pt x="17656" y="6591"/>
                    <a:pt x="18523" y="3171"/>
                    <a:pt x="19952" y="-20"/>
                  </a:cubicBezTo>
                  <a:cubicBezTo>
                    <a:pt x="18342" y="-210"/>
                    <a:pt x="16704" y="-210"/>
                    <a:pt x="15094" y="-20"/>
                  </a:cubicBezTo>
                  <a:lnTo>
                    <a:pt x="4902" y="5791"/>
                  </a:lnTo>
                  <a:cubicBezTo>
                    <a:pt x="1759" y="9991"/>
                    <a:pt x="-60" y="15030"/>
                    <a:pt x="-336" y="20268"/>
                  </a:cubicBezTo>
                  <a:close/>
                </a:path>
              </a:pathLst>
            </a:custGeom>
            <a:solidFill>
              <a:srgbClr val="BF4200"/>
            </a:solidFill>
            <a:ln w="9525" cap="flat">
              <a:noFill/>
              <a:prstDash val="solid"/>
              <a:miter/>
            </a:ln>
          </p:spPr>
          <p:txBody>
            <a:bodyPr rtlCol="0" anchor="ctr"/>
            <a:lstStyle/>
            <a:p>
              <a:endParaRPr lang="zh-CN" altLang="en-US"/>
            </a:p>
          </p:txBody>
        </p:sp>
        <p:sp>
          <p:nvSpPr>
            <p:cNvPr id="839" name="î$lîḋê">
              <a:extLst>
                <a:ext uri="{FF2B5EF4-FFF2-40B4-BE49-F238E27FC236}">
                  <a16:creationId xmlns:a16="http://schemas.microsoft.com/office/drawing/2014/main" id="{C185C861-2269-40B3-9DA9-4DF21C27A903}"/>
                </a:ext>
              </a:extLst>
            </p:cNvPr>
            <p:cNvSpPr/>
            <p:nvPr/>
          </p:nvSpPr>
          <p:spPr>
            <a:xfrm>
              <a:off x="5658102" y="2711055"/>
              <a:ext cx="77410" cy="113362"/>
            </a:xfrm>
            <a:custGeom>
              <a:avLst/>
              <a:gdLst>
                <a:gd name="connsiteX0" fmla="*/ 19952 w 25431"/>
                <a:gd name="connsiteY0" fmla="*/ 37080 h 37242"/>
                <a:gd name="connsiteX1" fmla="*/ 25096 w 25431"/>
                <a:gd name="connsiteY1" fmla="*/ 22793 h 37242"/>
                <a:gd name="connsiteX2" fmla="*/ 18142 w 25431"/>
                <a:gd name="connsiteY2" fmla="*/ 13268 h 37242"/>
                <a:gd name="connsiteX3" fmla="*/ 18142 w 25431"/>
                <a:gd name="connsiteY3" fmla="*/ 13268 h 37242"/>
                <a:gd name="connsiteX4" fmla="*/ 17475 w 25431"/>
                <a:gd name="connsiteY4" fmla="*/ 12410 h 37242"/>
                <a:gd name="connsiteX5" fmla="*/ 7950 w 25431"/>
                <a:gd name="connsiteY5" fmla="*/ -163 h 37242"/>
                <a:gd name="connsiteX6" fmla="*/ -336 w 25431"/>
                <a:gd name="connsiteY6" fmla="*/ 22983 h 37242"/>
                <a:gd name="connsiteX7" fmla="*/ 18714 w 25431"/>
                <a:gd name="connsiteY7" fmla="*/ 36318 h 37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431" h="37242">
                  <a:moveTo>
                    <a:pt x="19952" y="37080"/>
                  </a:moveTo>
                  <a:cubicBezTo>
                    <a:pt x="20238" y="31918"/>
                    <a:pt x="22028" y="26955"/>
                    <a:pt x="25096" y="22793"/>
                  </a:cubicBezTo>
                  <a:lnTo>
                    <a:pt x="18142" y="13268"/>
                  </a:lnTo>
                  <a:lnTo>
                    <a:pt x="18142" y="13268"/>
                  </a:lnTo>
                  <a:lnTo>
                    <a:pt x="17475" y="12410"/>
                  </a:lnTo>
                  <a:lnTo>
                    <a:pt x="7950" y="-163"/>
                  </a:lnTo>
                  <a:cubicBezTo>
                    <a:pt x="2902" y="6533"/>
                    <a:pt x="7" y="14601"/>
                    <a:pt x="-336" y="22983"/>
                  </a:cubicBezTo>
                  <a:lnTo>
                    <a:pt x="18714" y="36318"/>
                  </a:lnTo>
                  <a:close/>
                </a:path>
              </a:pathLst>
            </a:custGeom>
            <a:solidFill>
              <a:srgbClr val="D9530B"/>
            </a:solidFill>
            <a:ln w="9525" cap="flat">
              <a:noFill/>
              <a:prstDash val="solid"/>
              <a:miter/>
            </a:ln>
          </p:spPr>
          <p:txBody>
            <a:bodyPr rtlCol="0" anchor="ctr"/>
            <a:lstStyle/>
            <a:p>
              <a:endParaRPr lang="zh-CN" altLang="en-US"/>
            </a:p>
          </p:txBody>
        </p:sp>
        <p:sp>
          <p:nvSpPr>
            <p:cNvPr id="840" name="ïŝļiḍe">
              <a:extLst>
                <a:ext uri="{FF2B5EF4-FFF2-40B4-BE49-F238E27FC236}">
                  <a16:creationId xmlns:a16="http://schemas.microsoft.com/office/drawing/2014/main" id="{B3A80D8E-BD80-4551-A942-A5B8E19DF908}"/>
                </a:ext>
              </a:extLst>
            </p:cNvPr>
            <p:cNvSpPr/>
            <p:nvPr/>
          </p:nvSpPr>
          <p:spPr>
            <a:xfrm>
              <a:off x="6306973" y="3583469"/>
              <a:ext cx="84661" cy="51318"/>
            </a:xfrm>
            <a:custGeom>
              <a:avLst/>
              <a:gdLst>
                <a:gd name="connsiteX0" fmla="*/ -336 w 27813"/>
                <a:gd name="connsiteY0" fmla="*/ 16697 h 16859"/>
                <a:gd name="connsiteX1" fmla="*/ 21381 w 27813"/>
                <a:gd name="connsiteY1" fmla="*/ 4314 h 16859"/>
                <a:gd name="connsiteX2" fmla="*/ 27477 w 27813"/>
                <a:gd name="connsiteY2" fmla="*/ -163 h 16859"/>
                <a:gd name="connsiteX3" fmla="*/ 5855 w 27813"/>
                <a:gd name="connsiteY3" fmla="*/ 12315 h 16859"/>
                <a:gd name="connsiteX4" fmla="*/ -336 w 27813"/>
                <a:gd name="connsiteY4" fmla="*/ 16697 h 16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813" h="16859">
                  <a:moveTo>
                    <a:pt x="-336" y="16697"/>
                  </a:moveTo>
                  <a:lnTo>
                    <a:pt x="21381" y="4314"/>
                  </a:lnTo>
                  <a:cubicBezTo>
                    <a:pt x="23572" y="3047"/>
                    <a:pt x="25610" y="1552"/>
                    <a:pt x="27477" y="-163"/>
                  </a:cubicBezTo>
                  <a:lnTo>
                    <a:pt x="5855" y="12315"/>
                  </a:lnTo>
                  <a:cubicBezTo>
                    <a:pt x="3959" y="14001"/>
                    <a:pt x="1883" y="15468"/>
                    <a:pt x="-336" y="16697"/>
                  </a:cubicBezTo>
                  <a:close/>
                </a:path>
              </a:pathLst>
            </a:custGeom>
            <a:solidFill>
              <a:srgbClr val="171A42"/>
            </a:solidFill>
            <a:ln w="9525" cap="flat">
              <a:noFill/>
              <a:prstDash val="solid"/>
              <a:miter/>
            </a:ln>
          </p:spPr>
          <p:txBody>
            <a:bodyPr rtlCol="0" anchor="ctr"/>
            <a:lstStyle/>
            <a:p>
              <a:endParaRPr lang="zh-CN" altLang="en-US"/>
            </a:p>
          </p:txBody>
        </p:sp>
        <p:sp>
          <p:nvSpPr>
            <p:cNvPr id="841" name="íśľíďé">
              <a:extLst>
                <a:ext uri="{FF2B5EF4-FFF2-40B4-BE49-F238E27FC236}">
                  <a16:creationId xmlns:a16="http://schemas.microsoft.com/office/drawing/2014/main" id="{8F83C863-F308-4083-863E-21D9A3A42A7A}"/>
                </a:ext>
              </a:extLst>
            </p:cNvPr>
            <p:cNvSpPr/>
            <p:nvPr/>
          </p:nvSpPr>
          <p:spPr>
            <a:xfrm>
              <a:off x="6148089" y="3357320"/>
              <a:ext cx="28993" cy="578"/>
            </a:xfrm>
            <a:custGeom>
              <a:avLst/>
              <a:gdLst>
                <a:gd name="connsiteX0" fmla="*/ 0 w 9525"/>
                <a:gd name="connsiteY0" fmla="*/ 191 h 190"/>
                <a:gd name="connsiteX1" fmla="*/ 0 w 9525"/>
                <a:gd name="connsiteY1" fmla="*/ 95 h 190"/>
                <a:gd name="connsiteX2" fmla="*/ 0 w 9525"/>
                <a:gd name="connsiteY2" fmla="*/ 0 h 190"/>
                <a:gd name="connsiteX3" fmla="*/ 0 w 9525"/>
                <a:gd name="connsiteY3" fmla="*/ 95 h 190"/>
                <a:gd name="connsiteX4" fmla="*/ 0 w 9525"/>
                <a:gd name="connsiteY4" fmla="*/ 95 h 190"/>
                <a:gd name="connsiteX5" fmla="*/ 0 w 9525"/>
                <a:gd name="connsiteY5" fmla="*/ 191 h 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525" h="190">
                  <a:moveTo>
                    <a:pt x="0" y="191"/>
                  </a:moveTo>
                  <a:lnTo>
                    <a:pt x="0" y="95"/>
                  </a:lnTo>
                  <a:lnTo>
                    <a:pt x="0" y="0"/>
                  </a:lnTo>
                  <a:lnTo>
                    <a:pt x="0" y="95"/>
                  </a:lnTo>
                  <a:lnTo>
                    <a:pt x="0" y="95"/>
                  </a:lnTo>
                  <a:lnTo>
                    <a:pt x="0" y="191"/>
                  </a:lnTo>
                  <a:close/>
                </a:path>
              </a:pathLst>
            </a:custGeom>
            <a:solidFill>
              <a:srgbClr val="2E3192"/>
            </a:solidFill>
            <a:ln w="9525" cap="flat">
              <a:noFill/>
              <a:prstDash val="solid"/>
              <a:miter/>
            </a:ln>
          </p:spPr>
          <p:txBody>
            <a:bodyPr rtlCol="0" anchor="ctr"/>
            <a:lstStyle/>
            <a:p>
              <a:endParaRPr lang="zh-CN" altLang="en-US"/>
            </a:p>
          </p:txBody>
        </p:sp>
        <p:sp>
          <p:nvSpPr>
            <p:cNvPr id="842" name="iṡ1íḋe">
              <a:extLst>
                <a:ext uri="{FF2B5EF4-FFF2-40B4-BE49-F238E27FC236}">
                  <a16:creationId xmlns:a16="http://schemas.microsoft.com/office/drawing/2014/main" id="{4ADF0396-AA45-4068-ACD6-241C476C30EA}"/>
                </a:ext>
              </a:extLst>
            </p:cNvPr>
            <p:cNvSpPr/>
            <p:nvPr/>
          </p:nvSpPr>
          <p:spPr>
            <a:xfrm>
              <a:off x="5957603" y="3373553"/>
              <a:ext cx="340381" cy="292068"/>
            </a:xfrm>
            <a:custGeom>
              <a:avLst/>
              <a:gdLst>
                <a:gd name="connsiteX0" fmla="*/ 105391 w 111823"/>
                <a:gd name="connsiteY0" fmla="*/ 90896 h 95951"/>
                <a:gd name="connsiteX1" fmla="*/ 111487 w 111823"/>
                <a:gd name="connsiteY1" fmla="*/ 86420 h 95951"/>
                <a:gd name="connsiteX2" fmla="*/ 53099 w 111823"/>
                <a:gd name="connsiteY2" fmla="*/ -163 h 95951"/>
                <a:gd name="connsiteX3" fmla="*/ -336 w 111823"/>
                <a:gd name="connsiteY3" fmla="*/ 28412 h 95951"/>
                <a:gd name="connsiteX4" fmla="*/ 52908 w 111823"/>
                <a:gd name="connsiteY4" fmla="*/ 85562 h 95951"/>
                <a:gd name="connsiteX5" fmla="*/ 105391 w 111823"/>
                <a:gd name="connsiteY5" fmla="*/ 90896 h 95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1823" h="95951">
                  <a:moveTo>
                    <a:pt x="105391" y="90896"/>
                  </a:moveTo>
                  <a:cubicBezTo>
                    <a:pt x="107582" y="89630"/>
                    <a:pt x="109620" y="88134"/>
                    <a:pt x="111487" y="86420"/>
                  </a:cubicBezTo>
                  <a:lnTo>
                    <a:pt x="53099" y="-163"/>
                  </a:lnTo>
                  <a:lnTo>
                    <a:pt x="-336" y="28412"/>
                  </a:lnTo>
                  <a:cubicBezTo>
                    <a:pt x="12141" y="51768"/>
                    <a:pt x="30496" y="71465"/>
                    <a:pt x="52908" y="85562"/>
                  </a:cubicBezTo>
                  <a:cubicBezTo>
                    <a:pt x="73387" y="97469"/>
                    <a:pt x="91866" y="98612"/>
                    <a:pt x="105391" y="90896"/>
                  </a:cubicBezTo>
                  <a:close/>
                </a:path>
              </a:pathLst>
            </a:custGeom>
            <a:solidFill>
              <a:srgbClr val="323A82"/>
            </a:solidFill>
            <a:ln w="9525" cap="flat">
              <a:noFill/>
              <a:prstDash val="solid"/>
              <a:miter/>
            </a:ln>
          </p:spPr>
          <p:txBody>
            <a:bodyPr rtlCol="0" anchor="ctr"/>
            <a:lstStyle/>
            <a:p>
              <a:endParaRPr lang="zh-CN" altLang="en-US"/>
            </a:p>
          </p:txBody>
        </p:sp>
        <p:sp>
          <p:nvSpPr>
            <p:cNvPr id="843" name="ï$ḷïdê">
              <a:extLst>
                <a:ext uri="{FF2B5EF4-FFF2-40B4-BE49-F238E27FC236}">
                  <a16:creationId xmlns:a16="http://schemas.microsoft.com/office/drawing/2014/main" id="{CC1A9DEA-AE72-445F-A792-2A7A72993486}"/>
                </a:ext>
              </a:extLst>
            </p:cNvPr>
            <p:cNvSpPr/>
            <p:nvPr/>
          </p:nvSpPr>
          <p:spPr>
            <a:xfrm>
              <a:off x="6120256" y="3328616"/>
              <a:ext cx="250792" cy="308490"/>
            </a:xfrm>
            <a:custGeom>
              <a:avLst/>
              <a:gdLst>
                <a:gd name="connsiteX0" fmla="*/ 58388 w 82391"/>
                <a:gd name="connsiteY0" fmla="*/ 101346 h 101346"/>
                <a:gd name="connsiteX1" fmla="*/ 82391 w 82391"/>
                <a:gd name="connsiteY1" fmla="*/ 87535 h 101346"/>
                <a:gd name="connsiteX2" fmla="*/ 78105 w 82391"/>
                <a:gd name="connsiteY2" fmla="*/ 80867 h 101346"/>
                <a:gd name="connsiteX3" fmla="*/ 27813 w 82391"/>
                <a:gd name="connsiteY3" fmla="*/ 3143 h 101346"/>
                <a:gd name="connsiteX4" fmla="*/ 25718 w 82391"/>
                <a:gd name="connsiteY4" fmla="*/ 0 h 101346"/>
                <a:gd name="connsiteX5" fmla="*/ 0 w 82391"/>
                <a:gd name="connsiteY5" fmla="*/ 14764 h 101346"/>
                <a:gd name="connsiteX6" fmla="*/ 58388 w 82391"/>
                <a:gd name="connsiteY6" fmla="*/ 101346 h 101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391" h="101346">
                  <a:moveTo>
                    <a:pt x="58388" y="101346"/>
                  </a:moveTo>
                  <a:lnTo>
                    <a:pt x="82391" y="87535"/>
                  </a:lnTo>
                  <a:lnTo>
                    <a:pt x="78105" y="80867"/>
                  </a:lnTo>
                  <a:lnTo>
                    <a:pt x="27813" y="3143"/>
                  </a:lnTo>
                  <a:lnTo>
                    <a:pt x="25718" y="0"/>
                  </a:lnTo>
                  <a:lnTo>
                    <a:pt x="0" y="14764"/>
                  </a:lnTo>
                  <a:lnTo>
                    <a:pt x="58388" y="101346"/>
                  </a:lnTo>
                  <a:close/>
                </a:path>
              </a:pathLst>
            </a:custGeom>
            <a:solidFill>
              <a:srgbClr val="171A42"/>
            </a:solidFill>
            <a:ln w="9525" cap="flat">
              <a:noFill/>
              <a:prstDash val="solid"/>
              <a:miter/>
            </a:ln>
          </p:spPr>
          <p:txBody>
            <a:bodyPr rtlCol="0" anchor="ctr"/>
            <a:lstStyle/>
            <a:p>
              <a:endParaRPr lang="zh-CN" altLang="en-US"/>
            </a:p>
          </p:txBody>
        </p:sp>
        <p:sp>
          <p:nvSpPr>
            <p:cNvPr id="844" name="íŝļiďé">
              <a:extLst>
                <a:ext uri="{FF2B5EF4-FFF2-40B4-BE49-F238E27FC236}">
                  <a16:creationId xmlns:a16="http://schemas.microsoft.com/office/drawing/2014/main" id="{1891841E-A284-4B56-B8A8-1BE4471295CA}"/>
                </a:ext>
              </a:extLst>
            </p:cNvPr>
            <p:cNvSpPr/>
            <p:nvPr/>
          </p:nvSpPr>
          <p:spPr>
            <a:xfrm>
              <a:off x="5957314" y="3328616"/>
              <a:ext cx="241222" cy="131918"/>
            </a:xfrm>
            <a:custGeom>
              <a:avLst/>
              <a:gdLst>
                <a:gd name="connsiteX0" fmla="*/ 0 w 79247"/>
                <a:gd name="connsiteY0" fmla="*/ 43339 h 43338"/>
                <a:gd name="connsiteX1" fmla="*/ 73914 w 79247"/>
                <a:gd name="connsiteY1" fmla="*/ 857 h 43338"/>
                <a:gd name="connsiteX2" fmla="*/ 79248 w 79247"/>
                <a:gd name="connsiteY2" fmla="*/ 0 h 43338"/>
                <a:gd name="connsiteX3" fmla="*/ 53530 w 79247"/>
                <a:gd name="connsiteY3" fmla="*/ 14764 h 43338"/>
                <a:gd name="connsiteX4" fmla="*/ 0 w 79247"/>
                <a:gd name="connsiteY4" fmla="*/ 43339 h 433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247" h="43338">
                  <a:moveTo>
                    <a:pt x="0" y="43339"/>
                  </a:moveTo>
                  <a:lnTo>
                    <a:pt x="73914" y="857"/>
                  </a:lnTo>
                  <a:lnTo>
                    <a:pt x="79248" y="0"/>
                  </a:lnTo>
                  <a:lnTo>
                    <a:pt x="53530" y="14764"/>
                  </a:lnTo>
                  <a:lnTo>
                    <a:pt x="0" y="43339"/>
                  </a:lnTo>
                  <a:close/>
                </a:path>
              </a:pathLst>
            </a:custGeom>
            <a:solidFill>
              <a:srgbClr val="171A42"/>
            </a:solidFill>
            <a:ln w="9525" cap="flat">
              <a:noFill/>
              <a:prstDash val="solid"/>
              <a:miter/>
            </a:ln>
          </p:spPr>
          <p:txBody>
            <a:bodyPr rtlCol="0" anchor="ctr"/>
            <a:lstStyle/>
            <a:p>
              <a:endParaRPr lang="zh-CN" altLang="en-US"/>
            </a:p>
          </p:txBody>
        </p:sp>
        <p:sp>
          <p:nvSpPr>
            <p:cNvPr id="845" name="îŝľïḋè">
              <a:extLst>
                <a:ext uri="{FF2B5EF4-FFF2-40B4-BE49-F238E27FC236}">
                  <a16:creationId xmlns:a16="http://schemas.microsoft.com/office/drawing/2014/main" id="{86391D09-F6C3-4F5D-9B71-FC53C1804C28}"/>
                </a:ext>
              </a:extLst>
            </p:cNvPr>
            <p:cNvSpPr/>
            <p:nvPr/>
          </p:nvSpPr>
          <p:spPr>
            <a:xfrm>
              <a:off x="6279429" y="3621448"/>
              <a:ext cx="47838" cy="29283"/>
            </a:xfrm>
            <a:custGeom>
              <a:avLst/>
              <a:gdLst>
                <a:gd name="connsiteX0" fmla="*/ -336 w 15716"/>
                <a:gd name="connsiteY0" fmla="*/ 9458 h 9620"/>
                <a:gd name="connsiteX1" fmla="*/ 9189 w 15716"/>
                <a:gd name="connsiteY1" fmla="*/ 4219 h 9620"/>
                <a:gd name="connsiteX2" fmla="*/ 15380 w 15716"/>
                <a:gd name="connsiteY2" fmla="*/ -163 h 9620"/>
                <a:gd name="connsiteX3" fmla="*/ 5855 w 15716"/>
                <a:gd name="connsiteY3" fmla="*/ 4981 h 9620"/>
                <a:gd name="connsiteX4" fmla="*/ -336 w 15716"/>
                <a:gd name="connsiteY4" fmla="*/ 9458 h 9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16" h="9620">
                  <a:moveTo>
                    <a:pt x="-336" y="9458"/>
                  </a:moveTo>
                  <a:lnTo>
                    <a:pt x="9189" y="4219"/>
                  </a:lnTo>
                  <a:cubicBezTo>
                    <a:pt x="11408" y="2990"/>
                    <a:pt x="13485" y="1523"/>
                    <a:pt x="15380" y="-163"/>
                  </a:cubicBezTo>
                  <a:lnTo>
                    <a:pt x="5855" y="4981"/>
                  </a:lnTo>
                  <a:cubicBezTo>
                    <a:pt x="3960" y="6695"/>
                    <a:pt x="1883" y="8200"/>
                    <a:pt x="-336" y="9458"/>
                  </a:cubicBezTo>
                  <a:close/>
                </a:path>
              </a:pathLst>
            </a:custGeom>
            <a:solidFill>
              <a:srgbClr val="171A42"/>
            </a:solidFill>
            <a:ln w="9525" cap="flat">
              <a:noFill/>
              <a:prstDash val="solid"/>
              <a:miter/>
            </a:ln>
          </p:spPr>
          <p:txBody>
            <a:bodyPr rtlCol="0" anchor="ctr"/>
            <a:lstStyle/>
            <a:p>
              <a:endParaRPr lang="zh-CN" altLang="en-US"/>
            </a:p>
          </p:txBody>
        </p:sp>
        <p:sp>
          <p:nvSpPr>
            <p:cNvPr id="846" name="ïśḻïḍè">
              <a:extLst>
                <a:ext uri="{FF2B5EF4-FFF2-40B4-BE49-F238E27FC236}">
                  <a16:creationId xmlns:a16="http://schemas.microsoft.com/office/drawing/2014/main" id="{C78AD938-EA6B-470E-B4FD-F750F8F016A2}"/>
                </a:ext>
              </a:extLst>
            </p:cNvPr>
            <p:cNvSpPr/>
            <p:nvPr/>
          </p:nvSpPr>
          <p:spPr>
            <a:xfrm>
              <a:off x="6325240" y="3260191"/>
              <a:ext cx="114933" cy="361256"/>
            </a:xfrm>
            <a:custGeom>
              <a:avLst/>
              <a:gdLst>
                <a:gd name="connsiteX0" fmla="*/ -146 w 37758"/>
                <a:gd name="connsiteY0" fmla="*/ 118519 h 118681"/>
                <a:gd name="connsiteX1" fmla="*/ 21476 w 37758"/>
                <a:gd name="connsiteY1" fmla="*/ 106041 h 118681"/>
                <a:gd name="connsiteX2" fmla="*/ 37287 w 37758"/>
                <a:gd name="connsiteY2" fmla="*/ 62512 h 118681"/>
                <a:gd name="connsiteX3" fmla="*/ 21285 w 37758"/>
                <a:gd name="connsiteY3" fmla="*/ -163 h 118681"/>
                <a:gd name="connsiteX4" fmla="*/ -336 w 37758"/>
                <a:gd name="connsiteY4" fmla="*/ 12220 h 118681"/>
                <a:gd name="connsiteX5" fmla="*/ 15570 w 37758"/>
                <a:gd name="connsiteY5" fmla="*/ 74894 h 118681"/>
                <a:gd name="connsiteX6" fmla="*/ 13475 w 37758"/>
                <a:gd name="connsiteY6" fmla="*/ 93944 h 118681"/>
                <a:gd name="connsiteX7" fmla="*/ 3378 w 37758"/>
                <a:gd name="connsiteY7" fmla="*/ 114709 h 118681"/>
                <a:gd name="connsiteX8" fmla="*/ -146 w 37758"/>
                <a:gd name="connsiteY8" fmla="*/ 118519 h 118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758" h="118681">
                  <a:moveTo>
                    <a:pt x="-146" y="118519"/>
                  </a:moveTo>
                  <a:lnTo>
                    <a:pt x="21476" y="106041"/>
                  </a:lnTo>
                  <a:cubicBezTo>
                    <a:pt x="32649" y="94411"/>
                    <a:pt x="38392" y="78600"/>
                    <a:pt x="37287" y="62512"/>
                  </a:cubicBezTo>
                  <a:cubicBezTo>
                    <a:pt x="36687" y="40690"/>
                    <a:pt x="31220" y="19278"/>
                    <a:pt x="21285" y="-163"/>
                  </a:cubicBezTo>
                  <a:lnTo>
                    <a:pt x="-336" y="12220"/>
                  </a:lnTo>
                  <a:cubicBezTo>
                    <a:pt x="9598" y="31651"/>
                    <a:pt x="15037" y="53072"/>
                    <a:pt x="15570" y="74894"/>
                  </a:cubicBezTo>
                  <a:cubicBezTo>
                    <a:pt x="15599" y="81305"/>
                    <a:pt x="14894" y="87696"/>
                    <a:pt x="13475" y="93944"/>
                  </a:cubicBezTo>
                  <a:cubicBezTo>
                    <a:pt x="11741" y="101545"/>
                    <a:pt x="8284" y="108651"/>
                    <a:pt x="3378" y="114709"/>
                  </a:cubicBezTo>
                  <a:cubicBezTo>
                    <a:pt x="2311" y="116071"/>
                    <a:pt x="1130" y="117347"/>
                    <a:pt x="-146" y="118519"/>
                  </a:cubicBezTo>
                  <a:close/>
                </a:path>
              </a:pathLst>
            </a:custGeom>
            <a:solidFill>
              <a:srgbClr val="323A82"/>
            </a:solidFill>
            <a:ln w="9525" cap="flat">
              <a:noFill/>
              <a:prstDash val="solid"/>
              <a:miter/>
            </a:ln>
          </p:spPr>
          <p:txBody>
            <a:bodyPr rtlCol="0" anchor="ctr"/>
            <a:lstStyle/>
            <a:p>
              <a:endParaRPr lang="zh-CN" altLang="en-US"/>
            </a:p>
          </p:txBody>
        </p:sp>
        <p:sp>
          <p:nvSpPr>
            <p:cNvPr id="847" name="íSļïḋê">
              <a:extLst>
                <a:ext uri="{FF2B5EF4-FFF2-40B4-BE49-F238E27FC236}">
                  <a16:creationId xmlns:a16="http://schemas.microsoft.com/office/drawing/2014/main" id="{7C8569D3-F952-4CB0-A0DC-8D616FAA0A86}"/>
                </a:ext>
              </a:extLst>
            </p:cNvPr>
            <p:cNvSpPr/>
            <p:nvPr/>
          </p:nvSpPr>
          <p:spPr>
            <a:xfrm>
              <a:off x="6147511" y="3298174"/>
              <a:ext cx="226149" cy="323274"/>
            </a:xfrm>
            <a:custGeom>
              <a:avLst/>
              <a:gdLst>
                <a:gd name="connsiteX0" fmla="*/ 58242 w 74295"/>
                <a:gd name="connsiteY0" fmla="*/ 106041 h 106203"/>
                <a:gd name="connsiteX1" fmla="*/ 61767 w 74295"/>
                <a:gd name="connsiteY1" fmla="*/ 102326 h 106203"/>
                <a:gd name="connsiteX2" fmla="*/ 71863 w 74295"/>
                <a:gd name="connsiteY2" fmla="*/ 81562 h 106203"/>
                <a:gd name="connsiteX3" fmla="*/ 73959 w 74295"/>
                <a:gd name="connsiteY3" fmla="*/ 62512 h 106203"/>
                <a:gd name="connsiteX4" fmla="*/ 58052 w 74295"/>
                <a:gd name="connsiteY4" fmla="*/ -163 h 106203"/>
                <a:gd name="connsiteX5" fmla="*/ 35668 w 74295"/>
                <a:gd name="connsiteY5" fmla="*/ 6791 h 106203"/>
                <a:gd name="connsiteX6" fmla="*/ 24143 w 74295"/>
                <a:gd name="connsiteY6" fmla="*/ 10696 h 106203"/>
                <a:gd name="connsiteX7" fmla="*/ -336 w 74295"/>
                <a:gd name="connsiteY7" fmla="*/ 18887 h 106203"/>
                <a:gd name="connsiteX8" fmla="*/ -336 w 74295"/>
                <a:gd name="connsiteY8" fmla="*/ 18887 h 106203"/>
                <a:gd name="connsiteX9" fmla="*/ 35668 w 74295"/>
                <a:gd name="connsiteY9" fmla="*/ 73466 h 106203"/>
                <a:gd name="connsiteX10" fmla="*/ 55766 w 74295"/>
                <a:gd name="connsiteY10" fmla="*/ 103279 h 106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4295" h="106203">
                  <a:moveTo>
                    <a:pt x="58242" y="106041"/>
                  </a:moveTo>
                  <a:cubicBezTo>
                    <a:pt x="59509" y="104898"/>
                    <a:pt x="60690" y="103660"/>
                    <a:pt x="61767" y="102326"/>
                  </a:cubicBezTo>
                  <a:cubicBezTo>
                    <a:pt x="66672" y="96268"/>
                    <a:pt x="70130" y="89163"/>
                    <a:pt x="71863" y="81562"/>
                  </a:cubicBezTo>
                  <a:cubicBezTo>
                    <a:pt x="73282" y="75313"/>
                    <a:pt x="73987" y="68922"/>
                    <a:pt x="73959" y="62512"/>
                  </a:cubicBezTo>
                  <a:cubicBezTo>
                    <a:pt x="73425" y="40690"/>
                    <a:pt x="67987" y="19268"/>
                    <a:pt x="58052" y="-163"/>
                  </a:cubicBezTo>
                  <a:lnTo>
                    <a:pt x="35668" y="6791"/>
                  </a:lnTo>
                  <a:lnTo>
                    <a:pt x="24143" y="10696"/>
                  </a:lnTo>
                  <a:lnTo>
                    <a:pt x="-336" y="18887"/>
                  </a:lnTo>
                  <a:lnTo>
                    <a:pt x="-336" y="18887"/>
                  </a:lnTo>
                  <a:lnTo>
                    <a:pt x="35668" y="73466"/>
                  </a:lnTo>
                  <a:lnTo>
                    <a:pt x="55766" y="103279"/>
                  </a:lnTo>
                  <a:close/>
                </a:path>
              </a:pathLst>
            </a:custGeom>
            <a:solidFill>
              <a:srgbClr val="316DE6"/>
            </a:solidFill>
            <a:ln w="9525" cap="flat">
              <a:noFill/>
              <a:prstDash val="solid"/>
              <a:miter/>
            </a:ln>
          </p:spPr>
          <p:txBody>
            <a:bodyPr rtlCol="0" anchor="ctr"/>
            <a:lstStyle/>
            <a:p>
              <a:endParaRPr lang="zh-CN" altLang="en-US"/>
            </a:p>
          </p:txBody>
        </p:sp>
        <p:sp>
          <p:nvSpPr>
            <p:cNvPr id="848" name="iṡḻiḓe">
              <a:extLst>
                <a:ext uri="{FF2B5EF4-FFF2-40B4-BE49-F238E27FC236}">
                  <a16:creationId xmlns:a16="http://schemas.microsoft.com/office/drawing/2014/main" id="{05AC8E08-14EC-44B3-8743-33965BC22A50}"/>
                </a:ext>
              </a:extLst>
            </p:cNvPr>
            <p:cNvSpPr/>
            <p:nvPr/>
          </p:nvSpPr>
          <p:spPr>
            <a:xfrm>
              <a:off x="6027188" y="3029337"/>
              <a:ext cx="167580" cy="58051"/>
            </a:xfrm>
            <a:custGeom>
              <a:avLst/>
              <a:gdLst>
                <a:gd name="connsiteX0" fmla="*/ 33096 w 55054"/>
                <a:gd name="connsiteY0" fmla="*/ 18909 h 19071"/>
                <a:gd name="connsiteX1" fmla="*/ 54718 w 55054"/>
                <a:gd name="connsiteY1" fmla="*/ 6431 h 19071"/>
                <a:gd name="connsiteX2" fmla="*/ 21285 w 55054"/>
                <a:gd name="connsiteY2" fmla="*/ 240 h 19071"/>
                <a:gd name="connsiteX3" fmla="*/ -336 w 55054"/>
                <a:gd name="connsiteY3" fmla="*/ 12622 h 19071"/>
                <a:gd name="connsiteX4" fmla="*/ 28239 w 55054"/>
                <a:gd name="connsiteY4" fmla="*/ 16718 h 19071"/>
                <a:gd name="connsiteX5" fmla="*/ 33096 w 55054"/>
                <a:gd name="connsiteY5" fmla="*/ 18909 h 190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5054" h="19071">
                  <a:moveTo>
                    <a:pt x="33096" y="18909"/>
                  </a:moveTo>
                  <a:lnTo>
                    <a:pt x="54718" y="6431"/>
                  </a:lnTo>
                  <a:cubicBezTo>
                    <a:pt x="44460" y="1021"/>
                    <a:pt x="32801" y="-1132"/>
                    <a:pt x="21285" y="240"/>
                  </a:cubicBezTo>
                  <a:lnTo>
                    <a:pt x="-336" y="12622"/>
                  </a:lnTo>
                  <a:cubicBezTo>
                    <a:pt x="9389" y="11355"/>
                    <a:pt x="19266" y="12775"/>
                    <a:pt x="28239" y="16718"/>
                  </a:cubicBezTo>
                  <a:cubicBezTo>
                    <a:pt x="29763" y="17004"/>
                    <a:pt x="31382" y="17670"/>
                    <a:pt x="33096" y="18909"/>
                  </a:cubicBezTo>
                  <a:close/>
                </a:path>
              </a:pathLst>
            </a:custGeom>
            <a:solidFill>
              <a:srgbClr val="D9530B"/>
            </a:solidFill>
            <a:ln w="9525" cap="flat">
              <a:noFill/>
              <a:prstDash val="solid"/>
              <a:miter/>
            </a:ln>
          </p:spPr>
          <p:txBody>
            <a:bodyPr rtlCol="0" anchor="ctr"/>
            <a:lstStyle/>
            <a:p>
              <a:endParaRPr lang="zh-CN" altLang="en-US"/>
            </a:p>
          </p:txBody>
        </p:sp>
        <p:sp>
          <p:nvSpPr>
            <p:cNvPr id="849" name="iSḷîḓé">
              <a:extLst>
                <a:ext uri="{FF2B5EF4-FFF2-40B4-BE49-F238E27FC236}">
                  <a16:creationId xmlns:a16="http://schemas.microsoft.com/office/drawing/2014/main" id="{FBF5DED1-7EF4-4573-A7B4-154ABE5DF6FF}"/>
                </a:ext>
              </a:extLst>
            </p:cNvPr>
            <p:cNvSpPr/>
            <p:nvPr/>
          </p:nvSpPr>
          <p:spPr>
            <a:xfrm>
              <a:off x="6027188" y="3065724"/>
              <a:ext cx="120902" cy="291593"/>
            </a:xfrm>
            <a:custGeom>
              <a:avLst/>
              <a:gdLst>
                <a:gd name="connsiteX0" fmla="*/ 39383 w 39719"/>
                <a:gd name="connsiteY0" fmla="*/ 95633 h 95795"/>
                <a:gd name="connsiteX1" fmla="*/ 39383 w 39719"/>
                <a:gd name="connsiteY1" fmla="*/ 94966 h 95795"/>
                <a:gd name="connsiteX2" fmla="*/ 35573 w 39719"/>
                <a:gd name="connsiteY2" fmla="*/ 40388 h 95795"/>
                <a:gd name="connsiteX3" fmla="*/ 33954 w 39719"/>
                <a:gd name="connsiteY3" fmla="*/ 18099 h 95795"/>
                <a:gd name="connsiteX4" fmla="*/ 33954 w 39719"/>
                <a:gd name="connsiteY4" fmla="*/ 18099 h 95795"/>
                <a:gd name="connsiteX5" fmla="*/ 33192 w 39719"/>
                <a:gd name="connsiteY5" fmla="*/ 6574 h 95795"/>
                <a:gd name="connsiteX6" fmla="*/ 28239 w 39719"/>
                <a:gd name="connsiteY6" fmla="*/ 4383 h 95795"/>
                <a:gd name="connsiteX7" fmla="*/ -336 w 39719"/>
                <a:gd name="connsiteY7" fmla="*/ 288 h 95795"/>
                <a:gd name="connsiteX8" fmla="*/ 14713 w 39719"/>
                <a:gd name="connsiteY8" fmla="*/ 36578 h 95795"/>
                <a:gd name="connsiteX9" fmla="*/ 39097 w 39719"/>
                <a:gd name="connsiteY9" fmla="*/ 95061 h 95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719" h="95795">
                  <a:moveTo>
                    <a:pt x="39383" y="95633"/>
                  </a:moveTo>
                  <a:lnTo>
                    <a:pt x="39383" y="94966"/>
                  </a:lnTo>
                  <a:lnTo>
                    <a:pt x="35573" y="40388"/>
                  </a:lnTo>
                  <a:lnTo>
                    <a:pt x="33954" y="18099"/>
                  </a:lnTo>
                  <a:lnTo>
                    <a:pt x="33954" y="18099"/>
                  </a:lnTo>
                  <a:lnTo>
                    <a:pt x="33192" y="6574"/>
                  </a:lnTo>
                  <a:cubicBezTo>
                    <a:pt x="31477" y="5717"/>
                    <a:pt x="29858" y="5050"/>
                    <a:pt x="28239" y="4383"/>
                  </a:cubicBezTo>
                  <a:cubicBezTo>
                    <a:pt x="19266" y="440"/>
                    <a:pt x="9389" y="-979"/>
                    <a:pt x="-336" y="288"/>
                  </a:cubicBezTo>
                  <a:lnTo>
                    <a:pt x="14713" y="36578"/>
                  </a:lnTo>
                  <a:lnTo>
                    <a:pt x="39097" y="95061"/>
                  </a:lnTo>
                  <a:close/>
                </a:path>
              </a:pathLst>
            </a:custGeom>
            <a:solidFill>
              <a:srgbClr val="FF7D33"/>
            </a:solidFill>
            <a:ln w="9525" cap="flat">
              <a:noFill/>
              <a:prstDash val="solid"/>
              <a:miter/>
            </a:ln>
          </p:spPr>
          <p:txBody>
            <a:bodyPr rtlCol="0" anchor="ctr"/>
            <a:lstStyle/>
            <a:p>
              <a:endParaRPr lang="zh-CN" altLang="en-US"/>
            </a:p>
          </p:txBody>
        </p:sp>
        <p:sp>
          <p:nvSpPr>
            <p:cNvPr id="850" name="îsľîḓe">
              <a:extLst>
                <a:ext uri="{FF2B5EF4-FFF2-40B4-BE49-F238E27FC236}">
                  <a16:creationId xmlns:a16="http://schemas.microsoft.com/office/drawing/2014/main" id="{25364711-C8E9-4C80-B7DA-136A87B2F5E4}"/>
                </a:ext>
              </a:extLst>
            </p:cNvPr>
            <p:cNvSpPr/>
            <p:nvPr/>
          </p:nvSpPr>
          <p:spPr>
            <a:xfrm>
              <a:off x="5988916" y="3029404"/>
              <a:ext cx="104084" cy="51025"/>
            </a:xfrm>
            <a:custGeom>
              <a:avLst/>
              <a:gdLst>
                <a:gd name="connsiteX0" fmla="*/ 12237 w 34194"/>
                <a:gd name="connsiteY0" fmla="*/ 12220 h 16763"/>
                <a:gd name="connsiteX1" fmla="*/ 33858 w 34194"/>
                <a:gd name="connsiteY1" fmla="*/ -163 h 16763"/>
                <a:gd name="connsiteX2" fmla="*/ 21381 w 34194"/>
                <a:gd name="connsiteY2" fmla="*/ 4219 h 16763"/>
                <a:gd name="connsiteX3" fmla="*/ -336 w 34194"/>
                <a:gd name="connsiteY3" fmla="*/ 16601 h 16763"/>
                <a:gd name="connsiteX4" fmla="*/ 11665 w 34194"/>
                <a:gd name="connsiteY4" fmla="*/ 12315 h 16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194" h="16763">
                  <a:moveTo>
                    <a:pt x="12237" y="12220"/>
                  </a:moveTo>
                  <a:lnTo>
                    <a:pt x="33858" y="-163"/>
                  </a:lnTo>
                  <a:cubicBezTo>
                    <a:pt x="29458" y="485"/>
                    <a:pt x="25219" y="1971"/>
                    <a:pt x="21381" y="4219"/>
                  </a:cubicBezTo>
                  <a:lnTo>
                    <a:pt x="-336" y="16601"/>
                  </a:lnTo>
                  <a:cubicBezTo>
                    <a:pt x="3379" y="14468"/>
                    <a:pt x="7445" y="13020"/>
                    <a:pt x="11665" y="12315"/>
                  </a:cubicBezTo>
                  <a:close/>
                </a:path>
              </a:pathLst>
            </a:custGeom>
            <a:solidFill>
              <a:srgbClr val="E1E8F2"/>
            </a:solidFill>
            <a:ln w="9525" cap="flat">
              <a:noFill/>
              <a:prstDash val="solid"/>
              <a:miter/>
            </a:ln>
          </p:spPr>
          <p:txBody>
            <a:bodyPr rtlCol="0" anchor="ctr"/>
            <a:lstStyle/>
            <a:p>
              <a:endParaRPr lang="zh-CN" altLang="en-US"/>
            </a:p>
          </p:txBody>
        </p:sp>
        <p:sp>
          <p:nvSpPr>
            <p:cNvPr id="851" name="iS1ïḍe">
              <a:extLst>
                <a:ext uri="{FF2B5EF4-FFF2-40B4-BE49-F238E27FC236}">
                  <a16:creationId xmlns:a16="http://schemas.microsoft.com/office/drawing/2014/main" id="{754B52E0-E4BA-4E0E-A20C-4CFD294F2D87}"/>
                </a:ext>
              </a:extLst>
            </p:cNvPr>
            <p:cNvSpPr/>
            <p:nvPr/>
          </p:nvSpPr>
          <p:spPr>
            <a:xfrm>
              <a:off x="5922233" y="3067383"/>
              <a:ext cx="225856" cy="376044"/>
            </a:xfrm>
            <a:custGeom>
              <a:avLst/>
              <a:gdLst>
                <a:gd name="connsiteX0" fmla="*/ 73863 w 74199"/>
                <a:gd name="connsiteY0" fmla="*/ 95183 h 123539"/>
                <a:gd name="connsiteX1" fmla="*/ 73863 w 74199"/>
                <a:gd name="connsiteY1" fmla="*/ 95183 h 123539"/>
                <a:gd name="connsiteX2" fmla="*/ 73863 w 74199"/>
                <a:gd name="connsiteY2" fmla="*/ 94611 h 123539"/>
                <a:gd name="connsiteX3" fmla="*/ 49479 w 74199"/>
                <a:gd name="connsiteY3" fmla="*/ 36128 h 123539"/>
                <a:gd name="connsiteX4" fmla="*/ 34430 w 74199"/>
                <a:gd name="connsiteY4" fmla="*/ -163 h 123539"/>
                <a:gd name="connsiteX5" fmla="*/ 33477 w 74199"/>
                <a:gd name="connsiteY5" fmla="*/ -163 h 123539"/>
                <a:gd name="connsiteX6" fmla="*/ 21476 w 74199"/>
                <a:gd name="connsiteY6" fmla="*/ 4124 h 123539"/>
                <a:gd name="connsiteX7" fmla="*/ -336 w 74199"/>
                <a:gd name="connsiteY7" fmla="*/ 51749 h 123539"/>
                <a:gd name="connsiteX8" fmla="*/ 20237 w 74199"/>
                <a:gd name="connsiteY8" fmla="*/ 123377 h 123539"/>
                <a:gd name="connsiteX9" fmla="*/ 40621 w 74199"/>
                <a:gd name="connsiteY9" fmla="*/ 112518 h 123539"/>
                <a:gd name="connsiteX10" fmla="*/ 42335 w 74199"/>
                <a:gd name="connsiteY10" fmla="*/ 111661 h 123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4199" h="123539">
                  <a:moveTo>
                    <a:pt x="73863" y="95183"/>
                  </a:moveTo>
                  <a:lnTo>
                    <a:pt x="73863" y="95183"/>
                  </a:lnTo>
                  <a:lnTo>
                    <a:pt x="73863" y="94611"/>
                  </a:lnTo>
                  <a:lnTo>
                    <a:pt x="49479" y="36128"/>
                  </a:lnTo>
                  <a:lnTo>
                    <a:pt x="34430" y="-163"/>
                  </a:lnTo>
                  <a:lnTo>
                    <a:pt x="33477" y="-163"/>
                  </a:lnTo>
                  <a:cubicBezTo>
                    <a:pt x="29258" y="542"/>
                    <a:pt x="25191" y="1990"/>
                    <a:pt x="21476" y="4124"/>
                  </a:cubicBezTo>
                  <a:cubicBezTo>
                    <a:pt x="8045" y="11839"/>
                    <a:pt x="-336" y="28412"/>
                    <a:pt x="-336" y="51749"/>
                  </a:cubicBezTo>
                  <a:cubicBezTo>
                    <a:pt x="426" y="76971"/>
                    <a:pt x="7503" y="101593"/>
                    <a:pt x="20237" y="123377"/>
                  </a:cubicBezTo>
                  <a:lnTo>
                    <a:pt x="40621" y="112518"/>
                  </a:lnTo>
                  <a:lnTo>
                    <a:pt x="42335" y="111661"/>
                  </a:lnTo>
                  <a:close/>
                </a:path>
              </a:pathLst>
            </a:custGeom>
            <a:solidFill>
              <a:srgbClr val="EDF4FF"/>
            </a:solidFill>
            <a:ln w="9525" cap="flat">
              <a:noFill/>
              <a:prstDash val="solid"/>
              <a:miter/>
            </a:ln>
          </p:spPr>
          <p:txBody>
            <a:bodyPr rtlCol="0" anchor="ctr"/>
            <a:lstStyle/>
            <a:p>
              <a:endParaRPr lang="zh-CN" altLang="en-US"/>
            </a:p>
          </p:txBody>
        </p:sp>
        <p:sp>
          <p:nvSpPr>
            <p:cNvPr id="852" name="iSḷíḍê">
              <a:extLst>
                <a:ext uri="{FF2B5EF4-FFF2-40B4-BE49-F238E27FC236}">
                  <a16:creationId xmlns:a16="http://schemas.microsoft.com/office/drawing/2014/main" id="{5AAECCBF-A759-4354-BEF5-A747019A8EAE}"/>
                </a:ext>
              </a:extLst>
            </p:cNvPr>
            <p:cNvSpPr/>
            <p:nvPr/>
          </p:nvSpPr>
          <p:spPr>
            <a:xfrm>
              <a:off x="6128955" y="3086231"/>
              <a:ext cx="196285" cy="271086"/>
            </a:xfrm>
            <a:custGeom>
              <a:avLst/>
              <a:gdLst>
                <a:gd name="connsiteX0" fmla="*/ 64148 w 64484"/>
                <a:gd name="connsiteY0" fmla="*/ 69370 h 89058"/>
                <a:gd name="connsiteX1" fmla="*/ 61862 w 64484"/>
                <a:gd name="connsiteY1" fmla="*/ 64988 h 89058"/>
                <a:gd name="connsiteX2" fmla="*/ 23286 w 64484"/>
                <a:gd name="connsiteY2" fmla="*/ 15554 h 89058"/>
                <a:gd name="connsiteX3" fmla="*/ 6141 w 64484"/>
                <a:gd name="connsiteY3" fmla="*/ 3266 h 89058"/>
                <a:gd name="connsiteX4" fmla="*/ -336 w 64484"/>
                <a:gd name="connsiteY4" fmla="*/ -163 h 89058"/>
                <a:gd name="connsiteX5" fmla="*/ 426 w 64484"/>
                <a:gd name="connsiteY5" fmla="*/ 11363 h 89058"/>
                <a:gd name="connsiteX6" fmla="*/ 426 w 64484"/>
                <a:gd name="connsiteY6" fmla="*/ 11363 h 89058"/>
                <a:gd name="connsiteX7" fmla="*/ 2045 w 64484"/>
                <a:gd name="connsiteY7" fmla="*/ 33651 h 89058"/>
                <a:gd name="connsiteX8" fmla="*/ 5855 w 64484"/>
                <a:gd name="connsiteY8" fmla="*/ 88229 h 89058"/>
                <a:gd name="connsiteX9" fmla="*/ 5855 w 64484"/>
                <a:gd name="connsiteY9" fmla="*/ 88896 h 89058"/>
                <a:gd name="connsiteX10" fmla="*/ 5855 w 64484"/>
                <a:gd name="connsiteY10" fmla="*/ 88896 h 89058"/>
                <a:gd name="connsiteX11" fmla="*/ 30334 w 64484"/>
                <a:gd name="connsiteY11" fmla="*/ 80705 h 89058"/>
                <a:gd name="connsiteX12" fmla="*/ 41764 w 64484"/>
                <a:gd name="connsiteY12" fmla="*/ 76418 h 890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4484" h="89058">
                  <a:moveTo>
                    <a:pt x="64148" y="69370"/>
                  </a:moveTo>
                  <a:lnTo>
                    <a:pt x="61862" y="64988"/>
                  </a:lnTo>
                  <a:cubicBezTo>
                    <a:pt x="52204" y="46243"/>
                    <a:pt x="39126" y="29479"/>
                    <a:pt x="23286" y="15554"/>
                  </a:cubicBezTo>
                  <a:cubicBezTo>
                    <a:pt x="17961" y="10934"/>
                    <a:pt x="12218" y="6829"/>
                    <a:pt x="6141" y="3266"/>
                  </a:cubicBezTo>
                  <a:lnTo>
                    <a:pt x="-336" y="-163"/>
                  </a:lnTo>
                  <a:lnTo>
                    <a:pt x="426" y="11363"/>
                  </a:lnTo>
                  <a:lnTo>
                    <a:pt x="426" y="11363"/>
                  </a:lnTo>
                  <a:lnTo>
                    <a:pt x="2045" y="33651"/>
                  </a:lnTo>
                  <a:lnTo>
                    <a:pt x="5855" y="88229"/>
                  </a:lnTo>
                  <a:lnTo>
                    <a:pt x="5855" y="88896"/>
                  </a:lnTo>
                  <a:lnTo>
                    <a:pt x="5855" y="88896"/>
                  </a:lnTo>
                  <a:lnTo>
                    <a:pt x="30334" y="80705"/>
                  </a:lnTo>
                  <a:lnTo>
                    <a:pt x="41764" y="76418"/>
                  </a:lnTo>
                  <a:close/>
                </a:path>
              </a:pathLst>
            </a:custGeom>
            <a:solidFill>
              <a:srgbClr val="D9530B"/>
            </a:solidFill>
            <a:ln w="9525" cap="flat">
              <a:noFill/>
              <a:prstDash val="solid"/>
              <a:miter/>
            </a:ln>
          </p:spPr>
          <p:txBody>
            <a:bodyPr rtlCol="0" anchor="ctr"/>
            <a:lstStyle/>
            <a:p>
              <a:endParaRPr lang="zh-CN" altLang="en-US"/>
            </a:p>
          </p:txBody>
        </p:sp>
        <p:sp>
          <p:nvSpPr>
            <p:cNvPr id="853" name="íṥľîdé">
              <a:extLst>
                <a:ext uri="{FF2B5EF4-FFF2-40B4-BE49-F238E27FC236}">
                  <a16:creationId xmlns:a16="http://schemas.microsoft.com/office/drawing/2014/main" id="{238E2079-D109-4040-B9FB-DFEA3E0F6BDE}"/>
                </a:ext>
              </a:extLst>
            </p:cNvPr>
            <p:cNvSpPr/>
            <p:nvPr/>
          </p:nvSpPr>
          <p:spPr>
            <a:xfrm>
              <a:off x="6128955" y="3048249"/>
              <a:ext cx="262100" cy="249632"/>
            </a:xfrm>
            <a:custGeom>
              <a:avLst/>
              <a:gdLst>
                <a:gd name="connsiteX0" fmla="*/ 64148 w 86106"/>
                <a:gd name="connsiteY0" fmla="*/ 81848 h 82010"/>
                <a:gd name="connsiteX1" fmla="*/ 85770 w 86106"/>
                <a:gd name="connsiteY1" fmla="*/ 69465 h 82010"/>
                <a:gd name="connsiteX2" fmla="*/ 27858 w 86106"/>
                <a:gd name="connsiteY2" fmla="*/ 3362 h 82010"/>
                <a:gd name="connsiteX3" fmla="*/ 21286 w 86106"/>
                <a:gd name="connsiteY3" fmla="*/ -163 h 82010"/>
                <a:gd name="connsiteX4" fmla="*/ -336 w 86106"/>
                <a:gd name="connsiteY4" fmla="*/ 12696 h 82010"/>
                <a:gd name="connsiteX5" fmla="*/ 6141 w 86106"/>
                <a:gd name="connsiteY5" fmla="*/ 16125 h 82010"/>
                <a:gd name="connsiteX6" fmla="*/ 23286 w 86106"/>
                <a:gd name="connsiteY6" fmla="*/ 28412 h 82010"/>
                <a:gd name="connsiteX7" fmla="*/ 61862 w 86106"/>
                <a:gd name="connsiteY7" fmla="*/ 77847 h 82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6106" h="82010">
                  <a:moveTo>
                    <a:pt x="64148" y="81848"/>
                  </a:moveTo>
                  <a:lnTo>
                    <a:pt x="85770" y="69465"/>
                  </a:lnTo>
                  <a:cubicBezTo>
                    <a:pt x="73168" y="42357"/>
                    <a:pt x="53071" y="19421"/>
                    <a:pt x="27858" y="3362"/>
                  </a:cubicBezTo>
                  <a:cubicBezTo>
                    <a:pt x="25724" y="2076"/>
                    <a:pt x="23533" y="904"/>
                    <a:pt x="21286" y="-163"/>
                  </a:cubicBezTo>
                  <a:lnTo>
                    <a:pt x="-336" y="12696"/>
                  </a:lnTo>
                  <a:lnTo>
                    <a:pt x="6141" y="16125"/>
                  </a:lnTo>
                  <a:cubicBezTo>
                    <a:pt x="12218" y="19687"/>
                    <a:pt x="17961" y="23793"/>
                    <a:pt x="23286" y="28412"/>
                  </a:cubicBezTo>
                  <a:cubicBezTo>
                    <a:pt x="39126" y="42338"/>
                    <a:pt x="52204" y="59102"/>
                    <a:pt x="61862" y="77847"/>
                  </a:cubicBezTo>
                  <a:close/>
                </a:path>
              </a:pathLst>
            </a:custGeom>
            <a:solidFill>
              <a:srgbClr val="BF4200"/>
            </a:solidFill>
            <a:ln w="9525" cap="flat">
              <a:noFill/>
              <a:prstDash val="solid"/>
              <a:miter/>
            </a:ln>
          </p:spPr>
          <p:txBody>
            <a:bodyPr rtlCol="0" anchor="ctr"/>
            <a:lstStyle/>
            <a:p>
              <a:endParaRPr lang="zh-CN" altLang="en-US"/>
            </a:p>
          </p:txBody>
        </p:sp>
        <p:sp>
          <p:nvSpPr>
            <p:cNvPr id="854" name="ïṩḻíḓè">
              <a:extLst>
                <a:ext uri="{FF2B5EF4-FFF2-40B4-BE49-F238E27FC236}">
                  <a16:creationId xmlns:a16="http://schemas.microsoft.com/office/drawing/2014/main" id="{2365F1C0-E6F1-4720-A934-B31488390561}"/>
                </a:ext>
              </a:extLst>
            </p:cNvPr>
            <p:cNvSpPr/>
            <p:nvPr/>
          </p:nvSpPr>
          <p:spPr>
            <a:xfrm>
              <a:off x="6765069" y="3674485"/>
              <a:ext cx="227887" cy="124981"/>
            </a:xfrm>
            <a:custGeom>
              <a:avLst/>
              <a:gdLst>
                <a:gd name="connsiteX0" fmla="*/ -336 w 74866"/>
                <a:gd name="connsiteY0" fmla="*/ 3940 h 41059"/>
                <a:gd name="connsiteX1" fmla="*/ 2045 w 74866"/>
                <a:gd name="connsiteY1" fmla="*/ 3178 h 41059"/>
                <a:gd name="connsiteX2" fmla="*/ 12141 w 74866"/>
                <a:gd name="connsiteY2" fmla="*/ 5654 h 41059"/>
                <a:gd name="connsiteX3" fmla="*/ 67672 w 74866"/>
                <a:gd name="connsiteY3" fmla="*/ 37658 h 41059"/>
                <a:gd name="connsiteX4" fmla="*/ 73292 w 74866"/>
                <a:gd name="connsiteY4" fmla="*/ 40897 h 41059"/>
                <a:gd name="connsiteX5" fmla="*/ 74530 w 74866"/>
                <a:gd name="connsiteY5" fmla="*/ 35087 h 41059"/>
                <a:gd name="connsiteX6" fmla="*/ 74530 w 74866"/>
                <a:gd name="connsiteY6" fmla="*/ 35087 h 41059"/>
                <a:gd name="connsiteX7" fmla="*/ 73292 w 74866"/>
                <a:gd name="connsiteY7" fmla="*/ 34420 h 41059"/>
                <a:gd name="connsiteX8" fmla="*/ 17761 w 74866"/>
                <a:gd name="connsiteY8" fmla="*/ 2321 h 41059"/>
                <a:gd name="connsiteX9" fmla="*/ 5283 w 74866"/>
                <a:gd name="connsiteY9" fmla="*/ 606 h 41059"/>
                <a:gd name="connsiteX10" fmla="*/ 3950 w 74866"/>
                <a:gd name="connsiteY10" fmla="*/ 1463 h 41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4866" h="41059">
                  <a:moveTo>
                    <a:pt x="-336" y="3940"/>
                  </a:moveTo>
                  <a:cubicBezTo>
                    <a:pt x="416" y="3578"/>
                    <a:pt x="1226" y="3330"/>
                    <a:pt x="2045" y="3178"/>
                  </a:cubicBezTo>
                  <a:cubicBezTo>
                    <a:pt x="5598" y="2806"/>
                    <a:pt x="9160" y="3683"/>
                    <a:pt x="12141" y="5654"/>
                  </a:cubicBezTo>
                  <a:lnTo>
                    <a:pt x="67672" y="37658"/>
                  </a:lnTo>
                  <a:lnTo>
                    <a:pt x="73292" y="40897"/>
                  </a:lnTo>
                  <a:cubicBezTo>
                    <a:pt x="73254" y="38887"/>
                    <a:pt x="73682" y="36906"/>
                    <a:pt x="74530" y="35087"/>
                  </a:cubicBezTo>
                  <a:lnTo>
                    <a:pt x="74530" y="35087"/>
                  </a:lnTo>
                  <a:lnTo>
                    <a:pt x="73292" y="34420"/>
                  </a:lnTo>
                  <a:lnTo>
                    <a:pt x="17761" y="2321"/>
                  </a:lnTo>
                  <a:cubicBezTo>
                    <a:pt x="14113" y="-213"/>
                    <a:pt x="9474" y="-851"/>
                    <a:pt x="5283" y="606"/>
                  </a:cubicBezTo>
                  <a:lnTo>
                    <a:pt x="3950" y="1463"/>
                  </a:lnTo>
                  <a:close/>
                </a:path>
              </a:pathLst>
            </a:custGeom>
            <a:solidFill>
              <a:srgbClr val="316DE6"/>
            </a:solidFill>
            <a:ln w="9525" cap="flat">
              <a:noFill/>
              <a:prstDash val="solid"/>
              <a:miter/>
            </a:ln>
          </p:spPr>
          <p:txBody>
            <a:bodyPr rtlCol="0" anchor="ctr"/>
            <a:lstStyle/>
            <a:p>
              <a:endParaRPr lang="zh-CN" altLang="en-US"/>
            </a:p>
          </p:txBody>
        </p:sp>
        <p:sp>
          <p:nvSpPr>
            <p:cNvPr id="855" name="î$ļíḍè">
              <a:extLst>
                <a:ext uri="{FF2B5EF4-FFF2-40B4-BE49-F238E27FC236}">
                  <a16:creationId xmlns:a16="http://schemas.microsoft.com/office/drawing/2014/main" id="{361C565A-8A9B-4D05-910C-FE9014D6B379}"/>
                </a:ext>
              </a:extLst>
            </p:cNvPr>
            <p:cNvSpPr/>
            <p:nvPr/>
          </p:nvSpPr>
          <p:spPr>
            <a:xfrm>
              <a:off x="6745907" y="3685848"/>
              <a:ext cx="390855" cy="518177"/>
            </a:xfrm>
            <a:custGeom>
              <a:avLst/>
              <a:gdLst>
                <a:gd name="connsiteX0" fmla="*/ -328 w 128405"/>
                <a:gd name="connsiteY0" fmla="*/ 12780 h 170233"/>
                <a:gd name="connsiteX1" fmla="*/ -328 w 128405"/>
                <a:gd name="connsiteY1" fmla="*/ 17066 h 170233"/>
                <a:gd name="connsiteX2" fmla="*/ 5292 w 128405"/>
                <a:gd name="connsiteY2" fmla="*/ 20400 h 170233"/>
                <a:gd name="connsiteX3" fmla="*/ 51488 w 128405"/>
                <a:gd name="connsiteY3" fmla="*/ 46974 h 170233"/>
                <a:gd name="connsiteX4" fmla="*/ 86730 w 128405"/>
                <a:gd name="connsiteY4" fmla="*/ 67072 h 170233"/>
                <a:gd name="connsiteX5" fmla="*/ 105780 w 128405"/>
                <a:gd name="connsiteY5" fmla="*/ 99552 h 170233"/>
                <a:gd name="connsiteX6" fmla="*/ 105780 w 128405"/>
                <a:gd name="connsiteY6" fmla="*/ 162989 h 170233"/>
                <a:gd name="connsiteX7" fmla="*/ 116829 w 128405"/>
                <a:gd name="connsiteY7" fmla="*/ 168609 h 170233"/>
                <a:gd name="connsiteX8" fmla="*/ 116829 w 128405"/>
                <a:gd name="connsiteY8" fmla="*/ 168609 h 170233"/>
                <a:gd name="connsiteX9" fmla="*/ 128069 w 128405"/>
                <a:gd name="connsiteY9" fmla="*/ 149559 h 170233"/>
                <a:gd name="connsiteX10" fmla="*/ 128069 w 128405"/>
                <a:gd name="connsiteY10" fmla="*/ 65358 h 170233"/>
                <a:gd name="connsiteX11" fmla="*/ 114353 w 128405"/>
                <a:gd name="connsiteY11" fmla="*/ 41640 h 170233"/>
                <a:gd name="connsiteX12" fmla="*/ 93779 w 128405"/>
                <a:gd name="connsiteY12" fmla="*/ 29734 h 170233"/>
                <a:gd name="connsiteX13" fmla="*/ 87302 w 128405"/>
                <a:gd name="connsiteY13" fmla="*/ 27924 h 170233"/>
                <a:gd name="connsiteX14" fmla="*/ 84635 w 128405"/>
                <a:gd name="connsiteY14" fmla="*/ 28496 h 170233"/>
                <a:gd name="connsiteX15" fmla="*/ 83778 w 128405"/>
                <a:gd name="connsiteY15" fmla="*/ 28972 h 170233"/>
                <a:gd name="connsiteX16" fmla="*/ 81301 w 128405"/>
                <a:gd name="connsiteY16" fmla="*/ 31830 h 170233"/>
                <a:gd name="connsiteX17" fmla="*/ 81301 w 128405"/>
                <a:gd name="connsiteY17" fmla="*/ 31830 h 170233"/>
                <a:gd name="connsiteX18" fmla="*/ 80063 w 128405"/>
                <a:gd name="connsiteY18" fmla="*/ 37640 h 170233"/>
                <a:gd name="connsiteX19" fmla="*/ 74443 w 128405"/>
                <a:gd name="connsiteY19" fmla="*/ 34401 h 170233"/>
                <a:gd name="connsiteX20" fmla="*/ 18913 w 128405"/>
                <a:gd name="connsiteY20" fmla="*/ 2397 h 170233"/>
                <a:gd name="connsiteX21" fmla="*/ 8816 w 128405"/>
                <a:gd name="connsiteY21" fmla="*/ -79 h 170233"/>
                <a:gd name="connsiteX22" fmla="*/ 6435 w 128405"/>
                <a:gd name="connsiteY22" fmla="*/ 683 h 170233"/>
                <a:gd name="connsiteX23" fmla="*/ 5006 w 128405"/>
                <a:gd name="connsiteY23" fmla="*/ 1445 h 170233"/>
                <a:gd name="connsiteX24" fmla="*/ -328 w 128405"/>
                <a:gd name="connsiteY24" fmla="*/ 12780 h 170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28405" h="170233">
                  <a:moveTo>
                    <a:pt x="-328" y="12780"/>
                  </a:moveTo>
                  <a:lnTo>
                    <a:pt x="-328" y="17066"/>
                  </a:lnTo>
                  <a:lnTo>
                    <a:pt x="5292" y="20400"/>
                  </a:lnTo>
                  <a:lnTo>
                    <a:pt x="51488" y="46974"/>
                  </a:lnTo>
                  <a:lnTo>
                    <a:pt x="86730" y="67072"/>
                  </a:lnTo>
                  <a:cubicBezTo>
                    <a:pt x="97932" y="74206"/>
                    <a:pt x="105019" y="86294"/>
                    <a:pt x="105780" y="99552"/>
                  </a:cubicBezTo>
                  <a:lnTo>
                    <a:pt x="105780" y="162989"/>
                  </a:lnTo>
                  <a:cubicBezTo>
                    <a:pt x="105780" y="169371"/>
                    <a:pt x="110924" y="171942"/>
                    <a:pt x="116829" y="168609"/>
                  </a:cubicBezTo>
                  <a:lnTo>
                    <a:pt x="116829" y="168609"/>
                  </a:lnTo>
                  <a:cubicBezTo>
                    <a:pt x="123364" y="164380"/>
                    <a:pt x="127526" y="157322"/>
                    <a:pt x="128069" y="149559"/>
                  </a:cubicBezTo>
                  <a:lnTo>
                    <a:pt x="128069" y="65358"/>
                  </a:lnTo>
                  <a:cubicBezTo>
                    <a:pt x="127526" y="55718"/>
                    <a:pt x="122430" y="46917"/>
                    <a:pt x="114353" y="41640"/>
                  </a:cubicBezTo>
                  <a:lnTo>
                    <a:pt x="93779" y="29734"/>
                  </a:lnTo>
                  <a:cubicBezTo>
                    <a:pt x="91836" y="28524"/>
                    <a:pt x="89588" y="27896"/>
                    <a:pt x="87302" y="27924"/>
                  </a:cubicBezTo>
                  <a:cubicBezTo>
                    <a:pt x="86387" y="27953"/>
                    <a:pt x="85483" y="28153"/>
                    <a:pt x="84635" y="28496"/>
                  </a:cubicBezTo>
                  <a:lnTo>
                    <a:pt x="83778" y="28972"/>
                  </a:lnTo>
                  <a:cubicBezTo>
                    <a:pt x="82721" y="29696"/>
                    <a:pt x="81863" y="30677"/>
                    <a:pt x="81301" y="31830"/>
                  </a:cubicBezTo>
                  <a:lnTo>
                    <a:pt x="81301" y="31830"/>
                  </a:lnTo>
                  <a:cubicBezTo>
                    <a:pt x="80454" y="33649"/>
                    <a:pt x="80025" y="35630"/>
                    <a:pt x="80063" y="37640"/>
                  </a:cubicBezTo>
                  <a:lnTo>
                    <a:pt x="74443" y="34401"/>
                  </a:lnTo>
                  <a:lnTo>
                    <a:pt x="18913" y="2397"/>
                  </a:lnTo>
                  <a:cubicBezTo>
                    <a:pt x="15931" y="426"/>
                    <a:pt x="12369" y="-451"/>
                    <a:pt x="8816" y="-79"/>
                  </a:cubicBezTo>
                  <a:cubicBezTo>
                    <a:pt x="7997" y="73"/>
                    <a:pt x="7187" y="321"/>
                    <a:pt x="6435" y="683"/>
                  </a:cubicBezTo>
                  <a:lnTo>
                    <a:pt x="5006" y="1445"/>
                  </a:lnTo>
                  <a:cubicBezTo>
                    <a:pt x="1510" y="4140"/>
                    <a:pt x="-480" y="8360"/>
                    <a:pt x="-328" y="12780"/>
                  </a:cubicBezTo>
                  <a:close/>
                </a:path>
              </a:pathLst>
            </a:custGeom>
            <a:solidFill>
              <a:srgbClr val="323A82"/>
            </a:solidFill>
            <a:ln w="9525" cap="flat">
              <a:noFill/>
              <a:prstDash val="solid"/>
              <a:miter/>
            </a:ln>
          </p:spPr>
          <p:txBody>
            <a:bodyPr rtlCol="0" anchor="ctr"/>
            <a:lstStyle/>
            <a:p>
              <a:endParaRPr lang="zh-CN" altLang="en-US"/>
            </a:p>
          </p:txBody>
        </p:sp>
        <p:sp>
          <p:nvSpPr>
            <p:cNvPr id="856" name="ïṣlíḓe">
              <a:extLst>
                <a:ext uri="{FF2B5EF4-FFF2-40B4-BE49-F238E27FC236}">
                  <a16:creationId xmlns:a16="http://schemas.microsoft.com/office/drawing/2014/main" id="{09BDFFF9-C1C3-46C8-B229-7742F5A4DA2D}"/>
                </a:ext>
              </a:extLst>
            </p:cNvPr>
            <p:cNvSpPr/>
            <p:nvPr/>
          </p:nvSpPr>
          <p:spPr>
            <a:xfrm>
              <a:off x="6754053" y="3705265"/>
              <a:ext cx="322114" cy="451667"/>
            </a:xfrm>
            <a:custGeom>
              <a:avLst/>
              <a:gdLst>
                <a:gd name="connsiteX0" fmla="*/ 8522 w 105822"/>
                <a:gd name="connsiteY0" fmla="*/ 96127 h 148383"/>
                <a:gd name="connsiteX1" fmla="*/ 96628 w 105822"/>
                <a:gd name="connsiteY1" fmla="*/ 146991 h 148383"/>
                <a:gd name="connsiteX2" fmla="*/ 105486 w 105822"/>
                <a:gd name="connsiteY2" fmla="*/ 141847 h 148383"/>
                <a:gd name="connsiteX3" fmla="*/ 105486 w 105822"/>
                <a:gd name="connsiteY3" fmla="*/ 67266 h 148383"/>
                <a:gd name="connsiteX4" fmla="*/ 96628 w 105822"/>
                <a:gd name="connsiteY4" fmla="*/ 51931 h 148383"/>
                <a:gd name="connsiteX5" fmla="*/ 8522 w 105822"/>
                <a:gd name="connsiteY5" fmla="*/ 1068 h 148383"/>
                <a:gd name="connsiteX6" fmla="*/ -336 w 105822"/>
                <a:gd name="connsiteY6" fmla="*/ 6211 h 148383"/>
                <a:gd name="connsiteX7" fmla="*/ -336 w 105822"/>
                <a:gd name="connsiteY7" fmla="*/ 80697 h 148383"/>
                <a:gd name="connsiteX8" fmla="*/ 8522 w 105822"/>
                <a:gd name="connsiteY8" fmla="*/ 96127 h 1483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822" h="148383">
                  <a:moveTo>
                    <a:pt x="8522" y="96127"/>
                  </a:moveTo>
                  <a:lnTo>
                    <a:pt x="96628" y="146991"/>
                  </a:lnTo>
                  <a:cubicBezTo>
                    <a:pt x="101486" y="149848"/>
                    <a:pt x="105486" y="147562"/>
                    <a:pt x="105486" y="141847"/>
                  </a:cubicBezTo>
                  <a:lnTo>
                    <a:pt x="105486" y="67266"/>
                  </a:lnTo>
                  <a:cubicBezTo>
                    <a:pt x="105143" y="61037"/>
                    <a:pt x="101848" y="55341"/>
                    <a:pt x="96628" y="51931"/>
                  </a:cubicBezTo>
                  <a:lnTo>
                    <a:pt x="8522" y="1068"/>
                  </a:lnTo>
                  <a:cubicBezTo>
                    <a:pt x="3664" y="-1790"/>
                    <a:pt x="-336" y="496"/>
                    <a:pt x="-336" y="6211"/>
                  </a:cubicBezTo>
                  <a:lnTo>
                    <a:pt x="-336" y="80697"/>
                  </a:lnTo>
                  <a:cubicBezTo>
                    <a:pt x="-22" y="86964"/>
                    <a:pt x="3274" y="92698"/>
                    <a:pt x="8522" y="96127"/>
                  </a:cubicBezTo>
                  <a:close/>
                </a:path>
              </a:pathLst>
            </a:custGeom>
            <a:solidFill>
              <a:srgbClr val="D1D9E8"/>
            </a:solidFill>
            <a:ln w="9525" cap="flat">
              <a:noFill/>
              <a:prstDash val="solid"/>
              <a:miter/>
            </a:ln>
          </p:spPr>
          <p:txBody>
            <a:bodyPr rtlCol="0" anchor="ctr"/>
            <a:lstStyle/>
            <a:p>
              <a:endParaRPr lang="zh-CN" altLang="en-US"/>
            </a:p>
          </p:txBody>
        </p:sp>
        <p:sp>
          <p:nvSpPr>
            <p:cNvPr id="857" name="ïśḻïďé">
              <a:extLst>
                <a:ext uri="{FF2B5EF4-FFF2-40B4-BE49-F238E27FC236}">
                  <a16:creationId xmlns:a16="http://schemas.microsoft.com/office/drawing/2014/main" id="{91F87AD4-F703-4D8E-962D-80BE1B5E24FD}"/>
                </a:ext>
              </a:extLst>
            </p:cNvPr>
            <p:cNvSpPr/>
            <p:nvPr/>
          </p:nvSpPr>
          <p:spPr>
            <a:xfrm>
              <a:off x="6736946" y="3715121"/>
              <a:ext cx="322114" cy="451667"/>
            </a:xfrm>
            <a:custGeom>
              <a:avLst/>
              <a:gdLst>
                <a:gd name="connsiteX0" fmla="*/ 8522 w 105822"/>
                <a:gd name="connsiteY0" fmla="*/ 96127 h 148383"/>
                <a:gd name="connsiteX1" fmla="*/ 96628 w 105822"/>
                <a:gd name="connsiteY1" fmla="*/ 146991 h 148383"/>
                <a:gd name="connsiteX2" fmla="*/ 105487 w 105822"/>
                <a:gd name="connsiteY2" fmla="*/ 141847 h 148383"/>
                <a:gd name="connsiteX3" fmla="*/ 105487 w 105822"/>
                <a:gd name="connsiteY3" fmla="*/ 67362 h 148383"/>
                <a:gd name="connsiteX4" fmla="*/ 96628 w 105822"/>
                <a:gd name="connsiteY4" fmla="*/ 51931 h 148383"/>
                <a:gd name="connsiteX5" fmla="*/ 8522 w 105822"/>
                <a:gd name="connsiteY5" fmla="*/ 1068 h 148383"/>
                <a:gd name="connsiteX6" fmla="*/ -336 w 105822"/>
                <a:gd name="connsiteY6" fmla="*/ 6211 h 148383"/>
                <a:gd name="connsiteX7" fmla="*/ -336 w 105822"/>
                <a:gd name="connsiteY7" fmla="*/ 80792 h 148383"/>
                <a:gd name="connsiteX8" fmla="*/ 8522 w 105822"/>
                <a:gd name="connsiteY8" fmla="*/ 96127 h 1483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822" h="148383">
                  <a:moveTo>
                    <a:pt x="8522" y="96127"/>
                  </a:moveTo>
                  <a:lnTo>
                    <a:pt x="96628" y="146991"/>
                  </a:lnTo>
                  <a:cubicBezTo>
                    <a:pt x="101486" y="149848"/>
                    <a:pt x="105487" y="147562"/>
                    <a:pt x="105487" y="141847"/>
                  </a:cubicBezTo>
                  <a:lnTo>
                    <a:pt x="105487" y="67362"/>
                  </a:lnTo>
                  <a:cubicBezTo>
                    <a:pt x="105172" y="61094"/>
                    <a:pt x="101877" y="55360"/>
                    <a:pt x="96628" y="51931"/>
                  </a:cubicBezTo>
                  <a:lnTo>
                    <a:pt x="8522" y="1068"/>
                  </a:lnTo>
                  <a:cubicBezTo>
                    <a:pt x="3664" y="-1790"/>
                    <a:pt x="-336" y="496"/>
                    <a:pt x="-336" y="6211"/>
                  </a:cubicBezTo>
                  <a:lnTo>
                    <a:pt x="-336" y="80792"/>
                  </a:lnTo>
                  <a:cubicBezTo>
                    <a:pt x="7" y="87021"/>
                    <a:pt x="3302" y="92717"/>
                    <a:pt x="8522" y="96127"/>
                  </a:cubicBezTo>
                  <a:close/>
                </a:path>
              </a:pathLst>
            </a:custGeom>
            <a:solidFill>
              <a:srgbClr val="EDF4FF"/>
            </a:solidFill>
            <a:ln w="9525" cap="flat">
              <a:noFill/>
              <a:prstDash val="solid"/>
              <a:miter/>
            </a:ln>
          </p:spPr>
          <p:txBody>
            <a:bodyPr rtlCol="0" anchor="ctr"/>
            <a:lstStyle/>
            <a:p>
              <a:endParaRPr lang="zh-CN" altLang="en-US"/>
            </a:p>
          </p:txBody>
        </p:sp>
        <p:sp>
          <p:nvSpPr>
            <p:cNvPr id="858" name="íṧḷïḋe">
              <a:extLst>
                <a:ext uri="{FF2B5EF4-FFF2-40B4-BE49-F238E27FC236}">
                  <a16:creationId xmlns:a16="http://schemas.microsoft.com/office/drawing/2014/main" id="{B76787ED-60B1-4E56-B090-58A5664940CA}"/>
                </a:ext>
              </a:extLst>
            </p:cNvPr>
            <p:cNvSpPr/>
            <p:nvPr/>
          </p:nvSpPr>
          <p:spPr>
            <a:xfrm>
              <a:off x="6660525" y="3735385"/>
              <a:ext cx="390146" cy="528581"/>
            </a:xfrm>
            <a:custGeom>
              <a:avLst/>
              <a:gdLst>
                <a:gd name="connsiteX0" fmla="*/ -281 w 128172"/>
                <a:gd name="connsiteY0" fmla="*/ 12698 h 173651"/>
                <a:gd name="connsiteX1" fmla="*/ -281 w 128172"/>
                <a:gd name="connsiteY1" fmla="*/ 86327 h 173651"/>
                <a:gd name="connsiteX2" fmla="*/ 18769 w 128172"/>
                <a:gd name="connsiteY2" fmla="*/ 118807 h 173651"/>
                <a:gd name="connsiteX3" fmla="*/ 109066 w 128172"/>
                <a:gd name="connsiteY3" fmla="*/ 171004 h 173651"/>
                <a:gd name="connsiteX4" fmla="*/ 121639 w 128172"/>
                <a:gd name="connsiteY4" fmla="*/ 172623 h 173651"/>
                <a:gd name="connsiteX5" fmla="*/ 122782 w 128172"/>
                <a:gd name="connsiteY5" fmla="*/ 172052 h 173651"/>
                <a:gd name="connsiteX6" fmla="*/ 124878 w 128172"/>
                <a:gd name="connsiteY6" fmla="*/ 170147 h 173651"/>
                <a:gd name="connsiteX7" fmla="*/ 127830 w 128172"/>
                <a:gd name="connsiteY7" fmla="*/ 160622 h 173651"/>
                <a:gd name="connsiteX8" fmla="*/ 127830 w 128172"/>
                <a:gd name="connsiteY8" fmla="*/ 86993 h 173651"/>
                <a:gd name="connsiteX9" fmla="*/ 108780 w 128172"/>
                <a:gd name="connsiteY9" fmla="*/ 54513 h 173651"/>
                <a:gd name="connsiteX10" fmla="*/ 33343 w 128172"/>
                <a:gd name="connsiteY10" fmla="*/ 10984 h 173651"/>
                <a:gd name="connsiteX11" fmla="*/ 27723 w 128172"/>
                <a:gd name="connsiteY11" fmla="*/ 7745 h 173651"/>
                <a:gd name="connsiteX12" fmla="*/ 18198 w 128172"/>
                <a:gd name="connsiteY12" fmla="*/ 2316 h 173651"/>
                <a:gd name="connsiteX13" fmla="*/ 8006 w 128172"/>
                <a:gd name="connsiteY13" fmla="*/ -65 h 173651"/>
                <a:gd name="connsiteX14" fmla="*/ 4672 w 128172"/>
                <a:gd name="connsiteY14" fmla="*/ 1173 h 173651"/>
                <a:gd name="connsiteX15" fmla="*/ -281 w 128172"/>
                <a:gd name="connsiteY15" fmla="*/ 12698 h 173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8172" h="173651">
                  <a:moveTo>
                    <a:pt x="-281" y="12698"/>
                  </a:moveTo>
                  <a:lnTo>
                    <a:pt x="-281" y="86327"/>
                  </a:lnTo>
                  <a:cubicBezTo>
                    <a:pt x="481" y="99586"/>
                    <a:pt x="7568" y="111673"/>
                    <a:pt x="18769" y="118807"/>
                  </a:cubicBezTo>
                  <a:lnTo>
                    <a:pt x="109066" y="171004"/>
                  </a:lnTo>
                  <a:cubicBezTo>
                    <a:pt x="112733" y="173595"/>
                    <a:pt x="117439" y="174204"/>
                    <a:pt x="121639" y="172623"/>
                  </a:cubicBezTo>
                  <a:lnTo>
                    <a:pt x="122782" y="172052"/>
                  </a:lnTo>
                  <a:cubicBezTo>
                    <a:pt x="123544" y="171499"/>
                    <a:pt x="124249" y="170852"/>
                    <a:pt x="124878" y="170147"/>
                  </a:cubicBezTo>
                  <a:cubicBezTo>
                    <a:pt x="126888" y="167384"/>
                    <a:pt x="127926" y="164032"/>
                    <a:pt x="127830" y="160622"/>
                  </a:cubicBezTo>
                  <a:lnTo>
                    <a:pt x="127830" y="86993"/>
                  </a:lnTo>
                  <a:cubicBezTo>
                    <a:pt x="127040" y="73744"/>
                    <a:pt x="119953" y="61676"/>
                    <a:pt x="108780" y="54513"/>
                  </a:cubicBezTo>
                  <a:lnTo>
                    <a:pt x="33343" y="10984"/>
                  </a:lnTo>
                  <a:lnTo>
                    <a:pt x="27723" y="7745"/>
                  </a:lnTo>
                  <a:lnTo>
                    <a:pt x="18198" y="2316"/>
                  </a:lnTo>
                  <a:cubicBezTo>
                    <a:pt x="15178" y="373"/>
                    <a:pt x="11578" y="-465"/>
                    <a:pt x="8006" y="-65"/>
                  </a:cubicBezTo>
                  <a:cubicBezTo>
                    <a:pt x="6825" y="135"/>
                    <a:pt x="5691" y="554"/>
                    <a:pt x="4672" y="1173"/>
                  </a:cubicBezTo>
                  <a:cubicBezTo>
                    <a:pt x="1177" y="3926"/>
                    <a:pt x="-690" y="8269"/>
                    <a:pt x="-281" y="12698"/>
                  </a:cubicBezTo>
                  <a:close/>
                </a:path>
              </a:pathLst>
            </a:custGeom>
            <a:solidFill>
              <a:srgbClr val="214EA6"/>
            </a:solidFill>
            <a:ln w="9525" cap="flat">
              <a:noFill/>
              <a:prstDash val="solid"/>
              <a:miter/>
            </a:ln>
          </p:spPr>
          <p:txBody>
            <a:bodyPr rtlCol="0" anchor="ctr"/>
            <a:lstStyle/>
            <a:p>
              <a:endParaRPr lang="zh-CN" altLang="en-US"/>
            </a:p>
          </p:txBody>
        </p:sp>
        <p:sp>
          <p:nvSpPr>
            <p:cNvPr id="859" name="iš1ïďè">
              <a:extLst>
                <a:ext uri="{FF2B5EF4-FFF2-40B4-BE49-F238E27FC236}">
                  <a16:creationId xmlns:a16="http://schemas.microsoft.com/office/drawing/2014/main" id="{AEAC9AA5-994C-4D35-B295-90966C0B5A40}"/>
                </a:ext>
              </a:extLst>
            </p:cNvPr>
            <p:cNvSpPr/>
            <p:nvPr/>
          </p:nvSpPr>
          <p:spPr>
            <a:xfrm>
              <a:off x="6676640" y="3721158"/>
              <a:ext cx="477717" cy="536982"/>
            </a:xfrm>
            <a:custGeom>
              <a:avLst/>
              <a:gdLst>
                <a:gd name="connsiteX0" fmla="*/ -336 w 156941"/>
                <a:gd name="connsiteY0" fmla="*/ 5371 h 176411"/>
                <a:gd name="connsiteX1" fmla="*/ 2997 w 156941"/>
                <a:gd name="connsiteY1" fmla="*/ 4132 h 176411"/>
                <a:gd name="connsiteX2" fmla="*/ 13189 w 156941"/>
                <a:gd name="connsiteY2" fmla="*/ 6514 h 176411"/>
                <a:gd name="connsiteX3" fmla="*/ 22714 w 156941"/>
                <a:gd name="connsiteY3" fmla="*/ 11943 h 176411"/>
                <a:gd name="connsiteX4" fmla="*/ 28334 w 156941"/>
                <a:gd name="connsiteY4" fmla="*/ 15181 h 176411"/>
                <a:gd name="connsiteX5" fmla="*/ 103772 w 156941"/>
                <a:gd name="connsiteY5" fmla="*/ 58711 h 176411"/>
                <a:gd name="connsiteX6" fmla="*/ 122822 w 156941"/>
                <a:gd name="connsiteY6" fmla="*/ 91191 h 176411"/>
                <a:gd name="connsiteX7" fmla="*/ 122822 w 156941"/>
                <a:gd name="connsiteY7" fmla="*/ 164819 h 176411"/>
                <a:gd name="connsiteX8" fmla="*/ 119869 w 156941"/>
                <a:gd name="connsiteY8" fmla="*/ 174344 h 176411"/>
                <a:gd name="connsiteX9" fmla="*/ 117774 w 156941"/>
                <a:gd name="connsiteY9" fmla="*/ 176249 h 176411"/>
                <a:gd name="connsiteX10" fmla="*/ 122250 w 156941"/>
                <a:gd name="connsiteY10" fmla="*/ 173582 h 176411"/>
                <a:gd name="connsiteX11" fmla="*/ 123489 w 156941"/>
                <a:gd name="connsiteY11" fmla="*/ 172915 h 176411"/>
                <a:gd name="connsiteX12" fmla="*/ 151302 w 156941"/>
                <a:gd name="connsiteY12" fmla="*/ 156818 h 176411"/>
                <a:gd name="connsiteX13" fmla="*/ 156540 w 156941"/>
                <a:gd name="connsiteY13" fmla="*/ 144817 h 176411"/>
                <a:gd name="connsiteX14" fmla="*/ 156540 w 156941"/>
                <a:gd name="connsiteY14" fmla="*/ 49567 h 176411"/>
                <a:gd name="connsiteX15" fmla="*/ 142824 w 156941"/>
                <a:gd name="connsiteY15" fmla="*/ 25849 h 176411"/>
                <a:gd name="connsiteX16" fmla="*/ 122250 w 156941"/>
                <a:gd name="connsiteY16" fmla="*/ 13943 h 176411"/>
                <a:gd name="connsiteX17" fmla="*/ 112725 w 156941"/>
                <a:gd name="connsiteY17" fmla="*/ 12705 h 176411"/>
                <a:gd name="connsiteX18" fmla="*/ 112725 w 156941"/>
                <a:gd name="connsiteY18" fmla="*/ 12705 h 176411"/>
                <a:gd name="connsiteX19" fmla="*/ 111773 w 156941"/>
                <a:gd name="connsiteY19" fmla="*/ 13276 h 176411"/>
                <a:gd name="connsiteX20" fmla="*/ 107106 w 156941"/>
                <a:gd name="connsiteY20" fmla="*/ 15943 h 176411"/>
                <a:gd name="connsiteX21" fmla="*/ 109773 w 156941"/>
                <a:gd name="connsiteY21" fmla="*/ 15372 h 176411"/>
                <a:gd name="connsiteX22" fmla="*/ 116250 w 156941"/>
                <a:gd name="connsiteY22" fmla="*/ 17182 h 176411"/>
                <a:gd name="connsiteX23" fmla="*/ 136824 w 156941"/>
                <a:gd name="connsiteY23" fmla="*/ 29088 h 176411"/>
                <a:gd name="connsiteX24" fmla="*/ 150540 w 156941"/>
                <a:gd name="connsiteY24" fmla="*/ 52805 h 176411"/>
                <a:gd name="connsiteX25" fmla="*/ 150540 w 156941"/>
                <a:gd name="connsiteY25" fmla="*/ 137006 h 176411"/>
                <a:gd name="connsiteX26" fmla="*/ 139300 w 156941"/>
                <a:gd name="connsiteY26" fmla="*/ 156056 h 176411"/>
                <a:gd name="connsiteX27" fmla="*/ 139300 w 156941"/>
                <a:gd name="connsiteY27" fmla="*/ 156056 h 176411"/>
                <a:gd name="connsiteX28" fmla="*/ 128251 w 156941"/>
                <a:gd name="connsiteY28" fmla="*/ 150436 h 176411"/>
                <a:gd name="connsiteX29" fmla="*/ 128251 w 156941"/>
                <a:gd name="connsiteY29" fmla="*/ 87000 h 176411"/>
                <a:gd name="connsiteX30" fmla="*/ 109201 w 156941"/>
                <a:gd name="connsiteY30" fmla="*/ 54520 h 176411"/>
                <a:gd name="connsiteX31" fmla="*/ 74340 w 156941"/>
                <a:gd name="connsiteY31" fmla="*/ 34327 h 176411"/>
                <a:gd name="connsiteX32" fmla="*/ 28143 w 156941"/>
                <a:gd name="connsiteY32" fmla="*/ 7752 h 176411"/>
                <a:gd name="connsiteX33" fmla="*/ 22524 w 156941"/>
                <a:gd name="connsiteY33" fmla="*/ 4418 h 176411"/>
                <a:gd name="connsiteX34" fmla="*/ 18904 w 156941"/>
                <a:gd name="connsiteY34" fmla="*/ 2323 h 176411"/>
                <a:gd name="connsiteX35" fmla="*/ 6236 w 156941"/>
                <a:gd name="connsiteY35" fmla="*/ 703 h 176411"/>
                <a:gd name="connsiteX36" fmla="*/ 5664 w 156941"/>
                <a:gd name="connsiteY36" fmla="*/ 703 h 176411"/>
                <a:gd name="connsiteX37" fmla="*/ 5664 w 156941"/>
                <a:gd name="connsiteY37" fmla="*/ 703 h 1764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56941" h="176411">
                  <a:moveTo>
                    <a:pt x="-336" y="5371"/>
                  </a:moveTo>
                  <a:cubicBezTo>
                    <a:pt x="683" y="4751"/>
                    <a:pt x="1816" y="4332"/>
                    <a:pt x="2997" y="4132"/>
                  </a:cubicBezTo>
                  <a:cubicBezTo>
                    <a:pt x="6569" y="3732"/>
                    <a:pt x="10170" y="4571"/>
                    <a:pt x="13189" y="6514"/>
                  </a:cubicBezTo>
                  <a:lnTo>
                    <a:pt x="22714" y="11943"/>
                  </a:lnTo>
                  <a:lnTo>
                    <a:pt x="28334" y="15181"/>
                  </a:lnTo>
                  <a:lnTo>
                    <a:pt x="103772" y="58711"/>
                  </a:lnTo>
                  <a:cubicBezTo>
                    <a:pt x="114945" y="65873"/>
                    <a:pt x="122031" y="77942"/>
                    <a:pt x="122822" y="91191"/>
                  </a:cubicBezTo>
                  <a:lnTo>
                    <a:pt x="122822" y="164819"/>
                  </a:lnTo>
                  <a:cubicBezTo>
                    <a:pt x="122917" y="168229"/>
                    <a:pt x="121879" y="171582"/>
                    <a:pt x="119869" y="174344"/>
                  </a:cubicBezTo>
                  <a:cubicBezTo>
                    <a:pt x="119240" y="175049"/>
                    <a:pt x="118536" y="175697"/>
                    <a:pt x="117774" y="176249"/>
                  </a:cubicBezTo>
                  <a:lnTo>
                    <a:pt x="122250" y="173582"/>
                  </a:lnTo>
                  <a:lnTo>
                    <a:pt x="123489" y="172915"/>
                  </a:lnTo>
                  <a:lnTo>
                    <a:pt x="151302" y="156818"/>
                  </a:lnTo>
                  <a:cubicBezTo>
                    <a:pt x="155016" y="153999"/>
                    <a:pt x="156998" y="149455"/>
                    <a:pt x="156540" y="144817"/>
                  </a:cubicBezTo>
                  <a:lnTo>
                    <a:pt x="156540" y="49567"/>
                  </a:lnTo>
                  <a:cubicBezTo>
                    <a:pt x="155997" y="39927"/>
                    <a:pt x="150902" y="31126"/>
                    <a:pt x="142824" y="25849"/>
                  </a:cubicBezTo>
                  <a:lnTo>
                    <a:pt x="122250" y="13943"/>
                  </a:lnTo>
                  <a:cubicBezTo>
                    <a:pt x="119498" y="11933"/>
                    <a:pt x="115907" y="11467"/>
                    <a:pt x="112725" y="12705"/>
                  </a:cubicBezTo>
                  <a:lnTo>
                    <a:pt x="112725" y="12705"/>
                  </a:lnTo>
                  <a:lnTo>
                    <a:pt x="111773" y="13276"/>
                  </a:lnTo>
                  <a:lnTo>
                    <a:pt x="107106" y="15943"/>
                  </a:lnTo>
                  <a:cubicBezTo>
                    <a:pt x="107953" y="15601"/>
                    <a:pt x="108858" y="15400"/>
                    <a:pt x="109773" y="15372"/>
                  </a:cubicBezTo>
                  <a:cubicBezTo>
                    <a:pt x="112059" y="15343"/>
                    <a:pt x="114307" y="15972"/>
                    <a:pt x="116250" y="17182"/>
                  </a:cubicBezTo>
                  <a:lnTo>
                    <a:pt x="136824" y="29088"/>
                  </a:lnTo>
                  <a:cubicBezTo>
                    <a:pt x="144901" y="34365"/>
                    <a:pt x="149997" y="43166"/>
                    <a:pt x="150540" y="52805"/>
                  </a:cubicBezTo>
                  <a:lnTo>
                    <a:pt x="150540" y="137006"/>
                  </a:lnTo>
                  <a:cubicBezTo>
                    <a:pt x="149997" y="144769"/>
                    <a:pt x="145834" y="151827"/>
                    <a:pt x="139300" y="156056"/>
                  </a:cubicBezTo>
                  <a:lnTo>
                    <a:pt x="139300" y="156056"/>
                  </a:lnTo>
                  <a:cubicBezTo>
                    <a:pt x="133395" y="159390"/>
                    <a:pt x="128632" y="156818"/>
                    <a:pt x="128251" y="150436"/>
                  </a:cubicBezTo>
                  <a:lnTo>
                    <a:pt x="128251" y="87000"/>
                  </a:lnTo>
                  <a:cubicBezTo>
                    <a:pt x="127489" y="73741"/>
                    <a:pt x="120403" y="61654"/>
                    <a:pt x="109201" y="54520"/>
                  </a:cubicBezTo>
                  <a:lnTo>
                    <a:pt x="74340" y="34327"/>
                  </a:lnTo>
                  <a:lnTo>
                    <a:pt x="28143" y="7752"/>
                  </a:lnTo>
                  <a:lnTo>
                    <a:pt x="22524" y="4418"/>
                  </a:lnTo>
                  <a:lnTo>
                    <a:pt x="18904" y="2323"/>
                  </a:lnTo>
                  <a:cubicBezTo>
                    <a:pt x="15208" y="-268"/>
                    <a:pt x="10465" y="-878"/>
                    <a:pt x="6236" y="703"/>
                  </a:cubicBezTo>
                  <a:lnTo>
                    <a:pt x="5664" y="703"/>
                  </a:lnTo>
                  <a:lnTo>
                    <a:pt x="5664" y="703"/>
                  </a:lnTo>
                  <a:close/>
                </a:path>
              </a:pathLst>
            </a:custGeom>
            <a:solidFill>
              <a:srgbClr val="316DE6"/>
            </a:solidFill>
            <a:ln w="9525" cap="flat">
              <a:noFill/>
              <a:prstDash val="solid"/>
              <a:miter/>
            </a:ln>
          </p:spPr>
          <p:txBody>
            <a:bodyPr rtlCol="0" anchor="ctr"/>
            <a:lstStyle/>
            <a:p>
              <a:endParaRPr lang="zh-CN" altLang="en-US"/>
            </a:p>
          </p:txBody>
        </p:sp>
      </p:grpSp>
      <p:sp>
        <p:nvSpPr>
          <p:cNvPr id="866" name="文本框 865">
            <a:extLst>
              <a:ext uri="{FF2B5EF4-FFF2-40B4-BE49-F238E27FC236}">
                <a16:creationId xmlns:a16="http://schemas.microsoft.com/office/drawing/2014/main" id="{AA8FE061-8D7B-4564-97D7-72FCAB85DCC3}"/>
              </a:ext>
            </a:extLst>
          </p:cNvPr>
          <p:cNvSpPr txBox="1"/>
          <p:nvPr/>
        </p:nvSpPr>
        <p:spPr>
          <a:xfrm>
            <a:off x="669924" y="4037917"/>
            <a:ext cx="7588572" cy="1200329"/>
          </a:xfrm>
          <a:prstGeom prst="rect">
            <a:avLst/>
          </a:prstGeom>
          <a:noFill/>
        </p:spPr>
        <p:txBody>
          <a:bodyPr wrap="square" rtlCol="0">
            <a:spAutoFit/>
          </a:bodyPr>
          <a:lstStyle/>
          <a:p>
            <a:pPr algn="l"/>
            <a:r>
              <a:rPr lang="en-US" altLang="zh-CN" b="1" i="0" dirty="0">
                <a:solidFill>
                  <a:srgbClr val="4F4F4F"/>
                </a:solidFill>
                <a:effectLst/>
                <a:latin typeface="PingFang SC"/>
              </a:rPr>
              <a:t>2</a:t>
            </a:r>
            <a:r>
              <a:rPr lang="zh-CN" altLang="en-US" b="1" i="0" dirty="0">
                <a:solidFill>
                  <a:srgbClr val="4F4F4F"/>
                </a:solidFill>
                <a:effectLst/>
                <a:latin typeface="PingFang SC"/>
              </a:rPr>
              <a:t>、生命线</a:t>
            </a:r>
          </a:p>
          <a:p>
            <a:pPr algn="l"/>
            <a:r>
              <a:rPr lang="zh-CN" altLang="en-US" i="0" dirty="0">
                <a:solidFill>
                  <a:srgbClr val="4F4F4F"/>
                </a:solidFill>
                <a:effectLst/>
                <a:latin typeface="+mn-ea"/>
              </a:rPr>
              <a:t>每个参与者或对象都有生命线，生命线随着参与者的创建而产生，销毁而小时。当创建了参与者后，</a:t>
            </a:r>
            <a:r>
              <a:rPr lang="en-US" altLang="zh-CN" i="0" dirty="0">
                <a:solidFill>
                  <a:srgbClr val="4F4F4F"/>
                </a:solidFill>
                <a:effectLst/>
                <a:latin typeface="+mn-ea"/>
              </a:rPr>
              <a:t>UML</a:t>
            </a:r>
            <a:r>
              <a:rPr lang="zh-CN" altLang="en-US" i="0" dirty="0">
                <a:solidFill>
                  <a:srgbClr val="4F4F4F"/>
                </a:solidFill>
                <a:effectLst/>
                <a:latin typeface="+mn-ea"/>
              </a:rPr>
              <a:t>图上会顶部和底部各显示参与者，并且通过垂直虚线相连，这条垂直虚线就是生命线。</a:t>
            </a:r>
            <a:endParaRPr lang="zh-CN" altLang="en-US" i="0" dirty="0">
              <a:effectLst/>
              <a:latin typeface="+mn-ea"/>
            </a:endParaRPr>
          </a:p>
        </p:txBody>
      </p:sp>
    </p:spTree>
    <p:custDataLst>
      <p:tags r:id="rId1"/>
    </p:custDataLst>
    <p:extLst>
      <p:ext uri="{BB962C8B-B14F-4D97-AF65-F5344CB8AC3E}">
        <p14:creationId xmlns:p14="http://schemas.microsoft.com/office/powerpoint/2010/main" val="3608419561"/>
      </p:ext>
    </p:extLst>
  </p:cSld>
  <p:clrMapOvr>
    <a:masterClrMapping/>
  </p:clrMapOvr>
  <mc:AlternateContent xmlns:mc="http://schemas.openxmlformats.org/markup-compatibility/2006">
    <mc:Choice xmlns:p14="http://schemas.microsoft.com/office/powerpoint/2010/main" Requires="p14">
      <p:transition spd="slow" p14:dur="1250">
        <p:blinds dir="vert"/>
      </p:transition>
    </mc:Choice>
    <mc:Fallback>
      <p:transition spd="slow">
        <p:blinds dir="vert"/>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图片 1">
            <a:extLst>
              <a:ext uri="{FF2B5EF4-FFF2-40B4-BE49-F238E27FC236}">
                <a16:creationId xmlns:a16="http://schemas.microsoft.com/office/drawing/2014/main" id="{1E82A21F-AB59-4854-87B8-F05B38E96154}"/>
              </a:ext>
            </a:extLst>
          </p:cNvPr>
          <p:cNvPicPr>
            <a:picLocks noChangeAspect="1"/>
          </p:cNvPicPr>
          <p:nvPr/>
        </p:nvPicPr>
        <p:blipFill>
          <a:blip r:embed="rId3"/>
          <a:stretch>
            <a:fillRect/>
          </a:stretch>
        </p:blipFill>
        <p:spPr>
          <a:xfrm>
            <a:off x="9346218" y="1183951"/>
            <a:ext cx="1687848" cy="2278845"/>
          </a:xfrm>
          <a:prstGeom prst="rect">
            <a:avLst/>
          </a:prstGeom>
        </p:spPr>
      </p:pic>
      <p:sp>
        <p:nvSpPr>
          <p:cNvPr id="4" name="灯片编号占位符 3">
            <a:extLst>
              <a:ext uri="{FF2B5EF4-FFF2-40B4-BE49-F238E27FC236}">
                <a16:creationId xmlns:a16="http://schemas.microsoft.com/office/drawing/2014/main" id="{2A5C0DA9-421E-435E-A37F-75EEA4A204CB}"/>
              </a:ext>
            </a:extLst>
          </p:cNvPr>
          <p:cNvSpPr>
            <a:spLocks noGrp="1"/>
          </p:cNvSpPr>
          <p:nvPr>
            <p:ph type="sldNum" sz="quarter" idx="12"/>
          </p:nvPr>
        </p:nvSpPr>
        <p:spPr/>
        <p:txBody>
          <a:bodyPr/>
          <a:lstStyle/>
          <a:p>
            <a:fld id="{5DD3DB80-B894-403A-B48E-6FDC1A72010E}" type="slidenum">
              <a:rPr lang="zh-CN" altLang="en-US" smtClean="0"/>
              <a:pPr/>
              <a:t>22</a:t>
            </a:fld>
            <a:endParaRPr lang="zh-CN" altLang="en-US"/>
          </a:p>
        </p:txBody>
      </p:sp>
      <p:sp>
        <p:nvSpPr>
          <p:cNvPr id="5" name="标题 1">
            <a:extLst>
              <a:ext uri="{FF2B5EF4-FFF2-40B4-BE49-F238E27FC236}">
                <a16:creationId xmlns:a16="http://schemas.microsoft.com/office/drawing/2014/main" id="{A66C21BB-C083-4C2F-A2AE-920B8A20D84E}"/>
              </a:ext>
            </a:extLst>
          </p:cNvPr>
          <p:cNvSpPr>
            <a:spLocks noGrp="1"/>
          </p:cNvSpPr>
          <p:nvPr>
            <p:ph type="title"/>
          </p:nvPr>
        </p:nvSpPr>
        <p:spPr>
          <a:xfrm>
            <a:off x="669924" y="1"/>
            <a:ext cx="10850563" cy="1028699"/>
          </a:xfrm>
        </p:spPr>
        <p:txBody>
          <a:bodyPr/>
          <a:lstStyle/>
          <a:p>
            <a:r>
              <a:rPr lang="en-US" altLang="zh-CN" dirty="0"/>
              <a:t>UML</a:t>
            </a:r>
            <a:r>
              <a:rPr lang="zh-CN" altLang="en-US" dirty="0"/>
              <a:t>顺序图</a:t>
            </a:r>
          </a:p>
        </p:txBody>
      </p:sp>
      <p:sp>
        <p:nvSpPr>
          <p:cNvPr id="6" name="文本框 5">
            <a:extLst>
              <a:ext uri="{FF2B5EF4-FFF2-40B4-BE49-F238E27FC236}">
                <a16:creationId xmlns:a16="http://schemas.microsoft.com/office/drawing/2014/main" id="{AD4EF72B-B237-4531-96CB-FAD2B6E29EE8}"/>
              </a:ext>
            </a:extLst>
          </p:cNvPr>
          <p:cNvSpPr txBox="1"/>
          <p:nvPr/>
        </p:nvSpPr>
        <p:spPr>
          <a:xfrm>
            <a:off x="669924" y="1407765"/>
            <a:ext cx="7588572" cy="1200329"/>
          </a:xfrm>
          <a:prstGeom prst="rect">
            <a:avLst/>
          </a:prstGeom>
          <a:noFill/>
        </p:spPr>
        <p:txBody>
          <a:bodyPr wrap="square" rtlCol="0">
            <a:spAutoFit/>
          </a:bodyPr>
          <a:lstStyle/>
          <a:p>
            <a:pPr algn="l"/>
            <a:r>
              <a:rPr lang="en-US" altLang="zh-CN" b="1" i="0" dirty="0">
                <a:solidFill>
                  <a:srgbClr val="0D0016"/>
                </a:solidFill>
                <a:effectLst/>
                <a:latin typeface="PingFang SC"/>
              </a:rPr>
              <a:t>3</a:t>
            </a:r>
            <a:r>
              <a:rPr lang="zh-CN" altLang="en-US" b="1" i="0" dirty="0">
                <a:solidFill>
                  <a:srgbClr val="0D0016"/>
                </a:solidFill>
                <a:effectLst/>
                <a:latin typeface="PingFang SC"/>
              </a:rPr>
              <a:t>、激活期</a:t>
            </a:r>
            <a:endParaRPr lang="en-US" altLang="zh-CN" b="1" i="0" dirty="0">
              <a:solidFill>
                <a:srgbClr val="0D0016"/>
              </a:solidFill>
              <a:effectLst/>
              <a:latin typeface="PingFang SC"/>
            </a:endParaRPr>
          </a:p>
          <a:p>
            <a:pPr algn="l"/>
            <a:r>
              <a:rPr lang="zh-CN" altLang="en-US" i="0" dirty="0">
                <a:effectLst/>
                <a:latin typeface="+mn-ea"/>
              </a:rPr>
              <a:t>激活期是指对象在整个活动中获得了焦点，需要一段时间来执行某个动作，在</a:t>
            </a:r>
            <a:r>
              <a:rPr lang="en-US" altLang="zh-CN" i="0" dirty="0">
                <a:effectLst/>
                <a:latin typeface="+mn-ea"/>
              </a:rPr>
              <a:t>UML</a:t>
            </a:r>
            <a:r>
              <a:rPr lang="zh-CN" altLang="en-US" i="0" dirty="0">
                <a:effectLst/>
                <a:latin typeface="+mn-ea"/>
              </a:rPr>
              <a:t>图中是一个空心的矩形表示。</a:t>
            </a:r>
            <a:endParaRPr lang="en-US" altLang="zh-CN" i="0" dirty="0">
              <a:effectLst/>
              <a:latin typeface="+mn-ea"/>
            </a:endParaRPr>
          </a:p>
          <a:p>
            <a:pPr algn="l"/>
            <a:r>
              <a:rPr lang="zh-CN" altLang="en-US" b="0" i="0" dirty="0">
                <a:effectLst/>
                <a:latin typeface="+mn-ea"/>
              </a:rPr>
              <a:t>在</a:t>
            </a:r>
            <a:r>
              <a:rPr lang="en-US" altLang="zh-CN" b="0" i="0" dirty="0">
                <a:effectLst/>
                <a:latin typeface="+mn-ea"/>
              </a:rPr>
              <a:t>activate</a:t>
            </a:r>
            <a:r>
              <a:rPr lang="zh-CN" altLang="en-US" b="0" i="0" dirty="0">
                <a:effectLst/>
                <a:latin typeface="+mn-ea"/>
              </a:rPr>
              <a:t>和</a:t>
            </a:r>
            <a:r>
              <a:rPr lang="en-US" altLang="zh-CN" b="0" i="0" dirty="0">
                <a:effectLst/>
                <a:latin typeface="+mn-ea"/>
              </a:rPr>
              <a:t>deactivate</a:t>
            </a:r>
            <a:r>
              <a:rPr lang="zh-CN" altLang="en-US" b="0" i="0" dirty="0">
                <a:effectLst/>
                <a:latin typeface="+mn-ea"/>
              </a:rPr>
              <a:t>之间形成一个矩形，这就是激活期。</a:t>
            </a:r>
            <a:endParaRPr lang="zh-CN" altLang="en-US" i="0" dirty="0">
              <a:effectLst/>
              <a:latin typeface="+mn-ea"/>
            </a:endParaRPr>
          </a:p>
        </p:txBody>
      </p:sp>
      <p:grpSp>
        <p:nvGrpSpPr>
          <p:cNvPr id="378" name="组合 377">
            <a:extLst>
              <a:ext uri="{FF2B5EF4-FFF2-40B4-BE49-F238E27FC236}">
                <a16:creationId xmlns:a16="http://schemas.microsoft.com/office/drawing/2014/main" id="{4D6F4725-E9CF-47C0-A24D-95F9A714BAE0}"/>
              </a:ext>
            </a:extLst>
          </p:cNvPr>
          <p:cNvGrpSpPr/>
          <p:nvPr/>
        </p:nvGrpSpPr>
        <p:grpSpPr>
          <a:xfrm>
            <a:off x="10482954" y="0"/>
            <a:ext cx="1030921" cy="1080294"/>
            <a:chOff x="4874988" y="1859559"/>
            <a:chExt cx="2661884" cy="3969810"/>
          </a:xfrm>
        </p:grpSpPr>
        <p:grpSp>
          <p:nvGrpSpPr>
            <p:cNvPr id="379" name="íŝḻïḑè">
              <a:extLst>
                <a:ext uri="{FF2B5EF4-FFF2-40B4-BE49-F238E27FC236}">
                  <a16:creationId xmlns:a16="http://schemas.microsoft.com/office/drawing/2014/main" id="{E773D6DB-E4EF-4893-BA5C-FF1895435916}"/>
                </a:ext>
              </a:extLst>
            </p:cNvPr>
            <p:cNvGrpSpPr/>
            <p:nvPr/>
          </p:nvGrpSpPr>
          <p:grpSpPr>
            <a:xfrm>
              <a:off x="6480535" y="5493164"/>
              <a:ext cx="520250" cy="336205"/>
              <a:chOff x="6185308" y="3970463"/>
              <a:chExt cx="170914" cy="110451"/>
            </a:xfrm>
          </p:grpSpPr>
          <p:sp>
            <p:nvSpPr>
              <p:cNvPr id="860" name="ïSľidè">
                <a:extLst>
                  <a:ext uri="{FF2B5EF4-FFF2-40B4-BE49-F238E27FC236}">
                    <a16:creationId xmlns:a16="http://schemas.microsoft.com/office/drawing/2014/main" id="{56BED41C-949C-4322-B58A-3386FED33CBA}"/>
                  </a:ext>
                </a:extLst>
              </p:cNvPr>
              <p:cNvSpPr/>
              <p:nvPr/>
            </p:nvSpPr>
            <p:spPr>
              <a:xfrm>
                <a:off x="6241161" y="3970463"/>
                <a:ext cx="78771" cy="21749"/>
              </a:xfrm>
              <a:custGeom>
                <a:avLst/>
                <a:gdLst>
                  <a:gd name="connsiteX0" fmla="*/ -336 w 78771"/>
                  <a:gd name="connsiteY0" fmla="*/ 13014 h 21749"/>
                  <a:gd name="connsiteX1" fmla="*/ 807 w 78771"/>
                  <a:gd name="connsiteY1" fmla="*/ 13014 h 21749"/>
                  <a:gd name="connsiteX2" fmla="*/ 5188 w 78771"/>
                  <a:gd name="connsiteY2" fmla="*/ 13014 h 21749"/>
                  <a:gd name="connsiteX3" fmla="*/ 5188 w 78771"/>
                  <a:gd name="connsiteY3" fmla="*/ 13014 h 21749"/>
                  <a:gd name="connsiteX4" fmla="*/ 8808 w 78771"/>
                  <a:gd name="connsiteY4" fmla="*/ 13966 h 21749"/>
                  <a:gd name="connsiteX5" fmla="*/ 13189 w 78771"/>
                  <a:gd name="connsiteY5" fmla="*/ 15586 h 21749"/>
                  <a:gd name="connsiteX6" fmla="*/ 16427 w 78771"/>
                  <a:gd name="connsiteY6" fmla="*/ 17014 h 21749"/>
                  <a:gd name="connsiteX7" fmla="*/ 18142 w 78771"/>
                  <a:gd name="connsiteY7" fmla="*/ 17776 h 21749"/>
                  <a:gd name="connsiteX8" fmla="*/ 21666 w 78771"/>
                  <a:gd name="connsiteY8" fmla="*/ 19586 h 21749"/>
                  <a:gd name="connsiteX9" fmla="*/ 25286 w 78771"/>
                  <a:gd name="connsiteY9" fmla="*/ 21586 h 21749"/>
                  <a:gd name="connsiteX10" fmla="*/ 78435 w 78771"/>
                  <a:gd name="connsiteY10" fmla="*/ 12061 h 21749"/>
                  <a:gd name="connsiteX11" fmla="*/ 57957 w 78771"/>
                  <a:gd name="connsiteY11" fmla="*/ 2536 h 21749"/>
                  <a:gd name="connsiteX12" fmla="*/ 40050 w 78771"/>
                  <a:gd name="connsiteY12" fmla="*/ -131 h 21749"/>
                  <a:gd name="connsiteX13" fmla="*/ 21000 w 78771"/>
                  <a:gd name="connsiteY13" fmla="*/ 3584 h 21749"/>
                  <a:gd name="connsiteX14" fmla="*/ -336 w 78771"/>
                  <a:gd name="connsiteY14" fmla="*/ 13014 h 217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8771" h="21749">
                    <a:moveTo>
                      <a:pt x="-336" y="13014"/>
                    </a:moveTo>
                    <a:cubicBezTo>
                      <a:pt x="35" y="12899"/>
                      <a:pt x="435" y="12899"/>
                      <a:pt x="807" y="13014"/>
                    </a:cubicBezTo>
                    <a:cubicBezTo>
                      <a:pt x="2255" y="12728"/>
                      <a:pt x="3740" y="12728"/>
                      <a:pt x="5188" y="13014"/>
                    </a:cubicBezTo>
                    <a:lnTo>
                      <a:pt x="5188" y="13014"/>
                    </a:lnTo>
                    <a:cubicBezTo>
                      <a:pt x="6407" y="13261"/>
                      <a:pt x="7617" y="13585"/>
                      <a:pt x="8808" y="13966"/>
                    </a:cubicBezTo>
                    <a:cubicBezTo>
                      <a:pt x="10303" y="14414"/>
                      <a:pt x="11770" y="14947"/>
                      <a:pt x="13189" y="15586"/>
                    </a:cubicBezTo>
                    <a:lnTo>
                      <a:pt x="16427" y="17014"/>
                    </a:lnTo>
                    <a:lnTo>
                      <a:pt x="18142" y="17776"/>
                    </a:lnTo>
                    <a:lnTo>
                      <a:pt x="21666" y="19586"/>
                    </a:lnTo>
                    <a:lnTo>
                      <a:pt x="25286" y="21586"/>
                    </a:lnTo>
                    <a:cubicBezTo>
                      <a:pt x="47860" y="8537"/>
                      <a:pt x="67672" y="5489"/>
                      <a:pt x="78435" y="12061"/>
                    </a:cubicBezTo>
                    <a:cubicBezTo>
                      <a:pt x="71949" y="8204"/>
                      <a:pt x="65091" y="5003"/>
                      <a:pt x="57957" y="2536"/>
                    </a:cubicBezTo>
                    <a:cubicBezTo>
                      <a:pt x="52203" y="555"/>
                      <a:pt x="46136" y="-350"/>
                      <a:pt x="40050" y="-131"/>
                    </a:cubicBezTo>
                    <a:cubicBezTo>
                      <a:pt x="33553" y="193"/>
                      <a:pt x="27143" y="1450"/>
                      <a:pt x="21000" y="3584"/>
                    </a:cubicBezTo>
                    <a:cubicBezTo>
                      <a:pt x="13580" y="5975"/>
                      <a:pt x="6426" y="9137"/>
                      <a:pt x="-336" y="13014"/>
                    </a:cubicBezTo>
                    <a:close/>
                  </a:path>
                </a:pathLst>
              </a:custGeom>
              <a:solidFill>
                <a:srgbClr val="FF7D33"/>
              </a:solidFill>
              <a:ln w="9525" cap="flat">
                <a:noFill/>
                <a:prstDash val="solid"/>
                <a:miter/>
              </a:ln>
            </p:spPr>
            <p:txBody>
              <a:bodyPr rtlCol="0" anchor="ctr"/>
              <a:lstStyle/>
              <a:p>
                <a:endParaRPr lang="zh-CN" altLang="en-US"/>
              </a:p>
            </p:txBody>
          </p:sp>
          <p:sp>
            <p:nvSpPr>
              <p:cNvPr id="861" name="ïślíde">
                <a:extLst>
                  <a:ext uri="{FF2B5EF4-FFF2-40B4-BE49-F238E27FC236}">
                    <a16:creationId xmlns:a16="http://schemas.microsoft.com/office/drawing/2014/main" id="{EE31D9B4-8FDF-4F4A-84C5-DF230243C3F3}"/>
                  </a:ext>
                </a:extLst>
              </p:cNvPr>
              <p:cNvSpPr/>
              <p:nvPr/>
            </p:nvSpPr>
            <p:spPr>
              <a:xfrm>
                <a:off x="6267164" y="3979144"/>
                <a:ext cx="60007" cy="16878"/>
              </a:xfrm>
              <a:custGeom>
                <a:avLst/>
                <a:gdLst>
                  <a:gd name="connsiteX0" fmla="*/ -336 w 60007"/>
                  <a:gd name="connsiteY0" fmla="*/ 12715 h 16878"/>
                  <a:gd name="connsiteX1" fmla="*/ 6427 w 60007"/>
                  <a:gd name="connsiteY1" fmla="*/ 16715 h 16878"/>
                  <a:gd name="connsiteX2" fmla="*/ 59671 w 60007"/>
                  <a:gd name="connsiteY2" fmla="*/ 7190 h 16878"/>
                  <a:gd name="connsiteX3" fmla="*/ 52813 w 60007"/>
                  <a:gd name="connsiteY3" fmla="*/ 3190 h 16878"/>
                  <a:gd name="connsiteX4" fmla="*/ -336 w 60007"/>
                  <a:gd name="connsiteY4" fmla="*/ 12715 h 168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16878">
                    <a:moveTo>
                      <a:pt x="-336" y="12715"/>
                    </a:moveTo>
                    <a:lnTo>
                      <a:pt x="6427" y="16715"/>
                    </a:lnTo>
                    <a:cubicBezTo>
                      <a:pt x="29096" y="3666"/>
                      <a:pt x="48908" y="618"/>
                      <a:pt x="59671" y="7190"/>
                    </a:cubicBezTo>
                    <a:lnTo>
                      <a:pt x="52813" y="3190"/>
                    </a:lnTo>
                    <a:cubicBezTo>
                      <a:pt x="42050" y="-3382"/>
                      <a:pt x="22238" y="-334"/>
                      <a:pt x="-336" y="12715"/>
                    </a:cubicBezTo>
                    <a:close/>
                  </a:path>
                </a:pathLst>
              </a:custGeom>
              <a:solidFill>
                <a:srgbClr val="D1D9E8"/>
              </a:solidFill>
              <a:ln w="9525" cap="flat">
                <a:noFill/>
                <a:prstDash val="solid"/>
                <a:miter/>
              </a:ln>
            </p:spPr>
            <p:txBody>
              <a:bodyPr rtlCol="0" anchor="ctr"/>
              <a:lstStyle/>
              <a:p>
                <a:endParaRPr lang="zh-CN" altLang="en-US"/>
              </a:p>
            </p:txBody>
          </p:sp>
          <p:sp>
            <p:nvSpPr>
              <p:cNvPr id="862" name="îṧ1îdê">
                <a:extLst>
                  <a:ext uri="{FF2B5EF4-FFF2-40B4-BE49-F238E27FC236}">
                    <a16:creationId xmlns:a16="http://schemas.microsoft.com/office/drawing/2014/main" id="{9172A6D8-5C9D-45D9-A3F8-E8D5C56C8AD1}"/>
                  </a:ext>
                </a:extLst>
              </p:cNvPr>
              <p:cNvSpPr/>
              <p:nvPr/>
            </p:nvSpPr>
            <p:spPr>
              <a:xfrm>
                <a:off x="6273831" y="3983188"/>
                <a:ext cx="82105" cy="38075"/>
              </a:xfrm>
              <a:custGeom>
                <a:avLst/>
                <a:gdLst>
                  <a:gd name="connsiteX0" fmla="*/ -336 w 82105"/>
                  <a:gd name="connsiteY0" fmla="*/ 12671 h 38075"/>
                  <a:gd name="connsiteX1" fmla="*/ 27000 w 82105"/>
                  <a:gd name="connsiteY1" fmla="*/ 37913 h 38075"/>
                  <a:gd name="connsiteX2" fmla="*/ 80531 w 82105"/>
                  <a:gd name="connsiteY2" fmla="*/ 30578 h 38075"/>
                  <a:gd name="connsiteX3" fmla="*/ 81769 w 82105"/>
                  <a:gd name="connsiteY3" fmla="*/ 31340 h 38075"/>
                  <a:gd name="connsiteX4" fmla="*/ 80055 w 82105"/>
                  <a:gd name="connsiteY4" fmla="*/ 25816 h 38075"/>
                  <a:gd name="connsiteX5" fmla="*/ 73482 w 82105"/>
                  <a:gd name="connsiteY5" fmla="*/ 18005 h 38075"/>
                  <a:gd name="connsiteX6" fmla="*/ 52908 w 82105"/>
                  <a:gd name="connsiteY6" fmla="*/ 2861 h 38075"/>
                  <a:gd name="connsiteX7" fmla="*/ -336 w 82105"/>
                  <a:gd name="connsiteY7" fmla="*/ 12671 h 38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2105" h="38075">
                    <a:moveTo>
                      <a:pt x="-336" y="12671"/>
                    </a:moveTo>
                    <a:cubicBezTo>
                      <a:pt x="14713" y="21339"/>
                      <a:pt x="27000" y="32674"/>
                      <a:pt x="27000" y="37913"/>
                    </a:cubicBezTo>
                    <a:cubicBezTo>
                      <a:pt x="57957" y="20101"/>
                      <a:pt x="80817" y="23530"/>
                      <a:pt x="80531" y="30578"/>
                    </a:cubicBezTo>
                    <a:lnTo>
                      <a:pt x="81769" y="31340"/>
                    </a:lnTo>
                    <a:cubicBezTo>
                      <a:pt x="81703" y="29378"/>
                      <a:pt x="81112" y="27473"/>
                      <a:pt x="80055" y="25816"/>
                    </a:cubicBezTo>
                    <a:cubicBezTo>
                      <a:pt x="78169" y="22968"/>
                      <a:pt x="75968" y="20349"/>
                      <a:pt x="73482" y="18005"/>
                    </a:cubicBezTo>
                    <a:cubicBezTo>
                      <a:pt x="67253" y="12148"/>
                      <a:pt x="60347" y="7061"/>
                      <a:pt x="52908" y="2861"/>
                    </a:cubicBezTo>
                    <a:cubicBezTo>
                      <a:pt x="42240" y="-3140"/>
                      <a:pt x="22429" y="-378"/>
                      <a:pt x="-336" y="12671"/>
                    </a:cubicBezTo>
                    <a:close/>
                  </a:path>
                </a:pathLst>
              </a:custGeom>
              <a:solidFill>
                <a:srgbClr val="FF7D33"/>
              </a:solidFill>
              <a:ln w="9525" cap="flat">
                <a:noFill/>
                <a:prstDash val="solid"/>
                <a:miter/>
              </a:ln>
            </p:spPr>
            <p:txBody>
              <a:bodyPr rtlCol="0" anchor="ctr"/>
              <a:lstStyle/>
              <a:p>
                <a:endParaRPr lang="zh-CN" altLang="en-US"/>
              </a:p>
            </p:txBody>
          </p:sp>
          <p:sp>
            <p:nvSpPr>
              <p:cNvPr id="863" name="íšļîḍê">
                <a:extLst>
                  <a:ext uri="{FF2B5EF4-FFF2-40B4-BE49-F238E27FC236}">
                    <a16:creationId xmlns:a16="http://schemas.microsoft.com/office/drawing/2014/main" id="{1BD76DAE-16A8-4FA4-AB1F-2E740895D658}"/>
                  </a:ext>
                </a:extLst>
              </p:cNvPr>
              <p:cNvSpPr/>
              <p:nvPr/>
            </p:nvSpPr>
            <p:spPr>
              <a:xfrm>
                <a:off x="6245256" y="4013929"/>
                <a:ext cx="110966" cy="64769"/>
              </a:xfrm>
              <a:custGeom>
                <a:avLst/>
                <a:gdLst>
                  <a:gd name="connsiteX0" fmla="*/ -336 w 110966"/>
                  <a:gd name="connsiteY0" fmla="*/ 64607 h 64769"/>
                  <a:gd name="connsiteX1" fmla="*/ 110630 w 110966"/>
                  <a:gd name="connsiteY1" fmla="*/ 599 h 64769"/>
                  <a:gd name="connsiteX2" fmla="*/ 109392 w 110966"/>
                  <a:gd name="connsiteY2" fmla="*/ -163 h 64769"/>
                  <a:gd name="connsiteX3" fmla="*/ 2235 w 110966"/>
                  <a:gd name="connsiteY3" fmla="*/ 61369 h 64769"/>
                  <a:gd name="connsiteX4" fmla="*/ 1283 w 110966"/>
                  <a:gd name="connsiteY4" fmla="*/ 62607 h 64769"/>
                  <a:gd name="connsiteX5" fmla="*/ 426 w 110966"/>
                  <a:gd name="connsiteY5" fmla="*/ 63560 h 64769"/>
                  <a:gd name="connsiteX6" fmla="*/ -51 w 110966"/>
                  <a:gd name="connsiteY6" fmla="*/ 63560 h 64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0966" h="64769">
                    <a:moveTo>
                      <a:pt x="-336" y="64607"/>
                    </a:moveTo>
                    <a:lnTo>
                      <a:pt x="110630" y="599"/>
                    </a:lnTo>
                    <a:lnTo>
                      <a:pt x="109392" y="-163"/>
                    </a:lnTo>
                    <a:lnTo>
                      <a:pt x="2235" y="61369"/>
                    </a:lnTo>
                    <a:cubicBezTo>
                      <a:pt x="1969" y="61816"/>
                      <a:pt x="1655" y="62236"/>
                      <a:pt x="1283" y="62607"/>
                    </a:cubicBezTo>
                    <a:lnTo>
                      <a:pt x="426" y="63560"/>
                    </a:lnTo>
                    <a:lnTo>
                      <a:pt x="-51" y="63560"/>
                    </a:lnTo>
                    <a:close/>
                  </a:path>
                </a:pathLst>
              </a:custGeom>
              <a:solidFill>
                <a:srgbClr val="BF4200"/>
              </a:solidFill>
              <a:ln w="9525" cap="flat">
                <a:noFill/>
                <a:prstDash val="solid"/>
                <a:miter/>
              </a:ln>
            </p:spPr>
            <p:txBody>
              <a:bodyPr rtlCol="0" anchor="ctr"/>
              <a:lstStyle/>
              <a:p>
                <a:endParaRPr lang="zh-CN" altLang="en-US"/>
              </a:p>
            </p:txBody>
          </p:sp>
          <p:sp>
            <p:nvSpPr>
              <p:cNvPr id="864" name="íşľîḍè">
                <a:extLst>
                  <a:ext uri="{FF2B5EF4-FFF2-40B4-BE49-F238E27FC236}">
                    <a16:creationId xmlns:a16="http://schemas.microsoft.com/office/drawing/2014/main" id="{02E918F9-69B4-48A7-B0FD-9B7086F25879}"/>
                  </a:ext>
                </a:extLst>
              </p:cNvPr>
              <p:cNvSpPr/>
              <p:nvPr/>
            </p:nvSpPr>
            <p:spPr>
              <a:xfrm>
                <a:off x="6247823" y="4007929"/>
                <a:ext cx="106970" cy="67531"/>
              </a:xfrm>
              <a:custGeom>
                <a:avLst/>
                <a:gdLst>
                  <a:gd name="connsiteX0" fmla="*/ -332 w 106970"/>
                  <a:gd name="connsiteY0" fmla="*/ 67369 h 67531"/>
                  <a:gd name="connsiteX1" fmla="*/ 106634 w 106970"/>
                  <a:gd name="connsiteY1" fmla="*/ 5552 h 67531"/>
                  <a:gd name="connsiteX2" fmla="*/ 53104 w 106970"/>
                  <a:gd name="connsiteY2" fmla="*/ 12886 h 67531"/>
                  <a:gd name="connsiteX3" fmla="*/ -332 w 106970"/>
                  <a:gd name="connsiteY3" fmla="*/ 67369 h 67531"/>
                </a:gdLst>
                <a:ahLst/>
                <a:cxnLst>
                  <a:cxn ang="0">
                    <a:pos x="connsiteX0" y="connsiteY0"/>
                  </a:cxn>
                  <a:cxn ang="0">
                    <a:pos x="connsiteX1" y="connsiteY1"/>
                  </a:cxn>
                  <a:cxn ang="0">
                    <a:pos x="connsiteX2" y="connsiteY2"/>
                  </a:cxn>
                  <a:cxn ang="0">
                    <a:pos x="connsiteX3" y="connsiteY3"/>
                  </a:cxn>
                </a:cxnLst>
                <a:rect l="l" t="t" r="r" b="b"/>
                <a:pathLst>
                  <a:path w="106970" h="67531">
                    <a:moveTo>
                      <a:pt x="-332" y="67369"/>
                    </a:moveTo>
                    <a:lnTo>
                      <a:pt x="106634" y="5552"/>
                    </a:lnTo>
                    <a:cubicBezTo>
                      <a:pt x="106634" y="-1497"/>
                      <a:pt x="84060" y="-4926"/>
                      <a:pt x="53104" y="12886"/>
                    </a:cubicBezTo>
                    <a:cubicBezTo>
                      <a:pt x="22148" y="30697"/>
                      <a:pt x="-712" y="60987"/>
                      <a:pt x="-332" y="67369"/>
                    </a:cubicBezTo>
                    <a:close/>
                  </a:path>
                </a:pathLst>
              </a:custGeom>
              <a:solidFill>
                <a:srgbClr val="BF4200"/>
              </a:solidFill>
              <a:ln w="9525" cap="flat">
                <a:noFill/>
                <a:prstDash val="solid"/>
                <a:miter/>
              </a:ln>
            </p:spPr>
            <p:txBody>
              <a:bodyPr rtlCol="0" anchor="ctr"/>
              <a:lstStyle/>
              <a:p>
                <a:endParaRPr lang="zh-CN" altLang="en-US"/>
              </a:p>
            </p:txBody>
          </p:sp>
          <p:sp>
            <p:nvSpPr>
              <p:cNvPr id="865" name="íṩľidé">
                <a:extLst>
                  <a:ext uri="{FF2B5EF4-FFF2-40B4-BE49-F238E27FC236}">
                    <a16:creationId xmlns:a16="http://schemas.microsoft.com/office/drawing/2014/main" id="{D8681DC0-C00C-4972-B21D-D22ABBD12280}"/>
                  </a:ext>
                </a:extLst>
              </p:cNvPr>
              <p:cNvSpPr/>
              <p:nvPr/>
            </p:nvSpPr>
            <p:spPr>
              <a:xfrm>
                <a:off x="6185308" y="3984473"/>
                <a:ext cx="115192" cy="96441"/>
              </a:xfrm>
              <a:custGeom>
                <a:avLst/>
                <a:gdLst>
                  <a:gd name="connsiteX0" fmla="*/ -301 w 115192"/>
                  <a:gd name="connsiteY0" fmla="*/ 60535 h 96441"/>
                  <a:gd name="connsiteX1" fmla="*/ 19987 w 115192"/>
                  <a:gd name="connsiteY1" fmla="*/ 85491 h 96441"/>
                  <a:gd name="connsiteX2" fmla="*/ 26750 w 115192"/>
                  <a:gd name="connsiteY2" fmla="*/ 89491 h 96441"/>
                  <a:gd name="connsiteX3" fmla="*/ 58659 w 115192"/>
                  <a:gd name="connsiteY3" fmla="*/ 94540 h 96441"/>
                  <a:gd name="connsiteX4" fmla="*/ 58659 w 115192"/>
                  <a:gd name="connsiteY4" fmla="*/ 94540 h 96441"/>
                  <a:gd name="connsiteX5" fmla="*/ 59135 w 115192"/>
                  <a:gd name="connsiteY5" fmla="*/ 94540 h 96441"/>
                  <a:gd name="connsiteX6" fmla="*/ 59135 w 115192"/>
                  <a:gd name="connsiteY6" fmla="*/ 94540 h 96441"/>
                  <a:gd name="connsiteX7" fmla="*/ 59612 w 115192"/>
                  <a:gd name="connsiteY7" fmla="*/ 94540 h 96441"/>
                  <a:gd name="connsiteX8" fmla="*/ 60469 w 115192"/>
                  <a:gd name="connsiteY8" fmla="*/ 93587 h 96441"/>
                  <a:gd name="connsiteX9" fmla="*/ 61421 w 115192"/>
                  <a:gd name="connsiteY9" fmla="*/ 92349 h 96441"/>
                  <a:gd name="connsiteX10" fmla="*/ 114856 w 115192"/>
                  <a:gd name="connsiteY10" fmla="*/ 37866 h 96441"/>
                  <a:gd name="connsiteX11" fmla="*/ 87520 w 115192"/>
                  <a:gd name="connsiteY11" fmla="*/ 12625 h 96441"/>
                  <a:gd name="connsiteX12" fmla="*/ 80757 w 115192"/>
                  <a:gd name="connsiteY12" fmla="*/ 8624 h 96441"/>
                  <a:gd name="connsiteX13" fmla="*/ 77137 w 115192"/>
                  <a:gd name="connsiteY13" fmla="*/ 6624 h 96441"/>
                  <a:gd name="connsiteX14" fmla="*/ 73613 w 115192"/>
                  <a:gd name="connsiteY14" fmla="*/ 4814 h 96441"/>
                  <a:gd name="connsiteX15" fmla="*/ 71899 w 115192"/>
                  <a:gd name="connsiteY15" fmla="*/ 4052 h 96441"/>
                  <a:gd name="connsiteX16" fmla="*/ 68660 w 115192"/>
                  <a:gd name="connsiteY16" fmla="*/ 2623 h 96441"/>
                  <a:gd name="connsiteX17" fmla="*/ 64279 w 115192"/>
                  <a:gd name="connsiteY17" fmla="*/ 1004 h 96441"/>
                  <a:gd name="connsiteX18" fmla="*/ 60659 w 115192"/>
                  <a:gd name="connsiteY18" fmla="*/ 52 h 96441"/>
                  <a:gd name="connsiteX19" fmla="*/ 60659 w 115192"/>
                  <a:gd name="connsiteY19" fmla="*/ 52 h 96441"/>
                  <a:gd name="connsiteX20" fmla="*/ 56278 w 115192"/>
                  <a:gd name="connsiteY20" fmla="*/ 52 h 96441"/>
                  <a:gd name="connsiteX21" fmla="*/ 55135 w 115192"/>
                  <a:gd name="connsiteY21" fmla="*/ 52 h 96441"/>
                  <a:gd name="connsiteX22" fmla="*/ 45610 w 115192"/>
                  <a:gd name="connsiteY22" fmla="*/ 5957 h 96441"/>
                  <a:gd name="connsiteX23" fmla="*/ 36752 w 115192"/>
                  <a:gd name="connsiteY23" fmla="*/ 12529 h 96441"/>
                  <a:gd name="connsiteX24" fmla="*/ 28655 w 115192"/>
                  <a:gd name="connsiteY24" fmla="*/ 19387 h 96441"/>
                  <a:gd name="connsiteX25" fmla="*/ 17987 w 115192"/>
                  <a:gd name="connsiteY25" fmla="*/ 29770 h 96441"/>
                  <a:gd name="connsiteX26" fmla="*/ 9605 w 115192"/>
                  <a:gd name="connsiteY26" fmla="*/ 39295 h 96441"/>
                  <a:gd name="connsiteX27" fmla="*/ 3509 w 115192"/>
                  <a:gd name="connsiteY27" fmla="*/ 48058 h 96441"/>
                  <a:gd name="connsiteX28" fmla="*/ 176 w 115192"/>
                  <a:gd name="connsiteY28" fmla="*/ 55106 h 96441"/>
                  <a:gd name="connsiteX29" fmla="*/ -301 w 115192"/>
                  <a:gd name="connsiteY29" fmla="*/ 60535 h 96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15192" h="96441">
                    <a:moveTo>
                      <a:pt x="-301" y="60535"/>
                    </a:moveTo>
                    <a:cubicBezTo>
                      <a:pt x="2223" y="71556"/>
                      <a:pt x="9720" y="80776"/>
                      <a:pt x="19987" y="85491"/>
                    </a:cubicBezTo>
                    <a:lnTo>
                      <a:pt x="26750" y="89491"/>
                    </a:lnTo>
                    <a:cubicBezTo>
                      <a:pt x="35971" y="96178"/>
                      <a:pt x="47829" y="98054"/>
                      <a:pt x="58659" y="94540"/>
                    </a:cubicBezTo>
                    <a:lnTo>
                      <a:pt x="58659" y="94540"/>
                    </a:lnTo>
                    <a:lnTo>
                      <a:pt x="59135" y="94540"/>
                    </a:lnTo>
                    <a:lnTo>
                      <a:pt x="59135" y="94540"/>
                    </a:lnTo>
                    <a:lnTo>
                      <a:pt x="59612" y="94540"/>
                    </a:lnTo>
                    <a:lnTo>
                      <a:pt x="60469" y="93587"/>
                    </a:lnTo>
                    <a:cubicBezTo>
                      <a:pt x="60840" y="93216"/>
                      <a:pt x="61154" y="92797"/>
                      <a:pt x="61421" y="92349"/>
                    </a:cubicBezTo>
                    <a:cubicBezTo>
                      <a:pt x="61421" y="85681"/>
                      <a:pt x="83805" y="55868"/>
                      <a:pt x="114856" y="37866"/>
                    </a:cubicBezTo>
                    <a:cubicBezTo>
                      <a:pt x="114856" y="32627"/>
                      <a:pt x="102569" y="21293"/>
                      <a:pt x="87520" y="12625"/>
                    </a:cubicBezTo>
                    <a:lnTo>
                      <a:pt x="80757" y="8624"/>
                    </a:lnTo>
                    <a:lnTo>
                      <a:pt x="77137" y="6624"/>
                    </a:lnTo>
                    <a:lnTo>
                      <a:pt x="73613" y="4814"/>
                    </a:lnTo>
                    <a:lnTo>
                      <a:pt x="71899" y="4052"/>
                    </a:lnTo>
                    <a:lnTo>
                      <a:pt x="68660" y="2623"/>
                    </a:lnTo>
                    <a:cubicBezTo>
                      <a:pt x="67241" y="1985"/>
                      <a:pt x="65774" y="1452"/>
                      <a:pt x="64279" y="1004"/>
                    </a:cubicBezTo>
                    <a:cubicBezTo>
                      <a:pt x="63088" y="623"/>
                      <a:pt x="61879" y="299"/>
                      <a:pt x="60659" y="52"/>
                    </a:cubicBezTo>
                    <a:lnTo>
                      <a:pt x="60659" y="52"/>
                    </a:lnTo>
                    <a:cubicBezTo>
                      <a:pt x="59212" y="-234"/>
                      <a:pt x="57726" y="-234"/>
                      <a:pt x="56278" y="52"/>
                    </a:cubicBezTo>
                    <a:cubicBezTo>
                      <a:pt x="55897" y="-15"/>
                      <a:pt x="55516" y="-15"/>
                      <a:pt x="55135" y="52"/>
                    </a:cubicBezTo>
                    <a:cubicBezTo>
                      <a:pt x="52182" y="1766"/>
                      <a:pt x="48467" y="4147"/>
                      <a:pt x="45610" y="5957"/>
                    </a:cubicBezTo>
                    <a:cubicBezTo>
                      <a:pt x="40752" y="9291"/>
                      <a:pt x="36847" y="12434"/>
                      <a:pt x="36752" y="12529"/>
                    </a:cubicBezTo>
                    <a:cubicBezTo>
                      <a:pt x="33932" y="14663"/>
                      <a:pt x="31227" y="16958"/>
                      <a:pt x="28655" y="19387"/>
                    </a:cubicBezTo>
                    <a:cubicBezTo>
                      <a:pt x="25798" y="22054"/>
                      <a:pt x="21512" y="25960"/>
                      <a:pt x="17987" y="29770"/>
                    </a:cubicBezTo>
                    <a:cubicBezTo>
                      <a:pt x="14463" y="33580"/>
                      <a:pt x="12844" y="35580"/>
                      <a:pt x="9605" y="39295"/>
                    </a:cubicBezTo>
                    <a:cubicBezTo>
                      <a:pt x="7424" y="42105"/>
                      <a:pt x="5386" y="45029"/>
                      <a:pt x="3509" y="48058"/>
                    </a:cubicBezTo>
                    <a:cubicBezTo>
                      <a:pt x="2157" y="50286"/>
                      <a:pt x="1042" y="52649"/>
                      <a:pt x="176" y="55106"/>
                    </a:cubicBezTo>
                    <a:cubicBezTo>
                      <a:pt x="-253" y="56878"/>
                      <a:pt x="-415" y="58716"/>
                      <a:pt x="-301" y="60535"/>
                    </a:cubicBezTo>
                    <a:close/>
                  </a:path>
                </a:pathLst>
              </a:custGeom>
              <a:solidFill>
                <a:srgbClr val="D9530B"/>
              </a:solidFill>
              <a:ln w="9525" cap="flat">
                <a:noFill/>
                <a:prstDash val="solid"/>
                <a:miter/>
              </a:ln>
            </p:spPr>
            <p:txBody>
              <a:bodyPr rtlCol="0" anchor="ctr"/>
              <a:lstStyle/>
              <a:p>
                <a:endParaRPr lang="zh-CN" altLang="en-US"/>
              </a:p>
            </p:txBody>
          </p:sp>
        </p:grpSp>
        <p:sp>
          <p:nvSpPr>
            <p:cNvPr id="380" name="í$ḷiḍé">
              <a:extLst>
                <a:ext uri="{FF2B5EF4-FFF2-40B4-BE49-F238E27FC236}">
                  <a16:creationId xmlns:a16="http://schemas.microsoft.com/office/drawing/2014/main" id="{38204F6A-5CE1-497A-827B-CEEB99CCC968}"/>
                </a:ext>
              </a:extLst>
            </p:cNvPr>
            <p:cNvSpPr/>
            <p:nvPr/>
          </p:nvSpPr>
          <p:spPr>
            <a:xfrm>
              <a:off x="4874988" y="4873963"/>
              <a:ext cx="1716699" cy="724850"/>
            </a:xfrm>
            <a:custGeom>
              <a:avLst/>
              <a:gdLst>
                <a:gd name="connsiteX0" fmla="*/ -336 w 563975"/>
                <a:gd name="connsiteY0" fmla="*/ -163 h 238130"/>
                <a:gd name="connsiteX1" fmla="*/ -336 w 563975"/>
                <a:gd name="connsiteY1" fmla="*/ 7553 h 238130"/>
                <a:gd name="connsiteX2" fmla="*/ 5188 w 563975"/>
                <a:gd name="connsiteY2" fmla="*/ 15839 h 238130"/>
                <a:gd name="connsiteX3" fmla="*/ 6046 w 563975"/>
                <a:gd name="connsiteY3" fmla="*/ 16506 h 238130"/>
                <a:gd name="connsiteX4" fmla="*/ 383236 w 563975"/>
                <a:gd name="connsiteY4" fmla="*/ 234248 h 238130"/>
                <a:gd name="connsiteX5" fmla="*/ 398856 w 563975"/>
                <a:gd name="connsiteY5" fmla="*/ 237962 h 238130"/>
                <a:gd name="connsiteX6" fmla="*/ 414382 w 563975"/>
                <a:gd name="connsiteY6" fmla="*/ 234248 h 238130"/>
                <a:gd name="connsiteX7" fmla="*/ 557257 w 563975"/>
                <a:gd name="connsiteY7" fmla="*/ 151666 h 238130"/>
                <a:gd name="connsiteX8" fmla="*/ 558210 w 563975"/>
                <a:gd name="connsiteY8" fmla="*/ 151094 h 238130"/>
                <a:gd name="connsiteX9" fmla="*/ 563639 w 563975"/>
                <a:gd name="connsiteY9" fmla="*/ 142712 h 238130"/>
                <a:gd name="connsiteX10" fmla="*/ 563639 w 563975"/>
                <a:gd name="connsiteY10" fmla="*/ 134997 h 238130"/>
                <a:gd name="connsiteX11" fmla="*/ 562591 w 563975"/>
                <a:gd name="connsiteY11" fmla="*/ 138807 h 238130"/>
                <a:gd name="connsiteX12" fmla="*/ 558210 w 563975"/>
                <a:gd name="connsiteY12" fmla="*/ 143379 h 238130"/>
                <a:gd name="connsiteX13" fmla="*/ 557257 w 563975"/>
                <a:gd name="connsiteY13" fmla="*/ 144046 h 238130"/>
                <a:gd name="connsiteX14" fmla="*/ 414382 w 563975"/>
                <a:gd name="connsiteY14" fmla="*/ 226533 h 238130"/>
                <a:gd name="connsiteX15" fmla="*/ 398856 w 563975"/>
                <a:gd name="connsiteY15" fmla="*/ 230247 h 238130"/>
                <a:gd name="connsiteX16" fmla="*/ 383236 w 563975"/>
                <a:gd name="connsiteY16" fmla="*/ 226533 h 238130"/>
                <a:gd name="connsiteX17" fmla="*/ 6046 w 563975"/>
                <a:gd name="connsiteY17" fmla="*/ 8791 h 238130"/>
                <a:gd name="connsiteX18" fmla="*/ 5188 w 563975"/>
                <a:gd name="connsiteY18" fmla="*/ 8219 h 238130"/>
                <a:gd name="connsiteX19" fmla="*/ 712 w 563975"/>
                <a:gd name="connsiteY19" fmla="*/ 3647 h 238130"/>
                <a:gd name="connsiteX20" fmla="*/ -336 w 563975"/>
                <a:gd name="connsiteY20" fmla="*/ -163 h 238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63975" h="238130">
                  <a:moveTo>
                    <a:pt x="-336" y="-163"/>
                  </a:moveTo>
                  <a:lnTo>
                    <a:pt x="-336" y="7553"/>
                  </a:lnTo>
                  <a:cubicBezTo>
                    <a:pt x="-41" y="11077"/>
                    <a:pt x="2045" y="14211"/>
                    <a:pt x="5188" y="15839"/>
                  </a:cubicBezTo>
                  <a:lnTo>
                    <a:pt x="6046" y="16506"/>
                  </a:lnTo>
                  <a:lnTo>
                    <a:pt x="383236" y="234248"/>
                  </a:lnTo>
                  <a:cubicBezTo>
                    <a:pt x="388046" y="236781"/>
                    <a:pt x="393418" y="238058"/>
                    <a:pt x="398856" y="237962"/>
                  </a:cubicBezTo>
                  <a:cubicBezTo>
                    <a:pt x="404267" y="238067"/>
                    <a:pt x="409610" y="236791"/>
                    <a:pt x="414382" y="234248"/>
                  </a:cubicBezTo>
                  <a:lnTo>
                    <a:pt x="557257" y="151666"/>
                  </a:lnTo>
                  <a:lnTo>
                    <a:pt x="558210" y="151094"/>
                  </a:lnTo>
                  <a:cubicBezTo>
                    <a:pt x="561306" y="149390"/>
                    <a:pt x="563344" y="146237"/>
                    <a:pt x="563639" y="142712"/>
                  </a:cubicBezTo>
                  <a:lnTo>
                    <a:pt x="563639" y="134997"/>
                  </a:lnTo>
                  <a:cubicBezTo>
                    <a:pt x="563630" y="136340"/>
                    <a:pt x="563268" y="137655"/>
                    <a:pt x="562591" y="138807"/>
                  </a:cubicBezTo>
                  <a:cubicBezTo>
                    <a:pt x="561553" y="140684"/>
                    <a:pt x="560039" y="142255"/>
                    <a:pt x="558210" y="143379"/>
                  </a:cubicBezTo>
                  <a:lnTo>
                    <a:pt x="557257" y="144046"/>
                  </a:lnTo>
                  <a:lnTo>
                    <a:pt x="414382" y="226533"/>
                  </a:lnTo>
                  <a:cubicBezTo>
                    <a:pt x="409629" y="229123"/>
                    <a:pt x="404267" y="230399"/>
                    <a:pt x="398856" y="230247"/>
                  </a:cubicBezTo>
                  <a:cubicBezTo>
                    <a:pt x="393418" y="230390"/>
                    <a:pt x="388036" y="229104"/>
                    <a:pt x="383236" y="226533"/>
                  </a:cubicBezTo>
                  <a:lnTo>
                    <a:pt x="6046" y="8791"/>
                  </a:lnTo>
                  <a:lnTo>
                    <a:pt x="5188" y="8219"/>
                  </a:lnTo>
                  <a:cubicBezTo>
                    <a:pt x="3331" y="7105"/>
                    <a:pt x="1788" y="5533"/>
                    <a:pt x="712" y="3647"/>
                  </a:cubicBezTo>
                  <a:cubicBezTo>
                    <a:pt x="45" y="2485"/>
                    <a:pt x="-317" y="1171"/>
                    <a:pt x="-336" y="-163"/>
                  </a:cubicBezTo>
                  <a:close/>
                </a:path>
              </a:pathLst>
            </a:custGeom>
            <a:solidFill>
              <a:srgbClr val="BF4200"/>
            </a:solidFill>
            <a:ln w="9525" cap="flat">
              <a:noFill/>
              <a:prstDash val="solid"/>
              <a:miter/>
            </a:ln>
          </p:spPr>
          <p:txBody>
            <a:bodyPr rtlCol="0" anchor="ctr"/>
            <a:lstStyle/>
            <a:p>
              <a:endParaRPr lang="zh-CN" altLang="en-US"/>
            </a:p>
          </p:txBody>
        </p:sp>
        <p:sp>
          <p:nvSpPr>
            <p:cNvPr id="381" name="îŝļiďè">
              <a:extLst>
                <a:ext uri="{FF2B5EF4-FFF2-40B4-BE49-F238E27FC236}">
                  <a16:creationId xmlns:a16="http://schemas.microsoft.com/office/drawing/2014/main" id="{E22A9682-4E2B-423E-9C44-F34C887C00F4}"/>
                </a:ext>
              </a:extLst>
            </p:cNvPr>
            <p:cNvSpPr/>
            <p:nvPr/>
          </p:nvSpPr>
          <p:spPr>
            <a:xfrm>
              <a:off x="4874988" y="4583739"/>
              <a:ext cx="1716699" cy="991611"/>
            </a:xfrm>
            <a:custGeom>
              <a:avLst/>
              <a:gdLst>
                <a:gd name="connsiteX0" fmla="*/ -336 w 563975"/>
                <a:gd name="connsiteY0" fmla="*/ 95182 h 325767"/>
                <a:gd name="connsiteX1" fmla="*/ 712 w 563975"/>
                <a:gd name="connsiteY1" fmla="*/ 98992 h 325767"/>
                <a:gd name="connsiteX2" fmla="*/ 5188 w 563975"/>
                <a:gd name="connsiteY2" fmla="*/ 103565 h 325767"/>
                <a:gd name="connsiteX3" fmla="*/ 6046 w 563975"/>
                <a:gd name="connsiteY3" fmla="*/ 104136 h 325767"/>
                <a:gd name="connsiteX4" fmla="*/ 383236 w 563975"/>
                <a:gd name="connsiteY4" fmla="*/ 321878 h 325767"/>
                <a:gd name="connsiteX5" fmla="*/ 398856 w 563975"/>
                <a:gd name="connsiteY5" fmla="*/ 325592 h 325767"/>
                <a:gd name="connsiteX6" fmla="*/ 414382 w 563975"/>
                <a:gd name="connsiteY6" fmla="*/ 321878 h 325767"/>
                <a:gd name="connsiteX7" fmla="*/ 557257 w 563975"/>
                <a:gd name="connsiteY7" fmla="*/ 239391 h 325767"/>
                <a:gd name="connsiteX8" fmla="*/ 558210 w 563975"/>
                <a:gd name="connsiteY8" fmla="*/ 238724 h 325767"/>
                <a:gd name="connsiteX9" fmla="*/ 562591 w 563975"/>
                <a:gd name="connsiteY9" fmla="*/ 234152 h 325767"/>
                <a:gd name="connsiteX10" fmla="*/ 563639 w 563975"/>
                <a:gd name="connsiteY10" fmla="*/ 230342 h 325767"/>
                <a:gd name="connsiteX11" fmla="*/ 557257 w 563975"/>
                <a:gd name="connsiteY11" fmla="*/ 221389 h 325767"/>
                <a:gd name="connsiteX12" fmla="*/ 180163 w 563975"/>
                <a:gd name="connsiteY12" fmla="*/ 3552 h 325767"/>
                <a:gd name="connsiteX13" fmla="*/ 149111 w 563975"/>
                <a:gd name="connsiteY13" fmla="*/ 3552 h 325767"/>
                <a:gd name="connsiteX14" fmla="*/ 6236 w 563975"/>
                <a:gd name="connsiteY14" fmla="*/ 86134 h 325767"/>
                <a:gd name="connsiteX15" fmla="*/ -336 w 563975"/>
                <a:gd name="connsiteY15" fmla="*/ 95182 h 325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63975" h="325767">
                  <a:moveTo>
                    <a:pt x="-336" y="95182"/>
                  </a:moveTo>
                  <a:cubicBezTo>
                    <a:pt x="-317" y="96516"/>
                    <a:pt x="45" y="97831"/>
                    <a:pt x="712" y="98992"/>
                  </a:cubicBezTo>
                  <a:cubicBezTo>
                    <a:pt x="1788" y="100878"/>
                    <a:pt x="3331" y="102450"/>
                    <a:pt x="5188" y="103565"/>
                  </a:cubicBezTo>
                  <a:lnTo>
                    <a:pt x="6046" y="104136"/>
                  </a:lnTo>
                  <a:lnTo>
                    <a:pt x="383236" y="321878"/>
                  </a:lnTo>
                  <a:cubicBezTo>
                    <a:pt x="388036" y="324449"/>
                    <a:pt x="393418" y="325735"/>
                    <a:pt x="398856" y="325592"/>
                  </a:cubicBezTo>
                  <a:cubicBezTo>
                    <a:pt x="404267" y="325745"/>
                    <a:pt x="409629" y="324468"/>
                    <a:pt x="414382" y="321878"/>
                  </a:cubicBezTo>
                  <a:lnTo>
                    <a:pt x="557257" y="239391"/>
                  </a:lnTo>
                  <a:lnTo>
                    <a:pt x="558210" y="238724"/>
                  </a:lnTo>
                  <a:cubicBezTo>
                    <a:pt x="560039" y="237600"/>
                    <a:pt x="561544" y="236029"/>
                    <a:pt x="562591" y="234152"/>
                  </a:cubicBezTo>
                  <a:cubicBezTo>
                    <a:pt x="563268" y="233000"/>
                    <a:pt x="563630" y="231685"/>
                    <a:pt x="563639" y="230342"/>
                  </a:cubicBezTo>
                  <a:cubicBezTo>
                    <a:pt x="563268" y="226427"/>
                    <a:pt x="560839" y="223008"/>
                    <a:pt x="557257" y="221389"/>
                  </a:cubicBezTo>
                  <a:lnTo>
                    <a:pt x="180163" y="3552"/>
                  </a:lnTo>
                  <a:cubicBezTo>
                    <a:pt x="170409" y="-1401"/>
                    <a:pt x="158865" y="-1401"/>
                    <a:pt x="149111" y="3552"/>
                  </a:cubicBezTo>
                  <a:lnTo>
                    <a:pt x="6236" y="86134"/>
                  </a:lnTo>
                  <a:cubicBezTo>
                    <a:pt x="2540" y="87705"/>
                    <a:pt x="16" y="91182"/>
                    <a:pt x="-336" y="95182"/>
                  </a:cubicBezTo>
                  <a:close/>
                </a:path>
              </a:pathLst>
            </a:custGeom>
            <a:solidFill>
              <a:srgbClr val="D9530B"/>
            </a:solidFill>
            <a:ln w="9525" cap="flat">
              <a:noFill/>
              <a:prstDash val="solid"/>
              <a:miter/>
            </a:ln>
          </p:spPr>
          <p:txBody>
            <a:bodyPr rtlCol="0" anchor="ctr"/>
            <a:lstStyle/>
            <a:p>
              <a:endParaRPr lang="zh-CN" altLang="en-US"/>
            </a:p>
          </p:txBody>
        </p:sp>
        <p:sp>
          <p:nvSpPr>
            <p:cNvPr id="382" name="îṧļïḑé">
              <a:extLst>
                <a:ext uri="{FF2B5EF4-FFF2-40B4-BE49-F238E27FC236}">
                  <a16:creationId xmlns:a16="http://schemas.microsoft.com/office/drawing/2014/main" id="{0C41D675-F83C-4529-BE85-27CB75222476}"/>
                </a:ext>
              </a:extLst>
            </p:cNvPr>
            <p:cNvSpPr/>
            <p:nvPr/>
          </p:nvSpPr>
          <p:spPr>
            <a:xfrm>
              <a:off x="4888905" y="4592004"/>
              <a:ext cx="1690603" cy="975408"/>
            </a:xfrm>
            <a:custGeom>
              <a:avLst/>
              <a:gdLst>
                <a:gd name="connsiteX0" fmla="*/ -336 w 555402"/>
                <a:gd name="connsiteY0" fmla="*/ 92468 h 320444"/>
                <a:gd name="connsiteX1" fmla="*/ 4045 w 555402"/>
                <a:gd name="connsiteY1" fmla="*/ 99040 h 320444"/>
                <a:gd name="connsiteX2" fmla="*/ 4807 w 555402"/>
                <a:gd name="connsiteY2" fmla="*/ 99516 h 320444"/>
                <a:gd name="connsiteX3" fmla="*/ 382473 w 555402"/>
                <a:gd name="connsiteY3" fmla="*/ 317353 h 320444"/>
                <a:gd name="connsiteX4" fmla="*/ 407048 w 555402"/>
                <a:gd name="connsiteY4" fmla="*/ 317353 h 320444"/>
                <a:gd name="connsiteX5" fmla="*/ 549923 w 555402"/>
                <a:gd name="connsiteY5" fmla="*/ 234771 h 320444"/>
                <a:gd name="connsiteX6" fmla="*/ 550685 w 555402"/>
                <a:gd name="connsiteY6" fmla="*/ 234295 h 320444"/>
                <a:gd name="connsiteX7" fmla="*/ 555066 w 555402"/>
                <a:gd name="connsiteY7" fmla="*/ 227628 h 320444"/>
                <a:gd name="connsiteX8" fmla="*/ 549923 w 555402"/>
                <a:gd name="connsiteY8" fmla="*/ 220579 h 320444"/>
                <a:gd name="connsiteX9" fmla="*/ 172733 w 555402"/>
                <a:gd name="connsiteY9" fmla="*/ 2838 h 320444"/>
                <a:gd name="connsiteX10" fmla="*/ 148158 w 555402"/>
                <a:gd name="connsiteY10" fmla="*/ 2838 h 320444"/>
                <a:gd name="connsiteX11" fmla="*/ 5283 w 555402"/>
                <a:gd name="connsiteY11" fmla="*/ 85324 h 320444"/>
                <a:gd name="connsiteX12" fmla="*/ -336 w 555402"/>
                <a:gd name="connsiteY12" fmla="*/ 92468 h 320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55402" h="320444">
                  <a:moveTo>
                    <a:pt x="-336" y="92468"/>
                  </a:moveTo>
                  <a:cubicBezTo>
                    <a:pt x="-155" y="95287"/>
                    <a:pt x="1521" y="97792"/>
                    <a:pt x="4045" y="99040"/>
                  </a:cubicBezTo>
                  <a:lnTo>
                    <a:pt x="4807" y="99516"/>
                  </a:lnTo>
                  <a:lnTo>
                    <a:pt x="382473" y="317353"/>
                  </a:lnTo>
                  <a:cubicBezTo>
                    <a:pt x="390198" y="321259"/>
                    <a:pt x="399323" y="321259"/>
                    <a:pt x="407048" y="317353"/>
                  </a:cubicBezTo>
                  <a:lnTo>
                    <a:pt x="549923" y="234771"/>
                  </a:lnTo>
                  <a:lnTo>
                    <a:pt x="550685" y="234295"/>
                  </a:lnTo>
                  <a:cubicBezTo>
                    <a:pt x="553180" y="232952"/>
                    <a:pt x="554828" y="230447"/>
                    <a:pt x="555066" y="227628"/>
                  </a:cubicBezTo>
                  <a:cubicBezTo>
                    <a:pt x="554790" y="224513"/>
                    <a:pt x="552809" y="221798"/>
                    <a:pt x="549923" y="220579"/>
                  </a:cubicBezTo>
                  <a:lnTo>
                    <a:pt x="172733" y="2838"/>
                  </a:lnTo>
                  <a:cubicBezTo>
                    <a:pt x="165027" y="-1163"/>
                    <a:pt x="155864" y="-1163"/>
                    <a:pt x="148158" y="2838"/>
                  </a:cubicBezTo>
                  <a:lnTo>
                    <a:pt x="5283" y="85324"/>
                  </a:lnTo>
                  <a:cubicBezTo>
                    <a:pt x="2226" y="86467"/>
                    <a:pt x="64" y="89229"/>
                    <a:pt x="-336" y="92468"/>
                  </a:cubicBezTo>
                  <a:close/>
                </a:path>
              </a:pathLst>
            </a:custGeom>
            <a:solidFill>
              <a:srgbClr val="FF7D33"/>
            </a:solidFill>
            <a:ln w="9525" cap="flat">
              <a:noFill/>
              <a:prstDash val="solid"/>
              <a:miter/>
            </a:ln>
          </p:spPr>
          <p:txBody>
            <a:bodyPr rtlCol="0" anchor="ctr"/>
            <a:lstStyle/>
            <a:p>
              <a:endParaRPr lang="zh-CN" altLang="en-US"/>
            </a:p>
          </p:txBody>
        </p:sp>
        <p:sp>
          <p:nvSpPr>
            <p:cNvPr id="383" name="îsļîďe">
              <a:extLst>
                <a:ext uri="{FF2B5EF4-FFF2-40B4-BE49-F238E27FC236}">
                  <a16:creationId xmlns:a16="http://schemas.microsoft.com/office/drawing/2014/main" id="{E56C1C4E-33BF-432E-A85C-7E70B2BC7617}"/>
                </a:ext>
              </a:extLst>
            </p:cNvPr>
            <p:cNvSpPr/>
            <p:nvPr/>
          </p:nvSpPr>
          <p:spPr>
            <a:xfrm>
              <a:off x="5313079" y="4592220"/>
              <a:ext cx="146416" cy="84804"/>
            </a:xfrm>
            <a:custGeom>
              <a:avLst/>
              <a:gdLst>
                <a:gd name="connsiteX0" fmla="*/ -336 w 48101"/>
                <a:gd name="connsiteY0" fmla="*/ 10291 h 27860"/>
                <a:gd name="connsiteX1" fmla="*/ 1188 w 48101"/>
                <a:gd name="connsiteY1" fmla="*/ 12577 h 27860"/>
                <a:gd name="connsiteX2" fmla="*/ 3569 w 48101"/>
                <a:gd name="connsiteY2" fmla="*/ 13911 h 27860"/>
                <a:gd name="connsiteX3" fmla="*/ 25857 w 48101"/>
                <a:gd name="connsiteY3" fmla="*/ 26769 h 27860"/>
                <a:gd name="connsiteX4" fmla="*/ 33668 w 48101"/>
                <a:gd name="connsiteY4" fmla="*/ 26769 h 27860"/>
                <a:gd name="connsiteX5" fmla="*/ 43860 w 48101"/>
                <a:gd name="connsiteY5" fmla="*/ 20864 h 27860"/>
                <a:gd name="connsiteX6" fmla="*/ 46241 w 48101"/>
                <a:gd name="connsiteY6" fmla="*/ 19530 h 27860"/>
                <a:gd name="connsiteX7" fmla="*/ 47765 w 48101"/>
                <a:gd name="connsiteY7" fmla="*/ 17816 h 27860"/>
                <a:gd name="connsiteX8" fmla="*/ 47765 w 48101"/>
                <a:gd name="connsiteY8" fmla="*/ 16768 h 27860"/>
                <a:gd name="connsiteX9" fmla="*/ 46241 w 48101"/>
                <a:gd name="connsiteY9" fmla="*/ 15054 h 27860"/>
                <a:gd name="connsiteX10" fmla="*/ 21476 w 48101"/>
                <a:gd name="connsiteY10" fmla="*/ 766 h 27860"/>
                <a:gd name="connsiteX11" fmla="*/ 13856 w 48101"/>
                <a:gd name="connsiteY11" fmla="*/ 766 h 27860"/>
                <a:gd name="connsiteX12" fmla="*/ 1188 w 48101"/>
                <a:gd name="connsiteY12" fmla="*/ 8100 h 27860"/>
                <a:gd name="connsiteX13" fmla="*/ -336 w 48101"/>
                <a:gd name="connsiteY13" fmla="*/ 10291 h 27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8101" h="27860">
                  <a:moveTo>
                    <a:pt x="-336" y="10291"/>
                  </a:moveTo>
                  <a:cubicBezTo>
                    <a:pt x="-270" y="11272"/>
                    <a:pt x="311" y="12139"/>
                    <a:pt x="1188" y="12577"/>
                  </a:cubicBezTo>
                  <a:lnTo>
                    <a:pt x="3569" y="13911"/>
                  </a:lnTo>
                  <a:lnTo>
                    <a:pt x="25857" y="26769"/>
                  </a:lnTo>
                  <a:cubicBezTo>
                    <a:pt x="28315" y="28007"/>
                    <a:pt x="31211" y="28007"/>
                    <a:pt x="33668" y="26769"/>
                  </a:cubicBezTo>
                  <a:lnTo>
                    <a:pt x="43860" y="20864"/>
                  </a:lnTo>
                  <a:lnTo>
                    <a:pt x="46241" y="19530"/>
                  </a:lnTo>
                  <a:cubicBezTo>
                    <a:pt x="46946" y="19168"/>
                    <a:pt x="47479" y="18559"/>
                    <a:pt x="47765" y="17816"/>
                  </a:cubicBezTo>
                  <a:lnTo>
                    <a:pt x="47765" y="16768"/>
                  </a:lnTo>
                  <a:cubicBezTo>
                    <a:pt x="47479" y="16025"/>
                    <a:pt x="46946" y="15415"/>
                    <a:pt x="46241" y="15054"/>
                  </a:cubicBezTo>
                  <a:lnTo>
                    <a:pt x="21476" y="766"/>
                  </a:lnTo>
                  <a:cubicBezTo>
                    <a:pt x="19085" y="-472"/>
                    <a:pt x="16247" y="-472"/>
                    <a:pt x="13856" y="766"/>
                  </a:cubicBezTo>
                  <a:lnTo>
                    <a:pt x="1188" y="8100"/>
                  </a:lnTo>
                  <a:cubicBezTo>
                    <a:pt x="311" y="8491"/>
                    <a:pt x="-279"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384" name="ïṡḷïḓé">
              <a:extLst>
                <a:ext uri="{FF2B5EF4-FFF2-40B4-BE49-F238E27FC236}">
                  <a16:creationId xmlns:a16="http://schemas.microsoft.com/office/drawing/2014/main" id="{AA1FC480-8C7A-4CA8-8298-B2A0281769BA}"/>
                </a:ext>
              </a:extLst>
            </p:cNvPr>
            <p:cNvSpPr/>
            <p:nvPr/>
          </p:nvSpPr>
          <p:spPr>
            <a:xfrm>
              <a:off x="5314963" y="4594539"/>
              <a:ext cx="142718" cy="82484"/>
            </a:xfrm>
            <a:custGeom>
              <a:avLst/>
              <a:gdLst>
                <a:gd name="connsiteX0" fmla="*/ 25429 w 46886"/>
                <a:gd name="connsiteY0" fmla="*/ 26007 h 27098"/>
                <a:gd name="connsiteX1" fmla="*/ 1235 w 46886"/>
                <a:gd name="connsiteY1" fmla="*/ 12006 h 27098"/>
                <a:gd name="connsiteX2" fmla="*/ 1235 w 46886"/>
                <a:gd name="connsiteY2" fmla="*/ 7719 h 27098"/>
                <a:gd name="connsiteX3" fmla="*/ 13332 w 46886"/>
                <a:gd name="connsiteY3" fmla="*/ 766 h 27098"/>
                <a:gd name="connsiteX4" fmla="*/ 20761 w 46886"/>
                <a:gd name="connsiteY4" fmla="*/ 766 h 27098"/>
                <a:gd name="connsiteX5" fmla="*/ 45050 w 46886"/>
                <a:gd name="connsiteY5" fmla="*/ 14768 h 27098"/>
                <a:gd name="connsiteX6" fmla="*/ 45050 w 46886"/>
                <a:gd name="connsiteY6" fmla="*/ 19054 h 27098"/>
                <a:gd name="connsiteX7" fmla="*/ 32858 w 46886"/>
                <a:gd name="connsiteY7" fmla="*/ 26007 h 27098"/>
                <a:gd name="connsiteX8" fmla="*/ 25429 w 46886"/>
                <a:gd name="connsiteY8" fmla="*/ 26007 h 270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886" h="27098">
                  <a:moveTo>
                    <a:pt x="25429" y="26007"/>
                  </a:moveTo>
                  <a:lnTo>
                    <a:pt x="1235" y="12006"/>
                  </a:lnTo>
                  <a:cubicBezTo>
                    <a:pt x="-860" y="10863"/>
                    <a:pt x="-860" y="8958"/>
                    <a:pt x="1235" y="7719"/>
                  </a:cubicBezTo>
                  <a:lnTo>
                    <a:pt x="13332" y="766"/>
                  </a:lnTo>
                  <a:cubicBezTo>
                    <a:pt x="15656" y="-472"/>
                    <a:pt x="18437" y="-472"/>
                    <a:pt x="20761" y="766"/>
                  </a:cubicBezTo>
                  <a:lnTo>
                    <a:pt x="45050" y="14768"/>
                  </a:lnTo>
                  <a:cubicBezTo>
                    <a:pt x="47051" y="15911"/>
                    <a:pt x="47051" y="17816"/>
                    <a:pt x="45050" y="19054"/>
                  </a:cubicBezTo>
                  <a:lnTo>
                    <a:pt x="32858" y="26007"/>
                  </a:lnTo>
                  <a:cubicBezTo>
                    <a:pt x="30534" y="27245"/>
                    <a:pt x="27753" y="27245"/>
                    <a:pt x="25429" y="26007"/>
                  </a:cubicBezTo>
                  <a:close/>
                </a:path>
              </a:pathLst>
            </a:custGeom>
            <a:solidFill>
              <a:srgbClr val="D1D9E8"/>
            </a:solidFill>
            <a:ln w="9525" cap="flat">
              <a:noFill/>
              <a:prstDash val="solid"/>
              <a:miter/>
            </a:ln>
          </p:spPr>
          <p:txBody>
            <a:bodyPr rtlCol="0" anchor="ctr"/>
            <a:lstStyle/>
            <a:p>
              <a:endParaRPr lang="zh-CN" altLang="en-US"/>
            </a:p>
          </p:txBody>
        </p:sp>
        <p:sp>
          <p:nvSpPr>
            <p:cNvPr id="385" name="îṩḷíḋê">
              <a:extLst>
                <a:ext uri="{FF2B5EF4-FFF2-40B4-BE49-F238E27FC236}">
                  <a16:creationId xmlns:a16="http://schemas.microsoft.com/office/drawing/2014/main" id="{0DA03A87-DB88-4EA2-A22C-E4C275BC50FF}"/>
                </a:ext>
              </a:extLst>
            </p:cNvPr>
            <p:cNvSpPr/>
            <p:nvPr/>
          </p:nvSpPr>
          <p:spPr>
            <a:xfrm>
              <a:off x="5313079" y="4624041"/>
              <a:ext cx="146416" cy="74728"/>
            </a:xfrm>
            <a:custGeom>
              <a:avLst/>
              <a:gdLst>
                <a:gd name="connsiteX0" fmla="*/ -336 w 48101"/>
                <a:gd name="connsiteY0" fmla="*/ -163 h 24550"/>
                <a:gd name="connsiteX1" fmla="*/ -336 w 48101"/>
                <a:gd name="connsiteY1" fmla="*/ 6981 h 24550"/>
                <a:gd name="connsiteX2" fmla="*/ 1188 w 48101"/>
                <a:gd name="connsiteY2" fmla="*/ 9267 h 24550"/>
                <a:gd name="connsiteX3" fmla="*/ 25857 w 48101"/>
                <a:gd name="connsiteY3" fmla="*/ 23459 h 24550"/>
                <a:gd name="connsiteX4" fmla="*/ 33668 w 48101"/>
                <a:gd name="connsiteY4" fmla="*/ 23459 h 24550"/>
                <a:gd name="connsiteX5" fmla="*/ 46241 w 48101"/>
                <a:gd name="connsiteY5" fmla="*/ 16220 h 24550"/>
                <a:gd name="connsiteX6" fmla="*/ 47765 w 48101"/>
                <a:gd name="connsiteY6" fmla="*/ 14601 h 24550"/>
                <a:gd name="connsiteX7" fmla="*/ 47765 w 48101"/>
                <a:gd name="connsiteY7" fmla="*/ 7362 h 24550"/>
                <a:gd name="connsiteX8" fmla="*/ 46241 w 48101"/>
                <a:gd name="connsiteY8" fmla="*/ 9077 h 24550"/>
                <a:gd name="connsiteX9" fmla="*/ 43860 w 48101"/>
                <a:gd name="connsiteY9" fmla="*/ 10410 h 24550"/>
                <a:gd name="connsiteX10" fmla="*/ 33668 w 48101"/>
                <a:gd name="connsiteY10" fmla="*/ 16316 h 24550"/>
                <a:gd name="connsiteX11" fmla="*/ 25857 w 48101"/>
                <a:gd name="connsiteY11" fmla="*/ 16316 h 24550"/>
                <a:gd name="connsiteX12" fmla="*/ 3569 w 48101"/>
                <a:gd name="connsiteY12" fmla="*/ 3457 h 24550"/>
                <a:gd name="connsiteX13" fmla="*/ 1188 w 48101"/>
                <a:gd name="connsiteY13" fmla="*/ 2123 h 24550"/>
                <a:gd name="connsiteX14" fmla="*/ -336 w 48101"/>
                <a:gd name="connsiteY14" fmla="*/ -163 h 24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8101" h="24550">
                  <a:moveTo>
                    <a:pt x="-336" y="-163"/>
                  </a:moveTo>
                  <a:lnTo>
                    <a:pt x="-336" y="6981"/>
                  </a:lnTo>
                  <a:cubicBezTo>
                    <a:pt x="-251" y="7953"/>
                    <a:pt x="321" y="8819"/>
                    <a:pt x="1188" y="9267"/>
                  </a:cubicBezTo>
                  <a:lnTo>
                    <a:pt x="25857" y="23459"/>
                  </a:lnTo>
                  <a:cubicBezTo>
                    <a:pt x="28315" y="24697"/>
                    <a:pt x="31211" y="24697"/>
                    <a:pt x="33668" y="23459"/>
                  </a:cubicBezTo>
                  <a:lnTo>
                    <a:pt x="46241" y="16220"/>
                  </a:lnTo>
                  <a:cubicBezTo>
                    <a:pt x="46917" y="15868"/>
                    <a:pt x="47451" y="15296"/>
                    <a:pt x="47765" y="14601"/>
                  </a:cubicBezTo>
                  <a:lnTo>
                    <a:pt x="47765" y="7362"/>
                  </a:lnTo>
                  <a:cubicBezTo>
                    <a:pt x="47479" y="8105"/>
                    <a:pt x="46946" y="8715"/>
                    <a:pt x="46241" y="9077"/>
                  </a:cubicBezTo>
                  <a:lnTo>
                    <a:pt x="43860" y="10410"/>
                  </a:lnTo>
                  <a:lnTo>
                    <a:pt x="33668" y="16316"/>
                  </a:lnTo>
                  <a:cubicBezTo>
                    <a:pt x="31211" y="17554"/>
                    <a:pt x="28315" y="17554"/>
                    <a:pt x="25857" y="16316"/>
                  </a:cubicBezTo>
                  <a:lnTo>
                    <a:pt x="3569" y="3457"/>
                  </a:lnTo>
                  <a:lnTo>
                    <a:pt x="1188"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386" name="iṡľidé">
              <a:extLst>
                <a:ext uri="{FF2B5EF4-FFF2-40B4-BE49-F238E27FC236}">
                  <a16:creationId xmlns:a16="http://schemas.microsoft.com/office/drawing/2014/main" id="{7DA1ECB1-7BFD-4C57-AA8A-2C311A6E582F}"/>
                </a:ext>
              </a:extLst>
            </p:cNvPr>
            <p:cNvSpPr/>
            <p:nvPr/>
          </p:nvSpPr>
          <p:spPr>
            <a:xfrm>
              <a:off x="5429923" y="4660839"/>
              <a:ext cx="109740" cy="63442"/>
            </a:xfrm>
            <a:custGeom>
              <a:avLst/>
              <a:gdLst>
                <a:gd name="connsiteX0" fmla="*/ -336 w 36052"/>
                <a:gd name="connsiteY0" fmla="*/ 10227 h 20842"/>
                <a:gd name="connsiteX1" fmla="*/ 1188 w 36052"/>
                <a:gd name="connsiteY1" fmla="*/ 12513 h 20842"/>
                <a:gd name="connsiteX2" fmla="*/ 3569 w 36052"/>
                <a:gd name="connsiteY2" fmla="*/ 13846 h 20842"/>
                <a:gd name="connsiteX3" fmla="*/ 13856 w 36052"/>
                <a:gd name="connsiteY3" fmla="*/ 19752 h 20842"/>
                <a:gd name="connsiteX4" fmla="*/ 21476 w 36052"/>
                <a:gd name="connsiteY4" fmla="*/ 19752 h 20842"/>
                <a:gd name="connsiteX5" fmla="*/ 31763 w 36052"/>
                <a:gd name="connsiteY5" fmla="*/ 13846 h 20842"/>
                <a:gd name="connsiteX6" fmla="*/ 34144 w 36052"/>
                <a:gd name="connsiteY6" fmla="*/ 12513 h 20842"/>
                <a:gd name="connsiteX7" fmla="*/ 35573 w 36052"/>
                <a:gd name="connsiteY7" fmla="*/ 9465 h 20842"/>
                <a:gd name="connsiteX8" fmla="*/ 34144 w 36052"/>
                <a:gd name="connsiteY8" fmla="*/ 8036 h 20842"/>
                <a:gd name="connsiteX9" fmla="*/ 21476 w 36052"/>
                <a:gd name="connsiteY9" fmla="*/ 702 h 20842"/>
                <a:gd name="connsiteX10" fmla="*/ 13856 w 36052"/>
                <a:gd name="connsiteY10" fmla="*/ 702 h 20842"/>
                <a:gd name="connsiteX11" fmla="*/ 1188 w 36052"/>
                <a:gd name="connsiteY11" fmla="*/ 8036 h 20842"/>
                <a:gd name="connsiteX12" fmla="*/ -336 w 36052"/>
                <a:gd name="connsiteY12" fmla="*/ 10227 h 20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2">
                  <a:moveTo>
                    <a:pt x="-336" y="10227"/>
                  </a:moveTo>
                  <a:cubicBezTo>
                    <a:pt x="-270" y="11208"/>
                    <a:pt x="311" y="12074"/>
                    <a:pt x="1188" y="12513"/>
                  </a:cubicBezTo>
                  <a:lnTo>
                    <a:pt x="3569" y="13846"/>
                  </a:lnTo>
                  <a:lnTo>
                    <a:pt x="13856" y="19752"/>
                  </a:lnTo>
                  <a:cubicBezTo>
                    <a:pt x="16247" y="20990"/>
                    <a:pt x="19085" y="20990"/>
                    <a:pt x="21476" y="19752"/>
                  </a:cubicBezTo>
                  <a:lnTo>
                    <a:pt x="31763" y="13846"/>
                  </a:lnTo>
                  <a:lnTo>
                    <a:pt x="34144" y="12513"/>
                  </a:lnTo>
                  <a:cubicBezTo>
                    <a:pt x="35382" y="12065"/>
                    <a:pt x="36020" y="10693"/>
                    <a:pt x="35573" y="9465"/>
                  </a:cubicBezTo>
                  <a:cubicBezTo>
                    <a:pt x="35325" y="8798"/>
                    <a:pt x="34811" y="8274"/>
                    <a:pt x="34144"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387" name="iś1ïḓé">
              <a:extLst>
                <a:ext uri="{FF2B5EF4-FFF2-40B4-BE49-F238E27FC236}">
                  <a16:creationId xmlns:a16="http://schemas.microsoft.com/office/drawing/2014/main" id="{C6BCECAE-A361-46DB-96B1-6B798F06CECD}"/>
                </a:ext>
              </a:extLst>
            </p:cNvPr>
            <p:cNvSpPr/>
            <p:nvPr/>
          </p:nvSpPr>
          <p:spPr>
            <a:xfrm>
              <a:off x="5431808" y="4662020"/>
              <a:ext cx="105895" cy="61104"/>
            </a:xfrm>
            <a:custGeom>
              <a:avLst/>
              <a:gdLst>
                <a:gd name="connsiteX0" fmla="*/ 1235 w 34789"/>
                <a:gd name="connsiteY0" fmla="*/ 12029 h 20074"/>
                <a:gd name="connsiteX1" fmla="*/ 13332 w 34789"/>
                <a:gd name="connsiteY1" fmla="*/ 18983 h 20074"/>
                <a:gd name="connsiteX2" fmla="*/ 20761 w 34789"/>
                <a:gd name="connsiteY2" fmla="*/ 18983 h 20074"/>
                <a:gd name="connsiteX3" fmla="*/ 32953 w 34789"/>
                <a:gd name="connsiteY3" fmla="*/ 12029 h 20074"/>
                <a:gd name="connsiteX4" fmla="*/ 32953 w 34789"/>
                <a:gd name="connsiteY4" fmla="*/ 7743 h 20074"/>
                <a:gd name="connsiteX5" fmla="*/ 20761 w 34789"/>
                <a:gd name="connsiteY5" fmla="*/ 695 h 20074"/>
                <a:gd name="connsiteX6" fmla="*/ 13332 w 34789"/>
                <a:gd name="connsiteY6" fmla="*/ 695 h 20074"/>
                <a:gd name="connsiteX7" fmla="*/ 1235 w 34789"/>
                <a:gd name="connsiteY7" fmla="*/ 7743 h 20074"/>
                <a:gd name="connsiteX8" fmla="*/ 1235 w 34789"/>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89" h="20074">
                  <a:moveTo>
                    <a:pt x="1235" y="12029"/>
                  </a:moveTo>
                  <a:lnTo>
                    <a:pt x="13332" y="18983"/>
                  </a:lnTo>
                  <a:cubicBezTo>
                    <a:pt x="15656" y="20221"/>
                    <a:pt x="18437" y="20221"/>
                    <a:pt x="20761" y="18983"/>
                  </a:cubicBezTo>
                  <a:lnTo>
                    <a:pt x="32953" y="12029"/>
                  </a:lnTo>
                  <a:cubicBezTo>
                    <a:pt x="34954" y="10791"/>
                    <a:pt x="34954" y="8886"/>
                    <a:pt x="32953" y="7743"/>
                  </a:cubicBezTo>
                  <a:lnTo>
                    <a:pt x="20761" y="695"/>
                  </a:lnTo>
                  <a:cubicBezTo>
                    <a:pt x="18418" y="-448"/>
                    <a:pt x="15675" y="-448"/>
                    <a:pt x="13332" y="695"/>
                  </a:cubicBezTo>
                  <a:lnTo>
                    <a:pt x="1235" y="7743"/>
                  </a:lnTo>
                  <a:cubicBezTo>
                    <a:pt x="-860" y="8886"/>
                    <a:pt x="-860" y="10791"/>
                    <a:pt x="1235" y="12029"/>
                  </a:cubicBezTo>
                  <a:close/>
                </a:path>
              </a:pathLst>
            </a:custGeom>
            <a:solidFill>
              <a:srgbClr val="D1D9E8"/>
            </a:solidFill>
            <a:ln w="9525" cap="flat">
              <a:noFill/>
              <a:prstDash val="solid"/>
              <a:miter/>
            </a:ln>
          </p:spPr>
          <p:txBody>
            <a:bodyPr rtlCol="0" anchor="ctr"/>
            <a:lstStyle/>
            <a:p>
              <a:endParaRPr lang="zh-CN" altLang="en-US"/>
            </a:p>
          </p:txBody>
        </p:sp>
        <p:sp>
          <p:nvSpPr>
            <p:cNvPr id="388" name="ïṩḻîḍê">
              <a:extLst>
                <a:ext uri="{FF2B5EF4-FFF2-40B4-BE49-F238E27FC236}">
                  <a16:creationId xmlns:a16="http://schemas.microsoft.com/office/drawing/2014/main" id="{402CA260-61FB-4D6D-852D-52181F213AB9}"/>
                </a:ext>
              </a:extLst>
            </p:cNvPr>
            <p:cNvSpPr/>
            <p:nvPr/>
          </p:nvSpPr>
          <p:spPr>
            <a:xfrm>
              <a:off x="5429923" y="4692465"/>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4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4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20"/>
                    <a:pt x="35582" y="7953"/>
                    <a:pt x="35668" y="6981"/>
                  </a:cubicBezTo>
                  <a:lnTo>
                    <a:pt x="35668" y="-163"/>
                  </a:lnTo>
                  <a:cubicBezTo>
                    <a:pt x="35602" y="819"/>
                    <a:pt x="35021" y="1685"/>
                    <a:pt x="34144" y="2124"/>
                  </a:cubicBezTo>
                  <a:lnTo>
                    <a:pt x="31763" y="3457"/>
                  </a:lnTo>
                  <a:lnTo>
                    <a:pt x="21476" y="9362"/>
                  </a:lnTo>
                  <a:cubicBezTo>
                    <a:pt x="19085" y="10601"/>
                    <a:pt x="16247" y="10601"/>
                    <a:pt x="13856" y="9362"/>
                  </a:cubicBezTo>
                  <a:lnTo>
                    <a:pt x="3569" y="3457"/>
                  </a:lnTo>
                  <a:lnTo>
                    <a:pt x="1188" y="2124"/>
                  </a:lnTo>
                  <a:cubicBezTo>
                    <a:pt x="311" y="1685"/>
                    <a:pt x="-270" y="819"/>
                    <a:pt x="-336" y="-163"/>
                  </a:cubicBezTo>
                  <a:close/>
                </a:path>
              </a:pathLst>
            </a:custGeom>
            <a:solidFill>
              <a:srgbClr val="BF4200"/>
            </a:solidFill>
            <a:ln w="9525" cap="flat">
              <a:noFill/>
              <a:prstDash val="solid"/>
              <a:miter/>
            </a:ln>
          </p:spPr>
          <p:txBody>
            <a:bodyPr rtlCol="0" anchor="ctr"/>
            <a:lstStyle/>
            <a:p>
              <a:endParaRPr lang="zh-CN" altLang="en-US"/>
            </a:p>
          </p:txBody>
        </p:sp>
        <p:sp>
          <p:nvSpPr>
            <p:cNvPr id="389" name="ïṣlîde">
              <a:extLst>
                <a:ext uri="{FF2B5EF4-FFF2-40B4-BE49-F238E27FC236}">
                  <a16:creationId xmlns:a16="http://schemas.microsoft.com/office/drawing/2014/main" id="{758AB995-8C2E-4719-9B74-BFC284EBB40B}"/>
                </a:ext>
              </a:extLst>
            </p:cNvPr>
            <p:cNvSpPr/>
            <p:nvPr/>
          </p:nvSpPr>
          <p:spPr>
            <a:xfrm>
              <a:off x="5507337" y="4705293"/>
              <a:ext cx="109740" cy="63639"/>
            </a:xfrm>
            <a:custGeom>
              <a:avLst/>
              <a:gdLst>
                <a:gd name="connsiteX0" fmla="*/ -336 w 36052"/>
                <a:gd name="connsiteY0" fmla="*/ 10291 h 20907"/>
                <a:gd name="connsiteX1" fmla="*/ 1187 w 36052"/>
                <a:gd name="connsiteY1" fmla="*/ 12577 h 20907"/>
                <a:gd name="connsiteX2" fmla="*/ 3569 w 36052"/>
                <a:gd name="connsiteY2" fmla="*/ 13911 h 20907"/>
                <a:gd name="connsiteX3" fmla="*/ 13856 w 36052"/>
                <a:gd name="connsiteY3" fmla="*/ 19816 h 20907"/>
                <a:gd name="connsiteX4" fmla="*/ 21476 w 36052"/>
                <a:gd name="connsiteY4" fmla="*/ 19816 h 20907"/>
                <a:gd name="connsiteX5" fmla="*/ 31763 w 36052"/>
                <a:gd name="connsiteY5" fmla="*/ 13911 h 20907"/>
                <a:gd name="connsiteX6" fmla="*/ 34144 w 36052"/>
                <a:gd name="connsiteY6" fmla="*/ 12577 h 20907"/>
                <a:gd name="connsiteX7" fmla="*/ 35573 w 36052"/>
                <a:gd name="connsiteY7" fmla="*/ 9529 h 20907"/>
                <a:gd name="connsiteX8" fmla="*/ 34144 w 36052"/>
                <a:gd name="connsiteY8" fmla="*/ 8101 h 20907"/>
                <a:gd name="connsiteX9" fmla="*/ 21476 w 36052"/>
                <a:gd name="connsiteY9" fmla="*/ 766 h 20907"/>
                <a:gd name="connsiteX10" fmla="*/ 13856 w 36052"/>
                <a:gd name="connsiteY10" fmla="*/ 766 h 20907"/>
                <a:gd name="connsiteX11" fmla="*/ 1187 w 36052"/>
                <a:gd name="connsiteY11" fmla="*/ 8101 h 20907"/>
                <a:gd name="connsiteX12" fmla="*/ -336 w 36052"/>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907">
                  <a:moveTo>
                    <a:pt x="-336" y="10291"/>
                  </a:moveTo>
                  <a:cubicBezTo>
                    <a:pt x="-270" y="11272"/>
                    <a:pt x="311" y="12139"/>
                    <a:pt x="1187" y="12577"/>
                  </a:cubicBezTo>
                  <a:lnTo>
                    <a:pt x="3569" y="13911"/>
                  </a:lnTo>
                  <a:lnTo>
                    <a:pt x="13856" y="19816"/>
                  </a:lnTo>
                  <a:cubicBezTo>
                    <a:pt x="16247" y="21054"/>
                    <a:pt x="19085" y="21054"/>
                    <a:pt x="21476" y="19816"/>
                  </a:cubicBezTo>
                  <a:lnTo>
                    <a:pt x="31763" y="13911"/>
                  </a:lnTo>
                  <a:lnTo>
                    <a:pt x="34144" y="12577"/>
                  </a:lnTo>
                  <a:cubicBezTo>
                    <a:pt x="35382" y="12129"/>
                    <a:pt x="36020" y="10758"/>
                    <a:pt x="35573" y="9529"/>
                  </a:cubicBezTo>
                  <a:cubicBezTo>
                    <a:pt x="35325" y="8862"/>
                    <a:pt x="34811" y="8339"/>
                    <a:pt x="34144" y="8101"/>
                  </a:cubicBezTo>
                  <a:lnTo>
                    <a:pt x="21476" y="766"/>
                  </a:lnTo>
                  <a:cubicBezTo>
                    <a:pt x="19085" y="-472"/>
                    <a:pt x="16247" y="-472"/>
                    <a:pt x="13856" y="766"/>
                  </a:cubicBezTo>
                  <a:lnTo>
                    <a:pt x="1187" y="8101"/>
                  </a:lnTo>
                  <a:cubicBezTo>
                    <a:pt x="340" y="8519"/>
                    <a:pt x="-241" y="9348"/>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390" name="ïšḻïḍé">
              <a:extLst>
                <a:ext uri="{FF2B5EF4-FFF2-40B4-BE49-F238E27FC236}">
                  <a16:creationId xmlns:a16="http://schemas.microsoft.com/office/drawing/2014/main" id="{E94CDF92-6D9E-49BF-AF43-2A56B326DF42}"/>
                </a:ext>
              </a:extLst>
            </p:cNvPr>
            <p:cNvSpPr/>
            <p:nvPr/>
          </p:nvSpPr>
          <p:spPr>
            <a:xfrm>
              <a:off x="5509148" y="4706671"/>
              <a:ext cx="105898" cy="61101"/>
            </a:xfrm>
            <a:custGeom>
              <a:avLst/>
              <a:gdLst>
                <a:gd name="connsiteX0" fmla="*/ 1164 w 34790"/>
                <a:gd name="connsiteY0" fmla="*/ 12029 h 20073"/>
                <a:gd name="connsiteX1" fmla="*/ 13356 w 34790"/>
                <a:gd name="connsiteY1" fmla="*/ 18982 h 20073"/>
                <a:gd name="connsiteX2" fmla="*/ 20786 w 34790"/>
                <a:gd name="connsiteY2" fmla="*/ 18982 h 20073"/>
                <a:gd name="connsiteX3" fmla="*/ 32882 w 34790"/>
                <a:gd name="connsiteY3" fmla="*/ 12029 h 20073"/>
                <a:gd name="connsiteX4" fmla="*/ 32882 w 34790"/>
                <a:gd name="connsiteY4" fmla="*/ 7743 h 20073"/>
                <a:gd name="connsiteX5" fmla="*/ 20786 w 34790"/>
                <a:gd name="connsiteY5" fmla="*/ 695 h 20073"/>
                <a:gd name="connsiteX6" fmla="*/ 13356 w 34790"/>
                <a:gd name="connsiteY6" fmla="*/ 695 h 20073"/>
                <a:gd name="connsiteX7" fmla="*/ 1164 w 34790"/>
                <a:gd name="connsiteY7" fmla="*/ 7743 h 20073"/>
                <a:gd name="connsiteX8" fmla="*/ 1164 w 34790"/>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3">
                  <a:moveTo>
                    <a:pt x="1164" y="12029"/>
                  </a:moveTo>
                  <a:lnTo>
                    <a:pt x="13356" y="18982"/>
                  </a:lnTo>
                  <a:cubicBezTo>
                    <a:pt x="15680" y="20221"/>
                    <a:pt x="18461" y="20221"/>
                    <a:pt x="20786" y="18982"/>
                  </a:cubicBezTo>
                  <a:lnTo>
                    <a:pt x="32882" y="12029"/>
                  </a:lnTo>
                  <a:cubicBezTo>
                    <a:pt x="34978" y="10791"/>
                    <a:pt x="34978" y="8886"/>
                    <a:pt x="32882" y="7743"/>
                  </a:cubicBezTo>
                  <a:lnTo>
                    <a:pt x="20786" y="695"/>
                  </a:lnTo>
                  <a:cubicBezTo>
                    <a:pt x="18442" y="-448"/>
                    <a:pt x="15699" y="-448"/>
                    <a:pt x="13356" y="695"/>
                  </a:cubicBezTo>
                  <a:lnTo>
                    <a:pt x="1164" y="7743"/>
                  </a:lnTo>
                  <a:cubicBezTo>
                    <a:pt x="-836" y="8886"/>
                    <a:pt x="-836" y="10791"/>
                    <a:pt x="1164" y="12029"/>
                  </a:cubicBezTo>
                  <a:close/>
                </a:path>
              </a:pathLst>
            </a:custGeom>
            <a:solidFill>
              <a:srgbClr val="D1D9E8"/>
            </a:solidFill>
            <a:ln w="9525" cap="flat">
              <a:noFill/>
              <a:prstDash val="solid"/>
              <a:miter/>
            </a:ln>
          </p:spPr>
          <p:txBody>
            <a:bodyPr rtlCol="0" anchor="ctr"/>
            <a:lstStyle/>
            <a:p>
              <a:endParaRPr lang="zh-CN" altLang="en-US"/>
            </a:p>
          </p:txBody>
        </p:sp>
        <p:sp>
          <p:nvSpPr>
            <p:cNvPr id="391" name="ïśľîḓe">
              <a:extLst>
                <a:ext uri="{FF2B5EF4-FFF2-40B4-BE49-F238E27FC236}">
                  <a16:creationId xmlns:a16="http://schemas.microsoft.com/office/drawing/2014/main" id="{F74FB998-CBEE-4BE5-A137-32777F866DF4}"/>
                </a:ext>
              </a:extLst>
            </p:cNvPr>
            <p:cNvSpPr/>
            <p:nvPr/>
          </p:nvSpPr>
          <p:spPr>
            <a:xfrm>
              <a:off x="5507337" y="4737114"/>
              <a:ext cx="109594" cy="53564"/>
            </a:xfrm>
            <a:custGeom>
              <a:avLst/>
              <a:gdLst>
                <a:gd name="connsiteX0" fmla="*/ -336 w 36004"/>
                <a:gd name="connsiteY0" fmla="*/ -163 h 17597"/>
                <a:gd name="connsiteX1" fmla="*/ -336 w 36004"/>
                <a:gd name="connsiteY1" fmla="*/ 7076 h 17597"/>
                <a:gd name="connsiteX2" fmla="*/ 1187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4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7 w 36004"/>
                <a:gd name="connsiteY13" fmla="*/ 2124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7" y="9267"/>
                  </a:cubicBezTo>
                  <a:lnTo>
                    <a:pt x="13856" y="16506"/>
                  </a:lnTo>
                  <a:cubicBezTo>
                    <a:pt x="16247" y="17744"/>
                    <a:pt x="19085" y="17744"/>
                    <a:pt x="21476" y="16506"/>
                  </a:cubicBezTo>
                  <a:lnTo>
                    <a:pt x="34144" y="9267"/>
                  </a:lnTo>
                  <a:cubicBezTo>
                    <a:pt x="35011" y="8819"/>
                    <a:pt x="35582" y="7953"/>
                    <a:pt x="35668" y="6981"/>
                  </a:cubicBezTo>
                  <a:lnTo>
                    <a:pt x="35668" y="-163"/>
                  </a:lnTo>
                  <a:cubicBezTo>
                    <a:pt x="35601" y="818"/>
                    <a:pt x="35020" y="1685"/>
                    <a:pt x="34144" y="2124"/>
                  </a:cubicBezTo>
                  <a:lnTo>
                    <a:pt x="31763" y="3457"/>
                  </a:lnTo>
                  <a:lnTo>
                    <a:pt x="21476" y="9362"/>
                  </a:lnTo>
                  <a:cubicBezTo>
                    <a:pt x="19085" y="10601"/>
                    <a:pt x="16247" y="10601"/>
                    <a:pt x="13856" y="9362"/>
                  </a:cubicBezTo>
                  <a:lnTo>
                    <a:pt x="3569" y="3457"/>
                  </a:lnTo>
                  <a:lnTo>
                    <a:pt x="1187" y="2124"/>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392" name="íŝ1ïḑé">
              <a:extLst>
                <a:ext uri="{FF2B5EF4-FFF2-40B4-BE49-F238E27FC236}">
                  <a16:creationId xmlns:a16="http://schemas.microsoft.com/office/drawing/2014/main" id="{BEDEB679-E08C-4BEE-A638-C3806FC502DE}"/>
                </a:ext>
              </a:extLst>
            </p:cNvPr>
            <p:cNvSpPr/>
            <p:nvPr/>
          </p:nvSpPr>
          <p:spPr>
            <a:xfrm>
              <a:off x="5584457" y="4749944"/>
              <a:ext cx="109883" cy="63639"/>
            </a:xfrm>
            <a:custGeom>
              <a:avLst/>
              <a:gdLst>
                <a:gd name="connsiteX0" fmla="*/ -336 w 36099"/>
                <a:gd name="connsiteY0" fmla="*/ 10291 h 20907"/>
                <a:gd name="connsiteX1" fmla="*/ 1283 w 36099"/>
                <a:gd name="connsiteY1" fmla="*/ 12577 h 20907"/>
                <a:gd name="connsiteX2" fmla="*/ 3569 w 36099"/>
                <a:gd name="connsiteY2" fmla="*/ 13911 h 20907"/>
                <a:gd name="connsiteX3" fmla="*/ 13856 w 36099"/>
                <a:gd name="connsiteY3" fmla="*/ 19816 h 20907"/>
                <a:gd name="connsiteX4" fmla="*/ 21571 w 36099"/>
                <a:gd name="connsiteY4" fmla="*/ 19816 h 20907"/>
                <a:gd name="connsiteX5" fmla="*/ 31858 w 36099"/>
                <a:gd name="connsiteY5" fmla="*/ 13911 h 20907"/>
                <a:gd name="connsiteX6" fmla="*/ 34144 w 36099"/>
                <a:gd name="connsiteY6" fmla="*/ 12577 h 20907"/>
                <a:gd name="connsiteX7" fmla="*/ 35764 w 36099"/>
                <a:gd name="connsiteY7" fmla="*/ 10291 h 20907"/>
                <a:gd name="connsiteX8" fmla="*/ 34144 w 36099"/>
                <a:gd name="connsiteY8" fmla="*/ 8100 h 20907"/>
                <a:gd name="connsiteX9" fmla="*/ 21571 w 36099"/>
                <a:gd name="connsiteY9" fmla="*/ 766 h 20907"/>
                <a:gd name="connsiteX10" fmla="*/ 13856 w 36099"/>
                <a:gd name="connsiteY10" fmla="*/ 766 h 20907"/>
                <a:gd name="connsiteX11" fmla="*/ 1283 w 36099"/>
                <a:gd name="connsiteY11" fmla="*/ 8100 h 20907"/>
                <a:gd name="connsiteX12" fmla="*/ -336 w 36099"/>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99" h="20907">
                  <a:moveTo>
                    <a:pt x="-336" y="10291"/>
                  </a:moveTo>
                  <a:cubicBezTo>
                    <a:pt x="-269" y="11301"/>
                    <a:pt x="350" y="12187"/>
                    <a:pt x="1283" y="12577"/>
                  </a:cubicBezTo>
                  <a:lnTo>
                    <a:pt x="3569" y="13911"/>
                  </a:lnTo>
                  <a:lnTo>
                    <a:pt x="13856" y="19816"/>
                  </a:lnTo>
                  <a:cubicBezTo>
                    <a:pt x="16275" y="21054"/>
                    <a:pt x="19152" y="21054"/>
                    <a:pt x="21571" y="19816"/>
                  </a:cubicBezTo>
                  <a:lnTo>
                    <a:pt x="31858" y="13911"/>
                  </a:lnTo>
                  <a:lnTo>
                    <a:pt x="34144" y="12577"/>
                  </a:lnTo>
                  <a:cubicBezTo>
                    <a:pt x="35049" y="12149"/>
                    <a:pt x="35659" y="11282"/>
                    <a:pt x="35764" y="10291"/>
                  </a:cubicBezTo>
                  <a:cubicBezTo>
                    <a:pt x="35649" y="9329"/>
                    <a:pt x="35030" y="8491"/>
                    <a:pt x="34144" y="8100"/>
                  </a:cubicBezTo>
                  <a:lnTo>
                    <a:pt x="21571" y="766"/>
                  </a:lnTo>
                  <a:cubicBezTo>
                    <a:pt x="19152" y="-472"/>
                    <a:pt x="16275" y="-472"/>
                    <a:pt x="13856" y="766"/>
                  </a:cubicBezTo>
                  <a:lnTo>
                    <a:pt x="1283" y="8100"/>
                  </a:lnTo>
                  <a:cubicBezTo>
                    <a:pt x="369" y="8462"/>
                    <a:pt x="-260" y="9310"/>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393" name="iSļiďè">
              <a:extLst>
                <a:ext uri="{FF2B5EF4-FFF2-40B4-BE49-F238E27FC236}">
                  <a16:creationId xmlns:a16="http://schemas.microsoft.com/office/drawing/2014/main" id="{3036BAF3-D789-408D-BD1A-B0D9F264187A}"/>
                </a:ext>
              </a:extLst>
            </p:cNvPr>
            <p:cNvSpPr/>
            <p:nvPr/>
          </p:nvSpPr>
          <p:spPr>
            <a:xfrm>
              <a:off x="5586126" y="4751104"/>
              <a:ext cx="105244" cy="61101"/>
            </a:xfrm>
            <a:custGeom>
              <a:avLst/>
              <a:gdLst>
                <a:gd name="connsiteX0" fmla="*/ 1021 w 34575"/>
                <a:gd name="connsiteY0" fmla="*/ 12006 h 20073"/>
                <a:gd name="connsiteX1" fmla="*/ 13118 w 34575"/>
                <a:gd name="connsiteY1" fmla="*/ 19054 h 20073"/>
                <a:gd name="connsiteX2" fmla="*/ 20547 w 34575"/>
                <a:gd name="connsiteY2" fmla="*/ 19054 h 20073"/>
                <a:gd name="connsiteX3" fmla="*/ 32739 w 34575"/>
                <a:gd name="connsiteY3" fmla="*/ 12006 h 20073"/>
                <a:gd name="connsiteX4" fmla="*/ 32739 w 34575"/>
                <a:gd name="connsiteY4" fmla="*/ 7719 h 20073"/>
                <a:gd name="connsiteX5" fmla="*/ 20547 w 34575"/>
                <a:gd name="connsiteY5" fmla="*/ 766 h 20073"/>
                <a:gd name="connsiteX6" fmla="*/ 13118 w 34575"/>
                <a:gd name="connsiteY6" fmla="*/ 766 h 20073"/>
                <a:gd name="connsiteX7" fmla="*/ 1021 w 34575"/>
                <a:gd name="connsiteY7" fmla="*/ 7719 h 20073"/>
                <a:gd name="connsiteX8" fmla="*/ 1021 w 34575"/>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575" h="20073">
                  <a:moveTo>
                    <a:pt x="1021" y="12006"/>
                  </a:moveTo>
                  <a:lnTo>
                    <a:pt x="13118" y="19054"/>
                  </a:lnTo>
                  <a:cubicBezTo>
                    <a:pt x="15461" y="20197"/>
                    <a:pt x="18204" y="20197"/>
                    <a:pt x="20547" y="19054"/>
                  </a:cubicBezTo>
                  <a:lnTo>
                    <a:pt x="32739" y="12006"/>
                  </a:lnTo>
                  <a:cubicBezTo>
                    <a:pt x="34740" y="10863"/>
                    <a:pt x="34740" y="8957"/>
                    <a:pt x="32739" y="7719"/>
                  </a:cubicBezTo>
                  <a:lnTo>
                    <a:pt x="20547" y="766"/>
                  </a:lnTo>
                  <a:cubicBezTo>
                    <a:pt x="18223" y="-472"/>
                    <a:pt x="15442" y="-472"/>
                    <a:pt x="13118" y="766"/>
                  </a:cubicBezTo>
                  <a:lnTo>
                    <a:pt x="1021" y="7719"/>
                  </a:lnTo>
                  <a:cubicBezTo>
                    <a:pt x="-789" y="8957"/>
                    <a:pt x="-789" y="10863"/>
                    <a:pt x="1021" y="12006"/>
                  </a:cubicBezTo>
                  <a:close/>
                </a:path>
              </a:pathLst>
            </a:custGeom>
            <a:solidFill>
              <a:srgbClr val="D1D9E8"/>
            </a:solidFill>
            <a:ln w="9525" cap="flat">
              <a:noFill/>
              <a:prstDash val="solid"/>
              <a:miter/>
            </a:ln>
          </p:spPr>
          <p:txBody>
            <a:bodyPr rtlCol="0" anchor="ctr"/>
            <a:lstStyle/>
            <a:p>
              <a:endParaRPr lang="zh-CN" altLang="en-US"/>
            </a:p>
          </p:txBody>
        </p:sp>
        <p:sp>
          <p:nvSpPr>
            <p:cNvPr id="394" name="îşḻîḑé">
              <a:extLst>
                <a:ext uri="{FF2B5EF4-FFF2-40B4-BE49-F238E27FC236}">
                  <a16:creationId xmlns:a16="http://schemas.microsoft.com/office/drawing/2014/main" id="{62BB1114-C69B-421B-92EC-01EDFEB8C456}"/>
                </a:ext>
              </a:extLst>
            </p:cNvPr>
            <p:cNvSpPr/>
            <p:nvPr/>
          </p:nvSpPr>
          <p:spPr>
            <a:xfrm>
              <a:off x="5584457" y="4781765"/>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4 w 36099"/>
                <a:gd name="connsiteY6" fmla="*/ 6981 h 17597"/>
                <a:gd name="connsiteX7" fmla="*/ 35764 w 36099"/>
                <a:gd name="connsiteY7" fmla="*/ -163 h 17597"/>
                <a:gd name="connsiteX8" fmla="*/ 34144 w 36099"/>
                <a:gd name="connsiteY8" fmla="*/ 2123 h 17597"/>
                <a:gd name="connsiteX9" fmla="*/ 31858 w 36099"/>
                <a:gd name="connsiteY9" fmla="*/ 3457 h 17597"/>
                <a:gd name="connsiteX10" fmla="*/ 21571 w 36099"/>
                <a:gd name="connsiteY10" fmla="*/ 9362 h 17597"/>
                <a:gd name="connsiteX11" fmla="*/ 13856 w 36099"/>
                <a:gd name="connsiteY11" fmla="*/ 9362 h 17597"/>
                <a:gd name="connsiteX12" fmla="*/ 3569 w 36099"/>
                <a:gd name="connsiteY12" fmla="*/ 3457 h 17597"/>
                <a:gd name="connsiteX13" fmla="*/ 1283 w 36099"/>
                <a:gd name="connsiteY13" fmla="*/ 2123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41" y="8048"/>
                    <a:pt x="378" y="8886"/>
                    <a:pt x="1283" y="9267"/>
                  </a:cubicBezTo>
                  <a:lnTo>
                    <a:pt x="13856" y="16506"/>
                  </a:lnTo>
                  <a:cubicBezTo>
                    <a:pt x="16275" y="17744"/>
                    <a:pt x="19152" y="17744"/>
                    <a:pt x="21571" y="16506"/>
                  </a:cubicBezTo>
                  <a:lnTo>
                    <a:pt x="34144" y="9267"/>
                  </a:lnTo>
                  <a:cubicBezTo>
                    <a:pt x="35030" y="8829"/>
                    <a:pt x="35640" y="7962"/>
                    <a:pt x="35764" y="6981"/>
                  </a:cubicBezTo>
                  <a:lnTo>
                    <a:pt x="35764" y="-163"/>
                  </a:lnTo>
                  <a:cubicBezTo>
                    <a:pt x="35659" y="828"/>
                    <a:pt x="35049" y="1695"/>
                    <a:pt x="34144" y="2123"/>
                  </a:cubicBezTo>
                  <a:lnTo>
                    <a:pt x="31858" y="3457"/>
                  </a:lnTo>
                  <a:lnTo>
                    <a:pt x="21571" y="9362"/>
                  </a:lnTo>
                  <a:cubicBezTo>
                    <a:pt x="19152" y="10601"/>
                    <a:pt x="16275" y="10601"/>
                    <a:pt x="13856" y="9362"/>
                  </a:cubicBezTo>
                  <a:lnTo>
                    <a:pt x="3569" y="3457"/>
                  </a:lnTo>
                  <a:lnTo>
                    <a:pt x="1283" y="2123"/>
                  </a:lnTo>
                  <a:cubicBezTo>
                    <a:pt x="350" y="1733"/>
                    <a:pt x="-269" y="847"/>
                    <a:pt x="-336" y="-163"/>
                  </a:cubicBezTo>
                  <a:close/>
                </a:path>
              </a:pathLst>
            </a:custGeom>
            <a:solidFill>
              <a:srgbClr val="BF4200"/>
            </a:solidFill>
            <a:ln w="9525" cap="flat">
              <a:noFill/>
              <a:prstDash val="solid"/>
              <a:miter/>
            </a:ln>
          </p:spPr>
          <p:txBody>
            <a:bodyPr rtlCol="0" anchor="ctr"/>
            <a:lstStyle/>
            <a:p>
              <a:endParaRPr lang="zh-CN" altLang="en-US"/>
            </a:p>
          </p:txBody>
        </p:sp>
        <p:sp>
          <p:nvSpPr>
            <p:cNvPr id="395" name="îṣlíḋe">
              <a:extLst>
                <a:ext uri="{FF2B5EF4-FFF2-40B4-BE49-F238E27FC236}">
                  <a16:creationId xmlns:a16="http://schemas.microsoft.com/office/drawing/2014/main" id="{42246F9C-6A4E-4CAF-B439-1C06421CCF48}"/>
                </a:ext>
              </a:extLst>
            </p:cNvPr>
            <p:cNvSpPr/>
            <p:nvPr/>
          </p:nvSpPr>
          <p:spPr>
            <a:xfrm>
              <a:off x="5661871" y="4795463"/>
              <a:ext cx="110753" cy="63588"/>
            </a:xfrm>
            <a:custGeom>
              <a:avLst/>
              <a:gdLst>
                <a:gd name="connsiteX0" fmla="*/ -336 w 36385"/>
                <a:gd name="connsiteY0" fmla="*/ 10196 h 20890"/>
                <a:gd name="connsiteX1" fmla="*/ 1188 w 36385"/>
                <a:gd name="connsiteY1" fmla="*/ 12482 h 20890"/>
                <a:gd name="connsiteX2" fmla="*/ 3569 w 36385"/>
                <a:gd name="connsiteY2" fmla="*/ 13815 h 20890"/>
                <a:gd name="connsiteX3" fmla="*/ 14237 w 36385"/>
                <a:gd name="connsiteY3" fmla="*/ 19721 h 20890"/>
                <a:gd name="connsiteX4" fmla="*/ 21857 w 36385"/>
                <a:gd name="connsiteY4" fmla="*/ 19721 h 20890"/>
                <a:gd name="connsiteX5" fmla="*/ 32144 w 36385"/>
                <a:gd name="connsiteY5" fmla="*/ 13911 h 20890"/>
                <a:gd name="connsiteX6" fmla="*/ 34525 w 36385"/>
                <a:gd name="connsiteY6" fmla="*/ 12577 h 20890"/>
                <a:gd name="connsiteX7" fmla="*/ 36049 w 36385"/>
                <a:gd name="connsiteY7" fmla="*/ 10291 h 20890"/>
                <a:gd name="connsiteX8" fmla="*/ 34525 w 36385"/>
                <a:gd name="connsiteY8" fmla="*/ 8100 h 20890"/>
                <a:gd name="connsiteX9" fmla="*/ 21857 w 36385"/>
                <a:gd name="connsiteY9" fmla="*/ 766 h 20890"/>
                <a:gd name="connsiteX10" fmla="*/ 14237 w 36385"/>
                <a:gd name="connsiteY10" fmla="*/ 766 h 20890"/>
                <a:gd name="connsiteX11" fmla="*/ 1569 w 36385"/>
                <a:gd name="connsiteY11" fmla="*/ 8100 h 20890"/>
                <a:gd name="connsiteX12" fmla="*/ -336 w 36385"/>
                <a:gd name="connsiteY12" fmla="*/ 10196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385" h="20890">
                  <a:moveTo>
                    <a:pt x="-336" y="10196"/>
                  </a:moveTo>
                  <a:cubicBezTo>
                    <a:pt x="-270" y="11177"/>
                    <a:pt x="311" y="12044"/>
                    <a:pt x="1188" y="12482"/>
                  </a:cubicBezTo>
                  <a:lnTo>
                    <a:pt x="3569" y="13815"/>
                  </a:lnTo>
                  <a:lnTo>
                    <a:pt x="14237" y="19721"/>
                  </a:lnTo>
                  <a:cubicBezTo>
                    <a:pt x="16599" y="21064"/>
                    <a:pt x="19495" y="21064"/>
                    <a:pt x="21857" y="19721"/>
                  </a:cubicBezTo>
                  <a:lnTo>
                    <a:pt x="32144" y="13911"/>
                  </a:lnTo>
                  <a:lnTo>
                    <a:pt x="34525" y="12577"/>
                  </a:lnTo>
                  <a:cubicBezTo>
                    <a:pt x="35401" y="12139"/>
                    <a:pt x="35982" y="11272"/>
                    <a:pt x="36049" y="10291"/>
                  </a:cubicBezTo>
                  <a:cubicBezTo>
                    <a:pt x="35992" y="9339"/>
                    <a:pt x="35401" y="8491"/>
                    <a:pt x="34525" y="8100"/>
                  </a:cubicBezTo>
                  <a:lnTo>
                    <a:pt x="21857" y="766"/>
                  </a:lnTo>
                  <a:cubicBezTo>
                    <a:pt x="19466" y="-472"/>
                    <a:pt x="16628" y="-472"/>
                    <a:pt x="14237" y="766"/>
                  </a:cubicBezTo>
                  <a:lnTo>
                    <a:pt x="1569" y="8100"/>
                  </a:lnTo>
                  <a:cubicBezTo>
                    <a:pt x="569" y="8357"/>
                    <a:pt x="-174" y="9177"/>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396" name="î$ḻîdè">
              <a:extLst>
                <a:ext uri="{FF2B5EF4-FFF2-40B4-BE49-F238E27FC236}">
                  <a16:creationId xmlns:a16="http://schemas.microsoft.com/office/drawing/2014/main" id="{D73B1B39-F798-4DA4-80F4-1805A65F9D42}"/>
                </a:ext>
              </a:extLst>
            </p:cNvPr>
            <p:cNvSpPr/>
            <p:nvPr/>
          </p:nvSpPr>
          <p:spPr>
            <a:xfrm>
              <a:off x="5663755" y="4795755"/>
              <a:ext cx="105825" cy="61101"/>
            </a:xfrm>
            <a:custGeom>
              <a:avLst/>
              <a:gdLst>
                <a:gd name="connsiteX0" fmla="*/ 1235 w 34766"/>
                <a:gd name="connsiteY0" fmla="*/ 12006 h 20073"/>
                <a:gd name="connsiteX1" fmla="*/ 13332 w 34766"/>
                <a:gd name="connsiteY1" fmla="*/ 19054 h 20073"/>
                <a:gd name="connsiteX2" fmla="*/ 20761 w 34766"/>
                <a:gd name="connsiteY2" fmla="*/ 19054 h 20073"/>
                <a:gd name="connsiteX3" fmla="*/ 32858 w 34766"/>
                <a:gd name="connsiteY3" fmla="*/ 12006 h 20073"/>
                <a:gd name="connsiteX4" fmla="*/ 32858 w 34766"/>
                <a:gd name="connsiteY4" fmla="*/ 7719 h 20073"/>
                <a:gd name="connsiteX5" fmla="*/ 20761 w 34766"/>
                <a:gd name="connsiteY5" fmla="*/ 766 h 20073"/>
                <a:gd name="connsiteX6" fmla="*/ 13332 w 34766"/>
                <a:gd name="connsiteY6" fmla="*/ 766 h 20073"/>
                <a:gd name="connsiteX7" fmla="*/ 1235 w 34766"/>
                <a:gd name="connsiteY7" fmla="*/ 7719 h 20073"/>
                <a:gd name="connsiteX8" fmla="*/ 1235 w 34766"/>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6" h="20073">
                  <a:moveTo>
                    <a:pt x="1235" y="12006"/>
                  </a:moveTo>
                  <a:lnTo>
                    <a:pt x="13332" y="19054"/>
                  </a:lnTo>
                  <a:cubicBezTo>
                    <a:pt x="15675" y="20197"/>
                    <a:pt x="18418" y="20197"/>
                    <a:pt x="20761" y="19054"/>
                  </a:cubicBezTo>
                  <a:lnTo>
                    <a:pt x="32858" y="12006"/>
                  </a:lnTo>
                  <a:cubicBezTo>
                    <a:pt x="34954" y="10862"/>
                    <a:pt x="34954" y="8958"/>
                    <a:pt x="32858" y="7719"/>
                  </a:cubicBezTo>
                  <a:lnTo>
                    <a:pt x="20761" y="766"/>
                  </a:lnTo>
                  <a:cubicBezTo>
                    <a:pt x="18437" y="-472"/>
                    <a:pt x="15656" y="-472"/>
                    <a:pt x="13332" y="766"/>
                  </a:cubicBezTo>
                  <a:lnTo>
                    <a:pt x="1235" y="7719"/>
                  </a:lnTo>
                  <a:cubicBezTo>
                    <a:pt x="-860" y="8958"/>
                    <a:pt x="-860" y="10862"/>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397" name="i$ḷïḍê">
              <a:extLst>
                <a:ext uri="{FF2B5EF4-FFF2-40B4-BE49-F238E27FC236}">
                  <a16:creationId xmlns:a16="http://schemas.microsoft.com/office/drawing/2014/main" id="{734AE88F-7AD6-4C65-A048-1216A5082545}"/>
                </a:ext>
              </a:extLst>
            </p:cNvPr>
            <p:cNvSpPr/>
            <p:nvPr/>
          </p:nvSpPr>
          <p:spPr>
            <a:xfrm>
              <a:off x="5661871" y="4826995"/>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3 h 17597"/>
                <a:gd name="connsiteX9" fmla="*/ 31763 w 36004"/>
                <a:gd name="connsiteY9" fmla="*/ 3457 h 17597"/>
                <a:gd name="connsiteX10" fmla="*/ 21476 w 36004"/>
                <a:gd name="connsiteY10" fmla="*/ 9267 h 17597"/>
                <a:gd name="connsiteX11" fmla="*/ 13856 w 36004"/>
                <a:gd name="connsiteY11" fmla="*/ 9267 h 17597"/>
                <a:gd name="connsiteX12" fmla="*/ 3569 w 36004"/>
                <a:gd name="connsiteY12" fmla="*/ 3457 h 17597"/>
                <a:gd name="connsiteX13" fmla="*/ 1188 w 36004"/>
                <a:gd name="connsiteY13" fmla="*/ 2123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2" y="7953"/>
                    <a:pt x="35668" y="6981"/>
                  </a:cubicBezTo>
                  <a:lnTo>
                    <a:pt x="35668" y="-163"/>
                  </a:lnTo>
                  <a:cubicBezTo>
                    <a:pt x="35602" y="818"/>
                    <a:pt x="35021" y="1685"/>
                    <a:pt x="34144" y="2123"/>
                  </a:cubicBezTo>
                  <a:lnTo>
                    <a:pt x="31763" y="3457"/>
                  </a:lnTo>
                  <a:lnTo>
                    <a:pt x="21476" y="9267"/>
                  </a:lnTo>
                  <a:cubicBezTo>
                    <a:pt x="19114" y="10610"/>
                    <a:pt x="16218" y="10610"/>
                    <a:pt x="13856" y="9267"/>
                  </a:cubicBezTo>
                  <a:lnTo>
                    <a:pt x="3569" y="3457"/>
                  </a:lnTo>
                  <a:lnTo>
                    <a:pt x="1188"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398" name="ïş1îḍe">
              <a:extLst>
                <a:ext uri="{FF2B5EF4-FFF2-40B4-BE49-F238E27FC236}">
                  <a16:creationId xmlns:a16="http://schemas.microsoft.com/office/drawing/2014/main" id="{1F41704E-2EE8-40F2-BFFB-38DEFF4C492D}"/>
                </a:ext>
              </a:extLst>
            </p:cNvPr>
            <p:cNvSpPr/>
            <p:nvPr/>
          </p:nvSpPr>
          <p:spPr>
            <a:xfrm>
              <a:off x="5738995" y="4839244"/>
              <a:ext cx="109916" cy="63588"/>
            </a:xfrm>
            <a:custGeom>
              <a:avLst/>
              <a:gdLst>
                <a:gd name="connsiteX0" fmla="*/ -336 w 36110"/>
                <a:gd name="connsiteY0" fmla="*/ 10291 h 20890"/>
                <a:gd name="connsiteX1" fmla="*/ 1283 w 36110"/>
                <a:gd name="connsiteY1" fmla="*/ 12482 h 20890"/>
                <a:gd name="connsiteX2" fmla="*/ 3569 w 36110"/>
                <a:gd name="connsiteY2" fmla="*/ 13910 h 20890"/>
                <a:gd name="connsiteX3" fmla="*/ 13856 w 36110"/>
                <a:gd name="connsiteY3" fmla="*/ 19721 h 20890"/>
                <a:gd name="connsiteX4" fmla="*/ 21571 w 36110"/>
                <a:gd name="connsiteY4" fmla="*/ 19721 h 20890"/>
                <a:gd name="connsiteX5" fmla="*/ 31858 w 36110"/>
                <a:gd name="connsiteY5" fmla="*/ 13910 h 20890"/>
                <a:gd name="connsiteX6" fmla="*/ 34144 w 36110"/>
                <a:gd name="connsiteY6" fmla="*/ 12482 h 20890"/>
                <a:gd name="connsiteX7" fmla="*/ 35678 w 36110"/>
                <a:gd name="connsiteY7" fmla="*/ 9634 h 20890"/>
                <a:gd name="connsiteX8" fmla="*/ 34144 w 36110"/>
                <a:gd name="connsiteY8" fmla="*/ 8100 h 20890"/>
                <a:gd name="connsiteX9" fmla="*/ 21571 w 36110"/>
                <a:gd name="connsiteY9" fmla="*/ 766 h 20890"/>
                <a:gd name="connsiteX10" fmla="*/ 13856 w 36110"/>
                <a:gd name="connsiteY10" fmla="*/ 766 h 20890"/>
                <a:gd name="connsiteX11" fmla="*/ 1283 w 36110"/>
                <a:gd name="connsiteY11" fmla="*/ 8100 h 20890"/>
                <a:gd name="connsiteX12" fmla="*/ -336 w 36110"/>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110" h="20890">
                  <a:moveTo>
                    <a:pt x="-336" y="10291"/>
                  </a:moveTo>
                  <a:cubicBezTo>
                    <a:pt x="-260" y="11272"/>
                    <a:pt x="369" y="12120"/>
                    <a:pt x="1283" y="12482"/>
                  </a:cubicBezTo>
                  <a:lnTo>
                    <a:pt x="3569" y="13910"/>
                  </a:lnTo>
                  <a:lnTo>
                    <a:pt x="13856" y="19721"/>
                  </a:lnTo>
                  <a:cubicBezTo>
                    <a:pt x="16256" y="21064"/>
                    <a:pt x="19171" y="21064"/>
                    <a:pt x="21571" y="19721"/>
                  </a:cubicBezTo>
                  <a:lnTo>
                    <a:pt x="31858" y="13910"/>
                  </a:lnTo>
                  <a:lnTo>
                    <a:pt x="34144" y="12482"/>
                  </a:lnTo>
                  <a:cubicBezTo>
                    <a:pt x="35354" y="12120"/>
                    <a:pt x="36040" y="10843"/>
                    <a:pt x="35678" y="9634"/>
                  </a:cubicBezTo>
                  <a:cubicBezTo>
                    <a:pt x="35459" y="8900"/>
                    <a:pt x="34887" y="8319"/>
                    <a:pt x="34144" y="8100"/>
                  </a:cubicBezTo>
                  <a:lnTo>
                    <a:pt x="21571" y="766"/>
                  </a:lnTo>
                  <a:cubicBezTo>
                    <a:pt x="19152" y="-472"/>
                    <a:pt x="16275" y="-472"/>
                    <a:pt x="13856" y="766"/>
                  </a:cubicBezTo>
                  <a:lnTo>
                    <a:pt x="1283" y="8100"/>
                  </a:lnTo>
                  <a:cubicBezTo>
                    <a:pt x="369" y="8462"/>
                    <a:pt x="-260" y="9310"/>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565" name="îṥḻîḋè">
              <a:extLst>
                <a:ext uri="{FF2B5EF4-FFF2-40B4-BE49-F238E27FC236}">
                  <a16:creationId xmlns:a16="http://schemas.microsoft.com/office/drawing/2014/main" id="{BD9F6577-7A32-4088-AE02-AFA877A3A31A}"/>
                </a:ext>
              </a:extLst>
            </p:cNvPr>
            <p:cNvSpPr/>
            <p:nvPr/>
          </p:nvSpPr>
          <p:spPr>
            <a:xfrm>
              <a:off x="5741095" y="4840403"/>
              <a:ext cx="105679" cy="61104"/>
            </a:xfrm>
            <a:custGeom>
              <a:avLst/>
              <a:gdLst>
                <a:gd name="connsiteX0" fmla="*/ 1164 w 34718"/>
                <a:gd name="connsiteY0" fmla="*/ 12006 h 20074"/>
                <a:gd name="connsiteX1" fmla="*/ 13261 w 34718"/>
                <a:gd name="connsiteY1" fmla="*/ 19054 h 20074"/>
                <a:gd name="connsiteX2" fmla="*/ 20690 w 34718"/>
                <a:gd name="connsiteY2" fmla="*/ 19054 h 20074"/>
                <a:gd name="connsiteX3" fmla="*/ 32882 w 34718"/>
                <a:gd name="connsiteY3" fmla="*/ 12006 h 20074"/>
                <a:gd name="connsiteX4" fmla="*/ 32882 w 34718"/>
                <a:gd name="connsiteY4" fmla="*/ 7719 h 20074"/>
                <a:gd name="connsiteX5" fmla="*/ 20690 w 34718"/>
                <a:gd name="connsiteY5" fmla="*/ 766 h 20074"/>
                <a:gd name="connsiteX6" fmla="*/ 13261 w 34718"/>
                <a:gd name="connsiteY6" fmla="*/ 766 h 20074"/>
                <a:gd name="connsiteX7" fmla="*/ 1164 w 34718"/>
                <a:gd name="connsiteY7" fmla="*/ 7719 h 20074"/>
                <a:gd name="connsiteX8" fmla="*/ 1164 w 34718"/>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18" h="20074">
                  <a:moveTo>
                    <a:pt x="1164" y="12006"/>
                  </a:moveTo>
                  <a:lnTo>
                    <a:pt x="13261" y="19054"/>
                  </a:lnTo>
                  <a:cubicBezTo>
                    <a:pt x="15604" y="20197"/>
                    <a:pt x="18347" y="20197"/>
                    <a:pt x="20690" y="19054"/>
                  </a:cubicBezTo>
                  <a:lnTo>
                    <a:pt x="32882" y="12006"/>
                  </a:lnTo>
                  <a:cubicBezTo>
                    <a:pt x="34882" y="10863"/>
                    <a:pt x="34882" y="8958"/>
                    <a:pt x="32882" y="7719"/>
                  </a:cubicBezTo>
                  <a:lnTo>
                    <a:pt x="20690" y="766"/>
                  </a:lnTo>
                  <a:cubicBezTo>
                    <a:pt x="18366" y="-472"/>
                    <a:pt x="15585" y="-472"/>
                    <a:pt x="13261" y="766"/>
                  </a:cubicBezTo>
                  <a:lnTo>
                    <a:pt x="1164" y="7719"/>
                  </a:lnTo>
                  <a:cubicBezTo>
                    <a:pt x="-836" y="8958"/>
                    <a:pt x="-836" y="10863"/>
                    <a:pt x="1164" y="12006"/>
                  </a:cubicBezTo>
                  <a:close/>
                </a:path>
              </a:pathLst>
            </a:custGeom>
            <a:solidFill>
              <a:srgbClr val="D1D9E8"/>
            </a:solidFill>
            <a:ln w="9525" cap="flat">
              <a:noFill/>
              <a:prstDash val="solid"/>
              <a:miter/>
            </a:ln>
          </p:spPr>
          <p:txBody>
            <a:bodyPr rtlCol="0" anchor="ctr"/>
            <a:lstStyle/>
            <a:p>
              <a:endParaRPr lang="zh-CN" altLang="en-US"/>
            </a:p>
          </p:txBody>
        </p:sp>
        <p:sp>
          <p:nvSpPr>
            <p:cNvPr id="566" name="îsḷïde">
              <a:extLst>
                <a:ext uri="{FF2B5EF4-FFF2-40B4-BE49-F238E27FC236}">
                  <a16:creationId xmlns:a16="http://schemas.microsoft.com/office/drawing/2014/main" id="{D771518E-A7C8-4F18-9E03-2096B60E411F}"/>
                </a:ext>
              </a:extLst>
            </p:cNvPr>
            <p:cNvSpPr/>
            <p:nvPr/>
          </p:nvSpPr>
          <p:spPr>
            <a:xfrm>
              <a:off x="5738995" y="4871065"/>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4 w 36099"/>
                <a:gd name="connsiteY6" fmla="*/ 6981 h 17597"/>
                <a:gd name="connsiteX7" fmla="*/ 35764 w 36099"/>
                <a:gd name="connsiteY7" fmla="*/ -163 h 17597"/>
                <a:gd name="connsiteX8" fmla="*/ 34144 w 36099"/>
                <a:gd name="connsiteY8" fmla="*/ 2028 h 17597"/>
                <a:gd name="connsiteX9" fmla="*/ 31858 w 36099"/>
                <a:gd name="connsiteY9" fmla="*/ 3457 h 17597"/>
                <a:gd name="connsiteX10" fmla="*/ 21571 w 36099"/>
                <a:gd name="connsiteY10" fmla="*/ 9267 h 17597"/>
                <a:gd name="connsiteX11" fmla="*/ 13856 w 36099"/>
                <a:gd name="connsiteY11" fmla="*/ 9267 h 17597"/>
                <a:gd name="connsiteX12" fmla="*/ 3569 w 36099"/>
                <a:gd name="connsiteY12" fmla="*/ 3457 h 17597"/>
                <a:gd name="connsiteX13" fmla="*/ 1283 w 36099"/>
                <a:gd name="connsiteY13" fmla="*/ 2028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03" y="8029"/>
                    <a:pt x="407" y="8858"/>
                    <a:pt x="1283" y="9267"/>
                  </a:cubicBezTo>
                  <a:lnTo>
                    <a:pt x="13856" y="16506"/>
                  </a:lnTo>
                  <a:cubicBezTo>
                    <a:pt x="16275" y="17744"/>
                    <a:pt x="19152" y="17744"/>
                    <a:pt x="21571" y="16506"/>
                  </a:cubicBezTo>
                  <a:lnTo>
                    <a:pt x="34144" y="9267"/>
                  </a:lnTo>
                  <a:cubicBezTo>
                    <a:pt x="35030" y="8829"/>
                    <a:pt x="35640" y="7972"/>
                    <a:pt x="35764" y="6981"/>
                  </a:cubicBezTo>
                  <a:lnTo>
                    <a:pt x="35764" y="-163"/>
                  </a:lnTo>
                  <a:cubicBezTo>
                    <a:pt x="35687" y="818"/>
                    <a:pt x="35059" y="1666"/>
                    <a:pt x="34144" y="2028"/>
                  </a:cubicBezTo>
                  <a:lnTo>
                    <a:pt x="31858" y="3457"/>
                  </a:lnTo>
                  <a:lnTo>
                    <a:pt x="21571" y="9267"/>
                  </a:lnTo>
                  <a:cubicBezTo>
                    <a:pt x="19171" y="10610"/>
                    <a:pt x="16256" y="10610"/>
                    <a:pt x="13856" y="9267"/>
                  </a:cubicBezTo>
                  <a:lnTo>
                    <a:pt x="3569" y="3457"/>
                  </a:lnTo>
                  <a:lnTo>
                    <a:pt x="1283" y="2028"/>
                  </a:lnTo>
                  <a:cubicBezTo>
                    <a:pt x="369" y="1666"/>
                    <a:pt x="-26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567" name="ïşľïḋè">
              <a:extLst>
                <a:ext uri="{FF2B5EF4-FFF2-40B4-BE49-F238E27FC236}">
                  <a16:creationId xmlns:a16="http://schemas.microsoft.com/office/drawing/2014/main" id="{935DACAA-3E5B-4163-B912-C24A7DBF2820}"/>
                </a:ext>
              </a:extLst>
            </p:cNvPr>
            <p:cNvSpPr/>
            <p:nvPr/>
          </p:nvSpPr>
          <p:spPr>
            <a:xfrm>
              <a:off x="5816405" y="4883895"/>
              <a:ext cx="109594" cy="63588"/>
            </a:xfrm>
            <a:custGeom>
              <a:avLst/>
              <a:gdLst>
                <a:gd name="connsiteX0" fmla="*/ -336 w 36004"/>
                <a:gd name="connsiteY0" fmla="*/ 10291 h 20890"/>
                <a:gd name="connsiteX1" fmla="*/ 1188 w 36004"/>
                <a:gd name="connsiteY1" fmla="*/ 12482 h 20890"/>
                <a:gd name="connsiteX2" fmla="*/ 3569 w 36004"/>
                <a:gd name="connsiteY2" fmla="*/ 13815 h 20890"/>
                <a:gd name="connsiteX3" fmla="*/ 13856 w 36004"/>
                <a:gd name="connsiteY3" fmla="*/ 19721 h 20890"/>
                <a:gd name="connsiteX4" fmla="*/ 21476 w 36004"/>
                <a:gd name="connsiteY4" fmla="*/ 19721 h 20890"/>
                <a:gd name="connsiteX5" fmla="*/ 31763 w 36004"/>
                <a:gd name="connsiteY5" fmla="*/ 13815 h 20890"/>
                <a:gd name="connsiteX6" fmla="*/ 34144 w 36004"/>
                <a:gd name="connsiteY6" fmla="*/ 12482 h 20890"/>
                <a:gd name="connsiteX7" fmla="*/ 35668 w 36004"/>
                <a:gd name="connsiteY7" fmla="*/ 10291 h 20890"/>
                <a:gd name="connsiteX8" fmla="*/ 34144 w 36004"/>
                <a:gd name="connsiteY8" fmla="*/ 8005 h 20890"/>
                <a:gd name="connsiteX9" fmla="*/ 21476 w 36004"/>
                <a:gd name="connsiteY9" fmla="*/ 766 h 20890"/>
                <a:gd name="connsiteX10" fmla="*/ 13856 w 36004"/>
                <a:gd name="connsiteY10" fmla="*/ 766 h 20890"/>
                <a:gd name="connsiteX11" fmla="*/ 1188 w 36004"/>
                <a:gd name="connsiteY11" fmla="*/ 8005 h 20890"/>
                <a:gd name="connsiteX12" fmla="*/ -336 w 36004"/>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291"/>
                  </a:moveTo>
                  <a:cubicBezTo>
                    <a:pt x="-279" y="11244"/>
                    <a:pt x="312" y="12091"/>
                    <a:pt x="1188" y="12482"/>
                  </a:cubicBezTo>
                  <a:lnTo>
                    <a:pt x="3569" y="13815"/>
                  </a:lnTo>
                  <a:lnTo>
                    <a:pt x="13856" y="19721"/>
                  </a:lnTo>
                  <a:cubicBezTo>
                    <a:pt x="16218" y="21064"/>
                    <a:pt x="19114" y="21064"/>
                    <a:pt x="21476" y="19721"/>
                  </a:cubicBezTo>
                  <a:lnTo>
                    <a:pt x="31763" y="13815"/>
                  </a:lnTo>
                  <a:lnTo>
                    <a:pt x="34144" y="12482"/>
                  </a:lnTo>
                  <a:cubicBezTo>
                    <a:pt x="35021" y="12091"/>
                    <a:pt x="35611" y="11253"/>
                    <a:pt x="35668" y="10291"/>
                  </a:cubicBezTo>
                  <a:cubicBezTo>
                    <a:pt x="35602" y="9310"/>
                    <a:pt x="35021" y="8443"/>
                    <a:pt x="34144" y="8005"/>
                  </a:cubicBezTo>
                  <a:lnTo>
                    <a:pt x="21476" y="766"/>
                  </a:lnTo>
                  <a:cubicBezTo>
                    <a:pt x="19085" y="-472"/>
                    <a:pt x="16247" y="-472"/>
                    <a:pt x="13856" y="766"/>
                  </a:cubicBezTo>
                  <a:lnTo>
                    <a:pt x="1188" y="8005"/>
                  </a:lnTo>
                  <a:cubicBezTo>
                    <a:pt x="312" y="8443"/>
                    <a:pt x="-269" y="9310"/>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568" name="îṣḻidê">
              <a:extLst>
                <a:ext uri="{FF2B5EF4-FFF2-40B4-BE49-F238E27FC236}">
                  <a16:creationId xmlns:a16="http://schemas.microsoft.com/office/drawing/2014/main" id="{640F5F01-860D-4771-B0C5-E82C3BC410F0}"/>
                </a:ext>
              </a:extLst>
            </p:cNvPr>
            <p:cNvSpPr/>
            <p:nvPr/>
          </p:nvSpPr>
          <p:spPr>
            <a:xfrm>
              <a:off x="5818073" y="4885055"/>
              <a:ext cx="105174" cy="61101"/>
            </a:xfrm>
            <a:custGeom>
              <a:avLst/>
              <a:gdLst>
                <a:gd name="connsiteX0" fmla="*/ 1021 w 34552"/>
                <a:gd name="connsiteY0" fmla="*/ 12006 h 20073"/>
                <a:gd name="connsiteX1" fmla="*/ 13118 w 34552"/>
                <a:gd name="connsiteY1" fmla="*/ 19054 h 20073"/>
                <a:gd name="connsiteX2" fmla="*/ 20547 w 34552"/>
                <a:gd name="connsiteY2" fmla="*/ 19054 h 20073"/>
                <a:gd name="connsiteX3" fmla="*/ 32644 w 34552"/>
                <a:gd name="connsiteY3" fmla="*/ 12006 h 20073"/>
                <a:gd name="connsiteX4" fmla="*/ 32644 w 34552"/>
                <a:gd name="connsiteY4" fmla="*/ 7719 h 20073"/>
                <a:gd name="connsiteX5" fmla="*/ 20547 w 34552"/>
                <a:gd name="connsiteY5" fmla="*/ 766 h 20073"/>
                <a:gd name="connsiteX6" fmla="*/ 13118 w 34552"/>
                <a:gd name="connsiteY6" fmla="*/ 766 h 20073"/>
                <a:gd name="connsiteX7" fmla="*/ 1021 w 34552"/>
                <a:gd name="connsiteY7" fmla="*/ 7719 h 20073"/>
                <a:gd name="connsiteX8" fmla="*/ 1021 w 34552"/>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552" h="20073">
                  <a:moveTo>
                    <a:pt x="1021" y="12006"/>
                  </a:moveTo>
                  <a:lnTo>
                    <a:pt x="13118" y="19054"/>
                  </a:lnTo>
                  <a:cubicBezTo>
                    <a:pt x="15461" y="20197"/>
                    <a:pt x="18204" y="20197"/>
                    <a:pt x="20547" y="19054"/>
                  </a:cubicBezTo>
                  <a:lnTo>
                    <a:pt x="32644" y="12006"/>
                  </a:lnTo>
                  <a:cubicBezTo>
                    <a:pt x="34740" y="10863"/>
                    <a:pt x="34740" y="8957"/>
                    <a:pt x="32644" y="7719"/>
                  </a:cubicBezTo>
                  <a:lnTo>
                    <a:pt x="20547" y="766"/>
                  </a:lnTo>
                  <a:cubicBezTo>
                    <a:pt x="18223" y="-472"/>
                    <a:pt x="15442" y="-472"/>
                    <a:pt x="13118" y="766"/>
                  </a:cubicBezTo>
                  <a:lnTo>
                    <a:pt x="1021" y="7719"/>
                  </a:lnTo>
                  <a:cubicBezTo>
                    <a:pt x="-789" y="9339"/>
                    <a:pt x="-789" y="10863"/>
                    <a:pt x="1021" y="12006"/>
                  </a:cubicBezTo>
                  <a:close/>
                </a:path>
              </a:pathLst>
            </a:custGeom>
            <a:solidFill>
              <a:srgbClr val="D1D9E8"/>
            </a:solidFill>
            <a:ln w="9525" cap="flat">
              <a:noFill/>
              <a:prstDash val="solid"/>
              <a:miter/>
            </a:ln>
          </p:spPr>
          <p:txBody>
            <a:bodyPr rtlCol="0" anchor="ctr"/>
            <a:lstStyle/>
            <a:p>
              <a:endParaRPr lang="zh-CN" altLang="en-US"/>
            </a:p>
          </p:txBody>
        </p:sp>
        <p:sp>
          <p:nvSpPr>
            <p:cNvPr id="569" name="îṧļiḓé">
              <a:extLst>
                <a:ext uri="{FF2B5EF4-FFF2-40B4-BE49-F238E27FC236}">
                  <a16:creationId xmlns:a16="http://schemas.microsoft.com/office/drawing/2014/main" id="{AE11A5B9-2885-45AC-B35F-0A6FFCCD5078}"/>
                </a:ext>
              </a:extLst>
            </p:cNvPr>
            <p:cNvSpPr/>
            <p:nvPr/>
          </p:nvSpPr>
          <p:spPr>
            <a:xfrm>
              <a:off x="5816405" y="4915713"/>
              <a:ext cx="109594" cy="53564"/>
            </a:xfrm>
            <a:custGeom>
              <a:avLst/>
              <a:gdLst>
                <a:gd name="connsiteX0" fmla="*/ -336 w 36004"/>
                <a:gd name="connsiteY0" fmla="*/ -163 h 17597"/>
                <a:gd name="connsiteX1" fmla="*/ -336 w 36004"/>
                <a:gd name="connsiteY1" fmla="*/ 6981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028 h 17597"/>
                <a:gd name="connsiteX9" fmla="*/ 31763 w 36004"/>
                <a:gd name="connsiteY9" fmla="*/ 3362 h 17597"/>
                <a:gd name="connsiteX10" fmla="*/ 21476 w 36004"/>
                <a:gd name="connsiteY10" fmla="*/ 9267 h 17597"/>
                <a:gd name="connsiteX11" fmla="*/ 13856 w 36004"/>
                <a:gd name="connsiteY11" fmla="*/ 9267 h 17597"/>
                <a:gd name="connsiteX12" fmla="*/ 3569 w 36004"/>
                <a:gd name="connsiteY12" fmla="*/ 3362 h 17597"/>
                <a:gd name="connsiteX13" fmla="*/ 1188 w 36004"/>
                <a:gd name="connsiteY13" fmla="*/ 2028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6981"/>
                  </a:lnTo>
                  <a:cubicBezTo>
                    <a:pt x="-269" y="7962"/>
                    <a:pt x="312" y="8829"/>
                    <a:pt x="1188" y="9267"/>
                  </a:cubicBezTo>
                  <a:lnTo>
                    <a:pt x="13856" y="16506"/>
                  </a:lnTo>
                  <a:cubicBezTo>
                    <a:pt x="16247" y="17744"/>
                    <a:pt x="19085" y="17744"/>
                    <a:pt x="21476" y="16506"/>
                  </a:cubicBezTo>
                  <a:lnTo>
                    <a:pt x="34144" y="9267"/>
                  </a:lnTo>
                  <a:cubicBezTo>
                    <a:pt x="35011" y="8819"/>
                    <a:pt x="35583" y="7953"/>
                    <a:pt x="35668" y="6981"/>
                  </a:cubicBezTo>
                  <a:lnTo>
                    <a:pt x="35668" y="-163"/>
                  </a:lnTo>
                  <a:cubicBezTo>
                    <a:pt x="35611" y="790"/>
                    <a:pt x="35021" y="1638"/>
                    <a:pt x="34144" y="2028"/>
                  </a:cubicBezTo>
                  <a:lnTo>
                    <a:pt x="31763" y="3362"/>
                  </a:lnTo>
                  <a:lnTo>
                    <a:pt x="21476" y="9267"/>
                  </a:lnTo>
                  <a:cubicBezTo>
                    <a:pt x="19114" y="10610"/>
                    <a:pt x="16218" y="10610"/>
                    <a:pt x="13856" y="9267"/>
                  </a:cubicBezTo>
                  <a:lnTo>
                    <a:pt x="3569" y="3362"/>
                  </a:lnTo>
                  <a:lnTo>
                    <a:pt x="1188" y="2028"/>
                  </a:lnTo>
                  <a:cubicBezTo>
                    <a:pt x="312" y="1638"/>
                    <a:pt x="-279" y="800"/>
                    <a:pt x="-336" y="-163"/>
                  </a:cubicBezTo>
                  <a:close/>
                </a:path>
              </a:pathLst>
            </a:custGeom>
            <a:solidFill>
              <a:srgbClr val="BF4200"/>
            </a:solidFill>
            <a:ln w="9525" cap="flat">
              <a:noFill/>
              <a:prstDash val="solid"/>
              <a:miter/>
            </a:ln>
          </p:spPr>
          <p:txBody>
            <a:bodyPr rtlCol="0" anchor="ctr"/>
            <a:lstStyle/>
            <a:p>
              <a:endParaRPr lang="zh-CN" altLang="en-US"/>
            </a:p>
          </p:txBody>
        </p:sp>
        <p:sp>
          <p:nvSpPr>
            <p:cNvPr id="570" name="îş1iḓé">
              <a:extLst>
                <a:ext uri="{FF2B5EF4-FFF2-40B4-BE49-F238E27FC236}">
                  <a16:creationId xmlns:a16="http://schemas.microsoft.com/office/drawing/2014/main" id="{B9C6AA89-8786-4F58-856F-68DF58DF5F67}"/>
                </a:ext>
              </a:extLst>
            </p:cNvPr>
            <p:cNvSpPr/>
            <p:nvPr/>
          </p:nvSpPr>
          <p:spPr>
            <a:xfrm>
              <a:off x="5893818" y="4928543"/>
              <a:ext cx="109594" cy="63588"/>
            </a:xfrm>
            <a:custGeom>
              <a:avLst/>
              <a:gdLst>
                <a:gd name="connsiteX0" fmla="*/ -336 w 36004"/>
                <a:gd name="connsiteY0" fmla="*/ 10196 h 20890"/>
                <a:gd name="connsiteX1" fmla="*/ 1188 w 36004"/>
                <a:gd name="connsiteY1" fmla="*/ 12482 h 20890"/>
                <a:gd name="connsiteX2" fmla="*/ 3474 w 36004"/>
                <a:gd name="connsiteY2" fmla="*/ 13815 h 20890"/>
                <a:gd name="connsiteX3" fmla="*/ 13761 w 36004"/>
                <a:gd name="connsiteY3" fmla="*/ 19721 h 20890"/>
                <a:gd name="connsiteX4" fmla="*/ 21476 w 36004"/>
                <a:gd name="connsiteY4" fmla="*/ 19721 h 20890"/>
                <a:gd name="connsiteX5" fmla="*/ 31763 w 36004"/>
                <a:gd name="connsiteY5" fmla="*/ 13815 h 20890"/>
                <a:gd name="connsiteX6" fmla="*/ 34049 w 36004"/>
                <a:gd name="connsiteY6" fmla="*/ 12482 h 20890"/>
                <a:gd name="connsiteX7" fmla="*/ 35668 w 36004"/>
                <a:gd name="connsiteY7" fmla="*/ 10196 h 20890"/>
                <a:gd name="connsiteX8" fmla="*/ 34049 w 36004"/>
                <a:gd name="connsiteY8" fmla="*/ 8005 h 20890"/>
                <a:gd name="connsiteX9" fmla="*/ 21476 w 36004"/>
                <a:gd name="connsiteY9" fmla="*/ 766 h 20890"/>
                <a:gd name="connsiteX10" fmla="*/ 13761 w 36004"/>
                <a:gd name="connsiteY10" fmla="*/ 766 h 20890"/>
                <a:gd name="connsiteX11" fmla="*/ 1188 w 36004"/>
                <a:gd name="connsiteY11" fmla="*/ 8005 h 20890"/>
                <a:gd name="connsiteX12" fmla="*/ -336 w 36004"/>
                <a:gd name="connsiteY12" fmla="*/ 10196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196"/>
                  </a:moveTo>
                  <a:cubicBezTo>
                    <a:pt x="-308" y="11186"/>
                    <a:pt x="283" y="12082"/>
                    <a:pt x="1188" y="12482"/>
                  </a:cubicBezTo>
                  <a:lnTo>
                    <a:pt x="3474" y="13815"/>
                  </a:lnTo>
                  <a:lnTo>
                    <a:pt x="13761" y="19721"/>
                  </a:lnTo>
                  <a:cubicBezTo>
                    <a:pt x="16161" y="21064"/>
                    <a:pt x="19076" y="21064"/>
                    <a:pt x="21476" y="19721"/>
                  </a:cubicBezTo>
                  <a:lnTo>
                    <a:pt x="31763" y="13815"/>
                  </a:lnTo>
                  <a:lnTo>
                    <a:pt x="34049" y="12482"/>
                  </a:lnTo>
                  <a:cubicBezTo>
                    <a:pt x="34992" y="12110"/>
                    <a:pt x="35630" y="11215"/>
                    <a:pt x="35668" y="10196"/>
                  </a:cubicBezTo>
                  <a:cubicBezTo>
                    <a:pt x="35573" y="9224"/>
                    <a:pt x="34944" y="8386"/>
                    <a:pt x="34049" y="8005"/>
                  </a:cubicBezTo>
                  <a:lnTo>
                    <a:pt x="21476" y="766"/>
                  </a:lnTo>
                  <a:cubicBezTo>
                    <a:pt x="19057" y="-472"/>
                    <a:pt x="16180" y="-472"/>
                    <a:pt x="13761" y="766"/>
                  </a:cubicBezTo>
                  <a:lnTo>
                    <a:pt x="1188" y="8005"/>
                  </a:lnTo>
                  <a:cubicBezTo>
                    <a:pt x="340" y="8424"/>
                    <a:pt x="-241" y="925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571" name="isḻîďe">
              <a:extLst>
                <a:ext uri="{FF2B5EF4-FFF2-40B4-BE49-F238E27FC236}">
                  <a16:creationId xmlns:a16="http://schemas.microsoft.com/office/drawing/2014/main" id="{4FC6CCDC-4DE5-4F53-875A-10F53FAFB9AC}"/>
                </a:ext>
              </a:extLst>
            </p:cNvPr>
            <p:cNvSpPr/>
            <p:nvPr/>
          </p:nvSpPr>
          <p:spPr>
            <a:xfrm>
              <a:off x="5895659" y="4929703"/>
              <a:ext cx="105618" cy="61101"/>
            </a:xfrm>
            <a:custGeom>
              <a:avLst/>
              <a:gdLst>
                <a:gd name="connsiteX0" fmla="*/ 1154 w 34698"/>
                <a:gd name="connsiteY0" fmla="*/ 12006 h 20073"/>
                <a:gd name="connsiteX1" fmla="*/ 13346 w 34698"/>
                <a:gd name="connsiteY1" fmla="*/ 19054 h 20073"/>
                <a:gd name="connsiteX2" fmla="*/ 20775 w 34698"/>
                <a:gd name="connsiteY2" fmla="*/ 19054 h 20073"/>
                <a:gd name="connsiteX3" fmla="*/ 32872 w 34698"/>
                <a:gd name="connsiteY3" fmla="*/ 12006 h 20073"/>
                <a:gd name="connsiteX4" fmla="*/ 34215 w 34698"/>
                <a:gd name="connsiteY4" fmla="*/ 9072 h 20073"/>
                <a:gd name="connsiteX5" fmla="*/ 32872 w 34698"/>
                <a:gd name="connsiteY5" fmla="*/ 7719 h 20073"/>
                <a:gd name="connsiteX6" fmla="*/ 20775 w 34698"/>
                <a:gd name="connsiteY6" fmla="*/ 766 h 20073"/>
                <a:gd name="connsiteX7" fmla="*/ 13346 w 34698"/>
                <a:gd name="connsiteY7" fmla="*/ 766 h 20073"/>
                <a:gd name="connsiteX8" fmla="*/ 1154 w 34698"/>
                <a:gd name="connsiteY8" fmla="*/ 7719 h 20073"/>
                <a:gd name="connsiteX9" fmla="*/ -189 w 34698"/>
                <a:gd name="connsiteY9" fmla="*/ 10653 h 20073"/>
                <a:gd name="connsiteX10" fmla="*/ 1154 w 34698"/>
                <a:gd name="connsiteY10"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698" h="20073">
                  <a:moveTo>
                    <a:pt x="1154" y="12006"/>
                  </a:moveTo>
                  <a:lnTo>
                    <a:pt x="13346" y="19054"/>
                  </a:lnTo>
                  <a:cubicBezTo>
                    <a:pt x="15689" y="20197"/>
                    <a:pt x="18432" y="20197"/>
                    <a:pt x="20775" y="19054"/>
                  </a:cubicBezTo>
                  <a:lnTo>
                    <a:pt x="32872" y="12006"/>
                  </a:lnTo>
                  <a:cubicBezTo>
                    <a:pt x="34053" y="11567"/>
                    <a:pt x="34663" y="10253"/>
                    <a:pt x="34215" y="9072"/>
                  </a:cubicBezTo>
                  <a:cubicBezTo>
                    <a:pt x="33986" y="8443"/>
                    <a:pt x="33491" y="7948"/>
                    <a:pt x="32872" y="7719"/>
                  </a:cubicBezTo>
                  <a:lnTo>
                    <a:pt x="20775" y="766"/>
                  </a:lnTo>
                  <a:cubicBezTo>
                    <a:pt x="18451" y="-472"/>
                    <a:pt x="15670" y="-472"/>
                    <a:pt x="13346" y="766"/>
                  </a:cubicBezTo>
                  <a:lnTo>
                    <a:pt x="1154" y="7719"/>
                  </a:lnTo>
                  <a:cubicBezTo>
                    <a:pt x="-27" y="8157"/>
                    <a:pt x="-637" y="9472"/>
                    <a:pt x="-189" y="10653"/>
                  </a:cubicBezTo>
                  <a:cubicBezTo>
                    <a:pt x="39" y="11281"/>
                    <a:pt x="535" y="11777"/>
                    <a:pt x="1154" y="12006"/>
                  </a:cubicBezTo>
                  <a:close/>
                </a:path>
              </a:pathLst>
            </a:custGeom>
            <a:solidFill>
              <a:srgbClr val="D1D9E8"/>
            </a:solidFill>
            <a:ln w="9525" cap="flat">
              <a:noFill/>
              <a:prstDash val="solid"/>
              <a:miter/>
            </a:ln>
          </p:spPr>
          <p:txBody>
            <a:bodyPr rtlCol="0" anchor="ctr"/>
            <a:lstStyle/>
            <a:p>
              <a:endParaRPr lang="zh-CN" altLang="en-US"/>
            </a:p>
          </p:txBody>
        </p:sp>
        <p:sp>
          <p:nvSpPr>
            <p:cNvPr id="572" name="îṡ1îdè">
              <a:extLst>
                <a:ext uri="{FF2B5EF4-FFF2-40B4-BE49-F238E27FC236}">
                  <a16:creationId xmlns:a16="http://schemas.microsoft.com/office/drawing/2014/main" id="{DC3669F8-BED4-4BDF-B40F-009C76F0649D}"/>
                </a:ext>
              </a:extLst>
            </p:cNvPr>
            <p:cNvSpPr/>
            <p:nvPr/>
          </p:nvSpPr>
          <p:spPr>
            <a:xfrm>
              <a:off x="5893818" y="4960072"/>
              <a:ext cx="109594" cy="53801"/>
            </a:xfrm>
            <a:custGeom>
              <a:avLst/>
              <a:gdLst>
                <a:gd name="connsiteX0" fmla="*/ -336 w 36004"/>
                <a:gd name="connsiteY0" fmla="*/ -163 h 17675"/>
                <a:gd name="connsiteX1" fmla="*/ -336 w 36004"/>
                <a:gd name="connsiteY1" fmla="*/ 7076 h 17675"/>
                <a:gd name="connsiteX2" fmla="*/ 1188 w 36004"/>
                <a:gd name="connsiteY2" fmla="*/ 9267 h 17675"/>
                <a:gd name="connsiteX3" fmla="*/ 13761 w 36004"/>
                <a:gd name="connsiteY3" fmla="*/ 16506 h 17675"/>
                <a:gd name="connsiteX4" fmla="*/ 21476 w 36004"/>
                <a:gd name="connsiteY4" fmla="*/ 16506 h 17675"/>
                <a:gd name="connsiteX5" fmla="*/ 34049 w 36004"/>
                <a:gd name="connsiteY5" fmla="*/ 9267 h 17675"/>
                <a:gd name="connsiteX6" fmla="*/ 35668 w 36004"/>
                <a:gd name="connsiteY6" fmla="*/ 7076 h 17675"/>
                <a:gd name="connsiteX7" fmla="*/ 35668 w 36004"/>
                <a:gd name="connsiteY7" fmla="*/ -163 h 17675"/>
                <a:gd name="connsiteX8" fmla="*/ 34049 w 36004"/>
                <a:gd name="connsiteY8" fmla="*/ 2123 h 17675"/>
                <a:gd name="connsiteX9" fmla="*/ 31763 w 36004"/>
                <a:gd name="connsiteY9" fmla="*/ 3457 h 17675"/>
                <a:gd name="connsiteX10" fmla="*/ 21476 w 36004"/>
                <a:gd name="connsiteY10" fmla="*/ 9362 h 17675"/>
                <a:gd name="connsiteX11" fmla="*/ 13761 w 36004"/>
                <a:gd name="connsiteY11" fmla="*/ 9362 h 17675"/>
                <a:gd name="connsiteX12" fmla="*/ 3474 w 36004"/>
                <a:gd name="connsiteY12" fmla="*/ 3457 h 17675"/>
                <a:gd name="connsiteX13" fmla="*/ 1188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98" y="8038"/>
                    <a:pt x="292" y="8896"/>
                    <a:pt x="1188" y="9267"/>
                  </a:cubicBezTo>
                  <a:lnTo>
                    <a:pt x="13761" y="16506"/>
                  </a:lnTo>
                  <a:cubicBezTo>
                    <a:pt x="16161" y="17849"/>
                    <a:pt x="19076" y="17849"/>
                    <a:pt x="21476" y="16506"/>
                  </a:cubicBezTo>
                  <a:lnTo>
                    <a:pt x="34049" y="9267"/>
                  </a:lnTo>
                  <a:cubicBezTo>
                    <a:pt x="34963" y="8905"/>
                    <a:pt x="35592" y="8058"/>
                    <a:pt x="35668" y="7076"/>
                  </a:cubicBezTo>
                  <a:lnTo>
                    <a:pt x="35668" y="-163"/>
                  </a:lnTo>
                  <a:cubicBezTo>
                    <a:pt x="35630" y="856"/>
                    <a:pt x="34992" y="1752"/>
                    <a:pt x="34049" y="2123"/>
                  </a:cubicBezTo>
                  <a:lnTo>
                    <a:pt x="31763" y="3457"/>
                  </a:lnTo>
                  <a:lnTo>
                    <a:pt x="21476" y="9362"/>
                  </a:lnTo>
                  <a:cubicBezTo>
                    <a:pt x="19076" y="10705"/>
                    <a:pt x="16161" y="10705"/>
                    <a:pt x="13761" y="9362"/>
                  </a:cubicBezTo>
                  <a:lnTo>
                    <a:pt x="3474" y="3457"/>
                  </a:lnTo>
                  <a:lnTo>
                    <a:pt x="1188" y="2123"/>
                  </a:lnTo>
                  <a:cubicBezTo>
                    <a:pt x="283" y="1723"/>
                    <a:pt x="-308"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573" name="íšḷïďê">
              <a:extLst>
                <a:ext uri="{FF2B5EF4-FFF2-40B4-BE49-F238E27FC236}">
                  <a16:creationId xmlns:a16="http://schemas.microsoft.com/office/drawing/2014/main" id="{39E2F128-1EE1-431C-BC46-57855AB8F697}"/>
                </a:ext>
              </a:extLst>
            </p:cNvPr>
            <p:cNvSpPr/>
            <p:nvPr/>
          </p:nvSpPr>
          <p:spPr>
            <a:xfrm>
              <a:off x="5970942" y="4973195"/>
              <a:ext cx="109740" cy="63350"/>
            </a:xfrm>
            <a:custGeom>
              <a:avLst/>
              <a:gdLst>
                <a:gd name="connsiteX0" fmla="*/ -336 w 36052"/>
                <a:gd name="connsiteY0" fmla="*/ 10196 h 20812"/>
                <a:gd name="connsiteX1" fmla="*/ 1188 w 36052"/>
                <a:gd name="connsiteY1" fmla="*/ 12482 h 20812"/>
                <a:gd name="connsiteX2" fmla="*/ 3569 w 36052"/>
                <a:gd name="connsiteY2" fmla="*/ 13815 h 20812"/>
                <a:gd name="connsiteX3" fmla="*/ 13856 w 36052"/>
                <a:gd name="connsiteY3" fmla="*/ 19721 h 20812"/>
                <a:gd name="connsiteX4" fmla="*/ 21476 w 36052"/>
                <a:gd name="connsiteY4" fmla="*/ 19721 h 20812"/>
                <a:gd name="connsiteX5" fmla="*/ 31763 w 36052"/>
                <a:gd name="connsiteY5" fmla="*/ 13815 h 20812"/>
                <a:gd name="connsiteX6" fmla="*/ 34144 w 36052"/>
                <a:gd name="connsiteY6" fmla="*/ 12482 h 20812"/>
                <a:gd name="connsiteX7" fmla="*/ 35573 w 36052"/>
                <a:gd name="connsiteY7" fmla="*/ 9434 h 20812"/>
                <a:gd name="connsiteX8" fmla="*/ 34144 w 36052"/>
                <a:gd name="connsiteY8" fmla="*/ 8005 h 20812"/>
                <a:gd name="connsiteX9" fmla="*/ 21476 w 36052"/>
                <a:gd name="connsiteY9" fmla="*/ 766 h 20812"/>
                <a:gd name="connsiteX10" fmla="*/ 13856 w 36052"/>
                <a:gd name="connsiteY10" fmla="*/ 766 h 20812"/>
                <a:gd name="connsiteX11" fmla="*/ 1188 w 36052"/>
                <a:gd name="connsiteY11" fmla="*/ 8005 h 20812"/>
                <a:gd name="connsiteX12" fmla="*/ -336 w 36052"/>
                <a:gd name="connsiteY12" fmla="*/ 10196 h 20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12">
                  <a:moveTo>
                    <a:pt x="-336" y="10196"/>
                  </a:moveTo>
                  <a:cubicBezTo>
                    <a:pt x="-270" y="11177"/>
                    <a:pt x="311" y="12044"/>
                    <a:pt x="1188" y="12482"/>
                  </a:cubicBezTo>
                  <a:lnTo>
                    <a:pt x="3569" y="13815"/>
                  </a:lnTo>
                  <a:lnTo>
                    <a:pt x="13856" y="19721"/>
                  </a:lnTo>
                  <a:cubicBezTo>
                    <a:pt x="16247" y="20959"/>
                    <a:pt x="19085" y="20959"/>
                    <a:pt x="21476" y="19721"/>
                  </a:cubicBezTo>
                  <a:lnTo>
                    <a:pt x="31763" y="13815"/>
                  </a:lnTo>
                  <a:lnTo>
                    <a:pt x="34144" y="12482"/>
                  </a:lnTo>
                  <a:cubicBezTo>
                    <a:pt x="35382" y="12034"/>
                    <a:pt x="36020" y="10662"/>
                    <a:pt x="35573" y="9434"/>
                  </a:cubicBezTo>
                  <a:cubicBezTo>
                    <a:pt x="35325" y="8767"/>
                    <a:pt x="34811" y="8243"/>
                    <a:pt x="34144" y="8005"/>
                  </a:cubicBezTo>
                  <a:lnTo>
                    <a:pt x="21476" y="766"/>
                  </a:lnTo>
                  <a:cubicBezTo>
                    <a:pt x="19085" y="-472"/>
                    <a:pt x="16247" y="-472"/>
                    <a:pt x="13856" y="766"/>
                  </a:cubicBezTo>
                  <a:lnTo>
                    <a:pt x="1188" y="8005"/>
                  </a:lnTo>
                  <a:cubicBezTo>
                    <a:pt x="340" y="8424"/>
                    <a:pt x="-241" y="925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574" name="iṥļidé">
              <a:extLst>
                <a:ext uri="{FF2B5EF4-FFF2-40B4-BE49-F238E27FC236}">
                  <a16:creationId xmlns:a16="http://schemas.microsoft.com/office/drawing/2014/main" id="{C6870AF5-C71C-4741-A1DD-5A5EA3F0EF1C}"/>
                </a:ext>
              </a:extLst>
            </p:cNvPr>
            <p:cNvSpPr/>
            <p:nvPr/>
          </p:nvSpPr>
          <p:spPr>
            <a:xfrm>
              <a:off x="5973073" y="4974281"/>
              <a:ext cx="105618" cy="61174"/>
            </a:xfrm>
            <a:custGeom>
              <a:avLst/>
              <a:gdLst>
                <a:gd name="connsiteX0" fmla="*/ 1154 w 34698"/>
                <a:gd name="connsiteY0" fmla="*/ 12029 h 20097"/>
                <a:gd name="connsiteX1" fmla="*/ 13251 w 34698"/>
                <a:gd name="connsiteY1" fmla="*/ 19078 h 20097"/>
                <a:gd name="connsiteX2" fmla="*/ 20680 w 34698"/>
                <a:gd name="connsiteY2" fmla="*/ 19078 h 20097"/>
                <a:gd name="connsiteX3" fmla="*/ 32872 w 34698"/>
                <a:gd name="connsiteY3" fmla="*/ 12029 h 20097"/>
                <a:gd name="connsiteX4" fmla="*/ 34215 w 34698"/>
                <a:gd name="connsiteY4" fmla="*/ 9086 h 20097"/>
                <a:gd name="connsiteX5" fmla="*/ 32872 w 34698"/>
                <a:gd name="connsiteY5" fmla="*/ 7743 h 20097"/>
                <a:gd name="connsiteX6" fmla="*/ 20680 w 34698"/>
                <a:gd name="connsiteY6" fmla="*/ 695 h 20097"/>
                <a:gd name="connsiteX7" fmla="*/ 13251 w 34698"/>
                <a:gd name="connsiteY7" fmla="*/ 695 h 20097"/>
                <a:gd name="connsiteX8" fmla="*/ 1154 w 34698"/>
                <a:gd name="connsiteY8" fmla="*/ 7743 h 20097"/>
                <a:gd name="connsiteX9" fmla="*/ -189 w 34698"/>
                <a:gd name="connsiteY9" fmla="*/ 10686 h 20097"/>
                <a:gd name="connsiteX10" fmla="*/ 1154 w 34698"/>
                <a:gd name="connsiteY10" fmla="*/ 12029 h 20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698" h="20097">
                  <a:moveTo>
                    <a:pt x="1154" y="12029"/>
                  </a:moveTo>
                  <a:lnTo>
                    <a:pt x="13251" y="19078"/>
                  </a:lnTo>
                  <a:cubicBezTo>
                    <a:pt x="15594" y="20221"/>
                    <a:pt x="18337" y="20221"/>
                    <a:pt x="20680" y="19078"/>
                  </a:cubicBezTo>
                  <a:lnTo>
                    <a:pt x="32872" y="12029"/>
                  </a:lnTo>
                  <a:cubicBezTo>
                    <a:pt x="34053" y="11591"/>
                    <a:pt x="34663" y="10277"/>
                    <a:pt x="34215" y="9086"/>
                  </a:cubicBezTo>
                  <a:cubicBezTo>
                    <a:pt x="33987" y="8467"/>
                    <a:pt x="33491" y="7972"/>
                    <a:pt x="32872" y="7743"/>
                  </a:cubicBezTo>
                  <a:lnTo>
                    <a:pt x="20680" y="695"/>
                  </a:lnTo>
                  <a:cubicBezTo>
                    <a:pt x="18337" y="-448"/>
                    <a:pt x="15594" y="-448"/>
                    <a:pt x="13251" y="695"/>
                  </a:cubicBezTo>
                  <a:lnTo>
                    <a:pt x="1154" y="7743"/>
                  </a:lnTo>
                  <a:cubicBezTo>
                    <a:pt x="-27" y="8181"/>
                    <a:pt x="-637" y="9496"/>
                    <a:pt x="-189" y="10686"/>
                  </a:cubicBezTo>
                  <a:cubicBezTo>
                    <a:pt x="40" y="11305"/>
                    <a:pt x="525" y="11801"/>
                    <a:pt x="1154" y="12029"/>
                  </a:cubicBezTo>
                  <a:close/>
                </a:path>
              </a:pathLst>
            </a:custGeom>
            <a:solidFill>
              <a:srgbClr val="D1D9E8"/>
            </a:solidFill>
            <a:ln w="9525" cap="flat">
              <a:noFill/>
              <a:prstDash val="solid"/>
              <a:miter/>
            </a:ln>
          </p:spPr>
          <p:txBody>
            <a:bodyPr rtlCol="0" anchor="ctr"/>
            <a:lstStyle/>
            <a:p>
              <a:endParaRPr lang="zh-CN" altLang="en-US"/>
            </a:p>
          </p:txBody>
        </p:sp>
        <p:sp>
          <p:nvSpPr>
            <p:cNvPr id="575" name="ïślíḋe">
              <a:extLst>
                <a:ext uri="{FF2B5EF4-FFF2-40B4-BE49-F238E27FC236}">
                  <a16:creationId xmlns:a16="http://schemas.microsoft.com/office/drawing/2014/main" id="{0F4A4764-9F9D-49CE-9DD8-4EC0046E8AE2}"/>
                </a:ext>
              </a:extLst>
            </p:cNvPr>
            <p:cNvSpPr/>
            <p:nvPr/>
          </p:nvSpPr>
          <p:spPr>
            <a:xfrm>
              <a:off x="5970942" y="5004724"/>
              <a:ext cx="109594" cy="53801"/>
            </a:xfrm>
            <a:custGeom>
              <a:avLst/>
              <a:gdLst>
                <a:gd name="connsiteX0" fmla="*/ -336 w 36004"/>
                <a:gd name="connsiteY0" fmla="*/ -163 h 17675"/>
                <a:gd name="connsiteX1" fmla="*/ -336 w 36004"/>
                <a:gd name="connsiteY1" fmla="*/ 7076 h 17675"/>
                <a:gd name="connsiteX2" fmla="*/ 1188 w 36004"/>
                <a:gd name="connsiteY2" fmla="*/ 9267 h 17675"/>
                <a:gd name="connsiteX3" fmla="*/ 13856 w 36004"/>
                <a:gd name="connsiteY3" fmla="*/ 16506 h 17675"/>
                <a:gd name="connsiteX4" fmla="*/ 21476 w 36004"/>
                <a:gd name="connsiteY4" fmla="*/ 16506 h 17675"/>
                <a:gd name="connsiteX5" fmla="*/ 34144 w 36004"/>
                <a:gd name="connsiteY5" fmla="*/ 9267 h 17675"/>
                <a:gd name="connsiteX6" fmla="*/ 35668 w 36004"/>
                <a:gd name="connsiteY6" fmla="*/ 7076 h 17675"/>
                <a:gd name="connsiteX7" fmla="*/ 35668 w 36004"/>
                <a:gd name="connsiteY7" fmla="*/ -163 h 17675"/>
                <a:gd name="connsiteX8" fmla="*/ 34144 w 36004"/>
                <a:gd name="connsiteY8" fmla="*/ 2123 h 17675"/>
                <a:gd name="connsiteX9" fmla="*/ 31763 w 36004"/>
                <a:gd name="connsiteY9" fmla="*/ 3457 h 17675"/>
                <a:gd name="connsiteX10" fmla="*/ 21476 w 36004"/>
                <a:gd name="connsiteY10" fmla="*/ 9362 h 17675"/>
                <a:gd name="connsiteX11" fmla="*/ 13856 w 36004"/>
                <a:gd name="connsiteY11" fmla="*/ 9362 h 17675"/>
                <a:gd name="connsiteX12" fmla="*/ 3569 w 36004"/>
                <a:gd name="connsiteY12" fmla="*/ 3457 h 17675"/>
                <a:gd name="connsiteX13" fmla="*/ 1188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79" y="8038"/>
                    <a:pt x="311" y="8877"/>
                    <a:pt x="1188" y="9267"/>
                  </a:cubicBezTo>
                  <a:lnTo>
                    <a:pt x="13856" y="16506"/>
                  </a:lnTo>
                  <a:cubicBezTo>
                    <a:pt x="16218" y="17849"/>
                    <a:pt x="19114" y="17849"/>
                    <a:pt x="21476" y="16506"/>
                  </a:cubicBezTo>
                  <a:lnTo>
                    <a:pt x="34144" y="9267"/>
                  </a:lnTo>
                  <a:cubicBezTo>
                    <a:pt x="35021" y="8877"/>
                    <a:pt x="35611" y="8038"/>
                    <a:pt x="35668" y="7076"/>
                  </a:cubicBezTo>
                  <a:lnTo>
                    <a:pt x="35668" y="-163"/>
                  </a:lnTo>
                  <a:cubicBezTo>
                    <a:pt x="35602" y="818"/>
                    <a:pt x="35021" y="1685"/>
                    <a:pt x="34144" y="2123"/>
                  </a:cubicBezTo>
                  <a:lnTo>
                    <a:pt x="31763" y="3457"/>
                  </a:lnTo>
                  <a:lnTo>
                    <a:pt x="21476" y="9362"/>
                  </a:lnTo>
                  <a:cubicBezTo>
                    <a:pt x="19085" y="10601"/>
                    <a:pt x="16247" y="10601"/>
                    <a:pt x="13856" y="9362"/>
                  </a:cubicBezTo>
                  <a:lnTo>
                    <a:pt x="3569" y="3457"/>
                  </a:lnTo>
                  <a:lnTo>
                    <a:pt x="1188"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576" name="iṥlîḓe">
              <a:extLst>
                <a:ext uri="{FF2B5EF4-FFF2-40B4-BE49-F238E27FC236}">
                  <a16:creationId xmlns:a16="http://schemas.microsoft.com/office/drawing/2014/main" id="{A21BA53E-C038-4BE7-82E0-B7375199128F}"/>
                </a:ext>
              </a:extLst>
            </p:cNvPr>
            <p:cNvSpPr/>
            <p:nvPr/>
          </p:nvSpPr>
          <p:spPr>
            <a:xfrm>
              <a:off x="6048352" y="5017749"/>
              <a:ext cx="109740" cy="63442"/>
            </a:xfrm>
            <a:custGeom>
              <a:avLst/>
              <a:gdLst>
                <a:gd name="connsiteX0" fmla="*/ -336 w 36052"/>
                <a:gd name="connsiteY0" fmla="*/ 10227 h 20842"/>
                <a:gd name="connsiteX1" fmla="*/ 1188 w 36052"/>
                <a:gd name="connsiteY1" fmla="*/ 12513 h 20842"/>
                <a:gd name="connsiteX2" fmla="*/ 3569 w 36052"/>
                <a:gd name="connsiteY2" fmla="*/ 13846 h 20842"/>
                <a:gd name="connsiteX3" fmla="*/ 13856 w 36052"/>
                <a:gd name="connsiteY3" fmla="*/ 19752 h 20842"/>
                <a:gd name="connsiteX4" fmla="*/ 21476 w 36052"/>
                <a:gd name="connsiteY4" fmla="*/ 19752 h 20842"/>
                <a:gd name="connsiteX5" fmla="*/ 31763 w 36052"/>
                <a:gd name="connsiteY5" fmla="*/ 13846 h 20842"/>
                <a:gd name="connsiteX6" fmla="*/ 34144 w 36052"/>
                <a:gd name="connsiteY6" fmla="*/ 12513 h 20842"/>
                <a:gd name="connsiteX7" fmla="*/ 35573 w 36052"/>
                <a:gd name="connsiteY7" fmla="*/ 9465 h 20842"/>
                <a:gd name="connsiteX8" fmla="*/ 34144 w 36052"/>
                <a:gd name="connsiteY8" fmla="*/ 8036 h 20842"/>
                <a:gd name="connsiteX9" fmla="*/ 21476 w 36052"/>
                <a:gd name="connsiteY9" fmla="*/ 702 h 20842"/>
                <a:gd name="connsiteX10" fmla="*/ 13856 w 36052"/>
                <a:gd name="connsiteY10" fmla="*/ 702 h 20842"/>
                <a:gd name="connsiteX11" fmla="*/ 1188 w 36052"/>
                <a:gd name="connsiteY11" fmla="*/ 8036 h 20842"/>
                <a:gd name="connsiteX12" fmla="*/ -336 w 36052"/>
                <a:gd name="connsiteY12" fmla="*/ 10227 h 20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2">
                  <a:moveTo>
                    <a:pt x="-336" y="10227"/>
                  </a:moveTo>
                  <a:cubicBezTo>
                    <a:pt x="-269" y="11208"/>
                    <a:pt x="312" y="12075"/>
                    <a:pt x="1188" y="12513"/>
                  </a:cubicBezTo>
                  <a:lnTo>
                    <a:pt x="3569" y="13846"/>
                  </a:lnTo>
                  <a:lnTo>
                    <a:pt x="13856" y="19752"/>
                  </a:lnTo>
                  <a:cubicBezTo>
                    <a:pt x="16247" y="20990"/>
                    <a:pt x="19085" y="20990"/>
                    <a:pt x="21476" y="19752"/>
                  </a:cubicBezTo>
                  <a:lnTo>
                    <a:pt x="31763" y="13846"/>
                  </a:lnTo>
                  <a:lnTo>
                    <a:pt x="34144" y="12513"/>
                  </a:lnTo>
                  <a:cubicBezTo>
                    <a:pt x="35382" y="12065"/>
                    <a:pt x="36021" y="10693"/>
                    <a:pt x="35573" y="9465"/>
                  </a:cubicBezTo>
                  <a:cubicBezTo>
                    <a:pt x="35325" y="8798"/>
                    <a:pt x="34811" y="8274"/>
                    <a:pt x="34144"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577" name="ísļïḍé">
              <a:extLst>
                <a:ext uri="{FF2B5EF4-FFF2-40B4-BE49-F238E27FC236}">
                  <a16:creationId xmlns:a16="http://schemas.microsoft.com/office/drawing/2014/main" id="{64555E74-C9E7-4A37-98AF-571D048AC279}"/>
                </a:ext>
              </a:extLst>
            </p:cNvPr>
            <p:cNvSpPr/>
            <p:nvPr/>
          </p:nvSpPr>
          <p:spPr>
            <a:xfrm>
              <a:off x="6050020" y="5018930"/>
              <a:ext cx="105463" cy="61104"/>
            </a:xfrm>
            <a:custGeom>
              <a:avLst/>
              <a:gdLst>
                <a:gd name="connsiteX0" fmla="*/ 1021 w 34647"/>
                <a:gd name="connsiteY0" fmla="*/ 12029 h 20074"/>
                <a:gd name="connsiteX1" fmla="*/ 13213 w 34647"/>
                <a:gd name="connsiteY1" fmla="*/ 18983 h 20074"/>
                <a:gd name="connsiteX2" fmla="*/ 20642 w 34647"/>
                <a:gd name="connsiteY2" fmla="*/ 18983 h 20074"/>
                <a:gd name="connsiteX3" fmla="*/ 32739 w 34647"/>
                <a:gd name="connsiteY3" fmla="*/ 12029 h 20074"/>
                <a:gd name="connsiteX4" fmla="*/ 32739 w 34647"/>
                <a:gd name="connsiteY4" fmla="*/ 7743 h 20074"/>
                <a:gd name="connsiteX5" fmla="*/ 20642 w 34647"/>
                <a:gd name="connsiteY5" fmla="*/ 695 h 20074"/>
                <a:gd name="connsiteX6" fmla="*/ 13213 w 34647"/>
                <a:gd name="connsiteY6" fmla="*/ 695 h 20074"/>
                <a:gd name="connsiteX7" fmla="*/ 1021 w 34647"/>
                <a:gd name="connsiteY7" fmla="*/ 7743 h 20074"/>
                <a:gd name="connsiteX8" fmla="*/ 1021 w 34647"/>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647" h="20074">
                  <a:moveTo>
                    <a:pt x="1021" y="12029"/>
                  </a:moveTo>
                  <a:lnTo>
                    <a:pt x="13213" y="18983"/>
                  </a:lnTo>
                  <a:cubicBezTo>
                    <a:pt x="15537" y="20221"/>
                    <a:pt x="18318" y="20221"/>
                    <a:pt x="20642" y="18983"/>
                  </a:cubicBezTo>
                  <a:lnTo>
                    <a:pt x="32739" y="12029"/>
                  </a:lnTo>
                  <a:cubicBezTo>
                    <a:pt x="34835" y="10791"/>
                    <a:pt x="34835" y="8886"/>
                    <a:pt x="32739" y="7743"/>
                  </a:cubicBezTo>
                  <a:lnTo>
                    <a:pt x="20642" y="695"/>
                  </a:lnTo>
                  <a:cubicBezTo>
                    <a:pt x="18299" y="-448"/>
                    <a:pt x="15556" y="-448"/>
                    <a:pt x="13213" y="695"/>
                  </a:cubicBezTo>
                  <a:lnTo>
                    <a:pt x="1021" y="7743"/>
                  </a:lnTo>
                  <a:cubicBezTo>
                    <a:pt x="-789" y="8886"/>
                    <a:pt x="-789" y="10791"/>
                    <a:pt x="1021" y="12029"/>
                  </a:cubicBezTo>
                  <a:close/>
                </a:path>
              </a:pathLst>
            </a:custGeom>
            <a:solidFill>
              <a:srgbClr val="D1D9E8"/>
            </a:solidFill>
            <a:ln w="9525" cap="flat">
              <a:noFill/>
              <a:prstDash val="solid"/>
              <a:miter/>
            </a:ln>
          </p:spPr>
          <p:txBody>
            <a:bodyPr rtlCol="0" anchor="ctr"/>
            <a:lstStyle/>
            <a:p>
              <a:endParaRPr lang="zh-CN" altLang="en-US"/>
            </a:p>
          </p:txBody>
        </p:sp>
        <p:sp>
          <p:nvSpPr>
            <p:cNvPr id="578" name="îşḷiďê">
              <a:extLst>
                <a:ext uri="{FF2B5EF4-FFF2-40B4-BE49-F238E27FC236}">
                  <a16:creationId xmlns:a16="http://schemas.microsoft.com/office/drawing/2014/main" id="{807FC88A-3169-46F4-9DA1-9F6C5E16B654}"/>
                </a:ext>
              </a:extLst>
            </p:cNvPr>
            <p:cNvSpPr/>
            <p:nvPr/>
          </p:nvSpPr>
          <p:spPr>
            <a:xfrm>
              <a:off x="6048352" y="5049375"/>
              <a:ext cx="109594" cy="53801"/>
            </a:xfrm>
            <a:custGeom>
              <a:avLst/>
              <a:gdLst>
                <a:gd name="connsiteX0" fmla="*/ -336 w 36004"/>
                <a:gd name="connsiteY0" fmla="*/ -163 h 17675"/>
                <a:gd name="connsiteX1" fmla="*/ -336 w 36004"/>
                <a:gd name="connsiteY1" fmla="*/ 7076 h 17675"/>
                <a:gd name="connsiteX2" fmla="*/ 1188 w 36004"/>
                <a:gd name="connsiteY2" fmla="*/ 9267 h 17675"/>
                <a:gd name="connsiteX3" fmla="*/ 13856 w 36004"/>
                <a:gd name="connsiteY3" fmla="*/ 16506 h 17675"/>
                <a:gd name="connsiteX4" fmla="*/ 21476 w 36004"/>
                <a:gd name="connsiteY4" fmla="*/ 16506 h 17675"/>
                <a:gd name="connsiteX5" fmla="*/ 34144 w 36004"/>
                <a:gd name="connsiteY5" fmla="*/ 9267 h 17675"/>
                <a:gd name="connsiteX6" fmla="*/ 35668 w 36004"/>
                <a:gd name="connsiteY6" fmla="*/ 6981 h 17675"/>
                <a:gd name="connsiteX7" fmla="*/ 35668 w 36004"/>
                <a:gd name="connsiteY7" fmla="*/ -163 h 17675"/>
                <a:gd name="connsiteX8" fmla="*/ 34144 w 36004"/>
                <a:gd name="connsiteY8" fmla="*/ 2123 h 17675"/>
                <a:gd name="connsiteX9" fmla="*/ 31763 w 36004"/>
                <a:gd name="connsiteY9" fmla="*/ 3457 h 17675"/>
                <a:gd name="connsiteX10" fmla="*/ 21476 w 36004"/>
                <a:gd name="connsiteY10" fmla="*/ 9362 h 17675"/>
                <a:gd name="connsiteX11" fmla="*/ 13856 w 36004"/>
                <a:gd name="connsiteY11" fmla="*/ 9362 h 17675"/>
                <a:gd name="connsiteX12" fmla="*/ 3569 w 36004"/>
                <a:gd name="connsiteY12" fmla="*/ 3457 h 17675"/>
                <a:gd name="connsiteX13" fmla="*/ 1188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79" y="8029"/>
                    <a:pt x="312" y="8876"/>
                    <a:pt x="1188" y="9267"/>
                  </a:cubicBezTo>
                  <a:lnTo>
                    <a:pt x="13856" y="16506"/>
                  </a:lnTo>
                  <a:cubicBezTo>
                    <a:pt x="16218" y="17849"/>
                    <a:pt x="19114" y="17849"/>
                    <a:pt x="21476" y="16506"/>
                  </a:cubicBezTo>
                  <a:lnTo>
                    <a:pt x="34144" y="9267"/>
                  </a:lnTo>
                  <a:cubicBezTo>
                    <a:pt x="35049" y="8867"/>
                    <a:pt x="35640" y="7971"/>
                    <a:pt x="35668" y="6981"/>
                  </a:cubicBezTo>
                  <a:lnTo>
                    <a:pt x="35668" y="-163"/>
                  </a:lnTo>
                  <a:cubicBezTo>
                    <a:pt x="35602" y="818"/>
                    <a:pt x="35021" y="1685"/>
                    <a:pt x="34144" y="2123"/>
                  </a:cubicBezTo>
                  <a:lnTo>
                    <a:pt x="31763" y="3457"/>
                  </a:lnTo>
                  <a:lnTo>
                    <a:pt x="21476" y="9362"/>
                  </a:lnTo>
                  <a:cubicBezTo>
                    <a:pt x="19085" y="10600"/>
                    <a:pt x="16247" y="10600"/>
                    <a:pt x="13856" y="9362"/>
                  </a:cubicBezTo>
                  <a:lnTo>
                    <a:pt x="3569" y="3457"/>
                  </a:lnTo>
                  <a:lnTo>
                    <a:pt x="1188" y="2123"/>
                  </a:lnTo>
                  <a:cubicBezTo>
                    <a:pt x="312"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579" name="ïṧḻíde">
              <a:extLst>
                <a:ext uri="{FF2B5EF4-FFF2-40B4-BE49-F238E27FC236}">
                  <a16:creationId xmlns:a16="http://schemas.microsoft.com/office/drawing/2014/main" id="{1261BA01-36F4-4554-8667-98B7167D33B7}"/>
                </a:ext>
              </a:extLst>
            </p:cNvPr>
            <p:cNvSpPr/>
            <p:nvPr/>
          </p:nvSpPr>
          <p:spPr>
            <a:xfrm>
              <a:off x="6125476" y="5062202"/>
              <a:ext cx="109362" cy="63588"/>
            </a:xfrm>
            <a:custGeom>
              <a:avLst/>
              <a:gdLst>
                <a:gd name="connsiteX0" fmla="*/ -336 w 35928"/>
                <a:gd name="connsiteY0" fmla="*/ 10291 h 20890"/>
                <a:gd name="connsiteX1" fmla="*/ 1283 w 35928"/>
                <a:gd name="connsiteY1" fmla="*/ 12482 h 20890"/>
                <a:gd name="connsiteX2" fmla="*/ 3569 w 35928"/>
                <a:gd name="connsiteY2" fmla="*/ 13911 h 20890"/>
                <a:gd name="connsiteX3" fmla="*/ 13856 w 35928"/>
                <a:gd name="connsiteY3" fmla="*/ 19721 h 20890"/>
                <a:gd name="connsiteX4" fmla="*/ 21571 w 35928"/>
                <a:gd name="connsiteY4" fmla="*/ 19721 h 20890"/>
                <a:gd name="connsiteX5" fmla="*/ 31858 w 35928"/>
                <a:gd name="connsiteY5" fmla="*/ 13911 h 20890"/>
                <a:gd name="connsiteX6" fmla="*/ 34144 w 35928"/>
                <a:gd name="connsiteY6" fmla="*/ 12482 h 20890"/>
                <a:gd name="connsiteX7" fmla="*/ 35402 w 35928"/>
                <a:gd name="connsiteY7" fmla="*/ 9358 h 20890"/>
                <a:gd name="connsiteX8" fmla="*/ 34144 w 35928"/>
                <a:gd name="connsiteY8" fmla="*/ 8101 h 20890"/>
                <a:gd name="connsiteX9" fmla="*/ 21571 w 35928"/>
                <a:gd name="connsiteY9" fmla="*/ 766 h 20890"/>
                <a:gd name="connsiteX10" fmla="*/ 13856 w 35928"/>
                <a:gd name="connsiteY10" fmla="*/ 766 h 20890"/>
                <a:gd name="connsiteX11" fmla="*/ 1283 w 35928"/>
                <a:gd name="connsiteY11" fmla="*/ 8101 h 20890"/>
                <a:gd name="connsiteX12" fmla="*/ -336 w 35928"/>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928" h="20890">
                  <a:moveTo>
                    <a:pt x="-336" y="10291"/>
                  </a:moveTo>
                  <a:cubicBezTo>
                    <a:pt x="-279" y="11282"/>
                    <a:pt x="350" y="12139"/>
                    <a:pt x="1283" y="12482"/>
                  </a:cubicBezTo>
                  <a:lnTo>
                    <a:pt x="3569" y="13911"/>
                  </a:lnTo>
                  <a:lnTo>
                    <a:pt x="13856" y="19721"/>
                  </a:lnTo>
                  <a:cubicBezTo>
                    <a:pt x="16256" y="21064"/>
                    <a:pt x="19171" y="21064"/>
                    <a:pt x="21571" y="19721"/>
                  </a:cubicBezTo>
                  <a:lnTo>
                    <a:pt x="31858" y="13911"/>
                  </a:lnTo>
                  <a:lnTo>
                    <a:pt x="34144" y="12482"/>
                  </a:lnTo>
                  <a:cubicBezTo>
                    <a:pt x="35354" y="11967"/>
                    <a:pt x="35916" y="10568"/>
                    <a:pt x="35402" y="9358"/>
                  </a:cubicBezTo>
                  <a:cubicBezTo>
                    <a:pt x="35164" y="8796"/>
                    <a:pt x="34706" y="8339"/>
                    <a:pt x="34144" y="8101"/>
                  </a:cubicBezTo>
                  <a:lnTo>
                    <a:pt x="21571" y="766"/>
                  </a:lnTo>
                  <a:cubicBezTo>
                    <a:pt x="19152" y="-472"/>
                    <a:pt x="16275" y="-472"/>
                    <a:pt x="13856" y="766"/>
                  </a:cubicBezTo>
                  <a:lnTo>
                    <a:pt x="1283" y="8101"/>
                  </a:lnTo>
                  <a:cubicBezTo>
                    <a:pt x="350" y="8443"/>
                    <a:pt x="-279" y="9300"/>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580" name="iS1íḓé">
              <a:extLst>
                <a:ext uri="{FF2B5EF4-FFF2-40B4-BE49-F238E27FC236}">
                  <a16:creationId xmlns:a16="http://schemas.microsoft.com/office/drawing/2014/main" id="{72738022-E8D0-4364-9428-F0050FAF5715}"/>
                </a:ext>
              </a:extLst>
            </p:cNvPr>
            <p:cNvSpPr/>
            <p:nvPr/>
          </p:nvSpPr>
          <p:spPr>
            <a:xfrm>
              <a:off x="6127360" y="5063362"/>
              <a:ext cx="105898" cy="61104"/>
            </a:xfrm>
            <a:custGeom>
              <a:avLst/>
              <a:gdLst>
                <a:gd name="connsiteX0" fmla="*/ 1235 w 34790"/>
                <a:gd name="connsiteY0" fmla="*/ 12006 h 20074"/>
                <a:gd name="connsiteX1" fmla="*/ 13332 w 34790"/>
                <a:gd name="connsiteY1" fmla="*/ 19054 h 20074"/>
                <a:gd name="connsiteX2" fmla="*/ 20761 w 34790"/>
                <a:gd name="connsiteY2" fmla="*/ 19054 h 20074"/>
                <a:gd name="connsiteX3" fmla="*/ 32953 w 34790"/>
                <a:gd name="connsiteY3" fmla="*/ 12006 h 20074"/>
                <a:gd name="connsiteX4" fmla="*/ 32953 w 34790"/>
                <a:gd name="connsiteY4" fmla="*/ 7719 h 20074"/>
                <a:gd name="connsiteX5" fmla="*/ 20761 w 34790"/>
                <a:gd name="connsiteY5" fmla="*/ 766 h 20074"/>
                <a:gd name="connsiteX6" fmla="*/ 13332 w 34790"/>
                <a:gd name="connsiteY6" fmla="*/ 766 h 20074"/>
                <a:gd name="connsiteX7" fmla="*/ 1235 w 34790"/>
                <a:gd name="connsiteY7" fmla="*/ 7719 h 20074"/>
                <a:gd name="connsiteX8" fmla="*/ 1235 w 34790"/>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4">
                  <a:moveTo>
                    <a:pt x="1235" y="12006"/>
                  </a:moveTo>
                  <a:lnTo>
                    <a:pt x="13332" y="19054"/>
                  </a:lnTo>
                  <a:cubicBezTo>
                    <a:pt x="15675" y="20197"/>
                    <a:pt x="18418" y="20197"/>
                    <a:pt x="20761" y="19054"/>
                  </a:cubicBezTo>
                  <a:lnTo>
                    <a:pt x="32953" y="12006"/>
                  </a:lnTo>
                  <a:cubicBezTo>
                    <a:pt x="34954" y="10863"/>
                    <a:pt x="34954" y="8957"/>
                    <a:pt x="32953" y="7719"/>
                  </a:cubicBezTo>
                  <a:lnTo>
                    <a:pt x="20761" y="766"/>
                  </a:lnTo>
                  <a:cubicBezTo>
                    <a:pt x="18437" y="-472"/>
                    <a:pt x="15656" y="-472"/>
                    <a:pt x="13332" y="766"/>
                  </a:cubicBezTo>
                  <a:lnTo>
                    <a:pt x="1235" y="7719"/>
                  </a:lnTo>
                  <a:cubicBezTo>
                    <a:pt x="-860" y="8957"/>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581" name="îṩliḑè">
              <a:extLst>
                <a:ext uri="{FF2B5EF4-FFF2-40B4-BE49-F238E27FC236}">
                  <a16:creationId xmlns:a16="http://schemas.microsoft.com/office/drawing/2014/main" id="{A8958DC7-B5F0-43E7-AFD5-C9CD2E185FFE}"/>
                </a:ext>
              </a:extLst>
            </p:cNvPr>
            <p:cNvSpPr/>
            <p:nvPr/>
          </p:nvSpPr>
          <p:spPr>
            <a:xfrm>
              <a:off x="6125464" y="5094023"/>
              <a:ext cx="111055" cy="54724"/>
            </a:xfrm>
            <a:custGeom>
              <a:avLst/>
              <a:gdLst>
                <a:gd name="connsiteX0" fmla="*/ -333 w 36484"/>
                <a:gd name="connsiteY0" fmla="*/ -163 h 17978"/>
                <a:gd name="connsiteX1" fmla="*/ -333 w 36484"/>
                <a:gd name="connsiteY1" fmla="*/ 7362 h 17978"/>
                <a:gd name="connsiteX2" fmla="*/ 1286 w 36484"/>
                <a:gd name="connsiteY2" fmla="*/ 9553 h 17978"/>
                <a:gd name="connsiteX3" fmla="*/ 14336 w 36484"/>
                <a:gd name="connsiteY3" fmla="*/ 16887 h 17978"/>
                <a:gd name="connsiteX4" fmla="*/ 22051 w 36484"/>
                <a:gd name="connsiteY4" fmla="*/ 16887 h 17978"/>
                <a:gd name="connsiteX5" fmla="*/ 34624 w 36484"/>
                <a:gd name="connsiteY5" fmla="*/ 9648 h 17978"/>
                <a:gd name="connsiteX6" fmla="*/ 36148 w 36484"/>
                <a:gd name="connsiteY6" fmla="*/ 7362 h 17978"/>
                <a:gd name="connsiteX7" fmla="*/ 36148 w 36484"/>
                <a:gd name="connsiteY7" fmla="*/ 218 h 17978"/>
                <a:gd name="connsiteX8" fmla="*/ 34624 w 36484"/>
                <a:gd name="connsiteY8" fmla="*/ 2409 h 17978"/>
                <a:gd name="connsiteX9" fmla="*/ 32338 w 36484"/>
                <a:gd name="connsiteY9" fmla="*/ 3838 h 17978"/>
                <a:gd name="connsiteX10" fmla="*/ 22051 w 36484"/>
                <a:gd name="connsiteY10" fmla="*/ 9648 h 17978"/>
                <a:gd name="connsiteX11" fmla="*/ 14336 w 36484"/>
                <a:gd name="connsiteY11" fmla="*/ 9648 h 17978"/>
                <a:gd name="connsiteX12" fmla="*/ 4049 w 36484"/>
                <a:gd name="connsiteY12" fmla="*/ 3838 h 17978"/>
                <a:gd name="connsiteX13" fmla="*/ 1763 w 36484"/>
                <a:gd name="connsiteY13" fmla="*/ 2409 h 17978"/>
                <a:gd name="connsiteX14" fmla="*/ -333 w 36484"/>
                <a:gd name="connsiteY14" fmla="*/ -163 h 17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484" h="17978">
                  <a:moveTo>
                    <a:pt x="-333" y="-163"/>
                  </a:moveTo>
                  <a:lnTo>
                    <a:pt x="-333" y="7362"/>
                  </a:lnTo>
                  <a:cubicBezTo>
                    <a:pt x="-238" y="8334"/>
                    <a:pt x="382" y="9172"/>
                    <a:pt x="1286" y="9553"/>
                  </a:cubicBezTo>
                  <a:lnTo>
                    <a:pt x="14336" y="16887"/>
                  </a:lnTo>
                  <a:cubicBezTo>
                    <a:pt x="16755" y="18125"/>
                    <a:pt x="19632" y="18125"/>
                    <a:pt x="22051" y="16887"/>
                  </a:cubicBezTo>
                  <a:lnTo>
                    <a:pt x="34624" y="9648"/>
                  </a:lnTo>
                  <a:cubicBezTo>
                    <a:pt x="35491" y="9200"/>
                    <a:pt x="36062" y="8334"/>
                    <a:pt x="36148" y="7362"/>
                  </a:cubicBezTo>
                  <a:lnTo>
                    <a:pt x="36148" y="218"/>
                  </a:lnTo>
                  <a:cubicBezTo>
                    <a:pt x="36110" y="1181"/>
                    <a:pt x="35519" y="2038"/>
                    <a:pt x="34624" y="2409"/>
                  </a:cubicBezTo>
                  <a:lnTo>
                    <a:pt x="32338" y="3838"/>
                  </a:lnTo>
                  <a:lnTo>
                    <a:pt x="22051" y="9648"/>
                  </a:lnTo>
                  <a:cubicBezTo>
                    <a:pt x="19651" y="10991"/>
                    <a:pt x="16736" y="10991"/>
                    <a:pt x="14336" y="9648"/>
                  </a:cubicBezTo>
                  <a:lnTo>
                    <a:pt x="4049" y="3838"/>
                  </a:lnTo>
                  <a:lnTo>
                    <a:pt x="1763" y="2409"/>
                  </a:lnTo>
                  <a:cubicBezTo>
                    <a:pt x="505" y="2219"/>
                    <a:pt x="-399" y="1104"/>
                    <a:pt x="-333" y="-163"/>
                  </a:cubicBezTo>
                  <a:close/>
                </a:path>
              </a:pathLst>
            </a:custGeom>
            <a:solidFill>
              <a:srgbClr val="BF4200"/>
            </a:solidFill>
            <a:ln w="9525" cap="flat">
              <a:noFill/>
              <a:prstDash val="solid"/>
              <a:miter/>
            </a:ln>
          </p:spPr>
          <p:txBody>
            <a:bodyPr rtlCol="0" anchor="ctr"/>
            <a:lstStyle/>
            <a:p>
              <a:endParaRPr lang="zh-CN" altLang="en-US"/>
            </a:p>
          </p:txBody>
        </p:sp>
        <p:sp>
          <p:nvSpPr>
            <p:cNvPr id="582" name="iṣ1îḍê">
              <a:extLst>
                <a:ext uri="{FF2B5EF4-FFF2-40B4-BE49-F238E27FC236}">
                  <a16:creationId xmlns:a16="http://schemas.microsoft.com/office/drawing/2014/main" id="{7C290668-8447-42D5-8A3F-B9DB325E8B40}"/>
                </a:ext>
              </a:extLst>
            </p:cNvPr>
            <p:cNvSpPr/>
            <p:nvPr/>
          </p:nvSpPr>
          <p:spPr>
            <a:xfrm>
              <a:off x="6202889" y="5107048"/>
              <a:ext cx="109740" cy="63445"/>
            </a:xfrm>
            <a:custGeom>
              <a:avLst/>
              <a:gdLst>
                <a:gd name="connsiteX0" fmla="*/ -336 w 36052"/>
                <a:gd name="connsiteY0" fmla="*/ 10227 h 20843"/>
                <a:gd name="connsiteX1" fmla="*/ 1188 w 36052"/>
                <a:gd name="connsiteY1" fmla="*/ 12513 h 20843"/>
                <a:gd name="connsiteX2" fmla="*/ 3569 w 36052"/>
                <a:gd name="connsiteY2" fmla="*/ 13846 h 20843"/>
                <a:gd name="connsiteX3" fmla="*/ 13856 w 36052"/>
                <a:gd name="connsiteY3" fmla="*/ 19752 h 20843"/>
                <a:gd name="connsiteX4" fmla="*/ 21476 w 36052"/>
                <a:gd name="connsiteY4" fmla="*/ 19752 h 20843"/>
                <a:gd name="connsiteX5" fmla="*/ 31763 w 36052"/>
                <a:gd name="connsiteY5" fmla="*/ 13846 h 20843"/>
                <a:gd name="connsiteX6" fmla="*/ 34144 w 36052"/>
                <a:gd name="connsiteY6" fmla="*/ 12513 h 20843"/>
                <a:gd name="connsiteX7" fmla="*/ 35573 w 36052"/>
                <a:gd name="connsiteY7" fmla="*/ 9465 h 20843"/>
                <a:gd name="connsiteX8" fmla="*/ 34144 w 36052"/>
                <a:gd name="connsiteY8" fmla="*/ 8036 h 20843"/>
                <a:gd name="connsiteX9" fmla="*/ 21476 w 36052"/>
                <a:gd name="connsiteY9" fmla="*/ 702 h 20843"/>
                <a:gd name="connsiteX10" fmla="*/ 13856 w 36052"/>
                <a:gd name="connsiteY10" fmla="*/ 702 h 20843"/>
                <a:gd name="connsiteX11" fmla="*/ 1188 w 36052"/>
                <a:gd name="connsiteY11" fmla="*/ 8036 h 20843"/>
                <a:gd name="connsiteX12" fmla="*/ -336 w 36052"/>
                <a:gd name="connsiteY12" fmla="*/ 10227 h 20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3">
                  <a:moveTo>
                    <a:pt x="-336" y="10227"/>
                  </a:moveTo>
                  <a:cubicBezTo>
                    <a:pt x="-270" y="11208"/>
                    <a:pt x="311" y="12075"/>
                    <a:pt x="1188" y="12513"/>
                  </a:cubicBezTo>
                  <a:lnTo>
                    <a:pt x="3569" y="13846"/>
                  </a:lnTo>
                  <a:lnTo>
                    <a:pt x="13856" y="19752"/>
                  </a:lnTo>
                  <a:cubicBezTo>
                    <a:pt x="16247" y="20990"/>
                    <a:pt x="19085" y="20990"/>
                    <a:pt x="21476" y="19752"/>
                  </a:cubicBezTo>
                  <a:lnTo>
                    <a:pt x="31763" y="13846"/>
                  </a:lnTo>
                  <a:lnTo>
                    <a:pt x="34144" y="12513"/>
                  </a:lnTo>
                  <a:cubicBezTo>
                    <a:pt x="35382" y="12065"/>
                    <a:pt x="36020" y="10694"/>
                    <a:pt x="35573" y="9465"/>
                  </a:cubicBezTo>
                  <a:cubicBezTo>
                    <a:pt x="35325" y="8798"/>
                    <a:pt x="34811" y="8274"/>
                    <a:pt x="34144"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583" name="islïḑe">
              <a:extLst>
                <a:ext uri="{FF2B5EF4-FFF2-40B4-BE49-F238E27FC236}">
                  <a16:creationId xmlns:a16="http://schemas.microsoft.com/office/drawing/2014/main" id="{835F0B99-CC58-4779-9C8C-AB007A1B8EE9}"/>
                </a:ext>
              </a:extLst>
            </p:cNvPr>
            <p:cNvSpPr/>
            <p:nvPr/>
          </p:nvSpPr>
          <p:spPr>
            <a:xfrm>
              <a:off x="6204700" y="5108811"/>
              <a:ext cx="105895" cy="61101"/>
            </a:xfrm>
            <a:custGeom>
              <a:avLst/>
              <a:gdLst>
                <a:gd name="connsiteX0" fmla="*/ 1164 w 34789"/>
                <a:gd name="connsiteY0" fmla="*/ 12029 h 20073"/>
                <a:gd name="connsiteX1" fmla="*/ 13356 w 34789"/>
                <a:gd name="connsiteY1" fmla="*/ 18983 h 20073"/>
                <a:gd name="connsiteX2" fmla="*/ 20785 w 34789"/>
                <a:gd name="connsiteY2" fmla="*/ 18983 h 20073"/>
                <a:gd name="connsiteX3" fmla="*/ 32882 w 34789"/>
                <a:gd name="connsiteY3" fmla="*/ 12029 h 20073"/>
                <a:gd name="connsiteX4" fmla="*/ 32882 w 34789"/>
                <a:gd name="connsiteY4" fmla="*/ 7743 h 20073"/>
                <a:gd name="connsiteX5" fmla="*/ 20785 w 34789"/>
                <a:gd name="connsiteY5" fmla="*/ 695 h 20073"/>
                <a:gd name="connsiteX6" fmla="*/ 13356 w 34789"/>
                <a:gd name="connsiteY6" fmla="*/ 695 h 20073"/>
                <a:gd name="connsiteX7" fmla="*/ 1164 w 34789"/>
                <a:gd name="connsiteY7" fmla="*/ 7743 h 20073"/>
                <a:gd name="connsiteX8" fmla="*/ 1164 w 34789"/>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89" h="20073">
                  <a:moveTo>
                    <a:pt x="1164" y="12029"/>
                  </a:moveTo>
                  <a:lnTo>
                    <a:pt x="13356" y="18983"/>
                  </a:lnTo>
                  <a:cubicBezTo>
                    <a:pt x="15680" y="20221"/>
                    <a:pt x="18461" y="20221"/>
                    <a:pt x="20785" y="18983"/>
                  </a:cubicBezTo>
                  <a:lnTo>
                    <a:pt x="32882" y="12029"/>
                  </a:lnTo>
                  <a:cubicBezTo>
                    <a:pt x="34977" y="10791"/>
                    <a:pt x="34977" y="8886"/>
                    <a:pt x="32882" y="7743"/>
                  </a:cubicBezTo>
                  <a:lnTo>
                    <a:pt x="20785" y="695"/>
                  </a:lnTo>
                  <a:cubicBezTo>
                    <a:pt x="18442" y="-448"/>
                    <a:pt x="15699" y="-448"/>
                    <a:pt x="13356" y="695"/>
                  </a:cubicBezTo>
                  <a:lnTo>
                    <a:pt x="1164" y="7743"/>
                  </a:lnTo>
                  <a:cubicBezTo>
                    <a:pt x="-836" y="8696"/>
                    <a:pt x="-836" y="10601"/>
                    <a:pt x="1164" y="12029"/>
                  </a:cubicBezTo>
                  <a:close/>
                </a:path>
              </a:pathLst>
            </a:custGeom>
            <a:solidFill>
              <a:srgbClr val="D1D9E8"/>
            </a:solidFill>
            <a:ln w="9525" cap="flat">
              <a:noFill/>
              <a:prstDash val="solid"/>
              <a:miter/>
            </a:ln>
          </p:spPr>
          <p:txBody>
            <a:bodyPr rtlCol="0" anchor="ctr"/>
            <a:lstStyle/>
            <a:p>
              <a:endParaRPr lang="zh-CN" altLang="en-US"/>
            </a:p>
          </p:txBody>
        </p:sp>
        <p:sp>
          <p:nvSpPr>
            <p:cNvPr id="584" name="ïṧľíḍè">
              <a:extLst>
                <a:ext uri="{FF2B5EF4-FFF2-40B4-BE49-F238E27FC236}">
                  <a16:creationId xmlns:a16="http://schemas.microsoft.com/office/drawing/2014/main" id="{014629D1-DD8E-4745-96AD-1139CA6D3498}"/>
                </a:ext>
              </a:extLst>
            </p:cNvPr>
            <p:cNvSpPr/>
            <p:nvPr/>
          </p:nvSpPr>
          <p:spPr>
            <a:xfrm>
              <a:off x="6202889" y="5138675"/>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3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3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2" y="7953"/>
                    <a:pt x="35668" y="6981"/>
                  </a:cubicBezTo>
                  <a:lnTo>
                    <a:pt x="35668" y="-163"/>
                  </a:lnTo>
                  <a:cubicBezTo>
                    <a:pt x="35602" y="818"/>
                    <a:pt x="35021" y="1685"/>
                    <a:pt x="34144" y="2123"/>
                  </a:cubicBezTo>
                  <a:lnTo>
                    <a:pt x="31763" y="3457"/>
                  </a:lnTo>
                  <a:lnTo>
                    <a:pt x="21476" y="9362"/>
                  </a:lnTo>
                  <a:cubicBezTo>
                    <a:pt x="19085" y="10601"/>
                    <a:pt x="16247" y="10601"/>
                    <a:pt x="13856" y="9362"/>
                  </a:cubicBezTo>
                  <a:lnTo>
                    <a:pt x="3569" y="3457"/>
                  </a:lnTo>
                  <a:lnTo>
                    <a:pt x="1188"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585" name="iṧľiḑé">
              <a:extLst>
                <a:ext uri="{FF2B5EF4-FFF2-40B4-BE49-F238E27FC236}">
                  <a16:creationId xmlns:a16="http://schemas.microsoft.com/office/drawing/2014/main" id="{6C4C83EE-FA58-49A5-8CC0-86D8DAD477DF}"/>
                </a:ext>
              </a:extLst>
            </p:cNvPr>
            <p:cNvSpPr/>
            <p:nvPr/>
          </p:nvSpPr>
          <p:spPr>
            <a:xfrm>
              <a:off x="6280010" y="5151502"/>
              <a:ext cx="109740" cy="63639"/>
            </a:xfrm>
            <a:custGeom>
              <a:avLst/>
              <a:gdLst>
                <a:gd name="connsiteX0" fmla="*/ -336 w 36052"/>
                <a:gd name="connsiteY0" fmla="*/ 10291 h 20907"/>
                <a:gd name="connsiteX1" fmla="*/ 1283 w 36052"/>
                <a:gd name="connsiteY1" fmla="*/ 12577 h 20907"/>
                <a:gd name="connsiteX2" fmla="*/ 3569 w 36052"/>
                <a:gd name="connsiteY2" fmla="*/ 13911 h 20907"/>
                <a:gd name="connsiteX3" fmla="*/ 13856 w 36052"/>
                <a:gd name="connsiteY3" fmla="*/ 19816 h 20907"/>
                <a:gd name="connsiteX4" fmla="*/ 21571 w 36052"/>
                <a:gd name="connsiteY4" fmla="*/ 19816 h 20907"/>
                <a:gd name="connsiteX5" fmla="*/ 31858 w 36052"/>
                <a:gd name="connsiteY5" fmla="*/ 13911 h 20907"/>
                <a:gd name="connsiteX6" fmla="*/ 34144 w 36052"/>
                <a:gd name="connsiteY6" fmla="*/ 12577 h 20907"/>
                <a:gd name="connsiteX7" fmla="*/ 35573 w 36052"/>
                <a:gd name="connsiteY7" fmla="*/ 9529 h 20907"/>
                <a:gd name="connsiteX8" fmla="*/ 34144 w 36052"/>
                <a:gd name="connsiteY8" fmla="*/ 8100 h 20907"/>
                <a:gd name="connsiteX9" fmla="*/ 21571 w 36052"/>
                <a:gd name="connsiteY9" fmla="*/ 766 h 20907"/>
                <a:gd name="connsiteX10" fmla="*/ 13856 w 36052"/>
                <a:gd name="connsiteY10" fmla="*/ 766 h 20907"/>
                <a:gd name="connsiteX11" fmla="*/ 1283 w 36052"/>
                <a:gd name="connsiteY11" fmla="*/ 8100 h 20907"/>
                <a:gd name="connsiteX12" fmla="*/ -336 w 36052"/>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907">
                  <a:moveTo>
                    <a:pt x="-336" y="10291"/>
                  </a:moveTo>
                  <a:cubicBezTo>
                    <a:pt x="-232" y="11282"/>
                    <a:pt x="378" y="12148"/>
                    <a:pt x="1283" y="12577"/>
                  </a:cubicBezTo>
                  <a:lnTo>
                    <a:pt x="3569" y="13911"/>
                  </a:lnTo>
                  <a:lnTo>
                    <a:pt x="13856" y="19816"/>
                  </a:lnTo>
                  <a:cubicBezTo>
                    <a:pt x="16275" y="21054"/>
                    <a:pt x="19152" y="21054"/>
                    <a:pt x="21571" y="19816"/>
                  </a:cubicBezTo>
                  <a:lnTo>
                    <a:pt x="31858" y="13911"/>
                  </a:lnTo>
                  <a:lnTo>
                    <a:pt x="34144" y="12577"/>
                  </a:lnTo>
                  <a:cubicBezTo>
                    <a:pt x="35382" y="12129"/>
                    <a:pt x="36020" y="10758"/>
                    <a:pt x="35573" y="9529"/>
                  </a:cubicBezTo>
                  <a:cubicBezTo>
                    <a:pt x="35325" y="8862"/>
                    <a:pt x="34811" y="8338"/>
                    <a:pt x="34144" y="8100"/>
                  </a:cubicBezTo>
                  <a:lnTo>
                    <a:pt x="21571" y="766"/>
                  </a:lnTo>
                  <a:cubicBezTo>
                    <a:pt x="19152" y="-472"/>
                    <a:pt x="16275" y="-472"/>
                    <a:pt x="13856" y="766"/>
                  </a:cubicBezTo>
                  <a:lnTo>
                    <a:pt x="1283" y="8100"/>
                  </a:lnTo>
                  <a:cubicBezTo>
                    <a:pt x="407" y="8510"/>
                    <a:pt x="-203" y="933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586" name="ïsľïḋê">
              <a:extLst>
                <a:ext uri="{FF2B5EF4-FFF2-40B4-BE49-F238E27FC236}">
                  <a16:creationId xmlns:a16="http://schemas.microsoft.com/office/drawing/2014/main" id="{D20FF1AE-4C86-41AD-ABD9-9B3110BE7C67}"/>
                </a:ext>
              </a:extLst>
            </p:cNvPr>
            <p:cNvSpPr/>
            <p:nvPr/>
          </p:nvSpPr>
          <p:spPr>
            <a:xfrm>
              <a:off x="6281967" y="5152881"/>
              <a:ext cx="105244" cy="61104"/>
            </a:xfrm>
            <a:custGeom>
              <a:avLst/>
              <a:gdLst>
                <a:gd name="connsiteX0" fmla="*/ 1021 w 34575"/>
                <a:gd name="connsiteY0" fmla="*/ 12029 h 20074"/>
                <a:gd name="connsiteX1" fmla="*/ 13118 w 34575"/>
                <a:gd name="connsiteY1" fmla="*/ 18983 h 20074"/>
                <a:gd name="connsiteX2" fmla="*/ 20547 w 34575"/>
                <a:gd name="connsiteY2" fmla="*/ 18983 h 20074"/>
                <a:gd name="connsiteX3" fmla="*/ 32739 w 34575"/>
                <a:gd name="connsiteY3" fmla="*/ 12029 h 20074"/>
                <a:gd name="connsiteX4" fmla="*/ 32739 w 34575"/>
                <a:gd name="connsiteY4" fmla="*/ 7743 h 20074"/>
                <a:gd name="connsiteX5" fmla="*/ 20547 w 34575"/>
                <a:gd name="connsiteY5" fmla="*/ 695 h 20074"/>
                <a:gd name="connsiteX6" fmla="*/ 13118 w 34575"/>
                <a:gd name="connsiteY6" fmla="*/ 695 h 20074"/>
                <a:gd name="connsiteX7" fmla="*/ 1021 w 34575"/>
                <a:gd name="connsiteY7" fmla="*/ 7743 h 20074"/>
                <a:gd name="connsiteX8" fmla="*/ 1021 w 34575"/>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575" h="20074">
                  <a:moveTo>
                    <a:pt x="1021" y="12029"/>
                  </a:moveTo>
                  <a:lnTo>
                    <a:pt x="13118" y="18983"/>
                  </a:lnTo>
                  <a:cubicBezTo>
                    <a:pt x="15442" y="20221"/>
                    <a:pt x="18223" y="20221"/>
                    <a:pt x="20547" y="18983"/>
                  </a:cubicBezTo>
                  <a:lnTo>
                    <a:pt x="32739" y="12029"/>
                  </a:lnTo>
                  <a:cubicBezTo>
                    <a:pt x="34740" y="10791"/>
                    <a:pt x="34740" y="8886"/>
                    <a:pt x="32739" y="7743"/>
                  </a:cubicBezTo>
                  <a:lnTo>
                    <a:pt x="20547" y="695"/>
                  </a:lnTo>
                  <a:cubicBezTo>
                    <a:pt x="18204" y="-448"/>
                    <a:pt x="15461" y="-448"/>
                    <a:pt x="13118" y="695"/>
                  </a:cubicBezTo>
                  <a:lnTo>
                    <a:pt x="1021" y="7743"/>
                  </a:lnTo>
                  <a:cubicBezTo>
                    <a:pt x="-789" y="8886"/>
                    <a:pt x="-789" y="10791"/>
                    <a:pt x="1021" y="12029"/>
                  </a:cubicBezTo>
                  <a:close/>
                </a:path>
              </a:pathLst>
            </a:custGeom>
            <a:solidFill>
              <a:srgbClr val="D1D9E8"/>
            </a:solidFill>
            <a:ln w="9525" cap="flat">
              <a:noFill/>
              <a:prstDash val="solid"/>
              <a:miter/>
            </a:ln>
          </p:spPr>
          <p:txBody>
            <a:bodyPr rtlCol="0" anchor="ctr"/>
            <a:lstStyle/>
            <a:p>
              <a:endParaRPr lang="zh-CN" altLang="en-US"/>
            </a:p>
          </p:txBody>
        </p:sp>
        <p:sp>
          <p:nvSpPr>
            <p:cNvPr id="587" name="íṥľíḓè">
              <a:extLst>
                <a:ext uri="{FF2B5EF4-FFF2-40B4-BE49-F238E27FC236}">
                  <a16:creationId xmlns:a16="http://schemas.microsoft.com/office/drawing/2014/main" id="{62F1AA72-40F8-455A-8A34-0D86FFF8AFA1}"/>
                </a:ext>
              </a:extLst>
            </p:cNvPr>
            <p:cNvSpPr/>
            <p:nvPr/>
          </p:nvSpPr>
          <p:spPr>
            <a:xfrm>
              <a:off x="6280010" y="5183323"/>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3 w 36099"/>
                <a:gd name="connsiteY6" fmla="*/ 6981 h 17597"/>
                <a:gd name="connsiteX7" fmla="*/ 35763 w 36099"/>
                <a:gd name="connsiteY7" fmla="*/ -163 h 17597"/>
                <a:gd name="connsiteX8" fmla="*/ 34144 w 36099"/>
                <a:gd name="connsiteY8" fmla="*/ 2123 h 17597"/>
                <a:gd name="connsiteX9" fmla="*/ 31858 w 36099"/>
                <a:gd name="connsiteY9" fmla="*/ 3457 h 17597"/>
                <a:gd name="connsiteX10" fmla="*/ 21571 w 36099"/>
                <a:gd name="connsiteY10" fmla="*/ 9362 h 17597"/>
                <a:gd name="connsiteX11" fmla="*/ 13856 w 36099"/>
                <a:gd name="connsiteY11" fmla="*/ 9362 h 17597"/>
                <a:gd name="connsiteX12" fmla="*/ 3569 w 36099"/>
                <a:gd name="connsiteY12" fmla="*/ 3457 h 17597"/>
                <a:gd name="connsiteX13" fmla="*/ 1283 w 36099"/>
                <a:gd name="connsiteY13" fmla="*/ 2123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03" y="8029"/>
                    <a:pt x="407" y="8857"/>
                    <a:pt x="1283" y="9267"/>
                  </a:cubicBezTo>
                  <a:lnTo>
                    <a:pt x="13856" y="16506"/>
                  </a:lnTo>
                  <a:cubicBezTo>
                    <a:pt x="16275" y="17744"/>
                    <a:pt x="19152" y="17744"/>
                    <a:pt x="21571" y="16506"/>
                  </a:cubicBezTo>
                  <a:lnTo>
                    <a:pt x="34144" y="9267"/>
                  </a:lnTo>
                  <a:cubicBezTo>
                    <a:pt x="35030" y="8829"/>
                    <a:pt x="35639" y="7962"/>
                    <a:pt x="35763" y="6981"/>
                  </a:cubicBezTo>
                  <a:lnTo>
                    <a:pt x="35763" y="-163"/>
                  </a:lnTo>
                  <a:cubicBezTo>
                    <a:pt x="35659" y="828"/>
                    <a:pt x="35049" y="1695"/>
                    <a:pt x="34144" y="2123"/>
                  </a:cubicBezTo>
                  <a:lnTo>
                    <a:pt x="31858" y="3457"/>
                  </a:lnTo>
                  <a:lnTo>
                    <a:pt x="21571" y="9362"/>
                  </a:lnTo>
                  <a:cubicBezTo>
                    <a:pt x="19152" y="10601"/>
                    <a:pt x="16275" y="10601"/>
                    <a:pt x="13856" y="9362"/>
                  </a:cubicBezTo>
                  <a:lnTo>
                    <a:pt x="3569" y="3457"/>
                  </a:lnTo>
                  <a:lnTo>
                    <a:pt x="1283" y="2123"/>
                  </a:lnTo>
                  <a:cubicBezTo>
                    <a:pt x="378" y="1695"/>
                    <a:pt x="-232"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588" name="ïsľide">
              <a:extLst>
                <a:ext uri="{FF2B5EF4-FFF2-40B4-BE49-F238E27FC236}">
                  <a16:creationId xmlns:a16="http://schemas.microsoft.com/office/drawing/2014/main" id="{FC26F811-B9E7-4396-BA1D-E793AEF14B45}"/>
                </a:ext>
              </a:extLst>
            </p:cNvPr>
            <p:cNvSpPr/>
            <p:nvPr/>
          </p:nvSpPr>
          <p:spPr>
            <a:xfrm>
              <a:off x="6357423" y="5196153"/>
              <a:ext cx="109594" cy="63639"/>
            </a:xfrm>
            <a:custGeom>
              <a:avLst/>
              <a:gdLst>
                <a:gd name="connsiteX0" fmla="*/ -336 w 36004"/>
                <a:gd name="connsiteY0" fmla="*/ 10291 h 20907"/>
                <a:gd name="connsiteX1" fmla="*/ 1188 w 36004"/>
                <a:gd name="connsiteY1" fmla="*/ 12577 h 20907"/>
                <a:gd name="connsiteX2" fmla="*/ 3569 w 36004"/>
                <a:gd name="connsiteY2" fmla="*/ 13910 h 20907"/>
                <a:gd name="connsiteX3" fmla="*/ 13856 w 36004"/>
                <a:gd name="connsiteY3" fmla="*/ 19816 h 20907"/>
                <a:gd name="connsiteX4" fmla="*/ 21476 w 36004"/>
                <a:gd name="connsiteY4" fmla="*/ 19816 h 20907"/>
                <a:gd name="connsiteX5" fmla="*/ 31763 w 36004"/>
                <a:gd name="connsiteY5" fmla="*/ 13910 h 20907"/>
                <a:gd name="connsiteX6" fmla="*/ 34144 w 36004"/>
                <a:gd name="connsiteY6" fmla="*/ 12577 h 20907"/>
                <a:gd name="connsiteX7" fmla="*/ 35668 w 36004"/>
                <a:gd name="connsiteY7" fmla="*/ 10291 h 20907"/>
                <a:gd name="connsiteX8" fmla="*/ 34144 w 36004"/>
                <a:gd name="connsiteY8" fmla="*/ 8100 h 20907"/>
                <a:gd name="connsiteX9" fmla="*/ 21476 w 36004"/>
                <a:gd name="connsiteY9" fmla="*/ 766 h 20907"/>
                <a:gd name="connsiteX10" fmla="*/ 13856 w 36004"/>
                <a:gd name="connsiteY10" fmla="*/ 766 h 20907"/>
                <a:gd name="connsiteX11" fmla="*/ 1188 w 36004"/>
                <a:gd name="connsiteY11" fmla="*/ 8100 h 20907"/>
                <a:gd name="connsiteX12" fmla="*/ -336 w 36004"/>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907">
                  <a:moveTo>
                    <a:pt x="-336" y="10291"/>
                  </a:moveTo>
                  <a:cubicBezTo>
                    <a:pt x="-269" y="11272"/>
                    <a:pt x="312" y="12139"/>
                    <a:pt x="1188" y="12577"/>
                  </a:cubicBezTo>
                  <a:lnTo>
                    <a:pt x="3569" y="13910"/>
                  </a:lnTo>
                  <a:lnTo>
                    <a:pt x="13856" y="19816"/>
                  </a:lnTo>
                  <a:cubicBezTo>
                    <a:pt x="16247" y="21054"/>
                    <a:pt x="19085" y="21054"/>
                    <a:pt x="21476" y="19816"/>
                  </a:cubicBezTo>
                  <a:lnTo>
                    <a:pt x="31763" y="13910"/>
                  </a:lnTo>
                  <a:lnTo>
                    <a:pt x="34144" y="12577"/>
                  </a:lnTo>
                  <a:cubicBezTo>
                    <a:pt x="35021" y="12139"/>
                    <a:pt x="35602" y="11272"/>
                    <a:pt x="35668" y="10291"/>
                  </a:cubicBezTo>
                  <a:cubicBezTo>
                    <a:pt x="35611" y="9339"/>
                    <a:pt x="35021" y="8491"/>
                    <a:pt x="34144" y="8100"/>
                  </a:cubicBezTo>
                  <a:lnTo>
                    <a:pt x="21476" y="766"/>
                  </a:lnTo>
                  <a:cubicBezTo>
                    <a:pt x="19085" y="-472"/>
                    <a:pt x="16247" y="-472"/>
                    <a:pt x="13856" y="766"/>
                  </a:cubicBezTo>
                  <a:lnTo>
                    <a:pt x="1188" y="8100"/>
                  </a:lnTo>
                  <a:cubicBezTo>
                    <a:pt x="312" y="8491"/>
                    <a:pt x="-279"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589" name="i$ļiḑê">
              <a:extLst>
                <a:ext uri="{FF2B5EF4-FFF2-40B4-BE49-F238E27FC236}">
                  <a16:creationId xmlns:a16="http://schemas.microsoft.com/office/drawing/2014/main" id="{7FEF0632-5819-4DD9-AD59-02EBA4BA15A8}"/>
                </a:ext>
              </a:extLst>
            </p:cNvPr>
            <p:cNvSpPr/>
            <p:nvPr/>
          </p:nvSpPr>
          <p:spPr>
            <a:xfrm>
              <a:off x="6359234" y="5197313"/>
              <a:ext cx="105898" cy="61104"/>
            </a:xfrm>
            <a:custGeom>
              <a:avLst/>
              <a:gdLst>
                <a:gd name="connsiteX0" fmla="*/ 1164 w 34790"/>
                <a:gd name="connsiteY0" fmla="*/ 12006 h 20074"/>
                <a:gd name="connsiteX1" fmla="*/ 13356 w 34790"/>
                <a:gd name="connsiteY1" fmla="*/ 19054 h 20074"/>
                <a:gd name="connsiteX2" fmla="*/ 20785 w 34790"/>
                <a:gd name="connsiteY2" fmla="*/ 19054 h 20074"/>
                <a:gd name="connsiteX3" fmla="*/ 32882 w 34790"/>
                <a:gd name="connsiteY3" fmla="*/ 12006 h 20074"/>
                <a:gd name="connsiteX4" fmla="*/ 32882 w 34790"/>
                <a:gd name="connsiteY4" fmla="*/ 7719 h 20074"/>
                <a:gd name="connsiteX5" fmla="*/ 20785 w 34790"/>
                <a:gd name="connsiteY5" fmla="*/ 766 h 20074"/>
                <a:gd name="connsiteX6" fmla="*/ 13356 w 34790"/>
                <a:gd name="connsiteY6" fmla="*/ 766 h 20074"/>
                <a:gd name="connsiteX7" fmla="*/ 1164 w 34790"/>
                <a:gd name="connsiteY7" fmla="*/ 7719 h 20074"/>
                <a:gd name="connsiteX8" fmla="*/ 1164 w 34790"/>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4">
                  <a:moveTo>
                    <a:pt x="1164" y="12006"/>
                  </a:moveTo>
                  <a:lnTo>
                    <a:pt x="13356" y="19054"/>
                  </a:lnTo>
                  <a:cubicBezTo>
                    <a:pt x="15699" y="20197"/>
                    <a:pt x="18442" y="20197"/>
                    <a:pt x="20785" y="19054"/>
                  </a:cubicBezTo>
                  <a:lnTo>
                    <a:pt x="32882" y="12006"/>
                  </a:lnTo>
                  <a:cubicBezTo>
                    <a:pt x="34978" y="10863"/>
                    <a:pt x="34978" y="8958"/>
                    <a:pt x="32882" y="7719"/>
                  </a:cubicBezTo>
                  <a:lnTo>
                    <a:pt x="20785" y="766"/>
                  </a:lnTo>
                  <a:cubicBezTo>
                    <a:pt x="18461" y="-472"/>
                    <a:pt x="15680" y="-472"/>
                    <a:pt x="13356" y="766"/>
                  </a:cubicBezTo>
                  <a:lnTo>
                    <a:pt x="1164" y="7719"/>
                  </a:lnTo>
                  <a:cubicBezTo>
                    <a:pt x="-836" y="8958"/>
                    <a:pt x="-836" y="10863"/>
                    <a:pt x="1164" y="12006"/>
                  </a:cubicBezTo>
                  <a:close/>
                </a:path>
              </a:pathLst>
            </a:custGeom>
            <a:solidFill>
              <a:srgbClr val="D1D9E8"/>
            </a:solidFill>
            <a:ln w="9525" cap="flat">
              <a:noFill/>
              <a:prstDash val="solid"/>
              <a:miter/>
            </a:ln>
          </p:spPr>
          <p:txBody>
            <a:bodyPr rtlCol="0" anchor="ctr"/>
            <a:lstStyle/>
            <a:p>
              <a:endParaRPr lang="zh-CN" altLang="en-US"/>
            </a:p>
          </p:txBody>
        </p:sp>
        <p:sp>
          <p:nvSpPr>
            <p:cNvPr id="590" name="íṡḻïďê">
              <a:extLst>
                <a:ext uri="{FF2B5EF4-FFF2-40B4-BE49-F238E27FC236}">
                  <a16:creationId xmlns:a16="http://schemas.microsoft.com/office/drawing/2014/main" id="{026DA0D2-F80F-40DD-ABE7-45E0118FF8AD}"/>
                </a:ext>
              </a:extLst>
            </p:cNvPr>
            <p:cNvSpPr/>
            <p:nvPr/>
          </p:nvSpPr>
          <p:spPr>
            <a:xfrm>
              <a:off x="6357423" y="5227971"/>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4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4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20"/>
                    <a:pt x="35582" y="7953"/>
                    <a:pt x="35668" y="6981"/>
                  </a:cubicBezTo>
                  <a:lnTo>
                    <a:pt x="35668" y="-163"/>
                  </a:lnTo>
                  <a:cubicBezTo>
                    <a:pt x="35602" y="819"/>
                    <a:pt x="35021" y="1685"/>
                    <a:pt x="34144" y="2124"/>
                  </a:cubicBezTo>
                  <a:lnTo>
                    <a:pt x="31763" y="3457"/>
                  </a:lnTo>
                  <a:lnTo>
                    <a:pt x="21476" y="9362"/>
                  </a:lnTo>
                  <a:cubicBezTo>
                    <a:pt x="19085" y="10601"/>
                    <a:pt x="16247" y="10601"/>
                    <a:pt x="13856" y="9362"/>
                  </a:cubicBezTo>
                  <a:lnTo>
                    <a:pt x="3569" y="3457"/>
                  </a:lnTo>
                  <a:lnTo>
                    <a:pt x="1188" y="2124"/>
                  </a:lnTo>
                  <a:cubicBezTo>
                    <a:pt x="312" y="1685"/>
                    <a:pt x="-269" y="819"/>
                    <a:pt x="-336" y="-163"/>
                  </a:cubicBezTo>
                  <a:close/>
                </a:path>
              </a:pathLst>
            </a:custGeom>
            <a:solidFill>
              <a:srgbClr val="BF4200"/>
            </a:solidFill>
            <a:ln w="9525" cap="flat">
              <a:noFill/>
              <a:prstDash val="solid"/>
              <a:miter/>
            </a:ln>
          </p:spPr>
          <p:txBody>
            <a:bodyPr rtlCol="0" anchor="ctr"/>
            <a:lstStyle/>
            <a:p>
              <a:endParaRPr lang="zh-CN" altLang="en-US"/>
            </a:p>
          </p:txBody>
        </p:sp>
        <p:sp>
          <p:nvSpPr>
            <p:cNvPr id="591" name="i$ḻíḓè">
              <a:extLst>
                <a:ext uri="{FF2B5EF4-FFF2-40B4-BE49-F238E27FC236}">
                  <a16:creationId xmlns:a16="http://schemas.microsoft.com/office/drawing/2014/main" id="{0FF5EF65-87DE-419E-A32E-011D6A1C6FCB}"/>
                </a:ext>
              </a:extLst>
            </p:cNvPr>
            <p:cNvSpPr/>
            <p:nvPr/>
          </p:nvSpPr>
          <p:spPr>
            <a:xfrm>
              <a:off x="6434544" y="5240801"/>
              <a:ext cx="109883" cy="63588"/>
            </a:xfrm>
            <a:custGeom>
              <a:avLst/>
              <a:gdLst>
                <a:gd name="connsiteX0" fmla="*/ -336 w 36099"/>
                <a:gd name="connsiteY0" fmla="*/ 10291 h 20890"/>
                <a:gd name="connsiteX1" fmla="*/ 1283 w 36099"/>
                <a:gd name="connsiteY1" fmla="*/ 12577 h 20890"/>
                <a:gd name="connsiteX2" fmla="*/ 3569 w 36099"/>
                <a:gd name="connsiteY2" fmla="*/ 13911 h 20890"/>
                <a:gd name="connsiteX3" fmla="*/ 13856 w 36099"/>
                <a:gd name="connsiteY3" fmla="*/ 19721 h 20890"/>
                <a:gd name="connsiteX4" fmla="*/ 21571 w 36099"/>
                <a:gd name="connsiteY4" fmla="*/ 19721 h 20890"/>
                <a:gd name="connsiteX5" fmla="*/ 31858 w 36099"/>
                <a:gd name="connsiteY5" fmla="*/ 13911 h 20890"/>
                <a:gd name="connsiteX6" fmla="*/ 34144 w 36099"/>
                <a:gd name="connsiteY6" fmla="*/ 12577 h 20890"/>
                <a:gd name="connsiteX7" fmla="*/ 35764 w 36099"/>
                <a:gd name="connsiteY7" fmla="*/ 10291 h 20890"/>
                <a:gd name="connsiteX8" fmla="*/ 34144 w 36099"/>
                <a:gd name="connsiteY8" fmla="*/ 8101 h 20890"/>
                <a:gd name="connsiteX9" fmla="*/ 21571 w 36099"/>
                <a:gd name="connsiteY9" fmla="*/ 766 h 20890"/>
                <a:gd name="connsiteX10" fmla="*/ 13856 w 36099"/>
                <a:gd name="connsiteY10" fmla="*/ 766 h 20890"/>
                <a:gd name="connsiteX11" fmla="*/ 1283 w 36099"/>
                <a:gd name="connsiteY11" fmla="*/ 8101 h 20890"/>
                <a:gd name="connsiteX12" fmla="*/ -336 w 36099"/>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99" h="20890">
                  <a:moveTo>
                    <a:pt x="-336" y="10291"/>
                  </a:moveTo>
                  <a:cubicBezTo>
                    <a:pt x="-269" y="11301"/>
                    <a:pt x="359" y="12187"/>
                    <a:pt x="1283" y="12577"/>
                  </a:cubicBezTo>
                  <a:lnTo>
                    <a:pt x="3569" y="13911"/>
                  </a:lnTo>
                  <a:lnTo>
                    <a:pt x="13856" y="19721"/>
                  </a:lnTo>
                  <a:cubicBezTo>
                    <a:pt x="16256" y="21064"/>
                    <a:pt x="19171" y="21064"/>
                    <a:pt x="21571" y="19721"/>
                  </a:cubicBezTo>
                  <a:lnTo>
                    <a:pt x="31858" y="13911"/>
                  </a:lnTo>
                  <a:lnTo>
                    <a:pt x="34144" y="12577"/>
                  </a:lnTo>
                  <a:cubicBezTo>
                    <a:pt x="35049" y="12149"/>
                    <a:pt x="35659" y="11282"/>
                    <a:pt x="35764" y="10291"/>
                  </a:cubicBezTo>
                  <a:cubicBezTo>
                    <a:pt x="35649" y="9329"/>
                    <a:pt x="35030" y="8491"/>
                    <a:pt x="34144" y="8101"/>
                  </a:cubicBezTo>
                  <a:lnTo>
                    <a:pt x="21571" y="766"/>
                  </a:lnTo>
                  <a:cubicBezTo>
                    <a:pt x="19152" y="-472"/>
                    <a:pt x="16275" y="-472"/>
                    <a:pt x="13856" y="766"/>
                  </a:cubicBezTo>
                  <a:lnTo>
                    <a:pt x="1283" y="8101"/>
                  </a:lnTo>
                  <a:cubicBezTo>
                    <a:pt x="369" y="8462"/>
                    <a:pt x="-260" y="9310"/>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592" name="íśḻíḑe">
              <a:extLst>
                <a:ext uri="{FF2B5EF4-FFF2-40B4-BE49-F238E27FC236}">
                  <a16:creationId xmlns:a16="http://schemas.microsoft.com/office/drawing/2014/main" id="{24D59B43-98DC-4493-84F9-D62FA869751C}"/>
                </a:ext>
              </a:extLst>
            </p:cNvPr>
            <p:cNvSpPr/>
            <p:nvPr/>
          </p:nvSpPr>
          <p:spPr>
            <a:xfrm>
              <a:off x="6436428" y="5241961"/>
              <a:ext cx="105898" cy="61101"/>
            </a:xfrm>
            <a:custGeom>
              <a:avLst/>
              <a:gdLst>
                <a:gd name="connsiteX0" fmla="*/ 1235 w 34790"/>
                <a:gd name="connsiteY0" fmla="*/ 12006 h 20073"/>
                <a:gd name="connsiteX1" fmla="*/ 13332 w 34790"/>
                <a:gd name="connsiteY1" fmla="*/ 19054 h 20073"/>
                <a:gd name="connsiteX2" fmla="*/ 20761 w 34790"/>
                <a:gd name="connsiteY2" fmla="*/ 19054 h 20073"/>
                <a:gd name="connsiteX3" fmla="*/ 32953 w 34790"/>
                <a:gd name="connsiteY3" fmla="*/ 12006 h 20073"/>
                <a:gd name="connsiteX4" fmla="*/ 32953 w 34790"/>
                <a:gd name="connsiteY4" fmla="*/ 7719 h 20073"/>
                <a:gd name="connsiteX5" fmla="*/ 20761 w 34790"/>
                <a:gd name="connsiteY5" fmla="*/ 766 h 20073"/>
                <a:gd name="connsiteX6" fmla="*/ 13332 w 34790"/>
                <a:gd name="connsiteY6" fmla="*/ 766 h 20073"/>
                <a:gd name="connsiteX7" fmla="*/ 1235 w 34790"/>
                <a:gd name="connsiteY7" fmla="*/ 7719 h 20073"/>
                <a:gd name="connsiteX8" fmla="*/ 1235 w 34790"/>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3">
                  <a:moveTo>
                    <a:pt x="1235" y="12006"/>
                  </a:moveTo>
                  <a:lnTo>
                    <a:pt x="13332" y="19054"/>
                  </a:lnTo>
                  <a:cubicBezTo>
                    <a:pt x="15675" y="20197"/>
                    <a:pt x="18418" y="20197"/>
                    <a:pt x="20761" y="19054"/>
                  </a:cubicBezTo>
                  <a:lnTo>
                    <a:pt x="32953" y="12006"/>
                  </a:lnTo>
                  <a:cubicBezTo>
                    <a:pt x="34954" y="10863"/>
                    <a:pt x="34954" y="8957"/>
                    <a:pt x="32953" y="7719"/>
                  </a:cubicBezTo>
                  <a:lnTo>
                    <a:pt x="20761" y="766"/>
                  </a:lnTo>
                  <a:cubicBezTo>
                    <a:pt x="18437" y="-472"/>
                    <a:pt x="15656" y="-472"/>
                    <a:pt x="13332" y="766"/>
                  </a:cubicBezTo>
                  <a:lnTo>
                    <a:pt x="1235" y="7719"/>
                  </a:lnTo>
                  <a:cubicBezTo>
                    <a:pt x="-860" y="8957"/>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593" name="îṩ1iḑè">
              <a:extLst>
                <a:ext uri="{FF2B5EF4-FFF2-40B4-BE49-F238E27FC236}">
                  <a16:creationId xmlns:a16="http://schemas.microsoft.com/office/drawing/2014/main" id="{33FC04AF-499E-45CE-999D-7075D5EA97C0}"/>
                </a:ext>
              </a:extLst>
            </p:cNvPr>
            <p:cNvSpPr/>
            <p:nvPr/>
          </p:nvSpPr>
          <p:spPr>
            <a:xfrm>
              <a:off x="6434544" y="5272623"/>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4 w 36099"/>
                <a:gd name="connsiteY6" fmla="*/ 6981 h 17597"/>
                <a:gd name="connsiteX7" fmla="*/ 35764 w 36099"/>
                <a:gd name="connsiteY7" fmla="*/ -163 h 17597"/>
                <a:gd name="connsiteX8" fmla="*/ 34144 w 36099"/>
                <a:gd name="connsiteY8" fmla="*/ 2123 h 17597"/>
                <a:gd name="connsiteX9" fmla="*/ 31858 w 36099"/>
                <a:gd name="connsiteY9" fmla="*/ 3457 h 17597"/>
                <a:gd name="connsiteX10" fmla="*/ 21571 w 36099"/>
                <a:gd name="connsiteY10" fmla="*/ 9267 h 17597"/>
                <a:gd name="connsiteX11" fmla="*/ 13856 w 36099"/>
                <a:gd name="connsiteY11" fmla="*/ 9267 h 17597"/>
                <a:gd name="connsiteX12" fmla="*/ 3569 w 36099"/>
                <a:gd name="connsiteY12" fmla="*/ 3457 h 17597"/>
                <a:gd name="connsiteX13" fmla="*/ 1283 w 36099"/>
                <a:gd name="connsiteY13" fmla="*/ 2123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41" y="8048"/>
                    <a:pt x="378" y="8886"/>
                    <a:pt x="1283" y="9267"/>
                  </a:cubicBezTo>
                  <a:lnTo>
                    <a:pt x="13856" y="16506"/>
                  </a:lnTo>
                  <a:cubicBezTo>
                    <a:pt x="16275" y="17744"/>
                    <a:pt x="19152" y="17744"/>
                    <a:pt x="21571" y="16506"/>
                  </a:cubicBezTo>
                  <a:lnTo>
                    <a:pt x="34144" y="9267"/>
                  </a:lnTo>
                  <a:cubicBezTo>
                    <a:pt x="35030" y="8829"/>
                    <a:pt x="35640" y="7962"/>
                    <a:pt x="35764" y="6981"/>
                  </a:cubicBezTo>
                  <a:lnTo>
                    <a:pt x="35764" y="-163"/>
                  </a:lnTo>
                  <a:cubicBezTo>
                    <a:pt x="35659" y="828"/>
                    <a:pt x="35049" y="1695"/>
                    <a:pt x="34144" y="2123"/>
                  </a:cubicBezTo>
                  <a:lnTo>
                    <a:pt x="31858" y="3457"/>
                  </a:lnTo>
                  <a:lnTo>
                    <a:pt x="21571" y="9267"/>
                  </a:lnTo>
                  <a:cubicBezTo>
                    <a:pt x="19171" y="10610"/>
                    <a:pt x="16256" y="10610"/>
                    <a:pt x="13856" y="9267"/>
                  </a:cubicBezTo>
                  <a:lnTo>
                    <a:pt x="3569" y="3457"/>
                  </a:lnTo>
                  <a:lnTo>
                    <a:pt x="1283" y="2123"/>
                  </a:lnTo>
                  <a:cubicBezTo>
                    <a:pt x="359" y="1733"/>
                    <a:pt x="-269" y="847"/>
                    <a:pt x="-336" y="-163"/>
                  </a:cubicBezTo>
                  <a:close/>
                </a:path>
              </a:pathLst>
            </a:custGeom>
            <a:solidFill>
              <a:srgbClr val="BF4200"/>
            </a:solidFill>
            <a:ln w="9525" cap="flat">
              <a:noFill/>
              <a:prstDash val="solid"/>
              <a:miter/>
            </a:ln>
          </p:spPr>
          <p:txBody>
            <a:bodyPr rtlCol="0" anchor="ctr"/>
            <a:lstStyle/>
            <a:p>
              <a:endParaRPr lang="zh-CN" altLang="en-US"/>
            </a:p>
          </p:txBody>
        </p:sp>
        <p:sp>
          <p:nvSpPr>
            <p:cNvPr id="594" name="ïSḷídè">
              <a:extLst>
                <a:ext uri="{FF2B5EF4-FFF2-40B4-BE49-F238E27FC236}">
                  <a16:creationId xmlns:a16="http://schemas.microsoft.com/office/drawing/2014/main" id="{1368FFB5-4917-434A-AA35-B07E56E16A54}"/>
                </a:ext>
              </a:extLst>
            </p:cNvPr>
            <p:cNvSpPr/>
            <p:nvPr/>
          </p:nvSpPr>
          <p:spPr>
            <a:xfrm>
              <a:off x="5235377" y="4638898"/>
              <a:ext cx="109594" cy="63639"/>
            </a:xfrm>
            <a:custGeom>
              <a:avLst/>
              <a:gdLst>
                <a:gd name="connsiteX0" fmla="*/ -336 w 36004"/>
                <a:gd name="connsiteY0" fmla="*/ 10291 h 20907"/>
                <a:gd name="connsiteX1" fmla="*/ 1188 w 36004"/>
                <a:gd name="connsiteY1" fmla="*/ 12577 h 20907"/>
                <a:gd name="connsiteX2" fmla="*/ 3569 w 36004"/>
                <a:gd name="connsiteY2" fmla="*/ 13910 h 20907"/>
                <a:gd name="connsiteX3" fmla="*/ 13856 w 36004"/>
                <a:gd name="connsiteY3" fmla="*/ 19816 h 20907"/>
                <a:gd name="connsiteX4" fmla="*/ 21476 w 36004"/>
                <a:gd name="connsiteY4" fmla="*/ 19816 h 20907"/>
                <a:gd name="connsiteX5" fmla="*/ 31763 w 36004"/>
                <a:gd name="connsiteY5" fmla="*/ 13910 h 20907"/>
                <a:gd name="connsiteX6" fmla="*/ 34144 w 36004"/>
                <a:gd name="connsiteY6" fmla="*/ 12577 h 20907"/>
                <a:gd name="connsiteX7" fmla="*/ 35668 w 36004"/>
                <a:gd name="connsiteY7" fmla="*/ 10291 h 20907"/>
                <a:gd name="connsiteX8" fmla="*/ 34144 w 36004"/>
                <a:gd name="connsiteY8" fmla="*/ 8100 h 20907"/>
                <a:gd name="connsiteX9" fmla="*/ 21476 w 36004"/>
                <a:gd name="connsiteY9" fmla="*/ 766 h 20907"/>
                <a:gd name="connsiteX10" fmla="*/ 13856 w 36004"/>
                <a:gd name="connsiteY10" fmla="*/ 766 h 20907"/>
                <a:gd name="connsiteX11" fmla="*/ 1188 w 36004"/>
                <a:gd name="connsiteY11" fmla="*/ 8100 h 20907"/>
                <a:gd name="connsiteX12" fmla="*/ -336 w 36004"/>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907">
                  <a:moveTo>
                    <a:pt x="-336" y="10291"/>
                  </a:moveTo>
                  <a:cubicBezTo>
                    <a:pt x="-270" y="11272"/>
                    <a:pt x="311" y="12139"/>
                    <a:pt x="1188" y="12577"/>
                  </a:cubicBezTo>
                  <a:lnTo>
                    <a:pt x="3569" y="13910"/>
                  </a:lnTo>
                  <a:lnTo>
                    <a:pt x="13856" y="19816"/>
                  </a:lnTo>
                  <a:cubicBezTo>
                    <a:pt x="16247" y="21054"/>
                    <a:pt x="19085" y="21054"/>
                    <a:pt x="21476" y="19816"/>
                  </a:cubicBezTo>
                  <a:lnTo>
                    <a:pt x="31763" y="13910"/>
                  </a:lnTo>
                  <a:lnTo>
                    <a:pt x="34144" y="12577"/>
                  </a:lnTo>
                  <a:cubicBezTo>
                    <a:pt x="35020" y="12139"/>
                    <a:pt x="35601" y="11272"/>
                    <a:pt x="35668" y="10291"/>
                  </a:cubicBezTo>
                  <a:cubicBezTo>
                    <a:pt x="35611" y="9339"/>
                    <a:pt x="35020" y="8491"/>
                    <a:pt x="34144" y="8100"/>
                  </a:cubicBezTo>
                  <a:lnTo>
                    <a:pt x="21476" y="766"/>
                  </a:lnTo>
                  <a:cubicBezTo>
                    <a:pt x="19085" y="-472"/>
                    <a:pt x="16247" y="-472"/>
                    <a:pt x="13856" y="766"/>
                  </a:cubicBezTo>
                  <a:lnTo>
                    <a:pt x="1188" y="8100"/>
                  </a:lnTo>
                  <a:cubicBezTo>
                    <a:pt x="311" y="8491"/>
                    <a:pt x="-279"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595" name="iṧļîḓê">
              <a:extLst>
                <a:ext uri="{FF2B5EF4-FFF2-40B4-BE49-F238E27FC236}">
                  <a16:creationId xmlns:a16="http://schemas.microsoft.com/office/drawing/2014/main" id="{F4784CA2-8CF3-4641-9E24-D97DC35F0074}"/>
                </a:ext>
              </a:extLst>
            </p:cNvPr>
            <p:cNvSpPr/>
            <p:nvPr/>
          </p:nvSpPr>
          <p:spPr>
            <a:xfrm>
              <a:off x="5237334" y="4640058"/>
              <a:ext cx="106330" cy="61104"/>
            </a:xfrm>
            <a:custGeom>
              <a:avLst/>
              <a:gdLst>
                <a:gd name="connsiteX0" fmla="*/ 1307 w 34932"/>
                <a:gd name="connsiteY0" fmla="*/ 12006 h 20074"/>
                <a:gd name="connsiteX1" fmla="*/ 13499 w 34932"/>
                <a:gd name="connsiteY1" fmla="*/ 19054 h 20074"/>
                <a:gd name="connsiteX2" fmla="*/ 20928 w 34932"/>
                <a:gd name="connsiteY2" fmla="*/ 19054 h 20074"/>
                <a:gd name="connsiteX3" fmla="*/ 33025 w 34932"/>
                <a:gd name="connsiteY3" fmla="*/ 12006 h 20074"/>
                <a:gd name="connsiteX4" fmla="*/ 33025 w 34932"/>
                <a:gd name="connsiteY4" fmla="*/ 7719 h 20074"/>
                <a:gd name="connsiteX5" fmla="*/ 20928 w 34932"/>
                <a:gd name="connsiteY5" fmla="*/ 766 h 20074"/>
                <a:gd name="connsiteX6" fmla="*/ 13499 w 34932"/>
                <a:gd name="connsiteY6" fmla="*/ 766 h 20074"/>
                <a:gd name="connsiteX7" fmla="*/ 1307 w 34932"/>
                <a:gd name="connsiteY7" fmla="*/ 7719 h 20074"/>
                <a:gd name="connsiteX8" fmla="*/ 1307 w 34932"/>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932" h="20074">
                  <a:moveTo>
                    <a:pt x="1307" y="12006"/>
                  </a:moveTo>
                  <a:lnTo>
                    <a:pt x="13499" y="19054"/>
                  </a:lnTo>
                  <a:cubicBezTo>
                    <a:pt x="15842" y="20197"/>
                    <a:pt x="18585" y="20197"/>
                    <a:pt x="20928" y="19054"/>
                  </a:cubicBezTo>
                  <a:lnTo>
                    <a:pt x="33025" y="12006"/>
                  </a:lnTo>
                  <a:cubicBezTo>
                    <a:pt x="35120" y="10863"/>
                    <a:pt x="35120" y="8958"/>
                    <a:pt x="33025" y="7719"/>
                  </a:cubicBezTo>
                  <a:lnTo>
                    <a:pt x="20928" y="766"/>
                  </a:lnTo>
                  <a:cubicBezTo>
                    <a:pt x="18604" y="-472"/>
                    <a:pt x="15823" y="-472"/>
                    <a:pt x="13499" y="766"/>
                  </a:cubicBezTo>
                  <a:lnTo>
                    <a:pt x="1307" y="7719"/>
                  </a:lnTo>
                  <a:cubicBezTo>
                    <a:pt x="-884" y="8958"/>
                    <a:pt x="-884" y="10863"/>
                    <a:pt x="1307" y="12006"/>
                  </a:cubicBezTo>
                  <a:close/>
                </a:path>
              </a:pathLst>
            </a:custGeom>
            <a:solidFill>
              <a:srgbClr val="D1D9E8"/>
            </a:solidFill>
            <a:ln w="9525" cap="flat">
              <a:noFill/>
              <a:prstDash val="solid"/>
              <a:miter/>
            </a:ln>
          </p:spPr>
          <p:txBody>
            <a:bodyPr rtlCol="0" anchor="ctr"/>
            <a:lstStyle/>
            <a:p>
              <a:endParaRPr lang="zh-CN" altLang="en-US"/>
            </a:p>
          </p:txBody>
        </p:sp>
        <p:sp>
          <p:nvSpPr>
            <p:cNvPr id="596" name="ïṣļîḋé">
              <a:extLst>
                <a:ext uri="{FF2B5EF4-FFF2-40B4-BE49-F238E27FC236}">
                  <a16:creationId xmlns:a16="http://schemas.microsoft.com/office/drawing/2014/main" id="{80240EE3-9ECB-4513-B93F-3A4EF117D7F2}"/>
                </a:ext>
              </a:extLst>
            </p:cNvPr>
            <p:cNvSpPr/>
            <p:nvPr/>
          </p:nvSpPr>
          <p:spPr>
            <a:xfrm>
              <a:off x="5235377" y="4670720"/>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4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4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20"/>
                    <a:pt x="35582" y="7953"/>
                    <a:pt x="35668" y="6981"/>
                  </a:cubicBezTo>
                  <a:lnTo>
                    <a:pt x="35668" y="-163"/>
                  </a:lnTo>
                  <a:cubicBezTo>
                    <a:pt x="35601" y="819"/>
                    <a:pt x="35020" y="1685"/>
                    <a:pt x="34144" y="2124"/>
                  </a:cubicBezTo>
                  <a:lnTo>
                    <a:pt x="31763" y="3457"/>
                  </a:lnTo>
                  <a:lnTo>
                    <a:pt x="21476" y="9362"/>
                  </a:lnTo>
                  <a:cubicBezTo>
                    <a:pt x="19085" y="10601"/>
                    <a:pt x="16247" y="10601"/>
                    <a:pt x="13856" y="9362"/>
                  </a:cubicBezTo>
                  <a:lnTo>
                    <a:pt x="3569" y="3457"/>
                  </a:lnTo>
                  <a:lnTo>
                    <a:pt x="1188" y="2124"/>
                  </a:lnTo>
                  <a:cubicBezTo>
                    <a:pt x="311" y="1685"/>
                    <a:pt x="-270" y="819"/>
                    <a:pt x="-336" y="-163"/>
                  </a:cubicBezTo>
                  <a:close/>
                </a:path>
              </a:pathLst>
            </a:custGeom>
            <a:solidFill>
              <a:srgbClr val="BF4200"/>
            </a:solidFill>
            <a:ln w="9525" cap="flat">
              <a:noFill/>
              <a:prstDash val="solid"/>
              <a:miter/>
            </a:ln>
          </p:spPr>
          <p:txBody>
            <a:bodyPr rtlCol="0" anchor="ctr"/>
            <a:lstStyle/>
            <a:p>
              <a:endParaRPr lang="zh-CN" altLang="en-US"/>
            </a:p>
          </p:txBody>
        </p:sp>
        <p:sp>
          <p:nvSpPr>
            <p:cNvPr id="597" name="íṡľiḓê">
              <a:extLst>
                <a:ext uri="{FF2B5EF4-FFF2-40B4-BE49-F238E27FC236}">
                  <a16:creationId xmlns:a16="http://schemas.microsoft.com/office/drawing/2014/main" id="{1541361F-2B11-46BD-93E1-3697F80889A5}"/>
                </a:ext>
              </a:extLst>
            </p:cNvPr>
            <p:cNvSpPr/>
            <p:nvPr/>
          </p:nvSpPr>
          <p:spPr>
            <a:xfrm>
              <a:off x="5312501" y="4683550"/>
              <a:ext cx="109362" cy="63588"/>
            </a:xfrm>
            <a:custGeom>
              <a:avLst/>
              <a:gdLst>
                <a:gd name="connsiteX0" fmla="*/ -336 w 35928"/>
                <a:gd name="connsiteY0" fmla="*/ 10291 h 20890"/>
                <a:gd name="connsiteX1" fmla="*/ 1283 w 35928"/>
                <a:gd name="connsiteY1" fmla="*/ 12482 h 20890"/>
                <a:gd name="connsiteX2" fmla="*/ 3569 w 35928"/>
                <a:gd name="connsiteY2" fmla="*/ 13911 h 20890"/>
                <a:gd name="connsiteX3" fmla="*/ 13856 w 35928"/>
                <a:gd name="connsiteY3" fmla="*/ 19721 h 20890"/>
                <a:gd name="connsiteX4" fmla="*/ 21571 w 35928"/>
                <a:gd name="connsiteY4" fmla="*/ 19721 h 20890"/>
                <a:gd name="connsiteX5" fmla="*/ 31858 w 35928"/>
                <a:gd name="connsiteY5" fmla="*/ 13911 h 20890"/>
                <a:gd name="connsiteX6" fmla="*/ 34144 w 35928"/>
                <a:gd name="connsiteY6" fmla="*/ 12482 h 20890"/>
                <a:gd name="connsiteX7" fmla="*/ 35401 w 35928"/>
                <a:gd name="connsiteY7" fmla="*/ 9358 h 20890"/>
                <a:gd name="connsiteX8" fmla="*/ 34144 w 35928"/>
                <a:gd name="connsiteY8" fmla="*/ 8101 h 20890"/>
                <a:gd name="connsiteX9" fmla="*/ 21571 w 35928"/>
                <a:gd name="connsiteY9" fmla="*/ 766 h 20890"/>
                <a:gd name="connsiteX10" fmla="*/ 13856 w 35928"/>
                <a:gd name="connsiteY10" fmla="*/ 766 h 20890"/>
                <a:gd name="connsiteX11" fmla="*/ 1283 w 35928"/>
                <a:gd name="connsiteY11" fmla="*/ 8101 h 20890"/>
                <a:gd name="connsiteX12" fmla="*/ -336 w 35928"/>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928" h="20890">
                  <a:moveTo>
                    <a:pt x="-336" y="10291"/>
                  </a:moveTo>
                  <a:cubicBezTo>
                    <a:pt x="-279" y="11282"/>
                    <a:pt x="349" y="12139"/>
                    <a:pt x="1283" y="12482"/>
                  </a:cubicBezTo>
                  <a:lnTo>
                    <a:pt x="3569" y="13911"/>
                  </a:lnTo>
                  <a:lnTo>
                    <a:pt x="13856" y="19721"/>
                  </a:lnTo>
                  <a:cubicBezTo>
                    <a:pt x="16256" y="21064"/>
                    <a:pt x="19171" y="21064"/>
                    <a:pt x="21571" y="19721"/>
                  </a:cubicBezTo>
                  <a:lnTo>
                    <a:pt x="31858" y="13911"/>
                  </a:lnTo>
                  <a:lnTo>
                    <a:pt x="34144" y="12482"/>
                  </a:lnTo>
                  <a:cubicBezTo>
                    <a:pt x="35354" y="11967"/>
                    <a:pt x="35916" y="10567"/>
                    <a:pt x="35401" y="9358"/>
                  </a:cubicBezTo>
                  <a:cubicBezTo>
                    <a:pt x="35163" y="8796"/>
                    <a:pt x="34706" y="8339"/>
                    <a:pt x="34144" y="8101"/>
                  </a:cubicBezTo>
                  <a:lnTo>
                    <a:pt x="21571" y="766"/>
                  </a:lnTo>
                  <a:cubicBezTo>
                    <a:pt x="19152" y="-472"/>
                    <a:pt x="16275" y="-472"/>
                    <a:pt x="13856" y="766"/>
                  </a:cubicBezTo>
                  <a:lnTo>
                    <a:pt x="1283" y="8101"/>
                  </a:lnTo>
                  <a:cubicBezTo>
                    <a:pt x="349" y="8443"/>
                    <a:pt x="-279" y="9300"/>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598" name="iŝḷíḑe">
              <a:extLst>
                <a:ext uri="{FF2B5EF4-FFF2-40B4-BE49-F238E27FC236}">
                  <a16:creationId xmlns:a16="http://schemas.microsoft.com/office/drawing/2014/main" id="{77DE56C7-E302-4358-99B1-148BFEFAE4A2}"/>
                </a:ext>
              </a:extLst>
            </p:cNvPr>
            <p:cNvSpPr/>
            <p:nvPr/>
          </p:nvSpPr>
          <p:spPr>
            <a:xfrm>
              <a:off x="5314385" y="4684710"/>
              <a:ext cx="105898" cy="61101"/>
            </a:xfrm>
            <a:custGeom>
              <a:avLst/>
              <a:gdLst>
                <a:gd name="connsiteX0" fmla="*/ 1235 w 34790"/>
                <a:gd name="connsiteY0" fmla="*/ 12006 h 20073"/>
                <a:gd name="connsiteX1" fmla="*/ 13332 w 34790"/>
                <a:gd name="connsiteY1" fmla="*/ 19054 h 20073"/>
                <a:gd name="connsiteX2" fmla="*/ 20762 w 34790"/>
                <a:gd name="connsiteY2" fmla="*/ 19054 h 20073"/>
                <a:gd name="connsiteX3" fmla="*/ 32954 w 34790"/>
                <a:gd name="connsiteY3" fmla="*/ 12006 h 20073"/>
                <a:gd name="connsiteX4" fmla="*/ 32954 w 34790"/>
                <a:gd name="connsiteY4" fmla="*/ 7719 h 20073"/>
                <a:gd name="connsiteX5" fmla="*/ 20762 w 34790"/>
                <a:gd name="connsiteY5" fmla="*/ 766 h 20073"/>
                <a:gd name="connsiteX6" fmla="*/ 13332 w 34790"/>
                <a:gd name="connsiteY6" fmla="*/ 766 h 20073"/>
                <a:gd name="connsiteX7" fmla="*/ 1235 w 34790"/>
                <a:gd name="connsiteY7" fmla="*/ 7719 h 20073"/>
                <a:gd name="connsiteX8" fmla="*/ 1235 w 34790"/>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3">
                  <a:moveTo>
                    <a:pt x="1235" y="12006"/>
                  </a:moveTo>
                  <a:lnTo>
                    <a:pt x="13332" y="19054"/>
                  </a:lnTo>
                  <a:cubicBezTo>
                    <a:pt x="15675" y="20197"/>
                    <a:pt x="18419" y="20197"/>
                    <a:pt x="20762" y="19054"/>
                  </a:cubicBezTo>
                  <a:lnTo>
                    <a:pt x="32954" y="12006"/>
                  </a:lnTo>
                  <a:cubicBezTo>
                    <a:pt x="34954" y="10863"/>
                    <a:pt x="34954" y="8957"/>
                    <a:pt x="32954" y="7719"/>
                  </a:cubicBezTo>
                  <a:lnTo>
                    <a:pt x="20762" y="766"/>
                  </a:lnTo>
                  <a:cubicBezTo>
                    <a:pt x="18437" y="-472"/>
                    <a:pt x="15656" y="-472"/>
                    <a:pt x="13332" y="766"/>
                  </a:cubicBezTo>
                  <a:lnTo>
                    <a:pt x="1235" y="7719"/>
                  </a:lnTo>
                  <a:cubicBezTo>
                    <a:pt x="-860" y="8957"/>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599" name="ï$ḻîďê">
              <a:extLst>
                <a:ext uri="{FF2B5EF4-FFF2-40B4-BE49-F238E27FC236}">
                  <a16:creationId xmlns:a16="http://schemas.microsoft.com/office/drawing/2014/main" id="{B0055F5A-AF39-4B01-A70F-99ACB4B041D6}"/>
                </a:ext>
              </a:extLst>
            </p:cNvPr>
            <p:cNvSpPr/>
            <p:nvPr/>
          </p:nvSpPr>
          <p:spPr>
            <a:xfrm>
              <a:off x="5312501" y="4715368"/>
              <a:ext cx="109594" cy="53564"/>
            </a:xfrm>
            <a:custGeom>
              <a:avLst/>
              <a:gdLst>
                <a:gd name="connsiteX0" fmla="*/ -336 w 36004"/>
                <a:gd name="connsiteY0" fmla="*/ -163 h 17597"/>
                <a:gd name="connsiteX1" fmla="*/ -336 w 36004"/>
                <a:gd name="connsiteY1" fmla="*/ 7076 h 17597"/>
                <a:gd name="connsiteX2" fmla="*/ 1283 w 36004"/>
                <a:gd name="connsiteY2" fmla="*/ 9267 h 17597"/>
                <a:gd name="connsiteX3" fmla="*/ 13856 w 36004"/>
                <a:gd name="connsiteY3" fmla="*/ 16506 h 17597"/>
                <a:gd name="connsiteX4" fmla="*/ 21571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028 h 17597"/>
                <a:gd name="connsiteX9" fmla="*/ 31858 w 36004"/>
                <a:gd name="connsiteY9" fmla="*/ 3457 h 17597"/>
                <a:gd name="connsiteX10" fmla="*/ 21571 w 36004"/>
                <a:gd name="connsiteY10" fmla="*/ 9267 h 17597"/>
                <a:gd name="connsiteX11" fmla="*/ 13856 w 36004"/>
                <a:gd name="connsiteY11" fmla="*/ 9267 h 17597"/>
                <a:gd name="connsiteX12" fmla="*/ 3569 w 36004"/>
                <a:gd name="connsiteY12" fmla="*/ 3457 h 17597"/>
                <a:gd name="connsiteX13" fmla="*/ 1283 w 36004"/>
                <a:gd name="connsiteY13" fmla="*/ 2028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48"/>
                    <a:pt x="387" y="8886"/>
                    <a:pt x="1283" y="9267"/>
                  </a:cubicBezTo>
                  <a:lnTo>
                    <a:pt x="13856" y="16506"/>
                  </a:lnTo>
                  <a:cubicBezTo>
                    <a:pt x="16275" y="17744"/>
                    <a:pt x="19152" y="17744"/>
                    <a:pt x="21571" y="16506"/>
                  </a:cubicBezTo>
                  <a:lnTo>
                    <a:pt x="34144" y="9267"/>
                  </a:lnTo>
                  <a:cubicBezTo>
                    <a:pt x="35011" y="8819"/>
                    <a:pt x="35582" y="7953"/>
                    <a:pt x="35668" y="6981"/>
                  </a:cubicBezTo>
                  <a:lnTo>
                    <a:pt x="35668" y="-163"/>
                  </a:lnTo>
                  <a:cubicBezTo>
                    <a:pt x="35630" y="800"/>
                    <a:pt x="35039" y="1657"/>
                    <a:pt x="34144" y="2028"/>
                  </a:cubicBezTo>
                  <a:lnTo>
                    <a:pt x="31858" y="3457"/>
                  </a:lnTo>
                  <a:lnTo>
                    <a:pt x="21571" y="9267"/>
                  </a:lnTo>
                  <a:cubicBezTo>
                    <a:pt x="19171" y="10610"/>
                    <a:pt x="16256" y="10610"/>
                    <a:pt x="13856" y="9267"/>
                  </a:cubicBezTo>
                  <a:lnTo>
                    <a:pt x="3569" y="3457"/>
                  </a:lnTo>
                  <a:lnTo>
                    <a:pt x="1283" y="2028"/>
                  </a:lnTo>
                  <a:cubicBezTo>
                    <a:pt x="349" y="1685"/>
                    <a:pt x="-279"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00" name="iṣlîḋê">
              <a:extLst>
                <a:ext uri="{FF2B5EF4-FFF2-40B4-BE49-F238E27FC236}">
                  <a16:creationId xmlns:a16="http://schemas.microsoft.com/office/drawing/2014/main" id="{F4B55C51-E311-4224-B2B8-D9AB67885FC6}"/>
                </a:ext>
              </a:extLst>
            </p:cNvPr>
            <p:cNvSpPr/>
            <p:nvPr/>
          </p:nvSpPr>
          <p:spPr>
            <a:xfrm>
              <a:off x="5389911" y="4728198"/>
              <a:ext cx="109594" cy="63588"/>
            </a:xfrm>
            <a:custGeom>
              <a:avLst/>
              <a:gdLst>
                <a:gd name="connsiteX0" fmla="*/ -336 w 36004"/>
                <a:gd name="connsiteY0" fmla="*/ 10291 h 20890"/>
                <a:gd name="connsiteX1" fmla="*/ 1188 w 36004"/>
                <a:gd name="connsiteY1" fmla="*/ 12482 h 20890"/>
                <a:gd name="connsiteX2" fmla="*/ 3569 w 36004"/>
                <a:gd name="connsiteY2" fmla="*/ 13911 h 20890"/>
                <a:gd name="connsiteX3" fmla="*/ 13856 w 36004"/>
                <a:gd name="connsiteY3" fmla="*/ 19721 h 20890"/>
                <a:gd name="connsiteX4" fmla="*/ 21476 w 36004"/>
                <a:gd name="connsiteY4" fmla="*/ 19721 h 20890"/>
                <a:gd name="connsiteX5" fmla="*/ 31763 w 36004"/>
                <a:gd name="connsiteY5" fmla="*/ 13911 h 20890"/>
                <a:gd name="connsiteX6" fmla="*/ 34144 w 36004"/>
                <a:gd name="connsiteY6" fmla="*/ 12482 h 20890"/>
                <a:gd name="connsiteX7" fmla="*/ 35668 w 36004"/>
                <a:gd name="connsiteY7" fmla="*/ 10291 h 20890"/>
                <a:gd name="connsiteX8" fmla="*/ 34144 w 36004"/>
                <a:gd name="connsiteY8" fmla="*/ 8005 h 20890"/>
                <a:gd name="connsiteX9" fmla="*/ 21476 w 36004"/>
                <a:gd name="connsiteY9" fmla="*/ 766 h 20890"/>
                <a:gd name="connsiteX10" fmla="*/ 13856 w 36004"/>
                <a:gd name="connsiteY10" fmla="*/ 766 h 20890"/>
                <a:gd name="connsiteX11" fmla="*/ 1188 w 36004"/>
                <a:gd name="connsiteY11" fmla="*/ 8005 h 20890"/>
                <a:gd name="connsiteX12" fmla="*/ -336 w 36004"/>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291"/>
                  </a:moveTo>
                  <a:cubicBezTo>
                    <a:pt x="-279" y="11244"/>
                    <a:pt x="311" y="12091"/>
                    <a:pt x="1188" y="12482"/>
                  </a:cubicBezTo>
                  <a:lnTo>
                    <a:pt x="3569" y="13911"/>
                  </a:lnTo>
                  <a:lnTo>
                    <a:pt x="13856" y="19721"/>
                  </a:lnTo>
                  <a:cubicBezTo>
                    <a:pt x="16218" y="21064"/>
                    <a:pt x="19114" y="21064"/>
                    <a:pt x="21476" y="19721"/>
                  </a:cubicBezTo>
                  <a:lnTo>
                    <a:pt x="31763" y="13911"/>
                  </a:lnTo>
                  <a:lnTo>
                    <a:pt x="34144" y="12482"/>
                  </a:lnTo>
                  <a:cubicBezTo>
                    <a:pt x="35021" y="12091"/>
                    <a:pt x="35611" y="11253"/>
                    <a:pt x="35668" y="10291"/>
                  </a:cubicBezTo>
                  <a:cubicBezTo>
                    <a:pt x="35602" y="9310"/>
                    <a:pt x="35021" y="8443"/>
                    <a:pt x="34144" y="8005"/>
                  </a:cubicBezTo>
                  <a:lnTo>
                    <a:pt x="21476" y="766"/>
                  </a:lnTo>
                  <a:cubicBezTo>
                    <a:pt x="19085" y="-472"/>
                    <a:pt x="16247" y="-472"/>
                    <a:pt x="13856" y="766"/>
                  </a:cubicBezTo>
                  <a:lnTo>
                    <a:pt x="1188" y="8005"/>
                  </a:lnTo>
                  <a:cubicBezTo>
                    <a:pt x="311" y="8443"/>
                    <a:pt x="-270" y="9310"/>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601" name="îšļiḍê">
              <a:extLst>
                <a:ext uri="{FF2B5EF4-FFF2-40B4-BE49-F238E27FC236}">
                  <a16:creationId xmlns:a16="http://schemas.microsoft.com/office/drawing/2014/main" id="{73C8149B-97EE-4EFF-82C8-04132849EF3A}"/>
                </a:ext>
              </a:extLst>
            </p:cNvPr>
            <p:cNvSpPr/>
            <p:nvPr/>
          </p:nvSpPr>
          <p:spPr>
            <a:xfrm>
              <a:off x="5391725" y="4729358"/>
              <a:ext cx="105895" cy="61101"/>
            </a:xfrm>
            <a:custGeom>
              <a:avLst/>
              <a:gdLst>
                <a:gd name="connsiteX0" fmla="*/ 1164 w 34789"/>
                <a:gd name="connsiteY0" fmla="*/ 12006 h 20073"/>
                <a:gd name="connsiteX1" fmla="*/ 13356 w 34789"/>
                <a:gd name="connsiteY1" fmla="*/ 19054 h 20073"/>
                <a:gd name="connsiteX2" fmla="*/ 20785 w 34789"/>
                <a:gd name="connsiteY2" fmla="*/ 19054 h 20073"/>
                <a:gd name="connsiteX3" fmla="*/ 32882 w 34789"/>
                <a:gd name="connsiteY3" fmla="*/ 12006 h 20073"/>
                <a:gd name="connsiteX4" fmla="*/ 32882 w 34789"/>
                <a:gd name="connsiteY4" fmla="*/ 7719 h 20073"/>
                <a:gd name="connsiteX5" fmla="*/ 20785 w 34789"/>
                <a:gd name="connsiteY5" fmla="*/ 766 h 20073"/>
                <a:gd name="connsiteX6" fmla="*/ 13356 w 34789"/>
                <a:gd name="connsiteY6" fmla="*/ 766 h 20073"/>
                <a:gd name="connsiteX7" fmla="*/ 1164 w 34789"/>
                <a:gd name="connsiteY7" fmla="*/ 7719 h 20073"/>
                <a:gd name="connsiteX8" fmla="*/ 1164 w 34789"/>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89" h="20073">
                  <a:moveTo>
                    <a:pt x="1164" y="12006"/>
                  </a:moveTo>
                  <a:lnTo>
                    <a:pt x="13356" y="19054"/>
                  </a:lnTo>
                  <a:cubicBezTo>
                    <a:pt x="15699" y="20197"/>
                    <a:pt x="18442" y="20197"/>
                    <a:pt x="20785" y="19054"/>
                  </a:cubicBezTo>
                  <a:lnTo>
                    <a:pt x="32882" y="12006"/>
                  </a:lnTo>
                  <a:cubicBezTo>
                    <a:pt x="34977" y="10863"/>
                    <a:pt x="34977" y="8957"/>
                    <a:pt x="32882" y="7719"/>
                  </a:cubicBezTo>
                  <a:lnTo>
                    <a:pt x="20785" y="766"/>
                  </a:lnTo>
                  <a:cubicBezTo>
                    <a:pt x="18461" y="-472"/>
                    <a:pt x="15680" y="-472"/>
                    <a:pt x="13356" y="766"/>
                  </a:cubicBezTo>
                  <a:lnTo>
                    <a:pt x="1164" y="7719"/>
                  </a:lnTo>
                  <a:cubicBezTo>
                    <a:pt x="-836" y="8957"/>
                    <a:pt x="-836" y="10863"/>
                    <a:pt x="1164" y="12006"/>
                  </a:cubicBezTo>
                  <a:close/>
                </a:path>
              </a:pathLst>
            </a:custGeom>
            <a:solidFill>
              <a:srgbClr val="D1D9E8"/>
            </a:solidFill>
            <a:ln w="9525" cap="flat">
              <a:noFill/>
              <a:prstDash val="solid"/>
              <a:miter/>
            </a:ln>
          </p:spPr>
          <p:txBody>
            <a:bodyPr rtlCol="0" anchor="ctr"/>
            <a:lstStyle/>
            <a:p>
              <a:endParaRPr lang="zh-CN" altLang="en-US"/>
            </a:p>
          </p:txBody>
        </p:sp>
        <p:sp>
          <p:nvSpPr>
            <p:cNvPr id="602" name="íşlíḓe">
              <a:extLst>
                <a:ext uri="{FF2B5EF4-FFF2-40B4-BE49-F238E27FC236}">
                  <a16:creationId xmlns:a16="http://schemas.microsoft.com/office/drawing/2014/main" id="{385FD81E-1524-4918-9FAD-69C91E06C98F}"/>
                </a:ext>
              </a:extLst>
            </p:cNvPr>
            <p:cNvSpPr/>
            <p:nvPr/>
          </p:nvSpPr>
          <p:spPr>
            <a:xfrm>
              <a:off x="5389911" y="4760019"/>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028 h 17597"/>
                <a:gd name="connsiteX9" fmla="*/ 31763 w 36004"/>
                <a:gd name="connsiteY9" fmla="*/ 3457 h 17597"/>
                <a:gd name="connsiteX10" fmla="*/ 21476 w 36004"/>
                <a:gd name="connsiteY10" fmla="*/ 9267 h 17597"/>
                <a:gd name="connsiteX11" fmla="*/ 13856 w 36004"/>
                <a:gd name="connsiteY11" fmla="*/ 9267 h 17597"/>
                <a:gd name="connsiteX12" fmla="*/ 3569 w 36004"/>
                <a:gd name="connsiteY12" fmla="*/ 3457 h 17597"/>
                <a:gd name="connsiteX13" fmla="*/ 1188 w 36004"/>
                <a:gd name="connsiteY13" fmla="*/ 2028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2" y="7953"/>
                    <a:pt x="35668" y="6981"/>
                  </a:cubicBezTo>
                  <a:lnTo>
                    <a:pt x="35668" y="-163"/>
                  </a:lnTo>
                  <a:cubicBezTo>
                    <a:pt x="35611" y="790"/>
                    <a:pt x="35021" y="1638"/>
                    <a:pt x="34144" y="2028"/>
                  </a:cubicBezTo>
                  <a:lnTo>
                    <a:pt x="31763" y="3457"/>
                  </a:lnTo>
                  <a:lnTo>
                    <a:pt x="21476" y="9267"/>
                  </a:lnTo>
                  <a:cubicBezTo>
                    <a:pt x="19114" y="10610"/>
                    <a:pt x="16218" y="10610"/>
                    <a:pt x="13856" y="9267"/>
                  </a:cubicBezTo>
                  <a:lnTo>
                    <a:pt x="3569" y="3457"/>
                  </a:lnTo>
                  <a:lnTo>
                    <a:pt x="1188" y="2028"/>
                  </a:lnTo>
                  <a:cubicBezTo>
                    <a:pt x="311" y="1638"/>
                    <a:pt x="-279" y="799"/>
                    <a:pt x="-336" y="-163"/>
                  </a:cubicBezTo>
                  <a:close/>
                </a:path>
              </a:pathLst>
            </a:custGeom>
            <a:solidFill>
              <a:srgbClr val="BF4200"/>
            </a:solidFill>
            <a:ln w="9525" cap="flat">
              <a:noFill/>
              <a:prstDash val="solid"/>
              <a:miter/>
            </a:ln>
          </p:spPr>
          <p:txBody>
            <a:bodyPr rtlCol="0" anchor="ctr"/>
            <a:lstStyle/>
            <a:p>
              <a:endParaRPr lang="zh-CN" altLang="en-US"/>
            </a:p>
          </p:txBody>
        </p:sp>
        <p:sp>
          <p:nvSpPr>
            <p:cNvPr id="603" name="ïṧľïḋè">
              <a:extLst>
                <a:ext uri="{FF2B5EF4-FFF2-40B4-BE49-F238E27FC236}">
                  <a16:creationId xmlns:a16="http://schemas.microsoft.com/office/drawing/2014/main" id="{2CA55B2C-5953-43DF-B3BE-2FE9239D1699}"/>
                </a:ext>
              </a:extLst>
            </p:cNvPr>
            <p:cNvSpPr/>
            <p:nvPr/>
          </p:nvSpPr>
          <p:spPr>
            <a:xfrm>
              <a:off x="5467035" y="4772849"/>
              <a:ext cx="109883" cy="63588"/>
            </a:xfrm>
            <a:custGeom>
              <a:avLst/>
              <a:gdLst>
                <a:gd name="connsiteX0" fmla="*/ -336 w 36099"/>
                <a:gd name="connsiteY0" fmla="*/ 10196 h 20890"/>
                <a:gd name="connsiteX1" fmla="*/ 1283 w 36099"/>
                <a:gd name="connsiteY1" fmla="*/ 12482 h 20890"/>
                <a:gd name="connsiteX2" fmla="*/ 3569 w 36099"/>
                <a:gd name="connsiteY2" fmla="*/ 13815 h 20890"/>
                <a:gd name="connsiteX3" fmla="*/ 13856 w 36099"/>
                <a:gd name="connsiteY3" fmla="*/ 19721 h 20890"/>
                <a:gd name="connsiteX4" fmla="*/ 21571 w 36099"/>
                <a:gd name="connsiteY4" fmla="*/ 19721 h 20890"/>
                <a:gd name="connsiteX5" fmla="*/ 31858 w 36099"/>
                <a:gd name="connsiteY5" fmla="*/ 13815 h 20890"/>
                <a:gd name="connsiteX6" fmla="*/ 34144 w 36099"/>
                <a:gd name="connsiteY6" fmla="*/ 12482 h 20890"/>
                <a:gd name="connsiteX7" fmla="*/ 35764 w 36099"/>
                <a:gd name="connsiteY7" fmla="*/ 10196 h 20890"/>
                <a:gd name="connsiteX8" fmla="*/ 34144 w 36099"/>
                <a:gd name="connsiteY8" fmla="*/ 8005 h 20890"/>
                <a:gd name="connsiteX9" fmla="*/ 21571 w 36099"/>
                <a:gd name="connsiteY9" fmla="*/ 766 h 20890"/>
                <a:gd name="connsiteX10" fmla="*/ 13856 w 36099"/>
                <a:gd name="connsiteY10" fmla="*/ 766 h 20890"/>
                <a:gd name="connsiteX11" fmla="*/ 1283 w 36099"/>
                <a:gd name="connsiteY11" fmla="*/ 8005 h 20890"/>
                <a:gd name="connsiteX12" fmla="*/ -336 w 36099"/>
                <a:gd name="connsiteY12" fmla="*/ 10196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99" h="20890">
                  <a:moveTo>
                    <a:pt x="-336" y="10196"/>
                  </a:moveTo>
                  <a:cubicBezTo>
                    <a:pt x="-251" y="11196"/>
                    <a:pt x="369" y="12072"/>
                    <a:pt x="1283" y="12482"/>
                  </a:cubicBezTo>
                  <a:lnTo>
                    <a:pt x="3569" y="13815"/>
                  </a:lnTo>
                  <a:lnTo>
                    <a:pt x="13856" y="19721"/>
                  </a:lnTo>
                  <a:cubicBezTo>
                    <a:pt x="16256" y="21064"/>
                    <a:pt x="19171" y="21064"/>
                    <a:pt x="21571" y="19721"/>
                  </a:cubicBezTo>
                  <a:lnTo>
                    <a:pt x="31858" y="13815"/>
                  </a:lnTo>
                  <a:lnTo>
                    <a:pt x="34144" y="12482"/>
                  </a:lnTo>
                  <a:cubicBezTo>
                    <a:pt x="35059" y="12072"/>
                    <a:pt x="35678" y="11196"/>
                    <a:pt x="35764" y="10196"/>
                  </a:cubicBezTo>
                  <a:cubicBezTo>
                    <a:pt x="35630" y="9243"/>
                    <a:pt x="35021" y="8414"/>
                    <a:pt x="34144" y="8005"/>
                  </a:cubicBezTo>
                  <a:lnTo>
                    <a:pt x="21571" y="766"/>
                  </a:lnTo>
                  <a:cubicBezTo>
                    <a:pt x="19152" y="-472"/>
                    <a:pt x="16275" y="-472"/>
                    <a:pt x="13856" y="766"/>
                  </a:cubicBezTo>
                  <a:lnTo>
                    <a:pt x="1283" y="8005"/>
                  </a:lnTo>
                  <a:cubicBezTo>
                    <a:pt x="407" y="8414"/>
                    <a:pt x="-203" y="924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604" name="ïŝlíḑé">
              <a:extLst>
                <a:ext uri="{FF2B5EF4-FFF2-40B4-BE49-F238E27FC236}">
                  <a16:creationId xmlns:a16="http://schemas.microsoft.com/office/drawing/2014/main" id="{DAEEEF72-7BDB-4737-B2D4-07055EB0FFE2}"/>
                </a:ext>
              </a:extLst>
            </p:cNvPr>
            <p:cNvSpPr/>
            <p:nvPr/>
          </p:nvSpPr>
          <p:spPr>
            <a:xfrm>
              <a:off x="5469281" y="4774009"/>
              <a:ext cx="106114" cy="61101"/>
            </a:xfrm>
            <a:custGeom>
              <a:avLst/>
              <a:gdLst>
                <a:gd name="connsiteX0" fmla="*/ 1307 w 34861"/>
                <a:gd name="connsiteY0" fmla="*/ 12006 h 20073"/>
                <a:gd name="connsiteX1" fmla="*/ 13403 w 34861"/>
                <a:gd name="connsiteY1" fmla="*/ 19054 h 20073"/>
                <a:gd name="connsiteX2" fmla="*/ 20833 w 34861"/>
                <a:gd name="connsiteY2" fmla="*/ 19054 h 20073"/>
                <a:gd name="connsiteX3" fmla="*/ 33025 w 34861"/>
                <a:gd name="connsiteY3" fmla="*/ 12006 h 20073"/>
                <a:gd name="connsiteX4" fmla="*/ 33025 w 34861"/>
                <a:gd name="connsiteY4" fmla="*/ 7719 h 20073"/>
                <a:gd name="connsiteX5" fmla="*/ 20833 w 34861"/>
                <a:gd name="connsiteY5" fmla="*/ 766 h 20073"/>
                <a:gd name="connsiteX6" fmla="*/ 13403 w 34861"/>
                <a:gd name="connsiteY6" fmla="*/ 766 h 20073"/>
                <a:gd name="connsiteX7" fmla="*/ 1307 w 34861"/>
                <a:gd name="connsiteY7" fmla="*/ 7719 h 20073"/>
                <a:gd name="connsiteX8" fmla="*/ 1307 w 34861"/>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861" h="20073">
                  <a:moveTo>
                    <a:pt x="1307" y="12006"/>
                  </a:moveTo>
                  <a:lnTo>
                    <a:pt x="13403" y="19054"/>
                  </a:lnTo>
                  <a:cubicBezTo>
                    <a:pt x="15747" y="20197"/>
                    <a:pt x="18490" y="20197"/>
                    <a:pt x="20833" y="19054"/>
                  </a:cubicBezTo>
                  <a:lnTo>
                    <a:pt x="33025" y="12006"/>
                  </a:lnTo>
                  <a:cubicBezTo>
                    <a:pt x="35025" y="10862"/>
                    <a:pt x="35025" y="8958"/>
                    <a:pt x="33025" y="7719"/>
                  </a:cubicBezTo>
                  <a:lnTo>
                    <a:pt x="20833" y="766"/>
                  </a:lnTo>
                  <a:cubicBezTo>
                    <a:pt x="18509" y="-472"/>
                    <a:pt x="15728" y="-472"/>
                    <a:pt x="13403" y="766"/>
                  </a:cubicBezTo>
                  <a:lnTo>
                    <a:pt x="1307" y="7719"/>
                  </a:lnTo>
                  <a:cubicBezTo>
                    <a:pt x="-884" y="8958"/>
                    <a:pt x="-884" y="10862"/>
                    <a:pt x="1307" y="12006"/>
                  </a:cubicBezTo>
                  <a:close/>
                </a:path>
              </a:pathLst>
            </a:custGeom>
            <a:solidFill>
              <a:srgbClr val="D1D9E8"/>
            </a:solidFill>
            <a:ln w="9525" cap="flat">
              <a:noFill/>
              <a:prstDash val="solid"/>
              <a:miter/>
            </a:ln>
          </p:spPr>
          <p:txBody>
            <a:bodyPr rtlCol="0" anchor="ctr"/>
            <a:lstStyle/>
            <a:p>
              <a:endParaRPr lang="zh-CN" altLang="en-US"/>
            </a:p>
          </p:txBody>
        </p:sp>
        <p:sp>
          <p:nvSpPr>
            <p:cNvPr id="605" name="ïśḷïḑé">
              <a:extLst>
                <a:ext uri="{FF2B5EF4-FFF2-40B4-BE49-F238E27FC236}">
                  <a16:creationId xmlns:a16="http://schemas.microsoft.com/office/drawing/2014/main" id="{DCA095AD-F522-4457-8E0D-1A943A8DDC7F}"/>
                </a:ext>
              </a:extLst>
            </p:cNvPr>
            <p:cNvSpPr/>
            <p:nvPr/>
          </p:nvSpPr>
          <p:spPr>
            <a:xfrm>
              <a:off x="5467035" y="4804378"/>
              <a:ext cx="109883" cy="54383"/>
            </a:xfrm>
            <a:custGeom>
              <a:avLst/>
              <a:gdLst>
                <a:gd name="connsiteX0" fmla="*/ -336 w 36099"/>
                <a:gd name="connsiteY0" fmla="*/ -163 h 17866"/>
                <a:gd name="connsiteX1" fmla="*/ -336 w 36099"/>
                <a:gd name="connsiteY1" fmla="*/ 7267 h 17866"/>
                <a:gd name="connsiteX2" fmla="*/ 1283 w 36099"/>
                <a:gd name="connsiteY2" fmla="*/ 9553 h 17866"/>
                <a:gd name="connsiteX3" fmla="*/ 13856 w 36099"/>
                <a:gd name="connsiteY3" fmla="*/ 16697 h 17866"/>
                <a:gd name="connsiteX4" fmla="*/ 21571 w 36099"/>
                <a:gd name="connsiteY4" fmla="*/ 16697 h 17866"/>
                <a:gd name="connsiteX5" fmla="*/ 34144 w 36099"/>
                <a:gd name="connsiteY5" fmla="*/ 9553 h 17866"/>
                <a:gd name="connsiteX6" fmla="*/ 35764 w 36099"/>
                <a:gd name="connsiteY6" fmla="*/ 7267 h 17866"/>
                <a:gd name="connsiteX7" fmla="*/ 35764 w 36099"/>
                <a:gd name="connsiteY7" fmla="*/ 28 h 17866"/>
                <a:gd name="connsiteX8" fmla="*/ 34144 w 36099"/>
                <a:gd name="connsiteY8" fmla="*/ 2314 h 17866"/>
                <a:gd name="connsiteX9" fmla="*/ 31858 w 36099"/>
                <a:gd name="connsiteY9" fmla="*/ 3647 h 17866"/>
                <a:gd name="connsiteX10" fmla="*/ 21571 w 36099"/>
                <a:gd name="connsiteY10" fmla="*/ 9553 h 17866"/>
                <a:gd name="connsiteX11" fmla="*/ 13856 w 36099"/>
                <a:gd name="connsiteY11" fmla="*/ 9553 h 17866"/>
                <a:gd name="connsiteX12" fmla="*/ 3569 w 36099"/>
                <a:gd name="connsiteY12" fmla="*/ 3647 h 17866"/>
                <a:gd name="connsiteX13" fmla="*/ 1283 w 36099"/>
                <a:gd name="connsiteY13" fmla="*/ 2314 h 17866"/>
                <a:gd name="connsiteX14" fmla="*/ -336 w 36099"/>
                <a:gd name="connsiteY14" fmla="*/ -163 h 178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866">
                  <a:moveTo>
                    <a:pt x="-336" y="-163"/>
                  </a:moveTo>
                  <a:lnTo>
                    <a:pt x="-336" y="7267"/>
                  </a:lnTo>
                  <a:cubicBezTo>
                    <a:pt x="-232" y="8257"/>
                    <a:pt x="378" y="9124"/>
                    <a:pt x="1283" y="9553"/>
                  </a:cubicBezTo>
                  <a:lnTo>
                    <a:pt x="13856" y="16697"/>
                  </a:lnTo>
                  <a:cubicBezTo>
                    <a:pt x="16256" y="18040"/>
                    <a:pt x="19171" y="18040"/>
                    <a:pt x="21571" y="16697"/>
                  </a:cubicBezTo>
                  <a:lnTo>
                    <a:pt x="34144" y="9553"/>
                  </a:lnTo>
                  <a:cubicBezTo>
                    <a:pt x="35030" y="9115"/>
                    <a:pt x="35640" y="8248"/>
                    <a:pt x="35764" y="7267"/>
                  </a:cubicBezTo>
                  <a:lnTo>
                    <a:pt x="35764" y="28"/>
                  </a:lnTo>
                  <a:cubicBezTo>
                    <a:pt x="35678" y="1028"/>
                    <a:pt x="35059" y="1904"/>
                    <a:pt x="34144" y="2314"/>
                  </a:cubicBezTo>
                  <a:lnTo>
                    <a:pt x="31858" y="3647"/>
                  </a:lnTo>
                  <a:lnTo>
                    <a:pt x="21571" y="9553"/>
                  </a:lnTo>
                  <a:cubicBezTo>
                    <a:pt x="19171" y="10896"/>
                    <a:pt x="16256" y="10896"/>
                    <a:pt x="13856" y="9553"/>
                  </a:cubicBezTo>
                  <a:lnTo>
                    <a:pt x="3569" y="3647"/>
                  </a:lnTo>
                  <a:lnTo>
                    <a:pt x="1283" y="2314"/>
                  </a:lnTo>
                  <a:cubicBezTo>
                    <a:pt x="311" y="1876"/>
                    <a:pt x="-317" y="904"/>
                    <a:pt x="-336" y="-163"/>
                  </a:cubicBezTo>
                  <a:close/>
                </a:path>
              </a:pathLst>
            </a:custGeom>
            <a:solidFill>
              <a:srgbClr val="BF4200"/>
            </a:solidFill>
            <a:ln w="9525" cap="flat">
              <a:noFill/>
              <a:prstDash val="solid"/>
              <a:miter/>
            </a:ln>
          </p:spPr>
          <p:txBody>
            <a:bodyPr rtlCol="0" anchor="ctr"/>
            <a:lstStyle/>
            <a:p>
              <a:endParaRPr lang="zh-CN" altLang="en-US"/>
            </a:p>
          </p:txBody>
        </p:sp>
        <p:sp>
          <p:nvSpPr>
            <p:cNvPr id="606" name="íš1îḍê">
              <a:extLst>
                <a:ext uri="{FF2B5EF4-FFF2-40B4-BE49-F238E27FC236}">
                  <a16:creationId xmlns:a16="http://schemas.microsoft.com/office/drawing/2014/main" id="{F44EB2E2-10A2-408B-9946-D6CBC333992E}"/>
                </a:ext>
              </a:extLst>
            </p:cNvPr>
            <p:cNvSpPr/>
            <p:nvPr/>
          </p:nvSpPr>
          <p:spPr>
            <a:xfrm>
              <a:off x="5544448" y="4817498"/>
              <a:ext cx="108580" cy="63588"/>
            </a:xfrm>
            <a:custGeom>
              <a:avLst/>
              <a:gdLst>
                <a:gd name="connsiteX0" fmla="*/ -336 w 35671"/>
                <a:gd name="connsiteY0" fmla="*/ 10196 h 20890"/>
                <a:gd name="connsiteX1" fmla="*/ 1187 w 35671"/>
                <a:gd name="connsiteY1" fmla="*/ 12482 h 20890"/>
                <a:gd name="connsiteX2" fmla="*/ 3569 w 35671"/>
                <a:gd name="connsiteY2" fmla="*/ 13815 h 20890"/>
                <a:gd name="connsiteX3" fmla="*/ 13856 w 35671"/>
                <a:gd name="connsiteY3" fmla="*/ 19721 h 20890"/>
                <a:gd name="connsiteX4" fmla="*/ 21476 w 35671"/>
                <a:gd name="connsiteY4" fmla="*/ 19721 h 20890"/>
                <a:gd name="connsiteX5" fmla="*/ 31763 w 35671"/>
                <a:gd name="connsiteY5" fmla="*/ 13815 h 20890"/>
                <a:gd name="connsiteX6" fmla="*/ 33763 w 35671"/>
                <a:gd name="connsiteY6" fmla="*/ 12482 h 20890"/>
                <a:gd name="connsiteX7" fmla="*/ 35192 w 35671"/>
                <a:gd name="connsiteY7" fmla="*/ 9434 h 20890"/>
                <a:gd name="connsiteX8" fmla="*/ 33763 w 35671"/>
                <a:gd name="connsiteY8" fmla="*/ 8005 h 20890"/>
                <a:gd name="connsiteX9" fmla="*/ 21095 w 35671"/>
                <a:gd name="connsiteY9" fmla="*/ 766 h 20890"/>
                <a:gd name="connsiteX10" fmla="*/ 13475 w 35671"/>
                <a:gd name="connsiteY10" fmla="*/ 766 h 20890"/>
                <a:gd name="connsiteX11" fmla="*/ 807 w 35671"/>
                <a:gd name="connsiteY11" fmla="*/ 8005 h 20890"/>
                <a:gd name="connsiteX12" fmla="*/ -336 w 35671"/>
                <a:gd name="connsiteY12" fmla="*/ 10196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671" h="20890">
                  <a:moveTo>
                    <a:pt x="-336" y="10196"/>
                  </a:moveTo>
                  <a:cubicBezTo>
                    <a:pt x="-270" y="11177"/>
                    <a:pt x="311" y="12044"/>
                    <a:pt x="1187" y="12482"/>
                  </a:cubicBezTo>
                  <a:lnTo>
                    <a:pt x="3569" y="13815"/>
                  </a:lnTo>
                  <a:lnTo>
                    <a:pt x="13856" y="19721"/>
                  </a:lnTo>
                  <a:cubicBezTo>
                    <a:pt x="16218" y="21064"/>
                    <a:pt x="19114" y="21064"/>
                    <a:pt x="21476" y="19721"/>
                  </a:cubicBezTo>
                  <a:lnTo>
                    <a:pt x="31763" y="13815"/>
                  </a:lnTo>
                  <a:lnTo>
                    <a:pt x="33763" y="12482"/>
                  </a:lnTo>
                  <a:cubicBezTo>
                    <a:pt x="35001" y="12034"/>
                    <a:pt x="35639" y="10662"/>
                    <a:pt x="35192" y="9434"/>
                  </a:cubicBezTo>
                  <a:cubicBezTo>
                    <a:pt x="34944" y="8767"/>
                    <a:pt x="34430" y="8243"/>
                    <a:pt x="33763" y="8005"/>
                  </a:cubicBezTo>
                  <a:lnTo>
                    <a:pt x="21095" y="766"/>
                  </a:lnTo>
                  <a:cubicBezTo>
                    <a:pt x="18704" y="-472"/>
                    <a:pt x="15866" y="-472"/>
                    <a:pt x="13475" y="766"/>
                  </a:cubicBezTo>
                  <a:lnTo>
                    <a:pt x="807" y="8005"/>
                  </a:lnTo>
                  <a:cubicBezTo>
                    <a:pt x="102" y="8510"/>
                    <a:pt x="-317" y="9329"/>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607" name="işlïdé">
              <a:extLst>
                <a:ext uri="{FF2B5EF4-FFF2-40B4-BE49-F238E27FC236}">
                  <a16:creationId xmlns:a16="http://schemas.microsoft.com/office/drawing/2014/main" id="{6619F2D5-9748-40DC-BF5B-137274BF8AA8}"/>
                </a:ext>
              </a:extLst>
            </p:cNvPr>
            <p:cNvSpPr/>
            <p:nvPr/>
          </p:nvSpPr>
          <p:spPr>
            <a:xfrm>
              <a:off x="5546981" y="4818877"/>
              <a:ext cx="105798" cy="61174"/>
            </a:xfrm>
            <a:custGeom>
              <a:avLst/>
              <a:gdLst>
                <a:gd name="connsiteX0" fmla="*/ 1022 w 34757"/>
                <a:gd name="connsiteY0" fmla="*/ 12029 h 20097"/>
                <a:gd name="connsiteX1" fmla="*/ 13119 w 34757"/>
                <a:gd name="connsiteY1" fmla="*/ 19078 h 20097"/>
                <a:gd name="connsiteX2" fmla="*/ 20548 w 34757"/>
                <a:gd name="connsiteY2" fmla="*/ 19078 h 20097"/>
                <a:gd name="connsiteX3" fmla="*/ 32931 w 34757"/>
                <a:gd name="connsiteY3" fmla="*/ 12029 h 20097"/>
                <a:gd name="connsiteX4" fmla="*/ 34274 w 34757"/>
                <a:gd name="connsiteY4" fmla="*/ 9086 h 20097"/>
                <a:gd name="connsiteX5" fmla="*/ 32931 w 34757"/>
                <a:gd name="connsiteY5" fmla="*/ 7743 h 20097"/>
                <a:gd name="connsiteX6" fmla="*/ 20834 w 34757"/>
                <a:gd name="connsiteY6" fmla="*/ 695 h 20097"/>
                <a:gd name="connsiteX7" fmla="*/ 13405 w 34757"/>
                <a:gd name="connsiteY7" fmla="*/ 695 h 20097"/>
                <a:gd name="connsiteX8" fmla="*/ 1308 w 34757"/>
                <a:gd name="connsiteY8" fmla="*/ 7743 h 20097"/>
                <a:gd name="connsiteX9" fmla="*/ -245 w 34757"/>
                <a:gd name="connsiteY9" fmla="*/ 10572 h 20097"/>
                <a:gd name="connsiteX10" fmla="*/ 1022 w 34757"/>
                <a:gd name="connsiteY10" fmla="*/ 12029 h 20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757" h="20097">
                  <a:moveTo>
                    <a:pt x="1022" y="12029"/>
                  </a:moveTo>
                  <a:lnTo>
                    <a:pt x="13119" y="19078"/>
                  </a:lnTo>
                  <a:cubicBezTo>
                    <a:pt x="15462" y="20221"/>
                    <a:pt x="18205" y="20221"/>
                    <a:pt x="20548" y="19078"/>
                  </a:cubicBezTo>
                  <a:lnTo>
                    <a:pt x="32931" y="12029"/>
                  </a:lnTo>
                  <a:cubicBezTo>
                    <a:pt x="34112" y="11591"/>
                    <a:pt x="34721" y="10277"/>
                    <a:pt x="34274" y="9086"/>
                  </a:cubicBezTo>
                  <a:cubicBezTo>
                    <a:pt x="34045" y="8467"/>
                    <a:pt x="33550" y="7972"/>
                    <a:pt x="32931" y="7743"/>
                  </a:cubicBezTo>
                  <a:lnTo>
                    <a:pt x="20834" y="695"/>
                  </a:lnTo>
                  <a:cubicBezTo>
                    <a:pt x="18491" y="-448"/>
                    <a:pt x="15748" y="-448"/>
                    <a:pt x="13405" y="695"/>
                  </a:cubicBezTo>
                  <a:lnTo>
                    <a:pt x="1308" y="7743"/>
                  </a:lnTo>
                  <a:cubicBezTo>
                    <a:pt x="98" y="8096"/>
                    <a:pt x="-597" y="9362"/>
                    <a:pt x="-245" y="10572"/>
                  </a:cubicBezTo>
                  <a:cubicBezTo>
                    <a:pt x="-64" y="11229"/>
                    <a:pt x="403" y="11753"/>
                    <a:pt x="1022" y="12029"/>
                  </a:cubicBezTo>
                  <a:close/>
                </a:path>
              </a:pathLst>
            </a:custGeom>
            <a:solidFill>
              <a:srgbClr val="D1D9E8"/>
            </a:solidFill>
            <a:ln w="9525" cap="flat">
              <a:noFill/>
              <a:prstDash val="solid"/>
              <a:miter/>
            </a:ln>
          </p:spPr>
          <p:txBody>
            <a:bodyPr rtlCol="0" anchor="ctr"/>
            <a:lstStyle/>
            <a:p>
              <a:endParaRPr lang="zh-CN" altLang="en-US"/>
            </a:p>
          </p:txBody>
        </p:sp>
        <p:sp>
          <p:nvSpPr>
            <p:cNvPr id="608" name="ïṡľïḓe">
              <a:extLst>
                <a:ext uri="{FF2B5EF4-FFF2-40B4-BE49-F238E27FC236}">
                  <a16:creationId xmlns:a16="http://schemas.microsoft.com/office/drawing/2014/main" id="{C1108CB1-773F-4B71-906F-37D562CFEBF7}"/>
                </a:ext>
              </a:extLst>
            </p:cNvPr>
            <p:cNvSpPr/>
            <p:nvPr/>
          </p:nvSpPr>
          <p:spPr>
            <a:xfrm>
              <a:off x="5544448" y="4849030"/>
              <a:ext cx="109594" cy="53801"/>
            </a:xfrm>
            <a:custGeom>
              <a:avLst/>
              <a:gdLst>
                <a:gd name="connsiteX0" fmla="*/ -336 w 36004"/>
                <a:gd name="connsiteY0" fmla="*/ -163 h 17675"/>
                <a:gd name="connsiteX1" fmla="*/ -336 w 36004"/>
                <a:gd name="connsiteY1" fmla="*/ 7076 h 17675"/>
                <a:gd name="connsiteX2" fmla="*/ 1187 w 36004"/>
                <a:gd name="connsiteY2" fmla="*/ 9267 h 17675"/>
                <a:gd name="connsiteX3" fmla="*/ 13856 w 36004"/>
                <a:gd name="connsiteY3" fmla="*/ 16506 h 17675"/>
                <a:gd name="connsiteX4" fmla="*/ 21476 w 36004"/>
                <a:gd name="connsiteY4" fmla="*/ 16506 h 17675"/>
                <a:gd name="connsiteX5" fmla="*/ 34144 w 36004"/>
                <a:gd name="connsiteY5" fmla="*/ 9267 h 17675"/>
                <a:gd name="connsiteX6" fmla="*/ 35668 w 36004"/>
                <a:gd name="connsiteY6" fmla="*/ 7076 h 17675"/>
                <a:gd name="connsiteX7" fmla="*/ 35668 w 36004"/>
                <a:gd name="connsiteY7" fmla="*/ -163 h 17675"/>
                <a:gd name="connsiteX8" fmla="*/ 34144 w 36004"/>
                <a:gd name="connsiteY8" fmla="*/ 2123 h 17675"/>
                <a:gd name="connsiteX9" fmla="*/ 31763 w 36004"/>
                <a:gd name="connsiteY9" fmla="*/ 3457 h 17675"/>
                <a:gd name="connsiteX10" fmla="*/ 21476 w 36004"/>
                <a:gd name="connsiteY10" fmla="*/ 9362 h 17675"/>
                <a:gd name="connsiteX11" fmla="*/ 13856 w 36004"/>
                <a:gd name="connsiteY11" fmla="*/ 9362 h 17675"/>
                <a:gd name="connsiteX12" fmla="*/ 3569 w 36004"/>
                <a:gd name="connsiteY12" fmla="*/ 3457 h 17675"/>
                <a:gd name="connsiteX13" fmla="*/ 1187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98" y="8038"/>
                    <a:pt x="292" y="8896"/>
                    <a:pt x="1187" y="9267"/>
                  </a:cubicBezTo>
                  <a:lnTo>
                    <a:pt x="13856" y="16506"/>
                  </a:lnTo>
                  <a:cubicBezTo>
                    <a:pt x="16218" y="17849"/>
                    <a:pt x="19114" y="17849"/>
                    <a:pt x="21476" y="16506"/>
                  </a:cubicBezTo>
                  <a:lnTo>
                    <a:pt x="34144" y="9267"/>
                  </a:lnTo>
                  <a:cubicBezTo>
                    <a:pt x="35020" y="8877"/>
                    <a:pt x="35611" y="8038"/>
                    <a:pt x="35668" y="7076"/>
                  </a:cubicBezTo>
                  <a:lnTo>
                    <a:pt x="35668" y="-163"/>
                  </a:lnTo>
                  <a:cubicBezTo>
                    <a:pt x="35601" y="818"/>
                    <a:pt x="35020" y="1685"/>
                    <a:pt x="34144" y="2123"/>
                  </a:cubicBezTo>
                  <a:lnTo>
                    <a:pt x="31763" y="3457"/>
                  </a:lnTo>
                  <a:lnTo>
                    <a:pt x="21476" y="9362"/>
                  </a:lnTo>
                  <a:cubicBezTo>
                    <a:pt x="19114" y="10705"/>
                    <a:pt x="16218" y="10705"/>
                    <a:pt x="13856" y="9362"/>
                  </a:cubicBezTo>
                  <a:lnTo>
                    <a:pt x="3569" y="3457"/>
                  </a:lnTo>
                  <a:lnTo>
                    <a:pt x="1187"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09" name="îSľïḓé">
              <a:extLst>
                <a:ext uri="{FF2B5EF4-FFF2-40B4-BE49-F238E27FC236}">
                  <a16:creationId xmlns:a16="http://schemas.microsoft.com/office/drawing/2014/main" id="{CB080CA6-48D3-487E-B017-66E668AEB09A}"/>
                </a:ext>
              </a:extLst>
            </p:cNvPr>
            <p:cNvSpPr/>
            <p:nvPr/>
          </p:nvSpPr>
          <p:spPr>
            <a:xfrm>
              <a:off x="5621569" y="4862207"/>
              <a:ext cx="109740" cy="63289"/>
            </a:xfrm>
            <a:custGeom>
              <a:avLst/>
              <a:gdLst>
                <a:gd name="connsiteX0" fmla="*/ -336 w 36052"/>
                <a:gd name="connsiteY0" fmla="*/ 10177 h 20792"/>
                <a:gd name="connsiteX1" fmla="*/ 1283 w 36052"/>
                <a:gd name="connsiteY1" fmla="*/ 12463 h 20792"/>
                <a:gd name="connsiteX2" fmla="*/ 3569 w 36052"/>
                <a:gd name="connsiteY2" fmla="*/ 13796 h 20792"/>
                <a:gd name="connsiteX3" fmla="*/ 13856 w 36052"/>
                <a:gd name="connsiteY3" fmla="*/ 19702 h 20792"/>
                <a:gd name="connsiteX4" fmla="*/ 21571 w 36052"/>
                <a:gd name="connsiteY4" fmla="*/ 19702 h 20792"/>
                <a:gd name="connsiteX5" fmla="*/ 31858 w 36052"/>
                <a:gd name="connsiteY5" fmla="*/ 13796 h 20792"/>
                <a:gd name="connsiteX6" fmla="*/ 34144 w 36052"/>
                <a:gd name="connsiteY6" fmla="*/ 12463 h 20792"/>
                <a:gd name="connsiteX7" fmla="*/ 35573 w 36052"/>
                <a:gd name="connsiteY7" fmla="*/ 9415 h 20792"/>
                <a:gd name="connsiteX8" fmla="*/ 34144 w 36052"/>
                <a:gd name="connsiteY8" fmla="*/ 7986 h 20792"/>
                <a:gd name="connsiteX9" fmla="*/ 21571 w 36052"/>
                <a:gd name="connsiteY9" fmla="*/ 652 h 20792"/>
                <a:gd name="connsiteX10" fmla="*/ 13856 w 36052"/>
                <a:gd name="connsiteY10" fmla="*/ 652 h 20792"/>
                <a:gd name="connsiteX11" fmla="*/ 1283 w 36052"/>
                <a:gd name="connsiteY11" fmla="*/ 7986 h 20792"/>
                <a:gd name="connsiteX12" fmla="*/ -336 w 36052"/>
                <a:gd name="connsiteY12" fmla="*/ 10177 h 20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792">
                  <a:moveTo>
                    <a:pt x="-336" y="10177"/>
                  </a:moveTo>
                  <a:cubicBezTo>
                    <a:pt x="-231" y="11167"/>
                    <a:pt x="378" y="12034"/>
                    <a:pt x="1283" y="12463"/>
                  </a:cubicBezTo>
                  <a:lnTo>
                    <a:pt x="3569" y="13796"/>
                  </a:lnTo>
                  <a:lnTo>
                    <a:pt x="13856" y="19702"/>
                  </a:lnTo>
                  <a:cubicBezTo>
                    <a:pt x="16275" y="20940"/>
                    <a:pt x="19152" y="20940"/>
                    <a:pt x="21571" y="19702"/>
                  </a:cubicBezTo>
                  <a:lnTo>
                    <a:pt x="31858" y="13796"/>
                  </a:lnTo>
                  <a:lnTo>
                    <a:pt x="34144" y="12463"/>
                  </a:lnTo>
                  <a:cubicBezTo>
                    <a:pt x="35382" y="12015"/>
                    <a:pt x="36021" y="10643"/>
                    <a:pt x="35573" y="9415"/>
                  </a:cubicBezTo>
                  <a:cubicBezTo>
                    <a:pt x="35325" y="8748"/>
                    <a:pt x="34811" y="8224"/>
                    <a:pt x="34144" y="7986"/>
                  </a:cubicBezTo>
                  <a:lnTo>
                    <a:pt x="21571" y="652"/>
                  </a:lnTo>
                  <a:cubicBezTo>
                    <a:pt x="19114" y="-434"/>
                    <a:pt x="16314" y="-434"/>
                    <a:pt x="13856" y="652"/>
                  </a:cubicBezTo>
                  <a:lnTo>
                    <a:pt x="1283" y="7986"/>
                  </a:lnTo>
                  <a:cubicBezTo>
                    <a:pt x="407" y="8396"/>
                    <a:pt x="-203" y="9224"/>
                    <a:pt x="-336" y="10177"/>
                  </a:cubicBezTo>
                  <a:close/>
                </a:path>
              </a:pathLst>
            </a:custGeom>
            <a:solidFill>
              <a:srgbClr val="FFFFFF"/>
            </a:solidFill>
            <a:ln w="9525" cap="flat">
              <a:noFill/>
              <a:prstDash val="solid"/>
              <a:miter/>
            </a:ln>
          </p:spPr>
          <p:txBody>
            <a:bodyPr rtlCol="0" anchor="ctr"/>
            <a:lstStyle/>
            <a:p>
              <a:endParaRPr lang="zh-CN" altLang="en-US"/>
            </a:p>
          </p:txBody>
        </p:sp>
        <p:sp>
          <p:nvSpPr>
            <p:cNvPr id="610" name="îṡliḋe">
              <a:extLst>
                <a:ext uri="{FF2B5EF4-FFF2-40B4-BE49-F238E27FC236}">
                  <a16:creationId xmlns:a16="http://schemas.microsoft.com/office/drawing/2014/main" id="{9B4634F1-59C4-4D48-861E-BC65E604013D}"/>
                </a:ext>
              </a:extLst>
            </p:cNvPr>
            <p:cNvSpPr/>
            <p:nvPr/>
          </p:nvSpPr>
          <p:spPr>
            <a:xfrm>
              <a:off x="5623672" y="4863236"/>
              <a:ext cx="105679" cy="61104"/>
            </a:xfrm>
            <a:custGeom>
              <a:avLst/>
              <a:gdLst>
                <a:gd name="connsiteX0" fmla="*/ 1164 w 34718"/>
                <a:gd name="connsiteY0" fmla="*/ 12029 h 20074"/>
                <a:gd name="connsiteX1" fmla="*/ 13356 w 34718"/>
                <a:gd name="connsiteY1" fmla="*/ 18983 h 20074"/>
                <a:gd name="connsiteX2" fmla="*/ 20785 w 34718"/>
                <a:gd name="connsiteY2" fmla="*/ 18983 h 20074"/>
                <a:gd name="connsiteX3" fmla="*/ 32882 w 34718"/>
                <a:gd name="connsiteY3" fmla="*/ 12029 h 20074"/>
                <a:gd name="connsiteX4" fmla="*/ 32882 w 34718"/>
                <a:gd name="connsiteY4" fmla="*/ 7743 h 20074"/>
                <a:gd name="connsiteX5" fmla="*/ 20785 w 34718"/>
                <a:gd name="connsiteY5" fmla="*/ 695 h 20074"/>
                <a:gd name="connsiteX6" fmla="*/ 13356 w 34718"/>
                <a:gd name="connsiteY6" fmla="*/ 695 h 20074"/>
                <a:gd name="connsiteX7" fmla="*/ 1164 w 34718"/>
                <a:gd name="connsiteY7" fmla="*/ 7743 h 20074"/>
                <a:gd name="connsiteX8" fmla="*/ 1164 w 34718"/>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18" h="20074">
                  <a:moveTo>
                    <a:pt x="1164" y="12029"/>
                  </a:moveTo>
                  <a:lnTo>
                    <a:pt x="13356" y="18983"/>
                  </a:lnTo>
                  <a:cubicBezTo>
                    <a:pt x="15680" y="20221"/>
                    <a:pt x="18461" y="20221"/>
                    <a:pt x="20785" y="18983"/>
                  </a:cubicBezTo>
                  <a:lnTo>
                    <a:pt x="32882" y="12029"/>
                  </a:lnTo>
                  <a:cubicBezTo>
                    <a:pt x="34882" y="10791"/>
                    <a:pt x="34882" y="8886"/>
                    <a:pt x="32882" y="7743"/>
                  </a:cubicBezTo>
                  <a:lnTo>
                    <a:pt x="20785" y="695"/>
                  </a:lnTo>
                  <a:cubicBezTo>
                    <a:pt x="18442" y="-448"/>
                    <a:pt x="15699" y="-448"/>
                    <a:pt x="13356" y="695"/>
                  </a:cubicBezTo>
                  <a:lnTo>
                    <a:pt x="1164" y="7743"/>
                  </a:lnTo>
                  <a:cubicBezTo>
                    <a:pt x="-836" y="8886"/>
                    <a:pt x="-836" y="10791"/>
                    <a:pt x="1164" y="12029"/>
                  </a:cubicBezTo>
                  <a:close/>
                </a:path>
              </a:pathLst>
            </a:custGeom>
            <a:solidFill>
              <a:srgbClr val="D1D9E8"/>
            </a:solidFill>
            <a:ln w="9525" cap="flat">
              <a:noFill/>
              <a:prstDash val="solid"/>
              <a:miter/>
            </a:ln>
          </p:spPr>
          <p:txBody>
            <a:bodyPr rtlCol="0" anchor="ctr"/>
            <a:lstStyle/>
            <a:p>
              <a:endParaRPr lang="zh-CN" altLang="en-US"/>
            </a:p>
          </p:txBody>
        </p:sp>
        <p:sp>
          <p:nvSpPr>
            <p:cNvPr id="611" name="iṣlîdê">
              <a:extLst>
                <a:ext uri="{FF2B5EF4-FFF2-40B4-BE49-F238E27FC236}">
                  <a16:creationId xmlns:a16="http://schemas.microsoft.com/office/drawing/2014/main" id="{8430C535-2B5F-41B9-9C60-19F3D87ACE9F}"/>
                </a:ext>
              </a:extLst>
            </p:cNvPr>
            <p:cNvSpPr/>
            <p:nvPr/>
          </p:nvSpPr>
          <p:spPr>
            <a:xfrm>
              <a:off x="5621569" y="4893678"/>
              <a:ext cx="109883" cy="53804"/>
            </a:xfrm>
            <a:custGeom>
              <a:avLst/>
              <a:gdLst>
                <a:gd name="connsiteX0" fmla="*/ -336 w 36099"/>
                <a:gd name="connsiteY0" fmla="*/ -163 h 17676"/>
                <a:gd name="connsiteX1" fmla="*/ -336 w 36099"/>
                <a:gd name="connsiteY1" fmla="*/ 7076 h 17676"/>
                <a:gd name="connsiteX2" fmla="*/ 1283 w 36099"/>
                <a:gd name="connsiteY2" fmla="*/ 9267 h 17676"/>
                <a:gd name="connsiteX3" fmla="*/ 13856 w 36099"/>
                <a:gd name="connsiteY3" fmla="*/ 16506 h 17676"/>
                <a:gd name="connsiteX4" fmla="*/ 21571 w 36099"/>
                <a:gd name="connsiteY4" fmla="*/ 16506 h 17676"/>
                <a:gd name="connsiteX5" fmla="*/ 34144 w 36099"/>
                <a:gd name="connsiteY5" fmla="*/ 9267 h 17676"/>
                <a:gd name="connsiteX6" fmla="*/ 35764 w 36099"/>
                <a:gd name="connsiteY6" fmla="*/ 6981 h 17676"/>
                <a:gd name="connsiteX7" fmla="*/ 35764 w 36099"/>
                <a:gd name="connsiteY7" fmla="*/ -163 h 17676"/>
                <a:gd name="connsiteX8" fmla="*/ 34144 w 36099"/>
                <a:gd name="connsiteY8" fmla="*/ 2124 h 17676"/>
                <a:gd name="connsiteX9" fmla="*/ 31858 w 36099"/>
                <a:gd name="connsiteY9" fmla="*/ 3457 h 17676"/>
                <a:gd name="connsiteX10" fmla="*/ 21571 w 36099"/>
                <a:gd name="connsiteY10" fmla="*/ 9362 h 17676"/>
                <a:gd name="connsiteX11" fmla="*/ 13856 w 36099"/>
                <a:gd name="connsiteY11" fmla="*/ 9362 h 17676"/>
                <a:gd name="connsiteX12" fmla="*/ 3569 w 36099"/>
                <a:gd name="connsiteY12" fmla="*/ 3457 h 17676"/>
                <a:gd name="connsiteX13" fmla="*/ 1283 w 36099"/>
                <a:gd name="connsiteY13" fmla="*/ 2124 h 17676"/>
                <a:gd name="connsiteX14" fmla="*/ -336 w 36099"/>
                <a:gd name="connsiteY14" fmla="*/ -163 h 17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676">
                  <a:moveTo>
                    <a:pt x="-336" y="-163"/>
                  </a:moveTo>
                  <a:lnTo>
                    <a:pt x="-336" y="7076"/>
                  </a:lnTo>
                  <a:cubicBezTo>
                    <a:pt x="-222" y="8039"/>
                    <a:pt x="397" y="8877"/>
                    <a:pt x="1283" y="9267"/>
                  </a:cubicBezTo>
                  <a:lnTo>
                    <a:pt x="13856" y="16506"/>
                  </a:lnTo>
                  <a:cubicBezTo>
                    <a:pt x="16256" y="17849"/>
                    <a:pt x="19171" y="17849"/>
                    <a:pt x="21571" y="16506"/>
                  </a:cubicBezTo>
                  <a:lnTo>
                    <a:pt x="34144" y="9267"/>
                  </a:lnTo>
                  <a:cubicBezTo>
                    <a:pt x="35087" y="8896"/>
                    <a:pt x="35725" y="8001"/>
                    <a:pt x="35764" y="6981"/>
                  </a:cubicBezTo>
                  <a:lnTo>
                    <a:pt x="35764" y="-163"/>
                  </a:lnTo>
                  <a:cubicBezTo>
                    <a:pt x="35697" y="847"/>
                    <a:pt x="35068" y="1733"/>
                    <a:pt x="34144" y="2124"/>
                  </a:cubicBezTo>
                  <a:lnTo>
                    <a:pt x="31858" y="3457"/>
                  </a:lnTo>
                  <a:lnTo>
                    <a:pt x="21571" y="9362"/>
                  </a:lnTo>
                  <a:cubicBezTo>
                    <a:pt x="19152" y="10601"/>
                    <a:pt x="16275" y="10601"/>
                    <a:pt x="13856" y="9362"/>
                  </a:cubicBezTo>
                  <a:lnTo>
                    <a:pt x="3569" y="3457"/>
                  </a:lnTo>
                  <a:lnTo>
                    <a:pt x="1283" y="2124"/>
                  </a:lnTo>
                  <a:cubicBezTo>
                    <a:pt x="378" y="1695"/>
                    <a:pt x="-231"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12" name="ïṩľîḓè">
              <a:extLst>
                <a:ext uri="{FF2B5EF4-FFF2-40B4-BE49-F238E27FC236}">
                  <a16:creationId xmlns:a16="http://schemas.microsoft.com/office/drawing/2014/main" id="{5904289F-9349-4BC6-A53C-5CE1184EACD1}"/>
                </a:ext>
              </a:extLst>
            </p:cNvPr>
            <p:cNvSpPr/>
            <p:nvPr/>
          </p:nvSpPr>
          <p:spPr>
            <a:xfrm>
              <a:off x="5698982" y="4906703"/>
              <a:ext cx="109740" cy="63445"/>
            </a:xfrm>
            <a:custGeom>
              <a:avLst/>
              <a:gdLst>
                <a:gd name="connsiteX0" fmla="*/ -336 w 36052"/>
                <a:gd name="connsiteY0" fmla="*/ 10227 h 20843"/>
                <a:gd name="connsiteX1" fmla="*/ 1188 w 36052"/>
                <a:gd name="connsiteY1" fmla="*/ 12513 h 20843"/>
                <a:gd name="connsiteX2" fmla="*/ 3569 w 36052"/>
                <a:gd name="connsiteY2" fmla="*/ 13846 h 20843"/>
                <a:gd name="connsiteX3" fmla="*/ 13856 w 36052"/>
                <a:gd name="connsiteY3" fmla="*/ 19752 h 20843"/>
                <a:gd name="connsiteX4" fmla="*/ 21476 w 36052"/>
                <a:gd name="connsiteY4" fmla="*/ 19752 h 20843"/>
                <a:gd name="connsiteX5" fmla="*/ 31763 w 36052"/>
                <a:gd name="connsiteY5" fmla="*/ 13846 h 20843"/>
                <a:gd name="connsiteX6" fmla="*/ 34144 w 36052"/>
                <a:gd name="connsiteY6" fmla="*/ 12513 h 20843"/>
                <a:gd name="connsiteX7" fmla="*/ 35573 w 36052"/>
                <a:gd name="connsiteY7" fmla="*/ 9465 h 20843"/>
                <a:gd name="connsiteX8" fmla="*/ 34144 w 36052"/>
                <a:gd name="connsiteY8" fmla="*/ 8036 h 20843"/>
                <a:gd name="connsiteX9" fmla="*/ 21476 w 36052"/>
                <a:gd name="connsiteY9" fmla="*/ 702 h 20843"/>
                <a:gd name="connsiteX10" fmla="*/ 13856 w 36052"/>
                <a:gd name="connsiteY10" fmla="*/ 702 h 20843"/>
                <a:gd name="connsiteX11" fmla="*/ 1188 w 36052"/>
                <a:gd name="connsiteY11" fmla="*/ 8036 h 20843"/>
                <a:gd name="connsiteX12" fmla="*/ -336 w 36052"/>
                <a:gd name="connsiteY12" fmla="*/ 10227 h 20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3">
                  <a:moveTo>
                    <a:pt x="-336" y="10227"/>
                  </a:moveTo>
                  <a:cubicBezTo>
                    <a:pt x="-270" y="11208"/>
                    <a:pt x="311" y="12075"/>
                    <a:pt x="1188" y="12513"/>
                  </a:cubicBezTo>
                  <a:lnTo>
                    <a:pt x="3569" y="13846"/>
                  </a:lnTo>
                  <a:lnTo>
                    <a:pt x="13856" y="19752"/>
                  </a:lnTo>
                  <a:cubicBezTo>
                    <a:pt x="16247" y="20990"/>
                    <a:pt x="19085" y="20990"/>
                    <a:pt x="21476" y="19752"/>
                  </a:cubicBezTo>
                  <a:lnTo>
                    <a:pt x="31763" y="13846"/>
                  </a:lnTo>
                  <a:lnTo>
                    <a:pt x="34144" y="12513"/>
                  </a:lnTo>
                  <a:cubicBezTo>
                    <a:pt x="35382" y="12065"/>
                    <a:pt x="36020" y="10694"/>
                    <a:pt x="35573" y="9465"/>
                  </a:cubicBezTo>
                  <a:cubicBezTo>
                    <a:pt x="35325" y="8798"/>
                    <a:pt x="34811" y="8274"/>
                    <a:pt x="34144"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613" name="ïşļîḍe">
              <a:extLst>
                <a:ext uri="{FF2B5EF4-FFF2-40B4-BE49-F238E27FC236}">
                  <a16:creationId xmlns:a16="http://schemas.microsoft.com/office/drawing/2014/main" id="{19EBC936-FBE5-494E-B7FE-55F953952D56}"/>
                </a:ext>
              </a:extLst>
            </p:cNvPr>
            <p:cNvSpPr/>
            <p:nvPr/>
          </p:nvSpPr>
          <p:spPr>
            <a:xfrm>
              <a:off x="5701012" y="4907887"/>
              <a:ext cx="106260" cy="61101"/>
            </a:xfrm>
            <a:custGeom>
              <a:avLst/>
              <a:gdLst>
                <a:gd name="connsiteX0" fmla="*/ 1378 w 34909"/>
                <a:gd name="connsiteY0" fmla="*/ 12029 h 20073"/>
                <a:gd name="connsiteX1" fmla="*/ 13475 w 34909"/>
                <a:gd name="connsiteY1" fmla="*/ 18982 h 20073"/>
                <a:gd name="connsiteX2" fmla="*/ 20904 w 34909"/>
                <a:gd name="connsiteY2" fmla="*/ 18982 h 20073"/>
                <a:gd name="connsiteX3" fmla="*/ 33001 w 34909"/>
                <a:gd name="connsiteY3" fmla="*/ 12029 h 20073"/>
                <a:gd name="connsiteX4" fmla="*/ 33001 w 34909"/>
                <a:gd name="connsiteY4" fmla="*/ 7743 h 20073"/>
                <a:gd name="connsiteX5" fmla="*/ 20904 w 34909"/>
                <a:gd name="connsiteY5" fmla="*/ 695 h 20073"/>
                <a:gd name="connsiteX6" fmla="*/ 13475 w 34909"/>
                <a:gd name="connsiteY6" fmla="*/ 695 h 20073"/>
                <a:gd name="connsiteX7" fmla="*/ 1378 w 34909"/>
                <a:gd name="connsiteY7" fmla="*/ 7743 h 20073"/>
                <a:gd name="connsiteX8" fmla="*/ 1378 w 34909"/>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909" h="20073">
                  <a:moveTo>
                    <a:pt x="1378" y="12029"/>
                  </a:moveTo>
                  <a:lnTo>
                    <a:pt x="13475" y="18982"/>
                  </a:lnTo>
                  <a:cubicBezTo>
                    <a:pt x="15799" y="20221"/>
                    <a:pt x="18580" y="20221"/>
                    <a:pt x="20904" y="18982"/>
                  </a:cubicBezTo>
                  <a:lnTo>
                    <a:pt x="33001" y="12029"/>
                  </a:lnTo>
                  <a:cubicBezTo>
                    <a:pt x="35097" y="10791"/>
                    <a:pt x="35097" y="8886"/>
                    <a:pt x="33001" y="7743"/>
                  </a:cubicBezTo>
                  <a:lnTo>
                    <a:pt x="20904" y="695"/>
                  </a:lnTo>
                  <a:cubicBezTo>
                    <a:pt x="18561" y="-448"/>
                    <a:pt x="15818" y="-448"/>
                    <a:pt x="13475" y="695"/>
                  </a:cubicBezTo>
                  <a:lnTo>
                    <a:pt x="1378" y="7743"/>
                  </a:lnTo>
                  <a:cubicBezTo>
                    <a:pt x="-908" y="8886"/>
                    <a:pt x="-908" y="10791"/>
                    <a:pt x="1378" y="12029"/>
                  </a:cubicBezTo>
                  <a:close/>
                </a:path>
              </a:pathLst>
            </a:custGeom>
            <a:solidFill>
              <a:srgbClr val="D1D9E8"/>
            </a:solidFill>
            <a:ln w="9525" cap="flat">
              <a:noFill/>
              <a:prstDash val="solid"/>
              <a:miter/>
            </a:ln>
          </p:spPr>
          <p:txBody>
            <a:bodyPr rtlCol="0" anchor="ctr"/>
            <a:lstStyle/>
            <a:p>
              <a:endParaRPr lang="zh-CN" altLang="en-US"/>
            </a:p>
          </p:txBody>
        </p:sp>
        <p:sp>
          <p:nvSpPr>
            <p:cNvPr id="614" name="isļîḋé">
              <a:extLst>
                <a:ext uri="{FF2B5EF4-FFF2-40B4-BE49-F238E27FC236}">
                  <a16:creationId xmlns:a16="http://schemas.microsoft.com/office/drawing/2014/main" id="{0E3F959E-C2A4-42E6-9D9E-34B06BE75793}"/>
                </a:ext>
              </a:extLst>
            </p:cNvPr>
            <p:cNvSpPr/>
            <p:nvPr/>
          </p:nvSpPr>
          <p:spPr>
            <a:xfrm>
              <a:off x="5698982" y="4938329"/>
              <a:ext cx="109594" cy="53801"/>
            </a:xfrm>
            <a:custGeom>
              <a:avLst/>
              <a:gdLst>
                <a:gd name="connsiteX0" fmla="*/ -336 w 36004"/>
                <a:gd name="connsiteY0" fmla="*/ -163 h 17675"/>
                <a:gd name="connsiteX1" fmla="*/ -336 w 36004"/>
                <a:gd name="connsiteY1" fmla="*/ 7076 h 17675"/>
                <a:gd name="connsiteX2" fmla="*/ 1188 w 36004"/>
                <a:gd name="connsiteY2" fmla="*/ 9267 h 17675"/>
                <a:gd name="connsiteX3" fmla="*/ 13856 w 36004"/>
                <a:gd name="connsiteY3" fmla="*/ 16506 h 17675"/>
                <a:gd name="connsiteX4" fmla="*/ 21476 w 36004"/>
                <a:gd name="connsiteY4" fmla="*/ 16506 h 17675"/>
                <a:gd name="connsiteX5" fmla="*/ 34144 w 36004"/>
                <a:gd name="connsiteY5" fmla="*/ 9267 h 17675"/>
                <a:gd name="connsiteX6" fmla="*/ 35668 w 36004"/>
                <a:gd name="connsiteY6" fmla="*/ 6981 h 17675"/>
                <a:gd name="connsiteX7" fmla="*/ 35668 w 36004"/>
                <a:gd name="connsiteY7" fmla="*/ -163 h 17675"/>
                <a:gd name="connsiteX8" fmla="*/ 34144 w 36004"/>
                <a:gd name="connsiteY8" fmla="*/ 2123 h 17675"/>
                <a:gd name="connsiteX9" fmla="*/ 31763 w 36004"/>
                <a:gd name="connsiteY9" fmla="*/ 3457 h 17675"/>
                <a:gd name="connsiteX10" fmla="*/ 21476 w 36004"/>
                <a:gd name="connsiteY10" fmla="*/ 9362 h 17675"/>
                <a:gd name="connsiteX11" fmla="*/ 13856 w 36004"/>
                <a:gd name="connsiteY11" fmla="*/ 9362 h 17675"/>
                <a:gd name="connsiteX12" fmla="*/ 3569 w 36004"/>
                <a:gd name="connsiteY12" fmla="*/ 3457 h 17675"/>
                <a:gd name="connsiteX13" fmla="*/ 1188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41" y="8019"/>
                    <a:pt x="340" y="8848"/>
                    <a:pt x="1188" y="9267"/>
                  </a:cubicBezTo>
                  <a:lnTo>
                    <a:pt x="13856" y="16506"/>
                  </a:lnTo>
                  <a:cubicBezTo>
                    <a:pt x="16218" y="17849"/>
                    <a:pt x="19114" y="17849"/>
                    <a:pt x="21476" y="16506"/>
                  </a:cubicBezTo>
                  <a:lnTo>
                    <a:pt x="34144" y="9267"/>
                  </a:lnTo>
                  <a:cubicBezTo>
                    <a:pt x="35021" y="8829"/>
                    <a:pt x="35602" y="7962"/>
                    <a:pt x="35668" y="6981"/>
                  </a:cubicBezTo>
                  <a:lnTo>
                    <a:pt x="35668" y="-163"/>
                  </a:lnTo>
                  <a:cubicBezTo>
                    <a:pt x="35602" y="818"/>
                    <a:pt x="35021" y="1685"/>
                    <a:pt x="34144" y="2123"/>
                  </a:cubicBezTo>
                  <a:lnTo>
                    <a:pt x="31763" y="3457"/>
                  </a:lnTo>
                  <a:lnTo>
                    <a:pt x="21476" y="9362"/>
                  </a:lnTo>
                  <a:cubicBezTo>
                    <a:pt x="19085" y="10601"/>
                    <a:pt x="16247" y="10601"/>
                    <a:pt x="13856" y="9362"/>
                  </a:cubicBezTo>
                  <a:lnTo>
                    <a:pt x="3569" y="3457"/>
                  </a:lnTo>
                  <a:lnTo>
                    <a:pt x="1188"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15" name="íṥ1îďe">
              <a:extLst>
                <a:ext uri="{FF2B5EF4-FFF2-40B4-BE49-F238E27FC236}">
                  <a16:creationId xmlns:a16="http://schemas.microsoft.com/office/drawing/2014/main" id="{60F2A2A9-0765-4B50-B849-578BC7A19F05}"/>
                </a:ext>
              </a:extLst>
            </p:cNvPr>
            <p:cNvSpPr/>
            <p:nvPr/>
          </p:nvSpPr>
          <p:spPr>
            <a:xfrm>
              <a:off x="5776395" y="4951354"/>
              <a:ext cx="109447" cy="63445"/>
            </a:xfrm>
            <a:custGeom>
              <a:avLst/>
              <a:gdLst>
                <a:gd name="connsiteX0" fmla="*/ -336 w 35956"/>
                <a:gd name="connsiteY0" fmla="*/ 10227 h 20843"/>
                <a:gd name="connsiteX1" fmla="*/ 1187 w 35956"/>
                <a:gd name="connsiteY1" fmla="*/ 12513 h 20843"/>
                <a:gd name="connsiteX2" fmla="*/ 3569 w 35956"/>
                <a:gd name="connsiteY2" fmla="*/ 13846 h 20843"/>
                <a:gd name="connsiteX3" fmla="*/ 13856 w 35956"/>
                <a:gd name="connsiteY3" fmla="*/ 19752 h 20843"/>
                <a:gd name="connsiteX4" fmla="*/ 21476 w 35956"/>
                <a:gd name="connsiteY4" fmla="*/ 19752 h 20843"/>
                <a:gd name="connsiteX5" fmla="*/ 31763 w 35956"/>
                <a:gd name="connsiteY5" fmla="*/ 13846 h 20843"/>
                <a:gd name="connsiteX6" fmla="*/ 34049 w 35956"/>
                <a:gd name="connsiteY6" fmla="*/ 12513 h 20843"/>
                <a:gd name="connsiteX7" fmla="*/ 35477 w 35956"/>
                <a:gd name="connsiteY7" fmla="*/ 9465 h 20843"/>
                <a:gd name="connsiteX8" fmla="*/ 34049 w 35956"/>
                <a:gd name="connsiteY8" fmla="*/ 8036 h 20843"/>
                <a:gd name="connsiteX9" fmla="*/ 21476 w 35956"/>
                <a:gd name="connsiteY9" fmla="*/ 702 h 20843"/>
                <a:gd name="connsiteX10" fmla="*/ 13856 w 35956"/>
                <a:gd name="connsiteY10" fmla="*/ 702 h 20843"/>
                <a:gd name="connsiteX11" fmla="*/ 1187 w 35956"/>
                <a:gd name="connsiteY11" fmla="*/ 8036 h 20843"/>
                <a:gd name="connsiteX12" fmla="*/ -336 w 35956"/>
                <a:gd name="connsiteY12" fmla="*/ 10227 h 20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956" h="20843">
                  <a:moveTo>
                    <a:pt x="-336" y="10227"/>
                  </a:moveTo>
                  <a:cubicBezTo>
                    <a:pt x="-270" y="11208"/>
                    <a:pt x="311" y="12075"/>
                    <a:pt x="1187" y="12513"/>
                  </a:cubicBezTo>
                  <a:lnTo>
                    <a:pt x="3569" y="13846"/>
                  </a:lnTo>
                  <a:lnTo>
                    <a:pt x="13856" y="19752"/>
                  </a:lnTo>
                  <a:cubicBezTo>
                    <a:pt x="16247" y="20990"/>
                    <a:pt x="19085" y="20990"/>
                    <a:pt x="21476" y="19752"/>
                  </a:cubicBezTo>
                  <a:lnTo>
                    <a:pt x="31763" y="13846"/>
                  </a:lnTo>
                  <a:lnTo>
                    <a:pt x="34049" y="12513"/>
                  </a:lnTo>
                  <a:cubicBezTo>
                    <a:pt x="35287" y="12065"/>
                    <a:pt x="35925" y="10693"/>
                    <a:pt x="35477" y="9465"/>
                  </a:cubicBezTo>
                  <a:cubicBezTo>
                    <a:pt x="35230" y="8798"/>
                    <a:pt x="34716" y="8274"/>
                    <a:pt x="34049" y="8036"/>
                  </a:cubicBezTo>
                  <a:lnTo>
                    <a:pt x="21476" y="702"/>
                  </a:lnTo>
                  <a:cubicBezTo>
                    <a:pt x="19066" y="-451"/>
                    <a:pt x="16266" y="-451"/>
                    <a:pt x="13856" y="702"/>
                  </a:cubicBezTo>
                  <a:lnTo>
                    <a:pt x="1187"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616" name="î$ļiḑè">
              <a:extLst>
                <a:ext uri="{FF2B5EF4-FFF2-40B4-BE49-F238E27FC236}">
                  <a16:creationId xmlns:a16="http://schemas.microsoft.com/office/drawing/2014/main" id="{88D6D309-2A1D-4D45-BE40-8E4949588D4A}"/>
                </a:ext>
              </a:extLst>
            </p:cNvPr>
            <p:cNvSpPr/>
            <p:nvPr/>
          </p:nvSpPr>
          <p:spPr>
            <a:xfrm>
              <a:off x="5778206" y="4952535"/>
              <a:ext cx="105898" cy="61101"/>
            </a:xfrm>
            <a:custGeom>
              <a:avLst/>
              <a:gdLst>
                <a:gd name="connsiteX0" fmla="*/ 1164 w 34790"/>
                <a:gd name="connsiteY0" fmla="*/ 12029 h 20073"/>
                <a:gd name="connsiteX1" fmla="*/ 13356 w 34790"/>
                <a:gd name="connsiteY1" fmla="*/ 18983 h 20073"/>
                <a:gd name="connsiteX2" fmla="*/ 20785 w 34790"/>
                <a:gd name="connsiteY2" fmla="*/ 18983 h 20073"/>
                <a:gd name="connsiteX3" fmla="*/ 32882 w 34790"/>
                <a:gd name="connsiteY3" fmla="*/ 12029 h 20073"/>
                <a:gd name="connsiteX4" fmla="*/ 32882 w 34790"/>
                <a:gd name="connsiteY4" fmla="*/ 7743 h 20073"/>
                <a:gd name="connsiteX5" fmla="*/ 20785 w 34790"/>
                <a:gd name="connsiteY5" fmla="*/ 695 h 20073"/>
                <a:gd name="connsiteX6" fmla="*/ 13356 w 34790"/>
                <a:gd name="connsiteY6" fmla="*/ 695 h 20073"/>
                <a:gd name="connsiteX7" fmla="*/ 1164 w 34790"/>
                <a:gd name="connsiteY7" fmla="*/ 7743 h 20073"/>
                <a:gd name="connsiteX8" fmla="*/ 1164 w 34790"/>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3">
                  <a:moveTo>
                    <a:pt x="1164" y="12029"/>
                  </a:moveTo>
                  <a:lnTo>
                    <a:pt x="13356" y="18983"/>
                  </a:lnTo>
                  <a:cubicBezTo>
                    <a:pt x="15680" y="20221"/>
                    <a:pt x="18461" y="20221"/>
                    <a:pt x="20785" y="18983"/>
                  </a:cubicBezTo>
                  <a:lnTo>
                    <a:pt x="32882" y="12029"/>
                  </a:lnTo>
                  <a:cubicBezTo>
                    <a:pt x="34978" y="10791"/>
                    <a:pt x="34978" y="8886"/>
                    <a:pt x="32882" y="7743"/>
                  </a:cubicBezTo>
                  <a:lnTo>
                    <a:pt x="20785" y="695"/>
                  </a:lnTo>
                  <a:cubicBezTo>
                    <a:pt x="18442" y="-448"/>
                    <a:pt x="15699" y="-448"/>
                    <a:pt x="13356" y="695"/>
                  </a:cubicBezTo>
                  <a:lnTo>
                    <a:pt x="1164" y="7743"/>
                  </a:lnTo>
                  <a:cubicBezTo>
                    <a:pt x="-836" y="8886"/>
                    <a:pt x="-836" y="10791"/>
                    <a:pt x="1164" y="12029"/>
                  </a:cubicBezTo>
                  <a:close/>
                </a:path>
              </a:pathLst>
            </a:custGeom>
            <a:solidFill>
              <a:srgbClr val="D1D9E8"/>
            </a:solidFill>
            <a:ln w="9525" cap="flat">
              <a:noFill/>
              <a:prstDash val="solid"/>
              <a:miter/>
            </a:ln>
          </p:spPr>
          <p:txBody>
            <a:bodyPr rtlCol="0" anchor="ctr"/>
            <a:lstStyle/>
            <a:p>
              <a:endParaRPr lang="zh-CN" altLang="en-US"/>
            </a:p>
          </p:txBody>
        </p:sp>
        <p:sp>
          <p:nvSpPr>
            <p:cNvPr id="617" name="íṡľîďe">
              <a:extLst>
                <a:ext uri="{FF2B5EF4-FFF2-40B4-BE49-F238E27FC236}">
                  <a16:creationId xmlns:a16="http://schemas.microsoft.com/office/drawing/2014/main" id="{4683B326-926F-4565-96B7-87D320D4241E}"/>
                </a:ext>
              </a:extLst>
            </p:cNvPr>
            <p:cNvSpPr/>
            <p:nvPr/>
          </p:nvSpPr>
          <p:spPr>
            <a:xfrm>
              <a:off x="5776395" y="4982978"/>
              <a:ext cx="109594" cy="53564"/>
            </a:xfrm>
            <a:custGeom>
              <a:avLst/>
              <a:gdLst>
                <a:gd name="connsiteX0" fmla="*/ -336 w 36004"/>
                <a:gd name="connsiteY0" fmla="*/ -163 h 17597"/>
                <a:gd name="connsiteX1" fmla="*/ -336 w 36004"/>
                <a:gd name="connsiteY1" fmla="*/ 7076 h 17597"/>
                <a:gd name="connsiteX2" fmla="*/ 1187 w 36004"/>
                <a:gd name="connsiteY2" fmla="*/ 9267 h 17597"/>
                <a:gd name="connsiteX3" fmla="*/ 13856 w 36004"/>
                <a:gd name="connsiteY3" fmla="*/ 16506 h 17597"/>
                <a:gd name="connsiteX4" fmla="*/ 21476 w 36004"/>
                <a:gd name="connsiteY4" fmla="*/ 16506 h 17597"/>
                <a:gd name="connsiteX5" fmla="*/ 34049 w 36004"/>
                <a:gd name="connsiteY5" fmla="*/ 9267 h 17597"/>
                <a:gd name="connsiteX6" fmla="*/ 35668 w 36004"/>
                <a:gd name="connsiteY6" fmla="*/ 6981 h 17597"/>
                <a:gd name="connsiteX7" fmla="*/ 35668 w 36004"/>
                <a:gd name="connsiteY7" fmla="*/ -163 h 17597"/>
                <a:gd name="connsiteX8" fmla="*/ 34049 w 36004"/>
                <a:gd name="connsiteY8" fmla="*/ 2123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7 w 36004"/>
                <a:gd name="connsiteY13" fmla="*/ 2123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7" y="9267"/>
                  </a:cubicBezTo>
                  <a:lnTo>
                    <a:pt x="13856" y="16506"/>
                  </a:lnTo>
                  <a:cubicBezTo>
                    <a:pt x="16247" y="17744"/>
                    <a:pt x="19085" y="17744"/>
                    <a:pt x="21476" y="16506"/>
                  </a:cubicBezTo>
                  <a:lnTo>
                    <a:pt x="34049" y="9267"/>
                  </a:lnTo>
                  <a:cubicBezTo>
                    <a:pt x="34963" y="8857"/>
                    <a:pt x="35582" y="7981"/>
                    <a:pt x="35668" y="6981"/>
                  </a:cubicBezTo>
                  <a:lnTo>
                    <a:pt x="35668" y="-163"/>
                  </a:lnTo>
                  <a:cubicBezTo>
                    <a:pt x="35601" y="847"/>
                    <a:pt x="34982" y="1733"/>
                    <a:pt x="34049" y="2123"/>
                  </a:cubicBezTo>
                  <a:lnTo>
                    <a:pt x="31763" y="3457"/>
                  </a:lnTo>
                  <a:lnTo>
                    <a:pt x="21476" y="9362"/>
                  </a:lnTo>
                  <a:cubicBezTo>
                    <a:pt x="19085" y="10601"/>
                    <a:pt x="16247" y="10601"/>
                    <a:pt x="13856" y="9362"/>
                  </a:cubicBezTo>
                  <a:lnTo>
                    <a:pt x="3569" y="3457"/>
                  </a:lnTo>
                  <a:lnTo>
                    <a:pt x="1187"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18" name="îşlïďê">
              <a:extLst>
                <a:ext uri="{FF2B5EF4-FFF2-40B4-BE49-F238E27FC236}">
                  <a16:creationId xmlns:a16="http://schemas.microsoft.com/office/drawing/2014/main" id="{BE9778D8-5F71-4834-8199-B96716F673B5}"/>
                </a:ext>
              </a:extLst>
            </p:cNvPr>
            <p:cNvSpPr/>
            <p:nvPr/>
          </p:nvSpPr>
          <p:spPr>
            <a:xfrm>
              <a:off x="5853516" y="4996003"/>
              <a:ext cx="109740" cy="63442"/>
            </a:xfrm>
            <a:custGeom>
              <a:avLst/>
              <a:gdLst>
                <a:gd name="connsiteX0" fmla="*/ -336 w 36052"/>
                <a:gd name="connsiteY0" fmla="*/ 10227 h 20842"/>
                <a:gd name="connsiteX1" fmla="*/ 1283 w 36052"/>
                <a:gd name="connsiteY1" fmla="*/ 12513 h 20842"/>
                <a:gd name="connsiteX2" fmla="*/ 3569 w 36052"/>
                <a:gd name="connsiteY2" fmla="*/ 13846 h 20842"/>
                <a:gd name="connsiteX3" fmla="*/ 13856 w 36052"/>
                <a:gd name="connsiteY3" fmla="*/ 19752 h 20842"/>
                <a:gd name="connsiteX4" fmla="*/ 21476 w 36052"/>
                <a:gd name="connsiteY4" fmla="*/ 19752 h 20842"/>
                <a:gd name="connsiteX5" fmla="*/ 31763 w 36052"/>
                <a:gd name="connsiteY5" fmla="*/ 13846 h 20842"/>
                <a:gd name="connsiteX6" fmla="*/ 34144 w 36052"/>
                <a:gd name="connsiteY6" fmla="*/ 12513 h 20842"/>
                <a:gd name="connsiteX7" fmla="*/ 35573 w 36052"/>
                <a:gd name="connsiteY7" fmla="*/ 9465 h 20842"/>
                <a:gd name="connsiteX8" fmla="*/ 34144 w 36052"/>
                <a:gd name="connsiteY8" fmla="*/ 8036 h 20842"/>
                <a:gd name="connsiteX9" fmla="*/ 21476 w 36052"/>
                <a:gd name="connsiteY9" fmla="*/ 702 h 20842"/>
                <a:gd name="connsiteX10" fmla="*/ 13856 w 36052"/>
                <a:gd name="connsiteY10" fmla="*/ 702 h 20842"/>
                <a:gd name="connsiteX11" fmla="*/ 1283 w 36052"/>
                <a:gd name="connsiteY11" fmla="*/ 8036 h 20842"/>
                <a:gd name="connsiteX12" fmla="*/ -336 w 36052"/>
                <a:gd name="connsiteY12" fmla="*/ 10227 h 20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2">
                  <a:moveTo>
                    <a:pt x="-336" y="10227"/>
                  </a:moveTo>
                  <a:cubicBezTo>
                    <a:pt x="-269" y="11236"/>
                    <a:pt x="350" y="12122"/>
                    <a:pt x="1283" y="12513"/>
                  </a:cubicBezTo>
                  <a:lnTo>
                    <a:pt x="3569" y="13846"/>
                  </a:lnTo>
                  <a:lnTo>
                    <a:pt x="13856" y="19752"/>
                  </a:lnTo>
                  <a:cubicBezTo>
                    <a:pt x="16247" y="20990"/>
                    <a:pt x="19085" y="20990"/>
                    <a:pt x="21476" y="19752"/>
                  </a:cubicBezTo>
                  <a:lnTo>
                    <a:pt x="31763" y="13846"/>
                  </a:lnTo>
                  <a:lnTo>
                    <a:pt x="34144" y="12513"/>
                  </a:lnTo>
                  <a:cubicBezTo>
                    <a:pt x="35382" y="12065"/>
                    <a:pt x="36021" y="10693"/>
                    <a:pt x="35573" y="9465"/>
                  </a:cubicBezTo>
                  <a:cubicBezTo>
                    <a:pt x="35325" y="8798"/>
                    <a:pt x="34811" y="8274"/>
                    <a:pt x="34144" y="8036"/>
                  </a:cubicBezTo>
                  <a:lnTo>
                    <a:pt x="21476" y="702"/>
                  </a:lnTo>
                  <a:cubicBezTo>
                    <a:pt x="19066" y="-451"/>
                    <a:pt x="16266" y="-451"/>
                    <a:pt x="13856" y="702"/>
                  </a:cubicBezTo>
                  <a:lnTo>
                    <a:pt x="1283" y="8036"/>
                  </a:lnTo>
                  <a:cubicBezTo>
                    <a:pt x="378" y="8417"/>
                    <a:pt x="-241" y="9255"/>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619" name="ïSḻiďe">
              <a:extLst>
                <a:ext uri="{FF2B5EF4-FFF2-40B4-BE49-F238E27FC236}">
                  <a16:creationId xmlns:a16="http://schemas.microsoft.com/office/drawing/2014/main" id="{7E62B54D-12EE-44FB-9EE6-EE308A611986}"/>
                </a:ext>
              </a:extLst>
            </p:cNvPr>
            <p:cNvSpPr/>
            <p:nvPr/>
          </p:nvSpPr>
          <p:spPr>
            <a:xfrm>
              <a:off x="5855400" y="4997184"/>
              <a:ext cx="105898" cy="61104"/>
            </a:xfrm>
            <a:custGeom>
              <a:avLst/>
              <a:gdLst>
                <a:gd name="connsiteX0" fmla="*/ 1235 w 34790"/>
                <a:gd name="connsiteY0" fmla="*/ 12029 h 20074"/>
                <a:gd name="connsiteX1" fmla="*/ 13332 w 34790"/>
                <a:gd name="connsiteY1" fmla="*/ 18983 h 20074"/>
                <a:gd name="connsiteX2" fmla="*/ 20761 w 34790"/>
                <a:gd name="connsiteY2" fmla="*/ 18983 h 20074"/>
                <a:gd name="connsiteX3" fmla="*/ 32954 w 34790"/>
                <a:gd name="connsiteY3" fmla="*/ 12029 h 20074"/>
                <a:gd name="connsiteX4" fmla="*/ 32954 w 34790"/>
                <a:gd name="connsiteY4" fmla="*/ 7743 h 20074"/>
                <a:gd name="connsiteX5" fmla="*/ 20761 w 34790"/>
                <a:gd name="connsiteY5" fmla="*/ 695 h 20074"/>
                <a:gd name="connsiteX6" fmla="*/ 13332 w 34790"/>
                <a:gd name="connsiteY6" fmla="*/ 695 h 20074"/>
                <a:gd name="connsiteX7" fmla="*/ 1235 w 34790"/>
                <a:gd name="connsiteY7" fmla="*/ 7743 h 20074"/>
                <a:gd name="connsiteX8" fmla="*/ 1235 w 34790"/>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4">
                  <a:moveTo>
                    <a:pt x="1235" y="12029"/>
                  </a:moveTo>
                  <a:lnTo>
                    <a:pt x="13332" y="18983"/>
                  </a:lnTo>
                  <a:cubicBezTo>
                    <a:pt x="15656" y="20221"/>
                    <a:pt x="18437" y="20221"/>
                    <a:pt x="20761" y="18983"/>
                  </a:cubicBezTo>
                  <a:lnTo>
                    <a:pt x="32954" y="12029"/>
                  </a:lnTo>
                  <a:cubicBezTo>
                    <a:pt x="34954" y="10791"/>
                    <a:pt x="34954" y="8886"/>
                    <a:pt x="32954" y="7743"/>
                  </a:cubicBezTo>
                  <a:lnTo>
                    <a:pt x="20761" y="695"/>
                  </a:lnTo>
                  <a:cubicBezTo>
                    <a:pt x="18419" y="-448"/>
                    <a:pt x="15675" y="-448"/>
                    <a:pt x="13332" y="695"/>
                  </a:cubicBezTo>
                  <a:lnTo>
                    <a:pt x="1235" y="7743"/>
                  </a:lnTo>
                  <a:cubicBezTo>
                    <a:pt x="-860" y="8886"/>
                    <a:pt x="-860" y="10601"/>
                    <a:pt x="1235" y="12029"/>
                  </a:cubicBezTo>
                  <a:close/>
                </a:path>
              </a:pathLst>
            </a:custGeom>
            <a:solidFill>
              <a:srgbClr val="D1D9E8"/>
            </a:solidFill>
            <a:ln w="9525" cap="flat">
              <a:noFill/>
              <a:prstDash val="solid"/>
              <a:miter/>
            </a:ln>
          </p:spPr>
          <p:txBody>
            <a:bodyPr rtlCol="0" anchor="ctr"/>
            <a:lstStyle/>
            <a:p>
              <a:endParaRPr lang="zh-CN" altLang="en-US"/>
            </a:p>
          </p:txBody>
        </p:sp>
        <p:sp>
          <p:nvSpPr>
            <p:cNvPr id="620" name="îṩľïḋè">
              <a:extLst>
                <a:ext uri="{FF2B5EF4-FFF2-40B4-BE49-F238E27FC236}">
                  <a16:creationId xmlns:a16="http://schemas.microsoft.com/office/drawing/2014/main" id="{33E5153B-1132-4428-92AF-849E36B8523C}"/>
                </a:ext>
              </a:extLst>
            </p:cNvPr>
            <p:cNvSpPr/>
            <p:nvPr/>
          </p:nvSpPr>
          <p:spPr>
            <a:xfrm>
              <a:off x="5853516" y="5027629"/>
              <a:ext cx="109594" cy="53564"/>
            </a:xfrm>
            <a:custGeom>
              <a:avLst/>
              <a:gdLst>
                <a:gd name="connsiteX0" fmla="*/ -336 w 36004"/>
                <a:gd name="connsiteY0" fmla="*/ -163 h 17597"/>
                <a:gd name="connsiteX1" fmla="*/ -336 w 36004"/>
                <a:gd name="connsiteY1" fmla="*/ 7076 h 17597"/>
                <a:gd name="connsiteX2" fmla="*/ 1283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3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283 w 36004"/>
                <a:gd name="connsiteY13" fmla="*/ 2123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48"/>
                    <a:pt x="378" y="8886"/>
                    <a:pt x="1283" y="9267"/>
                  </a:cubicBezTo>
                  <a:lnTo>
                    <a:pt x="13856" y="16506"/>
                  </a:lnTo>
                  <a:cubicBezTo>
                    <a:pt x="16247" y="17744"/>
                    <a:pt x="19085" y="17744"/>
                    <a:pt x="21476" y="16506"/>
                  </a:cubicBezTo>
                  <a:lnTo>
                    <a:pt x="34144" y="9267"/>
                  </a:lnTo>
                  <a:cubicBezTo>
                    <a:pt x="35011" y="8819"/>
                    <a:pt x="35583" y="7953"/>
                    <a:pt x="35668" y="6981"/>
                  </a:cubicBezTo>
                  <a:lnTo>
                    <a:pt x="35668" y="-163"/>
                  </a:lnTo>
                  <a:cubicBezTo>
                    <a:pt x="35602" y="818"/>
                    <a:pt x="35021" y="1685"/>
                    <a:pt x="34144" y="2123"/>
                  </a:cubicBezTo>
                  <a:lnTo>
                    <a:pt x="31763" y="3457"/>
                  </a:lnTo>
                  <a:lnTo>
                    <a:pt x="21476" y="9362"/>
                  </a:lnTo>
                  <a:cubicBezTo>
                    <a:pt x="19085" y="10600"/>
                    <a:pt x="16247" y="10600"/>
                    <a:pt x="13856" y="9362"/>
                  </a:cubicBezTo>
                  <a:lnTo>
                    <a:pt x="3569" y="3457"/>
                  </a:lnTo>
                  <a:lnTo>
                    <a:pt x="1283" y="2123"/>
                  </a:lnTo>
                  <a:cubicBezTo>
                    <a:pt x="350" y="1733"/>
                    <a:pt x="-269" y="847"/>
                    <a:pt x="-336" y="-163"/>
                  </a:cubicBezTo>
                  <a:close/>
                </a:path>
              </a:pathLst>
            </a:custGeom>
            <a:solidFill>
              <a:srgbClr val="BF4200"/>
            </a:solidFill>
            <a:ln w="9525" cap="flat">
              <a:noFill/>
              <a:prstDash val="solid"/>
              <a:miter/>
            </a:ln>
          </p:spPr>
          <p:txBody>
            <a:bodyPr rtlCol="0" anchor="ctr"/>
            <a:lstStyle/>
            <a:p>
              <a:endParaRPr lang="zh-CN" altLang="en-US"/>
            </a:p>
          </p:txBody>
        </p:sp>
        <p:sp>
          <p:nvSpPr>
            <p:cNvPr id="621" name="ïṡļídé">
              <a:extLst>
                <a:ext uri="{FF2B5EF4-FFF2-40B4-BE49-F238E27FC236}">
                  <a16:creationId xmlns:a16="http://schemas.microsoft.com/office/drawing/2014/main" id="{5C3D1EE0-2E15-41EA-87BC-C53FE833ED6B}"/>
                </a:ext>
              </a:extLst>
            </p:cNvPr>
            <p:cNvSpPr/>
            <p:nvPr/>
          </p:nvSpPr>
          <p:spPr>
            <a:xfrm>
              <a:off x="5930929" y="5040456"/>
              <a:ext cx="109594" cy="63639"/>
            </a:xfrm>
            <a:custGeom>
              <a:avLst/>
              <a:gdLst>
                <a:gd name="connsiteX0" fmla="*/ -336 w 36004"/>
                <a:gd name="connsiteY0" fmla="*/ 10291 h 20907"/>
                <a:gd name="connsiteX1" fmla="*/ 1188 w 36004"/>
                <a:gd name="connsiteY1" fmla="*/ 12577 h 20907"/>
                <a:gd name="connsiteX2" fmla="*/ 3569 w 36004"/>
                <a:gd name="connsiteY2" fmla="*/ 13911 h 20907"/>
                <a:gd name="connsiteX3" fmla="*/ 13856 w 36004"/>
                <a:gd name="connsiteY3" fmla="*/ 19816 h 20907"/>
                <a:gd name="connsiteX4" fmla="*/ 21476 w 36004"/>
                <a:gd name="connsiteY4" fmla="*/ 19816 h 20907"/>
                <a:gd name="connsiteX5" fmla="*/ 31763 w 36004"/>
                <a:gd name="connsiteY5" fmla="*/ 13911 h 20907"/>
                <a:gd name="connsiteX6" fmla="*/ 34144 w 36004"/>
                <a:gd name="connsiteY6" fmla="*/ 12577 h 20907"/>
                <a:gd name="connsiteX7" fmla="*/ 35668 w 36004"/>
                <a:gd name="connsiteY7" fmla="*/ 10291 h 20907"/>
                <a:gd name="connsiteX8" fmla="*/ 34144 w 36004"/>
                <a:gd name="connsiteY8" fmla="*/ 8101 h 20907"/>
                <a:gd name="connsiteX9" fmla="*/ 21476 w 36004"/>
                <a:gd name="connsiteY9" fmla="*/ 766 h 20907"/>
                <a:gd name="connsiteX10" fmla="*/ 13856 w 36004"/>
                <a:gd name="connsiteY10" fmla="*/ 766 h 20907"/>
                <a:gd name="connsiteX11" fmla="*/ 1188 w 36004"/>
                <a:gd name="connsiteY11" fmla="*/ 8101 h 20907"/>
                <a:gd name="connsiteX12" fmla="*/ -336 w 36004"/>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907">
                  <a:moveTo>
                    <a:pt x="-336" y="10291"/>
                  </a:moveTo>
                  <a:cubicBezTo>
                    <a:pt x="-270" y="11272"/>
                    <a:pt x="311" y="12139"/>
                    <a:pt x="1188" y="12577"/>
                  </a:cubicBezTo>
                  <a:lnTo>
                    <a:pt x="3569" y="13911"/>
                  </a:lnTo>
                  <a:lnTo>
                    <a:pt x="13856" y="19816"/>
                  </a:lnTo>
                  <a:cubicBezTo>
                    <a:pt x="16247" y="21054"/>
                    <a:pt x="19085" y="21054"/>
                    <a:pt x="21476" y="19816"/>
                  </a:cubicBezTo>
                  <a:lnTo>
                    <a:pt x="31763" y="13911"/>
                  </a:lnTo>
                  <a:lnTo>
                    <a:pt x="34144" y="12577"/>
                  </a:lnTo>
                  <a:cubicBezTo>
                    <a:pt x="35021" y="12139"/>
                    <a:pt x="35602" y="11272"/>
                    <a:pt x="35668" y="10291"/>
                  </a:cubicBezTo>
                  <a:cubicBezTo>
                    <a:pt x="35611" y="9339"/>
                    <a:pt x="35021" y="8491"/>
                    <a:pt x="34144" y="8101"/>
                  </a:cubicBezTo>
                  <a:lnTo>
                    <a:pt x="21476" y="766"/>
                  </a:lnTo>
                  <a:cubicBezTo>
                    <a:pt x="19085" y="-472"/>
                    <a:pt x="16247" y="-472"/>
                    <a:pt x="13856" y="766"/>
                  </a:cubicBezTo>
                  <a:lnTo>
                    <a:pt x="1188" y="8101"/>
                  </a:lnTo>
                  <a:cubicBezTo>
                    <a:pt x="311" y="8491"/>
                    <a:pt x="-279"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622" name="îṧliḋe">
              <a:extLst>
                <a:ext uri="{FF2B5EF4-FFF2-40B4-BE49-F238E27FC236}">
                  <a16:creationId xmlns:a16="http://schemas.microsoft.com/office/drawing/2014/main" id="{7AD30AA5-2E9C-4BC3-81CC-F2287C3A14D8}"/>
                </a:ext>
              </a:extLst>
            </p:cNvPr>
            <p:cNvSpPr/>
            <p:nvPr/>
          </p:nvSpPr>
          <p:spPr>
            <a:xfrm>
              <a:off x="5932747" y="5041835"/>
              <a:ext cx="106760" cy="61101"/>
            </a:xfrm>
            <a:custGeom>
              <a:avLst/>
              <a:gdLst>
                <a:gd name="connsiteX0" fmla="*/ 1448 w 35073"/>
                <a:gd name="connsiteY0" fmla="*/ 12029 h 20073"/>
                <a:gd name="connsiteX1" fmla="*/ 13640 w 35073"/>
                <a:gd name="connsiteY1" fmla="*/ 18983 h 20073"/>
                <a:gd name="connsiteX2" fmla="*/ 21069 w 35073"/>
                <a:gd name="connsiteY2" fmla="*/ 18983 h 20073"/>
                <a:gd name="connsiteX3" fmla="*/ 33166 w 35073"/>
                <a:gd name="connsiteY3" fmla="*/ 12029 h 20073"/>
                <a:gd name="connsiteX4" fmla="*/ 33166 w 35073"/>
                <a:gd name="connsiteY4" fmla="*/ 7648 h 20073"/>
                <a:gd name="connsiteX5" fmla="*/ 20498 w 35073"/>
                <a:gd name="connsiteY5" fmla="*/ 695 h 20073"/>
                <a:gd name="connsiteX6" fmla="*/ 13068 w 35073"/>
                <a:gd name="connsiteY6" fmla="*/ 695 h 20073"/>
                <a:gd name="connsiteX7" fmla="*/ 876 w 35073"/>
                <a:gd name="connsiteY7" fmla="*/ 7648 h 20073"/>
                <a:gd name="connsiteX8" fmla="*/ -29 w 35073"/>
                <a:gd name="connsiteY8" fmla="*/ 10886 h 20073"/>
                <a:gd name="connsiteX9" fmla="*/ 1448 w 35073"/>
                <a:gd name="connsiteY9"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5073" h="20073">
                  <a:moveTo>
                    <a:pt x="1448" y="12029"/>
                  </a:moveTo>
                  <a:lnTo>
                    <a:pt x="13640" y="18983"/>
                  </a:lnTo>
                  <a:cubicBezTo>
                    <a:pt x="15964" y="20221"/>
                    <a:pt x="18745" y="20221"/>
                    <a:pt x="21069" y="18983"/>
                  </a:cubicBezTo>
                  <a:lnTo>
                    <a:pt x="33166" y="12029"/>
                  </a:lnTo>
                  <a:cubicBezTo>
                    <a:pt x="35261" y="10791"/>
                    <a:pt x="35261" y="8886"/>
                    <a:pt x="33166" y="7648"/>
                  </a:cubicBezTo>
                  <a:lnTo>
                    <a:pt x="20498" y="695"/>
                  </a:lnTo>
                  <a:cubicBezTo>
                    <a:pt x="18154" y="-448"/>
                    <a:pt x="15411" y="-448"/>
                    <a:pt x="13068" y="695"/>
                  </a:cubicBezTo>
                  <a:lnTo>
                    <a:pt x="876" y="7648"/>
                  </a:lnTo>
                  <a:cubicBezTo>
                    <a:pt x="-267" y="8296"/>
                    <a:pt x="-676" y="9743"/>
                    <a:pt x="-29" y="10886"/>
                  </a:cubicBezTo>
                  <a:cubicBezTo>
                    <a:pt x="285" y="11458"/>
                    <a:pt x="819" y="11867"/>
                    <a:pt x="1448" y="12029"/>
                  </a:cubicBezTo>
                  <a:close/>
                </a:path>
              </a:pathLst>
            </a:custGeom>
            <a:solidFill>
              <a:srgbClr val="D1D9E8"/>
            </a:solidFill>
            <a:ln w="9525" cap="flat">
              <a:noFill/>
              <a:prstDash val="solid"/>
              <a:miter/>
            </a:ln>
          </p:spPr>
          <p:txBody>
            <a:bodyPr rtlCol="0" anchor="ctr"/>
            <a:lstStyle/>
            <a:p>
              <a:endParaRPr lang="zh-CN" altLang="en-US"/>
            </a:p>
          </p:txBody>
        </p:sp>
        <p:sp>
          <p:nvSpPr>
            <p:cNvPr id="623" name="ïṩlídè">
              <a:extLst>
                <a:ext uri="{FF2B5EF4-FFF2-40B4-BE49-F238E27FC236}">
                  <a16:creationId xmlns:a16="http://schemas.microsoft.com/office/drawing/2014/main" id="{86C90858-DFD3-48AA-95A3-B6B0EA3BF0BF}"/>
                </a:ext>
              </a:extLst>
            </p:cNvPr>
            <p:cNvSpPr/>
            <p:nvPr/>
          </p:nvSpPr>
          <p:spPr>
            <a:xfrm>
              <a:off x="5930929" y="5072277"/>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4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4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20"/>
                    <a:pt x="35582" y="7953"/>
                    <a:pt x="35668" y="6981"/>
                  </a:cubicBezTo>
                  <a:lnTo>
                    <a:pt x="35668" y="-163"/>
                  </a:lnTo>
                  <a:cubicBezTo>
                    <a:pt x="35602" y="818"/>
                    <a:pt x="35021" y="1685"/>
                    <a:pt x="34144" y="2124"/>
                  </a:cubicBezTo>
                  <a:lnTo>
                    <a:pt x="31763" y="3457"/>
                  </a:lnTo>
                  <a:lnTo>
                    <a:pt x="21476" y="9362"/>
                  </a:lnTo>
                  <a:cubicBezTo>
                    <a:pt x="19085" y="10601"/>
                    <a:pt x="16247" y="10601"/>
                    <a:pt x="13856" y="9362"/>
                  </a:cubicBezTo>
                  <a:lnTo>
                    <a:pt x="3569" y="3457"/>
                  </a:lnTo>
                  <a:lnTo>
                    <a:pt x="1188" y="2124"/>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24" name="iśļíḓê">
              <a:extLst>
                <a:ext uri="{FF2B5EF4-FFF2-40B4-BE49-F238E27FC236}">
                  <a16:creationId xmlns:a16="http://schemas.microsoft.com/office/drawing/2014/main" id="{8B720D40-DE24-4A09-8F98-497196DF7E34}"/>
                </a:ext>
              </a:extLst>
            </p:cNvPr>
            <p:cNvSpPr/>
            <p:nvPr/>
          </p:nvSpPr>
          <p:spPr>
            <a:xfrm>
              <a:off x="6008053" y="5085108"/>
              <a:ext cx="109883" cy="63639"/>
            </a:xfrm>
            <a:custGeom>
              <a:avLst/>
              <a:gdLst>
                <a:gd name="connsiteX0" fmla="*/ -336 w 36099"/>
                <a:gd name="connsiteY0" fmla="*/ 10291 h 20907"/>
                <a:gd name="connsiteX1" fmla="*/ 1283 w 36099"/>
                <a:gd name="connsiteY1" fmla="*/ 12577 h 20907"/>
                <a:gd name="connsiteX2" fmla="*/ 3569 w 36099"/>
                <a:gd name="connsiteY2" fmla="*/ 13911 h 20907"/>
                <a:gd name="connsiteX3" fmla="*/ 13856 w 36099"/>
                <a:gd name="connsiteY3" fmla="*/ 19816 h 20907"/>
                <a:gd name="connsiteX4" fmla="*/ 21571 w 36099"/>
                <a:gd name="connsiteY4" fmla="*/ 19816 h 20907"/>
                <a:gd name="connsiteX5" fmla="*/ 31858 w 36099"/>
                <a:gd name="connsiteY5" fmla="*/ 13911 h 20907"/>
                <a:gd name="connsiteX6" fmla="*/ 34144 w 36099"/>
                <a:gd name="connsiteY6" fmla="*/ 12577 h 20907"/>
                <a:gd name="connsiteX7" fmla="*/ 35764 w 36099"/>
                <a:gd name="connsiteY7" fmla="*/ 10291 h 20907"/>
                <a:gd name="connsiteX8" fmla="*/ 34144 w 36099"/>
                <a:gd name="connsiteY8" fmla="*/ 8100 h 20907"/>
                <a:gd name="connsiteX9" fmla="*/ 21571 w 36099"/>
                <a:gd name="connsiteY9" fmla="*/ 766 h 20907"/>
                <a:gd name="connsiteX10" fmla="*/ 13856 w 36099"/>
                <a:gd name="connsiteY10" fmla="*/ 766 h 20907"/>
                <a:gd name="connsiteX11" fmla="*/ 1283 w 36099"/>
                <a:gd name="connsiteY11" fmla="*/ 8100 h 20907"/>
                <a:gd name="connsiteX12" fmla="*/ -336 w 36099"/>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99" h="20907">
                  <a:moveTo>
                    <a:pt x="-336" y="10291"/>
                  </a:moveTo>
                  <a:cubicBezTo>
                    <a:pt x="-270" y="11301"/>
                    <a:pt x="359" y="12187"/>
                    <a:pt x="1283" y="12577"/>
                  </a:cubicBezTo>
                  <a:lnTo>
                    <a:pt x="3569" y="13911"/>
                  </a:lnTo>
                  <a:lnTo>
                    <a:pt x="13856" y="19816"/>
                  </a:lnTo>
                  <a:cubicBezTo>
                    <a:pt x="16275" y="21054"/>
                    <a:pt x="19152" y="21054"/>
                    <a:pt x="21571" y="19816"/>
                  </a:cubicBezTo>
                  <a:lnTo>
                    <a:pt x="31858" y="13911"/>
                  </a:lnTo>
                  <a:lnTo>
                    <a:pt x="34144" y="12577"/>
                  </a:lnTo>
                  <a:cubicBezTo>
                    <a:pt x="35049" y="12149"/>
                    <a:pt x="35659" y="11282"/>
                    <a:pt x="35764" y="10291"/>
                  </a:cubicBezTo>
                  <a:cubicBezTo>
                    <a:pt x="35649" y="9329"/>
                    <a:pt x="35030" y="8491"/>
                    <a:pt x="34144" y="8100"/>
                  </a:cubicBezTo>
                  <a:lnTo>
                    <a:pt x="21571" y="766"/>
                  </a:lnTo>
                  <a:cubicBezTo>
                    <a:pt x="19152" y="-472"/>
                    <a:pt x="16275" y="-472"/>
                    <a:pt x="13856" y="766"/>
                  </a:cubicBezTo>
                  <a:lnTo>
                    <a:pt x="1283" y="8100"/>
                  </a:lnTo>
                  <a:cubicBezTo>
                    <a:pt x="369" y="8462"/>
                    <a:pt x="-260" y="9310"/>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625" name="iṥlíḑe">
              <a:extLst>
                <a:ext uri="{FF2B5EF4-FFF2-40B4-BE49-F238E27FC236}">
                  <a16:creationId xmlns:a16="http://schemas.microsoft.com/office/drawing/2014/main" id="{A4FEA2B0-8C41-4D06-9801-8402CDD16068}"/>
                </a:ext>
              </a:extLst>
            </p:cNvPr>
            <p:cNvSpPr/>
            <p:nvPr/>
          </p:nvSpPr>
          <p:spPr>
            <a:xfrm>
              <a:off x="6009938" y="5086267"/>
              <a:ext cx="105895" cy="61101"/>
            </a:xfrm>
            <a:custGeom>
              <a:avLst/>
              <a:gdLst>
                <a:gd name="connsiteX0" fmla="*/ 1235 w 34789"/>
                <a:gd name="connsiteY0" fmla="*/ 12006 h 20073"/>
                <a:gd name="connsiteX1" fmla="*/ 13332 w 34789"/>
                <a:gd name="connsiteY1" fmla="*/ 19054 h 20073"/>
                <a:gd name="connsiteX2" fmla="*/ 20761 w 34789"/>
                <a:gd name="connsiteY2" fmla="*/ 19054 h 20073"/>
                <a:gd name="connsiteX3" fmla="*/ 32953 w 34789"/>
                <a:gd name="connsiteY3" fmla="*/ 12006 h 20073"/>
                <a:gd name="connsiteX4" fmla="*/ 32953 w 34789"/>
                <a:gd name="connsiteY4" fmla="*/ 7719 h 20073"/>
                <a:gd name="connsiteX5" fmla="*/ 20761 w 34789"/>
                <a:gd name="connsiteY5" fmla="*/ 766 h 20073"/>
                <a:gd name="connsiteX6" fmla="*/ 13332 w 34789"/>
                <a:gd name="connsiteY6" fmla="*/ 766 h 20073"/>
                <a:gd name="connsiteX7" fmla="*/ 1235 w 34789"/>
                <a:gd name="connsiteY7" fmla="*/ 7719 h 20073"/>
                <a:gd name="connsiteX8" fmla="*/ 1235 w 34789"/>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89" h="20073">
                  <a:moveTo>
                    <a:pt x="1235" y="12006"/>
                  </a:moveTo>
                  <a:lnTo>
                    <a:pt x="13332" y="19054"/>
                  </a:lnTo>
                  <a:cubicBezTo>
                    <a:pt x="15675" y="20197"/>
                    <a:pt x="18418" y="20197"/>
                    <a:pt x="20761" y="19054"/>
                  </a:cubicBezTo>
                  <a:lnTo>
                    <a:pt x="32953" y="12006"/>
                  </a:lnTo>
                  <a:cubicBezTo>
                    <a:pt x="34954" y="10863"/>
                    <a:pt x="34954" y="8957"/>
                    <a:pt x="32953" y="7719"/>
                  </a:cubicBezTo>
                  <a:lnTo>
                    <a:pt x="20761" y="766"/>
                  </a:lnTo>
                  <a:cubicBezTo>
                    <a:pt x="18437" y="-472"/>
                    <a:pt x="15656" y="-472"/>
                    <a:pt x="13332" y="766"/>
                  </a:cubicBezTo>
                  <a:lnTo>
                    <a:pt x="1235" y="7719"/>
                  </a:lnTo>
                  <a:cubicBezTo>
                    <a:pt x="-860" y="8957"/>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626" name="iṥ1ïḓé">
              <a:extLst>
                <a:ext uri="{FF2B5EF4-FFF2-40B4-BE49-F238E27FC236}">
                  <a16:creationId xmlns:a16="http://schemas.microsoft.com/office/drawing/2014/main" id="{F1D60A0B-47E4-4BE7-84CE-A60B4CC23647}"/>
                </a:ext>
              </a:extLst>
            </p:cNvPr>
            <p:cNvSpPr/>
            <p:nvPr/>
          </p:nvSpPr>
          <p:spPr>
            <a:xfrm>
              <a:off x="6008053" y="5116929"/>
              <a:ext cx="109015" cy="53564"/>
            </a:xfrm>
            <a:custGeom>
              <a:avLst/>
              <a:gdLst>
                <a:gd name="connsiteX0" fmla="*/ -336 w 35814"/>
                <a:gd name="connsiteY0" fmla="*/ -163 h 17597"/>
                <a:gd name="connsiteX1" fmla="*/ -336 w 35814"/>
                <a:gd name="connsiteY1" fmla="*/ 7076 h 17597"/>
                <a:gd name="connsiteX2" fmla="*/ 1283 w 35814"/>
                <a:gd name="connsiteY2" fmla="*/ 9267 h 17597"/>
                <a:gd name="connsiteX3" fmla="*/ 13856 w 35814"/>
                <a:gd name="connsiteY3" fmla="*/ 16506 h 17597"/>
                <a:gd name="connsiteX4" fmla="*/ 21571 w 35814"/>
                <a:gd name="connsiteY4" fmla="*/ 16506 h 17597"/>
                <a:gd name="connsiteX5" fmla="*/ 33858 w 35814"/>
                <a:gd name="connsiteY5" fmla="*/ 9362 h 17597"/>
                <a:gd name="connsiteX6" fmla="*/ 35478 w 35814"/>
                <a:gd name="connsiteY6" fmla="*/ 7076 h 17597"/>
                <a:gd name="connsiteX7" fmla="*/ 35478 w 35814"/>
                <a:gd name="connsiteY7" fmla="*/ -163 h 17597"/>
                <a:gd name="connsiteX8" fmla="*/ 33858 w 35814"/>
                <a:gd name="connsiteY8" fmla="*/ 2123 h 17597"/>
                <a:gd name="connsiteX9" fmla="*/ 31572 w 35814"/>
                <a:gd name="connsiteY9" fmla="*/ 3457 h 17597"/>
                <a:gd name="connsiteX10" fmla="*/ 21285 w 35814"/>
                <a:gd name="connsiteY10" fmla="*/ 9362 h 17597"/>
                <a:gd name="connsiteX11" fmla="*/ 13570 w 35814"/>
                <a:gd name="connsiteY11" fmla="*/ 9362 h 17597"/>
                <a:gd name="connsiteX12" fmla="*/ 3283 w 35814"/>
                <a:gd name="connsiteY12" fmla="*/ 3457 h 17597"/>
                <a:gd name="connsiteX13" fmla="*/ 997 w 35814"/>
                <a:gd name="connsiteY13" fmla="*/ 2123 h 17597"/>
                <a:gd name="connsiteX14" fmla="*/ -336 w 3581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5814" h="17597">
                  <a:moveTo>
                    <a:pt x="-336" y="-163"/>
                  </a:moveTo>
                  <a:lnTo>
                    <a:pt x="-336" y="7076"/>
                  </a:lnTo>
                  <a:cubicBezTo>
                    <a:pt x="-241" y="8048"/>
                    <a:pt x="387" y="8886"/>
                    <a:pt x="1283" y="9267"/>
                  </a:cubicBezTo>
                  <a:lnTo>
                    <a:pt x="13856" y="16506"/>
                  </a:lnTo>
                  <a:cubicBezTo>
                    <a:pt x="16275" y="17744"/>
                    <a:pt x="19152" y="17744"/>
                    <a:pt x="21571" y="16506"/>
                  </a:cubicBezTo>
                  <a:lnTo>
                    <a:pt x="33858" y="9362"/>
                  </a:lnTo>
                  <a:cubicBezTo>
                    <a:pt x="34744" y="8924"/>
                    <a:pt x="35354" y="8058"/>
                    <a:pt x="35478" y="7076"/>
                  </a:cubicBezTo>
                  <a:lnTo>
                    <a:pt x="35478" y="-163"/>
                  </a:lnTo>
                  <a:cubicBezTo>
                    <a:pt x="35373" y="828"/>
                    <a:pt x="34763" y="1695"/>
                    <a:pt x="33858" y="2123"/>
                  </a:cubicBezTo>
                  <a:lnTo>
                    <a:pt x="31572" y="3457"/>
                  </a:lnTo>
                  <a:lnTo>
                    <a:pt x="21285" y="9362"/>
                  </a:lnTo>
                  <a:cubicBezTo>
                    <a:pt x="18866" y="10601"/>
                    <a:pt x="15989" y="10601"/>
                    <a:pt x="13570" y="9362"/>
                  </a:cubicBezTo>
                  <a:lnTo>
                    <a:pt x="3283" y="3457"/>
                  </a:lnTo>
                  <a:lnTo>
                    <a:pt x="997" y="2123"/>
                  </a:lnTo>
                  <a:cubicBezTo>
                    <a:pt x="178" y="1647"/>
                    <a:pt x="-327" y="780"/>
                    <a:pt x="-336" y="-163"/>
                  </a:cubicBezTo>
                  <a:close/>
                </a:path>
              </a:pathLst>
            </a:custGeom>
            <a:solidFill>
              <a:srgbClr val="BF4200"/>
            </a:solidFill>
            <a:ln w="9525" cap="flat">
              <a:noFill/>
              <a:prstDash val="solid"/>
              <a:miter/>
            </a:ln>
          </p:spPr>
          <p:txBody>
            <a:bodyPr rtlCol="0" anchor="ctr"/>
            <a:lstStyle/>
            <a:p>
              <a:endParaRPr lang="zh-CN" altLang="en-US"/>
            </a:p>
          </p:txBody>
        </p:sp>
        <p:sp>
          <p:nvSpPr>
            <p:cNvPr id="627" name="îṡḻïḋe">
              <a:extLst>
                <a:ext uri="{FF2B5EF4-FFF2-40B4-BE49-F238E27FC236}">
                  <a16:creationId xmlns:a16="http://schemas.microsoft.com/office/drawing/2014/main" id="{1A52E50A-AA9B-435E-8219-9295451422B7}"/>
                </a:ext>
              </a:extLst>
            </p:cNvPr>
            <p:cNvSpPr/>
            <p:nvPr/>
          </p:nvSpPr>
          <p:spPr>
            <a:xfrm>
              <a:off x="6085464" y="5129759"/>
              <a:ext cx="109362" cy="63588"/>
            </a:xfrm>
            <a:custGeom>
              <a:avLst/>
              <a:gdLst>
                <a:gd name="connsiteX0" fmla="*/ -336 w 35928"/>
                <a:gd name="connsiteY0" fmla="*/ 10291 h 20890"/>
                <a:gd name="connsiteX1" fmla="*/ 1188 w 35928"/>
                <a:gd name="connsiteY1" fmla="*/ 12482 h 20890"/>
                <a:gd name="connsiteX2" fmla="*/ 3569 w 35928"/>
                <a:gd name="connsiteY2" fmla="*/ 13911 h 20890"/>
                <a:gd name="connsiteX3" fmla="*/ 13856 w 35928"/>
                <a:gd name="connsiteY3" fmla="*/ 19721 h 20890"/>
                <a:gd name="connsiteX4" fmla="*/ 21476 w 35928"/>
                <a:gd name="connsiteY4" fmla="*/ 19721 h 20890"/>
                <a:gd name="connsiteX5" fmla="*/ 31763 w 35928"/>
                <a:gd name="connsiteY5" fmla="*/ 13911 h 20890"/>
                <a:gd name="connsiteX6" fmla="*/ 34144 w 35928"/>
                <a:gd name="connsiteY6" fmla="*/ 12482 h 20890"/>
                <a:gd name="connsiteX7" fmla="*/ 35402 w 35928"/>
                <a:gd name="connsiteY7" fmla="*/ 9357 h 20890"/>
                <a:gd name="connsiteX8" fmla="*/ 34144 w 35928"/>
                <a:gd name="connsiteY8" fmla="*/ 8100 h 20890"/>
                <a:gd name="connsiteX9" fmla="*/ 21476 w 35928"/>
                <a:gd name="connsiteY9" fmla="*/ 766 h 20890"/>
                <a:gd name="connsiteX10" fmla="*/ 13856 w 35928"/>
                <a:gd name="connsiteY10" fmla="*/ 766 h 20890"/>
                <a:gd name="connsiteX11" fmla="*/ 1188 w 35928"/>
                <a:gd name="connsiteY11" fmla="*/ 8100 h 20890"/>
                <a:gd name="connsiteX12" fmla="*/ -336 w 35928"/>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928" h="20890">
                  <a:moveTo>
                    <a:pt x="-336" y="10291"/>
                  </a:moveTo>
                  <a:cubicBezTo>
                    <a:pt x="-298" y="11253"/>
                    <a:pt x="292" y="12110"/>
                    <a:pt x="1188" y="12482"/>
                  </a:cubicBezTo>
                  <a:lnTo>
                    <a:pt x="3569" y="13911"/>
                  </a:lnTo>
                  <a:lnTo>
                    <a:pt x="13856" y="19721"/>
                  </a:lnTo>
                  <a:cubicBezTo>
                    <a:pt x="16218" y="21064"/>
                    <a:pt x="19114" y="21064"/>
                    <a:pt x="21476" y="19721"/>
                  </a:cubicBezTo>
                  <a:lnTo>
                    <a:pt x="31763" y="13911"/>
                  </a:lnTo>
                  <a:lnTo>
                    <a:pt x="34144" y="12482"/>
                  </a:lnTo>
                  <a:cubicBezTo>
                    <a:pt x="35354" y="11967"/>
                    <a:pt x="35916" y="10567"/>
                    <a:pt x="35402" y="9357"/>
                  </a:cubicBezTo>
                  <a:cubicBezTo>
                    <a:pt x="35164" y="8796"/>
                    <a:pt x="34706" y="8338"/>
                    <a:pt x="34144" y="8100"/>
                  </a:cubicBezTo>
                  <a:lnTo>
                    <a:pt x="21476" y="766"/>
                  </a:lnTo>
                  <a:cubicBezTo>
                    <a:pt x="19085" y="-472"/>
                    <a:pt x="16247" y="-472"/>
                    <a:pt x="13856" y="766"/>
                  </a:cubicBezTo>
                  <a:lnTo>
                    <a:pt x="1188" y="8100"/>
                  </a:lnTo>
                  <a:cubicBezTo>
                    <a:pt x="292" y="8472"/>
                    <a:pt x="-298"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628" name="îṧḷîḋé">
              <a:extLst>
                <a:ext uri="{FF2B5EF4-FFF2-40B4-BE49-F238E27FC236}">
                  <a16:creationId xmlns:a16="http://schemas.microsoft.com/office/drawing/2014/main" id="{01824EF5-CDFF-40F4-829F-6868A6E02889}"/>
                </a:ext>
              </a:extLst>
            </p:cNvPr>
            <p:cNvSpPr/>
            <p:nvPr/>
          </p:nvSpPr>
          <p:spPr>
            <a:xfrm>
              <a:off x="6087348" y="5130919"/>
              <a:ext cx="105825" cy="61101"/>
            </a:xfrm>
            <a:custGeom>
              <a:avLst/>
              <a:gdLst>
                <a:gd name="connsiteX0" fmla="*/ 1235 w 34766"/>
                <a:gd name="connsiteY0" fmla="*/ 12006 h 20073"/>
                <a:gd name="connsiteX1" fmla="*/ 13332 w 34766"/>
                <a:gd name="connsiteY1" fmla="*/ 19054 h 20073"/>
                <a:gd name="connsiteX2" fmla="*/ 20761 w 34766"/>
                <a:gd name="connsiteY2" fmla="*/ 19054 h 20073"/>
                <a:gd name="connsiteX3" fmla="*/ 32858 w 34766"/>
                <a:gd name="connsiteY3" fmla="*/ 12006 h 20073"/>
                <a:gd name="connsiteX4" fmla="*/ 32858 w 34766"/>
                <a:gd name="connsiteY4" fmla="*/ 7719 h 20073"/>
                <a:gd name="connsiteX5" fmla="*/ 20761 w 34766"/>
                <a:gd name="connsiteY5" fmla="*/ 766 h 20073"/>
                <a:gd name="connsiteX6" fmla="*/ 13332 w 34766"/>
                <a:gd name="connsiteY6" fmla="*/ 766 h 20073"/>
                <a:gd name="connsiteX7" fmla="*/ 1235 w 34766"/>
                <a:gd name="connsiteY7" fmla="*/ 7719 h 20073"/>
                <a:gd name="connsiteX8" fmla="*/ 1235 w 34766"/>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6" h="20073">
                  <a:moveTo>
                    <a:pt x="1235" y="12006"/>
                  </a:moveTo>
                  <a:lnTo>
                    <a:pt x="13332" y="19054"/>
                  </a:lnTo>
                  <a:cubicBezTo>
                    <a:pt x="15675" y="20197"/>
                    <a:pt x="18419" y="20197"/>
                    <a:pt x="20761" y="19054"/>
                  </a:cubicBezTo>
                  <a:lnTo>
                    <a:pt x="32858" y="12006"/>
                  </a:lnTo>
                  <a:cubicBezTo>
                    <a:pt x="34954" y="10863"/>
                    <a:pt x="34954" y="8958"/>
                    <a:pt x="32858" y="7719"/>
                  </a:cubicBezTo>
                  <a:lnTo>
                    <a:pt x="20761" y="766"/>
                  </a:lnTo>
                  <a:cubicBezTo>
                    <a:pt x="18437" y="-472"/>
                    <a:pt x="15656" y="-472"/>
                    <a:pt x="13332" y="766"/>
                  </a:cubicBezTo>
                  <a:lnTo>
                    <a:pt x="1235" y="7719"/>
                  </a:lnTo>
                  <a:cubicBezTo>
                    <a:pt x="-860" y="8958"/>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629" name="ï$ľiḑê">
              <a:extLst>
                <a:ext uri="{FF2B5EF4-FFF2-40B4-BE49-F238E27FC236}">
                  <a16:creationId xmlns:a16="http://schemas.microsoft.com/office/drawing/2014/main" id="{E49469B0-52B4-4C30-98A4-87D2551D6F5E}"/>
                </a:ext>
              </a:extLst>
            </p:cNvPr>
            <p:cNvSpPr/>
            <p:nvPr/>
          </p:nvSpPr>
          <p:spPr>
            <a:xfrm>
              <a:off x="6085464" y="5161577"/>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028 h 17597"/>
                <a:gd name="connsiteX9" fmla="*/ 31763 w 36004"/>
                <a:gd name="connsiteY9" fmla="*/ 3457 h 17597"/>
                <a:gd name="connsiteX10" fmla="*/ 21476 w 36004"/>
                <a:gd name="connsiteY10" fmla="*/ 9267 h 17597"/>
                <a:gd name="connsiteX11" fmla="*/ 13856 w 36004"/>
                <a:gd name="connsiteY11" fmla="*/ 9267 h 17597"/>
                <a:gd name="connsiteX12" fmla="*/ 3569 w 36004"/>
                <a:gd name="connsiteY12" fmla="*/ 3457 h 17597"/>
                <a:gd name="connsiteX13" fmla="*/ 1188 w 36004"/>
                <a:gd name="connsiteY13" fmla="*/ 2028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3" y="7953"/>
                    <a:pt x="35668" y="6981"/>
                  </a:cubicBezTo>
                  <a:lnTo>
                    <a:pt x="35668" y="-163"/>
                  </a:lnTo>
                  <a:cubicBezTo>
                    <a:pt x="35630" y="799"/>
                    <a:pt x="35040" y="1656"/>
                    <a:pt x="34144" y="2028"/>
                  </a:cubicBezTo>
                  <a:lnTo>
                    <a:pt x="31763" y="3457"/>
                  </a:lnTo>
                  <a:lnTo>
                    <a:pt x="21476" y="9267"/>
                  </a:lnTo>
                  <a:cubicBezTo>
                    <a:pt x="19114" y="10610"/>
                    <a:pt x="16218" y="10610"/>
                    <a:pt x="13856" y="9267"/>
                  </a:cubicBezTo>
                  <a:lnTo>
                    <a:pt x="3569" y="3457"/>
                  </a:lnTo>
                  <a:lnTo>
                    <a:pt x="1188" y="2028"/>
                  </a:lnTo>
                  <a:cubicBezTo>
                    <a:pt x="292" y="1656"/>
                    <a:pt x="-298" y="799"/>
                    <a:pt x="-336" y="-163"/>
                  </a:cubicBezTo>
                  <a:close/>
                </a:path>
              </a:pathLst>
            </a:custGeom>
            <a:solidFill>
              <a:srgbClr val="BF4200"/>
            </a:solidFill>
            <a:ln w="9525" cap="flat">
              <a:noFill/>
              <a:prstDash val="solid"/>
              <a:miter/>
            </a:ln>
          </p:spPr>
          <p:txBody>
            <a:bodyPr rtlCol="0" anchor="ctr"/>
            <a:lstStyle/>
            <a:p>
              <a:endParaRPr lang="zh-CN" altLang="en-US"/>
            </a:p>
          </p:txBody>
        </p:sp>
        <p:sp>
          <p:nvSpPr>
            <p:cNvPr id="630" name="ïṥḷïdé">
              <a:extLst>
                <a:ext uri="{FF2B5EF4-FFF2-40B4-BE49-F238E27FC236}">
                  <a16:creationId xmlns:a16="http://schemas.microsoft.com/office/drawing/2014/main" id="{BCE871EA-5762-420C-BA15-8937A527E99D}"/>
                </a:ext>
              </a:extLst>
            </p:cNvPr>
            <p:cNvSpPr/>
            <p:nvPr/>
          </p:nvSpPr>
          <p:spPr>
            <a:xfrm>
              <a:off x="6162588" y="5174407"/>
              <a:ext cx="109883" cy="63639"/>
            </a:xfrm>
            <a:custGeom>
              <a:avLst/>
              <a:gdLst>
                <a:gd name="connsiteX0" fmla="*/ -336 w 36099"/>
                <a:gd name="connsiteY0" fmla="*/ 10291 h 20907"/>
                <a:gd name="connsiteX1" fmla="*/ 1283 w 36099"/>
                <a:gd name="connsiteY1" fmla="*/ 12577 h 20907"/>
                <a:gd name="connsiteX2" fmla="*/ 3569 w 36099"/>
                <a:gd name="connsiteY2" fmla="*/ 13910 h 20907"/>
                <a:gd name="connsiteX3" fmla="*/ 13856 w 36099"/>
                <a:gd name="connsiteY3" fmla="*/ 19816 h 20907"/>
                <a:gd name="connsiteX4" fmla="*/ 21571 w 36099"/>
                <a:gd name="connsiteY4" fmla="*/ 19816 h 20907"/>
                <a:gd name="connsiteX5" fmla="*/ 31858 w 36099"/>
                <a:gd name="connsiteY5" fmla="*/ 13910 h 20907"/>
                <a:gd name="connsiteX6" fmla="*/ 34144 w 36099"/>
                <a:gd name="connsiteY6" fmla="*/ 12577 h 20907"/>
                <a:gd name="connsiteX7" fmla="*/ 35764 w 36099"/>
                <a:gd name="connsiteY7" fmla="*/ 10291 h 20907"/>
                <a:gd name="connsiteX8" fmla="*/ 34144 w 36099"/>
                <a:gd name="connsiteY8" fmla="*/ 8100 h 20907"/>
                <a:gd name="connsiteX9" fmla="*/ 21571 w 36099"/>
                <a:gd name="connsiteY9" fmla="*/ 766 h 20907"/>
                <a:gd name="connsiteX10" fmla="*/ 13856 w 36099"/>
                <a:gd name="connsiteY10" fmla="*/ 766 h 20907"/>
                <a:gd name="connsiteX11" fmla="*/ 1283 w 36099"/>
                <a:gd name="connsiteY11" fmla="*/ 8100 h 20907"/>
                <a:gd name="connsiteX12" fmla="*/ -336 w 36099"/>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99" h="20907">
                  <a:moveTo>
                    <a:pt x="-336" y="10291"/>
                  </a:moveTo>
                  <a:cubicBezTo>
                    <a:pt x="-231" y="11282"/>
                    <a:pt x="378" y="12148"/>
                    <a:pt x="1283" y="12577"/>
                  </a:cubicBezTo>
                  <a:lnTo>
                    <a:pt x="3569" y="13910"/>
                  </a:lnTo>
                  <a:lnTo>
                    <a:pt x="13856" y="19816"/>
                  </a:lnTo>
                  <a:cubicBezTo>
                    <a:pt x="16275" y="21054"/>
                    <a:pt x="19152" y="21054"/>
                    <a:pt x="21571" y="19816"/>
                  </a:cubicBezTo>
                  <a:lnTo>
                    <a:pt x="31858" y="13910"/>
                  </a:lnTo>
                  <a:lnTo>
                    <a:pt x="34144" y="12577"/>
                  </a:lnTo>
                  <a:cubicBezTo>
                    <a:pt x="35049" y="12148"/>
                    <a:pt x="35659" y="11282"/>
                    <a:pt x="35764" y="10291"/>
                  </a:cubicBezTo>
                  <a:cubicBezTo>
                    <a:pt x="35649" y="9329"/>
                    <a:pt x="35030" y="8491"/>
                    <a:pt x="34144" y="8100"/>
                  </a:cubicBezTo>
                  <a:lnTo>
                    <a:pt x="21571" y="766"/>
                  </a:lnTo>
                  <a:cubicBezTo>
                    <a:pt x="19152" y="-472"/>
                    <a:pt x="16275" y="-472"/>
                    <a:pt x="13856" y="766"/>
                  </a:cubicBezTo>
                  <a:lnTo>
                    <a:pt x="1283" y="8100"/>
                  </a:lnTo>
                  <a:cubicBezTo>
                    <a:pt x="397" y="8491"/>
                    <a:pt x="-222"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631" name="í$1idê">
              <a:extLst>
                <a:ext uri="{FF2B5EF4-FFF2-40B4-BE49-F238E27FC236}">
                  <a16:creationId xmlns:a16="http://schemas.microsoft.com/office/drawing/2014/main" id="{A4A8BBE0-2AAC-412A-BF69-594C6D620E0E}"/>
                </a:ext>
              </a:extLst>
            </p:cNvPr>
            <p:cNvSpPr/>
            <p:nvPr/>
          </p:nvSpPr>
          <p:spPr>
            <a:xfrm>
              <a:off x="6164907" y="5175567"/>
              <a:ext cx="106330" cy="61104"/>
            </a:xfrm>
            <a:custGeom>
              <a:avLst/>
              <a:gdLst>
                <a:gd name="connsiteX0" fmla="*/ 1378 w 34932"/>
                <a:gd name="connsiteY0" fmla="*/ 12006 h 20074"/>
                <a:gd name="connsiteX1" fmla="*/ 13475 w 34932"/>
                <a:gd name="connsiteY1" fmla="*/ 19054 h 20074"/>
                <a:gd name="connsiteX2" fmla="*/ 21000 w 34932"/>
                <a:gd name="connsiteY2" fmla="*/ 19054 h 20074"/>
                <a:gd name="connsiteX3" fmla="*/ 33096 w 34932"/>
                <a:gd name="connsiteY3" fmla="*/ 12006 h 20074"/>
                <a:gd name="connsiteX4" fmla="*/ 33096 w 34932"/>
                <a:gd name="connsiteY4" fmla="*/ 7719 h 20074"/>
                <a:gd name="connsiteX5" fmla="*/ 21000 w 34932"/>
                <a:gd name="connsiteY5" fmla="*/ 766 h 20074"/>
                <a:gd name="connsiteX6" fmla="*/ 13475 w 34932"/>
                <a:gd name="connsiteY6" fmla="*/ 766 h 20074"/>
                <a:gd name="connsiteX7" fmla="*/ 1378 w 34932"/>
                <a:gd name="connsiteY7" fmla="*/ 7719 h 20074"/>
                <a:gd name="connsiteX8" fmla="*/ 1378 w 34932"/>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932" h="20074">
                  <a:moveTo>
                    <a:pt x="1378" y="12006"/>
                  </a:moveTo>
                  <a:lnTo>
                    <a:pt x="13475" y="19054"/>
                  </a:lnTo>
                  <a:cubicBezTo>
                    <a:pt x="15856" y="20197"/>
                    <a:pt x="18618" y="20197"/>
                    <a:pt x="21000" y="19054"/>
                  </a:cubicBezTo>
                  <a:lnTo>
                    <a:pt x="33096" y="12006"/>
                  </a:lnTo>
                  <a:cubicBezTo>
                    <a:pt x="35097" y="10863"/>
                    <a:pt x="35097" y="8958"/>
                    <a:pt x="33096" y="7719"/>
                  </a:cubicBezTo>
                  <a:lnTo>
                    <a:pt x="21000" y="766"/>
                  </a:lnTo>
                  <a:cubicBezTo>
                    <a:pt x="18647" y="-472"/>
                    <a:pt x="15828" y="-472"/>
                    <a:pt x="13475" y="766"/>
                  </a:cubicBezTo>
                  <a:lnTo>
                    <a:pt x="1378" y="7719"/>
                  </a:lnTo>
                  <a:cubicBezTo>
                    <a:pt x="-908" y="9148"/>
                    <a:pt x="-908" y="10863"/>
                    <a:pt x="1378" y="12006"/>
                  </a:cubicBezTo>
                  <a:close/>
                </a:path>
              </a:pathLst>
            </a:custGeom>
            <a:solidFill>
              <a:srgbClr val="D1D9E8"/>
            </a:solidFill>
            <a:ln w="9525" cap="flat">
              <a:noFill/>
              <a:prstDash val="solid"/>
              <a:miter/>
            </a:ln>
          </p:spPr>
          <p:txBody>
            <a:bodyPr rtlCol="0" anchor="ctr"/>
            <a:lstStyle/>
            <a:p>
              <a:endParaRPr lang="zh-CN" altLang="en-US"/>
            </a:p>
          </p:txBody>
        </p:sp>
        <p:sp>
          <p:nvSpPr>
            <p:cNvPr id="632" name="išļîḓé">
              <a:extLst>
                <a:ext uri="{FF2B5EF4-FFF2-40B4-BE49-F238E27FC236}">
                  <a16:creationId xmlns:a16="http://schemas.microsoft.com/office/drawing/2014/main" id="{3ADA038C-636B-4D3B-8AD0-476FC5796898}"/>
                </a:ext>
              </a:extLst>
            </p:cNvPr>
            <p:cNvSpPr/>
            <p:nvPr/>
          </p:nvSpPr>
          <p:spPr>
            <a:xfrm>
              <a:off x="6162588" y="5206229"/>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4 w 36099"/>
                <a:gd name="connsiteY6" fmla="*/ 6981 h 17597"/>
                <a:gd name="connsiteX7" fmla="*/ 35764 w 36099"/>
                <a:gd name="connsiteY7" fmla="*/ -163 h 17597"/>
                <a:gd name="connsiteX8" fmla="*/ 34144 w 36099"/>
                <a:gd name="connsiteY8" fmla="*/ 2124 h 17597"/>
                <a:gd name="connsiteX9" fmla="*/ 31858 w 36099"/>
                <a:gd name="connsiteY9" fmla="*/ 3457 h 17597"/>
                <a:gd name="connsiteX10" fmla="*/ 21571 w 36099"/>
                <a:gd name="connsiteY10" fmla="*/ 9362 h 17597"/>
                <a:gd name="connsiteX11" fmla="*/ 13856 w 36099"/>
                <a:gd name="connsiteY11" fmla="*/ 9362 h 17597"/>
                <a:gd name="connsiteX12" fmla="*/ 3569 w 36099"/>
                <a:gd name="connsiteY12" fmla="*/ 3457 h 17597"/>
                <a:gd name="connsiteX13" fmla="*/ 1283 w 36099"/>
                <a:gd name="connsiteY13" fmla="*/ 2124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03" y="8029"/>
                    <a:pt x="407" y="8858"/>
                    <a:pt x="1283" y="9267"/>
                  </a:cubicBezTo>
                  <a:lnTo>
                    <a:pt x="13856" y="16506"/>
                  </a:lnTo>
                  <a:cubicBezTo>
                    <a:pt x="16275" y="17744"/>
                    <a:pt x="19152" y="17744"/>
                    <a:pt x="21571" y="16506"/>
                  </a:cubicBezTo>
                  <a:lnTo>
                    <a:pt x="34144" y="9267"/>
                  </a:lnTo>
                  <a:cubicBezTo>
                    <a:pt x="35030" y="8829"/>
                    <a:pt x="35640" y="7972"/>
                    <a:pt x="35764" y="6981"/>
                  </a:cubicBezTo>
                  <a:lnTo>
                    <a:pt x="35764" y="-163"/>
                  </a:lnTo>
                  <a:cubicBezTo>
                    <a:pt x="35659" y="828"/>
                    <a:pt x="35049" y="1695"/>
                    <a:pt x="34144" y="2124"/>
                  </a:cubicBezTo>
                  <a:lnTo>
                    <a:pt x="31858" y="3457"/>
                  </a:lnTo>
                  <a:lnTo>
                    <a:pt x="21571" y="9362"/>
                  </a:lnTo>
                  <a:cubicBezTo>
                    <a:pt x="19152" y="10601"/>
                    <a:pt x="16275" y="10601"/>
                    <a:pt x="13856" y="9362"/>
                  </a:cubicBezTo>
                  <a:lnTo>
                    <a:pt x="3569" y="3457"/>
                  </a:lnTo>
                  <a:lnTo>
                    <a:pt x="1283" y="2124"/>
                  </a:lnTo>
                  <a:cubicBezTo>
                    <a:pt x="378" y="1695"/>
                    <a:pt x="-231"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33" name="íṡ1íḓê">
              <a:extLst>
                <a:ext uri="{FF2B5EF4-FFF2-40B4-BE49-F238E27FC236}">
                  <a16:creationId xmlns:a16="http://schemas.microsoft.com/office/drawing/2014/main" id="{0B87FBBC-EF02-4613-A4D9-E95EE405E58C}"/>
                </a:ext>
              </a:extLst>
            </p:cNvPr>
            <p:cNvSpPr/>
            <p:nvPr/>
          </p:nvSpPr>
          <p:spPr>
            <a:xfrm>
              <a:off x="6240001" y="5219056"/>
              <a:ext cx="109594" cy="63588"/>
            </a:xfrm>
            <a:custGeom>
              <a:avLst/>
              <a:gdLst>
                <a:gd name="connsiteX0" fmla="*/ -336 w 36004"/>
                <a:gd name="connsiteY0" fmla="*/ 10291 h 20890"/>
                <a:gd name="connsiteX1" fmla="*/ 1188 w 36004"/>
                <a:gd name="connsiteY1" fmla="*/ 12482 h 20890"/>
                <a:gd name="connsiteX2" fmla="*/ 3569 w 36004"/>
                <a:gd name="connsiteY2" fmla="*/ 13911 h 20890"/>
                <a:gd name="connsiteX3" fmla="*/ 13856 w 36004"/>
                <a:gd name="connsiteY3" fmla="*/ 19721 h 20890"/>
                <a:gd name="connsiteX4" fmla="*/ 21476 w 36004"/>
                <a:gd name="connsiteY4" fmla="*/ 19721 h 20890"/>
                <a:gd name="connsiteX5" fmla="*/ 31763 w 36004"/>
                <a:gd name="connsiteY5" fmla="*/ 13911 h 20890"/>
                <a:gd name="connsiteX6" fmla="*/ 34144 w 36004"/>
                <a:gd name="connsiteY6" fmla="*/ 12482 h 20890"/>
                <a:gd name="connsiteX7" fmla="*/ 35668 w 36004"/>
                <a:gd name="connsiteY7" fmla="*/ 10291 h 20890"/>
                <a:gd name="connsiteX8" fmla="*/ 34144 w 36004"/>
                <a:gd name="connsiteY8" fmla="*/ 8005 h 20890"/>
                <a:gd name="connsiteX9" fmla="*/ 21476 w 36004"/>
                <a:gd name="connsiteY9" fmla="*/ 766 h 20890"/>
                <a:gd name="connsiteX10" fmla="*/ 13856 w 36004"/>
                <a:gd name="connsiteY10" fmla="*/ 766 h 20890"/>
                <a:gd name="connsiteX11" fmla="*/ 1188 w 36004"/>
                <a:gd name="connsiteY11" fmla="*/ 8005 h 20890"/>
                <a:gd name="connsiteX12" fmla="*/ -336 w 36004"/>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291"/>
                  </a:moveTo>
                  <a:cubicBezTo>
                    <a:pt x="-279" y="11244"/>
                    <a:pt x="311" y="12091"/>
                    <a:pt x="1188" y="12482"/>
                  </a:cubicBezTo>
                  <a:lnTo>
                    <a:pt x="3569" y="13911"/>
                  </a:lnTo>
                  <a:lnTo>
                    <a:pt x="13856" y="19721"/>
                  </a:lnTo>
                  <a:cubicBezTo>
                    <a:pt x="16218" y="21064"/>
                    <a:pt x="19114" y="21064"/>
                    <a:pt x="21476" y="19721"/>
                  </a:cubicBezTo>
                  <a:lnTo>
                    <a:pt x="31763" y="13911"/>
                  </a:lnTo>
                  <a:lnTo>
                    <a:pt x="34144" y="12482"/>
                  </a:lnTo>
                  <a:cubicBezTo>
                    <a:pt x="35021" y="12091"/>
                    <a:pt x="35611" y="11253"/>
                    <a:pt x="35668" y="10291"/>
                  </a:cubicBezTo>
                  <a:cubicBezTo>
                    <a:pt x="35602" y="9310"/>
                    <a:pt x="35021" y="8443"/>
                    <a:pt x="34144" y="8005"/>
                  </a:cubicBezTo>
                  <a:lnTo>
                    <a:pt x="21476" y="766"/>
                  </a:lnTo>
                  <a:cubicBezTo>
                    <a:pt x="19085" y="-472"/>
                    <a:pt x="16247" y="-472"/>
                    <a:pt x="13856" y="766"/>
                  </a:cubicBezTo>
                  <a:lnTo>
                    <a:pt x="1188" y="8005"/>
                  </a:lnTo>
                  <a:cubicBezTo>
                    <a:pt x="311" y="8443"/>
                    <a:pt x="-270" y="9310"/>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634" name="iṥľîḑè">
              <a:extLst>
                <a:ext uri="{FF2B5EF4-FFF2-40B4-BE49-F238E27FC236}">
                  <a16:creationId xmlns:a16="http://schemas.microsoft.com/office/drawing/2014/main" id="{0BD6F299-61C4-4F1D-A889-908C1DCA85BA}"/>
                </a:ext>
              </a:extLst>
            </p:cNvPr>
            <p:cNvSpPr/>
            <p:nvPr/>
          </p:nvSpPr>
          <p:spPr>
            <a:xfrm>
              <a:off x="6241885" y="5220218"/>
              <a:ext cx="105825" cy="61101"/>
            </a:xfrm>
            <a:custGeom>
              <a:avLst/>
              <a:gdLst>
                <a:gd name="connsiteX0" fmla="*/ 1235 w 34766"/>
                <a:gd name="connsiteY0" fmla="*/ 12006 h 20073"/>
                <a:gd name="connsiteX1" fmla="*/ 13332 w 34766"/>
                <a:gd name="connsiteY1" fmla="*/ 19054 h 20073"/>
                <a:gd name="connsiteX2" fmla="*/ 20761 w 34766"/>
                <a:gd name="connsiteY2" fmla="*/ 19054 h 20073"/>
                <a:gd name="connsiteX3" fmla="*/ 32858 w 34766"/>
                <a:gd name="connsiteY3" fmla="*/ 12006 h 20073"/>
                <a:gd name="connsiteX4" fmla="*/ 32858 w 34766"/>
                <a:gd name="connsiteY4" fmla="*/ 7719 h 20073"/>
                <a:gd name="connsiteX5" fmla="*/ 20761 w 34766"/>
                <a:gd name="connsiteY5" fmla="*/ 766 h 20073"/>
                <a:gd name="connsiteX6" fmla="*/ 13332 w 34766"/>
                <a:gd name="connsiteY6" fmla="*/ 766 h 20073"/>
                <a:gd name="connsiteX7" fmla="*/ 1235 w 34766"/>
                <a:gd name="connsiteY7" fmla="*/ 7719 h 20073"/>
                <a:gd name="connsiteX8" fmla="*/ 1235 w 34766"/>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6" h="20073">
                  <a:moveTo>
                    <a:pt x="1235" y="12006"/>
                  </a:moveTo>
                  <a:lnTo>
                    <a:pt x="13332" y="19054"/>
                  </a:lnTo>
                  <a:cubicBezTo>
                    <a:pt x="15675" y="20197"/>
                    <a:pt x="18418" y="20197"/>
                    <a:pt x="20761" y="19054"/>
                  </a:cubicBezTo>
                  <a:lnTo>
                    <a:pt x="32858" y="12006"/>
                  </a:lnTo>
                  <a:cubicBezTo>
                    <a:pt x="34954" y="10863"/>
                    <a:pt x="34954" y="8957"/>
                    <a:pt x="32858" y="7719"/>
                  </a:cubicBezTo>
                  <a:lnTo>
                    <a:pt x="20761" y="766"/>
                  </a:lnTo>
                  <a:cubicBezTo>
                    <a:pt x="18437" y="-472"/>
                    <a:pt x="15656" y="-472"/>
                    <a:pt x="13332" y="766"/>
                  </a:cubicBezTo>
                  <a:lnTo>
                    <a:pt x="1235" y="7719"/>
                  </a:lnTo>
                  <a:cubicBezTo>
                    <a:pt x="-860" y="8957"/>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635" name="ïšḻidè">
              <a:extLst>
                <a:ext uri="{FF2B5EF4-FFF2-40B4-BE49-F238E27FC236}">
                  <a16:creationId xmlns:a16="http://schemas.microsoft.com/office/drawing/2014/main" id="{A7576B87-6F2E-4CC2-8FC7-0DED50BDAD78}"/>
                </a:ext>
              </a:extLst>
            </p:cNvPr>
            <p:cNvSpPr/>
            <p:nvPr/>
          </p:nvSpPr>
          <p:spPr>
            <a:xfrm>
              <a:off x="6240001" y="5250877"/>
              <a:ext cx="109594" cy="53564"/>
            </a:xfrm>
            <a:custGeom>
              <a:avLst/>
              <a:gdLst>
                <a:gd name="connsiteX0" fmla="*/ -336 w 36004"/>
                <a:gd name="connsiteY0" fmla="*/ -163 h 17597"/>
                <a:gd name="connsiteX1" fmla="*/ -336 w 36004"/>
                <a:gd name="connsiteY1" fmla="*/ 6981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028 h 17597"/>
                <a:gd name="connsiteX9" fmla="*/ 31763 w 36004"/>
                <a:gd name="connsiteY9" fmla="*/ 3457 h 17597"/>
                <a:gd name="connsiteX10" fmla="*/ 21476 w 36004"/>
                <a:gd name="connsiteY10" fmla="*/ 9267 h 17597"/>
                <a:gd name="connsiteX11" fmla="*/ 13856 w 36004"/>
                <a:gd name="connsiteY11" fmla="*/ 9267 h 17597"/>
                <a:gd name="connsiteX12" fmla="*/ 3569 w 36004"/>
                <a:gd name="connsiteY12" fmla="*/ 3457 h 17597"/>
                <a:gd name="connsiteX13" fmla="*/ 1188 w 36004"/>
                <a:gd name="connsiteY13" fmla="*/ 2028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6981"/>
                  </a:lnTo>
                  <a:cubicBezTo>
                    <a:pt x="-270" y="7962"/>
                    <a:pt x="311" y="8829"/>
                    <a:pt x="1188" y="9267"/>
                  </a:cubicBezTo>
                  <a:lnTo>
                    <a:pt x="13856" y="16506"/>
                  </a:lnTo>
                  <a:cubicBezTo>
                    <a:pt x="16247" y="17744"/>
                    <a:pt x="19085" y="17744"/>
                    <a:pt x="21476" y="16506"/>
                  </a:cubicBezTo>
                  <a:lnTo>
                    <a:pt x="34144" y="9267"/>
                  </a:lnTo>
                  <a:cubicBezTo>
                    <a:pt x="35011" y="8819"/>
                    <a:pt x="35582" y="7953"/>
                    <a:pt x="35668" y="6981"/>
                  </a:cubicBezTo>
                  <a:lnTo>
                    <a:pt x="35668" y="-163"/>
                  </a:lnTo>
                  <a:cubicBezTo>
                    <a:pt x="35611" y="790"/>
                    <a:pt x="35021" y="1638"/>
                    <a:pt x="34144" y="2028"/>
                  </a:cubicBezTo>
                  <a:lnTo>
                    <a:pt x="31763" y="3457"/>
                  </a:lnTo>
                  <a:lnTo>
                    <a:pt x="21476" y="9267"/>
                  </a:lnTo>
                  <a:cubicBezTo>
                    <a:pt x="19114" y="10610"/>
                    <a:pt x="16218" y="10610"/>
                    <a:pt x="13856" y="9267"/>
                  </a:cubicBezTo>
                  <a:lnTo>
                    <a:pt x="3569" y="3457"/>
                  </a:lnTo>
                  <a:lnTo>
                    <a:pt x="1188" y="2028"/>
                  </a:lnTo>
                  <a:cubicBezTo>
                    <a:pt x="311" y="1638"/>
                    <a:pt x="-279" y="800"/>
                    <a:pt x="-336" y="-163"/>
                  </a:cubicBezTo>
                  <a:close/>
                </a:path>
              </a:pathLst>
            </a:custGeom>
            <a:solidFill>
              <a:srgbClr val="BF4200"/>
            </a:solidFill>
            <a:ln w="9525" cap="flat">
              <a:noFill/>
              <a:prstDash val="solid"/>
              <a:miter/>
            </a:ln>
          </p:spPr>
          <p:txBody>
            <a:bodyPr rtlCol="0" anchor="ctr"/>
            <a:lstStyle/>
            <a:p>
              <a:endParaRPr lang="zh-CN" altLang="en-US"/>
            </a:p>
          </p:txBody>
        </p:sp>
        <p:sp>
          <p:nvSpPr>
            <p:cNvPr id="636" name="ïṧlíḍe">
              <a:extLst>
                <a:ext uri="{FF2B5EF4-FFF2-40B4-BE49-F238E27FC236}">
                  <a16:creationId xmlns:a16="http://schemas.microsoft.com/office/drawing/2014/main" id="{F06E6E87-8409-43F4-80C0-7C96DDFCA79F}"/>
                </a:ext>
              </a:extLst>
            </p:cNvPr>
            <p:cNvSpPr/>
            <p:nvPr/>
          </p:nvSpPr>
          <p:spPr>
            <a:xfrm>
              <a:off x="6319441" y="5266803"/>
              <a:ext cx="146416" cy="84551"/>
            </a:xfrm>
            <a:custGeom>
              <a:avLst/>
              <a:gdLst>
                <a:gd name="connsiteX0" fmla="*/ -336 w 48101"/>
                <a:gd name="connsiteY0" fmla="*/ 9941 h 27777"/>
                <a:gd name="connsiteX1" fmla="*/ 1188 w 48101"/>
                <a:gd name="connsiteY1" fmla="*/ 12227 h 27777"/>
                <a:gd name="connsiteX2" fmla="*/ 3569 w 48101"/>
                <a:gd name="connsiteY2" fmla="*/ 13560 h 27777"/>
                <a:gd name="connsiteX3" fmla="*/ 25857 w 48101"/>
                <a:gd name="connsiteY3" fmla="*/ 26800 h 27777"/>
                <a:gd name="connsiteX4" fmla="*/ 33573 w 48101"/>
                <a:gd name="connsiteY4" fmla="*/ 26800 h 27777"/>
                <a:gd name="connsiteX5" fmla="*/ 43860 w 48101"/>
                <a:gd name="connsiteY5" fmla="*/ 20799 h 27777"/>
                <a:gd name="connsiteX6" fmla="*/ 46241 w 48101"/>
                <a:gd name="connsiteY6" fmla="*/ 19466 h 27777"/>
                <a:gd name="connsiteX7" fmla="*/ 47765 w 48101"/>
                <a:gd name="connsiteY7" fmla="*/ 17847 h 27777"/>
                <a:gd name="connsiteX8" fmla="*/ 47765 w 48101"/>
                <a:gd name="connsiteY8" fmla="*/ 16704 h 27777"/>
                <a:gd name="connsiteX9" fmla="*/ 46241 w 48101"/>
                <a:gd name="connsiteY9" fmla="*/ 14989 h 27777"/>
                <a:gd name="connsiteX10" fmla="*/ 21476 w 48101"/>
                <a:gd name="connsiteY10" fmla="*/ 702 h 27777"/>
                <a:gd name="connsiteX11" fmla="*/ 13856 w 48101"/>
                <a:gd name="connsiteY11" fmla="*/ 702 h 27777"/>
                <a:gd name="connsiteX12" fmla="*/ 1188 w 48101"/>
                <a:gd name="connsiteY12" fmla="*/ 8036 h 27777"/>
                <a:gd name="connsiteX13" fmla="*/ -336 w 48101"/>
                <a:gd name="connsiteY13" fmla="*/ 9941 h 27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8101" h="27777">
                  <a:moveTo>
                    <a:pt x="-336" y="9941"/>
                  </a:moveTo>
                  <a:cubicBezTo>
                    <a:pt x="-269" y="10922"/>
                    <a:pt x="311" y="11789"/>
                    <a:pt x="1188" y="12227"/>
                  </a:cubicBezTo>
                  <a:lnTo>
                    <a:pt x="3569" y="13560"/>
                  </a:lnTo>
                  <a:lnTo>
                    <a:pt x="25857" y="26800"/>
                  </a:lnTo>
                  <a:cubicBezTo>
                    <a:pt x="28315" y="27886"/>
                    <a:pt x="31115" y="27886"/>
                    <a:pt x="33573" y="26800"/>
                  </a:cubicBezTo>
                  <a:lnTo>
                    <a:pt x="43860" y="20799"/>
                  </a:lnTo>
                  <a:lnTo>
                    <a:pt x="46241" y="19466"/>
                  </a:lnTo>
                  <a:cubicBezTo>
                    <a:pt x="46955" y="19161"/>
                    <a:pt x="47508" y="18580"/>
                    <a:pt x="47765" y="17847"/>
                  </a:cubicBezTo>
                  <a:lnTo>
                    <a:pt x="47765" y="16704"/>
                  </a:lnTo>
                  <a:cubicBezTo>
                    <a:pt x="47479" y="15961"/>
                    <a:pt x="46946" y="15351"/>
                    <a:pt x="46241" y="14989"/>
                  </a:cubicBezTo>
                  <a:lnTo>
                    <a:pt x="21476" y="702"/>
                  </a:lnTo>
                  <a:cubicBezTo>
                    <a:pt x="19066" y="-451"/>
                    <a:pt x="16266" y="-451"/>
                    <a:pt x="13856" y="702"/>
                  </a:cubicBezTo>
                  <a:lnTo>
                    <a:pt x="1188" y="8036"/>
                  </a:lnTo>
                  <a:cubicBezTo>
                    <a:pt x="416" y="8398"/>
                    <a:pt x="-155" y="9103"/>
                    <a:pt x="-336" y="9941"/>
                  </a:cubicBezTo>
                  <a:close/>
                </a:path>
              </a:pathLst>
            </a:custGeom>
            <a:solidFill>
              <a:srgbClr val="FFFFFF"/>
            </a:solidFill>
            <a:ln w="9525" cap="flat">
              <a:noFill/>
              <a:prstDash val="solid"/>
              <a:miter/>
            </a:ln>
          </p:spPr>
          <p:txBody>
            <a:bodyPr rtlCol="0" anchor="ctr"/>
            <a:lstStyle/>
            <a:p>
              <a:endParaRPr lang="zh-CN" altLang="en-US"/>
            </a:p>
          </p:txBody>
        </p:sp>
        <p:sp>
          <p:nvSpPr>
            <p:cNvPr id="637" name="ïṩḷiḑè">
              <a:extLst>
                <a:ext uri="{FF2B5EF4-FFF2-40B4-BE49-F238E27FC236}">
                  <a16:creationId xmlns:a16="http://schemas.microsoft.com/office/drawing/2014/main" id="{144B36BB-DEDA-4168-A288-9E973391AED3}"/>
                </a:ext>
              </a:extLst>
            </p:cNvPr>
            <p:cNvSpPr/>
            <p:nvPr/>
          </p:nvSpPr>
          <p:spPr>
            <a:xfrm>
              <a:off x="6321325" y="5267113"/>
              <a:ext cx="142645" cy="82338"/>
            </a:xfrm>
            <a:custGeom>
              <a:avLst/>
              <a:gdLst>
                <a:gd name="connsiteX0" fmla="*/ 25429 w 46862"/>
                <a:gd name="connsiteY0" fmla="*/ 26031 h 27050"/>
                <a:gd name="connsiteX1" fmla="*/ 1235 w 46862"/>
                <a:gd name="connsiteY1" fmla="*/ 12029 h 27050"/>
                <a:gd name="connsiteX2" fmla="*/ 1235 w 46862"/>
                <a:gd name="connsiteY2" fmla="*/ 7743 h 27050"/>
                <a:gd name="connsiteX3" fmla="*/ 13332 w 46862"/>
                <a:gd name="connsiteY3" fmla="*/ 695 h 27050"/>
                <a:gd name="connsiteX4" fmla="*/ 20761 w 46862"/>
                <a:gd name="connsiteY4" fmla="*/ 695 h 27050"/>
                <a:gd name="connsiteX5" fmla="*/ 44955 w 46862"/>
                <a:gd name="connsiteY5" fmla="*/ 14696 h 27050"/>
                <a:gd name="connsiteX6" fmla="*/ 44955 w 46862"/>
                <a:gd name="connsiteY6" fmla="*/ 18983 h 27050"/>
                <a:gd name="connsiteX7" fmla="*/ 32858 w 46862"/>
                <a:gd name="connsiteY7" fmla="*/ 26031 h 27050"/>
                <a:gd name="connsiteX8" fmla="*/ 25429 w 46862"/>
                <a:gd name="connsiteY8" fmla="*/ 26031 h 27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862" h="27050">
                  <a:moveTo>
                    <a:pt x="25429" y="26031"/>
                  </a:moveTo>
                  <a:lnTo>
                    <a:pt x="1235" y="12029"/>
                  </a:lnTo>
                  <a:cubicBezTo>
                    <a:pt x="-860" y="10791"/>
                    <a:pt x="-860" y="8886"/>
                    <a:pt x="1235" y="7743"/>
                  </a:cubicBezTo>
                  <a:lnTo>
                    <a:pt x="13332" y="695"/>
                  </a:lnTo>
                  <a:cubicBezTo>
                    <a:pt x="15675" y="-448"/>
                    <a:pt x="18418" y="-448"/>
                    <a:pt x="20761" y="695"/>
                  </a:cubicBezTo>
                  <a:lnTo>
                    <a:pt x="44955" y="14696"/>
                  </a:lnTo>
                  <a:cubicBezTo>
                    <a:pt x="47051" y="15935"/>
                    <a:pt x="47051" y="17840"/>
                    <a:pt x="44955" y="18983"/>
                  </a:cubicBezTo>
                  <a:lnTo>
                    <a:pt x="32858" y="26031"/>
                  </a:lnTo>
                  <a:cubicBezTo>
                    <a:pt x="30515" y="27174"/>
                    <a:pt x="27772" y="27174"/>
                    <a:pt x="25429" y="26031"/>
                  </a:cubicBezTo>
                  <a:close/>
                </a:path>
              </a:pathLst>
            </a:custGeom>
            <a:solidFill>
              <a:srgbClr val="D1D9E8"/>
            </a:solidFill>
            <a:ln w="9525" cap="flat">
              <a:noFill/>
              <a:prstDash val="solid"/>
              <a:miter/>
            </a:ln>
          </p:spPr>
          <p:txBody>
            <a:bodyPr rtlCol="0" anchor="ctr"/>
            <a:lstStyle/>
            <a:p>
              <a:endParaRPr lang="zh-CN" altLang="en-US"/>
            </a:p>
          </p:txBody>
        </p:sp>
        <p:sp>
          <p:nvSpPr>
            <p:cNvPr id="638" name="ï$ľïḓe">
              <a:extLst>
                <a:ext uri="{FF2B5EF4-FFF2-40B4-BE49-F238E27FC236}">
                  <a16:creationId xmlns:a16="http://schemas.microsoft.com/office/drawing/2014/main" id="{43370BBD-4A7E-4ECB-8A96-8EE709E31B3B}"/>
                </a:ext>
              </a:extLst>
            </p:cNvPr>
            <p:cNvSpPr/>
            <p:nvPr/>
          </p:nvSpPr>
          <p:spPr>
            <a:xfrm>
              <a:off x="6319441" y="5297558"/>
              <a:ext cx="145256" cy="75599"/>
            </a:xfrm>
            <a:custGeom>
              <a:avLst/>
              <a:gdLst>
                <a:gd name="connsiteX0" fmla="*/ -336 w 47720"/>
                <a:gd name="connsiteY0" fmla="*/ -163 h 24836"/>
                <a:gd name="connsiteX1" fmla="*/ -336 w 47720"/>
                <a:gd name="connsiteY1" fmla="*/ 7172 h 24836"/>
                <a:gd name="connsiteX2" fmla="*/ 1188 w 47720"/>
                <a:gd name="connsiteY2" fmla="*/ 9457 h 24836"/>
                <a:gd name="connsiteX3" fmla="*/ 25857 w 47720"/>
                <a:gd name="connsiteY3" fmla="*/ 23745 h 24836"/>
                <a:gd name="connsiteX4" fmla="*/ 33573 w 47720"/>
                <a:gd name="connsiteY4" fmla="*/ 23745 h 24836"/>
                <a:gd name="connsiteX5" fmla="*/ 45860 w 47720"/>
                <a:gd name="connsiteY5" fmla="*/ 16697 h 24836"/>
                <a:gd name="connsiteX6" fmla="*/ 47384 w 47720"/>
                <a:gd name="connsiteY6" fmla="*/ 15077 h 24836"/>
                <a:gd name="connsiteX7" fmla="*/ 47384 w 47720"/>
                <a:gd name="connsiteY7" fmla="*/ 7172 h 24836"/>
                <a:gd name="connsiteX8" fmla="*/ 45860 w 47720"/>
                <a:gd name="connsiteY8" fmla="*/ 8791 h 24836"/>
                <a:gd name="connsiteX9" fmla="*/ 43479 w 47720"/>
                <a:gd name="connsiteY9" fmla="*/ 10124 h 24836"/>
                <a:gd name="connsiteX10" fmla="*/ 33192 w 47720"/>
                <a:gd name="connsiteY10" fmla="*/ 16125 h 24836"/>
                <a:gd name="connsiteX11" fmla="*/ 25476 w 47720"/>
                <a:gd name="connsiteY11" fmla="*/ 16125 h 24836"/>
                <a:gd name="connsiteX12" fmla="*/ 3188 w 47720"/>
                <a:gd name="connsiteY12" fmla="*/ 3171 h 24836"/>
                <a:gd name="connsiteX13" fmla="*/ 807 w 47720"/>
                <a:gd name="connsiteY13" fmla="*/ 1838 h 24836"/>
                <a:gd name="connsiteX14" fmla="*/ -336 w 47720"/>
                <a:gd name="connsiteY14" fmla="*/ -163 h 24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7720" h="24836">
                  <a:moveTo>
                    <a:pt x="-336" y="-163"/>
                  </a:moveTo>
                  <a:lnTo>
                    <a:pt x="-336" y="7172"/>
                  </a:lnTo>
                  <a:cubicBezTo>
                    <a:pt x="-308" y="8162"/>
                    <a:pt x="283" y="9057"/>
                    <a:pt x="1188" y="9457"/>
                  </a:cubicBezTo>
                  <a:lnTo>
                    <a:pt x="25857" y="23745"/>
                  </a:lnTo>
                  <a:cubicBezTo>
                    <a:pt x="28277" y="24983"/>
                    <a:pt x="31153" y="24983"/>
                    <a:pt x="33573" y="23745"/>
                  </a:cubicBezTo>
                  <a:lnTo>
                    <a:pt x="45860" y="16697"/>
                  </a:lnTo>
                  <a:cubicBezTo>
                    <a:pt x="46536" y="16344"/>
                    <a:pt x="47070" y="15773"/>
                    <a:pt x="47384" y="15077"/>
                  </a:cubicBezTo>
                  <a:lnTo>
                    <a:pt x="47384" y="7172"/>
                  </a:lnTo>
                  <a:cubicBezTo>
                    <a:pt x="47127" y="7905"/>
                    <a:pt x="46574" y="8486"/>
                    <a:pt x="45860" y="8791"/>
                  </a:cubicBezTo>
                  <a:lnTo>
                    <a:pt x="43479" y="10124"/>
                  </a:lnTo>
                  <a:lnTo>
                    <a:pt x="33192" y="16125"/>
                  </a:lnTo>
                  <a:cubicBezTo>
                    <a:pt x="30734" y="17211"/>
                    <a:pt x="27934" y="17211"/>
                    <a:pt x="25476" y="16125"/>
                  </a:cubicBezTo>
                  <a:lnTo>
                    <a:pt x="3188" y="3171"/>
                  </a:lnTo>
                  <a:lnTo>
                    <a:pt x="807" y="1838"/>
                  </a:lnTo>
                  <a:cubicBezTo>
                    <a:pt x="149" y="1371"/>
                    <a:pt x="-260" y="637"/>
                    <a:pt x="-336" y="-163"/>
                  </a:cubicBezTo>
                  <a:close/>
                </a:path>
              </a:pathLst>
            </a:custGeom>
            <a:solidFill>
              <a:srgbClr val="BF4200"/>
            </a:solidFill>
            <a:ln w="9525" cap="flat">
              <a:noFill/>
              <a:prstDash val="solid"/>
              <a:miter/>
            </a:ln>
          </p:spPr>
          <p:txBody>
            <a:bodyPr rtlCol="0" anchor="ctr"/>
            <a:lstStyle/>
            <a:p>
              <a:endParaRPr lang="zh-CN" altLang="en-US"/>
            </a:p>
          </p:txBody>
        </p:sp>
        <p:sp>
          <p:nvSpPr>
            <p:cNvPr id="639" name="ïśḷïḓé">
              <a:extLst>
                <a:ext uri="{FF2B5EF4-FFF2-40B4-BE49-F238E27FC236}">
                  <a16:creationId xmlns:a16="http://schemas.microsoft.com/office/drawing/2014/main" id="{DD71FC37-7805-41ED-9226-57575B6EDB5F}"/>
                </a:ext>
              </a:extLst>
            </p:cNvPr>
            <p:cNvSpPr/>
            <p:nvPr/>
          </p:nvSpPr>
          <p:spPr>
            <a:xfrm>
              <a:off x="5155355" y="4683839"/>
              <a:ext cx="140036" cy="81035"/>
            </a:xfrm>
            <a:custGeom>
              <a:avLst/>
              <a:gdLst>
                <a:gd name="connsiteX0" fmla="*/ -336 w 46005"/>
                <a:gd name="connsiteY0" fmla="*/ 10196 h 26622"/>
                <a:gd name="connsiteX1" fmla="*/ 1188 w 46005"/>
                <a:gd name="connsiteY1" fmla="*/ 12482 h 26622"/>
                <a:gd name="connsiteX2" fmla="*/ 3569 w 46005"/>
                <a:gd name="connsiteY2" fmla="*/ 13815 h 26622"/>
                <a:gd name="connsiteX3" fmla="*/ 23762 w 46005"/>
                <a:gd name="connsiteY3" fmla="*/ 25531 h 26622"/>
                <a:gd name="connsiteX4" fmla="*/ 31477 w 46005"/>
                <a:gd name="connsiteY4" fmla="*/ 25531 h 26622"/>
                <a:gd name="connsiteX5" fmla="*/ 41669 w 46005"/>
                <a:gd name="connsiteY5" fmla="*/ 19530 h 26622"/>
                <a:gd name="connsiteX6" fmla="*/ 44146 w 46005"/>
                <a:gd name="connsiteY6" fmla="*/ 18197 h 26622"/>
                <a:gd name="connsiteX7" fmla="*/ 45669 w 46005"/>
                <a:gd name="connsiteY7" fmla="*/ 16578 h 26622"/>
                <a:gd name="connsiteX8" fmla="*/ 45669 w 46005"/>
                <a:gd name="connsiteY8" fmla="*/ 15435 h 26622"/>
                <a:gd name="connsiteX9" fmla="*/ 44146 w 46005"/>
                <a:gd name="connsiteY9" fmla="*/ 13720 h 26622"/>
                <a:gd name="connsiteX10" fmla="*/ 21476 w 46005"/>
                <a:gd name="connsiteY10" fmla="*/ 766 h 26622"/>
                <a:gd name="connsiteX11" fmla="*/ 13856 w 46005"/>
                <a:gd name="connsiteY11" fmla="*/ 766 h 26622"/>
                <a:gd name="connsiteX12" fmla="*/ 1188 w 46005"/>
                <a:gd name="connsiteY12" fmla="*/ 8005 h 26622"/>
                <a:gd name="connsiteX13" fmla="*/ -336 w 46005"/>
                <a:gd name="connsiteY13" fmla="*/ 10196 h 26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005" h="26622">
                  <a:moveTo>
                    <a:pt x="-336" y="10196"/>
                  </a:moveTo>
                  <a:cubicBezTo>
                    <a:pt x="-308" y="11186"/>
                    <a:pt x="283" y="12082"/>
                    <a:pt x="1188" y="12482"/>
                  </a:cubicBezTo>
                  <a:lnTo>
                    <a:pt x="3569" y="13815"/>
                  </a:lnTo>
                  <a:lnTo>
                    <a:pt x="23762" y="25531"/>
                  </a:lnTo>
                  <a:cubicBezTo>
                    <a:pt x="26181" y="26769"/>
                    <a:pt x="29058" y="26769"/>
                    <a:pt x="31477" y="25531"/>
                  </a:cubicBezTo>
                  <a:lnTo>
                    <a:pt x="41669" y="19530"/>
                  </a:lnTo>
                  <a:lnTo>
                    <a:pt x="44146" y="18197"/>
                  </a:lnTo>
                  <a:cubicBezTo>
                    <a:pt x="44860" y="17892"/>
                    <a:pt x="45412" y="17311"/>
                    <a:pt x="45669" y="16578"/>
                  </a:cubicBezTo>
                  <a:lnTo>
                    <a:pt x="45669" y="15435"/>
                  </a:lnTo>
                  <a:cubicBezTo>
                    <a:pt x="45365" y="14711"/>
                    <a:pt x="44822" y="14111"/>
                    <a:pt x="44146" y="13720"/>
                  </a:cubicBezTo>
                  <a:lnTo>
                    <a:pt x="21476" y="766"/>
                  </a:lnTo>
                  <a:cubicBezTo>
                    <a:pt x="19085" y="-472"/>
                    <a:pt x="16247" y="-472"/>
                    <a:pt x="13856" y="766"/>
                  </a:cubicBezTo>
                  <a:lnTo>
                    <a:pt x="1188" y="8005"/>
                  </a:lnTo>
                  <a:cubicBezTo>
                    <a:pt x="340" y="8424"/>
                    <a:pt x="-241" y="925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640" name="iṣḷîḋe">
              <a:extLst>
                <a:ext uri="{FF2B5EF4-FFF2-40B4-BE49-F238E27FC236}">
                  <a16:creationId xmlns:a16="http://schemas.microsoft.com/office/drawing/2014/main" id="{0A985908-C8E8-453F-BA69-52026F72DDEA}"/>
                </a:ext>
              </a:extLst>
            </p:cNvPr>
            <p:cNvSpPr/>
            <p:nvPr/>
          </p:nvSpPr>
          <p:spPr>
            <a:xfrm>
              <a:off x="5158067" y="4684926"/>
              <a:ext cx="136018" cy="78570"/>
            </a:xfrm>
            <a:custGeom>
              <a:avLst/>
              <a:gdLst>
                <a:gd name="connsiteX0" fmla="*/ 23252 w 44685"/>
                <a:gd name="connsiteY0" fmla="*/ 24793 h 25812"/>
                <a:gd name="connsiteX1" fmla="*/ 1154 w 44685"/>
                <a:gd name="connsiteY1" fmla="*/ 12029 h 25812"/>
                <a:gd name="connsiteX2" fmla="*/ -189 w 44685"/>
                <a:gd name="connsiteY2" fmla="*/ 9096 h 25812"/>
                <a:gd name="connsiteX3" fmla="*/ 1154 w 44685"/>
                <a:gd name="connsiteY3" fmla="*/ 7743 h 25812"/>
                <a:gd name="connsiteX4" fmla="*/ 13250 w 44685"/>
                <a:gd name="connsiteY4" fmla="*/ 695 h 25812"/>
                <a:gd name="connsiteX5" fmla="*/ 20680 w 44685"/>
                <a:gd name="connsiteY5" fmla="*/ 695 h 25812"/>
                <a:gd name="connsiteX6" fmla="*/ 42778 w 44685"/>
                <a:gd name="connsiteY6" fmla="*/ 13458 h 25812"/>
                <a:gd name="connsiteX7" fmla="*/ 42778 w 44685"/>
                <a:gd name="connsiteY7" fmla="*/ 17744 h 25812"/>
                <a:gd name="connsiteX8" fmla="*/ 30681 w 44685"/>
                <a:gd name="connsiteY8" fmla="*/ 24793 h 25812"/>
                <a:gd name="connsiteX9" fmla="*/ 23252 w 44685"/>
                <a:gd name="connsiteY9" fmla="*/ 24793 h 25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4685" h="25812">
                  <a:moveTo>
                    <a:pt x="23252" y="24793"/>
                  </a:moveTo>
                  <a:lnTo>
                    <a:pt x="1154" y="12029"/>
                  </a:lnTo>
                  <a:cubicBezTo>
                    <a:pt x="-27" y="11591"/>
                    <a:pt x="-637" y="10277"/>
                    <a:pt x="-189" y="9096"/>
                  </a:cubicBezTo>
                  <a:cubicBezTo>
                    <a:pt x="39" y="8467"/>
                    <a:pt x="535" y="7972"/>
                    <a:pt x="1154" y="7743"/>
                  </a:cubicBezTo>
                  <a:lnTo>
                    <a:pt x="13250" y="695"/>
                  </a:lnTo>
                  <a:cubicBezTo>
                    <a:pt x="15594" y="-448"/>
                    <a:pt x="18337" y="-448"/>
                    <a:pt x="20680" y="695"/>
                  </a:cubicBezTo>
                  <a:lnTo>
                    <a:pt x="42778" y="13458"/>
                  </a:lnTo>
                  <a:cubicBezTo>
                    <a:pt x="44873" y="14696"/>
                    <a:pt x="44873" y="16601"/>
                    <a:pt x="42778" y="17744"/>
                  </a:cubicBezTo>
                  <a:lnTo>
                    <a:pt x="30681" y="24793"/>
                  </a:lnTo>
                  <a:cubicBezTo>
                    <a:pt x="28338" y="25936"/>
                    <a:pt x="25595" y="25936"/>
                    <a:pt x="23252" y="24793"/>
                  </a:cubicBezTo>
                  <a:close/>
                </a:path>
              </a:pathLst>
            </a:custGeom>
            <a:solidFill>
              <a:srgbClr val="D1D9E8"/>
            </a:solidFill>
            <a:ln w="9525" cap="flat">
              <a:noFill/>
              <a:prstDash val="solid"/>
              <a:miter/>
            </a:ln>
          </p:spPr>
          <p:txBody>
            <a:bodyPr rtlCol="0" anchor="ctr"/>
            <a:lstStyle/>
            <a:p>
              <a:endParaRPr lang="zh-CN" altLang="en-US"/>
            </a:p>
          </p:txBody>
        </p:sp>
        <p:sp>
          <p:nvSpPr>
            <p:cNvPr id="641" name="ïSḷíďê">
              <a:extLst>
                <a:ext uri="{FF2B5EF4-FFF2-40B4-BE49-F238E27FC236}">
                  <a16:creationId xmlns:a16="http://schemas.microsoft.com/office/drawing/2014/main" id="{6E5D467F-B04A-4FF8-AF4F-83AD1A4304B3}"/>
                </a:ext>
              </a:extLst>
            </p:cNvPr>
            <p:cNvSpPr/>
            <p:nvPr/>
          </p:nvSpPr>
          <p:spPr>
            <a:xfrm>
              <a:off x="5155355" y="4715368"/>
              <a:ext cx="140036" cy="71249"/>
            </a:xfrm>
            <a:custGeom>
              <a:avLst/>
              <a:gdLst>
                <a:gd name="connsiteX0" fmla="*/ -336 w 46005"/>
                <a:gd name="connsiteY0" fmla="*/ -163 h 23407"/>
                <a:gd name="connsiteX1" fmla="*/ -336 w 46005"/>
                <a:gd name="connsiteY1" fmla="*/ 7076 h 23407"/>
                <a:gd name="connsiteX2" fmla="*/ 1188 w 46005"/>
                <a:gd name="connsiteY2" fmla="*/ 9267 h 23407"/>
                <a:gd name="connsiteX3" fmla="*/ 23762 w 46005"/>
                <a:gd name="connsiteY3" fmla="*/ 22317 h 23407"/>
                <a:gd name="connsiteX4" fmla="*/ 31477 w 46005"/>
                <a:gd name="connsiteY4" fmla="*/ 22317 h 23407"/>
                <a:gd name="connsiteX5" fmla="*/ 44146 w 46005"/>
                <a:gd name="connsiteY5" fmla="*/ 14982 h 23407"/>
                <a:gd name="connsiteX6" fmla="*/ 45669 w 46005"/>
                <a:gd name="connsiteY6" fmla="*/ 13363 h 23407"/>
                <a:gd name="connsiteX7" fmla="*/ 45669 w 46005"/>
                <a:gd name="connsiteY7" fmla="*/ 6219 h 23407"/>
                <a:gd name="connsiteX8" fmla="*/ 44146 w 46005"/>
                <a:gd name="connsiteY8" fmla="*/ 7838 h 23407"/>
                <a:gd name="connsiteX9" fmla="*/ 41669 w 46005"/>
                <a:gd name="connsiteY9" fmla="*/ 9172 h 23407"/>
                <a:gd name="connsiteX10" fmla="*/ 31477 w 46005"/>
                <a:gd name="connsiteY10" fmla="*/ 15173 h 23407"/>
                <a:gd name="connsiteX11" fmla="*/ 23762 w 46005"/>
                <a:gd name="connsiteY11" fmla="*/ 15173 h 23407"/>
                <a:gd name="connsiteX12" fmla="*/ 3569 w 46005"/>
                <a:gd name="connsiteY12" fmla="*/ 3457 h 23407"/>
                <a:gd name="connsiteX13" fmla="*/ 1188 w 46005"/>
                <a:gd name="connsiteY13" fmla="*/ 2124 h 23407"/>
                <a:gd name="connsiteX14" fmla="*/ -336 w 46005"/>
                <a:gd name="connsiteY14" fmla="*/ -163 h 234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6005" h="23407">
                  <a:moveTo>
                    <a:pt x="-336" y="-163"/>
                  </a:moveTo>
                  <a:lnTo>
                    <a:pt x="-336" y="7076"/>
                  </a:lnTo>
                  <a:cubicBezTo>
                    <a:pt x="-279" y="8029"/>
                    <a:pt x="311" y="8877"/>
                    <a:pt x="1188" y="9267"/>
                  </a:cubicBezTo>
                  <a:lnTo>
                    <a:pt x="23762" y="22317"/>
                  </a:lnTo>
                  <a:cubicBezTo>
                    <a:pt x="26181" y="23555"/>
                    <a:pt x="29058" y="23555"/>
                    <a:pt x="31477" y="22317"/>
                  </a:cubicBezTo>
                  <a:lnTo>
                    <a:pt x="44146" y="14982"/>
                  </a:lnTo>
                  <a:cubicBezTo>
                    <a:pt x="44822" y="14630"/>
                    <a:pt x="45355" y="14058"/>
                    <a:pt x="45669" y="13363"/>
                  </a:cubicBezTo>
                  <a:lnTo>
                    <a:pt x="45669" y="6219"/>
                  </a:lnTo>
                  <a:cubicBezTo>
                    <a:pt x="45412" y="6953"/>
                    <a:pt x="44860" y="7534"/>
                    <a:pt x="44146" y="7838"/>
                  </a:cubicBezTo>
                  <a:lnTo>
                    <a:pt x="41669" y="9172"/>
                  </a:lnTo>
                  <a:lnTo>
                    <a:pt x="31477" y="15173"/>
                  </a:lnTo>
                  <a:cubicBezTo>
                    <a:pt x="29058" y="16411"/>
                    <a:pt x="26181" y="16411"/>
                    <a:pt x="23762" y="15173"/>
                  </a:cubicBezTo>
                  <a:lnTo>
                    <a:pt x="3569" y="3457"/>
                  </a:lnTo>
                  <a:lnTo>
                    <a:pt x="1188" y="2124"/>
                  </a:lnTo>
                  <a:cubicBezTo>
                    <a:pt x="283" y="1723"/>
                    <a:pt x="-308"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42" name="íšḻiḍè">
              <a:extLst>
                <a:ext uri="{FF2B5EF4-FFF2-40B4-BE49-F238E27FC236}">
                  <a16:creationId xmlns:a16="http://schemas.microsoft.com/office/drawing/2014/main" id="{5112F7A3-11EE-4E83-B891-3E71A0CE2ADE}"/>
                </a:ext>
              </a:extLst>
            </p:cNvPr>
            <p:cNvSpPr/>
            <p:nvPr/>
          </p:nvSpPr>
          <p:spPr>
            <a:xfrm>
              <a:off x="5264952" y="4746465"/>
              <a:ext cx="109594" cy="63639"/>
            </a:xfrm>
            <a:custGeom>
              <a:avLst/>
              <a:gdLst>
                <a:gd name="connsiteX0" fmla="*/ -336 w 36004"/>
                <a:gd name="connsiteY0" fmla="*/ 10291 h 20907"/>
                <a:gd name="connsiteX1" fmla="*/ 1188 w 36004"/>
                <a:gd name="connsiteY1" fmla="*/ 12577 h 20907"/>
                <a:gd name="connsiteX2" fmla="*/ 3569 w 36004"/>
                <a:gd name="connsiteY2" fmla="*/ 13911 h 20907"/>
                <a:gd name="connsiteX3" fmla="*/ 13856 w 36004"/>
                <a:gd name="connsiteY3" fmla="*/ 19816 h 20907"/>
                <a:gd name="connsiteX4" fmla="*/ 21476 w 36004"/>
                <a:gd name="connsiteY4" fmla="*/ 19816 h 20907"/>
                <a:gd name="connsiteX5" fmla="*/ 31763 w 36004"/>
                <a:gd name="connsiteY5" fmla="*/ 13911 h 20907"/>
                <a:gd name="connsiteX6" fmla="*/ 34144 w 36004"/>
                <a:gd name="connsiteY6" fmla="*/ 12577 h 20907"/>
                <a:gd name="connsiteX7" fmla="*/ 35668 w 36004"/>
                <a:gd name="connsiteY7" fmla="*/ 10291 h 20907"/>
                <a:gd name="connsiteX8" fmla="*/ 34144 w 36004"/>
                <a:gd name="connsiteY8" fmla="*/ 8100 h 20907"/>
                <a:gd name="connsiteX9" fmla="*/ 21476 w 36004"/>
                <a:gd name="connsiteY9" fmla="*/ 766 h 20907"/>
                <a:gd name="connsiteX10" fmla="*/ 13856 w 36004"/>
                <a:gd name="connsiteY10" fmla="*/ 766 h 20907"/>
                <a:gd name="connsiteX11" fmla="*/ 1188 w 36004"/>
                <a:gd name="connsiteY11" fmla="*/ 8100 h 20907"/>
                <a:gd name="connsiteX12" fmla="*/ -336 w 36004"/>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907">
                  <a:moveTo>
                    <a:pt x="-336" y="10291"/>
                  </a:moveTo>
                  <a:cubicBezTo>
                    <a:pt x="-270" y="11272"/>
                    <a:pt x="311" y="12139"/>
                    <a:pt x="1188" y="12577"/>
                  </a:cubicBezTo>
                  <a:lnTo>
                    <a:pt x="3569" y="13911"/>
                  </a:lnTo>
                  <a:lnTo>
                    <a:pt x="13856" y="19816"/>
                  </a:lnTo>
                  <a:cubicBezTo>
                    <a:pt x="16247" y="21054"/>
                    <a:pt x="19085" y="21054"/>
                    <a:pt x="21476" y="19816"/>
                  </a:cubicBezTo>
                  <a:lnTo>
                    <a:pt x="31763" y="13911"/>
                  </a:lnTo>
                  <a:lnTo>
                    <a:pt x="34144" y="12577"/>
                  </a:lnTo>
                  <a:cubicBezTo>
                    <a:pt x="35021" y="12139"/>
                    <a:pt x="35602" y="11272"/>
                    <a:pt x="35668" y="10291"/>
                  </a:cubicBezTo>
                  <a:cubicBezTo>
                    <a:pt x="35611" y="9339"/>
                    <a:pt x="35021" y="8491"/>
                    <a:pt x="34144" y="8100"/>
                  </a:cubicBezTo>
                  <a:lnTo>
                    <a:pt x="21476" y="766"/>
                  </a:lnTo>
                  <a:cubicBezTo>
                    <a:pt x="19085" y="-472"/>
                    <a:pt x="16247" y="-472"/>
                    <a:pt x="13856" y="766"/>
                  </a:cubicBezTo>
                  <a:lnTo>
                    <a:pt x="1188" y="8100"/>
                  </a:lnTo>
                  <a:cubicBezTo>
                    <a:pt x="311" y="8491"/>
                    <a:pt x="-279"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643" name="işḻiḓè">
              <a:extLst>
                <a:ext uri="{FF2B5EF4-FFF2-40B4-BE49-F238E27FC236}">
                  <a16:creationId xmlns:a16="http://schemas.microsoft.com/office/drawing/2014/main" id="{C9DD8A0B-C777-471D-BD71-92398E24CDC1}"/>
                </a:ext>
              </a:extLst>
            </p:cNvPr>
            <p:cNvSpPr/>
            <p:nvPr/>
          </p:nvSpPr>
          <p:spPr>
            <a:xfrm>
              <a:off x="5266763" y="4747624"/>
              <a:ext cx="105895" cy="61101"/>
            </a:xfrm>
            <a:custGeom>
              <a:avLst/>
              <a:gdLst>
                <a:gd name="connsiteX0" fmla="*/ 1164 w 34789"/>
                <a:gd name="connsiteY0" fmla="*/ 12006 h 20073"/>
                <a:gd name="connsiteX1" fmla="*/ 13356 w 34789"/>
                <a:gd name="connsiteY1" fmla="*/ 19054 h 20073"/>
                <a:gd name="connsiteX2" fmla="*/ 20785 w 34789"/>
                <a:gd name="connsiteY2" fmla="*/ 19054 h 20073"/>
                <a:gd name="connsiteX3" fmla="*/ 32882 w 34789"/>
                <a:gd name="connsiteY3" fmla="*/ 12006 h 20073"/>
                <a:gd name="connsiteX4" fmla="*/ 32882 w 34789"/>
                <a:gd name="connsiteY4" fmla="*/ 7719 h 20073"/>
                <a:gd name="connsiteX5" fmla="*/ 20785 w 34789"/>
                <a:gd name="connsiteY5" fmla="*/ 766 h 20073"/>
                <a:gd name="connsiteX6" fmla="*/ 13356 w 34789"/>
                <a:gd name="connsiteY6" fmla="*/ 766 h 20073"/>
                <a:gd name="connsiteX7" fmla="*/ 1164 w 34789"/>
                <a:gd name="connsiteY7" fmla="*/ 7719 h 20073"/>
                <a:gd name="connsiteX8" fmla="*/ 1164 w 34789"/>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89" h="20073">
                  <a:moveTo>
                    <a:pt x="1164" y="12006"/>
                  </a:moveTo>
                  <a:lnTo>
                    <a:pt x="13356" y="19054"/>
                  </a:lnTo>
                  <a:cubicBezTo>
                    <a:pt x="15699" y="20197"/>
                    <a:pt x="18442" y="20197"/>
                    <a:pt x="20785" y="19054"/>
                  </a:cubicBezTo>
                  <a:lnTo>
                    <a:pt x="32882" y="12006"/>
                  </a:lnTo>
                  <a:cubicBezTo>
                    <a:pt x="34977" y="10863"/>
                    <a:pt x="34977" y="8958"/>
                    <a:pt x="32882" y="7719"/>
                  </a:cubicBezTo>
                  <a:lnTo>
                    <a:pt x="20785" y="766"/>
                  </a:lnTo>
                  <a:cubicBezTo>
                    <a:pt x="18461" y="-472"/>
                    <a:pt x="15680" y="-472"/>
                    <a:pt x="13356" y="766"/>
                  </a:cubicBezTo>
                  <a:lnTo>
                    <a:pt x="1164" y="7719"/>
                  </a:lnTo>
                  <a:cubicBezTo>
                    <a:pt x="-836" y="8958"/>
                    <a:pt x="-836" y="10863"/>
                    <a:pt x="1164" y="12006"/>
                  </a:cubicBezTo>
                  <a:close/>
                </a:path>
              </a:pathLst>
            </a:custGeom>
            <a:solidFill>
              <a:srgbClr val="D1D9E8"/>
            </a:solidFill>
            <a:ln w="9525" cap="flat">
              <a:noFill/>
              <a:prstDash val="solid"/>
              <a:miter/>
            </a:ln>
          </p:spPr>
          <p:txBody>
            <a:bodyPr rtlCol="0" anchor="ctr"/>
            <a:lstStyle/>
            <a:p>
              <a:endParaRPr lang="zh-CN" altLang="en-US"/>
            </a:p>
          </p:txBody>
        </p:sp>
        <p:sp>
          <p:nvSpPr>
            <p:cNvPr id="644" name="ïS1îḋê">
              <a:extLst>
                <a:ext uri="{FF2B5EF4-FFF2-40B4-BE49-F238E27FC236}">
                  <a16:creationId xmlns:a16="http://schemas.microsoft.com/office/drawing/2014/main" id="{92E2943E-2894-49B0-8E20-F4DF33812B67}"/>
                </a:ext>
              </a:extLst>
            </p:cNvPr>
            <p:cNvSpPr/>
            <p:nvPr/>
          </p:nvSpPr>
          <p:spPr>
            <a:xfrm>
              <a:off x="5264952" y="4778286"/>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3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3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2" y="7953"/>
                    <a:pt x="35668" y="6981"/>
                  </a:cubicBezTo>
                  <a:lnTo>
                    <a:pt x="35668" y="-163"/>
                  </a:lnTo>
                  <a:cubicBezTo>
                    <a:pt x="35602" y="818"/>
                    <a:pt x="35021" y="1685"/>
                    <a:pt x="34144" y="2123"/>
                  </a:cubicBezTo>
                  <a:lnTo>
                    <a:pt x="31763" y="3457"/>
                  </a:lnTo>
                  <a:lnTo>
                    <a:pt x="21476" y="9362"/>
                  </a:lnTo>
                  <a:cubicBezTo>
                    <a:pt x="19085" y="10601"/>
                    <a:pt x="16247" y="10601"/>
                    <a:pt x="13856" y="9362"/>
                  </a:cubicBezTo>
                  <a:lnTo>
                    <a:pt x="3569" y="3457"/>
                  </a:lnTo>
                  <a:lnTo>
                    <a:pt x="1188"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45" name="íS1ïḋê">
              <a:extLst>
                <a:ext uri="{FF2B5EF4-FFF2-40B4-BE49-F238E27FC236}">
                  <a16:creationId xmlns:a16="http://schemas.microsoft.com/office/drawing/2014/main" id="{95B4C2E7-5FBF-43A1-8DED-B325DC39224F}"/>
                </a:ext>
              </a:extLst>
            </p:cNvPr>
            <p:cNvSpPr/>
            <p:nvPr/>
          </p:nvSpPr>
          <p:spPr>
            <a:xfrm>
              <a:off x="5342073" y="4791116"/>
              <a:ext cx="109883" cy="63588"/>
            </a:xfrm>
            <a:custGeom>
              <a:avLst/>
              <a:gdLst>
                <a:gd name="connsiteX0" fmla="*/ -336 w 36099"/>
                <a:gd name="connsiteY0" fmla="*/ 10291 h 20890"/>
                <a:gd name="connsiteX1" fmla="*/ 1283 w 36099"/>
                <a:gd name="connsiteY1" fmla="*/ 12577 h 20890"/>
                <a:gd name="connsiteX2" fmla="*/ 3569 w 36099"/>
                <a:gd name="connsiteY2" fmla="*/ 13910 h 20890"/>
                <a:gd name="connsiteX3" fmla="*/ 13856 w 36099"/>
                <a:gd name="connsiteY3" fmla="*/ 19721 h 20890"/>
                <a:gd name="connsiteX4" fmla="*/ 21571 w 36099"/>
                <a:gd name="connsiteY4" fmla="*/ 19721 h 20890"/>
                <a:gd name="connsiteX5" fmla="*/ 31858 w 36099"/>
                <a:gd name="connsiteY5" fmla="*/ 13910 h 20890"/>
                <a:gd name="connsiteX6" fmla="*/ 34144 w 36099"/>
                <a:gd name="connsiteY6" fmla="*/ 12577 h 20890"/>
                <a:gd name="connsiteX7" fmla="*/ 35764 w 36099"/>
                <a:gd name="connsiteY7" fmla="*/ 10291 h 20890"/>
                <a:gd name="connsiteX8" fmla="*/ 34144 w 36099"/>
                <a:gd name="connsiteY8" fmla="*/ 8100 h 20890"/>
                <a:gd name="connsiteX9" fmla="*/ 21571 w 36099"/>
                <a:gd name="connsiteY9" fmla="*/ 766 h 20890"/>
                <a:gd name="connsiteX10" fmla="*/ 13856 w 36099"/>
                <a:gd name="connsiteY10" fmla="*/ 766 h 20890"/>
                <a:gd name="connsiteX11" fmla="*/ 1283 w 36099"/>
                <a:gd name="connsiteY11" fmla="*/ 8100 h 20890"/>
                <a:gd name="connsiteX12" fmla="*/ -336 w 36099"/>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99" h="20890">
                  <a:moveTo>
                    <a:pt x="-336" y="10291"/>
                  </a:moveTo>
                  <a:cubicBezTo>
                    <a:pt x="-270" y="11301"/>
                    <a:pt x="359" y="12186"/>
                    <a:pt x="1283" y="12577"/>
                  </a:cubicBezTo>
                  <a:lnTo>
                    <a:pt x="3569" y="13910"/>
                  </a:lnTo>
                  <a:lnTo>
                    <a:pt x="13856" y="19721"/>
                  </a:lnTo>
                  <a:cubicBezTo>
                    <a:pt x="16256" y="21064"/>
                    <a:pt x="19171" y="21064"/>
                    <a:pt x="21571" y="19721"/>
                  </a:cubicBezTo>
                  <a:lnTo>
                    <a:pt x="31858" y="13910"/>
                  </a:lnTo>
                  <a:lnTo>
                    <a:pt x="34144" y="12577"/>
                  </a:lnTo>
                  <a:cubicBezTo>
                    <a:pt x="35049" y="12148"/>
                    <a:pt x="35659" y="11282"/>
                    <a:pt x="35764" y="10291"/>
                  </a:cubicBezTo>
                  <a:cubicBezTo>
                    <a:pt x="35687" y="9310"/>
                    <a:pt x="35059" y="8462"/>
                    <a:pt x="34144" y="8100"/>
                  </a:cubicBezTo>
                  <a:lnTo>
                    <a:pt x="21571" y="766"/>
                  </a:lnTo>
                  <a:cubicBezTo>
                    <a:pt x="19152" y="-472"/>
                    <a:pt x="16275" y="-472"/>
                    <a:pt x="13856" y="766"/>
                  </a:cubicBezTo>
                  <a:lnTo>
                    <a:pt x="1283" y="8100"/>
                  </a:lnTo>
                  <a:cubicBezTo>
                    <a:pt x="349" y="8443"/>
                    <a:pt x="-279" y="9301"/>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646" name="íślîḋé">
              <a:extLst>
                <a:ext uri="{FF2B5EF4-FFF2-40B4-BE49-F238E27FC236}">
                  <a16:creationId xmlns:a16="http://schemas.microsoft.com/office/drawing/2014/main" id="{86554CDE-F7D6-477C-943D-AC85A5DC4CE5}"/>
                </a:ext>
              </a:extLst>
            </p:cNvPr>
            <p:cNvSpPr/>
            <p:nvPr/>
          </p:nvSpPr>
          <p:spPr>
            <a:xfrm>
              <a:off x="5343957" y="4792273"/>
              <a:ext cx="105895" cy="61104"/>
            </a:xfrm>
            <a:custGeom>
              <a:avLst/>
              <a:gdLst>
                <a:gd name="connsiteX0" fmla="*/ 1235 w 34789"/>
                <a:gd name="connsiteY0" fmla="*/ 12006 h 20074"/>
                <a:gd name="connsiteX1" fmla="*/ 13332 w 34789"/>
                <a:gd name="connsiteY1" fmla="*/ 19054 h 20074"/>
                <a:gd name="connsiteX2" fmla="*/ 20761 w 34789"/>
                <a:gd name="connsiteY2" fmla="*/ 19054 h 20074"/>
                <a:gd name="connsiteX3" fmla="*/ 32953 w 34789"/>
                <a:gd name="connsiteY3" fmla="*/ 12006 h 20074"/>
                <a:gd name="connsiteX4" fmla="*/ 32953 w 34789"/>
                <a:gd name="connsiteY4" fmla="*/ 7719 h 20074"/>
                <a:gd name="connsiteX5" fmla="*/ 20761 w 34789"/>
                <a:gd name="connsiteY5" fmla="*/ 766 h 20074"/>
                <a:gd name="connsiteX6" fmla="*/ 13332 w 34789"/>
                <a:gd name="connsiteY6" fmla="*/ 766 h 20074"/>
                <a:gd name="connsiteX7" fmla="*/ 1235 w 34789"/>
                <a:gd name="connsiteY7" fmla="*/ 7719 h 20074"/>
                <a:gd name="connsiteX8" fmla="*/ 1235 w 34789"/>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89" h="20074">
                  <a:moveTo>
                    <a:pt x="1235" y="12006"/>
                  </a:moveTo>
                  <a:lnTo>
                    <a:pt x="13332" y="19054"/>
                  </a:lnTo>
                  <a:cubicBezTo>
                    <a:pt x="15675" y="20197"/>
                    <a:pt x="18418" y="20197"/>
                    <a:pt x="20761" y="19054"/>
                  </a:cubicBezTo>
                  <a:lnTo>
                    <a:pt x="32953" y="12006"/>
                  </a:lnTo>
                  <a:cubicBezTo>
                    <a:pt x="34954" y="10863"/>
                    <a:pt x="34954" y="8958"/>
                    <a:pt x="32953" y="7719"/>
                  </a:cubicBezTo>
                  <a:lnTo>
                    <a:pt x="20761" y="766"/>
                  </a:lnTo>
                  <a:cubicBezTo>
                    <a:pt x="18437" y="-472"/>
                    <a:pt x="15656" y="-472"/>
                    <a:pt x="13332" y="766"/>
                  </a:cubicBezTo>
                  <a:lnTo>
                    <a:pt x="1235" y="7719"/>
                  </a:lnTo>
                  <a:cubicBezTo>
                    <a:pt x="-860" y="8958"/>
                    <a:pt x="-860" y="11244"/>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647" name="îṥľîḍê">
              <a:extLst>
                <a:ext uri="{FF2B5EF4-FFF2-40B4-BE49-F238E27FC236}">
                  <a16:creationId xmlns:a16="http://schemas.microsoft.com/office/drawing/2014/main" id="{7C52CAFB-58F4-4E3B-8132-A428B6FF5FE7}"/>
                </a:ext>
              </a:extLst>
            </p:cNvPr>
            <p:cNvSpPr/>
            <p:nvPr/>
          </p:nvSpPr>
          <p:spPr>
            <a:xfrm>
              <a:off x="5342073" y="4822934"/>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4 w 36099"/>
                <a:gd name="connsiteY6" fmla="*/ 6981 h 17597"/>
                <a:gd name="connsiteX7" fmla="*/ 35764 w 36099"/>
                <a:gd name="connsiteY7" fmla="*/ -163 h 17597"/>
                <a:gd name="connsiteX8" fmla="*/ 34144 w 36099"/>
                <a:gd name="connsiteY8" fmla="*/ 2124 h 17597"/>
                <a:gd name="connsiteX9" fmla="*/ 31858 w 36099"/>
                <a:gd name="connsiteY9" fmla="*/ 3457 h 17597"/>
                <a:gd name="connsiteX10" fmla="*/ 21571 w 36099"/>
                <a:gd name="connsiteY10" fmla="*/ 9267 h 17597"/>
                <a:gd name="connsiteX11" fmla="*/ 13856 w 36099"/>
                <a:gd name="connsiteY11" fmla="*/ 9267 h 17597"/>
                <a:gd name="connsiteX12" fmla="*/ 3569 w 36099"/>
                <a:gd name="connsiteY12" fmla="*/ 3457 h 17597"/>
                <a:gd name="connsiteX13" fmla="*/ 1283 w 36099"/>
                <a:gd name="connsiteY13" fmla="*/ 2124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41" y="8048"/>
                    <a:pt x="387" y="8886"/>
                    <a:pt x="1283" y="9267"/>
                  </a:cubicBezTo>
                  <a:lnTo>
                    <a:pt x="13856" y="16506"/>
                  </a:lnTo>
                  <a:cubicBezTo>
                    <a:pt x="16275" y="17744"/>
                    <a:pt x="19152" y="17744"/>
                    <a:pt x="21571" y="16506"/>
                  </a:cubicBezTo>
                  <a:lnTo>
                    <a:pt x="34144" y="9267"/>
                  </a:lnTo>
                  <a:cubicBezTo>
                    <a:pt x="35030" y="8829"/>
                    <a:pt x="35640" y="7972"/>
                    <a:pt x="35764" y="6981"/>
                  </a:cubicBezTo>
                  <a:lnTo>
                    <a:pt x="35764" y="-163"/>
                  </a:lnTo>
                  <a:cubicBezTo>
                    <a:pt x="35659" y="828"/>
                    <a:pt x="35049" y="1695"/>
                    <a:pt x="34144" y="2124"/>
                  </a:cubicBezTo>
                  <a:lnTo>
                    <a:pt x="31858" y="3457"/>
                  </a:lnTo>
                  <a:lnTo>
                    <a:pt x="21571" y="9267"/>
                  </a:lnTo>
                  <a:cubicBezTo>
                    <a:pt x="19171" y="10610"/>
                    <a:pt x="16256" y="10610"/>
                    <a:pt x="13856" y="9267"/>
                  </a:cubicBezTo>
                  <a:lnTo>
                    <a:pt x="3569" y="3457"/>
                  </a:lnTo>
                  <a:lnTo>
                    <a:pt x="1283" y="2124"/>
                  </a:lnTo>
                  <a:cubicBezTo>
                    <a:pt x="349" y="1733"/>
                    <a:pt x="-270" y="847"/>
                    <a:pt x="-336" y="-163"/>
                  </a:cubicBezTo>
                  <a:close/>
                </a:path>
              </a:pathLst>
            </a:custGeom>
            <a:solidFill>
              <a:srgbClr val="BF4200"/>
            </a:solidFill>
            <a:ln w="9525" cap="flat">
              <a:noFill/>
              <a:prstDash val="solid"/>
              <a:miter/>
            </a:ln>
          </p:spPr>
          <p:txBody>
            <a:bodyPr rtlCol="0" anchor="ctr"/>
            <a:lstStyle/>
            <a:p>
              <a:endParaRPr lang="zh-CN" altLang="en-US"/>
            </a:p>
          </p:txBody>
        </p:sp>
        <p:sp>
          <p:nvSpPr>
            <p:cNvPr id="648" name="íṧḷîḑê">
              <a:extLst>
                <a:ext uri="{FF2B5EF4-FFF2-40B4-BE49-F238E27FC236}">
                  <a16:creationId xmlns:a16="http://schemas.microsoft.com/office/drawing/2014/main" id="{E6E6DCE7-D015-40F4-9037-D1F2C6B589F7}"/>
                </a:ext>
              </a:extLst>
            </p:cNvPr>
            <p:cNvSpPr/>
            <p:nvPr/>
          </p:nvSpPr>
          <p:spPr>
            <a:xfrm>
              <a:off x="5419486" y="4835764"/>
              <a:ext cx="109362" cy="63588"/>
            </a:xfrm>
            <a:custGeom>
              <a:avLst/>
              <a:gdLst>
                <a:gd name="connsiteX0" fmla="*/ -336 w 35928"/>
                <a:gd name="connsiteY0" fmla="*/ 10291 h 20890"/>
                <a:gd name="connsiteX1" fmla="*/ 1188 w 35928"/>
                <a:gd name="connsiteY1" fmla="*/ 12482 h 20890"/>
                <a:gd name="connsiteX2" fmla="*/ 3569 w 35928"/>
                <a:gd name="connsiteY2" fmla="*/ 13911 h 20890"/>
                <a:gd name="connsiteX3" fmla="*/ 13856 w 35928"/>
                <a:gd name="connsiteY3" fmla="*/ 19721 h 20890"/>
                <a:gd name="connsiteX4" fmla="*/ 21476 w 35928"/>
                <a:gd name="connsiteY4" fmla="*/ 19721 h 20890"/>
                <a:gd name="connsiteX5" fmla="*/ 31763 w 35928"/>
                <a:gd name="connsiteY5" fmla="*/ 13911 h 20890"/>
                <a:gd name="connsiteX6" fmla="*/ 34144 w 35928"/>
                <a:gd name="connsiteY6" fmla="*/ 12482 h 20890"/>
                <a:gd name="connsiteX7" fmla="*/ 35402 w 35928"/>
                <a:gd name="connsiteY7" fmla="*/ 9358 h 20890"/>
                <a:gd name="connsiteX8" fmla="*/ 34144 w 35928"/>
                <a:gd name="connsiteY8" fmla="*/ 8101 h 20890"/>
                <a:gd name="connsiteX9" fmla="*/ 21476 w 35928"/>
                <a:gd name="connsiteY9" fmla="*/ 766 h 20890"/>
                <a:gd name="connsiteX10" fmla="*/ 13856 w 35928"/>
                <a:gd name="connsiteY10" fmla="*/ 766 h 20890"/>
                <a:gd name="connsiteX11" fmla="*/ 1188 w 35928"/>
                <a:gd name="connsiteY11" fmla="*/ 8101 h 20890"/>
                <a:gd name="connsiteX12" fmla="*/ -336 w 35928"/>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928" h="20890">
                  <a:moveTo>
                    <a:pt x="-336" y="10291"/>
                  </a:moveTo>
                  <a:cubicBezTo>
                    <a:pt x="-298" y="11253"/>
                    <a:pt x="292" y="12110"/>
                    <a:pt x="1188" y="12482"/>
                  </a:cubicBezTo>
                  <a:lnTo>
                    <a:pt x="3569" y="13911"/>
                  </a:lnTo>
                  <a:lnTo>
                    <a:pt x="13856" y="19721"/>
                  </a:lnTo>
                  <a:cubicBezTo>
                    <a:pt x="16218" y="21064"/>
                    <a:pt x="19114" y="21064"/>
                    <a:pt x="21476" y="19721"/>
                  </a:cubicBezTo>
                  <a:lnTo>
                    <a:pt x="31763" y="13911"/>
                  </a:lnTo>
                  <a:lnTo>
                    <a:pt x="34144" y="12482"/>
                  </a:lnTo>
                  <a:cubicBezTo>
                    <a:pt x="35354" y="11967"/>
                    <a:pt x="35916" y="10567"/>
                    <a:pt x="35402" y="9358"/>
                  </a:cubicBezTo>
                  <a:cubicBezTo>
                    <a:pt x="35164" y="8796"/>
                    <a:pt x="34706" y="8339"/>
                    <a:pt x="34144" y="8101"/>
                  </a:cubicBezTo>
                  <a:lnTo>
                    <a:pt x="21476" y="766"/>
                  </a:lnTo>
                  <a:cubicBezTo>
                    <a:pt x="19085" y="-472"/>
                    <a:pt x="16247" y="-472"/>
                    <a:pt x="13856" y="766"/>
                  </a:cubicBezTo>
                  <a:lnTo>
                    <a:pt x="1188" y="8101"/>
                  </a:lnTo>
                  <a:cubicBezTo>
                    <a:pt x="292" y="8472"/>
                    <a:pt x="-298"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649" name="îsḷíḓe">
              <a:extLst>
                <a:ext uri="{FF2B5EF4-FFF2-40B4-BE49-F238E27FC236}">
                  <a16:creationId xmlns:a16="http://schemas.microsoft.com/office/drawing/2014/main" id="{F2E462A9-0F7E-4F64-9A3E-520814826E2C}"/>
                </a:ext>
              </a:extLst>
            </p:cNvPr>
            <p:cNvSpPr/>
            <p:nvPr/>
          </p:nvSpPr>
          <p:spPr>
            <a:xfrm>
              <a:off x="5421370" y="4836924"/>
              <a:ext cx="105825" cy="61101"/>
            </a:xfrm>
            <a:custGeom>
              <a:avLst/>
              <a:gdLst>
                <a:gd name="connsiteX0" fmla="*/ 1235 w 34766"/>
                <a:gd name="connsiteY0" fmla="*/ 12006 h 20073"/>
                <a:gd name="connsiteX1" fmla="*/ 13332 w 34766"/>
                <a:gd name="connsiteY1" fmla="*/ 19054 h 20073"/>
                <a:gd name="connsiteX2" fmla="*/ 20762 w 34766"/>
                <a:gd name="connsiteY2" fmla="*/ 19054 h 20073"/>
                <a:gd name="connsiteX3" fmla="*/ 32858 w 34766"/>
                <a:gd name="connsiteY3" fmla="*/ 12006 h 20073"/>
                <a:gd name="connsiteX4" fmla="*/ 32858 w 34766"/>
                <a:gd name="connsiteY4" fmla="*/ 7719 h 20073"/>
                <a:gd name="connsiteX5" fmla="*/ 20762 w 34766"/>
                <a:gd name="connsiteY5" fmla="*/ 766 h 20073"/>
                <a:gd name="connsiteX6" fmla="*/ 13332 w 34766"/>
                <a:gd name="connsiteY6" fmla="*/ 766 h 20073"/>
                <a:gd name="connsiteX7" fmla="*/ 1235 w 34766"/>
                <a:gd name="connsiteY7" fmla="*/ 7719 h 20073"/>
                <a:gd name="connsiteX8" fmla="*/ 1235 w 34766"/>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6" h="20073">
                  <a:moveTo>
                    <a:pt x="1235" y="12006"/>
                  </a:moveTo>
                  <a:lnTo>
                    <a:pt x="13332" y="19054"/>
                  </a:lnTo>
                  <a:cubicBezTo>
                    <a:pt x="15675" y="20197"/>
                    <a:pt x="18419" y="20197"/>
                    <a:pt x="20762" y="19054"/>
                  </a:cubicBezTo>
                  <a:lnTo>
                    <a:pt x="32858" y="12006"/>
                  </a:lnTo>
                  <a:cubicBezTo>
                    <a:pt x="34954" y="10863"/>
                    <a:pt x="34954" y="8957"/>
                    <a:pt x="32858" y="7719"/>
                  </a:cubicBezTo>
                  <a:lnTo>
                    <a:pt x="20762" y="766"/>
                  </a:lnTo>
                  <a:cubicBezTo>
                    <a:pt x="18437" y="-472"/>
                    <a:pt x="15656" y="-472"/>
                    <a:pt x="13332" y="766"/>
                  </a:cubicBezTo>
                  <a:lnTo>
                    <a:pt x="1235" y="7719"/>
                  </a:lnTo>
                  <a:cubicBezTo>
                    <a:pt x="-860" y="8957"/>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650" name="isḷïďê">
              <a:extLst>
                <a:ext uri="{FF2B5EF4-FFF2-40B4-BE49-F238E27FC236}">
                  <a16:creationId xmlns:a16="http://schemas.microsoft.com/office/drawing/2014/main" id="{EDEE4D96-BA89-4F73-9AA3-6E38E95DFAA0}"/>
                </a:ext>
              </a:extLst>
            </p:cNvPr>
            <p:cNvSpPr/>
            <p:nvPr/>
          </p:nvSpPr>
          <p:spPr>
            <a:xfrm>
              <a:off x="5419486" y="4867586"/>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028 h 17597"/>
                <a:gd name="connsiteX9" fmla="*/ 31763 w 36004"/>
                <a:gd name="connsiteY9" fmla="*/ 3457 h 17597"/>
                <a:gd name="connsiteX10" fmla="*/ 21476 w 36004"/>
                <a:gd name="connsiteY10" fmla="*/ 9267 h 17597"/>
                <a:gd name="connsiteX11" fmla="*/ 13856 w 36004"/>
                <a:gd name="connsiteY11" fmla="*/ 9267 h 17597"/>
                <a:gd name="connsiteX12" fmla="*/ 3569 w 36004"/>
                <a:gd name="connsiteY12" fmla="*/ 3457 h 17597"/>
                <a:gd name="connsiteX13" fmla="*/ 1188 w 36004"/>
                <a:gd name="connsiteY13" fmla="*/ 2028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3" y="7953"/>
                    <a:pt x="35668" y="6981"/>
                  </a:cubicBezTo>
                  <a:lnTo>
                    <a:pt x="35668" y="-163"/>
                  </a:lnTo>
                  <a:cubicBezTo>
                    <a:pt x="35630" y="800"/>
                    <a:pt x="35040" y="1657"/>
                    <a:pt x="34144" y="2028"/>
                  </a:cubicBezTo>
                  <a:lnTo>
                    <a:pt x="31763" y="3457"/>
                  </a:lnTo>
                  <a:lnTo>
                    <a:pt x="21476" y="9267"/>
                  </a:lnTo>
                  <a:cubicBezTo>
                    <a:pt x="19114" y="10610"/>
                    <a:pt x="16218" y="10610"/>
                    <a:pt x="13856" y="9267"/>
                  </a:cubicBezTo>
                  <a:lnTo>
                    <a:pt x="3569" y="3457"/>
                  </a:lnTo>
                  <a:lnTo>
                    <a:pt x="1188" y="2028"/>
                  </a:lnTo>
                  <a:cubicBezTo>
                    <a:pt x="292" y="1657"/>
                    <a:pt x="-298" y="800"/>
                    <a:pt x="-336" y="-163"/>
                  </a:cubicBezTo>
                  <a:close/>
                </a:path>
              </a:pathLst>
            </a:custGeom>
            <a:solidFill>
              <a:srgbClr val="BF4200"/>
            </a:solidFill>
            <a:ln w="9525" cap="flat">
              <a:noFill/>
              <a:prstDash val="solid"/>
              <a:miter/>
            </a:ln>
          </p:spPr>
          <p:txBody>
            <a:bodyPr rtlCol="0" anchor="ctr"/>
            <a:lstStyle/>
            <a:p>
              <a:endParaRPr lang="zh-CN" altLang="en-US"/>
            </a:p>
          </p:txBody>
        </p:sp>
        <p:sp>
          <p:nvSpPr>
            <p:cNvPr id="651" name="ïṥļiḓe">
              <a:extLst>
                <a:ext uri="{FF2B5EF4-FFF2-40B4-BE49-F238E27FC236}">
                  <a16:creationId xmlns:a16="http://schemas.microsoft.com/office/drawing/2014/main" id="{FDBD5F0D-4AD6-49D8-BCE2-BD4968C67C91}"/>
                </a:ext>
              </a:extLst>
            </p:cNvPr>
            <p:cNvSpPr/>
            <p:nvPr/>
          </p:nvSpPr>
          <p:spPr>
            <a:xfrm>
              <a:off x="5496607" y="4880416"/>
              <a:ext cx="109883" cy="63588"/>
            </a:xfrm>
            <a:custGeom>
              <a:avLst/>
              <a:gdLst>
                <a:gd name="connsiteX0" fmla="*/ -336 w 36099"/>
                <a:gd name="connsiteY0" fmla="*/ 10196 h 20890"/>
                <a:gd name="connsiteX1" fmla="*/ 1283 w 36099"/>
                <a:gd name="connsiteY1" fmla="*/ 12482 h 20890"/>
                <a:gd name="connsiteX2" fmla="*/ 3569 w 36099"/>
                <a:gd name="connsiteY2" fmla="*/ 13815 h 20890"/>
                <a:gd name="connsiteX3" fmla="*/ 13856 w 36099"/>
                <a:gd name="connsiteY3" fmla="*/ 19721 h 20890"/>
                <a:gd name="connsiteX4" fmla="*/ 21571 w 36099"/>
                <a:gd name="connsiteY4" fmla="*/ 19721 h 20890"/>
                <a:gd name="connsiteX5" fmla="*/ 31858 w 36099"/>
                <a:gd name="connsiteY5" fmla="*/ 13815 h 20890"/>
                <a:gd name="connsiteX6" fmla="*/ 34144 w 36099"/>
                <a:gd name="connsiteY6" fmla="*/ 12482 h 20890"/>
                <a:gd name="connsiteX7" fmla="*/ 35764 w 36099"/>
                <a:gd name="connsiteY7" fmla="*/ 10196 h 20890"/>
                <a:gd name="connsiteX8" fmla="*/ 34144 w 36099"/>
                <a:gd name="connsiteY8" fmla="*/ 8005 h 20890"/>
                <a:gd name="connsiteX9" fmla="*/ 21571 w 36099"/>
                <a:gd name="connsiteY9" fmla="*/ 766 h 20890"/>
                <a:gd name="connsiteX10" fmla="*/ 13856 w 36099"/>
                <a:gd name="connsiteY10" fmla="*/ 766 h 20890"/>
                <a:gd name="connsiteX11" fmla="*/ 1283 w 36099"/>
                <a:gd name="connsiteY11" fmla="*/ 8005 h 20890"/>
                <a:gd name="connsiteX12" fmla="*/ -336 w 36099"/>
                <a:gd name="connsiteY12" fmla="*/ 10196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99" h="20890">
                  <a:moveTo>
                    <a:pt x="-336" y="10196"/>
                  </a:moveTo>
                  <a:cubicBezTo>
                    <a:pt x="-251" y="11196"/>
                    <a:pt x="369" y="12072"/>
                    <a:pt x="1283" y="12482"/>
                  </a:cubicBezTo>
                  <a:lnTo>
                    <a:pt x="3569" y="13815"/>
                  </a:lnTo>
                  <a:lnTo>
                    <a:pt x="13856" y="19721"/>
                  </a:lnTo>
                  <a:cubicBezTo>
                    <a:pt x="16256" y="21064"/>
                    <a:pt x="19171" y="21064"/>
                    <a:pt x="21571" y="19721"/>
                  </a:cubicBezTo>
                  <a:lnTo>
                    <a:pt x="31858" y="13815"/>
                  </a:lnTo>
                  <a:lnTo>
                    <a:pt x="34144" y="12482"/>
                  </a:lnTo>
                  <a:cubicBezTo>
                    <a:pt x="35059" y="12072"/>
                    <a:pt x="35678" y="11196"/>
                    <a:pt x="35764" y="10196"/>
                  </a:cubicBezTo>
                  <a:cubicBezTo>
                    <a:pt x="35630" y="9243"/>
                    <a:pt x="35021" y="8415"/>
                    <a:pt x="34144" y="8005"/>
                  </a:cubicBezTo>
                  <a:lnTo>
                    <a:pt x="21571" y="766"/>
                  </a:lnTo>
                  <a:cubicBezTo>
                    <a:pt x="19152" y="-472"/>
                    <a:pt x="16275" y="-472"/>
                    <a:pt x="13856" y="766"/>
                  </a:cubicBezTo>
                  <a:lnTo>
                    <a:pt x="1283" y="8005"/>
                  </a:lnTo>
                  <a:cubicBezTo>
                    <a:pt x="407" y="8415"/>
                    <a:pt x="-203" y="924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652" name="iṣḷíḍè">
              <a:extLst>
                <a:ext uri="{FF2B5EF4-FFF2-40B4-BE49-F238E27FC236}">
                  <a16:creationId xmlns:a16="http://schemas.microsoft.com/office/drawing/2014/main" id="{E86FD64F-15B9-435C-91B2-904E53EAA6C4}"/>
                </a:ext>
              </a:extLst>
            </p:cNvPr>
            <p:cNvSpPr/>
            <p:nvPr/>
          </p:nvSpPr>
          <p:spPr>
            <a:xfrm>
              <a:off x="5498710" y="4881575"/>
              <a:ext cx="105679" cy="61101"/>
            </a:xfrm>
            <a:custGeom>
              <a:avLst/>
              <a:gdLst>
                <a:gd name="connsiteX0" fmla="*/ 1164 w 34718"/>
                <a:gd name="connsiteY0" fmla="*/ 12006 h 20073"/>
                <a:gd name="connsiteX1" fmla="*/ 13260 w 34718"/>
                <a:gd name="connsiteY1" fmla="*/ 19054 h 20073"/>
                <a:gd name="connsiteX2" fmla="*/ 20785 w 34718"/>
                <a:gd name="connsiteY2" fmla="*/ 19054 h 20073"/>
                <a:gd name="connsiteX3" fmla="*/ 32882 w 34718"/>
                <a:gd name="connsiteY3" fmla="*/ 12006 h 20073"/>
                <a:gd name="connsiteX4" fmla="*/ 32882 w 34718"/>
                <a:gd name="connsiteY4" fmla="*/ 7719 h 20073"/>
                <a:gd name="connsiteX5" fmla="*/ 20785 w 34718"/>
                <a:gd name="connsiteY5" fmla="*/ 766 h 20073"/>
                <a:gd name="connsiteX6" fmla="*/ 13260 w 34718"/>
                <a:gd name="connsiteY6" fmla="*/ 766 h 20073"/>
                <a:gd name="connsiteX7" fmla="*/ 1164 w 34718"/>
                <a:gd name="connsiteY7" fmla="*/ 7719 h 20073"/>
                <a:gd name="connsiteX8" fmla="*/ 1164 w 34718"/>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18" h="20073">
                  <a:moveTo>
                    <a:pt x="1164" y="12006"/>
                  </a:moveTo>
                  <a:lnTo>
                    <a:pt x="13260" y="19054"/>
                  </a:lnTo>
                  <a:cubicBezTo>
                    <a:pt x="15642" y="20197"/>
                    <a:pt x="18404" y="20197"/>
                    <a:pt x="20785" y="19054"/>
                  </a:cubicBezTo>
                  <a:lnTo>
                    <a:pt x="32882" y="12006"/>
                  </a:lnTo>
                  <a:cubicBezTo>
                    <a:pt x="34882" y="10863"/>
                    <a:pt x="34882" y="8957"/>
                    <a:pt x="32882" y="7719"/>
                  </a:cubicBezTo>
                  <a:lnTo>
                    <a:pt x="20785" y="766"/>
                  </a:lnTo>
                  <a:cubicBezTo>
                    <a:pt x="18433" y="-472"/>
                    <a:pt x="15613" y="-472"/>
                    <a:pt x="13260" y="766"/>
                  </a:cubicBezTo>
                  <a:lnTo>
                    <a:pt x="1164" y="7719"/>
                  </a:lnTo>
                  <a:cubicBezTo>
                    <a:pt x="-836" y="8957"/>
                    <a:pt x="-836" y="10481"/>
                    <a:pt x="1164" y="12006"/>
                  </a:cubicBezTo>
                  <a:close/>
                </a:path>
              </a:pathLst>
            </a:custGeom>
            <a:solidFill>
              <a:srgbClr val="D1D9E8"/>
            </a:solidFill>
            <a:ln w="9525" cap="flat">
              <a:noFill/>
              <a:prstDash val="solid"/>
              <a:miter/>
            </a:ln>
          </p:spPr>
          <p:txBody>
            <a:bodyPr rtlCol="0" anchor="ctr"/>
            <a:lstStyle/>
            <a:p>
              <a:endParaRPr lang="zh-CN" altLang="en-US"/>
            </a:p>
          </p:txBody>
        </p:sp>
        <p:sp>
          <p:nvSpPr>
            <p:cNvPr id="653" name="ïṡļiḍè">
              <a:extLst>
                <a:ext uri="{FF2B5EF4-FFF2-40B4-BE49-F238E27FC236}">
                  <a16:creationId xmlns:a16="http://schemas.microsoft.com/office/drawing/2014/main" id="{1A8CD1FC-72C2-4F65-825F-4CCF48E49DDA}"/>
                </a:ext>
              </a:extLst>
            </p:cNvPr>
            <p:cNvSpPr/>
            <p:nvPr/>
          </p:nvSpPr>
          <p:spPr>
            <a:xfrm>
              <a:off x="5496607" y="4911945"/>
              <a:ext cx="109883" cy="53804"/>
            </a:xfrm>
            <a:custGeom>
              <a:avLst/>
              <a:gdLst>
                <a:gd name="connsiteX0" fmla="*/ -336 w 36099"/>
                <a:gd name="connsiteY0" fmla="*/ -163 h 17676"/>
                <a:gd name="connsiteX1" fmla="*/ -336 w 36099"/>
                <a:gd name="connsiteY1" fmla="*/ 7076 h 17676"/>
                <a:gd name="connsiteX2" fmla="*/ 1283 w 36099"/>
                <a:gd name="connsiteY2" fmla="*/ 9362 h 17676"/>
                <a:gd name="connsiteX3" fmla="*/ 13856 w 36099"/>
                <a:gd name="connsiteY3" fmla="*/ 16506 h 17676"/>
                <a:gd name="connsiteX4" fmla="*/ 21571 w 36099"/>
                <a:gd name="connsiteY4" fmla="*/ 16506 h 17676"/>
                <a:gd name="connsiteX5" fmla="*/ 34144 w 36099"/>
                <a:gd name="connsiteY5" fmla="*/ 9362 h 17676"/>
                <a:gd name="connsiteX6" fmla="*/ 35764 w 36099"/>
                <a:gd name="connsiteY6" fmla="*/ 7076 h 17676"/>
                <a:gd name="connsiteX7" fmla="*/ 35764 w 36099"/>
                <a:gd name="connsiteY7" fmla="*/ -163 h 17676"/>
                <a:gd name="connsiteX8" fmla="*/ 34144 w 36099"/>
                <a:gd name="connsiteY8" fmla="*/ 2124 h 17676"/>
                <a:gd name="connsiteX9" fmla="*/ 31858 w 36099"/>
                <a:gd name="connsiteY9" fmla="*/ 3457 h 17676"/>
                <a:gd name="connsiteX10" fmla="*/ 21571 w 36099"/>
                <a:gd name="connsiteY10" fmla="*/ 9362 h 17676"/>
                <a:gd name="connsiteX11" fmla="*/ 13856 w 36099"/>
                <a:gd name="connsiteY11" fmla="*/ 9362 h 17676"/>
                <a:gd name="connsiteX12" fmla="*/ 3569 w 36099"/>
                <a:gd name="connsiteY12" fmla="*/ 3457 h 17676"/>
                <a:gd name="connsiteX13" fmla="*/ 1283 w 36099"/>
                <a:gd name="connsiteY13" fmla="*/ 2124 h 17676"/>
                <a:gd name="connsiteX14" fmla="*/ -336 w 36099"/>
                <a:gd name="connsiteY14" fmla="*/ -163 h 17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676">
                  <a:moveTo>
                    <a:pt x="-336" y="-163"/>
                  </a:moveTo>
                  <a:lnTo>
                    <a:pt x="-336" y="7076"/>
                  </a:lnTo>
                  <a:cubicBezTo>
                    <a:pt x="-231" y="8067"/>
                    <a:pt x="378" y="8934"/>
                    <a:pt x="1283" y="9362"/>
                  </a:cubicBezTo>
                  <a:lnTo>
                    <a:pt x="13856" y="16506"/>
                  </a:lnTo>
                  <a:cubicBezTo>
                    <a:pt x="16256" y="17849"/>
                    <a:pt x="19171" y="17849"/>
                    <a:pt x="21571" y="16506"/>
                  </a:cubicBezTo>
                  <a:lnTo>
                    <a:pt x="34144" y="9362"/>
                  </a:lnTo>
                  <a:cubicBezTo>
                    <a:pt x="35030" y="8924"/>
                    <a:pt x="35640" y="8058"/>
                    <a:pt x="35764" y="7076"/>
                  </a:cubicBezTo>
                  <a:lnTo>
                    <a:pt x="35764" y="-163"/>
                  </a:lnTo>
                  <a:cubicBezTo>
                    <a:pt x="35678" y="838"/>
                    <a:pt x="35059" y="1714"/>
                    <a:pt x="34144" y="2124"/>
                  </a:cubicBezTo>
                  <a:lnTo>
                    <a:pt x="31858" y="3457"/>
                  </a:lnTo>
                  <a:lnTo>
                    <a:pt x="21571" y="9362"/>
                  </a:lnTo>
                  <a:cubicBezTo>
                    <a:pt x="19171" y="10706"/>
                    <a:pt x="16256" y="10706"/>
                    <a:pt x="13856" y="9362"/>
                  </a:cubicBezTo>
                  <a:lnTo>
                    <a:pt x="3569" y="3457"/>
                  </a:lnTo>
                  <a:lnTo>
                    <a:pt x="1283" y="2124"/>
                  </a:lnTo>
                  <a:cubicBezTo>
                    <a:pt x="369" y="1714"/>
                    <a:pt x="-251" y="83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54" name="ïşľiḋe">
              <a:extLst>
                <a:ext uri="{FF2B5EF4-FFF2-40B4-BE49-F238E27FC236}">
                  <a16:creationId xmlns:a16="http://schemas.microsoft.com/office/drawing/2014/main" id="{9DFCAFCB-A2AB-477E-A052-326F741B0EB4}"/>
                </a:ext>
              </a:extLst>
            </p:cNvPr>
            <p:cNvSpPr/>
            <p:nvPr/>
          </p:nvSpPr>
          <p:spPr>
            <a:xfrm>
              <a:off x="5574020" y="4925064"/>
              <a:ext cx="109594" cy="63588"/>
            </a:xfrm>
            <a:custGeom>
              <a:avLst/>
              <a:gdLst>
                <a:gd name="connsiteX0" fmla="*/ -336 w 36004"/>
                <a:gd name="connsiteY0" fmla="*/ 10196 h 20890"/>
                <a:gd name="connsiteX1" fmla="*/ 1188 w 36004"/>
                <a:gd name="connsiteY1" fmla="*/ 12482 h 20890"/>
                <a:gd name="connsiteX2" fmla="*/ 3569 w 36004"/>
                <a:gd name="connsiteY2" fmla="*/ 13815 h 20890"/>
                <a:gd name="connsiteX3" fmla="*/ 13856 w 36004"/>
                <a:gd name="connsiteY3" fmla="*/ 19721 h 20890"/>
                <a:gd name="connsiteX4" fmla="*/ 21476 w 36004"/>
                <a:gd name="connsiteY4" fmla="*/ 19721 h 20890"/>
                <a:gd name="connsiteX5" fmla="*/ 31763 w 36004"/>
                <a:gd name="connsiteY5" fmla="*/ 13815 h 20890"/>
                <a:gd name="connsiteX6" fmla="*/ 34144 w 36004"/>
                <a:gd name="connsiteY6" fmla="*/ 12482 h 20890"/>
                <a:gd name="connsiteX7" fmla="*/ 35668 w 36004"/>
                <a:gd name="connsiteY7" fmla="*/ 10196 h 20890"/>
                <a:gd name="connsiteX8" fmla="*/ 34144 w 36004"/>
                <a:gd name="connsiteY8" fmla="*/ 8005 h 20890"/>
                <a:gd name="connsiteX9" fmla="*/ 21476 w 36004"/>
                <a:gd name="connsiteY9" fmla="*/ 766 h 20890"/>
                <a:gd name="connsiteX10" fmla="*/ 13856 w 36004"/>
                <a:gd name="connsiteY10" fmla="*/ 766 h 20890"/>
                <a:gd name="connsiteX11" fmla="*/ 1188 w 36004"/>
                <a:gd name="connsiteY11" fmla="*/ 8005 h 20890"/>
                <a:gd name="connsiteX12" fmla="*/ -336 w 36004"/>
                <a:gd name="connsiteY12" fmla="*/ 10196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196"/>
                  </a:moveTo>
                  <a:cubicBezTo>
                    <a:pt x="-308" y="11186"/>
                    <a:pt x="283" y="12082"/>
                    <a:pt x="1188" y="12482"/>
                  </a:cubicBezTo>
                  <a:lnTo>
                    <a:pt x="3569" y="13815"/>
                  </a:lnTo>
                  <a:lnTo>
                    <a:pt x="13856" y="19721"/>
                  </a:lnTo>
                  <a:cubicBezTo>
                    <a:pt x="16218" y="21064"/>
                    <a:pt x="19114" y="21064"/>
                    <a:pt x="21476" y="19721"/>
                  </a:cubicBezTo>
                  <a:lnTo>
                    <a:pt x="31763" y="13815"/>
                  </a:lnTo>
                  <a:lnTo>
                    <a:pt x="34144" y="12482"/>
                  </a:lnTo>
                  <a:cubicBezTo>
                    <a:pt x="35049" y="12082"/>
                    <a:pt x="35640" y="11186"/>
                    <a:pt x="35668" y="10196"/>
                  </a:cubicBezTo>
                  <a:cubicBezTo>
                    <a:pt x="35573" y="9253"/>
                    <a:pt x="34992" y="8424"/>
                    <a:pt x="34144" y="8005"/>
                  </a:cubicBezTo>
                  <a:lnTo>
                    <a:pt x="21476" y="766"/>
                  </a:lnTo>
                  <a:cubicBezTo>
                    <a:pt x="19085" y="-472"/>
                    <a:pt x="16247" y="-472"/>
                    <a:pt x="13856" y="766"/>
                  </a:cubicBezTo>
                  <a:lnTo>
                    <a:pt x="1188" y="8005"/>
                  </a:lnTo>
                  <a:cubicBezTo>
                    <a:pt x="340" y="8424"/>
                    <a:pt x="-241" y="925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655" name="iṧļïḍe">
              <a:extLst>
                <a:ext uri="{FF2B5EF4-FFF2-40B4-BE49-F238E27FC236}">
                  <a16:creationId xmlns:a16="http://schemas.microsoft.com/office/drawing/2014/main" id="{4A3228A8-801D-42EA-8183-C649E0274FF3}"/>
                </a:ext>
              </a:extLst>
            </p:cNvPr>
            <p:cNvSpPr/>
            <p:nvPr/>
          </p:nvSpPr>
          <p:spPr>
            <a:xfrm>
              <a:off x="5576154" y="4926151"/>
              <a:ext cx="105329" cy="61174"/>
            </a:xfrm>
            <a:custGeom>
              <a:avLst/>
              <a:gdLst>
                <a:gd name="connsiteX0" fmla="*/ 1154 w 34603"/>
                <a:gd name="connsiteY0" fmla="*/ 12029 h 20097"/>
                <a:gd name="connsiteX1" fmla="*/ 13251 w 34603"/>
                <a:gd name="connsiteY1" fmla="*/ 19078 h 20097"/>
                <a:gd name="connsiteX2" fmla="*/ 20680 w 34603"/>
                <a:gd name="connsiteY2" fmla="*/ 19078 h 20097"/>
                <a:gd name="connsiteX3" fmla="*/ 32777 w 34603"/>
                <a:gd name="connsiteY3" fmla="*/ 12029 h 20097"/>
                <a:gd name="connsiteX4" fmla="*/ 34120 w 34603"/>
                <a:gd name="connsiteY4" fmla="*/ 9096 h 20097"/>
                <a:gd name="connsiteX5" fmla="*/ 32777 w 34603"/>
                <a:gd name="connsiteY5" fmla="*/ 7743 h 20097"/>
                <a:gd name="connsiteX6" fmla="*/ 20680 w 34603"/>
                <a:gd name="connsiteY6" fmla="*/ 695 h 20097"/>
                <a:gd name="connsiteX7" fmla="*/ 13251 w 34603"/>
                <a:gd name="connsiteY7" fmla="*/ 695 h 20097"/>
                <a:gd name="connsiteX8" fmla="*/ 1154 w 34603"/>
                <a:gd name="connsiteY8" fmla="*/ 7743 h 20097"/>
                <a:gd name="connsiteX9" fmla="*/ -189 w 34603"/>
                <a:gd name="connsiteY9" fmla="*/ 10686 h 20097"/>
                <a:gd name="connsiteX10" fmla="*/ 1154 w 34603"/>
                <a:gd name="connsiteY10" fmla="*/ 12029 h 20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603" h="20097">
                  <a:moveTo>
                    <a:pt x="1154" y="12029"/>
                  </a:moveTo>
                  <a:lnTo>
                    <a:pt x="13251" y="19078"/>
                  </a:lnTo>
                  <a:cubicBezTo>
                    <a:pt x="15594" y="20221"/>
                    <a:pt x="18337" y="20221"/>
                    <a:pt x="20680" y="19078"/>
                  </a:cubicBezTo>
                  <a:lnTo>
                    <a:pt x="32777" y="12029"/>
                  </a:lnTo>
                  <a:cubicBezTo>
                    <a:pt x="33958" y="11591"/>
                    <a:pt x="34568" y="10277"/>
                    <a:pt x="34120" y="9096"/>
                  </a:cubicBezTo>
                  <a:cubicBezTo>
                    <a:pt x="33891" y="8467"/>
                    <a:pt x="33396" y="7971"/>
                    <a:pt x="32777" y="7743"/>
                  </a:cubicBezTo>
                  <a:lnTo>
                    <a:pt x="20680" y="695"/>
                  </a:lnTo>
                  <a:cubicBezTo>
                    <a:pt x="18337" y="-448"/>
                    <a:pt x="15594" y="-448"/>
                    <a:pt x="13251" y="695"/>
                  </a:cubicBezTo>
                  <a:lnTo>
                    <a:pt x="1154" y="7743"/>
                  </a:lnTo>
                  <a:cubicBezTo>
                    <a:pt x="-27" y="8181"/>
                    <a:pt x="-637" y="9496"/>
                    <a:pt x="-189" y="10686"/>
                  </a:cubicBezTo>
                  <a:cubicBezTo>
                    <a:pt x="40" y="11305"/>
                    <a:pt x="535" y="11801"/>
                    <a:pt x="1154" y="12029"/>
                  </a:cubicBezTo>
                  <a:close/>
                </a:path>
              </a:pathLst>
            </a:custGeom>
            <a:solidFill>
              <a:srgbClr val="D1D9E8"/>
            </a:solidFill>
            <a:ln w="9525" cap="flat">
              <a:noFill/>
              <a:prstDash val="solid"/>
              <a:miter/>
            </a:ln>
          </p:spPr>
          <p:txBody>
            <a:bodyPr rtlCol="0" anchor="ctr"/>
            <a:lstStyle/>
            <a:p>
              <a:endParaRPr lang="zh-CN" altLang="en-US"/>
            </a:p>
          </p:txBody>
        </p:sp>
        <p:sp>
          <p:nvSpPr>
            <p:cNvPr id="656" name="ïṣḷîḓê">
              <a:extLst>
                <a:ext uri="{FF2B5EF4-FFF2-40B4-BE49-F238E27FC236}">
                  <a16:creationId xmlns:a16="http://schemas.microsoft.com/office/drawing/2014/main" id="{BA439B61-7F3F-4D9A-908C-F9CA5E484FE0}"/>
                </a:ext>
              </a:extLst>
            </p:cNvPr>
            <p:cNvSpPr/>
            <p:nvPr/>
          </p:nvSpPr>
          <p:spPr>
            <a:xfrm>
              <a:off x="5574020" y="4956596"/>
              <a:ext cx="109594" cy="53801"/>
            </a:xfrm>
            <a:custGeom>
              <a:avLst/>
              <a:gdLst>
                <a:gd name="connsiteX0" fmla="*/ -336 w 36004"/>
                <a:gd name="connsiteY0" fmla="*/ -163 h 17675"/>
                <a:gd name="connsiteX1" fmla="*/ -336 w 36004"/>
                <a:gd name="connsiteY1" fmla="*/ 7076 h 17675"/>
                <a:gd name="connsiteX2" fmla="*/ 1188 w 36004"/>
                <a:gd name="connsiteY2" fmla="*/ 9267 h 17675"/>
                <a:gd name="connsiteX3" fmla="*/ 13856 w 36004"/>
                <a:gd name="connsiteY3" fmla="*/ 16506 h 17675"/>
                <a:gd name="connsiteX4" fmla="*/ 21476 w 36004"/>
                <a:gd name="connsiteY4" fmla="*/ 16506 h 17675"/>
                <a:gd name="connsiteX5" fmla="*/ 34144 w 36004"/>
                <a:gd name="connsiteY5" fmla="*/ 9267 h 17675"/>
                <a:gd name="connsiteX6" fmla="*/ 35668 w 36004"/>
                <a:gd name="connsiteY6" fmla="*/ 7076 h 17675"/>
                <a:gd name="connsiteX7" fmla="*/ 35668 w 36004"/>
                <a:gd name="connsiteY7" fmla="*/ -163 h 17675"/>
                <a:gd name="connsiteX8" fmla="*/ 34144 w 36004"/>
                <a:gd name="connsiteY8" fmla="*/ 2123 h 17675"/>
                <a:gd name="connsiteX9" fmla="*/ 31763 w 36004"/>
                <a:gd name="connsiteY9" fmla="*/ 3457 h 17675"/>
                <a:gd name="connsiteX10" fmla="*/ 21476 w 36004"/>
                <a:gd name="connsiteY10" fmla="*/ 9362 h 17675"/>
                <a:gd name="connsiteX11" fmla="*/ 13856 w 36004"/>
                <a:gd name="connsiteY11" fmla="*/ 9362 h 17675"/>
                <a:gd name="connsiteX12" fmla="*/ 3569 w 36004"/>
                <a:gd name="connsiteY12" fmla="*/ 3457 h 17675"/>
                <a:gd name="connsiteX13" fmla="*/ 1188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98" y="8038"/>
                    <a:pt x="292" y="8896"/>
                    <a:pt x="1188" y="9267"/>
                  </a:cubicBezTo>
                  <a:lnTo>
                    <a:pt x="13856" y="16506"/>
                  </a:lnTo>
                  <a:cubicBezTo>
                    <a:pt x="16218" y="17849"/>
                    <a:pt x="19114" y="17849"/>
                    <a:pt x="21476" y="16506"/>
                  </a:cubicBezTo>
                  <a:lnTo>
                    <a:pt x="34144" y="9267"/>
                  </a:lnTo>
                  <a:cubicBezTo>
                    <a:pt x="35021" y="8877"/>
                    <a:pt x="35611" y="8038"/>
                    <a:pt x="35668" y="7076"/>
                  </a:cubicBezTo>
                  <a:lnTo>
                    <a:pt x="35668" y="-163"/>
                  </a:lnTo>
                  <a:cubicBezTo>
                    <a:pt x="35640" y="828"/>
                    <a:pt x="35049" y="1723"/>
                    <a:pt x="34144" y="2123"/>
                  </a:cubicBezTo>
                  <a:lnTo>
                    <a:pt x="31763" y="3457"/>
                  </a:lnTo>
                  <a:lnTo>
                    <a:pt x="21476" y="9362"/>
                  </a:lnTo>
                  <a:cubicBezTo>
                    <a:pt x="19114" y="10705"/>
                    <a:pt x="16218" y="10705"/>
                    <a:pt x="13856" y="9362"/>
                  </a:cubicBezTo>
                  <a:lnTo>
                    <a:pt x="3569" y="3457"/>
                  </a:lnTo>
                  <a:lnTo>
                    <a:pt x="1188" y="2123"/>
                  </a:lnTo>
                  <a:cubicBezTo>
                    <a:pt x="283" y="1723"/>
                    <a:pt x="-308"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57" name="í$1îḍê">
              <a:extLst>
                <a:ext uri="{FF2B5EF4-FFF2-40B4-BE49-F238E27FC236}">
                  <a16:creationId xmlns:a16="http://schemas.microsoft.com/office/drawing/2014/main" id="{44A90F4F-D014-4067-9638-028F0A54C08F}"/>
                </a:ext>
              </a:extLst>
            </p:cNvPr>
            <p:cNvSpPr/>
            <p:nvPr/>
          </p:nvSpPr>
          <p:spPr>
            <a:xfrm>
              <a:off x="5651433" y="4969481"/>
              <a:ext cx="109450" cy="63292"/>
            </a:xfrm>
            <a:custGeom>
              <a:avLst/>
              <a:gdLst>
                <a:gd name="connsiteX0" fmla="*/ -336 w 35957"/>
                <a:gd name="connsiteY0" fmla="*/ 10177 h 20793"/>
                <a:gd name="connsiteX1" fmla="*/ 1188 w 35957"/>
                <a:gd name="connsiteY1" fmla="*/ 12463 h 20793"/>
                <a:gd name="connsiteX2" fmla="*/ 3474 w 35957"/>
                <a:gd name="connsiteY2" fmla="*/ 13796 h 20793"/>
                <a:gd name="connsiteX3" fmla="*/ 13761 w 35957"/>
                <a:gd name="connsiteY3" fmla="*/ 19702 h 20793"/>
                <a:gd name="connsiteX4" fmla="*/ 21476 w 35957"/>
                <a:gd name="connsiteY4" fmla="*/ 19702 h 20793"/>
                <a:gd name="connsiteX5" fmla="*/ 31763 w 35957"/>
                <a:gd name="connsiteY5" fmla="*/ 13796 h 20793"/>
                <a:gd name="connsiteX6" fmla="*/ 34049 w 35957"/>
                <a:gd name="connsiteY6" fmla="*/ 12463 h 20793"/>
                <a:gd name="connsiteX7" fmla="*/ 35478 w 35957"/>
                <a:gd name="connsiteY7" fmla="*/ 9415 h 20793"/>
                <a:gd name="connsiteX8" fmla="*/ 34049 w 35957"/>
                <a:gd name="connsiteY8" fmla="*/ 7986 h 20793"/>
                <a:gd name="connsiteX9" fmla="*/ 21476 w 35957"/>
                <a:gd name="connsiteY9" fmla="*/ 652 h 20793"/>
                <a:gd name="connsiteX10" fmla="*/ 13761 w 35957"/>
                <a:gd name="connsiteY10" fmla="*/ 652 h 20793"/>
                <a:gd name="connsiteX11" fmla="*/ 1188 w 35957"/>
                <a:gd name="connsiteY11" fmla="*/ 7986 h 20793"/>
                <a:gd name="connsiteX12" fmla="*/ -336 w 35957"/>
                <a:gd name="connsiteY12" fmla="*/ 10177 h 20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957" h="20793">
                  <a:moveTo>
                    <a:pt x="-336" y="10177"/>
                  </a:moveTo>
                  <a:cubicBezTo>
                    <a:pt x="-269" y="11158"/>
                    <a:pt x="312" y="12025"/>
                    <a:pt x="1188" y="12463"/>
                  </a:cubicBezTo>
                  <a:lnTo>
                    <a:pt x="3474" y="13796"/>
                  </a:lnTo>
                  <a:lnTo>
                    <a:pt x="13761" y="19702"/>
                  </a:lnTo>
                  <a:cubicBezTo>
                    <a:pt x="16180" y="20940"/>
                    <a:pt x="19057" y="20940"/>
                    <a:pt x="21476" y="19702"/>
                  </a:cubicBezTo>
                  <a:lnTo>
                    <a:pt x="31763" y="13796"/>
                  </a:lnTo>
                  <a:lnTo>
                    <a:pt x="34049" y="12463"/>
                  </a:lnTo>
                  <a:cubicBezTo>
                    <a:pt x="35287" y="12015"/>
                    <a:pt x="35925" y="10644"/>
                    <a:pt x="35478" y="9415"/>
                  </a:cubicBezTo>
                  <a:cubicBezTo>
                    <a:pt x="35230" y="8748"/>
                    <a:pt x="34716" y="8224"/>
                    <a:pt x="34049" y="7986"/>
                  </a:cubicBezTo>
                  <a:lnTo>
                    <a:pt x="21476" y="652"/>
                  </a:lnTo>
                  <a:cubicBezTo>
                    <a:pt x="19019" y="-434"/>
                    <a:pt x="16218" y="-434"/>
                    <a:pt x="13761" y="652"/>
                  </a:cubicBezTo>
                  <a:lnTo>
                    <a:pt x="1188" y="7986"/>
                  </a:lnTo>
                  <a:cubicBezTo>
                    <a:pt x="340" y="8405"/>
                    <a:pt x="-241" y="9234"/>
                    <a:pt x="-336" y="10177"/>
                  </a:cubicBezTo>
                  <a:close/>
                </a:path>
              </a:pathLst>
            </a:custGeom>
            <a:solidFill>
              <a:srgbClr val="FFFFFF"/>
            </a:solidFill>
            <a:ln w="9525" cap="flat">
              <a:noFill/>
              <a:prstDash val="solid"/>
              <a:miter/>
            </a:ln>
          </p:spPr>
          <p:txBody>
            <a:bodyPr rtlCol="0" anchor="ctr"/>
            <a:lstStyle/>
            <a:p>
              <a:endParaRPr lang="zh-CN" altLang="en-US"/>
            </a:p>
          </p:txBody>
        </p:sp>
        <p:sp>
          <p:nvSpPr>
            <p:cNvPr id="658" name="ïsļîḑè">
              <a:extLst>
                <a:ext uri="{FF2B5EF4-FFF2-40B4-BE49-F238E27FC236}">
                  <a16:creationId xmlns:a16="http://schemas.microsoft.com/office/drawing/2014/main" id="{626CCB04-3878-4271-8E53-E03773F2F1F5}"/>
                </a:ext>
              </a:extLst>
            </p:cNvPr>
            <p:cNvSpPr/>
            <p:nvPr/>
          </p:nvSpPr>
          <p:spPr>
            <a:xfrm>
              <a:off x="5653275" y="4970802"/>
              <a:ext cx="105618" cy="61104"/>
            </a:xfrm>
            <a:custGeom>
              <a:avLst/>
              <a:gdLst>
                <a:gd name="connsiteX0" fmla="*/ 1154 w 34698"/>
                <a:gd name="connsiteY0" fmla="*/ 12029 h 20074"/>
                <a:gd name="connsiteX1" fmla="*/ 13346 w 34698"/>
                <a:gd name="connsiteY1" fmla="*/ 18983 h 20074"/>
                <a:gd name="connsiteX2" fmla="*/ 20776 w 34698"/>
                <a:gd name="connsiteY2" fmla="*/ 18983 h 20074"/>
                <a:gd name="connsiteX3" fmla="*/ 32872 w 34698"/>
                <a:gd name="connsiteY3" fmla="*/ 12029 h 20074"/>
                <a:gd name="connsiteX4" fmla="*/ 34215 w 34698"/>
                <a:gd name="connsiteY4" fmla="*/ 9086 h 20074"/>
                <a:gd name="connsiteX5" fmla="*/ 32872 w 34698"/>
                <a:gd name="connsiteY5" fmla="*/ 7743 h 20074"/>
                <a:gd name="connsiteX6" fmla="*/ 20776 w 34698"/>
                <a:gd name="connsiteY6" fmla="*/ 695 h 20074"/>
                <a:gd name="connsiteX7" fmla="*/ 13346 w 34698"/>
                <a:gd name="connsiteY7" fmla="*/ 695 h 20074"/>
                <a:gd name="connsiteX8" fmla="*/ 1154 w 34698"/>
                <a:gd name="connsiteY8" fmla="*/ 7743 h 20074"/>
                <a:gd name="connsiteX9" fmla="*/ -189 w 34698"/>
                <a:gd name="connsiteY9" fmla="*/ 10686 h 20074"/>
                <a:gd name="connsiteX10" fmla="*/ 1154 w 34698"/>
                <a:gd name="connsiteY10"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698" h="20074">
                  <a:moveTo>
                    <a:pt x="1154" y="12029"/>
                  </a:moveTo>
                  <a:lnTo>
                    <a:pt x="13346" y="18983"/>
                  </a:lnTo>
                  <a:cubicBezTo>
                    <a:pt x="15670" y="20221"/>
                    <a:pt x="18451" y="20221"/>
                    <a:pt x="20776" y="18983"/>
                  </a:cubicBezTo>
                  <a:lnTo>
                    <a:pt x="32872" y="12029"/>
                  </a:lnTo>
                  <a:cubicBezTo>
                    <a:pt x="34053" y="11591"/>
                    <a:pt x="34663" y="10277"/>
                    <a:pt x="34215" y="9086"/>
                  </a:cubicBezTo>
                  <a:cubicBezTo>
                    <a:pt x="33987" y="8467"/>
                    <a:pt x="33491" y="7972"/>
                    <a:pt x="32872" y="7743"/>
                  </a:cubicBezTo>
                  <a:lnTo>
                    <a:pt x="20776" y="695"/>
                  </a:lnTo>
                  <a:cubicBezTo>
                    <a:pt x="18432" y="-448"/>
                    <a:pt x="15689" y="-448"/>
                    <a:pt x="13346" y="695"/>
                  </a:cubicBezTo>
                  <a:lnTo>
                    <a:pt x="1154" y="7743"/>
                  </a:lnTo>
                  <a:cubicBezTo>
                    <a:pt x="-27" y="8181"/>
                    <a:pt x="-637" y="9496"/>
                    <a:pt x="-189" y="10686"/>
                  </a:cubicBezTo>
                  <a:cubicBezTo>
                    <a:pt x="40" y="11306"/>
                    <a:pt x="525" y="11801"/>
                    <a:pt x="1154" y="12029"/>
                  </a:cubicBezTo>
                  <a:close/>
                </a:path>
              </a:pathLst>
            </a:custGeom>
            <a:solidFill>
              <a:srgbClr val="D1D9E8"/>
            </a:solidFill>
            <a:ln w="9525" cap="flat">
              <a:noFill/>
              <a:prstDash val="solid"/>
              <a:miter/>
            </a:ln>
          </p:spPr>
          <p:txBody>
            <a:bodyPr rtlCol="0" anchor="ctr"/>
            <a:lstStyle/>
            <a:p>
              <a:endParaRPr lang="zh-CN" altLang="en-US"/>
            </a:p>
          </p:txBody>
        </p:sp>
        <p:sp>
          <p:nvSpPr>
            <p:cNvPr id="659" name="îşḷíďê">
              <a:extLst>
                <a:ext uri="{FF2B5EF4-FFF2-40B4-BE49-F238E27FC236}">
                  <a16:creationId xmlns:a16="http://schemas.microsoft.com/office/drawing/2014/main" id="{1FDECEB1-D88C-4EFA-B7B2-90984D19E57C}"/>
                </a:ext>
              </a:extLst>
            </p:cNvPr>
            <p:cNvSpPr/>
            <p:nvPr/>
          </p:nvSpPr>
          <p:spPr>
            <a:xfrm>
              <a:off x="5651433" y="5000955"/>
              <a:ext cx="109594" cy="53801"/>
            </a:xfrm>
            <a:custGeom>
              <a:avLst/>
              <a:gdLst>
                <a:gd name="connsiteX0" fmla="*/ -336 w 36004"/>
                <a:gd name="connsiteY0" fmla="*/ -163 h 17675"/>
                <a:gd name="connsiteX1" fmla="*/ -336 w 36004"/>
                <a:gd name="connsiteY1" fmla="*/ 7076 h 17675"/>
                <a:gd name="connsiteX2" fmla="*/ 1188 w 36004"/>
                <a:gd name="connsiteY2" fmla="*/ 9267 h 17675"/>
                <a:gd name="connsiteX3" fmla="*/ 13761 w 36004"/>
                <a:gd name="connsiteY3" fmla="*/ 16506 h 17675"/>
                <a:gd name="connsiteX4" fmla="*/ 21476 w 36004"/>
                <a:gd name="connsiteY4" fmla="*/ 16506 h 17675"/>
                <a:gd name="connsiteX5" fmla="*/ 34049 w 36004"/>
                <a:gd name="connsiteY5" fmla="*/ 9267 h 17675"/>
                <a:gd name="connsiteX6" fmla="*/ 35668 w 36004"/>
                <a:gd name="connsiteY6" fmla="*/ 6981 h 17675"/>
                <a:gd name="connsiteX7" fmla="*/ 35668 w 36004"/>
                <a:gd name="connsiteY7" fmla="*/ -163 h 17675"/>
                <a:gd name="connsiteX8" fmla="*/ 34049 w 36004"/>
                <a:gd name="connsiteY8" fmla="*/ 2123 h 17675"/>
                <a:gd name="connsiteX9" fmla="*/ 31763 w 36004"/>
                <a:gd name="connsiteY9" fmla="*/ 3457 h 17675"/>
                <a:gd name="connsiteX10" fmla="*/ 21476 w 36004"/>
                <a:gd name="connsiteY10" fmla="*/ 9362 h 17675"/>
                <a:gd name="connsiteX11" fmla="*/ 13761 w 36004"/>
                <a:gd name="connsiteY11" fmla="*/ 9362 h 17675"/>
                <a:gd name="connsiteX12" fmla="*/ 3474 w 36004"/>
                <a:gd name="connsiteY12" fmla="*/ 3457 h 17675"/>
                <a:gd name="connsiteX13" fmla="*/ 1188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79" y="8038"/>
                    <a:pt x="312" y="8877"/>
                    <a:pt x="1188" y="9267"/>
                  </a:cubicBezTo>
                  <a:lnTo>
                    <a:pt x="13761" y="16506"/>
                  </a:lnTo>
                  <a:cubicBezTo>
                    <a:pt x="16161" y="17849"/>
                    <a:pt x="19076" y="17849"/>
                    <a:pt x="21476" y="16506"/>
                  </a:cubicBezTo>
                  <a:lnTo>
                    <a:pt x="34049" y="9267"/>
                  </a:lnTo>
                  <a:cubicBezTo>
                    <a:pt x="34992" y="8896"/>
                    <a:pt x="35630" y="8000"/>
                    <a:pt x="35668" y="6981"/>
                  </a:cubicBezTo>
                  <a:lnTo>
                    <a:pt x="35668" y="-163"/>
                  </a:lnTo>
                  <a:cubicBezTo>
                    <a:pt x="35602" y="847"/>
                    <a:pt x="34982" y="1733"/>
                    <a:pt x="34049" y="2123"/>
                  </a:cubicBezTo>
                  <a:lnTo>
                    <a:pt x="31763" y="3457"/>
                  </a:lnTo>
                  <a:lnTo>
                    <a:pt x="21476" y="9362"/>
                  </a:lnTo>
                  <a:cubicBezTo>
                    <a:pt x="19057" y="10601"/>
                    <a:pt x="16180" y="10601"/>
                    <a:pt x="13761" y="9362"/>
                  </a:cubicBezTo>
                  <a:lnTo>
                    <a:pt x="3474" y="3457"/>
                  </a:lnTo>
                  <a:lnTo>
                    <a:pt x="1188" y="2123"/>
                  </a:lnTo>
                  <a:cubicBezTo>
                    <a:pt x="312"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60" name="íṣlíďê">
              <a:extLst>
                <a:ext uri="{FF2B5EF4-FFF2-40B4-BE49-F238E27FC236}">
                  <a16:creationId xmlns:a16="http://schemas.microsoft.com/office/drawing/2014/main" id="{E5329D14-67AB-4AED-84AB-82C45109985E}"/>
                </a:ext>
              </a:extLst>
            </p:cNvPr>
            <p:cNvSpPr/>
            <p:nvPr/>
          </p:nvSpPr>
          <p:spPr>
            <a:xfrm>
              <a:off x="5728554" y="5014269"/>
              <a:ext cx="109740" cy="63445"/>
            </a:xfrm>
            <a:custGeom>
              <a:avLst/>
              <a:gdLst>
                <a:gd name="connsiteX0" fmla="*/ -336 w 36052"/>
                <a:gd name="connsiteY0" fmla="*/ 10227 h 20843"/>
                <a:gd name="connsiteX1" fmla="*/ 1188 w 36052"/>
                <a:gd name="connsiteY1" fmla="*/ 12513 h 20843"/>
                <a:gd name="connsiteX2" fmla="*/ 3569 w 36052"/>
                <a:gd name="connsiteY2" fmla="*/ 13846 h 20843"/>
                <a:gd name="connsiteX3" fmla="*/ 13856 w 36052"/>
                <a:gd name="connsiteY3" fmla="*/ 19752 h 20843"/>
                <a:gd name="connsiteX4" fmla="*/ 21476 w 36052"/>
                <a:gd name="connsiteY4" fmla="*/ 19752 h 20843"/>
                <a:gd name="connsiteX5" fmla="*/ 31763 w 36052"/>
                <a:gd name="connsiteY5" fmla="*/ 13846 h 20843"/>
                <a:gd name="connsiteX6" fmla="*/ 34144 w 36052"/>
                <a:gd name="connsiteY6" fmla="*/ 12513 h 20843"/>
                <a:gd name="connsiteX7" fmla="*/ 35573 w 36052"/>
                <a:gd name="connsiteY7" fmla="*/ 9465 h 20843"/>
                <a:gd name="connsiteX8" fmla="*/ 34144 w 36052"/>
                <a:gd name="connsiteY8" fmla="*/ 8036 h 20843"/>
                <a:gd name="connsiteX9" fmla="*/ 21476 w 36052"/>
                <a:gd name="connsiteY9" fmla="*/ 702 h 20843"/>
                <a:gd name="connsiteX10" fmla="*/ 13856 w 36052"/>
                <a:gd name="connsiteY10" fmla="*/ 702 h 20843"/>
                <a:gd name="connsiteX11" fmla="*/ 1188 w 36052"/>
                <a:gd name="connsiteY11" fmla="*/ 8036 h 20843"/>
                <a:gd name="connsiteX12" fmla="*/ -336 w 36052"/>
                <a:gd name="connsiteY12" fmla="*/ 10227 h 20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3">
                  <a:moveTo>
                    <a:pt x="-336" y="10227"/>
                  </a:moveTo>
                  <a:cubicBezTo>
                    <a:pt x="-269" y="11208"/>
                    <a:pt x="312" y="12075"/>
                    <a:pt x="1188" y="12513"/>
                  </a:cubicBezTo>
                  <a:lnTo>
                    <a:pt x="3569" y="13846"/>
                  </a:lnTo>
                  <a:lnTo>
                    <a:pt x="13856" y="19752"/>
                  </a:lnTo>
                  <a:cubicBezTo>
                    <a:pt x="16247" y="20990"/>
                    <a:pt x="19085" y="20990"/>
                    <a:pt x="21476" y="19752"/>
                  </a:cubicBezTo>
                  <a:lnTo>
                    <a:pt x="31763" y="13846"/>
                  </a:lnTo>
                  <a:lnTo>
                    <a:pt x="34144" y="12513"/>
                  </a:lnTo>
                  <a:cubicBezTo>
                    <a:pt x="35382" y="12065"/>
                    <a:pt x="36021" y="10694"/>
                    <a:pt x="35573" y="9465"/>
                  </a:cubicBezTo>
                  <a:cubicBezTo>
                    <a:pt x="35325" y="8798"/>
                    <a:pt x="34811" y="8274"/>
                    <a:pt x="34144"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661" name="î$lïḓê">
              <a:extLst>
                <a:ext uri="{FF2B5EF4-FFF2-40B4-BE49-F238E27FC236}">
                  <a16:creationId xmlns:a16="http://schemas.microsoft.com/office/drawing/2014/main" id="{74E15D61-C4AC-4BF2-B973-A05FC1A2D2F7}"/>
                </a:ext>
              </a:extLst>
            </p:cNvPr>
            <p:cNvSpPr/>
            <p:nvPr/>
          </p:nvSpPr>
          <p:spPr>
            <a:xfrm>
              <a:off x="5730441" y="5015450"/>
              <a:ext cx="105898" cy="61104"/>
            </a:xfrm>
            <a:custGeom>
              <a:avLst/>
              <a:gdLst>
                <a:gd name="connsiteX0" fmla="*/ 1235 w 34790"/>
                <a:gd name="connsiteY0" fmla="*/ 12029 h 20074"/>
                <a:gd name="connsiteX1" fmla="*/ 13332 w 34790"/>
                <a:gd name="connsiteY1" fmla="*/ 18983 h 20074"/>
                <a:gd name="connsiteX2" fmla="*/ 20761 w 34790"/>
                <a:gd name="connsiteY2" fmla="*/ 18983 h 20074"/>
                <a:gd name="connsiteX3" fmla="*/ 32953 w 34790"/>
                <a:gd name="connsiteY3" fmla="*/ 12029 h 20074"/>
                <a:gd name="connsiteX4" fmla="*/ 32953 w 34790"/>
                <a:gd name="connsiteY4" fmla="*/ 7743 h 20074"/>
                <a:gd name="connsiteX5" fmla="*/ 20761 w 34790"/>
                <a:gd name="connsiteY5" fmla="*/ 695 h 20074"/>
                <a:gd name="connsiteX6" fmla="*/ 13332 w 34790"/>
                <a:gd name="connsiteY6" fmla="*/ 695 h 20074"/>
                <a:gd name="connsiteX7" fmla="*/ 1235 w 34790"/>
                <a:gd name="connsiteY7" fmla="*/ 7743 h 20074"/>
                <a:gd name="connsiteX8" fmla="*/ 1235 w 34790"/>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4">
                  <a:moveTo>
                    <a:pt x="1235" y="12029"/>
                  </a:moveTo>
                  <a:lnTo>
                    <a:pt x="13332" y="18983"/>
                  </a:lnTo>
                  <a:cubicBezTo>
                    <a:pt x="15656" y="20221"/>
                    <a:pt x="18437" y="20221"/>
                    <a:pt x="20761" y="18983"/>
                  </a:cubicBezTo>
                  <a:lnTo>
                    <a:pt x="32953" y="12029"/>
                  </a:lnTo>
                  <a:cubicBezTo>
                    <a:pt x="34954" y="10791"/>
                    <a:pt x="34954" y="8886"/>
                    <a:pt x="32953" y="7743"/>
                  </a:cubicBezTo>
                  <a:lnTo>
                    <a:pt x="20761" y="695"/>
                  </a:lnTo>
                  <a:cubicBezTo>
                    <a:pt x="18418" y="-448"/>
                    <a:pt x="15675" y="-448"/>
                    <a:pt x="13332" y="695"/>
                  </a:cubicBezTo>
                  <a:lnTo>
                    <a:pt x="1235" y="7743"/>
                  </a:lnTo>
                  <a:cubicBezTo>
                    <a:pt x="-860" y="8886"/>
                    <a:pt x="-860" y="10791"/>
                    <a:pt x="1235" y="12029"/>
                  </a:cubicBezTo>
                  <a:close/>
                </a:path>
              </a:pathLst>
            </a:custGeom>
            <a:solidFill>
              <a:srgbClr val="D1D9E8"/>
            </a:solidFill>
            <a:ln w="9525" cap="flat">
              <a:noFill/>
              <a:prstDash val="solid"/>
              <a:miter/>
            </a:ln>
          </p:spPr>
          <p:txBody>
            <a:bodyPr rtlCol="0" anchor="ctr"/>
            <a:lstStyle/>
            <a:p>
              <a:endParaRPr lang="zh-CN" altLang="en-US"/>
            </a:p>
          </p:txBody>
        </p:sp>
        <p:sp>
          <p:nvSpPr>
            <p:cNvPr id="662" name="îṩḷîḓe">
              <a:extLst>
                <a:ext uri="{FF2B5EF4-FFF2-40B4-BE49-F238E27FC236}">
                  <a16:creationId xmlns:a16="http://schemas.microsoft.com/office/drawing/2014/main" id="{0C1A9DF4-16AD-46B3-822A-B2396D4A45A4}"/>
                </a:ext>
              </a:extLst>
            </p:cNvPr>
            <p:cNvSpPr/>
            <p:nvPr/>
          </p:nvSpPr>
          <p:spPr>
            <a:xfrm>
              <a:off x="5728554" y="5045893"/>
              <a:ext cx="109594" cy="53804"/>
            </a:xfrm>
            <a:custGeom>
              <a:avLst/>
              <a:gdLst>
                <a:gd name="connsiteX0" fmla="*/ -336 w 36004"/>
                <a:gd name="connsiteY0" fmla="*/ -163 h 17676"/>
                <a:gd name="connsiteX1" fmla="*/ -336 w 36004"/>
                <a:gd name="connsiteY1" fmla="*/ 7076 h 17676"/>
                <a:gd name="connsiteX2" fmla="*/ 1188 w 36004"/>
                <a:gd name="connsiteY2" fmla="*/ 9267 h 17676"/>
                <a:gd name="connsiteX3" fmla="*/ 13856 w 36004"/>
                <a:gd name="connsiteY3" fmla="*/ 16506 h 17676"/>
                <a:gd name="connsiteX4" fmla="*/ 21476 w 36004"/>
                <a:gd name="connsiteY4" fmla="*/ 16506 h 17676"/>
                <a:gd name="connsiteX5" fmla="*/ 34144 w 36004"/>
                <a:gd name="connsiteY5" fmla="*/ 9267 h 17676"/>
                <a:gd name="connsiteX6" fmla="*/ 35668 w 36004"/>
                <a:gd name="connsiteY6" fmla="*/ 6981 h 17676"/>
                <a:gd name="connsiteX7" fmla="*/ 35668 w 36004"/>
                <a:gd name="connsiteY7" fmla="*/ -163 h 17676"/>
                <a:gd name="connsiteX8" fmla="*/ 34144 w 36004"/>
                <a:gd name="connsiteY8" fmla="*/ 2124 h 17676"/>
                <a:gd name="connsiteX9" fmla="*/ 31763 w 36004"/>
                <a:gd name="connsiteY9" fmla="*/ 3457 h 17676"/>
                <a:gd name="connsiteX10" fmla="*/ 21476 w 36004"/>
                <a:gd name="connsiteY10" fmla="*/ 9362 h 17676"/>
                <a:gd name="connsiteX11" fmla="*/ 13856 w 36004"/>
                <a:gd name="connsiteY11" fmla="*/ 9362 h 17676"/>
                <a:gd name="connsiteX12" fmla="*/ 3569 w 36004"/>
                <a:gd name="connsiteY12" fmla="*/ 3457 h 17676"/>
                <a:gd name="connsiteX13" fmla="*/ 1188 w 36004"/>
                <a:gd name="connsiteY13" fmla="*/ 2124 h 17676"/>
                <a:gd name="connsiteX14" fmla="*/ -336 w 36004"/>
                <a:gd name="connsiteY14" fmla="*/ -163 h 17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6">
                  <a:moveTo>
                    <a:pt x="-336" y="-163"/>
                  </a:moveTo>
                  <a:lnTo>
                    <a:pt x="-336" y="7076"/>
                  </a:lnTo>
                  <a:cubicBezTo>
                    <a:pt x="-279" y="8029"/>
                    <a:pt x="312" y="8877"/>
                    <a:pt x="1188" y="9267"/>
                  </a:cubicBezTo>
                  <a:lnTo>
                    <a:pt x="13856" y="16506"/>
                  </a:lnTo>
                  <a:cubicBezTo>
                    <a:pt x="16218" y="17849"/>
                    <a:pt x="19114" y="17849"/>
                    <a:pt x="21476" y="16506"/>
                  </a:cubicBezTo>
                  <a:lnTo>
                    <a:pt x="34144" y="9267"/>
                  </a:lnTo>
                  <a:cubicBezTo>
                    <a:pt x="35049" y="8867"/>
                    <a:pt x="35640" y="7972"/>
                    <a:pt x="35668" y="6981"/>
                  </a:cubicBezTo>
                  <a:lnTo>
                    <a:pt x="35668" y="-163"/>
                  </a:lnTo>
                  <a:cubicBezTo>
                    <a:pt x="35602" y="819"/>
                    <a:pt x="35021" y="1685"/>
                    <a:pt x="34144" y="2124"/>
                  </a:cubicBezTo>
                  <a:lnTo>
                    <a:pt x="31763" y="3457"/>
                  </a:lnTo>
                  <a:lnTo>
                    <a:pt x="21476" y="9362"/>
                  </a:lnTo>
                  <a:cubicBezTo>
                    <a:pt x="19085" y="10601"/>
                    <a:pt x="16247" y="10601"/>
                    <a:pt x="13856" y="9362"/>
                  </a:cubicBezTo>
                  <a:lnTo>
                    <a:pt x="3569" y="3457"/>
                  </a:lnTo>
                  <a:lnTo>
                    <a:pt x="1188" y="2124"/>
                  </a:lnTo>
                  <a:cubicBezTo>
                    <a:pt x="312" y="1685"/>
                    <a:pt x="-269" y="819"/>
                    <a:pt x="-336" y="-163"/>
                  </a:cubicBezTo>
                  <a:close/>
                </a:path>
              </a:pathLst>
            </a:custGeom>
            <a:solidFill>
              <a:srgbClr val="BF4200"/>
            </a:solidFill>
            <a:ln w="9525" cap="flat">
              <a:noFill/>
              <a:prstDash val="solid"/>
              <a:miter/>
            </a:ln>
          </p:spPr>
          <p:txBody>
            <a:bodyPr rtlCol="0" anchor="ctr"/>
            <a:lstStyle/>
            <a:p>
              <a:endParaRPr lang="zh-CN" altLang="en-US"/>
            </a:p>
          </p:txBody>
        </p:sp>
        <p:sp>
          <p:nvSpPr>
            <p:cNvPr id="663" name="íṡļíḋe">
              <a:extLst>
                <a:ext uri="{FF2B5EF4-FFF2-40B4-BE49-F238E27FC236}">
                  <a16:creationId xmlns:a16="http://schemas.microsoft.com/office/drawing/2014/main" id="{2CCCE401-C154-44EA-8C40-BDB98AC0155A}"/>
                </a:ext>
              </a:extLst>
            </p:cNvPr>
            <p:cNvSpPr/>
            <p:nvPr/>
          </p:nvSpPr>
          <p:spPr>
            <a:xfrm>
              <a:off x="5805967" y="5058921"/>
              <a:ext cx="109740" cy="63445"/>
            </a:xfrm>
            <a:custGeom>
              <a:avLst/>
              <a:gdLst>
                <a:gd name="connsiteX0" fmla="*/ -336 w 36052"/>
                <a:gd name="connsiteY0" fmla="*/ 10227 h 20843"/>
                <a:gd name="connsiteX1" fmla="*/ 1188 w 36052"/>
                <a:gd name="connsiteY1" fmla="*/ 12513 h 20843"/>
                <a:gd name="connsiteX2" fmla="*/ 3569 w 36052"/>
                <a:gd name="connsiteY2" fmla="*/ 13846 h 20843"/>
                <a:gd name="connsiteX3" fmla="*/ 13856 w 36052"/>
                <a:gd name="connsiteY3" fmla="*/ 19752 h 20843"/>
                <a:gd name="connsiteX4" fmla="*/ 21476 w 36052"/>
                <a:gd name="connsiteY4" fmla="*/ 19752 h 20843"/>
                <a:gd name="connsiteX5" fmla="*/ 31763 w 36052"/>
                <a:gd name="connsiteY5" fmla="*/ 13846 h 20843"/>
                <a:gd name="connsiteX6" fmla="*/ 34144 w 36052"/>
                <a:gd name="connsiteY6" fmla="*/ 12513 h 20843"/>
                <a:gd name="connsiteX7" fmla="*/ 35573 w 36052"/>
                <a:gd name="connsiteY7" fmla="*/ 9465 h 20843"/>
                <a:gd name="connsiteX8" fmla="*/ 34144 w 36052"/>
                <a:gd name="connsiteY8" fmla="*/ 8036 h 20843"/>
                <a:gd name="connsiteX9" fmla="*/ 21476 w 36052"/>
                <a:gd name="connsiteY9" fmla="*/ 702 h 20843"/>
                <a:gd name="connsiteX10" fmla="*/ 13856 w 36052"/>
                <a:gd name="connsiteY10" fmla="*/ 702 h 20843"/>
                <a:gd name="connsiteX11" fmla="*/ 1188 w 36052"/>
                <a:gd name="connsiteY11" fmla="*/ 8036 h 20843"/>
                <a:gd name="connsiteX12" fmla="*/ -336 w 36052"/>
                <a:gd name="connsiteY12" fmla="*/ 10227 h 20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3">
                  <a:moveTo>
                    <a:pt x="-336" y="10227"/>
                  </a:moveTo>
                  <a:cubicBezTo>
                    <a:pt x="-270" y="11208"/>
                    <a:pt x="311" y="12075"/>
                    <a:pt x="1188" y="12513"/>
                  </a:cubicBezTo>
                  <a:lnTo>
                    <a:pt x="3569" y="13846"/>
                  </a:lnTo>
                  <a:lnTo>
                    <a:pt x="13856" y="19752"/>
                  </a:lnTo>
                  <a:cubicBezTo>
                    <a:pt x="16247" y="20990"/>
                    <a:pt x="19085" y="20990"/>
                    <a:pt x="21476" y="19752"/>
                  </a:cubicBezTo>
                  <a:lnTo>
                    <a:pt x="31763" y="13846"/>
                  </a:lnTo>
                  <a:lnTo>
                    <a:pt x="34144" y="12513"/>
                  </a:lnTo>
                  <a:cubicBezTo>
                    <a:pt x="35382" y="12065"/>
                    <a:pt x="36020" y="10694"/>
                    <a:pt x="35573" y="9465"/>
                  </a:cubicBezTo>
                  <a:cubicBezTo>
                    <a:pt x="35325" y="8798"/>
                    <a:pt x="34811" y="8274"/>
                    <a:pt x="34144"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664" name="îṥliḋè">
              <a:extLst>
                <a:ext uri="{FF2B5EF4-FFF2-40B4-BE49-F238E27FC236}">
                  <a16:creationId xmlns:a16="http://schemas.microsoft.com/office/drawing/2014/main" id="{22695C9E-1F0D-4BD0-A71D-FD591A1A026A}"/>
                </a:ext>
              </a:extLst>
            </p:cNvPr>
            <p:cNvSpPr/>
            <p:nvPr/>
          </p:nvSpPr>
          <p:spPr>
            <a:xfrm>
              <a:off x="5807781" y="5060102"/>
              <a:ext cx="105895" cy="61101"/>
            </a:xfrm>
            <a:custGeom>
              <a:avLst/>
              <a:gdLst>
                <a:gd name="connsiteX0" fmla="*/ 1164 w 34789"/>
                <a:gd name="connsiteY0" fmla="*/ 12029 h 20073"/>
                <a:gd name="connsiteX1" fmla="*/ 13356 w 34789"/>
                <a:gd name="connsiteY1" fmla="*/ 18982 h 20073"/>
                <a:gd name="connsiteX2" fmla="*/ 20785 w 34789"/>
                <a:gd name="connsiteY2" fmla="*/ 18982 h 20073"/>
                <a:gd name="connsiteX3" fmla="*/ 32882 w 34789"/>
                <a:gd name="connsiteY3" fmla="*/ 12029 h 20073"/>
                <a:gd name="connsiteX4" fmla="*/ 32882 w 34789"/>
                <a:gd name="connsiteY4" fmla="*/ 7743 h 20073"/>
                <a:gd name="connsiteX5" fmla="*/ 20785 w 34789"/>
                <a:gd name="connsiteY5" fmla="*/ 695 h 20073"/>
                <a:gd name="connsiteX6" fmla="*/ 13356 w 34789"/>
                <a:gd name="connsiteY6" fmla="*/ 695 h 20073"/>
                <a:gd name="connsiteX7" fmla="*/ 1164 w 34789"/>
                <a:gd name="connsiteY7" fmla="*/ 7743 h 20073"/>
                <a:gd name="connsiteX8" fmla="*/ 1164 w 34789"/>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89" h="20073">
                  <a:moveTo>
                    <a:pt x="1164" y="12029"/>
                  </a:moveTo>
                  <a:lnTo>
                    <a:pt x="13356" y="18982"/>
                  </a:lnTo>
                  <a:cubicBezTo>
                    <a:pt x="15680" y="20221"/>
                    <a:pt x="18461" y="20221"/>
                    <a:pt x="20785" y="18982"/>
                  </a:cubicBezTo>
                  <a:lnTo>
                    <a:pt x="32882" y="12029"/>
                  </a:lnTo>
                  <a:cubicBezTo>
                    <a:pt x="34977" y="10791"/>
                    <a:pt x="34977" y="8886"/>
                    <a:pt x="32882" y="7743"/>
                  </a:cubicBezTo>
                  <a:lnTo>
                    <a:pt x="20785" y="695"/>
                  </a:lnTo>
                  <a:cubicBezTo>
                    <a:pt x="18442" y="-448"/>
                    <a:pt x="15699" y="-448"/>
                    <a:pt x="13356" y="695"/>
                  </a:cubicBezTo>
                  <a:lnTo>
                    <a:pt x="1164" y="7743"/>
                  </a:lnTo>
                  <a:cubicBezTo>
                    <a:pt x="-836" y="8981"/>
                    <a:pt x="-836" y="10791"/>
                    <a:pt x="1164" y="12029"/>
                  </a:cubicBezTo>
                  <a:close/>
                </a:path>
              </a:pathLst>
            </a:custGeom>
            <a:solidFill>
              <a:srgbClr val="D1D9E8"/>
            </a:solidFill>
            <a:ln w="9525" cap="flat">
              <a:noFill/>
              <a:prstDash val="solid"/>
              <a:miter/>
            </a:ln>
          </p:spPr>
          <p:txBody>
            <a:bodyPr rtlCol="0" anchor="ctr"/>
            <a:lstStyle/>
            <a:p>
              <a:endParaRPr lang="zh-CN" altLang="en-US"/>
            </a:p>
          </p:txBody>
        </p:sp>
        <p:sp>
          <p:nvSpPr>
            <p:cNvPr id="665" name="íṡḷïde">
              <a:extLst>
                <a:ext uri="{FF2B5EF4-FFF2-40B4-BE49-F238E27FC236}">
                  <a16:creationId xmlns:a16="http://schemas.microsoft.com/office/drawing/2014/main" id="{DC597F75-2CD6-4096-BF3E-BA3CB2001104}"/>
                </a:ext>
              </a:extLst>
            </p:cNvPr>
            <p:cNvSpPr/>
            <p:nvPr/>
          </p:nvSpPr>
          <p:spPr>
            <a:xfrm>
              <a:off x="5805967" y="5090544"/>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3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3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2" y="7953"/>
                    <a:pt x="35668" y="6981"/>
                  </a:cubicBezTo>
                  <a:lnTo>
                    <a:pt x="35668" y="-163"/>
                  </a:lnTo>
                  <a:cubicBezTo>
                    <a:pt x="35602" y="818"/>
                    <a:pt x="35021" y="1685"/>
                    <a:pt x="34144" y="2123"/>
                  </a:cubicBezTo>
                  <a:lnTo>
                    <a:pt x="31763" y="3457"/>
                  </a:lnTo>
                  <a:lnTo>
                    <a:pt x="21476" y="9362"/>
                  </a:lnTo>
                  <a:cubicBezTo>
                    <a:pt x="19085" y="10601"/>
                    <a:pt x="16247" y="10601"/>
                    <a:pt x="13856" y="9362"/>
                  </a:cubicBezTo>
                  <a:lnTo>
                    <a:pt x="3569" y="3457"/>
                  </a:lnTo>
                  <a:lnTo>
                    <a:pt x="1188"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66" name="îšliďe">
              <a:extLst>
                <a:ext uri="{FF2B5EF4-FFF2-40B4-BE49-F238E27FC236}">
                  <a16:creationId xmlns:a16="http://schemas.microsoft.com/office/drawing/2014/main" id="{D018562C-4818-4980-9C0B-3CCA69D26A11}"/>
                </a:ext>
              </a:extLst>
            </p:cNvPr>
            <p:cNvSpPr/>
            <p:nvPr/>
          </p:nvSpPr>
          <p:spPr>
            <a:xfrm>
              <a:off x="5883091" y="5103721"/>
              <a:ext cx="109740" cy="63292"/>
            </a:xfrm>
            <a:custGeom>
              <a:avLst/>
              <a:gdLst>
                <a:gd name="connsiteX0" fmla="*/ -336 w 36052"/>
                <a:gd name="connsiteY0" fmla="*/ 10177 h 20793"/>
                <a:gd name="connsiteX1" fmla="*/ 1283 w 36052"/>
                <a:gd name="connsiteY1" fmla="*/ 12463 h 20793"/>
                <a:gd name="connsiteX2" fmla="*/ 3569 w 36052"/>
                <a:gd name="connsiteY2" fmla="*/ 13796 h 20793"/>
                <a:gd name="connsiteX3" fmla="*/ 13856 w 36052"/>
                <a:gd name="connsiteY3" fmla="*/ 19702 h 20793"/>
                <a:gd name="connsiteX4" fmla="*/ 21571 w 36052"/>
                <a:gd name="connsiteY4" fmla="*/ 19702 h 20793"/>
                <a:gd name="connsiteX5" fmla="*/ 31858 w 36052"/>
                <a:gd name="connsiteY5" fmla="*/ 13796 h 20793"/>
                <a:gd name="connsiteX6" fmla="*/ 34144 w 36052"/>
                <a:gd name="connsiteY6" fmla="*/ 12463 h 20793"/>
                <a:gd name="connsiteX7" fmla="*/ 35573 w 36052"/>
                <a:gd name="connsiteY7" fmla="*/ 9415 h 20793"/>
                <a:gd name="connsiteX8" fmla="*/ 34144 w 36052"/>
                <a:gd name="connsiteY8" fmla="*/ 7986 h 20793"/>
                <a:gd name="connsiteX9" fmla="*/ 21571 w 36052"/>
                <a:gd name="connsiteY9" fmla="*/ 652 h 20793"/>
                <a:gd name="connsiteX10" fmla="*/ 13856 w 36052"/>
                <a:gd name="connsiteY10" fmla="*/ 652 h 20793"/>
                <a:gd name="connsiteX11" fmla="*/ 1283 w 36052"/>
                <a:gd name="connsiteY11" fmla="*/ 7986 h 20793"/>
                <a:gd name="connsiteX12" fmla="*/ -336 w 36052"/>
                <a:gd name="connsiteY12" fmla="*/ 10177 h 20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793">
                  <a:moveTo>
                    <a:pt x="-336" y="10177"/>
                  </a:moveTo>
                  <a:cubicBezTo>
                    <a:pt x="-270" y="11186"/>
                    <a:pt x="359" y="12072"/>
                    <a:pt x="1283" y="12463"/>
                  </a:cubicBezTo>
                  <a:lnTo>
                    <a:pt x="3569" y="13796"/>
                  </a:lnTo>
                  <a:lnTo>
                    <a:pt x="13856" y="19702"/>
                  </a:lnTo>
                  <a:cubicBezTo>
                    <a:pt x="16275" y="20940"/>
                    <a:pt x="19152" y="20940"/>
                    <a:pt x="21571" y="19702"/>
                  </a:cubicBezTo>
                  <a:lnTo>
                    <a:pt x="31858" y="13796"/>
                  </a:lnTo>
                  <a:lnTo>
                    <a:pt x="34144" y="12463"/>
                  </a:lnTo>
                  <a:cubicBezTo>
                    <a:pt x="35382" y="12015"/>
                    <a:pt x="36020" y="10643"/>
                    <a:pt x="35573" y="9415"/>
                  </a:cubicBezTo>
                  <a:cubicBezTo>
                    <a:pt x="35325" y="8748"/>
                    <a:pt x="34811" y="8224"/>
                    <a:pt x="34144" y="7986"/>
                  </a:cubicBezTo>
                  <a:lnTo>
                    <a:pt x="21571" y="652"/>
                  </a:lnTo>
                  <a:cubicBezTo>
                    <a:pt x="19114" y="-434"/>
                    <a:pt x="16313" y="-434"/>
                    <a:pt x="13856" y="652"/>
                  </a:cubicBezTo>
                  <a:lnTo>
                    <a:pt x="1283" y="7986"/>
                  </a:lnTo>
                  <a:cubicBezTo>
                    <a:pt x="378" y="8367"/>
                    <a:pt x="-241" y="9205"/>
                    <a:pt x="-336" y="10177"/>
                  </a:cubicBezTo>
                  <a:close/>
                </a:path>
              </a:pathLst>
            </a:custGeom>
            <a:solidFill>
              <a:srgbClr val="FFFFFF"/>
            </a:solidFill>
            <a:ln w="9525" cap="flat">
              <a:noFill/>
              <a:prstDash val="solid"/>
              <a:miter/>
            </a:ln>
          </p:spPr>
          <p:txBody>
            <a:bodyPr rtlCol="0" anchor="ctr"/>
            <a:lstStyle/>
            <a:p>
              <a:endParaRPr lang="zh-CN" altLang="en-US"/>
            </a:p>
          </p:txBody>
        </p:sp>
        <p:sp>
          <p:nvSpPr>
            <p:cNvPr id="667" name="î$ľïďe">
              <a:extLst>
                <a:ext uri="{FF2B5EF4-FFF2-40B4-BE49-F238E27FC236}">
                  <a16:creationId xmlns:a16="http://schemas.microsoft.com/office/drawing/2014/main" id="{6A2B2681-E49D-4696-AFF7-72BB55DD3CD5}"/>
                </a:ext>
              </a:extLst>
            </p:cNvPr>
            <p:cNvSpPr/>
            <p:nvPr/>
          </p:nvSpPr>
          <p:spPr>
            <a:xfrm>
              <a:off x="5884975" y="5104750"/>
              <a:ext cx="105898" cy="61101"/>
            </a:xfrm>
            <a:custGeom>
              <a:avLst/>
              <a:gdLst>
                <a:gd name="connsiteX0" fmla="*/ 1235 w 34790"/>
                <a:gd name="connsiteY0" fmla="*/ 12029 h 20073"/>
                <a:gd name="connsiteX1" fmla="*/ 13332 w 34790"/>
                <a:gd name="connsiteY1" fmla="*/ 18983 h 20073"/>
                <a:gd name="connsiteX2" fmla="*/ 20762 w 34790"/>
                <a:gd name="connsiteY2" fmla="*/ 18983 h 20073"/>
                <a:gd name="connsiteX3" fmla="*/ 32954 w 34790"/>
                <a:gd name="connsiteY3" fmla="*/ 12029 h 20073"/>
                <a:gd name="connsiteX4" fmla="*/ 32954 w 34790"/>
                <a:gd name="connsiteY4" fmla="*/ 7743 h 20073"/>
                <a:gd name="connsiteX5" fmla="*/ 20762 w 34790"/>
                <a:gd name="connsiteY5" fmla="*/ 695 h 20073"/>
                <a:gd name="connsiteX6" fmla="*/ 13332 w 34790"/>
                <a:gd name="connsiteY6" fmla="*/ 695 h 20073"/>
                <a:gd name="connsiteX7" fmla="*/ 1235 w 34790"/>
                <a:gd name="connsiteY7" fmla="*/ 7743 h 20073"/>
                <a:gd name="connsiteX8" fmla="*/ 1235 w 34790"/>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3">
                  <a:moveTo>
                    <a:pt x="1235" y="12029"/>
                  </a:moveTo>
                  <a:lnTo>
                    <a:pt x="13332" y="18983"/>
                  </a:lnTo>
                  <a:cubicBezTo>
                    <a:pt x="15656" y="20221"/>
                    <a:pt x="18437" y="20221"/>
                    <a:pt x="20762" y="18983"/>
                  </a:cubicBezTo>
                  <a:lnTo>
                    <a:pt x="32954" y="12029"/>
                  </a:lnTo>
                  <a:cubicBezTo>
                    <a:pt x="34954" y="10791"/>
                    <a:pt x="34954" y="8886"/>
                    <a:pt x="32954" y="7743"/>
                  </a:cubicBezTo>
                  <a:lnTo>
                    <a:pt x="20762" y="695"/>
                  </a:lnTo>
                  <a:cubicBezTo>
                    <a:pt x="18419" y="-448"/>
                    <a:pt x="15675" y="-448"/>
                    <a:pt x="13332" y="695"/>
                  </a:cubicBezTo>
                  <a:lnTo>
                    <a:pt x="1235" y="7743"/>
                  </a:lnTo>
                  <a:cubicBezTo>
                    <a:pt x="-860" y="8886"/>
                    <a:pt x="-860" y="10791"/>
                    <a:pt x="1235" y="12029"/>
                  </a:cubicBezTo>
                  <a:close/>
                </a:path>
              </a:pathLst>
            </a:custGeom>
            <a:solidFill>
              <a:srgbClr val="D1D9E8"/>
            </a:solidFill>
            <a:ln w="9525" cap="flat">
              <a:noFill/>
              <a:prstDash val="solid"/>
              <a:miter/>
            </a:ln>
          </p:spPr>
          <p:txBody>
            <a:bodyPr rtlCol="0" anchor="ctr"/>
            <a:lstStyle/>
            <a:p>
              <a:endParaRPr lang="zh-CN" altLang="en-US"/>
            </a:p>
          </p:txBody>
        </p:sp>
        <p:sp>
          <p:nvSpPr>
            <p:cNvPr id="668" name="îşlîďé">
              <a:extLst>
                <a:ext uri="{FF2B5EF4-FFF2-40B4-BE49-F238E27FC236}">
                  <a16:creationId xmlns:a16="http://schemas.microsoft.com/office/drawing/2014/main" id="{C6D203AF-485E-478E-9DE8-61F5ADA07333}"/>
                </a:ext>
              </a:extLst>
            </p:cNvPr>
            <p:cNvSpPr/>
            <p:nvPr/>
          </p:nvSpPr>
          <p:spPr>
            <a:xfrm>
              <a:off x="5883091" y="5135195"/>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4 w 36099"/>
                <a:gd name="connsiteY6" fmla="*/ 6981 h 17597"/>
                <a:gd name="connsiteX7" fmla="*/ 35764 w 36099"/>
                <a:gd name="connsiteY7" fmla="*/ -163 h 17597"/>
                <a:gd name="connsiteX8" fmla="*/ 34144 w 36099"/>
                <a:gd name="connsiteY8" fmla="*/ 2123 h 17597"/>
                <a:gd name="connsiteX9" fmla="*/ 31858 w 36099"/>
                <a:gd name="connsiteY9" fmla="*/ 3457 h 17597"/>
                <a:gd name="connsiteX10" fmla="*/ 21571 w 36099"/>
                <a:gd name="connsiteY10" fmla="*/ 9362 h 17597"/>
                <a:gd name="connsiteX11" fmla="*/ 13856 w 36099"/>
                <a:gd name="connsiteY11" fmla="*/ 9362 h 17597"/>
                <a:gd name="connsiteX12" fmla="*/ 3569 w 36099"/>
                <a:gd name="connsiteY12" fmla="*/ 3457 h 17597"/>
                <a:gd name="connsiteX13" fmla="*/ 1283 w 36099"/>
                <a:gd name="connsiteY13" fmla="*/ 2123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41" y="8048"/>
                    <a:pt x="387" y="8886"/>
                    <a:pt x="1283" y="9267"/>
                  </a:cubicBezTo>
                  <a:lnTo>
                    <a:pt x="13856" y="16506"/>
                  </a:lnTo>
                  <a:cubicBezTo>
                    <a:pt x="16275" y="17744"/>
                    <a:pt x="19152" y="17744"/>
                    <a:pt x="21571" y="16506"/>
                  </a:cubicBezTo>
                  <a:lnTo>
                    <a:pt x="34144" y="9267"/>
                  </a:lnTo>
                  <a:cubicBezTo>
                    <a:pt x="35030" y="8829"/>
                    <a:pt x="35640" y="7962"/>
                    <a:pt x="35764" y="6981"/>
                  </a:cubicBezTo>
                  <a:lnTo>
                    <a:pt x="35764" y="-163"/>
                  </a:lnTo>
                  <a:cubicBezTo>
                    <a:pt x="35659" y="828"/>
                    <a:pt x="35049" y="1695"/>
                    <a:pt x="34144" y="2123"/>
                  </a:cubicBezTo>
                  <a:lnTo>
                    <a:pt x="31858" y="3457"/>
                  </a:lnTo>
                  <a:lnTo>
                    <a:pt x="21571" y="9362"/>
                  </a:lnTo>
                  <a:cubicBezTo>
                    <a:pt x="19152" y="10601"/>
                    <a:pt x="16275" y="10601"/>
                    <a:pt x="13856" y="9362"/>
                  </a:cubicBezTo>
                  <a:lnTo>
                    <a:pt x="3569" y="3457"/>
                  </a:lnTo>
                  <a:lnTo>
                    <a:pt x="1283" y="2123"/>
                  </a:lnTo>
                  <a:cubicBezTo>
                    <a:pt x="349" y="1733"/>
                    <a:pt x="-270" y="847"/>
                    <a:pt x="-336" y="-163"/>
                  </a:cubicBezTo>
                  <a:close/>
                </a:path>
              </a:pathLst>
            </a:custGeom>
            <a:solidFill>
              <a:srgbClr val="BF4200"/>
            </a:solidFill>
            <a:ln w="9525" cap="flat">
              <a:noFill/>
              <a:prstDash val="solid"/>
              <a:miter/>
            </a:ln>
          </p:spPr>
          <p:txBody>
            <a:bodyPr rtlCol="0" anchor="ctr"/>
            <a:lstStyle/>
            <a:p>
              <a:endParaRPr lang="zh-CN" altLang="en-US"/>
            </a:p>
          </p:txBody>
        </p:sp>
        <p:sp>
          <p:nvSpPr>
            <p:cNvPr id="669" name="íşľiďè">
              <a:extLst>
                <a:ext uri="{FF2B5EF4-FFF2-40B4-BE49-F238E27FC236}">
                  <a16:creationId xmlns:a16="http://schemas.microsoft.com/office/drawing/2014/main" id="{AF2055F2-0EB7-4959-A7C9-F5F21E2F1214}"/>
                </a:ext>
              </a:extLst>
            </p:cNvPr>
            <p:cNvSpPr/>
            <p:nvPr/>
          </p:nvSpPr>
          <p:spPr>
            <a:xfrm>
              <a:off x="5960501" y="5148023"/>
              <a:ext cx="109594" cy="63639"/>
            </a:xfrm>
            <a:custGeom>
              <a:avLst/>
              <a:gdLst>
                <a:gd name="connsiteX0" fmla="*/ -336 w 36004"/>
                <a:gd name="connsiteY0" fmla="*/ 10291 h 20907"/>
                <a:gd name="connsiteX1" fmla="*/ 1188 w 36004"/>
                <a:gd name="connsiteY1" fmla="*/ 12577 h 20907"/>
                <a:gd name="connsiteX2" fmla="*/ 3569 w 36004"/>
                <a:gd name="connsiteY2" fmla="*/ 13910 h 20907"/>
                <a:gd name="connsiteX3" fmla="*/ 13856 w 36004"/>
                <a:gd name="connsiteY3" fmla="*/ 19816 h 20907"/>
                <a:gd name="connsiteX4" fmla="*/ 21476 w 36004"/>
                <a:gd name="connsiteY4" fmla="*/ 19816 h 20907"/>
                <a:gd name="connsiteX5" fmla="*/ 31763 w 36004"/>
                <a:gd name="connsiteY5" fmla="*/ 13910 h 20907"/>
                <a:gd name="connsiteX6" fmla="*/ 34144 w 36004"/>
                <a:gd name="connsiteY6" fmla="*/ 12577 h 20907"/>
                <a:gd name="connsiteX7" fmla="*/ 35668 w 36004"/>
                <a:gd name="connsiteY7" fmla="*/ 10291 h 20907"/>
                <a:gd name="connsiteX8" fmla="*/ 34144 w 36004"/>
                <a:gd name="connsiteY8" fmla="*/ 8100 h 20907"/>
                <a:gd name="connsiteX9" fmla="*/ 21476 w 36004"/>
                <a:gd name="connsiteY9" fmla="*/ 766 h 20907"/>
                <a:gd name="connsiteX10" fmla="*/ 13856 w 36004"/>
                <a:gd name="connsiteY10" fmla="*/ 766 h 20907"/>
                <a:gd name="connsiteX11" fmla="*/ 1188 w 36004"/>
                <a:gd name="connsiteY11" fmla="*/ 8100 h 20907"/>
                <a:gd name="connsiteX12" fmla="*/ -336 w 36004"/>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907">
                  <a:moveTo>
                    <a:pt x="-336" y="10291"/>
                  </a:moveTo>
                  <a:cubicBezTo>
                    <a:pt x="-269" y="11272"/>
                    <a:pt x="312" y="12139"/>
                    <a:pt x="1188" y="12577"/>
                  </a:cubicBezTo>
                  <a:lnTo>
                    <a:pt x="3569" y="13910"/>
                  </a:lnTo>
                  <a:lnTo>
                    <a:pt x="13856" y="19816"/>
                  </a:lnTo>
                  <a:cubicBezTo>
                    <a:pt x="16247" y="21054"/>
                    <a:pt x="19085" y="21054"/>
                    <a:pt x="21476" y="19816"/>
                  </a:cubicBezTo>
                  <a:lnTo>
                    <a:pt x="31763" y="13910"/>
                  </a:lnTo>
                  <a:lnTo>
                    <a:pt x="34144" y="12577"/>
                  </a:lnTo>
                  <a:cubicBezTo>
                    <a:pt x="35021" y="12139"/>
                    <a:pt x="35602" y="11272"/>
                    <a:pt x="35668" y="10291"/>
                  </a:cubicBezTo>
                  <a:cubicBezTo>
                    <a:pt x="35611" y="9339"/>
                    <a:pt x="35021" y="8491"/>
                    <a:pt x="34144" y="8100"/>
                  </a:cubicBezTo>
                  <a:lnTo>
                    <a:pt x="21476" y="766"/>
                  </a:lnTo>
                  <a:cubicBezTo>
                    <a:pt x="19085" y="-472"/>
                    <a:pt x="16247" y="-472"/>
                    <a:pt x="13856" y="766"/>
                  </a:cubicBezTo>
                  <a:lnTo>
                    <a:pt x="1188" y="8100"/>
                  </a:lnTo>
                  <a:cubicBezTo>
                    <a:pt x="312" y="8491"/>
                    <a:pt x="-279"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670" name="îṩḻïḍè">
              <a:extLst>
                <a:ext uri="{FF2B5EF4-FFF2-40B4-BE49-F238E27FC236}">
                  <a16:creationId xmlns:a16="http://schemas.microsoft.com/office/drawing/2014/main" id="{51C4106F-D0D8-4C42-8B3A-7D8503DDAE9B}"/>
                </a:ext>
              </a:extLst>
            </p:cNvPr>
            <p:cNvSpPr/>
            <p:nvPr/>
          </p:nvSpPr>
          <p:spPr>
            <a:xfrm>
              <a:off x="5962388" y="5149401"/>
              <a:ext cx="105825" cy="61104"/>
            </a:xfrm>
            <a:custGeom>
              <a:avLst/>
              <a:gdLst>
                <a:gd name="connsiteX0" fmla="*/ 1235 w 34766"/>
                <a:gd name="connsiteY0" fmla="*/ 12029 h 20074"/>
                <a:gd name="connsiteX1" fmla="*/ 13332 w 34766"/>
                <a:gd name="connsiteY1" fmla="*/ 18983 h 20074"/>
                <a:gd name="connsiteX2" fmla="*/ 20761 w 34766"/>
                <a:gd name="connsiteY2" fmla="*/ 18983 h 20074"/>
                <a:gd name="connsiteX3" fmla="*/ 32858 w 34766"/>
                <a:gd name="connsiteY3" fmla="*/ 12029 h 20074"/>
                <a:gd name="connsiteX4" fmla="*/ 32858 w 34766"/>
                <a:gd name="connsiteY4" fmla="*/ 7743 h 20074"/>
                <a:gd name="connsiteX5" fmla="*/ 20761 w 34766"/>
                <a:gd name="connsiteY5" fmla="*/ 695 h 20074"/>
                <a:gd name="connsiteX6" fmla="*/ 13332 w 34766"/>
                <a:gd name="connsiteY6" fmla="*/ 695 h 20074"/>
                <a:gd name="connsiteX7" fmla="*/ 1235 w 34766"/>
                <a:gd name="connsiteY7" fmla="*/ 8219 h 20074"/>
                <a:gd name="connsiteX8" fmla="*/ 1235 w 34766"/>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6" h="20074">
                  <a:moveTo>
                    <a:pt x="1235" y="12029"/>
                  </a:moveTo>
                  <a:lnTo>
                    <a:pt x="13332" y="18983"/>
                  </a:lnTo>
                  <a:cubicBezTo>
                    <a:pt x="15656" y="20221"/>
                    <a:pt x="18437" y="20221"/>
                    <a:pt x="20761" y="18983"/>
                  </a:cubicBezTo>
                  <a:lnTo>
                    <a:pt x="32858" y="12029"/>
                  </a:lnTo>
                  <a:cubicBezTo>
                    <a:pt x="34954" y="10791"/>
                    <a:pt x="34954" y="8886"/>
                    <a:pt x="32858" y="7743"/>
                  </a:cubicBezTo>
                  <a:lnTo>
                    <a:pt x="20761" y="695"/>
                  </a:lnTo>
                  <a:cubicBezTo>
                    <a:pt x="18418" y="-448"/>
                    <a:pt x="15675" y="-448"/>
                    <a:pt x="13332" y="695"/>
                  </a:cubicBezTo>
                  <a:lnTo>
                    <a:pt x="1235" y="8219"/>
                  </a:lnTo>
                  <a:cubicBezTo>
                    <a:pt x="-860" y="8886"/>
                    <a:pt x="-860" y="10791"/>
                    <a:pt x="1235" y="12029"/>
                  </a:cubicBezTo>
                  <a:close/>
                </a:path>
              </a:pathLst>
            </a:custGeom>
            <a:solidFill>
              <a:srgbClr val="D1D9E8"/>
            </a:solidFill>
            <a:ln w="9525" cap="flat">
              <a:noFill/>
              <a:prstDash val="solid"/>
              <a:miter/>
            </a:ln>
          </p:spPr>
          <p:txBody>
            <a:bodyPr rtlCol="0" anchor="ctr"/>
            <a:lstStyle/>
            <a:p>
              <a:endParaRPr lang="zh-CN" altLang="en-US"/>
            </a:p>
          </p:txBody>
        </p:sp>
        <p:sp>
          <p:nvSpPr>
            <p:cNvPr id="671" name="iṧlîdê">
              <a:extLst>
                <a:ext uri="{FF2B5EF4-FFF2-40B4-BE49-F238E27FC236}">
                  <a16:creationId xmlns:a16="http://schemas.microsoft.com/office/drawing/2014/main" id="{C7E544C9-1BAB-47B8-8CE7-7DB9F4C35D3D}"/>
                </a:ext>
              </a:extLst>
            </p:cNvPr>
            <p:cNvSpPr/>
            <p:nvPr/>
          </p:nvSpPr>
          <p:spPr>
            <a:xfrm>
              <a:off x="5960501" y="5179844"/>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3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3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2" y="7953"/>
                    <a:pt x="35668" y="6981"/>
                  </a:cubicBezTo>
                  <a:lnTo>
                    <a:pt x="35668" y="-163"/>
                  </a:lnTo>
                  <a:cubicBezTo>
                    <a:pt x="35602" y="818"/>
                    <a:pt x="35021" y="1685"/>
                    <a:pt x="34144" y="2123"/>
                  </a:cubicBezTo>
                  <a:lnTo>
                    <a:pt x="31763" y="3457"/>
                  </a:lnTo>
                  <a:lnTo>
                    <a:pt x="21476" y="9362"/>
                  </a:lnTo>
                  <a:cubicBezTo>
                    <a:pt x="19085" y="10600"/>
                    <a:pt x="16247" y="10600"/>
                    <a:pt x="13856" y="9362"/>
                  </a:cubicBezTo>
                  <a:lnTo>
                    <a:pt x="3569" y="3457"/>
                  </a:lnTo>
                  <a:lnTo>
                    <a:pt x="1188" y="2123"/>
                  </a:lnTo>
                  <a:cubicBezTo>
                    <a:pt x="312"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72" name="ïṡľíḓe">
              <a:extLst>
                <a:ext uri="{FF2B5EF4-FFF2-40B4-BE49-F238E27FC236}">
                  <a16:creationId xmlns:a16="http://schemas.microsoft.com/office/drawing/2014/main" id="{B7750526-DD03-4A46-AE84-88136F1A0B35}"/>
                </a:ext>
              </a:extLst>
            </p:cNvPr>
            <p:cNvSpPr/>
            <p:nvPr/>
          </p:nvSpPr>
          <p:spPr>
            <a:xfrm>
              <a:off x="6037625" y="5192674"/>
              <a:ext cx="109883" cy="63639"/>
            </a:xfrm>
            <a:custGeom>
              <a:avLst/>
              <a:gdLst>
                <a:gd name="connsiteX0" fmla="*/ -336 w 36099"/>
                <a:gd name="connsiteY0" fmla="*/ 10291 h 20907"/>
                <a:gd name="connsiteX1" fmla="*/ 1283 w 36099"/>
                <a:gd name="connsiteY1" fmla="*/ 12577 h 20907"/>
                <a:gd name="connsiteX2" fmla="*/ 3569 w 36099"/>
                <a:gd name="connsiteY2" fmla="*/ 13911 h 20907"/>
                <a:gd name="connsiteX3" fmla="*/ 13856 w 36099"/>
                <a:gd name="connsiteY3" fmla="*/ 19816 h 20907"/>
                <a:gd name="connsiteX4" fmla="*/ 21571 w 36099"/>
                <a:gd name="connsiteY4" fmla="*/ 19816 h 20907"/>
                <a:gd name="connsiteX5" fmla="*/ 31858 w 36099"/>
                <a:gd name="connsiteY5" fmla="*/ 13911 h 20907"/>
                <a:gd name="connsiteX6" fmla="*/ 34144 w 36099"/>
                <a:gd name="connsiteY6" fmla="*/ 12577 h 20907"/>
                <a:gd name="connsiteX7" fmla="*/ 35764 w 36099"/>
                <a:gd name="connsiteY7" fmla="*/ 10291 h 20907"/>
                <a:gd name="connsiteX8" fmla="*/ 34144 w 36099"/>
                <a:gd name="connsiteY8" fmla="*/ 8101 h 20907"/>
                <a:gd name="connsiteX9" fmla="*/ 21571 w 36099"/>
                <a:gd name="connsiteY9" fmla="*/ 766 h 20907"/>
                <a:gd name="connsiteX10" fmla="*/ 13856 w 36099"/>
                <a:gd name="connsiteY10" fmla="*/ 766 h 20907"/>
                <a:gd name="connsiteX11" fmla="*/ 1283 w 36099"/>
                <a:gd name="connsiteY11" fmla="*/ 8101 h 20907"/>
                <a:gd name="connsiteX12" fmla="*/ -336 w 36099"/>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99" h="20907">
                  <a:moveTo>
                    <a:pt x="-336" y="10291"/>
                  </a:moveTo>
                  <a:cubicBezTo>
                    <a:pt x="-231" y="11282"/>
                    <a:pt x="378" y="12149"/>
                    <a:pt x="1283" y="12577"/>
                  </a:cubicBezTo>
                  <a:lnTo>
                    <a:pt x="3569" y="13911"/>
                  </a:lnTo>
                  <a:lnTo>
                    <a:pt x="13856" y="19816"/>
                  </a:lnTo>
                  <a:cubicBezTo>
                    <a:pt x="16275" y="21054"/>
                    <a:pt x="19152" y="21054"/>
                    <a:pt x="21571" y="19816"/>
                  </a:cubicBezTo>
                  <a:lnTo>
                    <a:pt x="31858" y="13911"/>
                  </a:lnTo>
                  <a:lnTo>
                    <a:pt x="34144" y="12577"/>
                  </a:lnTo>
                  <a:cubicBezTo>
                    <a:pt x="35049" y="12149"/>
                    <a:pt x="35659" y="11282"/>
                    <a:pt x="35764" y="10291"/>
                  </a:cubicBezTo>
                  <a:cubicBezTo>
                    <a:pt x="35649" y="9329"/>
                    <a:pt x="35030" y="8491"/>
                    <a:pt x="34144" y="8101"/>
                  </a:cubicBezTo>
                  <a:lnTo>
                    <a:pt x="21571" y="766"/>
                  </a:lnTo>
                  <a:cubicBezTo>
                    <a:pt x="19152" y="-472"/>
                    <a:pt x="16275" y="-472"/>
                    <a:pt x="13856" y="766"/>
                  </a:cubicBezTo>
                  <a:lnTo>
                    <a:pt x="1283" y="8101"/>
                  </a:lnTo>
                  <a:cubicBezTo>
                    <a:pt x="397" y="8491"/>
                    <a:pt x="-222"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673" name="ïṧļiḑè">
              <a:extLst>
                <a:ext uri="{FF2B5EF4-FFF2-40B4-BE49-F238E27FC236}">
                  <a16:creationId xmlns:a16="http://schemas.microsoft.com/office/drawing/2014/main" id="{2601025A-5EBB-497B-9C89-F1E7AED59B3B}"/>
                </a:ext>
              </a:extLst>
            </p:cNvPr>
            <p:cNvSpPr/>
            <p:nvPr/>
          </p:nvSpPr>
          <p:spPr>
            <a:xfrm>
              <a:off x="6039729" y="5193834"/>
              <a:ext cx="105679" cy="61104"/>
            </a:xfrm>
            <a:custGeom>
              <a:avLst/>
              <a:gdLst>
                <a:gd name="connsiteX0" fmla="*/ 1164 w 34718"/>
                <a:gd name="connsiteY0" fmla="*/ 12006 h 20074"/>
                <a:gd name="connsiteX1" fmla="*/ 13260 w 34718"/>
                <a:gd name="connsiteY1" fmla="*/ 19054 h 20074"/>
                <a:gd name="connsiteX2" fmla="*/ 20690 w 34718"/>
                <a:gd name="connsiteY2" fmla="*/ 19054 h 20074"/>
                <a:gd name="connsiteX3" fmla="*/ 32882 w 34718"/>
                <a:gd name="connsiteY3" fmla="*/ 12006 h 20074"/>
                <a:gd name="connsiteX4" fmla="*/ 32882 w 34718"/>
                <a:gd name="connsiteY4" fmla="*/ 7719 h 20074"/>
                <a:gd name="connsiteX5" fmla="*/ 20690 w 34718"/>
                <a:gd name="connsiteY5" fmla="*/ 766 h 20074"/>
                <a:gd name="connsiteX6" fmla="*/ 13260 w 34718"/>
                <a:gd name="connsiteY6" fmla="*/ 766 h 20074"/>
                <a:gd name="connsiteX7" fmla="*/ 1164 w 34718"/>
                <a:gd name="connsiteY7" fmla="*/ 7719 h 20074"/>
                <a:gd name="connsiteX8" fmla="*/ 1164 w 34718"/>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18" h="20074">
                  <a:moveTo>
                    <a:pt x="1164" y="12006"/>
                  </a:moveTo>
                  <a:lnTo>
                    <a:pt x="13260" y="19054"/>
                  </a:lnTo>
                  <a:cubicBezTo>
                    <a:pt x="15604" y="20197"/>
                    <a:pt x="18347" y="20197"/>
                    <a:pt x="20690" y="19054"/>
                  </a:cubicBezTo>
                  <a:lnTo>
                    <a:pt x="32882" y="12006"/>
                  </a:lnTo>
                  <a:cubicBezTo>
                    <a:pt x="34882" y="10863"/>
                    <a:pt x="34882" y="8957"/>
                    <a:pt x="32882" y="7719"/>
                  </a:cubicBezTo>
                  <a:lnTo>
                    <a:pt x="20690" y="766"/>
                  </a:lnTo>
                  <a:cubicBezTo>
                    <a:pt x="18366" y="-472"/>
                    <a:pt x="15585" y="-472"/>
                    <a:pt x="13260" y="766"/>
                  </a:cubicBezTo>
                  <a:lnTo>
                    <a:pt x="1164" y="7719"/>
                  </a:lnTo>
                  <a:cubicBezTo>
                    <a:pt x="-836" y="8957"/>
                    <a:pt x="-836" y="10863"/>
                    <a:pt x="1164" y="12006"/>
                  </a:cubicBezTo>
                  <a:close/>
                </a:path>
              </a:pathLst>
            </a:custGeom>
            <a:solidFill>
              <a:srgbClr val="D1D9E8"/>
            </a:solidFill>
            <a:ln w="9525" cap="flat">
              <a:noFill/>
              <a:prstDash val="solid"/>
              <a:miter/>
            </a:ln>
          </p:spPr>
          <p:txBody>
            <a:bodyPr rtlCol="0" anchor="ctr"/>
            <a:lstStyle/>
            <a:p>
              <a:endParaRPr lang="zh-CN" altLang="en-US"/>
            </a:p>
          </p:txBody>
        </p:sp>
        <p:sp>
          <p:nvSpPr>
            <p:cNvPr id="674" name="íṧľiḍe">
              <a:extLst>
                <a:ext uri="{FF2B5EF4-FFF2-40B4-BE49-F238E27FC236}">
                  <a16:creationId xmlns:a16="http://schemas.microsoft.com/office/drawing/2014/main" id="{F054CE81-D558-407B-9AE3-7056834DF129}"/>
                </a:ext>
              </a:extLst>
            </p:cNvPr>
            <p:cNvSpPr/>
            <p:nvPr/>
          </p:nvSpPr>
          <p:spPr>
            <a:xfrm>
              <a:off x="6037625" y="5224492"/>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4 w 36099"/>
                <a:gd name="connsiteY6" fmla="*/ 6981 h 17597"/>
                <a:gd name="connsiteX7" fmla="*/ 35764 w 36099"/>
                <a:gd name="connsiteY7" fmla="*/ -163 h 17597"/>
                <a:gd name="connsiteX8" fmla="*/ 34144 w 36099"/>
                <a:gd name="connsiteY8" fmla="*/ 2124 h 17597"/>
                <a:gd name="connsiteX9" fmla="*/ 31858 w 36099"/>
                <a:gd name="connsiteY9" fmla="*/ 3457 h 17597"/>
                <a:gd name="connsiteX10" fmla="*/ 21571 w 36099"/>
                <a:gd name="connsiteY10" fmla="*/ 9362 h 17597"/>
                <a:gd name="connsiteX11" fmla="*/ 13856 w 36099"/>
                <a:gd name="connsiteY11" fmla="*/ 9362 h 17597"/>
                <a:gd name="connsiteX12" fmla="*/ 3569 w 36099"/>
                <a:gd name="connsiteY12" fmla="*/ 3457 h 17597"/>
                <a:gd name="connsiteX13" fmla="*/ 1283 w 36099"/>
                <a:gd name="connsiteY13" fmla="*/ 2124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03" y="8029"/>
                    <a:pt x="407" y="8858"/>
                    <a:pt x="1283" y="9267"/>
                  </a:cubicBezTo>
                  <a:lnTo>
                    <a:pt x="13856" y="16506"/>
                  </a:lnTo>
                  <a:cubicBezTo>
                    <a:pt x="16275" y="17744"/>
                    <a:pt x="19152" y="17744"/>
                    <a:pt x="21571" y="16506"/>
                  </a:cubicBezTo>
                  <a:lnTo>
                    <a:pt x="34144" y="9267"/>
                  </a:lnTo>
                  <a:cubicBezTo>
                    <a:pt x="35030" y="8829"/>
                    <a:pt x="35640" y="7972"/>
                    <a:pt x="35764" y="6981"/>
                  </a:cubicBezTo>
                  <a:lnTo>
                    <a:pt x="35764" y="-163"/>
                  </a:lnTo>
                  <a:cubicBezTo>
                    <a:pt x="35659" y="828"/>
                    <a:pt x="35049" y="1695"/>
                    <a:pt x="34144" y="2124"/>
                  </a:cubicBezTo>
                  <a:lnTo>
                    <a:pt x="31858" y="3457"/>
                  </a:lnTo>
                  <a:lnTo>
                    <a:pt x="21571" y="9362"/>
                  </a:lnTo>
                  <a:cubicBezTo>
                    <a:pt x="19152" y="10601"/>
                    <a:pt x="16275" y="10601"/>
                    <a:pt x="13856" y="9362"/>
                  </a:cubicBezTo>
                  <a:lnTo>
                    <a:pt x="3569" y="3457"/>
                  </a:lnTo>
                  <a:lnTo>
                    <a:pt x="1283" y="2124"/>
                  </a:lnTo>
                  <a:cubicBezTo>
                    <a:pt x="378" y="1695"/>
                    <a:pt x="-231"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75" name="îṣ1ïḍé">
              <a:extLst>
                <a:ext uri="{FF2B5EF4-FFF2-40B4-BE49-F238E27FC236}">
                  <a16:creationId xmlns:a16="http://schemas.microsoft.com/office/drawing/2014/main" id="{D8C151B5-9B97-401A-B8D4-A061285543E6}"/>
                </a:ext>
              </a:extLst>
            </p:cNvPr>
            <p:cNvSpPr/>
            <p:nvPr/>
          </p:nvSpPr>
          <p:spPr>
            <a:xfrm>
              <a:off x="6115038" y="5237322"/>
              <a:ext cx="109594" cy="63588"/>
            </a:xfrm>
            <a:custGeom>
              <a:avLst/>
              <a:gdLst>
                <a:gd name="connsiteX0" fmla="*/ -336 w 36004"/>
                <a:gd name="connsiteY0" fmla="*/ 10291 h 20890"/>
                <a:gd name="connsiteX1" fmla="*/ 1188 w 36004"/>
                <a:gd name="connsiteY1" fmla="*/ 12577 h 20890"/>
                <a:gd name="connsiteX2" fmla="*/ 3569 w 36004"/>
                <a:gd name="connsiteY2" fmla="*/ 13911 h 20890"/>
                <a:gd name="connsiteX3" fmla="*/ 13856 w 36004"/>
                <a:gd name="connsiteY3" fmla="*/ 19721 h 20890"/>
                <a:gd name="connsiteX4" fmla="*/ 21476 w 36004"/>
                <a:gd name="connsiteY4" fmla="*/ 19721 h 20890"/>
                <a:gd name="connsiteX5" fmla="*/ 31763 w 36004"/>
                <a:gd name="connsiteY5" fmla="*/ 13911 h 20890"/>
                <a:gd name="connsiteX6" fmla="*/ 34144 w 36004"/>
                <a:gd name="connsiteY6" fmla="*/ 12577 h 20890"/>
                <a:gd name="connsiteX7" fmla="*/ 35668 w 36004"/>
                <a:gd name="connsiteY7" fmla="*/ 10291 h 20890"/>
                <a:gd name="connsiteX8" fmla="*/ 34144 w 36004"/>
                <a:gd name="connsiteY8" fmla="*/ 8100 h 20890"/>
                <a:gd name="connsiteX9" fmla="*/ 21476 w 36004"/>
                <a:gd name="connsiteY9" fmla="*/ 766 h 20890"/>
                <a:gd name="connsiteX10" fmla="*/ 13856 w 36004"/>
                <a:gd name="connsiteY10" fmla="*/ 766 h 20890"/>
                <a:gd name="connsiteX11" fmla="*/ 1188 w 36004"/>
                <a:gd name="connsiteY11" fmla="*/ 8100 h 20890"/>
                <a:gd name="connsiteX12" fmla="*/ -336 w 36004"/>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291"/>
                  </a:moveTo>
                  <a:cubicBezTo>
                    <a:pt x="-270" y="11272"/>
                    <a:pt x="311" y="12139"/>
                    <a:pt x="1188" y="12577"/>
                  </a:cubicBezTo>
                  <a:lnTo>
                    <a:pt x="3569" y="13911"/>
                  </a:lnTo>
                  <a:lnTo>
                    <a:pt x="13856" y="19721"/>
                  </a:lnTo>
                  <a:cubicBezTo>
                    <a:pt x="16218" y="21064"/>
                    <a:pt x="19114" y="21064"/>
                    <a:pt x="21476" y="19721"/>
                  </a:cubicBezTo>
                  <a:lnTo>
                    <a:pt x="31763" y="13911"/>
                  </a:lnTo>
                  <a:lnTo>
                    <a:pt x="34144" y="12577"/>
                  </a:lnTo>
                  <a:cubicBezTo>
                    <a:pt x="35021" y="12139"/>
                    <a:pt x="35601" y="11272"/>
                    <a:pt x="35668" y="10291"/>
                  </a:cubicBezTo>
                  <a:cubicBezTo>
                    <a:pt x="35630" y="9329"/>
                    <a:pt x="35039" y="8472"/>
                    <a:pt x="34144" y="8100"/>
                  </a:cubicBezTo>
                  <a:lnTo>
                    <a:pt x="21476" y="766"/>
                  </a:lnTo>
                  <a:cubicBezTo>
                    <a:pt x="19085" y="-472"/>
                    <a:pt x="16247" y="-472"/>
                    <a:pt x="13856" y="766"/>
                  </a:cubicBezTo>
                  <a:lnTo>
                    <a:pt x="1188" y="8100"/>
                  </a:lnTo>
                  <a:cubicBezTo>
                    <a:pt x="292" y="8472"/>
                    <a:pt x="-298"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676" name="íšḷiḑe">
              <a:extLst>
                <a:ext uri="{FF2B5EF4-FFF2-40B4-BE49-F238E27FC236}">
                  <a16:creationId xmlns:a16="http://schemas.microsoft.com/office/drawing/2014/main" id="{1037291F-0716-424B-A57C-00E4980973B9}"/>
                </a:ext>
              </a:extLst>
            </p:cNvPr>
            <p:cNvSpPr/>
            <p:nvPr/>
          </p:nvSpPr>
          <p:spPr>
            <a:xfrm>
              <a:off x="6116923" y="5238482"/>
              <a:ext cx="105825" cy="61101"/>
            </a:xfrm>
            <a:custGeom>
              <a:avLst/>
              <a:gdLst>
                <a:gd name="connsiteX0" fmla="*/ 1235 w 34766"/>
                <a:gd name="connsiteY0" fmla="*/ 12006 h 20073"/>
                <a:gd name="connsiteX1" fmla="*/ 13332 w 34766"/>
                <a:gd name="connsiteY1" fmla="*/ 19054 h 20073"/>
                <a:gd name="connsiteX2" fmla="*/ 20762 w 34766"/>
                <a:gd name="connsiteY2" fmla="*/ 19054 h 20073"/>
                <a:gd name="connsiteX3" fmla="*/ 32858 w 34766"/>
                <a:gd name="connsiteY3" fmla="*/ 12006 h 20073"/>
                <a:gd name="connsiteX4" fmla="*/ 32858 w 34766"/>
                <a:gd name="connsiteY4" fmla="*/ 7719 h 20073"/>
                <a:gd name="connsiteX5" fmla="*/ 20762 w 34766"/>
                <a:gd name="connsiteY5" fmla="*/ 766 h 20073"/>
                <a:gd name="connsiteX6" fmla="*/ 13332 w 34766"/>
                <a:gd name="connsiteY6" fmla="*/ 766 h 20073"/>
                <a:gd name="connsiteX7" fmla="*/ 1235 w 34766"/>
                <a:gd name="connsiteY7" fmla="*/ 7719 h 20073"/>
                <a:gd name="connsiteX8" fmla="*/ 1235 w 34766"/>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6" h="20073">
                  <a:moveTo>
                    <a:pt x="1235" y="12006"/>
                  </a:moveTo>
                  <a:lnTo>
                    <a:pt x="13332" y="19054"/>
                  </a:lnTo>
                  <a:cubicBezTo>
                    <a:pt x="15675" y="20197"/>
                    <a:pt x="18419" y="20197"/>
                    <a:pt x="20762" y="19054"/>
                  </a:cubicBezTo>
                  <a:lnTo>
                    <a:pt x="32858" y="12006"/>
                  </a:lnTo>
                  <a:cubicBezTo>
                    <a:pt x="34954" y="10863"/>
                    <a:pt x="34954" y="8957"/>
                    <a:pt x="32858" y="7719"/>
                  </a:cubicBezTo>
                  <a:lnTo>
                    <a:pt x="20762" y="766"/>
                  </a:lnTo>
                  <a:cubicBezTo>
                    <a:pt x="18437" y="-472"/>
                    <a:pt x="15656" y="-472"/>
                    <a:pt x="13332" y="766"/>
                  </a:cubicBezTo>
                  <a:lnTo>
                    <a:pt x="1235" y="7719"/>
                  </a:lnTo>
                  <a:cubicBezTo>
                    <a:pt x="-860" y="8957"/>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677" name="îSḻíḑé">
              <a:extLst>
                <a:ext uri="{FF2B5EF4-FFF2-40B4-BE49-F238E27FC236}">
                  <a16:creationId xmlns:a16="http://schemas.microsoft.com/office/drawing/2014/main" id="{CDE79BD5-D885-4BA8-BD04-3A9194680DED}"/>
                </a:ext>
              </a:extLst>
            </p:cNvPr>
            <p:cNvSpPr/>
            <p:nvPr/>
          </p:nvSpPr>
          <p:spPr>
            <a:xfrm>
              <a:off x="6115038" y="5268854"/>
              <a:ext cx="109594" cy="53564"/>
            </a:xfrm>
            <a:custGeom>
              <a:avLst/>
              <a:gdLst>
                <a:gd name="connsiteX0" fmla="*/ -336 w 36004"/>
                <a:gd name="connsiteY0" fmla="*/ -67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4 h 17597"/>
                <a:gd name="connsiteX9" fmla="*/ 31763 w 36004"/>
                <a:gd name="connsiteY9" fmla="*/ 3457 h 17597"/>
                <a:gd name="connsiteX10" fmla="*/ 21476 w 36004"/>
                <a:gd name="connsiteY10" fmla="*/ 9267 h 17597"/>
                <a:gd name="connsiteX11" fmla="*/ 13856 w 36004"/>
                <a:gd name="connsiteY11" fmla="*/ 9267 h 17597"/>
                <a:gd name="connsiteX12" fmla="*/ 3569 w 36004"/>
                <a:gd name="connsiteY12" fmla="*/ 3457 h 17597"/>
                <a:gd name="connsiteX13" fmla="*/ 1188 w 36004"/>
                <a:gd name="connsiteY13" fmla="*/ 2124 h 17597"/>
                <a:gd name="connsiteX14" fmla="*/ -336 w 36004"/>
                <a:gd name="connsiteY14" fmla="*/ -67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67"/>
                  </a:moveTo>
                  <a:lnTo>
                    <a:pt x="-336" y="7076"/>
                  </a:lnTo>
                  <a:cubicBezTo>
                    <a:pt x="-241" y="8019"/>
                    <a:pt x="340" y="8848"/>
                    <a:pt x="1188" y="9267"/>
                  </a:cubicBezTo>
                  <a:lnTo>
                    <a:pt x="13856" y="16506"/>
                  </a:lnTo>
                  <a:cubicBezTo>
                    <a:pt x="16247" y="17744"/>
                    <a:pt x="19085" y="17744"/>
                    <a:pt x="21476" y="16506"/>
                  </a:cubicBezTo>
                  <a:lnTo>
                    <a:pt x="34144" y="9267"/>
                  </a:lnTo>
                  <a:cubicBezTo>
                    <a:pt x="35011" y="8820"/>
                    <a:pt x="35582" y="7953"/>
                    <a:pt x="35668" y="6981"/>
                  </a:cubicBezTo>
                  <a:lnTo>
                    <a:pt x="35668" y="-163"/>
                  </a:lnTo>
                  <a:cubicBezTo>
                    <a:pt x="35601" y="818"/>
                    <a:pt x="35021" y="1685"/>
                    <a:pt x="34144" y="2124"/>
                  </a:cubicBezTo>
                  <a:lnTo>
                    <a:pt x="31763" y="3457"/>
                  </a:lnTo>
                  <a:lnTo>
                    <a:pt x="21476" y="9267"/>
                  </a:lnTo>
                  <a:cubicBezTo>
                    <a:pt x="19114" y="10610"/>
                    <a:pt x="16218" y="10610"/>
                    <a:pt x="13856" y="9267"/>
                  </a:cubicBezTo>
                  <a:lnTo>
                    <a:pt x="3569" y="3457"/>
                  </a:lnTo>
                  <a:lnTo>
                    <a:pt x="1188" y="2124"/>
                  </a:lnTo>
                  <a:cubicBezTo>
                    <a:pt x="340" y="1704"/>
                    <a:pt x="-241" y="876"/>
                    <a:pt x="-336" y="-67"/>
                  </a:cubicBezTo>
                  <a:close/>
                </a:path>
              </a:pathLst>
            </a:custGeom>
            <a:solidFill>
              <a:srgbClr val="BF4200"/>
            </a:solidFill>
            <a:ln w="9525" cap="flat">
              <a:noFill/>
              <a:prstDash val="solid"/>
              <a:miter/>
            </a:ln>
          </p:spPr>
          <p:txBody>
            <a:bodyPr rtlCol="0" anchor="ctr"/>
            <a:lstStyle/>
            <a:p>
              <a:endParaRPr lang="zh-CN" altLang="en-US"/>
            </a:p>
          </p:txBody>
        </p:sp>
        <p:sp>
          <p:nvSpPr>
            <p:cNvPr id="678" name="iš1íḋe">
              <a:extLst>
                <a:ext uri="{FF2B5EF4-FFF2-40B4-BE49-F238E27FC236}">
                  <a16:creationId xmlns:a16="http://schemas.microsoft.com/office/drawing/2014/main" id="{DC56CF55-22A2-4E42-BA2B-9663F7CCB87B}"/>
                </a:ext>
              </a:extLst>
            </p:cNvPr>
            <p:cNvSpPr/>
            <p:nvPr/>
          </p:nvSpPr>
          <p:spPr>
            <a:xfrm>
              <a:off x="6193030" y="5281879"/>
              <a:ext cx="197152" cy="113892"/>
            </a:xfrm>
            <a:custGeom>
              <a:avLst/>
              <a:gdLst>
                <a:gd name="connsiteX0" fmla="*/ -336 w 64769"/>
                <a:gd name="connsiteY0" fmla="*/ 10227 h 37416"/>
                <a:gd name="connsiteX1" fmla="*/ 1188 w 64769"/>
                <a:gd name="connsiteY1" fmla="*/ 12513 h 37416"/>
                <a:gd name="connsiteX2" fmla="*/ 3569 w 64769"/>
                <a:gd name="connsiteY2" fmla="*/ 13846 h 37416"/>
                <a:gd name="connsiteX3" fmla="*/ 42431 w 64769"/>
                <a:gd name="connsiteY3" fmla="*/ 36325 h 37416"/>
                <a:gd name="connsiteX4" fmla="*/ 50241 w 64769"/>
                <a:gd name="connsiteY4" fmla="*/ 36325 h 37416"/>
                <a:gd name="connsiteX5" fmla="*/ 60433 w 64769"/>
                <a:gd name="connsiteY5" fmla="*/ 30420 h 37416"/>
                <a:gd name="connsiteX6" fmla="*/ 62814 w 64769"/>
                <a:gd name="connsiteY6" fmla="*/ 28991 h 37416"/>
                <a:gd name="connsiteX7" fmla="*/ 64434 w 64769"/>
                <a:gd name="connsiteY7" fmla="*/ 27372 h 37416"/>
                <a:gd name="connsiteX8" fmla="*/ 64434 w 64769"/>
                <a:gd name="connsiteY8" fmla="*/ 26229 h 37416"/>
                <a:gd name="connsiteX9" fmla="*/ 62814 w 64769"/>
                <a:gd name="connsiteY9" fmla="*/ 24514 h 37416"/>
                <a:gd name="connsiteX10" fmla="*/ 21476 w 64769"/>
                <a:gd name="connsiteY10" fmla="*/ 702 h 37416"/>
                <a:gd name="connsiteX11" fmla="*/ 13856 w 64769"/>
                <a:gd name="connsiteY11" fmla="*/ 702 h 37416"/>
                <a:gd name="connsiteX12" fmla="*/ 1188 w 64769"/>
                <a:gd name="connsiteY12" fmla="*/ 8036 h 37416"/>
                <a:gd name="connsiteX13" fmla="*/ -336 w 64769"/>
                <a:gd name="connsiteY13" fmla="*/ 10227 h 37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4769" h="37416">
                  <a:moveTo>
                    <a:pt x="-336" y="10227"/>
                  </a:moveTo>
                  <a:cubicBezTo>
                    <a:pt x="-270" y="11208"/>
                    <a:pt x="311" y="12075"/>
                    <a:pt x="1188" y="12513"/>
                  </a:cubicBezTo>
                  <a:lnTo>
                    <a:pt x="3569" y="13846"/>
                  </a:lnTo>
                  <a:lnTo>
                    <a:pt x="42431" y="36325"/>
                  </a:lnTo>
                  <a:cubicBezTo>
                    <a:pt x="44888" y="37563"/>
                    <a:pt x="47784" y="37563"/>
                    <a:pt x="50241" y="36325"/>
                  </a:cubicBezTo>
                  <a:lnTo>
                    <a:pt x="60433" y="30420"/>
                  </a:lnTo>
                  <a:lnTo>
                    <a:pt x="62814" y="28991"/>
                  </a:lnTo>
                  <a:cubicBezTo>
                    <a:pt x="63529" y="28658"/>
                    <a:pt x="64100" y="28086"/>
                    <a:pt x="64434" y="27372"/>
                  </a:cubicBezTo>
                  <a:lnTo>
                    <a:pt x="64434" y="26229"/>
                  </a:lnTo>
                  <a:cubicBezTo>
                    <a:pt x="64024" y="25543"/>
                    <a:pt x="63472" y="24962"/>
                    <a:pt x="62814" y="24514"/>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679" name="ïṡḷîḑé">
              <a:extLst>
                <a:ext uri="{FF2B5EF4-FFF2-40B4-BE49-F238E27FC236}">
                  <a16:creationId xmlns:a16="http://schemas.microsoft.com/office/drawing/2014/main" id="{78B57CDF-5E88-4107-997B-E4B49BD1AAAB}"/>
                </a:ext>
              </a:extLst>
            </p:cNvPr>
            <p:cNvSpPr/>
            <p:nvPr/>
          </p:nvSpPr>
          <p:spPr>
            <a:xfrm>
              <a:off x="6194336" y="5282771"/>
              <a:ext cx="193168" cy="111545"/>
            </a:xfrm>
            <a:custGeom>
              <a:avLst/>
              <a:gdLst>
                <a:gd name="connsiteX0" fmla="*/ 42193 w 63460"/>
                <a:gd name="connsiteY0" fmla="*/ 35651 h 36645"/>
                <a:gd name="connsiteX1" fmla="*/ 1235 w 63460"/>
                <a:gd name="connsiteY1" fmla="*/ 12029 h 36645"/>
                <a:gd name="connsiteX2" fmla="*/ 1235 w 63460"/>
                <a:gd name="connsiteY2" fmla="*/ 7743 h 36645"/>
                <a:gd name="connsiteX3" fmla="*/ 13332 w 63460"/>
                <a:gd name="connsiteY3" fmla="*/ 695 h 36645"/>
                <a:gd name="connsiteX4" fmla="*/ 20761 w 63460"/>
                <a:gd name="connsiteY4" fmla="*/ 695 h 36645"/>
                <a:gd name="connsiteX5" fmla="*/ 61624 w 63460"/>
                <a:gd name="connsiteY5" fmla="*/ 24317 h 36645"/>
                <a:gd name="connsiteX6" fmla="*/ 61624 w 63460"/>
                <a:gd name="connsiteY6" fmla="*/ 28603 h 36645"/>
                <a:gd name="connsiteX7" fmla="*/ 49432 w 63460"/>
                <a:gd name="connsiteY7" fmla="*/ 35556 h 36645"/>
                <a:gd name="connsiteX8" fmla="*/ 42193 w 63460"/>
                <a:gd name="connsiteY8" fmla="*/ 35651 h 36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3460" h="36645">
                  <a:moveTo>
                    <a:pt x="42193" y="35651"/>
                  </a:moveTo>
                  <a:lnTo>
                    <a:pt x="1235" y="12029"/>
                  </a:lnTo>
                  <a:cubicBezTo>
                    <a:pt x="-860" y="10791"/>
                    <a:pt x="-860" y="8886"/>
                    <a:pt x="1235" y="7743"/>
                  </a:cubicBezTo>
                  <a:lnTo>
                    <a:pt x="13332" y="695"/>
                  </a:lnTo>
                  <a:cubicBezTo>
                    <a:pt x="15675" y="-448"/>
                    <a:pt x="18418" y="-448"/>
                    <a:pt x="20761" y="695"/>
                  </a:cubicBezTo>
                  <a:lnTo>
                    <a:pt x="61624" y="24317"/>
                  </a:lnTo>
                  <a:cubicBezTo>
                    <a:pt x="63624" y="25460"/>
                    <a:pt x="63624" y="27364"/>
                    <a:pt x="61624" y="28603"/>
                  </a:cubicBezTo>
                  <a:lnTo>
                    <a:pt x="49432" y="35556"/>
                  </a:lnTo>
                  <a:cubicBezTo>
                    <a:pt x="47174" y="36756"/>
                    <a:pt x="44479" y="36794"/>
                    <a:pt x="42193" y="35651"/>
                  </a:cubicBezTo>
                  <a:close/>
                </a:path>
              </a:pathLst>
            </a:custGeom>
            <a:solidFill>
              <a:srgbClr val="D1D9E8"/>
            </a:solidFill>
            <a:ln w="9525" cap="flat">
              <a:noFill/>
              <a:prstDash val="solid"/>
              <a:miter/>
            </a:ln>
          </p:spPr>
          <p:txBody>
            <a:bodyPr rtlCol="0" anchor="ctr"/>
            <a:lstStyle/>
            <a:p>
              <a:endParaRPr lang="zh-CN" altLang="en-US"/>
            </a:p>
          </p:txBody>
        </p:sp>
        <p:sp>
          <p:nvSpPr>
            <p:cNvPr id="680" name="ïšľiďè">
              <a:extLst>
                <a:ext uri="{FF2B5EF4-FFF2-40B4-BE49-F238E27FC236}">
                  <a16:creationId xmlns:a16="http://schemas.microsoft.com/office/drawing/2014/main" id="{9E09C8D2-B3D1-40DC-8B3A-94E7720F6400}"/>
                </a:ext>
              </a:extLst>
            </p:cNvPr>
            <p:cNvSpPr/>
            <p:nvPr/>
          </p:nvSpPr>
          <p:spPr>
            <a:xfrm>
              <a:off x="6193030" y="5313503"/>
              <a:ext cx="197152" cy="104011"/>
            </a:xfrm>
            <a:custGeom>
              <a:avLst/>
              <a:gdLst>
                <a:gd name="connsiteX0" fmla="*/ -336 w 64769"/>
                <a:gd name="connsiteY0" fmla="*/ -163 h 34170"/>
                <a:gd name="connsiteX1" fmla="*/ -336 w 64769"/>
                <a:gd name="connsiteY1" fmla="*/ 6981 h 34170"/>
                <a:gd name="connsiteX2" fmla="*/ 1188 w 64769"/>
                <a:gd name="connsiteY2" fmla="*/ 9267 h 34170"/>
                <a:gd name="connsiteX3" fmla="*/ 42431 w 64769"/>
                <a:gd name="connsiteY3" fmla="*/ 33080 h 34170"/>
                <a:gd name="connsiteX4" fmla="*/ 50241 w 64769"/>
                <a:gd name="connsiteY4" fmla="*/ 33080 h 34170"/>
                <a:gd name="connsiteX5" fmla="*/ 62814 w 64769"/>
                <a:gd name="connsiteY5" fmla="*/ 25841 h 34170"/>
                <a:gd name="connsiteX6" fmla="*/ 64434 w 64769"/>
                <a:gd name="connsiteY6" fmla="*/ 24126 h 34170"/>
                <a:gd name="connsiteX7" fmla="*/ 64434 w 64769"/>
                <a:gd name="connsiteY7" fmla="*/ 16982 h 34170"/>
                <a:gd name="connsiteX8" fmla="*/ 62814 w 64769"/>
                <a:gd name="connsiteY8" fmla="*/ 18602 h 34170"/>
                <a:gd name="connsiteX9" fmla="*/ 60433 w 64769"/>
                <a:gd name="connsiteY9" fmla="*/ 20030 h 34170"/>
                <a:gd name="connsiteX10" fmla="*/ 50241 w 64769"/>
                <a:gd name="connsiteY10" fmla="*/ 25936 h 34170"/>
                <a:gd name="connsiteX11" fmla="*/ 42431 w 64769"/>
                <a:gd name="connsiteY11" fmla="*/ 25936 h 34170"/>
                <a:gd name="connsiteX12" fmla="*/ 3569 w 64769"/>
                <a:gd name="connsiteY12" fmla="*/ 3457 h 34170"/>
                <a:gd name="connsiteX13" fmla="*/ 1664 w 64769"/>
                <a:gd name="connsiteY13" fmla="*/ 1933 h 34170"/>
                <a:gd name="connsiteX14" fmla="*/ -336 w 64769"/>
                <a:gd name="connsiteY14" fmla="*/ -163 h 341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4769" h="34170">
                  <a:moveTo>
                    <a:pt x="-336" y="-163"/>
                  </a:moveTo>
                  <a:lnTo>
                    <a:pt x="-336" y="6981"/>
                  </a:lnTo>
                  <a:cubicBezTo>
                    <a:pt x="-251" y="7953"/>
                    <a:pt x="321" y="8819"/>
                    <a:pt x="1188" y="9267"/>
                  </a:cubicBezTo>
                  <a:lnTo>
                    <a:pt x="42431" y="33080"/>
                  </a:lnTo>
                  <a:cubicBezTo>
                    <a:pt x="44888" y="34318"/>
                    <a:pt x="47784" y="34318"/>
                    <a:pt x="50241" y="33080"/>
                  </a:cubicBezTo>
                  <a:lnTo>
                    <a:pt x="62814" y="25841"/>
                  </a:lnTo>
                  <a:cubicBezTo>
                    <a:pt x="63472" y="25393"/>
                    <a:pt x="64024" y="24812"/>
                    <a:pt x="64434" y="24126"/>
                  </a:cubicBezTo>
                  <a:lnTo>
                    <a:pt x="64434" y="16982"/>
                  </a:lnTo>
                  <a:cubicBezTo>
                    <a:pt x="64100" y="17697"/>
                    <a:pt x="63529" y="18268"/>
                    <a:pt x="62814" y="18602"/>
                  </a:cubicBezTo>
                  <a:lnTo>
                    <a:pt x="60433" y="20030"/>
                  </a:lnTo>
                  <a:lnTo>
                    <a:pt x="50241" y="25936"/>
                  </a:lnTo>
                  <a:cubicBezTo>
                    <a:pt x="47784" y="27174"/>
                    <a:pt x="44888" y="27174"/>
                    <a:pt x="42431" y="25936"/>
                  </a:cubicBezTo>
                  <a:lnTo>
                    <a:pt x="3569" y="3457"/>
                  </a:lnTo>
                  <a:lnTo>
                    <a:pt x="1664" y="1933"/>
                  </a:lnTo>
                  <a:cubicBezTo>
                    <a:pt x="654" y="1666"/>
                    <a:pt x="-117" y="856"/>
                    <a:pt x="-336" y="-163"/>
                  </a:cubicBezTo>
                  <a:close/>
                </a:path>
              </a:pathLst>
            </a:custGeom>
            <a:solidFill>
              <a:srgbClr val="BF4200"/>
            </a:solidFill>
            <a:ln w="9525" cap="flat">
              <a:noFill/>
              <a:prstDash val="solid"/>
              <a:miter/>
            </a:ln>
          </p:spPr>
          <p:txBody>
            <a:bodyPr rtlCol="0" anchor="ctr"/>
            <a:lstStyle/>
            <a:p>
              <a:endParaRPr lang="zh-CN" altLang="en-US"/>
            </a:p>
          </p:txBody>
        </p:sp>
        <p:sp>
          <p:nvSpPr>
            <p:cNvPr id="681" name="ïsḻïdê">
              <a:extLst>
                <a:ext uri="{FF2B5EF4-FFF2-40B4-BE49-F238E27FC236}">
                  <a16:creationId xmlns:a16="http://schemas.microsoft.com/office/drawing/2014/main" id="{C1B49851-FEA6-4150-9B6E-C504E9726A6E}"/>
                </a:ext>
              </a:extLst>
            </p:cNvPr>
            <p:cNvSpPr/>
            <p:nvPr/>
          </p:nvSpPr>
          <p:spPr>
            <a:xfrm>
              <a:off x="5077942" y="4728490"/>
              <a:ext cx="197155" cy="113803"/>
            </a:xfrm>
            <a:custGeom>
              <a:avLst/>
              <a:gdLst>
                <a:gd name="connsiteX0" fmla="*/ -336 w 64770"/>
                <a:gd name="connsiteY0" fmla="*/ 10291 h 37387"/>
                <a:gd name="connsiteX1" fmla="*/ 1188 w 64770"/>
                <a:gd name="connsiteY1" fmla="*/ 12577 h 37387"/>
                <a:gd name="connsiteX2" fmla="*/ 3569 w 64770"/>
                <a:gd name="connsiteY2" fmla="*/ 13910 h 37387"/>
                <a:gd name="connsiteX3" fmla="*/ 42431 w 64770"/>
                <a:gd name="connsiteY3" fmla="*/ 36390 h 37387"/>
                <a:gd name="connsiteX4" fmla="*/ 50242 w 64770"/>
                <a:gd name="connsiteY4" fmla="*/ 36390 h 37387"/>
                <a:gd name="connsiteX5" fmla="*/ 60433 w 64770"/>
                <a:gd name="connsiteY5" fmla="*/ 30389 h 37387"/>
                <a:gd name="connsiteX6" fmla="*/ 62814 w 64770"/>
                <a:gd name="connsiteY6" fmla="*/ 29055 h 37387"/>
                <a:gd name="connsiteX7" fmla="*/ 64434 w 64770"/>
                <a:gd name="connsiteY7" fmla="*/ 27436 h 37387"/>
                <a:gd name="connsiteX8" fmla="*/ 64434 w 64770"/>
                <a:gd name="connsiteY8" fmla="*/ 26293 h 37387"/>
                <a:gd name="connsiteX9" fmla="*/ 62814 w 64770"/>
                <a:gd name="connsiteY9" fmla="*/ 24579 h 37387"/>
                <a:gd name="connsiteX10" fmla="*/ 21476 w 64770"/>
                <a:gd name="connsiteY10" fmla="*/ 766 h 37387"/>
                <a:gd name="connsiteX11" fmla="*/ 13856 w 64770"/>
                <a:gd name="connsiteY11" fmla="*/ 766 h 37387"/>
                <a:gd name="connsiteX12" fmla="*/ 1188 w 64770"/>
                <a:gd name="connsiteY12" fmla="*/ 8100 h 37387"/>
                <a:gd name="connsiteX13" fmla="*/ -336 w 64770"/>
                <a:gd name="connsiteY13" fmla="*/ 10291 h 37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4770" h="37387">
                  <a:moveTo>
                    <a:pt x="-336" y="10291"/>
                  </a:moveTo>
                  <a:cubicBezTo>
                    <a:pt x="-269" y="11272"/>
                    <a:pt x="312" y="12139"/>
                    <a:pt x="1188" y="12577"/>
                  </a:cubicBezTo>
                  <a:lnTo>
                    <a:pt x="3569" y="13910"/>
                  </a:lnTo>
                  <a:lnTo>
                    <a:pt x="42431" y="36390"/>
                  </a:lnTo>
                  <a:cubicBezTo>
                    <a:pt x="44917" y="37504"/>
                    <a:pt x="47756" y="37504"/>
                    <a:pt x="50242" y="36390"/>
                  </a:cubicBezTo>
                  <a:lnTo>
                    <a:pt x="60433" y="30389"/>
                  </a:lnTo>
                  <a:lnTo>
                    <a:pt x="62814" y="29055"/>
                  </a:lnTo>
                  <a:cubicBezTo>
                    <a:pt x="63529" y="28722"/>
                    <a:pt x="64100" y="28150"/>
                    <a:pt x="64434" y="27436"/>
                  </a:cubicBezTo>
                  <a:lnTo>
                    <a:pt x="64434" y="26293"/>
                  </a:lnTo>
                  <a:cubicBezTo>
                    <a:pt x="64081" y="25569"/>
                    <a:pt x="63510" y="24979"/>
                    <a:pt x="62814" y="24579"/>
                  </a:cubicBezTo>
                  <a:lnTo>
                    <a:pt x="21476" y="766"/>
                  </a:lnTo>
                  <a:cubicBezTo>
                    <a:pt x="19085" y="-472"/>
                    <a:pt x="16247" y="-472"/>
                    <a:pt x="13856" y="766"/>
                  </a:cubicBezTo>
                  <a:lnTo>
                    <a:pt x="1188" y="8100"/>
                  </a:lnTo>
                  <a:cubicBezTo>
                    <a:pt x="292" y="8472"/>
                    <a:pt x="-298"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682" name="íṣ1íḑé">
              <a:extLst>
                <a:ext uri="{FF2B5EF4-FFF2-40B4-BE49-F238E27FC236}">
                  <a16:creationId xmlns:a16="http://schemas.microsoft.com/office/drawing/2014/main" id="{9B53E33C-2B14-4EBF-BD57-48DE1888EA20}"/>
                </a:ext>
              </a:extLst>
            </p:cNvPr>
            <p:cNvSpPr/>
            <p:nvPr/>
          </p:nvSpPr>
          <p:spPr>
            <a:xfrm>
              <a:off x="5079829" y="4729647"/>
              <a:ext cx="193168" cy="111551"/>
            </a:xfrm>
            <a:custGeom>
              <a:avLst/>
              <a:gdLst>
                <a:gd name="connsiteX0" fmla="*/ 42002 w 63460"/>
                <a:gd name="connsiteY0" fmla="*/ 35628 h 36647"/>
                <a:gd name="connsiteX1" fmla="*/ 1235 w 63460"/>
                <a:gd name="connsiteY1" fmla="*/ 12006 h 36647"/>
                <a:gd name="connsiteX2" fmla="*/ 1235 w 63460"/>
                <a:gd name="connsiteY2" fmla="*/ 7719 h 36647"/>
                <a:gd name="connsiteX3" fmla="*/ 13332 w 63460"/>
                <a:gd name="connsiteY3" fmla="*/ 766 h 36647"/>
                <a:gd name="connsiteX4" fmla="*/ 20761 w 63460"/>
                <a:gd name="connsiteY4" fmla="*/ 766 h 36647"/>
                <a:gd name="connsiteX5" fmla="*/ 61624 w 63460"/>
                <a:gd name="connsiteY5" fmla="*/ 24293 h 36647"/>
                <a:gd name="connsiteX6" fmla="*/ 61624 w 63460"/>
                <a:gd name="connsiteY6" fmla="*/ 28579 h 36647"/>
                <a:gd name="connsiteX7" fmla="*/ 49432 w 63460"/>
                <a:gd name="connsiteY7" fmla="*/ 35628 h 36647"/>
                <a:gd name="connsiteX8" fmla="*/ 42002 w 63460"/>
                <a:gd name="connsiteY8" fmla="*/ 35628 h 366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3460" h="36647">
                  <a:moveTo>
                    <a:pt x="42002" y="35628"/>
                  </a:moveTo>
                  <a:lnTo>
                    <a:pt x="1235" y="12006"/>
                  </a:lnTo>
                  <a:cubicBezTo>
                    <a:pt x="-860" y="10863"/>
                    <a:pt x="-860" y="8958"/>
                    <a:pt x="1235" y="7719"/>
                  </a:cubicBezTo>
                  <a:lnTo>
                    <a:pt x="13332" y="766"/>
                  </a:lnTo>
                  <a:cubicBezTo>
                    <a:pt x="15656" y="-472"/>
                    <a:pt x="18437" y="-472"/>
                    <a:pt x="20761" y="766"/>
                  </a:cubicBezTo>
                  <a:lnTo>
                    <a:pt x="61624" y="24293"/>
                  </a:lnTo>
                  <a:cubicBezTo>
                    <a:pt x="63624" y="25531"/>
                    <a:pt x="63624" y="27436"/>
                    <a:pt x="61624" y="28579"/>
                  </a:cubicBezTo>
                  <a:lnTo>
                    <a:pt x="49432" y="35628"/>
                  </a:lnTo>
                  <a:cubicBezTo>
                    <a:pt x="47089" y="36771"/>
                    <a:pt x="44345" y="36771"/>
                    <a:pt x="42002" y="35628"/>
                  </a:cubicBezTo>
                  <a:close/>
                </a:path>
              </a:pathLst>
            </a:custGeom>
            <a:solidFill>
              <a:srgbClr val="D1D9E8"/>
            </a:solidFill>
            <a:ln w="9525" cap="flat">
              <a:noFill/>
              <a:prstDash val="solid"/>
              <a:miter/>
            </a:ln>
          </p:spPr>
          <p:txBody>
            <a:bodyPr rtlCol="0" anchor="ctr"/>
            <a:lstStyle/>
            <a:p>
              <a:endParaRPr lang="zh-CN" altLang="en-US"/>
            </a:p>
          </p:txBody>
        </p:sp>
        <p:sp>
          <p:nvSpPr>
            <p:cNvPr id="683" name="íşlïdé">
              <a:extLst>
                <a:ext uri="{FF2B5EF4-FFF2-40B4-BE49-F238E27FC236}">
                  <a16:creationId xmlns:a16="http://schemas.microsoft.com/office/drawing/2014/main" id="{EA9BC7D7-1709-4AB1-8AE2-3512F967DFF1}"/>
                </a:ext>
              </a:extLst>
            </p:cNvPr>
            <p:cNvSpPr/>
            <p:nvPr/>
          </p:nvSpPr>
          <p:spPr>
            <a:xfrm>
              <a:off x="5077942" y="4760308"/>
              <a:ext cx="197155" cy="104011"/>
            </a:xfrm>
            <a:custGeom>
              <a:avLst/>
              <a:gdLst>
                <a:gd name="connsiteX0" fmla="*/ -336 w 64770"/>
                <a:gd name="connsiteY0" fmla="*/ -163 h 34170"/>
                <a:gd name="connsiteX1" fmla="*/ -336 w 64770"/>
                <a:gd name="connsiteY1" fmla="*/ 6981 h 34170"/>
                <a:gd name="connsiteX2" fmla="*/ 1188 w 64770"/>
                <a:gd name="connsiteY2" fmla="*/ 9267 h 34170"/>
                <a:gd name="connsiteX3" fmla="*/ 42431 w 64770"/>
                <a:gd name="connsiteY3" fmla="*/ 33080 h 34170"/>
                <a:gd name="connsiteX4" fmla="*/ 50242 w 64770"/>
                <a:gd name="connsiteY4" fmla="*/ 33080 h 34170"/>
                <a:gd name="connsiteX5" fmla="*/ 62814 w 64770"/>
                <a:gd name="connsiteY5" fmla="*/ 25745 h 34170"/>
                <a:gd name="connsiteX6" fmla="*/ 64434 w 64770"/>
                <a:gd name="connsiteY6" fmla="*/ 24126 h 34170"/>
                <a:gd name="connsiteX7" fmla="*/ 64434 w 64770"/>
                <a:gd name="connsiteY7" fmla="*/ 16982 h 34170"/>
                <a:gd name="connsiteX8" fmla="*/ 62814 w 64770"/>
                <a:gd name="connsiteY8" fmla="*/ 18602 h 34170"/>
                <a:gd name="connsiteX9" fmla="*/ 60433 w 64770"/>
                <a:gd name="connsiteY9" fmla="*/ 19935 h 34170"/>
                <a:gd name="connsiteX10" fmla="*/ 50242 w 64770"/>
                <a:gd name="connsiteY10" fmla="*/ 25936 h 34170"/>
                <a:gd name="connsiteX11" fmla="*/ 42431 w 64770"/>
                <a:gd name="connsiteY11" fmla="*/ 25936 h 34170"/>
                <a:gd name="connsiteX12" fmla="*/ 3569 w 64770"/>
                <a:gd name="connsiteY12" fmla="*/ 3457 h 34170"/>
                <a:gd name="connsiteX13" fmla="*/ 1188 w 64770"/>
                <a:gd name="connsiteY13" fmla="*/ 2123 h 34170"/>
                <a:gd name="connsiteX14" fmla="*/ -336 w 64770"/>
                <a:gd name="connsiteY14" fmla="*/ -163 h 341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4770" h="34170">
                  <a:moveTo>
                    <a:pt x="-336" y="-163"/>
                  </a:moveTo>
                  <a:lnTo>
                    <a:pt x="-336" y="6981"/>
                  </a:lnTo>
                  <a:cubicBezTo>
                    <a:pt x="-251" y="7953"/>
                    <a:pt x="321" y="8819"/>
                    <a:pt x="1188" y="9267"/>
                  </a:cubicBezTo>
                  <a:lnTo>
                    <a:pt x="42431" y="33080"/>
                  </a:lnTo>
                  <a:cubicBezTo>
                    <a:pt x="44889" y="34318"/>
                    <a:pt x="47784" y="34318"/>
                    <a:pt x="50242" y="33080"/>
                  </a:cubicBezTo>
                  <a:lnTo>
                    <a:pt x="62814" y="25745"/>
                  </a:lnTo>
                  <a:cubicBezTo>
                    <a:pt x="63491" y="25355"/>
                    <a:pt x="64043" y="24802"/>
                    <a:pt x="64434" y="24126"/>
                  </a:cubicBezTo>
                  <a:lnTo>
                    <a:pt x="64434" y="16982"/>
                  </a:lnTo>
                  <a:cubicBezTo>
                    <a:pt x="64100" y="17697"/>
                    <a:pt x="63529" y="18268"/>
                    <a:pt x="62814" y="18602"/>
                  </a:cubicBezTo>
                  <a:lnTo>
                    <a:pt x="60433" y="19935"/>
                  </a:lnTo>
                  <a:lnTo>
                    <a:pt x="50242" y="25936"/>
                  </a:lnTo>
                  <a:cubicBezTo>
                    <a:pt x="47756" y="27050"/>
                    <a:pt x="44917" y="27050"/>
                    <a:pt x="42431" y="25936"/>
                  </a:cubicBezTo>
                  <a:lnTo>
                    <a:pt x="3569" y="3457"/>
                  </a:lnTo>
                  <a:lnTo>
                    <a:pt x="1188" y="2123"/>
                  </a:lnTo>
                  <a:cubicBezTo>
                    <a:pt x="312"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84" name="iślïďê">
              <a:extLst>
                <a:ext uri="{FF2B5EF4-FFF2-40B4-BE49-F238E27FC236}">
                  <a16:creationId xmlns:a16="http://schemas.microsoft.com/office/drawing/2014/main" id="{3D1DC968-F4F3-416F-8BB7-C3430AEC4C14}"/>
                </a:ext>
              </a:extLst>
            </p:cNvPr>
            <p:cNvSpPr/>
            <p:nvPr/>
          </p:nvSpPr>
          <p:spPr>
            <a:xfrm>
              <a:off x="5242335" y="4824456"/>
              <a:ext cx="109594" cy="63588"/>
            </a:xfrm>
            <a:custGeom>
              <a:avLst/>
              <a:gdLst>
                <a:gd name="connsiteX0" fmla="*/ -336 w 36004"/>
                <a:gd name="connsiteY0" fmla="*/ 10196 h 20890"/>
                <a:gd name="connsiteX1" fmla="*/ 1188 w 36004"/>
                <a:gd name="connsiteY1" fmla="*/ 12482 h 20890"/>
                <a:gd name="connsiteX2" fmla="*/ 3569 w 36004"/>
                <a:gd name="connsiteY2" fmla="*/ 13815 h 20890"/>
                <a:gd name="connsiteX3" fmla="*/ 13761 w 36004"/>
                <a:gd name="connsiteY3" fmla="*/ 19721 h 20890"/>
                <a:gd name="connsiteX4" fmla="*/ 21476 w 36004"/>
                <a:gd name="connsiteY4" fmla="*/ 19721 h 20890"/>
                <a:gd name="connsiteX5" fmla="*/ 31763 w 36004"/>
                <a:gd name="connsiteY5" fmla="*/ 13815 h 20890"/>
                <a:gd name="connsiteX6" fmla="*/ 34049 w 36004"/>
                <a:gd name="connsiteY6" fmla="*/ 12482 h 20890"/>
                <a:gd name="connsiteX7" fmla="*/ 35668 w 36004"/>
                <a:gd name="connsiteY7" fmla="*/ 10196 h 20890"/>
                <a:gd name="connsiteX8" fmla="*/ 34049 w 36004"/>
                <a:gd name="connsiteY8" fmla="*/ 8005 h 20890"/>
                <a:gd name="connsiteX9" fmla="*/ 21476 w 36004"/>
                <a:gd name="connsiteY9" fmla="*/ 766 h 20890"/>
                <a:gd name="connsiteX10" fmla="*/ 13761 w 36004"/>
                <a:gd name="connsiteY10" fmla="*/ 766 h 20890"/>
                <a:gd name="connsiteX11" fmla="*/ 1188 w 36004"/>
                <a:gd name="connsiteY11" fmla="*/ 8005 h 20890"/>
                <a:gd name="connsiteX12" fmla="*/ -336 w 36004"/>
                <a:gd name="connsiteY12" fmla="*/ 10196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196"/>
                  </a:moveTo>
                  <a:cubicBezTo>
                    <a:pt x="-308" y="11186"/>
                    <a:pt x="283" y="12082"/>
                    <a:pt x="1188" y="12482"/>
                  </a:cubicBezTo>
                  <a:lnTo>
                    <a:pt x="3569" y="13815"/>
                  </a:lnTo>
                  <a:lnTo>
                    <a:pt x="13761" y="19721"/>
                  </a:lnTo>
                  <a:cubicBezTo>
                    <a:pt x="16161" y="21064"/>
                    <a:pt x="19076" y="21064"/>
                    <a:pt x="21476" y="19721"/>
                  </a:cubicBezTo>
                  <a:lnTo>
                    <a:pt x="31763" y="13815"/>
                  </a:lnTo>
                  <a:lnTo>
                    <a:pt x="34049" y="12482"/>
                  </a:lnTo>
                  <a:cubicBezTo>
                    <a:pt x="34992" y="12110"/>
                    <a:pt x="35630" y="11215"/>
                    <a:pt x="35668" y="10196"/>
                  </a:cubicBezTo>
                  <a:cubicBezTo>
                    <a:pt x="35573" y="9224"/>
                    <a:pt x="34944" y="8386"/>
                    <a:pt x="34049" y="8005"/>
                  </a:cubicBezTo>
                  <a:lnTo>
                    <a:pt x="21476" y="766"/>
                  </a:lnTo>
                  <a:cubicBezTo>
                    <a:pt x="19057" y="-472"/>
                    <a:pt x="16180" y="-472"/>
                    <a:pt x="13761" y="766"/>
                  </a:cubicBezTo>
                  <a:lnTo>
                    <a:pt x="1188" y="8005"/>
                  </a:lnTo>
                  <a:cubicBezTo>
                    <a:pt x="340" y="8424"/>
                    <a:pt x="-241" y="925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685" name="îŝľiḋê">
              <a:extLst>
                <a:ext uri="{FF2B5EF4-FFF2-40B4-BE49-F238E27FC236}">
                  <a16:creationId xmlns:a16="http://schemas.microsoft.com/office/drawing/2014/main" id="{2CD46AD2-BFFA-4AF0-A818-58D68D482447}"/>
                </a:ext>
              </a:extLst>
            </p:cNvPr>
            <p:cNvSpPr/>
            <p:nvPr/>
          </p:nvSpPr>
          <p:spPr>
            <a:xfrm>
              <a:off x="5245337" y="4825038"/>
              <a:ext cx="105618" cy="61104"/>
            </a:xfrm>
            <a:custGeom>
              <a:avLst/>
              <a:gdLst>
                <a:gd name="connsiteX0" fmla="*/ 1154 w 34698"/>
                <a:gd name="connsiteY0" fmla="*/ 12006 h 20074"/>
                <a:gd name="connsiteX1" fmla="*/ 13346 w 34698"/>
                <a:gd name="connsiteY1" fmla="*/ 19054 h 20074"/>
                <a:gd name="connsiteX2" fmla="*/ 20776 w 34698"/>
                <a:gd name="connsiteY2" fmla="*/ 19054 h 20074"/>
                <a:gd name="connsiteX3" fmla="*/ 32872 w 34698"/>
                <a:gd name="connsiteY3" fmla="*/ 12006 h 20074"/>
                <a:gd name="connsiteX4" fmla="*/ 34215 w 34698"/>
                <a:gd name="connsiteY4" fmla="*/ 9062 h 20074"/>
                <a:gd name="connsiteX5" fmla="*/ 32872 w 34698"/>
                <a:gd name="connsiteY5" fmla="*/ 7719 h 20074"/>
                <a:gd name="connsiteX6" fmla="*/ 20776 w 34698"/>
                <a:gd name="connsiteY6" fmla="*/ 766 h 20074"/>
                <a:gd name="connsiteX7" fmla="*/ 13346 w 34698"/>
                <a:gd name="connsiteY7" fmla="*/ 766 h 20074"/>
                <a:gd name="connsiteX8" fmla="*/ 1154 w 34698"/>
                <a:gd name="connsiteY8" fmla="*/ 7719 h 20074"/>
                <a:gd name="connsiteX9" fmla="*/ -189 w 34698"/>
                <a:gd name="connsiteY9" fmla="*/ 10663 h 20074"/>
                <a:gd name="connsiteX10" fmla="*/ 1154 w 34698"/>
                <a:gd name="connsiteY10"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698" h="20074">
                  <a:moveTo>
                    <a:pt x="1154" y="12006"/>
                  </a:moveTo>
                  <a:lnTo>
                    <a:pt x="13346" y="19054"/>
                  </a:lnTo>
                  <a:cubicBezTo>
                    <a:pt x="15689" y="20197"/>
                    <a:pt x="18432" y="20197"/>
                    <a:pt x="20776" y="19054"/>
                  </a:cubicBezTo>
                  <a:lnTo>
                    <a:pt x="32872" y="12006"/>
                  </a:lnTo>
                  <a:cubicBezTo>
                    <a:pt x="34053" y="11567"/>
                    <a:pt x="34663" y="10253"/>
                    <a:pt x="34215" y="9062"/>
                  </a:cubicBezTo>
                  <a:cubicBezTo>
                    <a:pt x="33987" y="8443"/>
                    <a:pt x="33491" y="7948"/>
                    <a:pt x="32872" y="7719"/>
                  </a:cubicBezTo>
                  <a:lnTo>
                    <a:pt x="20776" y="766"/>
                  </a:lnTo>
                  <a:cubicBezTo>
                    <a:pt x="18451" y="-472"/>
                    <a:pt x="15670" y="-472"/>
                    <a:pt x="13346" y="766"/>
                  </a:cubicBezTo>
                  <a:lnTo>
                    <a:pt x="1154" y="7719"/>
                  </a:lnTo>
                  <a:cubicBezTo>
                    <a:pt x="-27" y="8158"/>
                    <a:pt x="-637" y="9472"/>
                    <a:pt x="-189" y="10663"/>
                  </a:cubicBezTo>
                  <a:cubicBezTo>
                    <a:pt x="40" y="11282"/>
                    <a:pt x="535" y="11777"/>
                    <a:pt x="1154" y="12006"/>
                  </a:cubicBezTo>
                  <a:close/>
                </a:path>
              </a:pathLst>
            </a:custGeom>
            <a:solidFill>
              <a:srgbClr val="D1D9E8"/>
            </a:solidFill>
            <a:ln w="9525" cap="flat">
              <a:noFill/>
              <a:prstDash val="solid"/>
              <a:miter/>
            </a:ln>
          </p:spPr>
          <p:txBody>
            <a:bodyPr rtlCol="0" anchor="ctr"/>
            <a:lstStyle/>
            <a:p>
              <a:endParaRPr lang="zh-CN" altLang="en-US"/>
            </a:p>
          </p:txBody>
        </p:sp>
        <p:sp>
          <p:nvSpPr>
            <p:cNvPr id="686" name="ïṣ1îḍé">
              <a:extLst>
                <a:ext uri="{FF2B5EF4-FFF2-40B4-BE49-F238E27FC236}">
                  <a16:creationId xmlns:a16="http://schemas.microsoft.com/office/drawing/2014/main" id="{5104BFC3-0139-48FD-95C5-6EDB188634FE}"/>
                </a:ext>
              </a:extLst>
            </p:cNvPr>
            <p:cNvSpPr/>
            <p:nvPr/>
          </p:nvSpPr>
          <p:spPr>
            <a:xfrm>
              <a:off x="5242335" y="4855988"/>
              <a:ext cx="109594" cy="53801"/>
            </a:xfrm>
            <a:custGeom>
              <a:avLst/>
              <a:gdLst>
                <a:gd name="connsiteX0" fmla="*/ -336 w 36004"/>
                <a:gd name="connsiteY0" fmla="*/ -163 h 17675"/>
                <a:gd name="connsiteX1" fmla="*/ -336 w 36004"/>
                <a:gd name="connsiteY1" fmla="*/ 7076 h 17675"/>
                <a:gd name="connsiteX2" fmla="*/ 1188 w 36004"/>
                <a:gd name="connsiteY2" fmla="*/ 9267 h 17675"/>
                <a:gd name="connsiteX3" fmla="*/ 13761 w 36004"/>
                <a:gd name="connsiteY3" fmla="*/ 16506 h 17675"/>
                <a:gd name="connsiteX4" fmla="*/ 21476 w 36004"/>
                <a:gd name="connsiteY4" fmla="*/ 16506 h 17675"/>
                <a:gd name="connsiteX5" fmla="*/ 34049 w 36004"/>
                <a:gd name="connsiteY5" fmla="*/ 9267 h 17675"/>
                <a:gd name="connsiteX6" fmla="*/ 35668 w 36004"/>
                <a:gd name="connsiteY6" fmla="*/ 7076 h 17675"/>
                <a:gd name="connsiteX7" fmla="*/ 35668 w 36004"/>
                <a:gd name="connsiteY7" fmla="*/ -163 h 17675"/>
                <a:gd name="connsiteX8" fmla="*/ 34049 w 36004"/>
                <a:gd name="connsiteY8" fmla="*/ 2123 h 17675"/>
                <a:gd name="connsiteX9" fmla="*/ 31763 w 36004"/>
                <a:gd name="connsiteY9" fmla="*/ 3457 h 17675"/>
                <a:gd name="connsiteX10" fmla="*/ 21476 w 36004"/>
                <a:gd name="connsiteY10" fmla="*/ 9362 h 17675"/>
                <a:gd name="connsiteX11" fmla="*/ 13761 w 36004"/>
                <a:gd name="connsiteY11" fmla="*/ 9362 h 17675"/>
                <a:gd name="connsiteX12" fmla="*/ 3569 w 36004"/>
                <a:gd name="connsiteY12" fmla="*/ 3457 h 17675"/>
                <a:gd name="connsiteX13" fmla="*/ 1188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98" y="8038"/>
                    <a:pt x="292" y="8896"/>
                    <a:pt x="1188" y="9267"/>
                  </a:cubicBezTo>
                  <a:lnTo>
                    <a:pt x="13761" y="16506"/>
                  </a:lnTo>
                  <a:cubicBezTo>
                    <a:pt x="16161" y="17849"/>
                    <a:pt x="19076" y="17849"/>
                    <a:pt x="21476" y="16506"/>
                  </a:cubicBezTo>
                  <a:lnTo>
                    <a:pt x="34049" y="9267"/>
                  </a:lnTo>
                  <a:cubicBezTo>
                    <a:pt x="34963" y="8905"/>
                    <a:pt x="35592" y="8058"/>
                    <a:pt x="35668" y="7076"/>
                  </a:cubicBezTo>
                  <a:lnTo>
                    <a:pt x="35668" y="-163"/>
                  </a:lnTo>
                  <a:cubicBezTo>
                    <a:pt x="35630" y="856"/>
                    <a:pt x="34992" y="1752"/>
                    <a:pt x="34049" y="2123"/>
                  </a:cubicBezTo>
                  <a:lnTo>
                    <a:pt x="31763" y="3457"/>
                  </a:lnTo>
                  <a:lnTo>
                    <a:pt x="21476" y="9362"/>
                  </a:lnTo>
                  <a:cubicBezTo>
                    <a:pt x="19076" y="10705"/>
                    <a:pt x="16161" y="10705"/>
                    <a:pt x="13761" y="9362"/>
                  </a:cubicBezTo>
                  <a:lnTo>
                    <a:pt x="3569" y="3457"/>
                  </a:lnTo>
                  <a:lnTo>
                    <a:pt x="1188" y="2123"/>
                  </a:lnTo>
                  <a:cubicBezTo>
                    <a:pt x="283" y="1723"/>
                    <a:pt x="-308"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87" name="îśḷídé">
              <a:extLst>
                <a:ext uri="{FF2B5EF4-FFF2-40B4-BE49-F238E27FC236}">
                  <a16:creationId xmlns:a16="http://schemas.microsoft.com/office/drawing/2014/main" id="{6436A32B-0D02-4123-BFE8-6B33460164D2}"/>
                </a:ext>
              </a:extLst>
            </p:cNvPr>
            <p:cNvSpPr/>
            <p:nvPr/>
          </p:nvSpPr>
          <p:spPr>
            <a:xfrm>
              <a:off x="5320619" y="4868526"/>
              <a:ext cx="109740" cy="63588"/>
            </a:xfrm>
            <a:custGeom>
              <a:avLst/>
              <a:gdLst>
                <a:gd name="connsiteX0" fmla="*/ -336 w 36052"/>
                <a:gd name="connsiteY0" fmla="*/ 10196 h 20890"/>
                <a:gd name="connsiteX1" fmla="*/ 1187 w 36052"/>
                <a:gd name="connsiteY1" fmla="*/ 12482 h 20890"/>
                <a:gd name="connsiteX2" fmla="*/ 3569 w 36052"/>
                <a:gd name="connsiteY2" fmla="*/ 13815 h 20890"/>
                <a:gd name="connsiteX3" fmla="*/ 13856 w 36052"/>
                <a:gd name="connsiteY3" fmla="*/ 19721 h 20890"/>
                <a:gd name="connsiteX4" fmla="*/ 21476 w 36052"/>
                <a:gd name="connsiteY4" fmla="*/ 19721 h 20890"/>
                <a:gd name="connsiteX5" fmla="*/ 31763 w 36052"/>
                <a:gd name="connsiteY5" fmla="*/ 13815 h 20890"/>
                <a:gd name="connsiteX6" fmla="*/ 34144 w 36052"/>
                <a:gd name="connsiteY6" fmla="*/ 12482 h 20890"/>
                <a:gd name="connsiteX7" fmla="*/ 35573 w 36052"/>
                <a:gd name="connsiteY7" fmla="*/ 9434 h 20890"/>
                <a:gd name="connsiteX8" fmla="*/ 34144 w 36052"/>
                <a:gd name="connsiteY8" fmla="*/ 8005 h 20890"/>
                <a:gd name="connsiteX9" fmla="*/ 21476 w 36052"/>
                <a:gd name="connsiteY9" fmla="*/ 766 h 20890"/>
                <a:gd name="connsiteX10" fmla="*/ 13856 w 36052"/>
                <a:gd name="connsiteY10" fmla="*/ 766 h 20890"/>
                <a:gd name="connsiteX11" fmla="*/ 1187 w 36052"/>
                <a:gd name="connsiteY11" fmla="*/ 8005 h 20890"/>
                <a:gd name="connsiteX12" fmla="*/ -336 w 36052"/>
                <a:gd name="connsiteY12" fmla="*/ 10196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90">
                  <a:moveTo>
                    <a:pt x="-336" y="10196"/>
                  </a:moveTo>
                  <a:cubicBezTo>
                    <a:pt x="-270" y="11177"/>
                    <a:pt x="311" y="12044"/>
                    <a:pt x="1187" y="12482"/>
                  </a:cubicBezTo>
                  <a:lnTo>
                    <a:pt x="3569" y="13815"/>
                  </a:lnTo>
                  <a:lnTo>
                    <a:pt x="13856" y="19721"/>
                  </a:lnTo>
                  <a:cubicBezTo>
                    <a:pt x="16218" y="21064"/>
                    <a:pt x="19114" y="21064"/>
                    <a:pt x="21476" y="19721"/>
                  </a:cubicBezTo>
                  <a:lnTo>
                    <a:pt x="31763" y="13815"/>
                  </a:lnTo>
                  <a:lnTo>
                    <a:pt x="34144" y="12482"/>
                  </a:lnTo>
                  <a:cubicBezTo>
                    <a:pt x="35382" y="12034"/>
                    <a:pt x="36020" y="10663"/>
                    <a:pt x="35573" y="9434"/>
                  </a:cubicBezTo>
                  <a:cubicBezTo>
                    <a:pt x="35325" y="8767"/>
                    <a:pt x="34811" y="8243"/>
                    <a:pt x="34144" y="8005"/>
                  </a:cubicBezTo>
                  <a:lnTo>
                    <a:pt x="21476" y="766"/>
                  </a:lnTo>
                  <a:cubicBezTo>
                    <a:pt x="19085" y="-472"/>
                    <a:pt x="16247" y="-472"/>
                    <a:pt x="13856" y="766"/>
                  </a:cubicBezTo>
                  <a:lnTo>
                    <a:pt x="1187" y="8005"/>
                  </a:lnTo>
                  <a:cubicBezTo>
                    <a:pt x="340" y="8424"/>
                    <a:pt x="-241" y="925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688" name="ïṥḻiḋé">
              <a:extLst>
                <a:ext uri="{FF2B5EF4-FFF2-40B4-BE49-F238E27FC236}">
                  <a16:creationId xmlns:a16="http://schemas.microsoft.com/office/drawing/2014/main" id="{61085068-60E7-435A-89A5-08209D0F5E53}"/>
                </a:ext>
              </a:extLst>
            </p:cNvPr>
            <p:cNvSpPr/>
            <p:nvPr/>
          </p:nvSpPr>
          <p:spPr>
            <a:xfrm>
              <a:off x="5322750" y="4869616"/>
              <a:ext cx="105618" cy="61174"/>
            </a:xfrm>
            <a:custGeom>
              <a:avLst/>
              <a:gdLst>
                <a:gd name="connsiteX0" fmla="*/ 1154 w 34698"/>
                <a:gd name="connsiteY0" fmla="*/ 12029 h 20097"/>
                <a:gd name="connsiteX1" fmla="*/ 13251 w 34698"/>
                <a:gd name="connsiteY1" fmla="*/ 19078 h 20097"/>
                <a:gd name="connsiteX2" fmla="*/ 20680 w 34698"/>
                <a:gd name="connsiteY2" fmla="*/ 19078 h 20097"/>
                <a:gd name="connsiteX3" fmla="*/ 32872 w 34698"/>
                <a:gd name="connsiteY3" fmla="*/ 12029 h 20097"/>
                <a:gd name="connsiteX4" fmla="*/ 34215 w 34698"/>
                <a:gd name="connsiteY4" fmla="*/ 9086 h 20097"/>
                <a:gd name="connsiteX5" fmla="*/ 32872 w 34698"/>
                <a:gd name="connsiteY5" fmla="*/ 7743 h 20097"/>
                <a:gd name="connsiteX6" fmla="*/ 20680 w 34698"/>
                <a:gd name="connsiteY6" fmla="*/ 695 h 20097"/>
                <a:gd name="connsiteX7" fmla="*/ 13251 w 34698"/>
                <a:gd name="connsiteY7" fmla="*/ 695 h 20097"/>
                <a:gd name="connsiteX8" fmla="*/ 1154 w 34698"/>
                <a:gd name="connsiteY8" fmla="*/ 7743 h 20097"/>
                <a:gd name="connsiteX9" fmla="*/ -189 w 34698"/>
                <a:gd name="connsiteY9" fmla="*/ 10677 h 20097"/>
                <a:gd name="connsiteX10" fmla="*/ 1154 w 34698"/>
                <a:gd name="connsiteY10" fmla="*/ 12029 h 20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698" h="20097">
                  <a:moveTo>
                    <a:pt x="1154" y="12029"/>
                  </a:moveTo>
                  <a:lnTo>
                    <a:pt x="13251" y="19078"/>
                  </a:lnTo>
                  <a:cubicBezTo>
                    <a:pt x="15594" y="20221"/>
                    <a:pt x="18337" y="20221"/>
                    <a:pt x="20680" y="19078"/>
                  </a:cubicBezTo>
                  <a:lnTo>
                    <a:pt x="32872" y="12029"/>
                  </a:lnTo>
                  <a:cubicBezTo>
                    <a:pt x="34053" y="11591"/>
                    <a:pt x="34663" y="10277"/>
                    <a:pt x="34215" y="9086"/>
                  </a:cubicBezTo>
                  <a:cubicBezTo>
                    <a:pt x="33987" y="8467"/>
                    <a:pt x="33501" y="7972"/>
                    <a:pt x="32872" y="7743"/>
                  </a:cubicBezTo>
                  <a:lnTo>
                    <a:pt x="20680" y="695"/>
                  </a:lnTo>
                  <a:cubicBezTo>
                    <a:pt x="18337" y="-448"/>
                    <a:pt x="15594" y="-448"/>
                    <a:pt x="13251" y="695"/>
                  </a:cubicBezTo>
                  <a:lnTo>
                    <a:pt x="1154" y="7743"/>
                  </a:lnTo>
                  <a:cubicBezTo>
                    <a:pt x="-27" y="8181"/>
                    <a:pt x="-637" y="9496"/>
                    <a:pt x="-189" y="10677"/>
                  </a:cubicBezTo>
                  <a:cubicBezTo>
                    <a:pt x="39" y="11306"/>
                    <a:pt x="535" y="11801"/>
                    <a:pt x="1154" y="12029"/>
                  </a:cubicBezTo>
                  <a:close/>
                </a:path>
              </a:pathLst>
            </a:custGeom>
            <a:solidFill>
              <a:srgbClr val="D1D9E8"/>
            </a:solidFill>
            <a:ln w="9525" cap="flat">
              <a:noFill/>
              <a:prstDash val="solid"/>
              <a:miter/>
            </a:ln>
          </p:spPr>
          <p:txBody>
            <a:bodyPr rtlCol="0" anchor="ctr"/>
            <a:lstStyle/>
            <a:p>
              <a:endParaRPr lang="zh-CN" altLang="en-US"/>
            </a:p>
          </p:txBody>
        </p:sp>
        <p:sp>
          <p:nvSpPr>
            <p:cNvPr id="689" name="ísḷïdé">
              <a:extLst>
                <a:ext uri="{FF2B5EF4-FFF2-40B4-BE49-F238E27FC236}">
                  <a16:creationId xmlns:a16="http://schemas.microsoft.com/office/drawing/2014/main" id="{53144D4E-1884-4F2D-A03B-01E3343AB803}"/>
                </a:ext>
              </a:extLst>
            </p:cNvPr>
            <p:cNvSpPr/>
            <p:nvPr/>
          </p:nvSpPr>
          <p:spPr>
            <a:xfrm>
              <a:off x="5320619" y="4900058"/>
              <a:ext cx="109594" cy="53804"/>
            </a:xfrm>
            <a:custGeom>
              <a:avLst/>
              <a:gdLst>
                <a:gd name="connsiteX0" fmla="*/ -336 w 36004"/>
                <a:gd name="connsiteY0" fmla="*/ -163 h 17676"/>
                <a:gd name="connsiteX1" fmla="*/ -336 w 36004"/>
                <a:gd name="connsiteY1" fmla="*/ 7076 h 17676"/>
                <a:gd name="connsiteX2" fmla="*/ 1187 w 36004"/>
                <a:gd name="connsiteY2" fmla="*/ 9267 h 17676"/>
                <a:gd name="connsiteX3" fmla="*/ 13856 w 36004"/>
                <a:gd name="connsiteY3" fmla="*/ 16506 h 17676"/>
                <a:gd name="connsiteX4" fmla="*/ 21476 w 36004"/>
                <a:gd name="connsiteY4" fmla="*/ 16506 h 17676"/>
                <a:gd name="connsiteX5" fmla="*/ 34144 w 36004"/>
                <a:gd name="connsiteY5" fmla="*/ 9267 h 17676"/>
                <a:gd name="connsiteX6" fmla="*/ 35668 w 36004"/>
                <a:gd name="connsiteY6" fmla="*/ 7076 h 17676"/>
                <a:gd name="connsiteX7" fmla="*/ 35668 w 36004"/>
                <a:gd name="connsiteY7" fmla="*/ -163 h 17676"/>
                <a:gd name="connsiteX8" fmla="*/ 34144 w 36004"/>
                <a:gd name="connsiteY8" fmla="*/ 2124 h 17676"/>
                <a:gd name="connsiteX9" fmla="*/ 31763 w 36004"/>
                <a:gd name="connsiteY9" fmla="*/ 3457 h 17676"/>
                <a:gd name="connsiteX10" fmla="*/ 21476 w 36004"/>
                <a:gd name="connsiteY10" fmla="*/ 9362 h 17676"/>
                <a:gd name="connsiteX11" fmla="*/ 13856 w 36004"/>
                <a:gd name="connsiteY11" fmla="*/ 9362 h 17676"/>
                <a:gd name="connsiteX12" fmla="*/ 3569 w 36004"/>
                <a:gd name="connsiteY12" fmla="*/ 3457 h 17676"/>
                <a:gd name="connsiteX13" fmla="*/ 1187 w 36004"/>
                <a:gd name="connsiteY13" fmla="*/ 2124 h 17676"/>
                <a:gd name="connsiteX14" fmla="*/ -336 w 36004"/>
                <a:gd name="connsiteY14" fmla="*/ -163 h 17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6">
                  <a:moveTo>
                    <a:pt x="-336" y="-163"/>
                  </a:moveTo>
                  <a:lnTo>
                    <a:pt x="-336" y="7076"/>
                  </a:lnTo>
                  <a:cubicBezTo>
                    <a:pt x="-279" y="8029"/>
                    <a:pt x="311" y="8877"/>
                    <a:pt x="1187" y="9267"/>
                  </a:cubicBezTo>
                  <a:lnTo>
                    <a:pt x="13856" y="16506"/>
                  </a:lnTo>
                  <a:cubicBezTo>
                    <a:pt x="16218" y="17849"/>
                    <a:pt x="19114" y="17849"/>
                    <a:pt x="21476" y="16506"/>
                  </a:cubicBezTo>
                  <a:lnTo>
                    <a:pt x="34144" y="9267"/>
                  </a:lnTo>
                  <a:cubicBezTo>
                    <a:pt x="35020" y="8877"/>
                    <a:pt x="35611" y="8039"/>
                    <a:pt x="35668" y="7076"/>
                  </a:cubicBezTo>
                  <a:lnTo>
                    <a:pt x="35668" y="-163"/>
                  </a:lnTo>
                  <a:cubicBezTo>
                    <a:pt x="35601" y="818"/>
                    <a:pt x="35020" y="1685"/>
                    <a:pt x="34144" y="2124"/>
                  </a:cubicBezTo>
                  <a:lnTo>
                    <a:pt x="31763" y="3457"/>
                  </a:lnTo>
                  <a:lnTo>
                    <a:pt x="21476" y="9362"/>
                  </a:lnTo>
                  <a:cubicBezTo>
                    <a:pt x="19114" y="10706"/>
                    <a:pt x="16218" y="10706"/>
                    <a:pt x="13856" y="9362"/>
                  </a:cubicBezTo>
                  <a:lnTo>
                    <a:pt x="3569" y="3457"/>
                  </a:lnTo>
                  <a:lnTo>
                    <a:pt x="1187" y="2124"/>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90" name="išlïdè">
              <a:extLst>
                <a:ext uri="{FF2B5EF4-FFF2-40B4-BE49-F238E27FC236}">
                  <a16:creationId xmlns:a16="http://schemas.microsoft.com/office/drawing/2014/main" id="{4A128708-420C-4622-B4B8-E5D440F0D2A1}"/>
                </a:ext>
              </a:extLst>
            </p:cNvPr>
            <p:cNvSpPr/>
            <p:nvPr/>
          </p:nvSpPr>
          <p:spPr>
            <a:xfrm>
              <a:off x="5398029" y="4913083"/>
              <a:ext cx="109740" cy="63445"/>
            </a:xfrm>
            <a:custGeom>
              <a:avLst/>
              <a:gdLst>
                <a:gd name="connsiteX0" fmla="*/ -336 w 36052"/>
                <a:gd name="connsiteY0" fmla="*/ 10227 h 20843"/>
                <a:gd name="connsiteX1" fmla="*/ 1188 w 36052"/>
                <a:gd name="connsiteY1" fmla="*/ 12513 h 20843"/>
                <a:gd name="connsiteX2" fmla="*/ 3569 w 36052"/>
                <a:gd name="connsiteY2" fmla="*/ 13846 h 20843"/>
                <a:gd name="connsiteX3" fmla="*/ 13856 w 36052"/>
                <a:gd name="connsiteY3" fmla="*/ 19752 h 20843"/>
                <a:gd name="connsiteX4" fmla="*/ 21476 w 36052"/>
                <a:gd name="connsiteY4" fmla="*/ 19752 h 20843"/>
                <a:gd name="connsiteX5" fmla="*/ 31763 w 36052"/>
                <a:gd name="connsiteY5" fmla="*/ 13846 h 20843"/>
                <a:gd name="connsiteX6" fmla="*/ 34144 w 36052"/>
                <a:gd name="connsiteY6" fmla="*/ 12513 h 20843"/>
                <a:gd name="connsiteX7" fmla="*/ 35573 w 36052"/>
                <a:gd name="connsiteY7" fmla="*/ 9465 h 20843"/>
                <a:gd name="connsiteX8" fmla="*/ 34144 w 36052"/>
                <a:gd name="connsiteY8" fmla="*/ 8036 h 20843"/>
                <a:gd name="connsiteX9" fmla="*/ 21476 w 36052"/>
                <a:gd name="connsiteY9" fmla="*/ 702 h 20843"/>
                <a:gd name="connsiteX10" fmla="*/ 13856 w 36052"/>
                <a:gd name="connsiteY10" fmla="*/ 702 h 20843"/>
                <a:gd name="connsiteX11" fmla="*/ 1188 w 36052"/>
                <a:gd name="connsiteY11" fmla="*/ 8036 h 20843"/>
                <a:gd name="connsiteX12" fmla="*/ -336 w 36052"/>
                <a:gd name="connsiteY12" fmla="*/ 10227 h 20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3">
                  <a:moveTo>
                    <a:pt x="-336" y="10227"/>
                  </a:moveTo>
                  <a:cubicBezTo>
                    <a:pt x="-269" y="11208"/>
                    <a:pt x="311" y="12075"/>
                    <a:pt x="1188" y="12513"/>
                  </a:cubicBezTo>
                  <a:lnTo>
                    <a:pt x="3569" y="13846"/>
                  </a:lnTo>
                  <a:lnTo>
                    <a:pt x="13856" y="19752"/>
                  </a:lnTo>
                  <a:cubicBezTo>
                    <a:pt x="16247" y="20990"/>
                    <a:pt x="19085" y="20990"/>
                    <a:pt x="21476" y="19752"/>
                  </a:cubicBezTo>
                  <a:lnTo>
                    <a:pt x="31763" y="13846"/>
                  </a:lnTo>
                  <a:lnTo>
                    <a:pt x="34144" y="12513"/>
                  </a:lnTo>
                  <a:cubicBezTo>
                    <a:pt x="35382" y="12065"/>
                    <a:pt x="36021" y="10694"/>
                    <a:pt x="35573" y="9465"/>
                  </a:cubicBezTo>
                  <a:cubicBezTo>
                    <a:pt x="35325" y="8798"/>
                    <a:pt x="34811" y="8274"/>
                    <a:pt x="34144"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691" name="í$ľíḑê">
              <a:extLst>
                <a:ext uri="{FF2B5EF4-FFF2-40B4-BE49-F238E27FC236}">
                  <a16:creationId xmlns:a16="http://schemas.microsoft.com/office/drawing/2014/main" id="{EC4C8923-3078-4C79-B984-5AB592B55BAB}"/>
                </a:ext>
              </a:extLst>
            </p:cNvPr>
            <p:cNvSpPr/>
            <p:nvPr/>
          </p:nvSpPr>
          <p:spPr>
            <a:xfrm>
              <a:off x="5399843" y="4914264"/>
              <a:ext cx="105898" cy="61101"/>
            </a:xfrm>
            <a:custGeom>
              <a:avLst/>
              <a:gdLst>
                <a:gd name="connsiteX0" fmla="*/ 1164 w 34790"/>
                <a:gd name="connsiteY0" fmla="*/ 12029 h 20073"/>
                <a:gd name="connsiteX1" fmla="*/ 13356 w 34790"/>
                <a:gd name="connsiteY1" fmla="*/ 18982 h 20073"/>
                <a:gd name="connsiteX2" fmla="*/ 20785 w 34790"/>
                <a:gd name="connsiteY2" fmla="*/ 18982 h 20073"/>
                <a:gd name="connsiteX3" fmla="*/ 32882 w 34790"/>
                <a:gd name="connsiteY3" fmla="*/ 12029 h 20073"/>
                <a:gd name="connsiteX4" fmla="*/ 32882 w 34790"/>
                <a:gd name="connsiteY4" fmla="*/ 7743 h 20073"/>
                <a:gd name="connsiteX5" fmla="*/ 20785 w 34790"/>
                <a:gd name="connsiteY5" fmla="*/ 695 h 20073"/>
                <a:gd name="connsiteX6" fmla="*/ 13356 w 34790"/>
                <a:gd name="connsiteY6" fmla="*/ 695 h 20073"/>
                <a:gd name="connsiteX7" fmla="*/ 1164 w 34790"/>
                <a:gd name="connsiteY7" fmla="*/ 7743 h 20073"/>
                <a:gd name="connsiteX8" fmla="*/ 1164 w 34790"/>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3">
                  <a:moveTo>
                    <a:pt x="1164" y="12029"/>
                  </a:moveTo>
                  <a:lnTo>
                    <a:pt x="13356" y="18982"/>
                  </a:lnTo>
                  <a:cubicBezTo>
                    <a:pt x="15680" y="20221"/>
                    <a:pt x="18461" y="20221"/>
                    <a:pt x="20785" y="18982"/>
                  </a:cubicBezTo>
                  <a:lnTo>
                    <a:pt x="32882" y="12029"/>
                  </a:lnTo>
                  <a:cubicBezTo>
                    <a:pt x="34978" y="10791"/>
                    <a:pt x="34978" y="8886"/>
                    <a:pt x="32882" y="7743"/>
                  </a:cubicBezTo>
                  <a:lnTo>
                    <a:pt x="20785" y="695"/>
                  </a:lnTo>
                  <a:cubicBezTo>
                    <a:pt x="18442" y="-448"/>
                    <a:pt x="15699" y="-448"/>
                    <a:pt x="13356" y="695"/>
                  </a:cubicBezTo>
                  <a:lnTo>
                    <a:pt x="1164" y="7743"/>
                  </a:lnTo>
                  <a:cubicBezTo>
                    <a:pt x="-836" y="9267"/>
                    <a:pt x="-836" y="10791"/>
                    <a:pt x="1164" y="12029"/>
                  </a:cubicBezTo>
                  <a:close/>
                </a:path>
              </a:pathLst>
            </a:custGeom>
            <a:solidFill>
              <a:srgbClr val="D1D9E8"/>
            </a:solidFill>
            <a:ln w="9525" cap="flat">
              <a:noFill/>
              <a:prstDash val="solid"/>
              <a:miter/>
            </a:ln>
          </p:spPr>
          <p:txBody>
            <a:bodyPr rtlCol="0" anchor="ctr"/>
            <a:lstStyle/>
            <a:p>
              <a:endParaRPr lang="zh-CN" altLang="en-US"/>
            </a:p>
          </p:txBody>
        </p:sp>
        <p:sp>
          <p:nvSpPr>
            <p:cNvPr id="692" name="îšľîdê">
              <a:extLst>
                <a:ext uri="{FF2B5EF4-FFF2-40B4-BE49-F238E27FC236}">
                  <a16:creationId xmlns:a16="http://schemas.microsoft.com/office/drawing/2014/main" id="{0EBE916F-CBE6-4D8C-8396-1826B9917480}"/>
                </a:ext>
              </a:extLst>
            </p:cNvPr>
            <p:cNvSpPr/>
            <p:nvPr/>
          </p:nvSpPr>
          <p:spPr>
            <a:xfrm>
              <a:off x="5398029" y="4944707"/>
              <a:ext cx="109594" cy="53801"/>
            </a:xfrm>
            <a:custGeom>
              <a:avLst/>
              <a:gdLst>
                <a:gd name="connsiteX0" fmla="*/ -336 w 36004"/>
                <a:gd name="connsiteY0" fmla="*/ -163 h 17675"/>
                <a:gd name="connsiteX1" fmla="*/ -336 w 36004"/>
                <a:gd name="connsiteY1" fmla="*/ 7076 h 17675"/>
                <a:gd name="connsiteX2" fmla="*/ 1188 w 36004"/>
                <a:gd name="connsiteY2" fmla="*/ 9267 h 17675"/>
                <a:gd name="connsiteX3" fmla="*/ 13856 w 36004"/>
                <a:gd name="connsiteY3" fmla="*/ 16506 h 17675"/>
                <a:gd name="connsiteX4" fmla="*/ 21476 w 36004"/>
                <a:gd name="connsiteY4" fmla="*/ 16506 h 17675"/>
                <a:gd name="connsiteX5" fmla="*/ 34144 w 36004"/>
                <a:gd name="connsiteY5" fmla="*/ 9267 h 17675"/>
                <a:gd name="connsiteX6" fmla="*/ 35668 w 36004"/>
                <a:gd name="connsiteY6" fmla="*/ 6981 h 17675"/>
                <a:gd name="connsiteX7" fmla="*/ 35668 w 36004"/>
                <a:gd name="connsiteY7" fmla="*/ -163 h 17675"/>
                <a:gd name="connsiteX8" fmla="*/ 34144 w 36004"/>
                <a:gd name="connsiteY8" fmla="*/ 2123 h 17675"/>
                <a:gd name="connsiteX9" fmla="*/ 31763 w 36004"/>
                <a:gd name="connsiteY9" fmla="*/ 3457 h 17675"/>
                <a:gd name="connsiteX10" fmla="*/ 21476 w 36004"/>
                <a:gd name="connsiteY10" fmla="*/ 9362 h 17675"/>
                <a:gd name="connsiteX11" fmla="*/ 13856 w 36004"/>
                <a:gd name="connsiteY11" fmla="*/ 9362 h 17675"/>
                <a:gd name="connsiteX12" fmla="*/ 3569 w 36004"/>
                <a:gd name="connsiteY12" fmla="*/ 3457 h 17675"/>
                <a:gd name="connsiteX13" fmla="*/ 1188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79" y="8038"/>
                    <a:pt x="311" y="8877"/>
                    <a:pt x="1188" y="9267"/>
                  </a:cubicBezTo>
                  <a:lnTo>
                    <a:pt x="13856" y="16506"/>
                  </a:lnTo>
                  <a:cubicBezTo>
                    <a:pt x="16218" y="17849"/>
                    <a:pt x="19114" y="17849"/>
                    <a:pt x="21476" y="16506"/>
                  </a:cubicBezTo>
                  <a:lnTo>
                    <a:pt x="34144" y="9267"/>
                  </a:lnTo>
                  <a:cubicBezTo>
                    <a:pt x="35049" y="8867"/>
                    <a:pt x="35640" y="7972"/>
                    <a:pt x="35668" y="6981"/>
                  </a:cubicBezTo>
                  <a:lnTo>
                    <a:pt x="35668" y="-163"/>
                  </a:lnTo>
                  <a:cubicBezTo>
                    <a:pt x="35602" y="818"/>
                    <a:pt x="35021" y="1685"/>
                    <a:pt x="34144" y="2123"/>
                  </a:cubicBezTo>
                  <a:lnTo>
                    <a:pt x="31763" y="3457"/>
                  </a:lnTo>
                  <a:lnTo>
                    <a:pt x="21476" y="9362"/>
                  </a:lnTo>
                  <a:cubicBezTo>
                    <a:pt x="19085" y="10601"/>
                    <a:pt x="16247" y="10601"/>
                    <a:pt x="13856" y="9362"/>
                  </a:cubicBezTo>
                  <a:lnTo>
                    <a:pt x="3569" y="3457"/>
                  </a:lnTo>
                  <a:lnTo>
                    <a:pt x="1188" y="2123"/>
                  </a:lnTo>
                  <a:cubicBezTo>
                    <a:pt x="311"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93" name="îṧ1îdè">
              <a:extLst>
                <a:ext uri="{FF2B5EF4-FFF2-40B4-BE49-F238E27FC236}">
                  <a16:creationId xmlns:a16="http://schemas.microsoft.com/office/drawing/2014/main" id="{F5B38880-B596-4876-B564-E91B5B98F1F6}"/>
                </a:ext>
              </a:extLst>
            </p:cNvPr>
            <p:cNvSpPr/>
            <p:nvPr/>
          </p:nvSpPr>
          <p:spPr>
            <a:xfrm>
              <a:off x="5474282" y="4957884"/>
              <a:ext cx="109740" cy="63292"/>
            </a:xfrm>
            <a:custGeom>
              <a:avLst/>
              <a:gdLst>
                <a:gd name="connsiteX0" fmla="*/ -336 w 36052"/>
                <a:gd name="connsiteY0" fmla="*/ 10177 h 20793"/>
                <a:gd name="connsiteX1" fmla="*/ 1283 w 36052"/>
                <a:gd name="connsiteY1" fmla="*/ 12463 h 20793"/>
                <a:gd name="connsiteX2" fmla="*/ 3569 w 36052"/>
                <a:gd name="connsiteY2" fmla="*/ 13796 h 20793"/>
                <a:gd name="connsiteX3" fmla="*/ 13856 w 36052"/>
                <a:gd name="connsiteY3" fmla="*/ 19702 h 20793"/>
                <a:gd name="connsiteX4" fmla="*/ 21571 w 36052"/>
                <a:gd name="connsiteY4" fmla="*/ 19702 h 20793"/>
                <a:gd name="connsiteX5" fmla="*/ 31858 w 36052"/>
                <a:gd name="connsiteY5" fmla="*/ 13796 h 20793"/>
                <a:gd name="connsiteX6" fmla="*/ 34144 w 36052"/>
                <a:gd name="connsiteY6" fmla="*/ 12463 h 20793"/>
                <a:gd name="connsiteX7" fmla="*/ 35573 w 36052"/>
                <a:gd name="connsiteY7" fmla="*/ 9415 h 20793"/>
                <a:gd name="connsiteX8" fmla="*/ 34144 w 36052"/>
                <a:gd name="connsiteY8" fmla="*/ 7986 h 20793"/>
                <a:gd name="connsiteX9" fmla="*/ 21571 w 36052"/>
                <a:gd name="connsiteY9" fmla="*/ 652 h 20793"/>
                <a:gd name="connsiteX10" fmla="*/ 13856 w 36052"/>
                <a:gd name="connsiteY10" fmla="*/ 652 h 20793"/>
                <a:gd name="connsiteX11" fmla="*/ 1283 w 36052"/>
                <a:gd name="connsiteY11" fmla="*/ 7986 h 20793"/>
                <a:gd name="connsiteX12" fmla="*/ -336 w 36052"/>
                <a:gd name="connsiteY12" fmla="*/ 10177 h 20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793">
                  <a:moveTo>
                    <a:pt x="-336" y="10177"/>
                  </a:moveTo>
                  <a:cubicBezTo>
                    <a:pt x="-270" y="11186"/>
                    <a:pt x="359" y="12072"/>
                    <a:pt x="1283" y="12463"/>
                  </a:cubicBezTo>
                  <a:lnTo>
                    <a:pt x="3569" y="13796"/>
                  </a:lnTo>
                  <a:lnTo>
                    <a:pt x="13856" y="19702"/>
                  </a:lnTo>
                  <a:cubicBezTo>
                    <a:pt x="16275" y="20940"/>
                    <a:pt x="19152" y="20940"/>
                    <a:pt x="21571" y="19702"/>
                  </a:cubicBezTo>
                  <a:lnTo>
                    <a:pt x="31858" y="13796"/>
                  </a:lnTo>
                  <a:lnTo>
                    <a:pt x="34144" y="12463"/>
                  </a:lnTo>
                  <a:cubicBezTo>
                    <a:pt x="35382" y="12015"/>
                    <a:pt x="36020" y="10643"/>
                    <a:pt x="35573" y="9415"/>
                  </a:cubicBezTo>
                  <a:cubicBezTo>
                    <a:pt x="35325" y="8748"/>
                    <a:pt x="34811" y="8224"/>
                    <a:pt x="34144" y="7986"/>
                  </a:cubicBezTo>
                  <a:lnTo>
                    <a:pt x="21571" y="652"/>
                  </a:lnTo>
                  <a:cubicBezTo>
                    <a:pt x="19114" y="-434"/>
                    <a:pt x="16313" y="-434"/>
                    <a:pt x="13856" y="652"/>
                  </a:cubicBezTo>
                  <a:lnTo>
                    <a:pt x="1283" y="7986"/>
                  </a:lnTo>
                  <a:cubicBezTo>
                    <a:pt x="387" y="8367"/>
                    <a:pt x="-241" y="9205"/>
                    <a:pt x="-336" y="10177"/>
                  </a:cubicBezTo>
                  <a:close/>
                </a:path>
              </a:pathLst>
            </a:custGeom>
            <a:solidFill>
              <a:srgbClr val="FFFFFF"/>
            </a:solidFill>
            <a:ln w="9525" cap="flat">
              <a:noFill/>
              <a:prstDash val="solid"/>
              <a:miter/>
            </a:ln>
          </p:spPr>
          <p:txBody>
            <a:bodyPr rtlCol="0" anchor="ctr"/>
            <a:lstStyle/>
            <a:p>
              <a:endParaRPr lang="zh-CN" altLang="en-US"/>
            </a:p>
          </p:txBody>
        </p:sp>
        <p:sp>
          <p:nvSpPr>
            <p:cNvPr id="694" name="iṩľïḑe">
              <a:extLst>
                <a:ext uri="{FF2B5EF4-FFF2-40B4-BE49-F238E27FC236}">
                  <a16:creationId xmlns:a16="http://schemas.microsoft.com/office/drawing/2014/main" id="{4ADD2ACB-B330-443B-AE8E-5D8C2ECFE2B0}"/>
                </a:ext>
              </a:extLst>
            </p:cNvPr>
            <p:cNvSpPr/>
            <p:nvPr/>
          </p:nvSpPr>
          <p:spPr>
            <a:xfrm>
              <a:off x="5476167" y="4958913"/>
              <a:ext cx="106766" cy="61101"/>
            </a:xfrm>
            <a:custGeom>
              <a:avLst/>
              <a:gdLst>
                <a:gd name="connsiteX0" fmla="*/ 1521 w 35075"/>
                <a:gd name="connsiteY0" fmla="*/ 12029 h 20073"/>
                <a:gd name="connsiteX1" fmla="*/ 13618 w 35075"/>
                <a:gd name="connsiteY1" fmla="*/ 18983 h 20073"/>
                <a:gd name="connsiteX2" fmla="*/ 21047 w 35075"/>
                <a:gd name="connsiteY2" fmla="*/ 18983 h 20073"/>
                <a:gd name="connsiteX3" fmla="*/ 33239 w 35075"/>
                <a:gd name="connsiteY3" fmla="*/ 12029 h 20073"/>
                <a:gd name="connsiteX4" fmla="*/ 33239 w 35075"/>
                <a:gd name="connsiteY4" fmla="*/ 7743 h 20073"/>
                <a:gd name="connsiteX5" fmla="*/ 21047 w 35075"/>
                <a:gd name="connsiteY5" fmla="*/ 695 h 20073"/>
                <a:gd name="connsiteX6" fmla="*/ 13618 w 35075"/>
                <a:gd name="connsiteY6" fmla="*/ 695 h 20073"/>
                <a:gd name="connsiteX7" fmla="*/ 1521 w 35075"/>
                <a:gd name="connsiteY7" fmla="*/ 7743 h 20073"/>
                <a:gd name="connsiteX8" fmla="*/ 1521 w 35075"/>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075" h="20073">
                  <a:moveTo>
                    <a:pt x="1521" y="12029"/>
                  </a:moveTo>
                  <a:lnTo>
                    <a:pt x="13618" y="18983"/>
                  </a:lnTo>
                  <a:cubicBezTo>
                    <a:pt x="15942" y="20221"/>
                    <a:pt x="18723" y="20221"/>
                    <a:pt x="21047" y="18983"/>
                  </a:cubicBezTo>
                  <a:lnTo>
                    <a:pt x="33239" y="12029"/>
                  </a:lnTo>
                  <a:cubicBezTo>
                    <a:pt x="35239" y="10791"/>
                    <a:pt x="35239" y="8886"/>
                    <a:pt x="33239" y="7743"/>
                  </a:cubicBezTo>
                  <a:lnTo>
                    <a:pt x="21047" y="695"/>
                  </a:lnTo>
                  <a:cubicBezTo>
                    <a:pt x="18704" y="-448"/>
                    <a:pt x="15961" y="-448"/>
                    <a:pt x="13618" y="695"/>
                  </a:cubicBezTo>
                  <a:lnTo>
                    <a:pt x="1521" y="7743"/>
                  </a:lnTo>
                  <a:cubicBezTo>
                    <a:pt x="-955" y="8886"/>
                    <a:pt x="-955" y="10791"/>
                    <a:pt x="1521" y="12029"/>
                  </a:cubicBezTo>
                  <a:close/>
                </a:path>
              </a:pathLst>
            </a:custGeom>
            <a:solidFill>
              <a:srgbClr val="D1D9E8"/>
            </a:solidFill>
            <a:ln w="9525" cap="flat">
              <a:noFill/>
              <a:prstDash val="solid"/>
              <a:miter/>
            </a:ln>
          </p:spPr>
          <p:txBody>
            <a:bodyPr rtlCol="0" anchor="ctr"/>
            <a:lstStyle/>
            <a:p>
              <a:endParaRPr lang="zh-CN" altLang="en-US"/>
            </a:p>
          </p:txBody>
        </p:sp>
        <p:sp>
          <p:nvSpPr>
            <p:cNvPr id="695" name="ïšľíḍé">
              <a:extLst>
                <a:ext uri="{FF2B5EF4-FFF2-40B4-BE49-F238E27FC236}">
                  <a16:creationId xmlns:a16="http://schemas.microsoft.com/office/drawing/2014/main" id="{4B600CE1-1803-48E4-A7D2-C51D6A2F264E}"/>
                </a:ext>
              </a:extLst>
            </p:cNvPr>
            <p:cNvSpPr/>
            <p:nvPr/>
          </p:nvSpPr>
          <p:spPr>
            <a:xfrm>
              <a:off x="5474282" y="4989358"/>
              <a:ext cx="109883" cy="53801"/>
            </a:xfrm>
            <a:custGeom>
              <a:avLst/>
              <a:gdLst>
                <a:gd name="connsiteX0" fmla="*/ -336 w 36099"/>
                <a:gd name="connsiteY0" fmla="*/ -163 h 17675"/>
                <a:gd name="connsiteX1" fmla="*/ -336 w 36099"/>
                <a:gd name="connsiteY1" fmla="*/ 7076 h 17675"/>
                <a:gd name="connsiteX2" fmla="*/ 1283 w 36099"/>
                <a:gd name="connsiteY2" fmla="*/ 9267 h 17675"/>
                <a:gd name="connsiteX3" fmla="*/ 13856 w 36099"/>
                <a:gd name="connsiteY3" fmla="*/ 16506 h 17675"/>
                <a:gd name="connsiteX4" fmla="*/ 21571 w 36099"/>
                <a:gd name="connsiteY4" fmla="*/ 16506 h 17675"/>
                <a:gd name="connsiteX5" fmla="*/ 34144 w 36099"/>
                <a:gd name="connsiteY5" fmla="*/ 9267 h 17675"/>
                <a:gd name="connsiteX6" fmla="*/ 35764 w 36099"/>
                <a:gd name="connsiteY6" fmla="*/ 6981 h 17675"/>
                <a:gd name="connsiteX7" fmla="*/ 35764 w 36099"/>
                <a:gd name="connsiteY7" fmla="*/ -163 h 17675"/>
                <a:gd name="connsiteX8" fmla="*/ 34144 w 36099"/>
                <a:gd name="connsiteY8" fmla="*/ 2123 h 17675"/>
                <a:gd name="connsiteX9" fmla="*/ 31858 w 36099"/>
                <a:gd name="connsiteY9" fmla="*/ 3457 h 17675"/>
                <a:gd name="connsiteX10" fmla="*/ 21571 w 36099"/>
                <a:gd name="connsiteY10" fmla="*/ 9362 h 17675"/>
                <a:gd name="connsiteX11" fmla="*/ 13856 w 36099"/>
                <a:gd name="connsiteY11" fmla="*/ 9362 h 17675"/>
                <a:gd name="connsiteX12" fmla="*/ 3569 w 36099"/>
                <a:gd name="connsiteY12" fmla="*/ 3457 h 17675"/>
                <a:gd name="connsiteX13" fmla="*/ 1283 w 36099"/>
                <a:gd name="connsiteY13" fmla="*/ 2123 h 17675"/>
                <a:gd name="connsiteX14" fmla="*/ -336 w 36099"/>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675">
                  <a:moveTo>
                    <a:pt x="-336" y="-163"/>
                  </a:moveTo>
                  <a:lnTo>
                    <a:pt x="-336" y="7076"/>
                  </a:lnTo>
                  <a:cubicBezTo>
                    <a:pt x="-241" y="8048"/>
                    <a:pt x="387" y="8886"/>
                    <a:pt x="1283" y="9267"/>
                  </a:cubicBezTo>
                  <a:lnTo>
                    <a:pt x="13856" y="16506"/>
                  </a:lnTo>
                  <a:cubicBezTo>
                    <a:pt x="16256" y="17849"/>
                    <a:pt x="19171" y="17849"/>
                    <a:pt x="21571" y="16506"/>
                  </a:cubicBezTo>
                  <a:lnTo>
                    <a:pt x="34144" y="9267"/>
                  </a:lnTo>
                  <a:cubicBezTo>
                    <a:pt x="35049" y="8839"/>
                    <a:pt x="35659" y="7972"/>
                    <a:pt x="35764" y="6981"/>
                  </a:cubicBezTo>
                  <a:lnTo>
                    <a:pt x="35764" y="-163"/>
                  </a:lnTo>
                  <a:cubicBezTo>
                    <a:pt x="35659" y="828"/>
                    <a:pt x="35049" y="1695"/>
                    <a:pt x="34144" y="2123"/>
                  </a:cubicBezTo>
                  <a:lnTo>
                    <a:pt x="31858" y="3457"/>
                  </a:lnTo>
                  <a:lnTo>
                    <a:pt x="21571" y="9362"/>
                  </a:lnTo>
                  <a:cubicBezTo>
                    <a:pt x="19152" y="10601"/>
                    <a:pt x="16275" y="10601"/>
                    <a:pt x="13856" y="9362"/>
                  </a:cubicBezTo>
                  <a:lnTo>
                    <a:pt x="3569" y="3457"/>
                  </a:lnTo>
                  <a:lnTo>
                    <a:pt x="1283" y="2123"/>
                  </a:lnTo>
                  <a:cubicBezTo>
                    <a:pt x="359" y="1733"/>
                    <a:pt x="-270" y="847"/>
                    <a:pt x="-336" y="-163"/>
                  </a:cubicBezTo>
                  <a:close/>
                </a:path>
              </a:pathLst>
            </a:custGeom>
            <a:solidFill>
              <a:srgbClr val="BF4200"/>
            </a:solidFill>
            <a:ln w="9525" cap="flat">
              <a:noFill/>
              <a:prstDash val="solid"/>
              <a:miter/>
            </a:ln>
          </p:spPr>
          <p:txBody>
            <a:bodyPr rtlCol="0" anchor="ctr"/>
            <a:lstStyle/>
            <a:p>
              <a:endParaRPr lang="zh-CN" altLang="en-US"/>
            </a:p>
          </p:txBody>
        </p:sp>
        <p:sp>
          <p:nvSpPr>
            <p:cNvPr id="696" name="íṣ1íḓê">
              <a:extLst>
                <a:ext uri="{FF2B5EF4-FFF2-40B4-BE49-F238E27FC236}">
                  <a16:creationId xmlns:a16="http://schemas.microsoft.com/office/drawing/2014/main" id="{829E2809-2336-47A9-A924-26018F3E6733}"/>
                </a:ext>
              </a:extLst>
            </p:cNvPr>
            <p:cNvSpPr/>
            <p:nvPr/>
          </p:nvSpPr>
          <p:spPr>
            <a:xfrm>
              <a:off x="5552566" y="5002383"/>
              <a:ext cx="109740" cy="63442"/>
            </a:xfrm>
            <a:custGeom>
              <a:avLst/>
              <a:gdLst>
                <a:gd name="connsiteX0" fmla="*/ -336 w 36052"/>
                <a:gd name="connsiteY0" fmla="*/ 10227 h 20842"/>
                <a:gd name="connsiteX1" fmla="*/ 1187 w 36052"/>
                <a:gd name="connsiteY1" fmla="*/ 12513 h 20842"/>
                <a:gd name="connsiteX2" fmla="*/ 3569 w 36052"/>
                <a:gd name="connsiteY2" fmla="*/ 13846 h 20842"/>
                <a:gd name="connsiteX3" fmla="*/ 13856 w 36052"/>
                <a:gd name="connsiteY3" fmla="*/ 19752 h 20842"/>
                <a:gd name="connsiteX4" fmla="*/ 21476 w 36052"/>
                <a:gd name="connsiteY4" fmla="*/ 19752 h 20842"/>
                <a:gd name="connsiteX5" fmla="*/ 31763 w 36052"/>
                <a:gd name="connsiteY5" fmla="*/ 13846 h 20842"/>
                <a:gd name="connsiteX6" fmla="*/ 34144 w 36052"/>
                <a:gd name="connsiteY6" fmla="*/ 12513 h 20842"/>
                <a:gd name="connsiteX7" fmla="*/ 35573 w 36052"/>
                <a:gd name="connsiteY7" fmla="*/ 9465 h 20842"/>
                <a:gd name="connsiteX8" fmla="*/ 34144 w 36052"/>
                <a:gd name="connsiteY8" fmla="*/ 8036 h 20842"/>
                <a:gd name="connsiteX9" fmla="*/ 21476 w 36052"/>
                <a:gd name="connsiteY9" fmla="*/ 702 h 20842"/>
                <a:gd name="connsiteX10" fmla="*/ 13856 w 36052"/>
                <a:gd name="connsiteY10" fmla="*/ 702 h 20842"/>
                <a:gd name="connsiteX11" fmla="*/ 1187 w 36052"/>
                <a:gd name="connsiteY11" fmla="*/ 8036 h 20842"/>
                <a:gd name="connsiteX12" fmla="*/ -336 w 36052"/>
                <a:gd name="connsiteY12" fmla="*/ 10227 h 20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2">
                  <a:moveTo>
                    <a:pt x="-336" y="10227"/>
                  </a:moveTo>
                  <a:cubicBezTo>
                    <a:pt x="-270" y="11208"/>
                    <a:pt x="311" y="12075"/>
                    <a:pt x="1187" y="12513"/>
                  </a:cubicBezTo>
                  <a:lnTo>
                    <a:pt x="3569" y="13846"/>
                  </a:lnTo>
                  <a:lnTo>
                    <a:pt x="13856" y="19752"/>
                  </a:lnTo>
                  <a:cubicBezTo>
                    <a:pt x="16247" y="20990"/>
                    <a:pt x="19085" y="20990"/>
                    <a:pt x="21476" y="19752"/>
                  </a:cubicBezTo>
                  <a:lnTo>
                    <a:pt x="31763" y="13846"/>
                  </a:lnTo>
                  <a:lnTo>
                    <a:pt x="34144" y="12513"/>
                  </a:lnTo>
                  <a:cubicBezTo>
                    <a:pt x="35382" y="12065"/>
                    <a:pt x="36020" y="10693"/>
                    <a:pt x="35573" y="9465"/>
                  </a:cubicBezTo>
                  <a:cubicBezTo>
                    <a:pt x="35325" y="8798"/>
                    <a:pt x="34811" y="8274"/>
                    <a:pt x="34144" y="8036"/>
                  </a:cubicBezTo>
                  <a:lnTo>
                    <a:pt x="21476" y="702"/>
                  </a:lnTo>
                  <a:cubicBezTo>
                    <a:pt x="19066" y="-451"/>
                    <a:pt x="16266" y="-451"/>
                    <a:pt x="13856" y="702"/>
                  </a:cubicBezTo>
                  <a:lnTo>
                    <a:pt x="1187"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697" name="iṥḻïḓè">
              <a:extLst>
                <a:ext uri="{FF2B5EF4-FFF2-40B4-BE49-F238E27FC236}">
                  <a16:creationId xmlns:a16="http://schemas.microsoft.com/office/drawing/2014/main" id="{5E55F4F6-DA3B-442B-8E33-9C37EB5265CC}"/>
                </a:ext>
              </a:extLst>
            </p:cNvPr>
            <p:cNvSpPr/>
            <p:nvPr/>
          </p:nvSpPr>
          <p:spPr>
            <a:xfrm>
              <a:off x="5554450" y="5003564"/>
              <a:ext cx="105825" cy="61104"/>
            </a:xfrm>
            <a:custGeom>
              <a:avLst/>
              <a:gdLst>
                <a:gd name="connsiteX0" fmla="*/ 1235 w 34766"/>
                <a:gd name="connsiteY0" fmla="*/ 12029 h 20074"/>
                <a:gd name="connsiteX1" fmla="*/ 13332 w 34766"/>
                <a:gd name="connsiteY1" fmla="*/ 18983 h 20074"/>
                <a:gd name="connsiteX2" fmla="*/ 20762 w 34766"/>
                <a:gd name="connsiteY2" fmla="*/ 18983 h 20074"/>
                <a:gd name="connsiteX3" fmla="*/ 32858 w 34766"/>
                <a:gd name="connsiteY3" fmla="*/ 12029 h 20074"/>
                <a:gd name="connsiteX4" fmla="*/ 32858 w 34766"/>
                <a:gd name="connsiteY4" fmla="*/ 7743 h 20074"/>
                <a:gd name="connsiteX5" fmla="*/ 20762 w 34766"/>
                <a:gd name="connsiteY5" fmla="*/ 695 h 20074"/>
                <a:gd name="connsiteX6" fmla="*/ 13332 w 34766"/>
                <a:gd name="connsiteY6" fmla="*/ 695 h 20074"/>
                <a:gd name="connsiteX7" fmla="*/ 1235 w 34766"/>
                <a:gd name="connsiteY7" fmla="*/ 7743 h 20074"/>
                <a:gd name="connsiteX8" fmla="*/ 1235 w 34766"/>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6" h="20074">
                  <a:moveTo>
                    <a:pt x="1235" y="12029"/>
                  </a:moveTo>
                  <a:lnTo>
                    <a:pt x="13332" y="18983"/>
                  </a:lnTo>
                  <a:cubicBezTo>
                    <a:pt x="15656" y="20221"/>
                    <a:pt x="18437" y="20221"/>
                    <a:pt x="20762" y="18983"/>
                  </a:cubicBezTo>
                  <a:lnTo>
                    <a:pt x="32858" y="12029"/>
                  </a:lnTo>
                  <a:cubicBezTo>
                    <a:pt x="34954" y="10791"/>
                    <a:pt x="34954" y="8886"/>
                    <a:pt x="32858" y="7743"/>
                  </a:cubicBezTo>
                  <a:lnTo>
                    <a:pt x="20762" y="695"/>
                  </a:lnTo>
                  <a:cubicBezTo>
                    <a:pt x="18419" y="-448"/>
                    <a:pt x="15675" y="-448"/>
                    <a:pt x="13332" y="695"/>
                  </a:cubicBezTo>
                  <a:lnTo>
                    <a:pt x="1235" y="7743"/>
                  </a:lnTo>
                  <a:cubicBezTo>
                    <a:pt x="-860" y="8505"/>
                    <a:pt x="-860" y="10791"/>
                    <a:pt x="1235" y="12029"/>
                  </a:cubicBezTo>
                  <a:close/>
                </a:path>
              </a:pathLst>
            </a:custGeom>
            <a:solidFill>
              <a:srgbClr val="D1D9E8"/>
            </a:solidFill>
            <a:ln w="9525" cap="flat">
              <a:noFill/>
              <a:prstDash val="solid"/>
              <a:miter/>
            </a:ln>
          </p:spPr>
          <p:txBody>
            <a:bodyPr rtlCol="0" anchor="ctr"/>
            <a:lstStyle/>
            <a:p>
              <a:endParaRPr lang="zh-CN" altLang="en-US"/>
            </a:p>
          </p:txBody>
        </p:sp>
        <p:sp>
          <p:nvSpPr>
            <p:cNvPr id="698" name="iṧ1idè">
              <a:extLst>
                <a:ext uri="{FF2B5EF4-FFF2-40B4-BE49-F238E27FC236}">
                  <a16:creationId xmlns:a16="http://schemas.microsoft.com/office/drawing/2014/main" id="{DD6D111A-2534-4BDF-897E-49E58700A2A2}"/>
                </a:ext>
              </a:extLst>
            </p:cNvPr>
            <p:cNvSpPr/>
            <p:nvPr/>
          </p:nvSpPr>
          <p:spPr>
            <a:xfrm>
              <a:off x="5552566" y="5034006"/>
              <a:ext cx="109594" cy="53564"/>
            </a:xfrm>
            <a:custGeom>
              <a:avLst/>
              <a:gdLst>
                <a:gd name="connsiteX0" fmla="*/ -336 w 36004"/>
                <a:gd name="connsiteY0" fmla="*/ -163 h 17597"/>
                <a:gd name="connsiteX1" fmla="*/ -336 w 36004"/>
                <a:gd name="connsiteY1" fmla="*/ 7076 h 17597"/>
                <a:gd name="connsiteX2" fmla="*/ 1187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3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7 w 36004"/>
                <a:gd name="connsiteY13" fmla="*/ 2123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7" y="9267"/>
                  </a:cubicBezTo>
                  <a:lnTo>
                    <a:pt x="13856" y="16506"/>
                  </a:lnTo>
                  <a:cubicBezTo>
                    <a:pt x="16247" y="17744"/>
                    <a:pt x="19085" y="17744"/>
                    <a:pt x="21476" y="16506"/>
                  </a:cubicBezTo>
                  <a:lnTo>
                    <a:pt x="34144" y="9267"/>
                  </a:lnTo>
                  <a:cubicBezTo>
                    <a:pt x="35011" y="8819"/>
                    <a:pt x="35582" y="7953"/>
                    <a:pt x="35668" y="6981"/>
                  </a:cubicBezTo>
                  <a:lnTo>
                    <a:pt x="35668" y="-163"/>
                  </a:lnTo>
                  <a:cubicBezTo>
                    <a:pt x="35601" y="818"/>
                    <a:pt x="35020" y="1685"/>
                    <a:pt x="34144" y="2123"/>
                  </a:cubicBezTo>
                  <a:lnTo>
                    <a:pt x="31763" y="3457"/>
                  </a:lnTo>
                  <a:lnTo>
                    <a:pt x="21476" y="9362"/>
                  </a:lnTo>
                  <a:cubicBezTo>
                    <a:pt x="19085" y="10600"/>
                    <a:pt x="16247" y="10600"/>
                    <a:pt x="13856" y="9362"/>
                  </a:cubicBezTo>
                  <a:lnTo>
                    <a:pt x="3569" y="3457"/>
                  </a:lnTo>
                  <a:lnTo>
                    <a:pt x="1187"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99" name="îṩḷïďé">
              <a:extLst>
                <a:ext uri="{FF2B5EF4-FFF2-40B4-BE49-F238E27FC236}">
                  <a16:creationId xmlns:a16="http://schemas.microsoft.com/office/drawing/2014/main" id="{649061F3-B284-4E64-9A0C-F84B8CD2EC0E}"/>
                </a:ext>
              </a:extLst>
            </p:cNvPr>
            <p:cNvSpPr/>
            <p:nvPr/>
          </p:nvSpPr>
          <p:spPr>
            <a:xfrm>
              <a:off x="5629687" y="5046836"/>
              <a:ext cx="109740" cy="63639"/>
            </a:xfrm>
            <a:custGeom>
              <a:avLst/>
              <a:gdLst>
                <a:gd name="connsiteX0" fmla="*/ -336 w 36052"/>
                <a:gd name="connsiteY0" fmla="*/ 10291 h 20907"/>
                <a:gd name="connsiteX1" fmla="*/ 1283 w 36052"/>
                <a:gd name="connsiteY1" fmla="*/ 12577 h 20907"/>
                <a:gd name="connsiteX2" fmla="*/ 3569 w 36052"/>
                <a:gd name="connsiteY2" fmla="*/ 13911 h 20907"/>
                <a:gd name="connsiteX3" fmla="*/ 13856 w 36052"/>
                <a:gd name="connsiteY3" fmla="*/ 19816 h 20907"/>
                <a:gd name="connsiteX4" fmla="*/ 21571 w 36052"/>
                <a:gd name="connsiteY4" fmla="*/ 19816 h 20907"/>
                <a:gd name="connsiteX5" fmla="*/ 31858 w 36052"/>
                <a:gd name="connsiteY5" fmla="*/ 13911 h 20907"/>
                <a:gd name="connsiteX6" fmla="*/ 34144 w 36052"/>
                <a:gd name="connsiteY6" fmla="*/ 12577 h 20907"/>
                <a:gd name="connsiteX7" fmla="*/ 35573 w 36052"/>
                <a:gd name="connsiteY7" fmla="*/ 9529 h 20907"/>
                <a:gd name="connsiteX8" fmla="*/ 34144 w 36052"/>
                <a:gd name="connsiteY8" fmla="*/ 8101 h 20907"/>
                <a:gd name="connsiteX9" fmla="*/ 21571 w 36052"/>
                <a:gd name="connsiteY9" fmla="*/ 766 h 20907"/>
                <a:gd name="connsiteX10" fmla="*/ 13856 w 36052"/>
                <a:gd name="connsiteY10" fmla="*/ 766 h 20907"/>
                <a:gd name="connsiteX11" fmla="*/ 1283 w 36052"/>
                <a:gd name="connsiteY11" fmla="*/ 8101 h 20907"/>
                <a:gd name="connsiteX12" fmla="*/ -336 w 36052"/>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907">
                  <a:moveTo>
                    <a:pt x="-336" y="10291"/>
                  </a:moveTo>
                  <a:cubicBezTo>
                    <a:pt x="-231" y="11282"/>
                    <a:pt x="378" y="12149"/>
                    <a:pt x="1283" y="12577"/>
                  </a:cubicBezTo>
                  <a:lnTo>
                    <a:pt x="3569" y="13911"/>
                  </a:lnTo>
                  <a:lnTo>
                    <a:pt x="13856" y="19816"/>
                  </a:lnTo>
                  <a:cubicBezTo>
                    <a:pt x="16275" y="21054"/>
                    <a:pt x="19152" y="21054"/>
                    <a:pt x="21571" y="19816"/>
                  </a:cubicBezTo>
                  <a:lnTo>
                    <a:pt x="31858" y="13911"/>
                  </a:lnTo>
                  <a:lnTo>
                    <a:pt x="34144" y="12577"/>
                  </a:lnTo>
                  <a:cubicBezTo>
                    <a:pt x="35382" y="12129"/>
                    <a:pt x="36021" y="10758"/>
                    <a:pt x="35573" y="9529"/>
                  </a:cubicBezTo>
                  <a:cubicBezTo>
                    <a:pt x="35325" y="8862"/>
                    <a:pt x="34811" y="8339"/>
                    <a:pt x="34144" y="8101"/>
                  </a:cubicBezTo>
                  <a:lnTo>
                    <a:pt x="21571" y="766"/>
                  </a:lnTo>
                  <a:cubicBezTo>
                    <a:pt x="19152" y="-472"/>
                    <a:pt x="16275" y="-472"/>
                    <a:pt x="13856" y="766"/>
                  </a:cubicBezTo>
                  <a:lnTo>
                    <a:pt x="1283" y="8101"/>
                  </a:lnTo>
                  <a:cubicBezTo>
                    <a:pt x="407" y="8510"/>
                    <a:pt x="-203" y="933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700" name="iŝļíḍé">
              <a:extLst>
                <a:ext uri="{FF2B5EF4-FFF2-40B4-BE49-F238E27FC236}">
                  <a16:creationId xmlns:a16="http://schemas.microsoft.com/office/drawing/2014/main" id="{84D6CD58-E516-415C-96FC-2D75C5043732}"/>
                </a:ext>
              </a:extLst>
            </p:cNvPr>
            <p:cNvSpPr/>
            <p:nvPr/>
          </p:nvSpPr>
          <p:spPr>
            <a:xfrm>
              <a:off x="5631791" y="5048215"/>
              <a:ext cx="105679" cy="61101"/>
            </a:xfrm>
            <a:custGeom>
              <a:avLst/>
              <a:gdLst>
                <a:gd name="connsiteX0" fmla="*/ 1164 w 34718"/>
                <a:gd name="connsiteY0" fmla="*/ 12029 h 20073"/>
                <a:gd name="connsiteX1" fmla="*/ 13260 w 34718"/>
                <a:gd name="connsiteY1" fmla="*/ 18983 h 20073"/>
                <a:gd name="connsiteX2" fmla="*/ 20690 w 34718"/>
                <a:gd name="connsiteY2" fmla="*/ 18983 h 20073"/>
                <a:gd name="connsiteX3" fmla="*/ 32882 w 34718"/>
                <a:gd name="connsiteY3" fmla="*/ 12029 h 20073"/>
                <a:gd name="connsiteX4" fmla="*/ 32882 w 34718"/>
                <a:gd name="connsiteY4" fmla="*/ 7743 h 20073"/>
                <a:gd name="connsiteX5" fmla="*/ 20690 w 34718"/>
                <a:gd name="connsiteY5" fmla="*/ 695 h 20073"/>
                <a:gd name="connsiteX6" fmla="*/ 13260 w 34718"/>
                <a:gd name="connsiteY6" fmla="*/ 695 h 20073"/>
                <a:gd name="connsiteX7" fmla="*/ 1164 w 34718"/>
                <a:gd name="connsiteY7" fmla="*/ 7743 h 20073"/>
                <a:gd name="connsiteX8" fmla="*/ 1164 w 34718"/>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18" h="20073">
                  <a:moveTo>
                    <a:pt x="1164" y="12029"/>
                  </a:moveTo>
                  <a:lnTo>
                    <a:pt x="13260" y="18983"/>
                  </a:lnTo>
                  <a:cubicBezTo>
                    <a:pt x="15585" y="20221"/>
                    <a:pt x="18366" y="20221"/>
                    <a:pt x="20690" y="18983"/>
                  </a:cubicBezTo>
                  <a:lnTo>
                    <a:pt x="32882" y="12029"/>
                  </a:lnTo>
                  <a:cubicBezTo>
                    <a:pt x="34882" y="10791"/>
                    <a:pt x="34882" y="8886"/>
                    <a:pt x="32882" y="7743"/>
                  </a:cubicBezTo>
                  <a:lnTo>
                    <a:pt x="20690" y="695"/>
                  </a:lnTo>
                  <a:cubicBezTo>
                    <a:pt x="18347" y="-448"/>
                    <a:pt x="15604" y="-448"/>
                    <a:pt x="13260" y="695"/>
                  </a:cubicBezTo>
                  <a:lnTo>
                    <a:pt x="1164" y="7743"/>
                  </a:lnTo>
                  <a:cubicBezTo>
                    <a:pt x="-836" y="8886"/>
                    <a:pt x="-836" y="10791"/>
                    <a:pt x="1164" y="12029"/>
                  </a:cubicBezTo>
                  <a:close/>
                </a:path>
              </a:pathLst>
            </a:custGeom>
            <a:solidFill>
              <a:srgbClr val="D1D9E8"/>
            </a:solidFill>
            <a:ln w="9525" cap="flat">
              <a:noFill/>
              <a:prstDash val="solid"/>
              <a:miter/>
            </a:ln>
          </p:spPr>
          <p:txBody>
            <a:bodyPr rtlCol="0" anchor="ctr"/>
            <a:lstStyle/>
            <a:p>
              <a:endParaRPr lang="zh-CN" altLang="en-US"/>
            </a:p>
          </p:txBody>
        </p:sp>
        <p:sp>
          <p:nvSpPr>
            <p:cNvPr id="701" name="íśľïḍè">
              <a:extLst>
                <a:ext uri="{FF2B5EF4-FFF2-40B4-BE49-F238E27FC236}">
                  <a16:creationId xmlns:a16="http://schemas.microsoft.com/office/drawing/2014/main" id="{1FA15F51-98B4-44E8-84CC-9B5580DCA6D2}"/>
                </a:ext>
              </a:extLst>
            </p:cNvPr>
            <p:cNvSpPr/>
            <p:nvPr/>
          </p:nvSpPr>
          <p:spPr>
            <a:xfrm>
              <a:off x="5629687" y="5078658"/>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4 w 36099"/>
                <a:gd name="connsiteY6" fmla="*/ 6981 h 17597"/>
                <a:gd name="connsiteX7" fmla="*/ 35764 w 36099"/>
                <a:gd name="connsiteY7" fmla="*/ -163 h 17597"/>
                <a:gd name="connsiteX8" fmla="*/ 34144 w 36099"/>
                <a:gd name="connsiteY8" fmla="*/ 2124 h 17597"/>
                <a:gd name="connsiteX9" fmla="*/ 31858 w 36099"/>
                <a:gd name="connsiteY9" fmla="*/ 3457 h 17597"/>
                <a:gd name="connsiteX10" fmla="*/ 21571 w 36099"/>
                <a:gd name="connsiteY10" fmla="*/ 9362 h 17597"/>
                <a:gd name="connsiteX11" fmla="*/ 13856 w 36099"/>
                <a:gd name="connsiteY11" fmla="*/ 9362 h 17597"/>
                <a:gd name="connsiteX12" fmla="*/ 3569 w 36099"/>
                <a:gd name="connsiteY12" fmla="*/ 3457 h 17597"/>
                <a:gd name="connsiteX13" fmla="*/ 1283 w 36099"/>
                <a:gd name="connsiteY13" fmla="*/ 2124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03" y="8029"/>
                    <a:pt x="407" y="8858"/>
                    <a:pt x="1283" y="9267"/>
                  </a:cubicBezTo>
                  <a:lnTo>
                    <a:pt x="13856" y="16506"/>
                  </a:lnTo>
                  <a:cubicBezTo>
                    <a:pt x="16275" y="17744"/>
                    <a:pt x="19152" y="17744"/>
                    <a:pt x="21571" y="16506"/>
                  </a:cubicBezTo>
                  <a:lnTo>
                    <a:pt x="34144" y="9267"/>
                  </a:lnTo>
                  <a:cubicBezTo>
                    <a:pt x="35030" y="8829"/>
                    <a:pt x="35640" y="7972"/>
                    <a:pt x="35764" y="6981"/>
                  </a:cubicBezTo>
                  <a:lnTo>
                    <a:pt x="35764" y="-163"/>
                  </a:lnTo>
                  <a:cubicBezTo>
                    <a:pt x="35659" y="828"/>
                    <a:pt x="35049" y="1695"/>
                    <a:pt x="34144" y="2124"/>
                  </a:cubicBezTo>
                  <a:lnTo>
                    <a:pt x="31858" y="3457"/>
                  </a:lnTo>
                  <a:lnTo>
                    <a:pt x="21571" y="9362"/>
                  </a:lnTo>
                  <a:cubicBezTo>
                    <a:pt x="19152" y="10601"/>
                    <a:pt x="16275" y="10601"/>
                    <a:pt x="13856" y="9362"/>
                  </a:cubicBezTo>
                  <a:lnTo>
                    <a:pt x="3569" y="3457"/>
                  </a:lnTo>
                  <a:lnTo>
                    <a:pt x="1283" y="2124"/>
                  </a:lnTo>
                  <a:cubicBezTo>
                    <a:pt x="378" y="1695"/>
                    <a:pt x="-231"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02" name="îṡḻiḍè">
              <a:extLst>
                <a:ext uri="{FF2B5EF4-FFF2-40B4-BE49-F238E27FC236}">
                  <a16:creationId xmlns:a16="http://schemas.microsoft.com/office/drawing/2014/main" id="{38BF5413-1691-43E3-9BB7-047D417A7722}"/>
                </a:ext>
              </a:extLst>
            </p:cNvPr>
            <p:cNvSpPr/>
            <p:nvPr/>
          </p:nvSpPr>
          <p:spPr>
            <a:xfrm>
              <a:off x="5706230" y="5091488"/>
              <a:ext cx="109594" cy="63639"/>
            </a:xfrm>
            <a:custGeom>
              <a:avLst/>
              <a:gdLst>
                <a:gd name="connsiteX0" fmla="*/ -336 w 36004"/>
                <a:gd name="connsiteY0" fmla="*/ 10291 h 20907"/>
                <a:gd name="connsiteX1" fmla="*/ 1188 w 36004"/>
                <a:gd name="connsiteY1" fmla="*/ 12577 h 20907"/>
                <a:gd name="connsiteX2" fmla="*/ 3569 w 36004"/>
                <a:gd name="connsiteY2" fmla="*/ 13911 h 20907"/>
                <a:gd name="connsiteX3" fmla="*/ 13856 w 36004"/>
                <a:gd name="connsiteY3" fmla="*/ 19816 h 20907"/>
                <a:gd name="connsiteX4" fmla="*/ 21476 w 36004"/>
                <a:gd name="connsiteY4" fmla="*/ 19816 h 20907"/>
                <a:gd name="connsiteX5" fmla="*/ 31763 w 36004"/>
                <a:gd name="connsiteY5" fmla="*/ 13911 h 20907"/>
                <a:gd name="connsiteX6" fmla="*/ 34144 w 36004"/>
                <a:gd name="connsiteY6" fmla="*/ 12577 h 20907"/>
                <a:gd name="connsiteX7" fmla="*/ 35668 w 36004"/>
                <a:gd name="connsiteY7" fmla="*/ 10291 h 20907"/>
                <a:gd name="connsiteX8" fmla="*/ 34144 w 36004"/>
                <a:gd name="connsiteY8" fmla="*/ 8100 h 20907"/>
                <a:gd name="connsiteX9" fmla="*/ 21476 w 36004"/>
                <a:gd name="connsiteY9" fmla="*/ 766 h 20907"/>
                <a:gd name="connsiteX10" fmla="*/ 13856 w 36004"/>
                <a:gd name="connsiteY10" fmla="*/ 766 h 20907"/>
                <a:gd name="connsiteX11" fmla="*/ 1188 w 36004"/>
                <a:gd name="connsiteY11" fmla="*/ 8100 h 20907"/>
                <a:gd name="connsiteX12" fmla="*/ -336 w 36004"/>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907">
                  <a:moveTo>
                    <a:pt x="-336" y="10291"/>
                  </a:moveTo>
                  <a:cubicBezTo>
                    <a:pt x="-270" y="11272"/>
                    <a:pt x="311" y="12139"/>
                    <a:pt x="1188" y="12577"/>
                  </a:cubicBezTo>
                  <a:lnTo>
                    <a:pt x="3569" y="13911"/>
                  </a:lnTo>
                  <a:lnTo>
                    <a:pt x="13856" y="19816"/>
                  </a:lnTo>
                  <a:cubicBezTo>
                    <a:pt x="16247" y="21054"/>
                    <a:pt x="19085" y="21054"/>
                    <a:pt x="21476" y="19816"/>
                  </a:cubicBezTo>
                  <a:lnTo>
                    <a:pt x="31763" y="13911"/>
                  </a:lnTo>
                  <a:lnTo>
                    <a:pt x="34144" y="12577"/>
                  </a:lnTo>
                  <a:cubicBezTo>
                    <a:pt x="35021" y="12139"/>
                    <a:pt x="35602" y="11272"/>
                    <a:pt x="35668" y="10291"/>
                  </a:cubicBezTo>
                  <a:cubicBezTo>
                    <a:pt x="35611" y="9339"/>
                    <a:pt x="35021" y="8491"/>
                    <a:pt x="34144" y="8100"/>
                  </a:cubicBezTo>
                  <a:lnTo>
                    <a:pt x="21476" y="766"/>
                  </a:lnTo>
                  <a:cubicBezTo>
                    <a:pt x="19085" y="-472"/>
                    <a:pt x="16247" y="-472"/>
                    <a:pt x="13856" y="766"/>
                  </a:cubicBezTo>
                  <a:lnTo>
                    <a:pt x="1188" y="8100"/>
                  </a:lnTo>
                  <a:cubicBezTo>
                    <a:pt x="311" y="8491"/>
                    <a:pt x="-279"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703" name="ísḷiḑê">
              <a:extLst>
                <a:ext uri="{FF2B5EF4-FFF2-40B4-BE49-F238E27FC236}">
                  <a16:creationId xmlns:a16="http://schemas.microsoft.com/office/drawing/2014/main" id="{18557B00-E9C7-4D8C-A348-9AD6131757A5}"/>
                </a:ext>
              </a:extLst>
            </p:cNvPr>
            <p:cNvSpPr/>
            <p:nvPr/>
          </p:nvSpPr>
          <p:spPr>
            <a:xfrm>
              <a:off x="5708114" y="5092647"/>
              <a:ext cx="106693" cy="61101"/>
            </a:xfrm>
            <a:custGeom>
              <a:avLst/>
              <a:gdLst>
                <a:gd name="connsiteX0" fmla="*/ 1521 w 35051"/>
                <a:gd name="connsiteY0" fmla="*/ 12006 h 20073"/>
                <a:gd name="connsiteX1" fmla="*/ 13618 w 35051"/>
                <a:gd name="connsiteY1" fmla="*/ 19054 h 20073"/>
                <a:gd name="connsiteX2" fmla="*/ 21047 w 35051"/>
                <a:gd name="connsiteY2" fmla="*/ 19054 h 20073"/>
                <a:gd name="connsiteX3" fmla="*/ 33144 w 35051"/>
                <a:gd name="connsiteY3" fmla="*/ 12006 h 20073"/>
                <a:gd name="connsiteX4" fmla="*/ 33144 w 35051"/>
                <a:gd name="connsiteY4" fmla="*/ 7719 h 20073"/>
                <a:gd name="connsiteX5" fmla="*/ 21047 w 35051"/>
                <a:gd name="connsiteY5" fmla="*/ 766 h 20073"/>
                <a:gd name="connsiteX6" fmla="*/ 13618 w 35051"/>
                <a:gd name="connsiteY6" fmla="*/ 766 h 20073"/>
                <a:gd name="connsiteX7" fmla="*/ 1521 w 35051"/>
                <a:gd name="connsiteY7" fmla="*/ 7719 h 20073"/>
                <a:gd name="connsiteX8" fmla="*/ 1521 w 35051"/>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051" h="20073">
                  <a:moveTo>
                    <a:pt x="1521" y="12006"/>
                  </a:moveTo>
                  <a:lnTo>
                    <a:pt x="13618" y="19054"/>
                  </a:lnTo>
                  <a:cubicBezTo>
                    <a:pt x="15961" y="20197"/>
                    <a:pt x="18704" y="20197"/>
                    <a:pt x="21047" y="19054"/>
                  </a:cubicBezTo>
                  <a:lnTo>
                    <a:pt x="33144" y="12006"/>
                  </a:lnTo>
                  <a:cubicBezTo>
                    <a:pt x="35239" y="10863"/>
                    <a:pt x="35239" y="8957"/>
                    <a:pt x="33144" y="7719"/>
                  </a:cubicBezTo>
                  <a:lnTo>
                    <a:pt x="21047" y="766"/>
                  </a:lnTo>
                  <a:cubicBezTo>
                    <a:pt x="18723" y="-472"/>
                    <a:pt x="15942" y="-472"/>
                    <a:pt x="13618" y="766"/>
                  </a:cubicBezTo>
                  <a:lnTo>
                    <a:pt x="1521" y="7719"/>
                  </a:lnTo>
                  <a:cubicBezTo>
                    <a:pt x="-955" y="8957"/>
                    <a:pt x="-955" y="10863"/>
                    <a:pt x="1521" y="12006"/>
                  </a:cubicBezTo>
                  <a:close/>
                </a:path>
              </a:pathLst>
            </a:custGeom>
            <a:solidFill>
              <a:srgbClr val="D1D9E8"/>
            </a:solidFill>
            <a:ln w="9525" cap="flat">
              <a:noFill/>
              <a:prstDash val="solid"/>
              <a:miter/>
            </a:ln>
          </p:spPr>
          <p:txBody>
            <a:bodyPr rtlCol="0" anchor="ctr"/>
            <a:lstStyle/>
            <a:p>
              <a:endParaRPr lang="zh-CN" altLang="en-US"/>
            </a:p>
          </p:txBody>
        </p:sp>
        <p:sp>
          <p:nvSpPr>
            <p:cNvPr id="704" name="ïşḷiḓê">
              <a:extLst>
                <a:ext uri="{FF2B5EF4-FFF2-40B4-BE49-F238E27FC236}">
                  <a16:creationId xmlns:a16="http://schemas.microsoft.com/office/drawing/2014/main" id="{88E711A4-B166-45BB-AEB6-C435E71E7153}"/>
                </a:ext>
              </a:extLst>
            </p:cNvPr>
            <p:cNvSpPr/>
            <p:nvPr/>
          </p:nvSpPr>
          <p:spPr>
            <a:xfrm>
              <a:off x="5706230" y="5123306"/>
              <a:ext cx="109594" cy="54142"/>
            </a:xfrm>
            <a:custGeom>
              <a:avLst/>
              <a:gdLst>
                <a:gd name="connsiteX0" fmla="*/ -336 w 36004"/>
                <a:gd name="connsiteY0" fmla="*/ -163 h 17787"/>
                <a:gd name="connsiteX1" fmla="*/ -336 w 36004"/>
                <a:gd name="connsiteY1" fmla="*/ 7267 h 17787"/>
                <a:gd name="connsiteX2" fmla="*/ 1188 w 36004"/>
                <a:gd name="connsiteY2" fmla="*/ 9458 h 17787"/>
                <a:gd name="connsiteX3" fmla="*/ 13856 w 36004"/>
                <a:gd name="connsiteY3" fmla="*/ 16697 h 17787"/>
                <a:gd name="connsiteX4" fmla="*/ 21476 w 36004"/>
                <a:gd name="connsiteY4" fmla="*/ 16697 h 17787"/>
                <a:gd name="connsiteX5" fmla="*/ 34144 w 36004"/>
                <a:gd name="connsiteY5" fmla="*/ 9458 h 17787"/>
                <a:gd name="connsiteX6" fmla="*/ 35668 w 36004"/>
                <a:gd name="connsiteY6" fmla="*/ 7172 h 17787"/>
                <a:gd name="connsiteX7" fmla="*/ 35668 w 36004"/>
                <a:gd name="connsiteY7" fmla="*/ 28 h 17787"/>
                <a:gd name="connsiteX8" fmla="*/ 34144 w 36004"/>
                <a:gd name="connsiteY8" fmla="*/ 2314 h 17787"/>
                <a:gd name="connsiteX9" fmla="*/ 31763 w 36004"/>
                <a:gd name="connsiteY9" fmla="*/ 3647 h 17787"/>
                <a:gd name="connsiteX10" fmla="*/ 21476 w 36004"/>
                <a:gd name="connsiteY10" fmla="*/ 9553 h 17787"/>
                <a:gd name="connsiteX11" fmla="*/ 13856 w 36004"/>
                <a:gd name="connsiteY11" fmla="*/ 9553 h 17787"/>
                <a:gd name="connsiteX12" fmla="*/ 3569 w 36004"/>
                <a:gd name="connsiteY12" fmla="*/ 3647 h 17787"/>
                <a:gd name="connsiteX13" fmla="*/ 1188 w 36004"/>
                <a:gd name="connsiteY13" fmla="*/ 2314 h 17787"/>
                <a:gd name="connsiteX14" fmla="*/ -336 w 36004"/>
                <a:gd name="connsiteY14" fmla="*/ -163 h 17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787">
                  <a:moveTo>
                    <a:pt x="-336" y="-163"/>
                  </a:moveTo>
                  <a:lnTo>
                    <a:pt x="-336" y="7267"/>
                  </a:lnTo>
                  <a:cubicBezTo>
                    <a:pt x="-241" y="8210"/>
                    <a:pt x="340" y="9039"/>
                    <a:pt x="1188" y="9458"/>
                  </a:cubicBezTo>
                  <a:lnTo>
                    <a:pt x="13856" y="16697"/>
                  </a:lnTo>
                  <a:cubicBezTo>
                    <a:pt x="16247" y="17935"/>
                    <a:pt x="19085" y="17935"/>
                    <a:pt x="21476" y="16697"/>
                  </a:cubicBezTo>
                  <a:lnTo>
                    <a:pt x="34144" y="9458"/>
                  </a:lnTo>
                  <a:cubicBezTo>
                    <a:pt x="35011" y="9010"/>
                    <a:pt x="35582" y="8143"/>
                    <a:pt x="35668" y="7172"/>
                  </a:cubicBezTo>
                  <a:lnTo>
                    <a:pt x="35668" y="28"/>
                  </a:lnTo>
                  <a:cubicBezTo>
                    <a:pt x="35602" y="1009"/>
                    <a:pt x="35021" y="1876"/>
                    <a:pt x="34144" y="2314"/>
                  </a:cubicBezTo>
                  <a:lnTo>
                    <a:pt x="31763" y="3647"/>
                  </a:lnTo>
                  <a:lnTo>
                    <a:pt x="21476" y="9553"/>
                  </a:lnTo>
                  <a:cubicBezTo>
                    <a:pt x="19085" y="10791"/>
                    <a:pt x="16247" y="10791"/>
                    <a:pt x="13856" y="9553"/>
                  </a:cubicBezTo>
                  <a:lnTo>
                    <a:pt x="3569" y="3647"/>
                  </a:lnTo>
                  <a:lnTo>
                    <a:pt x="1188" y="2314"/>
                  </a:lnTo>
                  <a:cubicBezTo>
                    <a:pt x="254" y="1847"/>
                    <a:pt x="-336" y="885"/>
                    <a:pt x="-336" y="-163"/>
                  </a:cubicBezTo>
                  <a:close/>
                </a:path>
              </a:pathLst>
            </a:custGeom>
            <a:solidFill>
              <a:srgbClr val="BF4200"/>
            </a:solidFill>
            <a:ln w="9525" cap="flat">
              <a:noFill/>
              <a:prstDash val="solid"/>
              <a:miter/>
            </a:ln>
          </p:spPr>
          <p:txBody>
            <a:bodyPr rtlCol="0" anchor="ctr"/>
            <a:lstStyle/>
            <a:p>
              <a:endParaRPr lang="zh-CN" altLang="en-US"/>
            </a:p>
          </p:txBody>
        </p:sp>
        <p:sp>
          <p:nvSpPr>
            <p:cNvPr id="705" name="ïṩḷîḋe">
              <a:extLst>
                <a:ext uri="{FF2B5EF4-FFF2-40B4-BE49-F238E27FC236}">
                  <a16:creationId xmlns:a16="http://schemas.microsoft.com/office/drawing/2014/main" id="{CA04ECC8-0A7E-4661-86D6-300386EEE136}"/>
                </a:ext>
              </a:extLst>
            </p:cNvPr>
            <p:cNvSpPr/>
            <p:nvPr/>
          </p:nvSpPr>
          <p:spPr>
            <a:xfrm>
              <a:off x="5784224" y="5136136"/>
              <a:ext cx="109883" cy="63639"/>
            </a:xfrm>
            <a:custGeom>
              <a:avLst/>
              <a:gdLst>
                <a:gd name="connsiteX0" fmla="*/ -336 w 36099"/>
                <a:gd name="connsiteY0" fmla="*/ 10291 h 20907"/>
                <a:gd name="connsiteX1" fmla="*/ 1283 w 36099"/>
                <a:gd name="connsiteY1" fmla="*/ 12577 h 20907"/>
                <a:gd name="connsiteX2" fmla="*/ 3569 w 36099"/>
                <a:gd name="connsiteY2" fmla="*/ 13911 h 20907"/>
                <a:gd name="connsiteX3" fmla="*/ 13856 w 36099"/>
                <a:gd name="connsiteY3" fmla="*/ 19816 h 20907"/>
                <a:gd name="connsiteX4" fmla="*/ 21571 w 36099"/>
                <a:gd name="connsiteY4" fmla="*/ 19816 h 20907"/>
                <a:gd name="connsiteX5" fmla="*/ 31858 w 36099"/>
                <a:gd name="connsiteY5" fmla="*/ 13911 h 20907"/>
                <a:gd name="connsiteX6" fmla="*/ 34144 w 36099"/>
                <a:gd name="connsiteY6" fmla="*/ 12577 h 20907"/>
                <a:gd name="connsiteX7" fmla="*/ 35764 w 36099"/>
                <a:gd name="connsiteY7" fmla="*/ 10291 h 20907"/>
                <a:gd name="connsiteX8" fmla="*/ 34144 w 36099"/>
                <a:gd name="connsiteY8" fmla="*/ 8100 h 20907"/>
                <a:gd name="connsiteX9" fmla="*/ 21571 w 36099"/>
                <a:gd name="connsiteY9" fmla="*/ 766 h 20907"/>
                <a:gd name="connsiteX10" fmla="*/ 13856 w 36099"/>
                <a:gd name="connsiteY10" fmla="*/ 766 h 20907"/>
                <a:gd name="connsiteX11" fmla="*/ 1283 w 36099"/>
                <a:gd name="connsiteY11" fmla="*/ 8100 h 20907"/>
                <a:gd name="connsiteX12" fmla="*/ -336 w 36099"/>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99" h="20907">
                  <a:moveTo>
                    <a:pt x="-336" y="10291"/>
                  </a:moveTo>
                  <a:cubicBezTo>
                    <a:pt x="-232" y="11282"/>
                    <a:pt x="378" y="12148"/>
                    <a:pt x="1283" y="12577"/>
                  </a:cubicBezTo>
                  <a:lnTo>
                    <a:pt x="3569" y="13911"/>
                  </a:lnTo>
                  <a:lnTo>
                    <a:pt x="13856" y="19816"/>
                  </a:lnTo>
                  <a:cubicBezTo>
                    <a:pt x="16275" y="21054"/>
                    <a:pt x="19152" y="21054"/>
                    <a:pt x="21571" y="19816"/>
                  </a:cubicBezTo>
                  <a:lnTo>
                    <a:pt x="31858" y="13911"/>
                  </a:lnTo>
                  <a:lnTo>
                    <a:pt x="34144" y="12577"/>
                  </a:lnTo>
                  <a:cubicBezTo>
                    <a:pt x="35077" y="12187"/>
                    <a:pt x="35697" y="11301"/>
                    <a:pt x="35764" y="10291"/>
                  </a:cubicBezTo>
                  <a:cubicBezTo>
                    <a:pt x="35687" y="9310"/>
                    <a:pt x="35059" y="8462"/>
                    <a:pt x="34144" y="8100"/>
                  </a:cubicBezTo>
                  <a:lnTo>
                    <a:pt x="21571" y="766"/>
                  </a:lnTo>
                  <a:cubicBezTo>
                    <a:pt x="19152" y="-472"/>
                    <a:pt x="16275" y="-472"/>
                    <a:pt x="13856" y="766"/>
                  </a:cubicBezTo>
                  <a:lnTo>
                    <a:pt x="1283" y="8100"/>
                  </a:lnTo>
                  <a:cubicBezTo>
                    <a:pt x="397" y="8491"/>
                    <a:pt x="-222"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706" name="íṧ1iḑè">
              <a:extLst>
                <a:ext uri="{FF2B5EF4-FFF2-40B4-BE49-F238E27FC236}">
                  <a16:creationId xmlns:a16="http://schemas.microsoft.com/office/drawing/2014/main" id="{4A5EE799-FEDC-454A-B8F7-D23BCDB04B26}"/>
                </a:ext>
              </a:extLst>
            </p:cNvPr>
            <p:cNvSpPr/>
            <p:nvPr/>
          </p:nvSpPr>
          <p:spPr>
            <a:xfrm>
              <a:off x="5786395" y="5137296"/>
              <a:ext cx="105828" cy="61682"/>
            </a:xfrm>
            <a:custGeom>
              <a:avLst/>
              <a:gdLst>
                <a:gd name="connsiteX0" fmla="*/ 1141 w 34767"/>
                <a:gd name="connsiteY0" fmla="*/ 12196 h 20264"/>
                <a:gd name="connsiteX1" fmla="*/ 13333 w 34767"/>
                <a:gd name="connsiteY1" fmla="*/ 19244 h 20264"/>
                <a:gd name="connsiteX2" fmla="*/ 20763 w 34767"/>
                <a:gd name="connsiteY2" fmla="*/ 19244 h 20264"/>
                <a:gd name="connsiteX3" fmla="*/ 32859 w 34767"/>
                <a:gd name="connsiteY3" fmla="*/ 12196 h 20264"/>
                <a:gd name="connsiteX4" fmla="*/ 32859 w 34767"/>
                <a:gd name="connsiteY4" fmla="*/ 7910 h 20264"/>
                <a:gd name="connsiteX5" fmla="*/ 20953 w 34767"/>
                <a:gd name="connsiteY5" fmla="*/ 766 h 20264"/>
                <a:gd name="connsiteX6" fmla="*/ 13523 w 34767"/>
                <a:gd name="connsiteY6" fmla="*/ 766 h 20264"/>
                <a:gd name="connsiteX7" fmla="*/ 1331 w 34767"/>
                <a:gd name="connsiteY7" fmla="*/ 7719 h 20264"/>
                <a:gd name="connsiteX8" fmla="*/ 1141 w 34767"/>
                <a:gd name="connsiteY8" fmla="*/ 12196 h 20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7" h="20264">
                  <a:moveTo>
                    <a:pt x="1141" y="12196"/>
                  </a:moveTo>
                  <a:lnTo>
                    <a:pt x="13333" y="19244"/>
                  </a:lnTo>
                  <a:cubicBezTo>
                    <a:pt x="15676" y="20387"/>
                    <a:pt x="18419" y="20387"/>
                    <a:pt x="20763" y="19244"/>
                  </a:cubicBezTo>
                  <a:lnTo>
                    <a:pt x="32859" y="12196"/>
                  </a:lnTo>
                  <a:cubicBezTo>
                    <a:pt x="34955" y="11053"/>
                    <a:pt x="34955" y="9148"/>
                    <a:pt x="32859" y="7910"/>
                  </a:cubicBezTo>
                  <a:lnTo>
                    <a:pt x="20953" y="766"/>
                  </a:lnTo>
                  <a:cubicBezTo>
                    <a:pt x="18629" y="-472"/>
                    <a:pt x="15847" y="-472"/>
                    <a:pt x="13523" y="766"/>
                  </a:cubicBezTo>
                  <a:lnTo>
                    <a:pt x="1331" y="7719"/>
                  </a:lnTo>
                  <a:cubicBezTo>
                    <a:pt x="-859" y="8958"/>
                    <a:pt x="-859" y="10862"/>
                    <a:pt x="1141" y="12196"/>
                  </a:cubicBezTo>
                  <a:close/>
                </a:path>
              </a:pathLst>
            </a:custGeom>
            <a:solidFill>
              <a:srgbClr val="D1D9E8"/>
            </a:solidFill>
            <a:ln w="9525" cap="flat">
              <a:noFill/>
              <a:prstDash val="solid"/>
              <a:miter/>
            </a:ln>
          </p:spPr>
          <p:txBody>
            <a:bodyPr rtlCol="0" anchor="ctr"/>
            <a:lstStyle/>
            <a:p>
              <a:endParaRPr lang="zh-CN" altLang="en-US"/>
            </a:p>
          </p:txBody>
        </p:sp>
        <p:sp>
          <p:nvSpPr>
            <p:cNvPr id="707" name="ïṡľîḋé">
              <a:extLst>
                <a:ext uri="{FF2B5EF4-FFF2-40B4-BE49-F238E27FC236}">
                  <a16:creationId xmlns:a16="http://schemas.microsoft.com/office/drawing/2014/main" id="{7CC78594-D98B-42FD-844E-239DC8C7754A}"/>
                </a:ext>
              </a:extLst>
            </p:cNvPr>
            <p:cNvSpPr/>
            <p:nvPr/>
          </p:nvSpPr>
          <p:spPr>
            <a:xfrm>
              <a:off x="5784224" y="5167957"/>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4 w 36099"/>
                <a:gd name="connsiteY6" fmla="*/ 6981 h 17597"/>
                <a:gd name="connsiteX7" fmla="*/ 35764 w 36099"/>
                <a:gd name="connsiteY7" fmla="*/ -163 h 17597"/>
                <a:gd name="connsiteX8" fmla="*/ 34144 w 36099"/>
                <a:gd name="connsiteY8" fmla="*/ 2123 h 17597"/>
                <a:gd name="connsiteX9" fmla="*/ 31858 w 36099"/>
                <a:gd name="connsiteY9" fmla="*/ 3457 h 17597"/>
                <a:gd name="connsiteX10" fmla="*/ 21571 w 36099"/>
                <a:gd name="connsiteY10" fmla="*/ 9362 h 17597"/>
                <a:gd name="connsiteX11" fmla="*/ 13856 w 36099"/>
                <a:gd name="connsiteY11" fmla="*/ 9362 h 17597"/>
                <a:gd name="connsiteX12" fmla="*/ 3569 w 36099"/>
                <a:gd name="connsiteY12" fmla="*/ 3457 h 17597"/>
                <a:gd name="connsiteX13" fmla="*/ 1283 w 36099"/>
                <a:gd name="connsiteY13" fmla="*/ 2123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03" y="8029"/>
                    <a:pt x="407" y="8857"/>
                    <a:pt x="1283" y="9267"/>
                  </a:cubicBezTo>
                  <a:lnTo>
                    <a:pt x="13856" y="16506"/>
                  </a:lnTo>
                  <a:cubicBezTo>
                    <a:pt x="16275" y="17744"/>
                    <a:pt x="19152" y="17744"/>
                    <a:pt x="21571" y="16506"/>
                  </a:cubicBezTo>
                  <a:lnTo>
                    <a:pt x="34144" y="9267"/>
                  </a:lnTo>
                  <a:cubicBezTo>
                    <a:pt x="35059" y="8857"/>
                    <a:pt x="35678" y="7981"/>
                    <a:pt x="35764" y="6981"/>
                  </a:cubicBezTo>
                  <a:lnTo>
                    <a:pt x="35764" y="-163"/>
                  </a:lnTo>
                  <a:cubicBezTo>
                    <a:pt x="35697" y="847"/>
                    <a:pt x="35077" y="1733"/>
                    <a:pt x="34144" y="2123"/>
                  </a:cubicBezTo>
                  <a:lnTo>
                    <a:pt x="31858" y="3457"/>
                  </a:lnTo>
                  <a:lnTo>
                    <a:pt x="21571" y="9362"/>
                  </a:lnTo>
                  <a:cubicBezTo>
                    <a:pt x="19152" y="10601"/>
                    <a:pt x="16275" y="10601"/>
                    <a:pt x="13856" y="9362"/>
                  </a:cubicBezTo>
                  <a:lnTo>
                    <a:pt x="3569" y="3457"/>
                  </a:lnTo>
                  <a:lnTo>
                    <a:pt x="1283" y="2123"/>
                  </a:lnTo>
                  <a:cubicBezTo>
                    <a:pt x="378" y="1695"/>
                    <a:pt x="-232"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08" name="íṩ1íḍê">
              <a:extLst>
                <a:ext uri="{FF2B5EF4-FFF2-40B4-BE49-F238E27FC236}">
                  <a16:creationId xmlns:a16="http://schemas.microsoft.com/office/drawing/2014/main" id="{32DBC4E1-F499-4602-A8C0-21D91E071DC1}"/>
                </a:ext>
              </a:extLst>
            </p:cNvPr>
            <p:cNvSpPr/>
            <p:nvPr/>
          </p:nvSpPr>
          <p:spPr>
            <a:xfrm>
              <a:off x="5861634" y="5180787"/>
              <a:ext cx="109362" cy="63588"/>
            </a:xfrm>
            <a:custGeom>
              <a:avLst/>
              <a:gdLst>
                <a:gd name="connsiteX0" fmla="*/ -336 w 35928"/>
                <a:gd name="connsiteY0" fmla="*/ 10291 h 20890"/>
                <a:gd name="connsiteX1" fmla="*/ 1188 w 35928"/>
                <a:gd name="connsiteY1" fmla="*/ 12482 h 20890"/>
                <a:gd name="connsiteX2" fmla="*/ 3569 w 35928"/>
                <a:gd name="connsiteY2" fmla="*/ 13910 h 20890"/>
                <a:gd name="connsiteX3" fmla="*/ 13856 w 35928"/>
                <a:gd name="connsiteY3" fmla="*/ 19721 h 20890"/>
                <a:gd name="connsiteX4" fmla="*/ 21476 w 35928"/>
                <a:gd name="connsiteY4" fmla="*/ 19721 h 20890"/>
                <a:gd name="connsiteX5" fmla="*/ 31763 w 35928"/>
                <a:gd name="connsiteY5" fmla="*/ 13910 h 20890"/>
                <a:gd name="connsiteX6" fmla="*/ 34144 w 35928"/>
                <a:gd name="connsiteY6" fmla="*/ 12482 h 20890"/>
                <a:gd name="connsiteX7" fmla="*/ 35402 w 35928"/>
                <a:gd name="connsiteY7" fmla="*/ 9358 h 20890"/>
                <a:gd name="connsiteX8" fmla="*/ 34144 w 35928"/>
                <a:gd name="connsiteY8" fmla="*/ 8100 h 20890"/>
                <a:gd name="connsiteX9" fmla="*/ 21476 w 35928"/>
                <a:gd name="connsiteY9" fmla="*/ 766 h 20890"/>
                <a:gd name="connsiteX10" fmla="*/ 13856 w 35928"/>
                <a:gd name="connsiteY10" fmla="*/ 766 h 20890"/>
                <a:gd name="connsiteX11" fmla="*/ 1188 w 35928"/>
                <a:gd name="connsiteY11" fmla="*/ 8100 h 20890"/>
                <a:gd name="connsiteX12" fmla="*/ -336 w 35928"/>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928" h="20890">
                  <a:moveTo>
                    <a:pt x="-336" y="10291"/>
                  </a:moveTo>
                  <a:cubicBezTo>
                    <a:pt x="-298" y="11253"/>
                    <a:pt x="292" y="12110"/>
                    <a:pt x="1188" y="12482"/>
                  </a:cubicBezTo>
                  <a:lnTo>
                    <a:pt x="3569" y="13910"/>
                  </a:lnTo>
                  <a:lnTo>
                    <a:pt x="13856" y="19721"/>
                  </a:lnTo>
                  <a:cubicBezTo>
                    <a:pt x="16218" y="21064"/>
                    <a:pt x="19114" y="21064"/>
                    <a:pt x="21476" y="19721"/>
                  </a:cubicBezTo>
                  <a:lnTo>
                    <a:pt x="31763" y="13910"/>
                  </a:lnTo>
                  <a:lnTo>
                    <a:pt x="34144" y="12482"/>
                  </a:lnTo>
                  <a:cubicBezTo>
                    <a:pt x="35354" y="11968"/>
                    <a:pt x="35916" y="10567"/>
                    <a:pt x="35402" y="9358"/>
                  </a:cubicBezTo>
                  <a:cubicBezTo>
                    <a:pt x="35164" y="8796"/>
                    <a:pt x="34706" y="8338"/>
                    <a:pt x="34144" y="8100"/>
                  </a:cubicBezTo>
                  <a:lnTo>
                    <a:pt x="21476" y="766"/>
                  </a:lnTo>
                  <a:cubicBezTo>
                    <a:pt x="19085" y="-472"/>
                    <a:pt x="16247" y="-472"/>
                    <a:pt x="13856" y="766"/>
                  </a:cubicBezTo>
                  <a:lnTo>
                    <a:pt x="1188" y="8100"/>
                  </a:lnTo>
                  <a:cubicBezTo>
                    <a:pt x="292" y="8472"/>
                    <a:pt x="-298"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709" name="ïS1ïḍé">
              <a:extLst>
                <a:ext uri="{FF2B5EF4-FFF2-40B4-BE49-F238E27FC236}">
                  <a16:creationId xmlns:a16="http://schemas.microsoft.com/office/drawing/2014/main" id="{9D66241F-5565-4851-BC76-A89778898827}"/>
                </a:ext>
              </a:extLst>
            </p:cNvPr>
            <p:cNvSpPr/>
            <p:nvPr/>
          </p:nvSpPr>
          <p:spPr>
            <a:xfrm>
              <a:off x="5863519" y="5181944"/>
              <a:ext cx="105898" cy="61104"/>
            </a:xfrm>
            <a:custGeom>
              <a:avLst/>
              <a:gdLst>
                <a:gd name="connsiteX0" fmla="*/ 1235 w 34790"/>
                <a:gd name="connsiteY0" fmla="*/ 12006 h 20074"/>
                <a:gd name="connsiteX1" fmla="*/ 13332 w 34790"/>
                <a:gd name="connsiteY1" fmla="*/ 19054 h 20074"/>
                <a:gd name="connsiteX2" fmla="*/ 20762 w 34790"/>
                <a:gd name="connsiteY2" fmla="*/ 19054 h 20074"/>
                <a:gd name="connsiteX3" fmla="*/ 32954 w 34790"/>
                <a:gd name="connsiteY3" fmla="*/ 12006 h 20074"/>
                <a:gd name="connsiteX4" fmla="*/ 32954 w 34790"/>
                <a:gd name="connsiteY4" fmla="*/ 7719 h 20074"/>
                <a:gd name="connsiteX5" fmla="*/ 20762 w 34790"/>
                <a:gd name="connsiteY5" fmla="*/ 766 h 20074"/>
                <a:gd name="connsiteX6" fmla="*/ 13332 w 34790"/>
                <a:gd name="connsiteY6" fmla="*/ 766 h 20074"/>
                <a:gd name="connsiteX7" fmla="*/ 1235 w 34790"/>
                <a:gd name="connsiteY7" fmla="*/ 7719 h 20074"/>
                <a:gd name="connsiteX8" fmla="*/ 1235 w 34790"/>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4">
                  <a:moveTo>
                    <a:pt x="1235" y="12006"/>
                  </a:moveTo>
                  <a:lnTo>
                    <a:pt x="13332" y="19054"/>
                  </a:lnTo>
                  <a:cubicBezTo>
                    <a:pt x="15675" y="20197"/>
                    <a:pt x="18419" y="20197"/>
                    <a:pt x="20762" y="19054"/>
                  </a:cubicBezTo>
                  <a:lnTo>
                    <a:pt x="32954" y="12006"/>
                  </a:lnTo>
                  <a:cubicBezTo>
                    <a:pt x="34954" y="10863"/>
                    <a:pt x="34954" y="8958"/>
                    <a:pt x="32954" y="7719"/>
                  </a:cubicBezTo>
                  <a:lnTo>
                    <a:pt x="20762" y="766"/>
                  </a:lnTo>
                  <a:cubicBezTo>
                    <a:pt x="18437" y="-472"/>
                    <a:pt x="15656" y="-472"/>
                    <a:pt x="13332" y="766"/>
                  </a:cubicBezTo>
                  <a:lnTo>
                    <a:pt x="1235" y="7719"/>
                  </a:lnTo>
                  <a:cubicBezTo>
                    <a:pt x="-860" y="8958"/>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710" name="ïṡļîďê">
              <a:extLst>
                <a:ext uri="{FF2B5EF4-FFF2-40B4-BE49-F238E27FC236}">
                  <a16:creationId xmlns:a16="http://schemas.microsoft.com/office/drawing/2014/main" id="{0FAA26E7-5C15-4DD0-B9A3-032D8165BDF5}"/>
                </a:ext>
              </a:extLst>
            </p:cNvPr>
            <p:cNvSpPr/>
            <p:nvPr/>
          </p:nvSpPr>
          <p:spPr>
            <a:xfrm>
              <a:off x="5861634" y="5212606"/>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028 h 17597"/>
                <a:gd name="connsiteX9" fmla="*/ 31763 w 36004"/>
                <a:gd name="connsiteY9" fmla="*/ 3457 h 17597"/>
                <a:gd name="connsiteX10" fmla="*/ 21476 w 36004"/>
                <a:gd name="connsiteY10" fmla="*/ 9267 h 17597"/>
                <a:gd name="connsiteX11" fmla="*/ 13856 w 36004"/>
                <a:gd name="connsiteY11" fmla="*/ 9267 h 17597"/>
                <a:gd name="connsiteX12" fmla="*/ 3569 w 36004"/>
                <a:gd name="connsiteY12" fmla="*/ 3457 h 17597"/>
                <a:gd name="connsiteX13" fmla="*/ 1188 w 36004"/>
                <a:gd name="connsiteY13" fmla="*/ 2028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20"/>
                    <a:pt x="35583" y="7953"/>
                    <a:pt x="35668" y="6981"/>
                  </a:cubicBezTo>
                  <a:lnTo>
                    <a:pt x="35668" y="-163"/>
                  </a:lnTo>
                  <a:cubicBezTo>
                    <a:pt x="35630" y="800"/>
                    <a:pt x="35040" y="1657"/>
                    <a:pt x="34144" y="2028"/>
                  </a:cubicBezTo>
                  <a:lnTo>
                    <a:pt x="31763" y="3457"/>
                  </a:lnTo>
                  <a:lnTo>
                    <a:pt x="21476" y="9267"/>
                  </a:lnTo>
                  <a:cubicBezTo>
                    <a:pt x="19114" y="10610"/>
                    <a:pt x="16218" y="10610"/>
                    <a:pt x="13856" y="9267"/>
                  </a:cubicBezTo>
                  <a:lnTo>
                    <a:pt x="3569" y="3457"/>
                  </a:lnTo>
                  <a:lnTo>
                    <a:pt x="1188" y="2028"/>
                  </a:lnTo>
                  <a:cubicBezTo>
                    <a:pt x="292" y="1657"/>
                    <a:pt x="-298" y="800"/>
                    <a:pt x="-336" y="-163"/>
                  </a:cubicBezTo>
                  <a:close/>
                </a:path>
              </a:pathLst>
            </a:custGeom>
            <a:solidFill>
              <a:srgbClr val="BF4200"/>
            </a:solidFill>
            <a:ln w="9525" cap="flat">
              <a:noFill/>
              <a:prstDash val="solid"/>
              <a:miter/>
            </a:ln>
          </p:spPr>
          <p:txBody>
            <a:bodyPr rtlCol="0" anchor="ctr"/>
            <a:lstStyle/>
            <a:p>
              <a:endParaRPr lang="zh-CN" altLang="en-US"/>
            </a:p>
          </p:txBody>
        </p:sp>
        <p:sp>
          <p:nvSpPr>
            <p:cNvPr id="711" name="î$1ïḓé">
              <a:extLst>
                <a:ext uri="{FF2B5EF4-FFF2-40B4-BE49-F238E27FC236}">
                  <a16:creationId xmlns:a16="http://schemas.microsoft.com/office/drawing/2014/main" id="{36CC1510-06C2-4A52-91E8-9B6439EFC445}"/>
                </a:ext>
              </a:extLst>
            </p:cNvPr>
            <p:cNvSpPr/>
            <p:nvPr/>
          </p:nvSpPr>
          <p:spPr>
            <a:xfrm>
              <a:off x="5938177" y="5225436"/>
              <a:ext cx="109594" cy="63588"/>
            </a:xfrm>
            <a:custGeom>
              <a:avLst/>
              <a:gdLst>
                <a:gd name="connsiteX0" fmla="*/ -336 w 36004"/>
                <a:gd name="connsiteY0" fmla="*/ 10291 h 20890"/>
                <a:gd name="connsiteX1" fmla="*/ 1188 w 36004"/>
                <a:gd name="connsiteY1" fmla="*/ 12482 h 20890"/>
                <a:gd name="connsiteX2" fmla="*/ 3569 w 36004"/>
                <a:gd name="connsiteY2" fmla="*/ 13911 h 20890"/>
                <a:gd name="connsiteX3" fmla="*/ 13856 w 36004"/>
                <a:gd name="connsiteY3" fmla="*/ 19721 h 20890"/>
                <a:gd name="connsiteX4" fmla="*/ 21476 w 36004"/>
                <a:gd name="connsiteY4" fmla="*/ 19721 h 20890"/>
                <a:gd name="connsiteX5" fmla="*/ 31763 w 36004"/>
                <a:gd name="connsiteY5" fmla="*/ 13911 h 20890"/>
                <a:gd name="connsiteX6" fmla="*/ 34144 w 36004"/>
                <a:gd name="connsiteY6" fmla="*/ 12482 h 20890"/>
                <a:gd name="connsiteX7" fmla="*/ 35668 w 36004"/>
                <a:gd name="connsiteY7" fmla="*/ 10291 h 20890"/>
                <a:gd name="connsiteX8" fmla="*/ 34144 w 36004"/>
                <a:gd name="connsiteY8" fmla="*/ 8005 h 20890"/>
                <a:gd name="connsiteX9" fmla="*/ 21476 w 36004"/>
                <a:gd name="connsiteY9" fmla="*/ 766 h 20890"/>
                <a:gd name="connsiteX10" fmla="*/ 13856 w 36004"/>
                <a:gd name="connsiteY10" fmla="*/ 766 h 20890"/>
                <a:gd name="connsiteX11" fmla="*/ 1188 w 36004"/>
                <a:gd name="connsiteY11" fmla="*/ 8005 h 20890"/>
                <a:gd name="connsiteX12" fmla="*/ -336 w 36004"/>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291"/>
                  </a:moveTo>
                  <a:cubicBezTo>
                    <a:pt x="-279" y="11244"/>
                    <a:pt x="311" y="12091"/>
                    <a:pt x="1188" y="12482"/>
                  </a:cubicBezTo>
                  <a:lnTo>
                    <a:pt x="3569" y="13911"/>
                  </a:lnTo>
                  <a:lnTo>
                    <a:pt x="13856" y="19721"/>
                  </a:lnTo>
                  <a:cubicBezTo>
                    <a:pt x="16218" y="21064"/>
                    <a:pt x="19114" y="21064"/>
                    <a:pt x="21476" y="19721"/>
                  </a:cubicBezTo>
                  <a:lnTo>
                    <a:pt x="31763" y="13911"/>
                  </a:lnTo>
                  <a:lnTo>
                    <a:pt x="34144" y="12482"/>
                  </a:lnTo>
                  <a:cubicBezTo>
                    <a:pt x="35021" y="12091"/>
                    <a:pt x="35611" y="11253"/>
                    <a:pt x="35668" y="10291"/>
                  </a:cubicBezTo>
                  <a:cubicBezTo>
                    <a:pt x="35602" y="9310"/>
                    <a:pt x="35021" y="8443"/>
                    <a:pt x="34144" y="8005"/>
                  </a:cubicBezTo>
                  <a:lnTo>
                    <a:pt x="21476" y="766"/>
                  </a:lnTo>
                  <a:cubicBezTo>
                    <a:pt x="19085" y="-472"/>
                    <a:pt x="16247" y="-472"/>
                    <a:pt x="13856" y="766"/>
                  </a:cubicBezTo>
                  <a:lnTo>
                    <a:pt x="1188" y="8005"/>
                  </a:lnTo>
                  <a:cubicBezTo>
                    <a:pt x="311" y="8443"/>
                    <a:pt x="-270" y="9310"/>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712" name="íśļídè">
              <a:extLst>
                <a:ext uri="{FF2B5EF4-FFF2-40B4-BE49-F238E27FC236}">
                  <a16:creationId xmlns:a16="http://schemas.microsoft.com/office/drawing/2014/main" id="{E1AC06DC-F730-4EA8-B4CD-4F038A553FBD}"/>
                </a:ext>
              </a:extLst>
            </p:cNvPr>
            <p:cNvSpPr/>
            <p:nvPr/>
          </p:nvSpPr>
          <p:spPr>
            <a:xfrm>
              <a:off x="5939991" y="5226595"/>
              <a:ext cx="106766" cy="61101"/>
            </a:xfrm>
            <a:custGeom>
              <a:avLst/>
              <a:gdLst>
                <a:gd name="connsiteX0" fmla="*/ 1450 w 35075"/>
                <a:gd name="connsiteY0" fmla="*/ 12006 h 20073"/>
                <a:gd name="connsiteX1" fmla="*/ 13642 w 35075"/>
                <a:gd name="connsiteY1" fmla="*/ 19054 h 20073"/>
                <a:gd name="connsiteX2" fmla="*/ 21071 w 35075"/>
                <a:gd name="connsiteY2" fmla="*/ 19054 h 20073"/>
                <a:gd name="connsiteX3" fmla="*/ 33168 w 35075"/>
                <a:gd name="connsiteY3" fmla="*/ 12006 h 20073"/>
                <a:gd name="connsiteX4" fmla="*/ 33168 w 35075"/>
                <a:gd name="connsiteY4" fmla="*/ 7719 h 20073"/>
                <a:gd name="connsiteX5" fmla="*/ 21071 w 35075"/>
                <a:gd name="connsiteY5" fmla="*/ 766 h 20073"/>
                <a:gd name="connsiteX6" fmla="*/ 13642 w 35075"/>
                <a:gd name="connsiteY6" fmla="*/ 766 h 20073"/>
                <a:gd name="connsiteX7" fmla="*/ 1450 w 35075"/>
                <a:gd name="connsiteY7" fmla="*/ 7719 h 20073"/>
                <a:gd name="connsiteX8" fmla="*/ 1450 w 35075"/>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075" h="20073">
                  <a:moveTo>
                    <a:pt x="1450" y="12006"/>
                  </a:moveTo>
                  <a:lnTo>
                    <a:pt x="13642" y="19054"/>
                  </a:lnTo>
                  <a:cubicBezTo>
                    <a:pt x="15985" y="20197"/>
                    <a:pt x="18728" y="20197"/>
                    <a:pt x="21071" y="19054"/>
                  </a:cubicBezTo>
                  <a:lnTo>
                    <a:pt x="33168" y="12006"/>
                  </a:lnTo>
                  <a:cubicBezTo>
                    <a:pt x="35263" y="10863"/>
                    <a:pt x="35263" y="8957"/>
                    <a:pt x="33168" y="7719"/>
                  </a:cubicBezTo>
                  <a:lnTo>
                    <a:pt x="21071" y="766"/>
                  </a:lnTo>
                  <a:cubicBezTo>
                    <a:pt x="18747" y="-472"/>
                    <a:pt x="15966" y="-472"/>
                    <a:pt x="13642" y="766"/>
                  </a:cubicBezTo>
                  <a:lnTo>
                    <a:pt x="1450" y="7719"/>
                  </a:lnTo>
                  <a:cubicBezTo>
                    <a:pt x="-932" y="8957"/>
                    <a:pt x="-932" y="10863"/>
                    <a:pt x="1450" y="12006"/>
                  </a:cubicBezTo>
                  <a:close/>
                </a:path>
              </a:pathLst>
            </a:custGeom>
            <a:solidFill>
              <a:srgbClr val="D1D9E8"/>
            </a:solidFill>
            <a:ln w="9525" cap="flat">
              <a:noFill/>
              <a:prstDash val="solid"/>
              <a:miter/>
            </a:ln>
          </p:spPr>
          <p:txBody>
            <a:bodyPr rtlCol="0" anchor="ctr"/>
            <a:lstStyle/>
            <a:p>
              <a:endParaRPr lang="zh-CN" altLang="en-US"/>
            </a:p>
          </p:txBody>
        </p:sp>
        <p:sp>
          <p:nvSpPr>
            <p:cNvPr id="713" name="íṡļiḓe">
              <a:extLst>
                <a:ext uri="{FF2B5EF4-FFF2-40B4-BE49-F238E27FC236}">
                  <a16:creationId xmlns:a16="http://schemas.microsoft.com/office/drawing/2014/main" id="{ABCBD151-9D9E-46AB-9A37-DB31ACD09BDE}"/>
                </a:ext>
              </a:extLst>
            </p:cNvPr>
            <p:cNvSpPr/>
            <p:nvPr/>
          </p:nvSpPr>
          <p:spPr>
            <a:xfrm>
              <a:off x="5938177" y="5257257"/>
              <a:ext cx="109594" cy="53564"/>
            </a:xfrm>
            <a:custGeom>
              <a:avLst/>
              <a:gdLst>
                <a:gd name="connsiteX0" fmla="*/ -336 w 36004"/>
                <a:gd name="connsiteY0" fmla="*/ -163 h 17597"/>
                <a:gd name="connsiteX1" fmla="*/ -336 w 36004"/>
                <a:gd name="connsiteY1" fmla="*/ 6981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028 h 17597"/>
                <a:gd name="connsiteX9" fmla="*/ 31763 w 36004"/>
                <a:gd name="connsiteY9" fmla="*/ 3457 h 17597"/>
                <a:gd name="connsiteX10" fmla="*/ 21476 w 36004"/>
                <a:gd name="connsiteY10" fmla="*/ 9267 h 17597"/>
                <a:gd name="connsiteX11" fmla="*/ 13856 w 36004"/>
                <a:gd name="connsiteY11" fmla="*/ 9267 h 17597"/>
                <a:gd name="connsiteX12" fmla="*/ 3569 w 36004"/>
                <a:gd name="connsiteY12" fmla="*/ 3457 h 17597"/>
                <a:gd name="connsiteX13" fmla="*/ 1188 w 36004"/>
                <a:gd name="connsiteY13" fmla="*/ 2028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6981"/>
                  </a:lnTo>
                  <a:cubicBezTo>
                    <a:pt x="-270" y="7962"/>
                    <a:pt x="311" y="8829"/>
                    <a:pt x="1188" y="9267"/>
                  </a:cubicBezTo>
                  <a:lnTo>
                    <a:pt x="13856" y="16506"/>
                  </a:lnTo>
                  <a:cubicBezTo>
                    <a:pt x="16247" y="17744"/>
                    <a:pt x="19085" y="17744"/>
                    <a:pt x="21476" y="16506"/>
                  </a:cubicBezTo>
                  <a:lnTo>
                    <a:pt x="34144" y="9267"/>
                  </a:lnTo>
                  <a:cubicBezTo>
                    <a:pt x="35011" y="8819"/>
                    <a:pt x="35582" y="7953"/>
                    <a:pt x="35668" y="6981"/>
                  </a:cubicBezTo>
                  <a:lnTo>
                    <a:pt x="35668" y="-163"/>
                  </a:lnTo>
                  <a:cubicBezTo>
                    <a:pt x="35611" y="790"/>
                    <a:pt x="35021" y="1638"/>
                    <a:pt x="34144" y="2028"/>
                  </a:cubicBezTo>
                  <a:lnTo>
                    <a:pt x="31763" y="3457"/>
                  </a:lnTo>
                  <a:lnTo>
                    <a:pt x="21476" y="9267"/>
                  </a:lnTo>
                  <a:cubicBezTo>
                    <a:pt x="19114" y="10610"/>
                    <a:pt x="16218" y="10610"/>
                    <a:pt x="13856" y="9267"/>
                  </a:cubicBezTo>
                  <a:lnTo>
                    <a:pt x="3569" y="3457"/>
                  </a:lnTo>
                  <a:lnTo>
                    <a:pt x="1188" y="2028"/>
                  </a:lnTo>
                  <a:cubicBezTo>
                    <a:pt x="311" y="1638"/>
                    <a:pt x="-279" y="800"/>
                    <a:pt x="-336" y="-163"/>
                  </a:cubicBezTo>
                  <a:close/>
                </a:path>
              </a:pathLst>
            </a:custGeom>
            <a:solidFill>
              <a:srgbClr val="BF4200"/>
            </a:solidFill>
            <a:ln w="9525" cap="flat">
              <a:noFill/>
              <a:prstDash val="solid"/>
              <a:miter/>
            </a:ln>
          </p:spPr>
          <p:txBody>
            <a:bodyPr rtlCol="0" anchor="ctr"/>
            <a:lstStyle/>
            <a:p>
              <a:endParaRPr lang="zh-CN" altLang="en-US"/>
            </a:p>
          </p:txBody>
        </p:sp>
        <p:sp>
          <p:nvSpPr>
            <p:cNvPr id="714" name="ïṥ1iḓè">
              <a:extLst>
                <a:ext uri="{FF2B5EF4-FFF2-40B4-BE49-F238E27FC236}">
                  <a16:creationId xmlns:a16="http://schemas.microsoft.com/office/drawing/2014/main" id="{88DA513E-BD49-44D4-AAD5-CD6C1BA9C2EC}"/>
                </a:ext>
              </a:extLst>
            </p:cNvPr>
            <p:cNvSpPr/>
            <p:nvPr/>
          </p:nvSpPr>
          <p:spPr>
            <a:xfrm>
              <a:off x="6016172" y="5270087"/>
              <a:ext cx="109594" cy="63588"/>
            </a:xfrm>
            <a:custGeom>
              <a:avLst/>
              <a:gdLst>
                <a:gd name="connsiteX0" fmla="*/ -336 w 36004"/>
                <a:gd name="connsiteY0" fmla="*/ 10196 h 20890"/>
                <a:gd name="connsiteX1" fmla="*/ 1283 w 36004"/>
                <a:gd name="connsiteY1" fmla="*/ 12482 h 20890"/>
                <a:gd name="connsiteX2" fmla="*/ 3569 w 36004"/>
                <a:gd name="connsiteY2" fmla="*/ 13815 h 20890"/>
                <a:gd name="connsiteX3" fmla="*/ 13856 w 36004"/>
                <a:gd name="connsiteY3" fmla="*/ 19721 h 20890"/>
                <a:gd name="connsiteX4" fmla="*/ 21571 w 36004"/>
                <a:gd name="connsiteY4" fmla="*/ 19721 h 20890"/>
                <a:gd name="connsiteX5" fmla="*/ 31858 w 36004"/>
                <a:gd name="connsiteY5" fmla="*/ 13815 h 20890"/>
                <a:gd name="connsiteX6" fmla="*/ 34144 w 36004"/>
                <a:gd name="connsiteY6" fmla="*/ 12482 h 20890"/>
                <a:gd name="connsiteX7" fmla="*/ 35668 w 36004"/>
                <a:gd name="connsiteY7" fmla="*/ 10196 h 20890"/>
                <a:gd name="connsiteX8" fmla="*/ 34144 w 36004"/>
                <a:gd name="connsiteY8" fmla="*/ 8005 h 20890"/>
                <a:gd name="connsiteX9" fmla="*/ 21571 w 36004"/>
                <a:gd name="connsiteY9" fmla="*/ 766 h 20890"/>
                <a:gd name="connsiteX10" fmla="*/ 13856 w 36004"/>
                <a:gd name="connsiteY10" fmla="*/ 766 h 20890"/>
                <a:gd name="connsiteX11" fmla="*/ 1283 w 36004"/>
                <a:gd name="connsiteY11" fmla="*/ 8005 h 20890"/>
                <a:gd name="connsiteX12" fmla="*/ -336 w 36004"/>
                <a:gd name="connsiteY12" fmla="*/ 10196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196"/>
                  </a:moveTo>
                  <a:cubicBezTo>
                    <a:pt x="-298" y="11215"/>
                    <a:pt x="340" y="12110"/>
                    <a:pt x="1283" y="12482"/>
                  </a:cubicBezTo>
                  <a:lnTo>
                    <a:pt x="3569" y="13815"/>
                  </a:lnTo>
                  <a:lnTo>
                    <a:pt x="13856" y="19721"/>
                  </a:lnTo>
                  <a:cubicBezTo>
                    <a:pt x="16256" y="21064"/>
                    <a:pt x="19171" y="21064"/>
                    <a:pt x="21571" y="19721"/>
                  </a:cubicBezTo>
                  <a:lnTo>
                    <a:pt x="31858" y="13815"/>
                  </a:lnTo>
                  <a:lnTo>
                    <a:pt x="34144" y="12482"/>
                  </a:lnTo>
                  <a:cubicBezTo>
                    <a:pt x="35049" y="12082"/>
                    <a:pt x="35640" y="11186"/>
                    <a:pt x="35668" y="10196"/>
                  </a:cubicBezTo>
                  <a:cubicBezTo>
                    <a:pt x="35573" y="9253"/>
                    <a:pt x="34992" y="8424"/>
                    <a:pt x="34144" y="8005"/>
                  </a:cubicBezTo>
                  <a:lnTo>
                    <a:pt x="21571" y="766"/>
                  </a:lnTo>
                  <a:cubicBezTo>
                    <a:pt x="19152" y="-472"/>
                    <a:pt x="16275" y="-472"/>
                    <a:pt x="13856" y="766"/>
                  </a:cubicBezTo>
                  <a:lnTo>
                    <a:pt x="1283" y="8005"/>
                  </a:lnTo>
                  <a:cubicBezTo>
                    <a:pt x="378" y="8386"/>
                    <a:pt x="-241" y="9224"/>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715" name="ïṣľîḋe">
              <a:extLst>
                <a:ext uri="{FF2B5EF4-FFF2-40B4-BE49-F238E27FC236}">
                  <a16:creationId xmlns:a16="http://schemas.microsoft.com/office/drawing/2014/main" id="{FDB4F631-4094-441E-8CCA-6713AA610FCE}"/>
                </a:ext>
              </a:extLst>
            </p:cNvPr>
            <p:cNvSpPr/>
            <p:nvPr/>
          </p:nvSpPr>
          <p:spPr>
            <a:xfrm>
              <a:off x="6018302" y="5271247"/>
              <a:ext cx="105618" cy="61101"/>
            </a:xfrm>
            <a:custGeom>
              <a:avLst/>
              <a:gdLst>
                <a:gd name="connsiteX0" fmla="*/ 1154 w 34698"/>
                <a:gd name="connsiteY0" fmla="*/ 12006 h 20073"/>
                <a:gd name="connsiteX1" fmla="*/ 13251 w 34698"/>
                <a:gd name="connsiteY1" fmla="*/ 19054 h 20073"/>
                <a:gd name="connsiteX2" fmla="*/ 20680 w 34698"/>
                <a:gd name="connsiteY2" fmla="*/ 19054 h 20073"/>
                <a:gd name="connsiteX3" fmla="*/ 32872 w 34698"/>
                <a:gd name="connsiteY3" fmla="*/ 12006 h 20073"/>
                <a:gd name="connsiteX4" fmla="*/ 34215 w 34698"/>
                <a:gd name="connsiteY4" fmla="*/ 9072 h 20073"/>
                <a:gd name="connsiteX5" fmla="*/ 32872 w 34698"/>
                <a:gd name="connsiteY5" fmla="*/ 7719 h 20073"/>
                <a:gd name="connsiteX6" fmla="*/ 20680 w 34698"/>
                <a:gd name="connsiteY6" fmla="*/ 766 h 20073"/>
                <a:gd name="connsiteX7" fmla="*/ 13251 w 34698"/>
                <a:gd name="connsiteY7" fmla="*/ 766 h 20073"/>
                <a:gd name="connsiteX8" fmla="*/ 1154 w 34698"/>
                <a:gd name="connsiteY8" fmla="*/ 7719 h 20073"/>
                <a:gd name="connsiteX9" fmla="*/ -189 w 34698"/>
                <a:gd name="connsiteY9" fmla="*/ 10653 h 20073"/>
                <a:gd name="connsiteX10" fmla="*/ 1154 w 34698"/>
                <a:gd name="connsiteY10"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698" h="20073">
                  <a:moveTo>
                    <a:pt x="1154" y="12006"/>
                  </a:moveTo>
                  <a:lnTo>
                    <a:pt x="13251" y="19054"/>
                  </a:lnTo>
                  <a:cubicBezTo>
                    <a:pt x="15594" y="20197"/>
                    <a:pt x="18337" y="20197"/>
                    <a:pt x="20680" y="19054"/>
                  </a:cubicBezTo>
                  <a:lnTo>
                    <a:pt x="32872" y="12006"/>
                  </a:lnTo>
                  <a:cubicBezTo>
                    <a:pt x="34053" y="11567"/>
                    <a:pt x="34663" y="10253"/>
                    <a:pt x="34215" y="9072"/>
                  </a:cubicBezTo>
                  <a:cubicBezTo>
                    <a:pt x="33987" y="8443"/>
                    <a:pt x="33491" y="7948"/>
                    <a:pt x="32872" y="7719"/>
                  </a:cubicBezTo>
                  <a:lnTo>
                    <a:pt x="20680" y="766"/>
                  </a:lnTo>
                  <a:cubicBezTo>
                    <a:pt x="18356" y="-472"/>
                    <a:pt x="15575" y="-472"/>
                    <a:pt x="13251" y="766"/>
                  </a:cubicBezTo>
                  <a:lnTo>
                    <a:pt x="1154" y="7719"/>
                  </a:lnTo>
                  <a:cubicBezTo>
                    <a:pt x="-27" y="8158"/>
                    <a:pt x="-637" y="9472"/>
                    <a:pt x="-189" y="10653"/>
                  </a:cubicBezTo>
                  <a:cubicBezTo>
                    <a:pt x="40" y="11281"/>
                    <a:pt x="535" y="11777"/>
                    <a:pt x="1154" y="12006"/>
                  </a:cubicBezTo>
                  <a:close/>
                </a:path>
              </a:pathLst>
            </a:custGeom>
            <a:solidFill>
              <a:srgbClr val="D1D9E8"/>
            </a:solidFill>
            <a:ln w="9525" cap="flat">
              <a:noFill/>
              <a:prstDash val="solid"/>
              <a:miter/>
            </a:ln>
          </p:spPr>
          <p:txBody>
            <a:bodyPr rtlCol="0" anchor="ctr"/>
            <a:lstStyle/>
            <a:p>
              <a:endParaRPr lang="zh-CN" altLang="en-US"/>
            </a:p>
          </p:txBody>
        </p:sp>
        <p:sp>
          <p:nvSpPr>
            <p:cNvPr id="716" name="ïṡľíďe">
              <a:extLst>
                <a:ext uri="{FF2B5EF4-FFF2-40B4-BE49-F238E27FC236}">
                  <a16:creationId xmlns:a16="http://schemas.microsoft.com/office/drawing/2014/main" id="{9BAFDF80-C007-4444-8CA6-988D5E1FE504}"/>
                </a:ext>
              </a:extLst>
            </p:cNvPr>
            <p:cNvSpPr/>
            <p:nvPr/>
          </p:nvSpPr>
          <p:spPr>
            <a:xfrm>
              <a:off x="6016172" y="5301616"/>
              <a:ext cx="109594" cy="53801"/>
            </a:xfrm>
            <a:custGeom>
              <a:avLst/>
              <a:gdLst>
                <a:gd name="connsiteX0" fmla="*/ -336 w 36004"/>
                <a:gd name="connsiteY0" fmla="*/ -163 h 17675"/>
                <a:gd name="connsiteX1" fmla="*/ -336 w 36004"/>
                <a:gd name="connsiteY1" fmla="*/ 7076 h 17675"/>
                <a:gd name="connsiteX2" fmla="*/ 1283 w 36004"/>
                <a:gd name="connsiteY2" fmla="*/ 9267 h 17675"/>
                <a:gd name="connsiteX3" fmla="*/ 13856 w 36004"/>
                <a:gd name="connsiteY3" fmla="*/ 16506 h 17675"/>
                <a:gd name="connsiteX4" fmla="*/ 21571 w 36004"/>
                <a:gd name="connsiteY4" fmla="*/ 16506 h 17675"/>
                <a:gd name="connsiteX5" fmla="*/ 34144 w 36004"/>
                <a:gd name="connsiteY5" fmla="*/ 9267 h 17675"/>
                <a:gd name="connsiteX6" fmla="*/ 35668 w 36004"/>
                <a:gd name="connsiteY6" fmla="*/ 7076 h 17675"/>
                <a:gd name="connsiteX7" fmla="*/ 35668 w 36004"/>
                <a:gd name="connsiteY7" fmla="*/ -163 h 17675"/>
                <a:gd name="connsiteX8" fmla="*/ 34144 w 36004"/>
                <a:gd name="connsiteY8" fmla="*/ 2123 h 17675"/>
                <a:gd name="connsiteX9" fmla="*/ 31858 w 36004"/>
                <a:gd name="connsiteY9" fmla="*/ 3457 h 17675"/>
                <a:gd name="connsiteX10" fmla="*/ 21571 w 36004"/>
                <a:gd name="connsiteY10" fmla="*/ 9362 h 17675"/>
                <a:gd name="connsiteX11" fmla="*/ 13856 w 36004"/>
                <a:gd name="connsiteY11" fmla="*/ 9362 h 17675"/>
                <a:gd name="connsiteX12" fmla="*/ 3569 w 36004"/>
                <a:gd name="connsiteY12" fmla="*/ 3457 h 17675"/>
                <a:gd name="connsiteX13" fmla="*/ 1283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79" y="8067"/>
                    <a:pt x="349" y="8924"/>
                    <a:pt x="1283" y="9267"/>
                  </a:cubicBezTo>
                  <a:lnTo>
                    <a:pt x="13856" y="16506"/>
                  </a:lnTo>
                  <a:cubicBezTo>
                    <a:pt x="16256" y="17849"/>
                    <a:pt x="19171" y="17849"/>
                    <a:pt x="21571" y="16506"/>
                  </a:cubicBezTo>
                  <a:lnTo>
                    <a:pt x="34144" y="9267"/>
                  </a:lnTo>
                  <a:cubicBezTo>
                    <a:pt x="35021" y="8877"/>
                    <a:pt x="35611" y="8029"/>
                    <a:pt x="35668" y="7076"/>
                  </a:cubicBezTo>
                  <a:lnTo>
                    <a:pt x="35668" y="-163"/>
                  </a:lnTo>
                  <a:cubicBezTo>
                    <a:pt x="35640" y="828"/>
                    <a:pt x="35049" y="1723"/>
                    <a:pt x="34144" y="2123"/>
                  </a:cubicBezTo>
                  <a:lnTo>
                    <a:pt x="31858" y="3457"/>
                  </a:lnTo>
                  <a:lnTo>
                    <a:pt x="21571" y="9362"/>
                  </a:lnTo>
                  <a:cubicBezTo>
                    <a:pt x="19171" y="10705"/>
                    <a:pt x="16256" y="10705"/>
                    <a:pt x="13856" y="9362"/>
                  </a:cubicBezTo>
                  <a:lnTo>
                    <a:pt x="3569" y="3457"/>
                  </a:lnTo>
                  <a:lnTo>
                    <a:pt x="1283" y="2123"/>
                  </a:lnTo>
                  <a:cubicBezTo>
                    <a:pt x="340" y="1752"/>
                    <a:pt x="-298" y="856"/>
                    <a:pt x="-336" y="-163"/>
                  </a:cubicBezTo>
                  <a:close/>
                </a:path>
              </a:pathLst>
            </a:custGeom>
            <a:solidFill>
              <a:srgbClr val="BF4200"/>
            </a:solidFill>
            <a:ln w="9525" cap="flat">
              <a:noFill/>
              <a:prstDash val="solid"/>
              <a:miter/>
            </a:ln>
          </p:spPr>
          <p:txBody>
            <a:bodyPr rtlCol="0" anchor="ctr"/>
            <a:lstStyle/>
            <a:p>
              <a:endParaRPr lang="zh-CN" altLang="en-US"/>
            </a:p>
          </p:txBody>
        </p:sp>
        <p:sp>
          <p:nvSpPr>
            <p:cNvPr id="717" name="îṩḷíďe">
              <a:extLst>
                <a:ext uri="{FF2B5EF4-FFF2-40B4-BE49-F238E27FC236}">
                  <a16:creationId xmlns:a16="http://schemas.microsoft.com/office/drawing/2014/main" id="{A16F4784-E2F8-4468-BD19-2E135638C365}"/>
                </a:ext>
              </a:extLst>
            </p:cNvPr>
            <p:cNvSpPr/>
            <p:nvPr/>
          </p:nvSpPr>
          <p:spPr>
            <a:xfrm>
              <a:off x="6093582" y="5314735"/>
              <a:ext cx="109740" cy="63588"/>
            </a:xfrm>
            <a:custGeom>
              <a:avLst/>
              <a:gdLst>
                <a:gd name="connsiteX0" fmla="*/ -336 w 36052"/>
                <a:gd name="connsiteY0" fmla="*/ 10196 h 20890"/>
                <a:gd name="connsiteX1" fmla="*/ 1188 w 36052"/>
                <a:gd name="connsiteY1" fmla="*/ 12482 h 20890"/>
                <a:gd name="connsiteX2" fmla="*/ 3569 w 36052"/>
                <a:gd name="connsiteY2" fmla="*/ 13815 h 20890"/>
                <a:gd name="connsiteX3" fmla="*/ 13856 w 36052"/>
                <a:gd name="connsiteY3" fmla="*/ 19721 h 20890"/>
                <a:gd name="connsiteX4" fmla="*/ 21476 w 36052"/>
                <a:gd name="connsiteY4" fmla="*/ 19721 h 20890"/>
                <a:gd name="connsiteX5" fmla="*/ 31763 w 36052"/>
                <a:gd name="connsiteY5" fmla="*/ 13815 h 20890"/>
                <a:gd name="connsiteX6" fmla="*/ 34144 w 36052"/>
                <a:gd name="connsiteY6" fmla="*/ 12482 h 20890"/>
                <a:gd name="connsiteX7" fmla="*/ 35573 w 36052"/>
                <a:gd name="connsiteY7" fmla="*/ 9434 h 20890"/>
                <a:gd name="connsiteX8" fmla="*/ 34144 w 36052"/>
                <a:gd name="connsiteY8" fmla="*/ 8005 h 20890"/>
                <a:gd name="connsiteX9" fmla="*/ 21476 w 36052"/>
                <a:gd name="connsiteY9" fmla="*/ 766 h 20890"/>
                <a:gd name="connsiteX10" fmla="*/ 13856 w 36052"/>
                <a:gd name="connsiteY10" fmla="*/ 766 h 20890"/>
                <a:gd name="connsiteX11" fmla="*/ 1188 w 36052"/>
                <a:gd name="connsiteY11" fmla="*/ 8005 h 20890"/>
                <a:gd name="connsiteX12" fmla="*/ -336 w 36052"/>
                <a:gd name="connsiteY12" fmla="*/ 10196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90">
                  <a:moveTo>
                    <a:pt x="-336" y="10196"/>
                  </a:moveTo>
                  <a:cubicBezTo>
                    <a:pt x="-269" y="11177"/>
                    <a:pt x="312" y="12044"/>
                    <a:pt x="1188" y="12482"/>
                  </a:cubicBezTo>
                  <a:lnTo>
                    <a:pt x="3569" y="13815"/>
                  </a:lnTo>
                  <a:lnTo>
                    <a:pt x="13856" y="19721"/>
                  </a:lnTo>
                  <a:cubicBezTo>
                    <a:pt x="16218" y="21064"/>
                    <a:pt x="19114" y="21064"/>
                    <a:pt x="21476" y="19721"/>
                  </a:cubicBezTo>
                  <a:lnTo>
                    <a:pt x="31763" y="13815"/>
                  </a:lnTo>
                  <a:lnTo>
                    <a:pt x="34144" y="12482"/>
                  </a:lnTo>
                  <a:cubicBezTo>
                    <a:pt x="35382" y="12034"/>
                    <a:pt x="36021" y="10663"/>
                    <a:pt x="35573" y="9434"/>
                  </a:cubicBezTo>
                  <a:cubicBezTo>
                    <a:pt x="35325" y="8767"/>
                    <a:pt x="34811" y="8243"/>
                    <a:pt x="34144" y="8005"/>
                  </a:cubicBezTo>
                  <a:lnTo>
                    <a:pt x="21476" y="766"/>
                  </a:lnTo>
                  <a:cubicBezTo>
                    <a:pt x="19085" y="-472"/>
                    <a:pt x="16247" y="-472"/>
                    <a:pt x="13856" y="766"/>
                  </a:cubicBezTo>
                  <a:lnTo>
                    <a:pt x="1188" y="8005"/>
                  </a:lnTo>
                  <a:cubicBezTo>
                    <a:pt x="340" y="8424"/>
                    <a:pt x="-241" y="925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718" name="iṡḻïḍe">
              <a:extLst>
                <a:ext uri="{FF2B5EF4-FFF2-40B4-BE49-F238E27FC236}">
                  <a16:creationId xmlns:a16="http://schemas.microsoft.com/office/drawing/2014/main" id="{C4177F47-5A50-47EE-AD7D-DDCB2E3BE2F5}"/>
                </a:ext>
              </a:extLst>
            </p:cNvPr>
            <p:cNvSpPr/>
            <p:nvPr/>
          </p:nvSpPr>
          <p:spPr>
            <a:xfrm>
              <a:off x="6095426" y="5315822"/>
              <a:ext cx="105618" cy="61174"/>
            </a:xfrm>
            <a:custGeom>
              <a:avLst/>
              <a:gdLst>
                <a:gd name="connsiteX0" fmla="*/ 1154 w 34698"/>
                <a:gd name="connsiteY0" fmla="*/ 12030 h 20097"/>
                <a:gd name="connsiteX1" fmla="*/ 13346 w 34698"/>
                <a:gd name="connsiteY1" fmla="*/ 19078 h 20097"/>
                <a:gd name="connsiteX2" fmla="*/ 20776 w 34698"/>
                <a:gd name="connsiteY2" fmla="*/ 19078 h 20097"/>
                <a:gd name="connsiteX3" fmla="*/ 32872 w 34698"/>
                <a:gd name="connsiteY3" fmla="*/ 12030 h 20097"/>
                <a:gd name="connsiteX4" fmla="*/ 34215 w 34698"/>
                <a:gd name="connsiteY4" fmla="*/ 9096 h 20097"/>
                <a:gd name="connsiteX5" fmla="*/ 32872 w 34698"/>
                <a:gd name="connsiteY5" fmla="*/ 7743 h 20097"/>
                <a:gd name="connsiteX6" fmla="*/ 20776 w 34698"/>
                <a:gd name="connsiteY6" fmla="*/ 695 h 20097"/>
                <a:gd name="connsiteX7" fmla="*/ 13346 w 34698"/>
                <a:gd name="connsiteY7" fmla="*/ 695 h 20097"/>
                <a:gd name="connsiteX8" fmla="*/ 1154 w 34698"/>
                <a:gd name="connsiteY8" fmla="*/ 7743 h 20097"/>
                <a:gd name="connsiteX9" fmla="*/ -189 w 34698"/>
                <a:gd name="connsiteY9" fmla="*/ 10686 h 20097"/>
                <a:gd name="connsiteX10" fmla="*/ 1154 w 34698"/>
                <a:gd name="connsiteY10" fmla="*/ 12030 h 20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698" h="20097">
                  <a:moveTo>
                    <a:pt x="1154" y="12030"/>
                  </a:moveTo>
                  <a:lnTo>
                    <a:pt x="13346" y="19078"/>
                  </a:lnTo>
                  <a:cubicBezTo>
                    <a:pt x="15689" y="20221"/>
                    <a:pt x="18432" y="20221"/>
                    <a:pt x="20776" y="19078"/>
                  </a:cubicBezTo>
                  <a:lnTo>
                    <a:pt x="32872" y="12030"/>
                  </a:lnTo>
                  <a:cubicBezTo>
                    <a:pt x="34053" y="11591"/>
                    <a:pt x="34663" y="10277"/>
                    <a:pt x="34215" y="9096"/>
                  </a:cubicBezTo>
                  <a:cubicBezTo>
                    <a:pt x="33987" y="8467"/>
                    <a:pt x="33491" y="7972"/>
                    <a:pt x="32872" y="7743"/>
                  </a:cubicBezTo>
                  <a:lnTo>
                    <a:pt x="20776" y="695"/>
                  </a:lnTo>
                  <a:cubicBezTo>
                    <a:pt x="18432" y="-448"/>
                    <a:pt x="15689" y="-448"/>
                    <a:pt x="13346" y="695"/>
                  </a:cubicBezTo>
                  <a:lnTo>
                    <a:pt x="1154" y="7743"/>
                  </a:lnTo>
                  <a:cubicBezTo>
                    <a:pt x="-27" y="8181"/>
                    <a:pt x="-637" y="9496"/>
                    <a:pt x="-189" y="10686"/>
                  </a:cubicBezTo>
                  <a:cubicBezTo>
                    <a:pt x="40" y="11305"/>
                    <a:pt x="525" y="11801"/>
                    <a:pt x="1154" y="12030"/>
                  </a:cubicBezTo>
                  <a:close/>
                </a:path>
              </a:pathLst>
            </a:custGeom>
            <a:solidFill>
              <a:srgbClr val="D1D9E8"/>
            </a:solidFill>
            <a:ln w="9525" cap="flat">
              <a:noFill/>
              <a:prstDash val="solid"/>
              <a:miter/>
            </a:ln>
          </p:spPr>
          <p:txBody>
            <a:bodyPr rtlCol="0" anchor="ctr"/>
            <a:lstStyle/>
            <a:p>
              <a:endParaRPr lang="zh-CN" altLang="en-US"/>
            </a:p>
          </p:txBody>
        </p:sp>
        <p:sp>
          <p:nvSpPr>
            <p:cNvPr id="719" name="ïšḷíḓè">
              <a:extLst>
                <a:ext uri="{FF2B5EF4-FFF2-40B4-BE49-F238E27FC236}">
                  <a16:creationId xmlns:a16="http://schemas.microsoft.com/office/drawing/2014/main" id="{AE9A3FCB-D92D-4FE3-B558-873297612735}"/>
                </a:ext>
              </a:extLst>
            </p:cNvPr>
            <p:cNvSpPr/>
            <p:nvPr/>
          </p:nvSpPr>
          <p:spPr>
            <a:xfrm>
              <a:off x="6093582" y="5346267"/>
              <a:ext cx="109594" cy="53801"/>
            </a:xfrm>
            <a:custGeom>
              <a:avLst/>
              <a:gdLst>
                <a:gd name="connsiteX0" fmla="*/ -336 w 36004"/>
                <a:gd name="connsiteY0" fmla="*/ -163 h 17675"/>
                <a:gd name="connsiteX1" fmla="*/ -336 w 36004"/>
                <a:gd name="connsiteY1" fmla="*/ 7076 h 17675"/>
                <a:gd name="connsiteX2" fmla="*/ 1188 w 36004"/>
                <a:gd name="connsiteY2" fmla="*/ 9267 h 17675"/>
                <a:gd name="connsiteX3" fmla="*/ 13856 w 36004"/>
                <a:gd name="connsiteY3" fmla="*/ 16506 h 17675"/>
                <a:gd name="connsiteX4" fmla="*/ 21476 w 36004"/>
                <a:gd name="connsiteY4" fmla="*/ 16506 h 17675"/>
                <a:gd name="connsiteX5" fmla="*/ 34144 w 36004"/>
                <a:gd name="connsiteY5" fmla="*/ 9267 h 17675"/>
                <a:gd name="connsiteX6" fmla="*/ 35668 w 36004"/>
                <a:gd name="connsiteY6" fmla="*/ 7076 h 17675"/>
                <a:gd name="connsiteX7" fmla="*/ 35668 w 36004"/>
                <a:gd name="connsiteY7" fmla="*/ -163 h 17675"/>
                <a:gd name="connsiteX8" fmla="*/ 34144 w 36004"/>
                <a:gd name="connsiteY8" fmla="*/ 2123 h 17675"/>
                <a:gd name="connsiteX9" fmla="*/ 31763 w 36004"/>
                <a:gd name="connsiteY9" fmla="*/ 3457 h 17675"/>
                <a:gd name="connsiteX10" fmla="*/ 21476 w 36004"/>
                <a:gd name="connsiteY10" fmla="*/ 9362 h 17675"/>
                <a:gd name="connsiteX11" fmla="*/ 13856 w 36004"/>
                <a:gd name="connsiteY11" fmla="*/ 9362 h 17675"/>
                <a:gd name="connsiteX12" fmla="*/ 3569 w 36004"/>
                <a:gd name="connsiteY12" fmla="*/ 3457 h 17675"/>
                <a:gd name="connsiteX13" fmla="*/ 1188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79" y="8038"/>
                    <a:pt x="312" y="8877"/>
                    <a:pt x="1188" y="9267"/>
                  </a:cubicBezTo>
                  <a:lnTo>
                    <a:pt x="13856" y="16506"/>
                  </a:lnTo>
                  <a:cubicBezTo>
                    <a:pt x="16218" y="17849"/>
                    <a:pt x="19114" y="17849"/>
                    <a:pt x="21476" y="16506"/>
                  </a:cubicBezTo>
                  <a:lnTo>
                    <a:pt x="34144" y="9267"/>
                  </a:lnTo>
                  <a:cubicBezTo>
                    <a:pt x="35021" y="8877"/>
                    <a:pt x="35611" y="8038"/>
                    <a:pt x="35668" y="7076"/>
                  </a:cubicBezTo>
                  <a:lnTo>
                    <a:pt x="35668" y="-163"/>
                  </a:lnTo>
                  <a:cubicBezTo>
                    <a:pt x="35602" y="818"/>
                    <a:pt x="35021" y="1685"/>
                    <a:pt x="34144" y="2123"/>
                  </a:cubicBezTo>
                  <a:lnTo>
                    <a:pt x="31763" y="3457"/>
                  </a:lnTo>
                  <a:lnTo>
                    <a:pt x="21476" y="9362"/>
                  </a:lnTo>
                  <a:cubicBezTo>
                    <a:pt x="19114" y="10705"/>
                    <a:pt x="16218" y="10705"/>
                    <a:pt x="13856" y="9362"/>
                  </a:cubicBezTo>
                  <a:lnTo>
                    <a:pt x="3569" y="3457"/>
                  </a:lnTo>
                  <a:lnTo>
                    <a:pt x="1188" y="2123"/>
                  </a:lnTo>
                  <a:cubicBezTo>
                    <a:pt x="312"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20" name="ïṣľïďe">
              <a:extLst>
                <a:ext uri="{FF2B5EF4-FFF2-40B4-BE49-F238E27FC236}">
                  <a16:creationId xmlns:a16="http://schemas.microsoft.com/office/drawing/2014/main" id="{2327C3B3-EC49-4358-AEF6-30541FC1F3CB}"/>
                </a:ext>
              </a:extLst>
            </p:cNvPr>
            <p:cNvSpPr/>
            <p:nvPr/>
          </p:nvSpPr>
          <p:spPr>
            <a:xfrm>
              <a:off x="6170124" y="5359384"/>
              <a:ext cx="140036" cy="80688"/>
            </a:xfrm>
            <a:custGeom>
              <a:avLst/>
              <a:gdLst>
                <a:gd name="connsiteX0" fmla="*/ -336 w 46005"/>
                <a:gd name="connsiteY0" fmla="*/ 10196 h 26508"/>
                <a:gd name="connsiteX1" fmla="*/ 1283 w 46005"/>
                <a:gd name="connsiteY1" fmla="*/ 12482 h 26508"/>
                <a:gd name="connsiteX2" fmla="*/ 3569 w 46005"/>
                <a:gd name="connsiteY2" fmla="*/ 13815 h 26508"/>
                <a:gd name="connsiteX3" fmla="*/ 23762 w 46005"/>
                <a:gd name="connsiteY3" fmla="*/ 25531 h 26508"/>
                <a:gd name="connsiteX4" fmla="*/ 31477 w 46005"/>
                <a:gd name="connsiteY4" fmla="*/ 25531 h 26508"/>
                <a:gd name="connsiteX5" fmla="*/ 41764 w 46005"/>
                <a:gd name="connsiteY5" fmla="*/ 19530 h 26508"/>
                <a:gd name="connsiteX6" fmla="*/ 44146 w 46005"/>
                <a:gd name="connsiteY6" fmla="*/ 18197 h 26508"/>
                <a:gd name="connsiteX7" fmla="*/ 45669 w 46005"/>
                <a:gd name="connsiteY7" fmla="*/ 16578 h 26508"/>
                <a:gd name="connsiteX8" fmla="*/ 45669 w 46005"/>
                <a:gd name="connsiteY8" fmla="*/ 15435 h 26508"/>
                <a:gd name="connsiteX9" fmla="*/ 44146 w 46005"/>
                <a:gd name="connsiteY9" fmla="*/ 13720 h 26508"/>
                <a:gd name="connsiteX10" fmla="*/ 21571 w 46005"/>
                <a:gd name="connsiteY10" fmla="*/ 766 h 26508"/>
                <a:gd name="connsiteX11" fmla="*/ 13856 w 46005"/>
                <a:gd name="connsiteY11" fmla="*/ 766 h 26508"/>
                <a:gd name="connsiteX12" fmla="*/ 1283 w 46005"/>
                <a:gd name="connsiteY12" fmla="*/ 8005 h 26508"/>
                <a:gd name="connsiteX13" fmla="*/ -336 w 46005"/>
                <a:gd name="connsiteY13" fmla="*/ 10196 h 26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005" h="26508">
                  <a:moveTo>
                    <a:pt x="-336" y="10196"/>
                  </a:moveTo>
                  <a:cubicBezTo>
                    <a:pt x="-270" y="11206"/>
                    <a:pt x="359" y="12091"/>
                    <a:pt x="1283" y="12482"/>
                  </a:cubicBezTo>
                  <a:lnTo>
                    <a:pt x="3569" y="13815"/>
                  </a:lnTo>
                  <a:lnTo>
                    <a:pt x="23762" y="25531"/>
                  </a:lnTo>
                  <a:cubicBezTo>
                    <a:pt x="26219" y="26617"/>
                    <a:pt x="29020" y="26617"/>
                    <a:pt x="31477" y="25531"/>
                  </a:cubicBezTo>
                  <a:lnTo>
                    <a:pt x="41764" y="19530"/>
                  </a:lnTo>
                  <a:lnTo>
                    <a:pt x="44146" y="18197"/>
                  </a:lnTo>
                  <a:cubicBezTo>
                    <a:pt x="44860" y="17892"/>
                    <a:pt x="45412" y="17311"/>
                    <a:pt x="45669" y="16578"/>
                  </a:cubicBezTo>
                  <a:lnTo>
                    <a:pt x="45669" y="15435"/>
                  </a:lnTo>
                  <a:cubicBezTo>
                    <a:pt x="45384" y="14692"/>
                    <a:pt x="44841" y="14082"/>
                    <a:pt x="44146" y="13720"/>
                  </a:cubicBezTo>
                  <a:lnTo>
                    <a:pt x="21571" y="766"/>
                  </a:lnTo>
                  <a:cubicBezTo>
                    <a:pt x="19152" y="-472"/>
                    <a:pt x="16275" y="-472"/>
                    <a:pt x="13856" y="766"/>
                  </a:cubicBezTo>
                  <a:lnTo>
                    <a:pt x="1283" y="8005"/>
                  </a:lnTo>
                  <a:cubicBezTo>
                    <a:pt x="387" y="8386"/>
                    <a:pt x="-241" y="9224"/>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721" name="iṧ1íḑé">
              <a:extLst>
                <a:ext uri="{FF2B5EF4-FFF2-40B4-BE49-F238E27FC236}">
                  <a16:creationId xmlns:a16="http://schemas.microsoft.com/office/drawing/2014/main" id="{2B4EA32B-C625-4A74-9EB3-91D7A807A7E0}"/>
                </a:ext>
              </a:extLst>
            </p:cNvPr>
            <p:cNvSpPr/>
            <p:nvPr/>
          </p:nvSpPr>
          <p:spPr>
            <a:xfrm>
              <a:off x="6172836" y="5359892"/>
              <a:ext cx="136018" cy="78570"/>
            </a:xfrm>
            <a:custGeom>
              <a:avLst/>
              <a:gdLst>
                <a:gd name="connsiteX0" fmla="*/ 23252 w 44685"/>
                <a:gd name="connsiteY0" fmla="*/ 24793 h 25812"/>
                <a:gd name="connsiteX1" fmla="*/ 1154 w 44685"/>
                <a:gd name="connsiteY1" fmla="*/ 12029 h 25812"/>
                <a:gd name="connsiteX2" fmla="*/ -189 w 44685"/>
                <a:gd name="connsiteY2" fmla="*/ 9096 h 25812"/>
                <a:gd name="connsiteX3" fmla="*/ 1154 w 44685"/>
                <a:gd name="connsiteY3" fmla="*/ 7743 h 25812"/>
                <a:gd name="connsiteX4" fmla="*/ 13250 w 44685"/>
                <a:gd name="connsiteY4" fmla="*/ 695 h 25812"/>
                <a:gd name="connsiteX5" fmla="*/ 20680 w 44685"/>
                <a:gd name="connsiteY5" fmla="*/ 695 h 25812"/>
                <a:gd name="connsiteX6" fmla="*/ 42778 w 44685"/>
                <a:gd name="connsiteY6" fmla="*/ 13458 h 25812"/>
                <a:gd name="connsiteX7" fmla="*/ 42778 w 44685"/>
                <a:gd name="connsiteY7" fmla="*/ 17744 h 25812"/>
                <a:gd name="connsiteX8" fmla="*/ 30681 w 44685"/>
                <a:gd name="connsiteY8" fmla="*/ 24793 h 25812"/>
                <a:gd name="connsiteX9" fmla="*/ 23252 w 44685"/>
                <a:gd name="connsiteY9" fmla="*/ 24793 h 25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4685" h="25812">
                  <a:moveTo>
                    <a:pt x="23252" y="24793"/>
                  </a:moveTo>
                  <a:lnTo>
                    <a:pt x="1154" y="12029"/>
                  </a:lnTo>
                  <a:cubicBezTo>
                    <a:pt x="-27" y="11591"/>
                    <a:pt x="-637" y="10277"/>
                    <a:pt x="-189" y="9096"/>
                  </a:cubicBezTo>
                  <a:cubicBezTo>
                    <a:pt x="39" y="8467"/>
                    <a:pt x="535" y="7972"/>
                    <a:pt x="1154" y="7743"/>
                  </a:cubicBezTo>
                  <a:lnTo>
                    <a:pt x="13250" y="695"/>
                  </a:lnTo>
                  <a:cubicBezTo>
                    <a:pt x="15594" y="-448"/>
                    <a:pt x="18337" y="-448"/>
                    <a:pt x="20680" y="695"/>
                  </a:cubicBezTo>
                  <a:lnTo>
                    <a:pt x="42778" y="13458"/>
                  </a:lnTo>
                  <a:cubicBezTo>
                    <a:pt x="44873" y="14696"/>
                    <a:pt x="44873" y="16601"/>
                    <a:pt x="42778" y="17744"/>
                  </a:cubicBezTo>
                  <a:lnTo>
                    <a:pt x="30681" y="24793"/>
                  </a:lnTo>
                  <a:cubicBezTo>
                    <a:pt x="28338" y="25936"/>
                    <a:pt x="25595" y="25936"/>
                    <a:pt x="23252" y="24793"/>
                  </a:cubicBezTo>
                  <a:close/>
                </a:path>
              </a:pathLst>
            </a:custGeom>
            <a:solidFill>
              <a:srgbClr val="D1D9E8"/>
            </a:solidFill>
            <a:ln w="9525" cap="flat">
              <a:noFill/>
              <a:prstDash val="solid"/>
              <a:miter/>
            </a:ln>
          </p:spPr>
          <p:txBody>
            <a:bodyPr rtlCol="0" anchor="ctr"/>
            <a:lstStyle/>
            <a:p>
              <a:endParaRPr lang="zh-CN" altLang="en-US"/>
            </a:p>
          </p:txBody>
        </p:sp>
        <p:sp>
          <p:nvSpPr>
            <p:cNvPr id="722" name="ïšľíḍe">
              <a:extLst>
                <a:ext uri="{FF2B5EF4-FFF2-40B4-BE49-F238E27FC236}">
                  <a16:creationId xmlns:a16="http://schemas.microsoft.com/office/drawing/2014/main" id="{3C6EFFCF-C920-4B79-9C79-BED7046010F3}"/>
                </a:ext>
              </a:extLst>
            </p:cNvPr>
            <p:cNvSpPr/>
            <p:nvPr/>
          </p:nvSpPr>
          <p:spPr>
            <a:xfrm>
              <a:off x="6170124" y="5390916"/>
              <a:ext cx="140036" cy="71249"/>
            </a:xfrm>
            <a:custGeom>
              <a:avLst/>
              <a:gdLst>
                <a:gd name="connsiteX0" fmla="*/ -336 w 46005"/>
                <a:gd name="connsiteY0" fmla="*/ -163 h 23407"/>
                <a:gd name="connsiteX1" fmla="*/ -336 w 46005"/>
                <a:gd name="connsiteY1" fmla="*/ 7076 h 23407"/>
                <a:gd name="connsiteX2" fmla="*/ 1283 w 46005"/>
                <a:gd name="connsiteY2" fmla="*/ 9267 h 23407"/>
                <a:gd name="connsiteX3" fmla="*/ 23762 w 46005"/>
                <a:gd name="connsiteY3" fmla="*/ 22316 h 23407"/>
                <a:gd name="connsiteX4" fmla="*/ 31477 w 46005"/>
                <a:gd name="connsiteY4" fmla="*/ 22316 h 23407"/>
                <a:gd name="connsiteX5" fmla="*/ 44146 w 46005"/>
                <a:gd name="connsiteY5" fmla="*/ 14982 h 23407"/>
                <a:gd name="connsiteX6" fmla="*/ 45669 w 46005"/>
                <a:gd name="connsiteY6" fmla="*/ 13363 h 23407"/>
                <a:gd name="connsiteX7" fmla="*/ 45669 w 46005"/>
                <a:gd name="connsiteY7" fmla="*/ 6219 h 23407"/>
                <a:gd name="connsiteX8" fmla="*/ 44146 w 46005"/>
                <a:gd name="connsiteY8" fmla="*/ 7838 h 23407"/>
                <a:gd name="connsiteX9" fmla="*/ 41764 w 46005"/>
                <a:gd name="connsiteY9" fmla="*/ 9172 h 23407"/>
                <a:gd name="connsiteX10" fmla="*/ 31477 w 46005"/>
                <a:gd name="connsiteY10" fmla="*/ 15172 h 23407"/>
                <a:gd name="connsiteX11" fmla="*/ 23762 w 46005"/>
                <a:gd name="connsiteY11" fmla="*/ 15172 h 23407"/>
                <a:gd name="connsiteX12" fmla="*/ 3569 w 46005"/>
                <a:gd name="connsiteY12" fmla="*/ 3457 h 23407"/>
                <a:gd name="connsiteX13" fmla="*/ 1283 w 46005"/>
                <a:gd name="connsiteY13" fmla="*/ 2123 h 23407"/>
                <a:gd name="connsiteX14" fmla="*/ -336 w 46005"/>
                <a:gd name="connsiteY14" fmla="*/ -163 h 234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6005" h="23407">
                  <a:moveTo>
                    <a:pt x="-336" y="-163"/>
                  </a:moveTo>
                  <a:lnTo>
                    <a:pt x="-336" y="7076"/>
                  </a:lnTo>
                  <a:cubicBezTo>
                    <a:pt x="-260" y="8057"/>
                    <a:pt x="369" y="8905"/>
                    <a:pt x="1283" y="9267"/>
                  </a:cubicBezTo>
                  <a:lnTo>
                    <a:pt x="23762" y="22316"/>
                  </a:lnTo>
                  <a:cubicBezTo>
                    <a:pt x="26181" y="23555"/>
                    <a:pt x="29058" y="23555"/>
                    <a:pt x="31477" y="22316"/>
                  </a:cubicBezTo>
                  <a:lnTo>
                    <a:pt x="44146" y="14982"/>
                  </a:lnTo>
                  <a:cubicBezTo>
                    <a:pt x="44822" y="14629"/>
                    <a:pt x="45355" y="14058"/>
                    <a:pt x="45669" y="13363"/>
                  </a:cubicBezTo>
                  <a:lnTo>
                    <a:pt x="45669" y="6219"/>
                  </a:lnTo>
                  <a:cubicBezTo>
                    <a:pt x="45412" y="6952"/>
                    <a:pt x="44860" y="7533"/>
                    <a:pt x="44146" y="7838"/>
                  </a:cubicBezTo>
                  <a:lnTo>
                    <a:pt x="41764" y="9172"/>
                  </a:lnTo>
                  <a:lnTo>
                    <a:pt x="31477" y="15172"/>
                  </a:lnTo>
                  <a:cubicBezTo>
                    <a:pt x="29020" y="16258"/>
                    <a:pt x="26219" y="16258"/>
                    <a:pt x="23762" y="15172"/>
                  </a:cubicBezTo>
                  <a:lnTo>
                    <a:pt x="3569" y="3457"/>
                  </a:lnTo>
                  <a:lnTo>
                    <a:pt x="1283" y="2123"/>
                  </a:lnTo>
                  <a:cubicBezTo>
                    <a:pt x="359" y="1733"/>
                    <a:pt x="-270" y="847"/>
                    <a:pt x="-336" y="-163"/>
                  </a:cubicBezTo>
                  <a:close/>
                </a:path>
              </a:pathLst>
            </a:custGeom>
            <a:solidFill>
              <a:srgbClr val="BF4200"/>
            </a:solidFill>
            <a:ln w="9525" cap="flat">
              <a:noFill/>
              <a:prstDash val="solid"/>
              <a:miter/>
            </a:ln>
          </p:spPr>
          <p:txBody>
            <a:bodyPr rtlCol="0" anchor="ctr"/>
            <a:lstStyle/>
            <a:p>
              <a:endParaRPr lang="zh-CN" altLang="en-US"/>
            </a:p>
          </p:txBody>
        </p:sp>
        <p:sp>
          <p:nvSpPr>
            <p:cNvPr id="723" name="îṩļïďè">
              <a:extLst>
                <a:ext uri="{FF2B5EF4-FFF2-40B4-BE49-F238E27FC236}">
                  <a16:creationId xmlns:a16="http://schemas.microsoft.com/office/drawing/2014/main" id="{BFD1DF04-B970-4585-B02D-9EE43FC8FBFC}"/>
                </a:ext>
              </a:extLst>
            </p:cNvPr>
            <p:cNvSpPr/>
            <p:nvPr/>
          </p:nvSpPr>
          <p:spPr>
            <a:xfrm>
              <a:off x="4999080" y="4774588"/>
              <a:ext cx="140036" cy="81035"/>
            </a:xfrm>
            <a:custGeom>
              <a:avLst/>
              <a:gdLst>
                <a:gd name="connsiteX0" fmla="*/ -336 w 46005"/>
                <a:gd name="connsiteY0" fmla="*/ 10291 h 26622"/>
                <a:gd name="connsiteX1" fmla="*/ 1283 w 46005"/>
                <a:gd name="connsiteY1" fmla="*/ 12577 h 26622"/>
                <a:gd name="connsiteX2" fmla="*/ 3569 w 46005"/>
                <a:gd name="connsiteY2" fmla="*/ 13911 h 26622"/>
                <a:gd name="connsiteX3" fmla="*/ 23762 w 46005"/>
                <a:gd name="connsiteY3" fmla="*/ 25531 h 26622"/>
                <a:gd name="connsiteX4" fmla="*/ 31572 w 46005"/>
                <a:gd name="connsiteY4" fmla="*/ 25531 h 26622"/>
                <a:gd name="connsiteX5" fmla="*/ 41764 w 46005"/>
                <a:gd name="connsiteY5" fmla="*/ 19625 h 26622"/>
                <a:gd name="connsiteX6" fmla="*/ 44146 w 46005"/>
                <a:gd name="connsiteY6" fmla="*/ 18292 h 26622"/>
                <a:gd name="connsiteX7" fmla="*/ 45670 w 46005"/>
                <a:gd name="connsiteY7" fmla="*/ 16578 h 26622"/>
                <a:gd name="connsiteX8" fmla="*/ 45670 w 46005"/>
                <a:gd name="connsiteY8" fmla="*/ 15530 h 26622"/>
                <a:gd name="connsiteX9" fmla="*/ 44146 w 46005"/>
                <a:gd name="connsiteY9" fmla="*/ 13815 h 26622"/>
                <a:gd name="connsiteX10" fmla="*/ 21571 w 46005"/>
                <a:gd name="connsiteY10" fmla="*/ 766 h 26622"/>
                <a:gd name="connsiteX11" fmla="*/ 13856 w 46005"/>
                <a:gd name="connsiteY11" fmla="*/ 766 h 26622"/>
                <a:gd name="connsiteX12" fmla="*/ 1283 w 46005"/>
                <a:gd name="connsiteY12" fmla="*/ 8100 h 26622"/>
                <a:gd name="connsiteX13" fmla="*/ -336 w 46005"/>
                <a:gd name="connsiteY13" fmla="*/ 10291 h 26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005" h="26622">
                  <a:moveTo>
                    <a:pt x="-336" y="10291"/>
                  </a:moveTo>
                  <a:cubicBezTo>
                    <a:pt x="-231" y="11282"/>
                    <a:pt x="378" y="12148"/>
                    <a:pt x="1283" y="12577"/>
                  </a:cubicBezTo>
                  <a:lnTo>
                    <a:pt x="3569" y="13911"/>
                  </a:lnTo>
                  <a:lnTo>
                    <a:pt x="23762" y="25531"/>
                  </a:lnTo>
                  <a:cubicBezTo>
                    <a:pt x="26220" y="26769"/>
                    <a:pt x="29115" y="26769"/>
                    <a:pt x="31572" y="25531"/>
                  </a:cubicBezTo>
                  <a:lnTo>
                    <a:pt x="41764" y="19625"/>
                  </a:lnTo>
                  <a:lnTo>
                    <a:pt x="44146" y="18292"/>
                  </a:lnTo>
                  <a:cubicBezTo>
                    <a:pt x="44850" y="17930"/>
                    <a:pt x="45384" y="17321"/>
                    <a:pt x="45670" y="16578"/>
                  </a:cubicBezTo>
                  <a:lnTo>
                    <a:pt x="45670" y="15530"/>
                  </a:lnTo>
                  <a:cubicBezTo>
                    <a:pt x="45384" y="14787"/>
                    <a:pt x="44850" y="14177"/>
                    <a:pt x="44146" y="13815"/>
                  </a:cubicBezTo>
                  <a:lnTo>
                    <a:pt x="21571" y="766"/>
                  </a:lnTo>
                  <a:cubicBezTo>
                    <a:pt x="19152" y="-472"/>
                    <a:pt x="16275" y="-472"/>
                    <a:pt x="13856" y="766"/>
                  </a:cubicBezTo>
                  <a:lnTo>
                    <a:pt x="1283" y="8100"/>
                  </a:lnTo>
                  <a:cubicBezTo>
                    <a:pt x="397" y="8491"/>
                    <a:pt x="-222"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724" name="í$líḓè">
              <a:extLst>
                <a:ext uri="{FF2B5EF4-FFF2-40B4-BE49-F238E27FC236}">
                  <a16:creationId xmlns:a16="http://schemas.microsoft.com/office/drawing/2014/main" id="{42BB5702-613B-4259-BD74-D0CA2FFDF602}"/>
                </a:ext>
              </a:extLst>
            </p:cNvPr>
            <p:cNvSpPr/>
            <p:nvPr/>
          </p:nvSpPr>
          <p:spPr>
            <a:xfrm>
              <a:off x="5001183" y="4775747"/>
              <a:ext cx="136121" cy="78716"/>
            </a:xfrm>
            <a:custGeom>
              <a:avLst/>
              <a:gdLst>
                <a:gd name="connsiteX0" fmla="*/ 23262 w 44719"/>
                <a:gd name="connsiteY0" fmla="*/ 24769 h 25860"/>
                <a:gd name="connsiteX1" fmla="*/ 1164 w 44719"/>
                <a:gd name="connsiteY1" fmla="*/ 12006 h 25860"/>
                <a:gd name="connsiteX2" fmla="*/ 1164 w 44719"/>
                <a:gd name="connsiteY2" fmla="*/ 7719 h 25860"/>
                <a:gd name="connsiteX3" fmla="*/ 13356 w 44719"/>
                <a:gd name="connsiteY3" fmla="*/ 766 h 25860"/>
                <a:gd name="connsiteX4" fmla="*/ 20785 w 44719"/>
                <a:gd name="connsiteY4" fmla="*/ 766 h 25860"/>
                <a:gd name="connsiteX5" fmla="*/ 42883 w 44719"/>
                <a:gd name="connsiteY5" fmla="*/ 13530 h 25860"/>
                <a:gd name="connsiteX6" fmla="*/ 42883 w 44719"/>
                <a:gd name="connsiteY6" fmla="*/ 17816 h 25860"/>
                <a:gd name="connsiteX7" fmla="*/ 30691 w 44719"/>
                <a:gd name="connsiteY7" fmla="*/ 24769 h 25860"/>
                <a:gd name="connsiteX8" fmla="*/ 23262 w 44719"/>
                <a:gd name="connsiteY8" fmla="*/ 24769 h 25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719" h="25860">
                  <a:moveTo>
                    <a:pt x="23262" y="24769"/>
                  </a:moveTo>
                  <a:lnTo>
                    <a:pt x="1164" y="12006"/>
                  </a:lnTo>
                  <a:cubicBezTo>
                    <a:pt x="-836" y="10863"/>
                    <a:pt x="-836" y="8958"/>
                    <a:pt x="1164" y="7719"/>
                  </a:cubicBezTo>
                  <a:lnTo>
                    <a:pt x="13356" y="766"/>
                  </a:lnTo>
                  <a:cubicBezTo>
                    <a:pt x="15680" y="-472"/>
                    <a:pt x="18461" y="-472"/>
                    <a:pt x="20785" y="766"/>
                  </a:cubicBezTo>
                  <a:lnTo>
                    <a:pt x="42883" y="13530"/>
                  </a:lnTo>
                  <a:cubicBezTo>
                    <a:pt x="44884" y="14673"/>
                    <a:pt x="44884" y="16577"/>
                    <a:pt x="42883" y="17816"/>
                  </a:cubicBezTo>
                  <a:lnTo>
                    <a:pt x="30691" y="24769"/>
                  </a:lnTo>
                  <a:cubicBezTo>
                    <a:pt x="28367" y="26007"/>
                    <a:pt x="25586" y="26007"/>
                    <a:pt x="23262" y="24769"/>
                  </a:cubicBezTo>
                  <a:close/>
                </a:path>
              </a:pathLst>
            </a:custGeom>
            <a:solidFill>
              <a:srgbClr val="D1D9E8"/>
            </a:solidFill>
            <a:ln w="9525" cap="flat">
              <a:noFill/>
              <a:prstDash val="solid"/>
              <a:miter/>
            </a:ln>
          </p:spPr>
          <p:txBody>
            <a:bodyPr rtlCol="0" anchor="ctr"/>
            <a:lstStyle/>
            <a:p>
              <a:endParaRPr lang="zh-CN" altLang="en-US"/>
            </a:p>
          </p:txBody>
        </p:sp>
        <p:sp>
          <p:nvSpPr>
            <p:cNvPr id="725" name="íṥḷïḑè">
              <a:extLst>
                <a:ext uri="{FF2B5EF4-FFF2-40B4-BE49-F238E27FC236}">
                  <a16:creationId xmlns:a16="http://schemas.microsoft.com/office/drawing/2014/main" id="{F932B142-4D32-465F-8D6B-35AEC0A91430}"/>
                </a:ext>
              </a:extLst>
            </p:cNvPr>
            <p:cNvSpPr/>
            <p:nvPr/>
          </p:nvSpPr>
          <p:spPr>
            <a:xfrm>
              <a:off x="4999080" y="4806409"/>
              <a:ext cx="140036" cy="69806"/>
            </a:xfrm>
            <a:custGeom>
              <a:avLst/>
              <a:gdLst>
                <a:gd name="connsiteX0" fmla="*/ -336 w 46005"/>
                <a:gd name="connsiteY0" fmla="*/ -163 h 22933"/>
                <a:gd name="connsiteX1" fmla="*/ -336 w 46005"/>
                <a:gd name="connsiteY1" fmla="*/ 6600 h 22933"/>
                <a:gd name="connsiteX2" fmla="*/ 1283 w 46005"/>
                <a:gd name="connsiteY2" fmla="*/ 8886 h 22933"/>
                <a:gd name="connsiteX3" fmla="*/ 23762 w 46005"/>
                <a:gd name="connsiteY3" fmla="*/ 21935 h 22933"/>
                <a:gd name="connsiteX4" fmla="*/ 31572 w 46005"/>
                <a:gd name="connsiteY4" fmla="*/ 21935 h 22933"/>
                <a:gd name="connsiteX5" fmla="*/ 44146 w 46005"/>
                <a:gd name="connsiteY5" fmla="*/ 14601 h 22933"/>
                <a:gd name="connsiteX6" fmla="*/ 45670 w 46005"/>
                <a:gd name="connsiteY6" fmla="*/ 12982 h 22933"/>
                <a:gd name="connsiteX7" fmla="*/ 45670 w 46005"/>
                <a:gd name="connsiteY7" fmla="*/ 6600 h 22933"/>
                <a:gd name="connsiteX8" fmla="*/ 44146 w 46005"/>
                <a:gd name="connsiteY8" fmla="*/ 8314 h 22933"/>
                <a:gd name="connsiteX9" fmla="*/ 41764 w 46005"/>
                <a:gd name="connsiteY9" fmla="*/ 9648 h 22933"/>
                <a:gd name="connsiteX10" fmla="*/ 31572 w 46005"/>
                <a:gd name="connsiteY10" fmla="*/ 15554 h 22933"/>
                <a:gd name="connsiteX11" fmla="*/ 23762 w 46005"/>
                <a:gd name="connsiteY11" fmla="*/ 15554 h 22933"/>
                <a:gd name="connsiteX12" fmla="*/ 3379 w 46005"/>
                <a:gd name="connsiteY12" fmla="*/ 3457 h 22933"/>
                <a:gd name="connsiteX13" fmla="*/ 1093 w 46005"/>
                <a:gd name="connsiteY13" fmla="*/ 2123 h 22933"/>
                <a:gd name="connsiteX14" fmla="*/ -336 w 46005"/>
                <a:gd name="connsiteY14" fmla="*/ -163 h 229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6005" h="22933">
                  <a:moveTo>
                    <a:pt x="-336" y="-163"/>
                  </a:moveTo>
                  <a:lnTo>
                    <a:pt x="-336" y="6600"/>
                  </a:lnTo>
                  <a:cubicBezTo>
                    <a:pt x="-213" y="7581"/>
                    <a:pt x="397" y="8448"/>
                    <a:pt x="1283" y="8886"/>
                  </a:cubicBezTo>
                  <a:lnTo>
                    <a:pt x="23762" y="21935"/>
                  </a:lnTo>
                  <a:cubicBezTo>
                    <a:pt x="26248" y="23050"/>
                    <a:pt x="29087" y="23050"/>
                    <a:pt x="31572" y="21935"/>
                  </a:cubicBezTo>
                  <a:lnTo>
                    <a:pt x="44146" y="14601"/>
                  </a:lnTo>
                  <a:cubicBezTo>
                    <a:pt x="44822" y="14249"/>
                    <a:pt x="45355" y="13677"/>
                    <a:pt x="45670" y="12982"/>
                  </a:cubicBezTo>
                  <a:lnTo>
                    <a:pt x="45670" y="6600"/>
                  </a:lnTo>
                  <a:cubicBezTo>
                    <a:pt x="45384" y="7343"/>
                    <a:pt x="44850" y="7953"/>
                    <a:pt x="44146" y="8314"/>
                  </a:cubicBezTo>
                  <a:lnTo>
                    <a:pt x="41764" y="9648"/>
                  </a:lnTo>
                  <a:lnTo>
                    <a:pt x="31572" y="15554"/>
                  </a:lnTo>
                  <a:cubicBezTo>
                    <a:pt x="29115" y="16792"/>
                    <a:pt x="26220" y="16792"/>
                    <a:pt x="23762" y="15554"/>
                  </a:cubicBezTo>
                  <a:lnTo>
                    <a:pt x="3379" y="3457"/>
                  </a:lnTo>
                  <a:lnTo>
                    <a:pt x="1093" y="2123"/>
                  </a:lnTo>
                  <a:cubicBezTo>
                    <a:pt x="264" y="1647"/>
                    <a:pt x="-269" y="790"/>
                    <a:pt x="-336" y="-163"/>
                  </a:cubicBezTo>
                  <a:close/>
                </a:path>
              </a:pathLst>
            </a:custGeom>
            <a:solidFill>
              <a:srgbClr val="BF4200"/>
            </a:solidFill>
            <a:ln w="9525" cap="flat">
              <a:noFill/>
              <a:prstDash val="solid"/>
              <a:miter/>
            </a:ln>
          </p:spPr>
          <p:txBody>
            <a:bodyPr rtlCol="0" anchor="ctr"/>
            <a:lstStyle/>
            <a:p>
              <a:endParaRPr lang="zh-CN" altLang="en-US"/>
            </a:p>
          </p:txBody>
        </p:sp>
        <p:sp>
          <p:nvSpPr>
            <p:cNvPr id="726" name="îšļîde">
              <a:extLst>
                <a:ext uri="{FF2B5EF4-FFF2-40B4-BE49-F238E27FC236}">
                  <a16:creationId xmlns:a16="http://schemas.microsoft.com/office/drawing/2014/main" id="{E682B62B-E71D-4ED0-85D1-5DB3ECBA7565}"/>
                </a:ext>
              </a:extLst>
            </p:cNvPr>
            <p:cNvSpPr/>
            <p:nvPr/>
          </p:nvSpPr>
          <p:spPr>
            <a:xfrm>
              <a:off x="5107806" y="4836635"/>
              <a:ext cx="109594" cy="63639"/>
            </a:xfrm>
            <a:custGeom>
              <a:avLst/>
              <a:gdLst>
                <a:gd name="connsiteX0" fmla="*/ -336 w 36004"/>
                <a:gd name="connsiteY0" fmla="*/ 10291 h 20907"/>
                <a:gd name="connsiteX1" fmla="*/ 1188 w 36004"/>
                <a:gd name="connsiteY1" fmla="*/ 12577 h 20907"/>
                <a:gd name="connsiteX2" fmla="*/ 3569 w 36004"/>
                <a:gd name="connsiteY2" fmla="*/ 13911 h 20907"/>
                <a:gd name="connsiteX3" fmla="*/ 13856 w 36004"/>
                <a:gd name="connsiteY3" fmla="*/ 19816 h 20907"/>
                <a:gd name="connsiteX4" fmla="*/ 21476 w 36004"/>
                <a:gd name="connsiteY4" fmla="*/ 19816 h 20907"/>
                <a:gd name="connsiteX5" fmla="*/ 31763 w 36004"/>
                <a:gd name="connsiteY5" fmla="*/ 13911 h 20907"/>
                <a:gd name="connsiteX6" fmla="*/ 34144 w 36004"/>
                <a:gd name="connsiteY6" fmla="*/ 12577 h 20907"/>
                <a:gd name="connsiteX7" fmla="*/ 35668 w 36004"/>
                <a:gd name="connsiteY7" fmla="*/ 10291 h 20907"/>
                <a:gd name="connsiteX8" fmla="*/ 34144 w 36004"/>
                <a:gd name="connsiteY8" fmla="*/ 8101 h 20907"/>
                <a:gd name="connsiteX9" fmla="*/ 21476 w 36004"/>
                <a:gd name="connsiteY9" fmla="*/ 766 h 20907"/>
                <a:gd name="connsiteX10" fmla="*/ 13856 w 36004"/>
                <a:gd name="connsiteY10" fmla="*/ 766 h 20907"/>
                <a:gd name="connsiteX11" fmla="*/ 1188 w 36004"/>
                <a:gd name="connsiteY11" fmla="*/ 8101 h 20907"/>
                <a:gd name="connsiteX12" fmla="*/ -336 w 36004"/>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907">
                  <a:moveTo>
                    <a:pt x="-336" y="10291"/>
                  </a:moveTo>
                  <a:cubicBezTo>
                    <a:pt x="-269" y="11272"/>
                    <a:pt x="312" y="12139"/>
                    <a:pt x="1188" y="12577"/>
                  </a:cubicBezTo>
                  <a:lnTo>
                    <a:pt x="3569" y="13911"/>
                  </a:lnTo>
                  <a:lnTo>
                    <a:pt x="13856" y="19816"/>
                  </a:lnTo>
                  <a:cubicBezTo>
                    <a:pt x="16247" y="21054"/>
                    <a:pt x="19085" y="21054"/>
                    <a:pt x="21476" y="19816"/>
                  </a:cubicBezTo>
                  <a:lnTo>
                    <a:pt x="31763" y="13911"/>
                  </a:lnTo>
                  <a:lnTo>
                    <a:pt x="34144" y="12577"/>
                  </a:lnTo>
                  <a:cubicBezTo>
                    <a:pt x="35021" y="12139"/>
                    <a:pt x="35602" y="11272"/>
                    <a:pt x="35668" y="10291"/>
                  </a:cubicBezTo>
                  <a:cubicBezTo>
                    <a:pt x="35611" y="9339"/>
                    <a:pt x="35021" y="8491"/>
                    <a:pt x="34144" y="8101"/>
                  </a:cubicBezTo>
                  <a:lnTo>
                    <a:pt x="21476" y="766"/>
                  </a:lnTo>
                  <a:cubicBezTo>
                    <a:pt x="19085" y="-472"/>
                    <a:pt x="16247" y="-472"/>
                    <a:pt x="13856" y="766"/>
                  </a:cubicBezTo>
                  <a:lnTo>
                    <a:pt x="1188" y="8101"/>
                  </a:lnTo>
                  <a:cubicBezTo>
                    <a:pt x="312" y="8491"/>
                    <a:pt x="-279"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727" name="iŝḻíḓé">
              <a:extLst>
                <a:ext uri="{FF2B5EF4-FFF2-40B4-BE49-F238E27FC236}">
                  <a16:creationId xmlns:a16="http://schemas.microsoft.com/office/drawing/2014/main" id="{00958AEB-AB5F-43DE-AA7E-849008BF07A8}"/>
                </a:ext>
              </a:extLst>
            </p:cNvPr>
            <p:cNvSpPr/>
            <p:nvPr/>
          </p:nvSpPr>
          <p:spPr>
            <a:xfrm>
              <a:off x="5109690" y="4837795"/>
              <a:ext cx="105898" cy="61104"/>
            </a:xfrm>
            <a:custGeom>
              <a:avLst/>
              <a:gdLst>
                <a:gd name="connsiteX0" fmla="*/ 1235 w 34790"/>
                <a:gd name="connsiteY0" fmla="*/ 12006 h 20074"/>
                <a:gd name="connsiteX1" fmla="*/ 13332 w 34790"/>
                <a:gd name="connsiteY1" fmla="*/ 19054 h 20074"/>
                <a:gd name="connsiteX2" fmla="*/ 20762 w 34790"/>
                <a:gd name="connsiteY2" fmla="*/ 19054 h 20074"/>
                <a:gd name="connsiteX3" fmla="*/ 32954 w 34790"/>
                <a:gd name="connsiteY3" fmla="*/ 12006 h 20074"/>
                <a:gd name="connsiteX4" fmla="*/ 32954 w 34790"/>
                <a:gd name="connsiteY4" fmla="*/ 7719 h 20074"/>
                <a:gd name="connsiteX5" fmla="*/ 20762 w 34790"/>
                <a:gd name="connsiteY5" fmla="*/ 766 h 20074"/>
                <a:gd name="connsiteX6" fmla="*/ 13332 w 34790"/>
                <a:gd name="connsiteY6" fmla="*/ 766 h 20074"/>
                <a:gd name="connsiteX7" fmla="*/ 1235 w 34790"/>
                <a:gd name="connsiteY7" fmla="*/ 7719 h 20074"/>
                <a:gd name="connsiteX8" fmla="*/ 1235 w 34790"/>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4">
                  <a:moveTo>
                    <a:pt x="1235" y="12006"/>
                  </a:moveTo>
                  <a:lnTo>
                    <a:pt x="13332" y="19054"/>
                  </a:lnTo>
                  <a:cubicBezTo>
                    <a:pt x="15675" y="20197"/>
                    <a:pt x="18419" y="20197"/>
                    <a:pt x="20762" y="19054"/>
                  </a:cubicBezTo>
                  <a:lnTo>
                    <a:pt x="32954" y="12006"/>
                  </a:lnTo>
                  <a:cubicBezTo>
                    <a:pt x="34954" y="10863"/>
                    <a:pt x="34954" y="8957"/>
                    <a:pt x="32954" y="7719"/>
                  </a:cubicBezTo>
                  <a:lnTo>
                    <a:pt x="20762" y="766"/>
                  </a:lnTo>
                  <a:cubicBezTo>
                    <a:pt x="18437" y="-472"/>
                    <a:pt x="15656" y="-472"/>
                    <a:pt x="13332" y="766"/>
                  </a:cubicBezTo>
                  <a:lnTo>
                    <a:pt x="1235" y="7719"/>
                  </a:lnTo>
                  <a:cubicBezTo>
                    <a:pt x="-860" y="8957"/>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728" name="îṡľíḓe">
              <a:extLst>
                <a:ext uri="{FF2B5EF4-FFF2-40B4-BE49-F238E27FC236}">
                  <a16:creationId xmlns:a16="http://schemas.microsoft.com/office/drawing/2014/main" id="{CE218FC2-88ED-4F75-A550-5B1D498B5BC5}"/>
                </a:ext>
              </a:extLst>
            </p:cNvPr>
            <p:cNvSpPr/>
            <p:nvPr/>
          </p:nvSpPr>
          <p:spPr>
            <a:xfrm>
              <a:off x="5107806" y="4868453"/>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4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4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3" y="7953"/>
                    <a:pt x="35668" y="6981"/>
                  </a:cubicBezTo>
                  <a:lnTo>
                    <a:pt x="35668" y="-163"/>
                  </a:lnTo>
                  <a:cubicBezTo>
                    <a:pt x="35602" y="818"/>
                    <a:pt x="35021" y="1685"/>
                    <a:pt x="34144" y="2124"/>
                  </a:cubicBezTo>
                  <a:lnTo>
                    <a:pt x="31763" y="3457"/>
                  </a:lnTo>
                  <a:lnTo>
                    <a:pt x="21476" y="9362"/>
                  </a:lnTo>
                  <a:cubicBezTo>
                    <a:pt x="19085" y="10601"/>
                    <a:pt x="16247" y="10601"/>
                    <a:pt x="13856" y="9362"/>
                  </a:cubicBezTo>
                  <a:lnTo>
                    <a:pt x="3569" y="3457"/>
                  </a:lnTo>
                  <a:lnTo>
                    <a:pt x="1188" y="2124"/>
                  </a:lnTo>
                  <a:cubicBezTo>
                    <a:pt x="312"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29" name="ïšḷiḍé">
              <a:extLst>
                <a:ext uri="{FF2B5EF4-FFF2-40B4-BE49-F238E27FC236}">
                  <a16:creationId xmlns:a16="http://schemas.microsoft.com/office/drawing/2014/main" id="{45ECB459-51E0-4AFE-85A9-1DFDD17DDBC3}"/>
                </a:ext>
              </a:extLst>
            </p:cNvPr>
            <p:cNvSpPr/>
            <p:nvPr/>
          </p:nvSpPr>
          <p:spPr>
            <a:xfrm>
              <a:off x="5184348" y="4882154"/>
              <a:ext cx="109594" cy="63639"/>
            </a:xfrm>
            <a:custGeom>
              <a:avLst/>
              <a:gdLst>
                <a:gd name="connsiteX0" fmla="*/ -336 w 36004"/>
                <a:gd name="connsiteY0" fmla="*/ 10291 h 20907"/>
                <a:gd name="connsiteX1" fmla="*/ 1188 w 36004"/>
                <a:gd name="connsiteY1" fmla="*/ 12577 h 20907"/>
                <a:gd name="connsiteX2" fmla="*/ 3569 w 36004"/>
                <a:gd name="connsiteY2" fmla="*/ 13911 h 20907"/>
                <a:gd name="connsiteX3" fmla="*/ 13856 w 36004"/>
                <a:gd name="connsiteY3" fmla="*/ 19816 h 20907"/>
                <a:gd name="connsiteX4" fmla="*/ 21476 w 36004"/>
                <a:gd name="connsiteY4" fmla="*/ 19816 h 20907"/>
                <a:gd name="connsiteX5" fmla="*/ 31763 w 36004"/>
                <a:gd name="connsiteY5" fmla="*/ 13911 h 20907"/>
                <a:gd name="connsiteX6" fmla="*/ 34049 w 36004"/>
                <a:gd name="connsiteY6" fmla="*/ 12577 h 20907"/>
                <a:gd name="connsiteX7" fmla="*/ 35668 w 36004"/>
                <a:gd name="connsiteY7" fmla="*/ 10291 h 20907"/>
                <a:gd name="connsiteX8" fmla="*/ 34049 w 36004"/>
                <a:gd name="connsiteY8" fmla="*/ 8100 h 20907"/>
                <a:gd name="connsiteX9" fmla="*/ 21476 w 36004"/>
                <a:gd name="connsiteY9" fmla="*/ 766 h 20907"/>
                <a:gd name="connsiteX10" fmla="*/ 13856 w 36004"/>
                <a:gd name="connsiteY10" fmla="*/ 766 h 20907"/>
                <a:gd name="connsiteX11" fmla="*/ 1188 w 36004"/>
                <a:gd name="connsiteY11" fmla="*/ 8100 h 20907"/>
                <a:gd name="connsiteX12" fmla="*/ -336 w 36004"/>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907">
                  <a:moveTo>
                    <a:pt x="-336" y="10291"/>
                  </a:moveTo>
                  <a:cubicBezTo>
                    <a:pt x="-270" y="11272"/>
                    <a:pt x="311" y="12139"/>
                    <a:pt x="1188" y="12577"/>
                  </a:cubicBezTo>
                  <a:lnTo>
                    <a:pt x="3569" y="13911"/>
                  </a:lnTo>
                  <a:lnTo>
                    <a:pt x="13856" y="19816"/>
                  </a:lnTo>
                  <a:cubicBezTo>
                    <a:pt x="16247" y="21054"/>
                    <a:pt x="19085" y="21054"/>
                    <a:pt x="21476" y="19816"/>
                  </a:cubicBezTo>
                  <a:lnTo>
                    <a:pt x="31763" y="13911"/>
                  </a:lnTo>
                  <a:lnTo>
                    <a:pt x="34049" y="12577"/>
                  </a:lnTo>
                  <a:cubicBezTo>
                    <a:pt x="34973" y="12187"/>
                    <a:pt x="35602" y="11301"/>
                    <a:pt x="35668" y="10291"/>
                  </a:cubicBezTo>
                  <a:cubicBezTo>
                    <a:pt x="35592" y="9310"/>
                    <a:pt x="34963" y="8462"/>
                    <a:pt x="34049" y="8100"/>
                  </a:cubicBezTo>
                  <a:lnTo>
                    <a:pt x="21476" y="766"/>
                  </a:lnTo>
                  <a:cubicBezTo>
                    <a:pt x="19085" y="-472"/>
                    <a:pt x="16247" y="-472"/>
                    <a:pt x="13856" y="766"/>
                  </a:cubicBezTo>
                  <a:lnTo>
                    <a:pt x="1188" y="8100"/>
                  </a:lnTo>
                  <a:cubicBezTo>
                    <a:pt x="311" y="8491"/>
                    <a:pt x="-279"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730" name="ïš1îde">
              <a:extLst>
                <a:ext uri="{FF2B5EF4-FFF2-40B4-BE49-F238E27FC236}">
                  <a16:creationId xmlns:a16="http://schemas.microsoft.com/office/drawing/2014/main" id="{7ACA539A-A8E4-4295-973C-02E72437392C}"/>
                </a:ext>
              </a:extLst>
            </p:cNvPr>
            <p:cNvSpPr/>
            <p:nvPr/>
          </p:nvSpPr>
          <p:spPr>
            <a:xfrm>
              <a:off x="5186163" y="4882443"/>
              <a:ext cx="106766" cy="61101"/>
            </a:xfrm>
            <a:custGeom>
              <a:avLst/>
              <a:gdLst>
                <a:gd name="connsiteX0" fmla="*/ 1450 w 35075"/>
                <a:gd name="connsiteY0" fmla="*/ 12006 h 20073"/>
                <a:gd name="connsiteX1" fmla="*/ 13642 w 35075"/>
                <a:gd name="connsiteY1" fmla="*/ 19054 h 20073"/>
                <a:gd name="connsiteX2" fmla="*/ 21071 w 35075"/>
                <a:gd name="connsiteY2" fmla="*/ 19054 h 20073"/>
                <a:gd name="connsiteX3" fmla="*/ 33168 w 35075"/>
                <a:gd name="connsiteY3" fmla="*/ 12006 h 20073"/>
                <a:gd name="connsiteX4" fmla="*/ 33168 w 35075"/>
                <a:gd name="connsiteY4" fmla="*/ 7719 h 20073"/>
                <a:gd name="connsiteX5" fmla="*/ 21071 w 35075"/>
                <a:gd name="connsiteY5" fmla="*/ 766 h 20073"/>
                <a:gd name="connsiteX6" fmla="*/ 13642 w 35075"/>
                <a:gd name="connsiteY6" fmla="*/ 766 h 20073"/>
                <a:gd name="connsiteX7" fmla="*/ 1450 w 35075"/>
                <a:gd name="connsiteY7" fmla="*/ 7719 h 20073"/>
                <a:gd name="connsiteX8" fmla="*/ 1450 w 35075"/>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075" h="20073">
                  <a:moveTo>
                    <a:pt x="1450" y="12006"/>
                  </a:moveTo>
                  <a:lnTo>
                    <a:pt x="13642" y="19054"/>
                  </a:lnTo>
                  <a:cubicBezTo>
                    <a:pt x="15985" y="20197"/>
                    <a:pt x="18728" y="20197"/>
                    <a:pt x="21071" y="19054"/>
                  </a:cubicBezTo>
                  <a:lnTo>
                    <a:pt x="33168" y="12006"/>
                  </a:lnTo>
                  <a:cubicBezTo>
                    <a:pt x="35263" y="10863"/>
                    <a:pt x="35263" y="8957"/>
                    <a:pt x="33168" y="7719"/>
                  </a:cubicBezTo>
                  <a:lnTo>
                    <a:pt x="21071" y="766"/>
                  </a:lnTo>
                  <a:cubicBezTo>
                    <a:pt x="18747" y="-472"/>
                    <a:pt x="15966" y="-472"/>
                    <a:pt x="13642" y="766"/>
                  </a:cubicBezTo>
                  <a:lnTo>
                    <a:pt x="1450" y="7719"/>
                  </a:lnTo>
                  <a:cubicBezTo>
                    <a:pt x="-932" y="8957"/>
                    <a:pt x="-932" y="10863"/>
                    <a:pt x="1450" y="12006"/>
                  </a:cubicBezTo>
                  <a:close/>
                </a:path>
              </a:pathLst>
            </a:custGeom>
            <a:solidFill>
              <a:srgbClr val="D1D9E8"/>
            </a:solidFill>
            <a:ln w="9525" cap="flat">
              <a:noFill/>
              <a:prstDash val="solid"/>
              <a:miter/>
            </a:ln>
          </p:spPr>
          <p:txBody>
            <a:bodyPr rtlCol="0" anchor="ctr"/>
            <a:lstStyle/>
            <a:p>
              <a:endParaRPr lang="zh-CN" altLang="en-US"/>
            </a:p>
          </p:txBody>
        </p:sp>
        <p:sp>
          <p:nvSpPr>
            <p:cNvPr id="731" name="ïSliḓé">
              <a:extLst>
                <a:ext uri="{FF2B5EF4-FFF2-40B4-BE49-F238E27FC236}">
                  <a16:creationId xmlns:a16="http://schemas.microsoft.com/office/drawing/2014/main" id="{37FF4F82-FF48-4170-866A-D5DCE5352208}"/>
                </a:ext>
              </a:extLst>
            </p:cNvPr>
            <p:cNvSpPr/>
            <p:nvPr/>
          </p:nvSpPr>
          <p:spPr>
            <a:xfrm>
              <a:off x="5184348" y="4913975"/>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049 w 36004"/>
                <a:gd name="connsiteY5" fmla="*/ 9267 h 17597"/>
                <a:gd name="connsiteX6" fmla="*/ 35668 w 36004"/>
                <a:gd name="connsiteY6" fmla="*/ 6981 h 17597"/>
                <a:gd name="connsiteX7" fmla="*/ 35668 w 36004"/>
                <a:gd name="connsiteY7" fmla="*/ -163 h 17597"/>
                <a:gd name="connsiteX8" fmla="*/ 34049 w 36004"/>
                <a:gd name="connsiteY8" fmla="*/ 2123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3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049" y="9267"/>
                  </a:lnTo>
                  <a:cubicBezTo>
                    <a:pt x="34963" y="8857"/>
                    <a:pt x="35582" y="7981"/>
                    <a:pt x="35668" y="6981"/>
                  </a:cubicBezTo>
                  <a:lnTo>
                    <a:pt x="35668" y="-163"/>
                  </a:lnTo>
                  <a:cubicBezTo>
                    <a:pt x="35602" y="847"/>
                    <a:pt x="34973" y="1733"/>
                    <a:pt x="34049" y="2123"/>
                  </a:cubicBezTo>
                  <a:lnTo>
                    <a:pt x="31763" y="3457"/>
                  </a:lnTo>
                  <a:lnTo>
                    <a:pt x="21476" y="9362"/>
                  </a:lnTo>
                  <a:cubicBezTo>
                    <a:pt x="19085" y="10601"/>
                    <a:pt x="16247" y="10601"/>
                    <a:pt x="13856" y="9362"/>
                  </a:cubicBezTo>
                  <a:lnTo>
                    <a:pt x="3569" y="3457"/>
                  </a:lnTo>
                  <a:lnTo>
                    <a:pt x="1188"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32" name="îşlíďe">
              <a:extLst>
                <a:ext uri="{FF2B5EF4-FFF2-40B4-BE49-F238E27FC236}">
                  <a16:creationId xmlns:a16="http://schemas.microsoft.com/office/drawing/2014/main" id="{3EB3ED79-19CA-45E7-942A-9D88B0E92A9C}"/>
                </a:ext>
              </a:extLst>
            </p:cNvPr>
            <p:cNvSpPr/>
            <p:nvPr/>
          </p:nvSpPr>
          <p:spPr>
            <a:xfrm>
              <a:off x="5262343" y="4925935"/>
              <a:ext cx="109362" cy="63588"/>
            </a:xfrm>
            <a:custGeom>
              <a:avLst/>
              <a:gdLst>
                <a:gd name="connsiteX0" fmla="*/ -336 w 35928"/>
                <a:gd name="connsiteY0" fmla="*/ 10291 h 20890"/>
                <a:gd name="connsiteX1" fmla="*/ 1188 w 35928"/>
                <a:gd name="connsiteY1" fmla="*/ 12482 h 20890"/>
                <a:gd name="connsiteX2" fmla="*/ 3569 w 35928"/>
                <a:gd name="connsiteY2" fmla="*/ 13911 h 20890"/>
                <a:gd name="connsiteX3" fmla="*/ 13856 w 35928"/>
                <a:gd name="connsiteY3" fmla="*/ 19721 h 20890"/>
                <a:gd name="connsiteX4" fmla="*/ 21476 w 35928"/>
                <a:gd name="connsiteY4" fmla="*/ 19721 h 20890"/>
                <a:gd name="connsiteX5" fmla="*/ 31763 w 35928"/>
                <a:gd name="connsiteY5" fmla="*/ 13911 h 20890"/>
                <a:gd name="connsiteX6" fmla="*/ 34144 w 35928"/>
                <a:gd name="connsiteY6" fmla="*/ 12482 h 20890"/>
                <a:gd name="connsiteX7" fmla="*/ 35401 w 35928"/>
                <a:gd name="connsiteY7" fmla="*/ 9357 h 20890"/>
                <a:gd name="connsiteX8" fmla="*/ 34144 w 35928"/>
                <a:gd name="connsiteY8" fmla="*/ 8100 h 20890"/>
                <a:gd name="connsiteX9" fmla="*/ 21476 w 35928"/>
                <a:gd name="connsiteY9" fmla="*/ 766 h 20890"/>
                <a:gd name="connsiteX10" fmla="*/ 13856 w 35928"/>
                <a:gd name="connsiteY10" fmla="*/ 766 h 20890"/>
                <a:gd name="connsiteX11" fmla="*/ 1188 w 35928"/>
                <a:gd name="connsiteY11" fmla="*/ 8100 h 20890"/>
                <a:gd name="connsiteX12" fmla="*/ -336 w 35928"/>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928" h="20890">
                  <a:moveTo>
                    <a:pt x="-336" y="10291"/>
                  </a:moveTo>
                  <a:cubicBezTo>
                    <a:pt x="-298" y="11253"/>
                    <a:pt x="292" y="12110"/>
                    <a:pt x="1188" y="12482"/>
                  </a:cubicBezTo>
                  <a:lnTo>
                    <a:pt x="3569" y="13911"/>
                  </a:lnTo>
                  <a:lnTo>
                    <a:pt x="13856" y="19721"/>
                  </a:lnTo>
                  <a:cubicBezTo>
                    <a:pt x="16218" y="21064"/>
                    <a:pt x="19114" y="21064"/>
                    <a:pt x="21476" y="19721"/>
                  </a:cubicBezTo>
                  <a:lnTo>
                    <a:pt x="31763" y="13911"/>
                  </a:lnTo>
                  <a:lnTo>
                    <a:pt x="34144" y="12482"/>
                  </a:lnTo>
                  <a:cubicBezTo>
                    <a:pt x="35354" y="11967"/>
                    <a:pt x="35916" y="10567"/>
                    <a:pt x="35401" y="9357"/>
                  </a:cubicBezTo>
                  <a:cubicBezTo>
                    <a:pt x="35163" y="8796"/>
                    <a:pt x="34706" y="8338"/>
                    <a:pt x="34144" y="8100"/>
                  </a:cubicBezTo>
                  <a:lnTo>
                    <a:pt x="21476" y="766"/>
                  </a:lnTo>
                  <a:cubicBezTo>
                    <a:pt x="19085" y="-472"/>
                    <a:pt x="16247" y="-472"/>
                    <a:pt x="13856" y="766"/>
                  </a:cubicBezTo>
                  <a:lnTo>
                    <a:pt x="1188" y="8100"/>
                  </a:lnTo>
                  <a:cubicBezTo>
                    <a:pt x="292" y="8472"/>
                    <a:pt x="-298"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733" name="ísľîḓè">
              <a:extLst>
                <a:ext uri="{FF2B5EF4-FFF2-40B4-BE49-F238E27FC236}">
                  <a16:creationId xmlns:a16="http://schemas.microsoft.com/office/drawing/2014/main" id="{3FB93348-B9D5-40E4-8F2D-BA40A8E211D0}"/>
                </a:ext>
              </a:extLst>
            </p:cNvPr>
            <p:cNvSpPr/>
            <p:nvPr/>
          </p:nvSpPr>
          <p:spPr>
            <a:xfrm>
              <a:off x="5264154" y="4927094"/>
              <a:ext cx="105895" cy="61101"/>
            </a:xfrm>
            <a:custGeom>
              <a:avLst/>
              <a:gdLst>
                <a:gd name="connsiteX0" fmla="*/ 1164 w 34789"/>
                <a:gd name="connsiteY0" fmla="*/ 12006 h 20073"/>
                <a:gd name="connsiteX1" fmla="*/ 13356 w 34789"/>
                <a:gd name="connsiteY1" fmla="*/ 19054 h 20073"/>
                <a:gd name="connsiteX2" fmla="*/ 20785 w 34789"/>
                <a:gd name="connsiteY2" fmla="*/ 19054 h 20073"/>
                <a:gd name="connsiteX3" fmla="*/ 32882 w 34789"/>
                <a:gd name="connsiteY3" fmla="*/ 12006 h 20073"/>
                <a:gd name="connsiteX4" fmla="*/ 32882 w 34789"/>
                <a:gd name="connsiteY4" fmla="*/ 7719 h 20073"/>
                <a:gd name="connsiteX5" fmla="*/ 20785 w 34789"/>
                <a:gd name="connsiteY5" fmla="*/ 766 h 20073"/>
                <a:gd name="connsiteX6" fmla="*/ 13356 w 34789"/>
                <a:gd name="connsiteY6" fmla="*/ 766 h 20073"/>
                <a:gd name="connsiteX7" fmla="*/ 1164 w 34789"/>
                <a:gd name="connsiteY7" fmla="*/ 7719 h 20073"/>
                <a:gd name="connsiteX8" fmla="*/ 1164 w 34789"/>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89" h="20073">
                  <a:moveTo>
                    <a:pt x="1164" y="12006"/>
                  </a:moveTo>
                  <a:lnTo>
                    <a:pt x="13356" y="19054"/>
                  </a:lnTo>
                  <a:cubicBezTo>
                    <a:pt x="15699" y="20197"/>
                    <a:pt x="18442" y="20197"/>
                    <a:pt x="20785" y="19054"/>
                  </a:cubicBezTo>
                  <a:lnTo>
                    <a:pt x="32882" y="12006"/>
                  </a:lnTo>
                  <a:cubicBezTo>
                    <a:pt x="34977" y="10862"/>
                    <a:pt x="34977" y="8958"/>
                    <a:pt x="32882" y="7719"/>
                  </a:cubicBezTo>
                  <a:lnTo>
                    <a:pt x="20785" y="766"/>
                  </a:lnTo>
                  <a:cubicBezTo>
                    <a:pt x="18461" y="-472"/>
                    <a:pt x="15680" y="-472"/>
                    <a:pt x="13356" y="766"/>
                  </a:cubicBezTo>
                  <a:lnTo>
                    <a:pt x="1164" y="7719"/>
                  </a:lnTo>
                  <a:cubicBezTo>
                    <a:pt x="-836" y="8958"/>
                    <a:pt x="-836" y="10862"/>
                    <a:pt x="1164" y="12006"/>
                  </a:cubicBezTo>
                  <a:close/>
                </a:path>
              </a:pathLst>
            </a:custGeom>
            <a:solidFill>
              <a:srgbClr val="D1D9E8"/>
            </a:solidFill>
            <a:ln w="9525" cap="flat">
              <a:noFill/>
              <a:prstDash val="solid"/>
              <a:miter/>
            </a:ln>
          </p:spPr>
          <p:txBody>
            <a:bodyPr rtlCol="0" anchor="ctr"/>
            <a:lstStyle/>
            <a:p>
              <a:endParaRPr lang="zh-CN" altLang="en-US"/>
            </a:p>
          </p:txBody>
        </p:sp>
        <p:sp>
          <p:nvSpPr>
            <p:cNvPr id="734" name="ïşḷíďé">
              <a:extLst>
                <a:ext uri="{FF2B5EF4-FFF2-40B4-BE49-F238E27FC236}">
                  <a16:creationId xmlns:a16="http://schemas.microsoft.com/office/drawing/2014/main" id="{551F6F8C-7868-40C9-A4E1-F87D00AD81F3}"/>
                </a:ext>
              </a:extLst>
            </p:cNvPr>
            <p:cNvSpPr/>
            <p:nvPr/>
          </p:nvSpPr>
          <p:spPr>
            <a:xfrm>
              <a:off x="5262343" y="4957756"/>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028 h 17597"/>
                <a:gd name="connsiteX9" fmla="*/ 31763 w 36004"/>
                <a:gd name="connsiteY9" fmla="*/ 3457 h 17597"/>
                <a:gd name="connsiteX10" fmla="*/ 21476 w 36004"/>
                <a:gd name="connsiteY10" fmla="*/ 9267 h 17597"/>
                <a:gd name="connsiteX11" fmla="*/ 13856 w 36004"/>
                <a:gd name="connsiteY11" fmla="*/ 9267 h 17597"/>
                <a:gd name="connsiteX12" fmla="*/ 3569 w 36004"/>
                <a:gd name="connsiteY12" fmla="*/ 3457 h 17597"/>
                <a:gd name="connsiteX13" fmla="*/ 1188 w 36004"/>
                <a:gd name="connsiteY13" fmla="*/ 2028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2" y="7953"/>
                    <a:pt x="35668" y="6981"/>
                  </a:cubicBezTo>
                  <a:lnTo>
                    <a:pt x="35668" y="-163"/>
                  </a:lnTo>
                  <a:cubicBezTo>
                    <a:pt x="35630" y="799"/>
                    <a:pt x="35039" y="1656"/>
                    <a:pt x="34144" y="2028"/>
                  </a:cubicBezTo>
                  <a:lnTo>
                    <a:pt x="31763" y="3457"/>
                  </a:lnTo>
                  <a:lnTo>
                    <a:pt x="21476" y="9267"/>
                  </a:lnTo>
                  <a:cubicBezTo>
                    <a:pt x="19114" y="10610"/>
                    <a:pt x="16218" y="10610"/>
                    <a:pt x="13856" y="9267"/>
                  </a:cubicBezTo>
                  <a:lnTo>
                    <a:pt x="3569" y="3457"/>
                  </a:lnTo>
                  <a:lnTo>
                    <a:pt x="1188" y="2028"/>
                  </a:lnTo>
                  <a:cubicBezTo>
                    <a:pt x="292" y="1656"/>
                    <a:pt x="-298" y="799"/>
                    <a:pt x="-336" y="-163"/>
                  </a:cubicBezTo>
                  <a:close/>
                </a:path>
              </a:pathLst>
            </a:custGeom>
            <a:solidFill>
              <a:srgbClr val="BF4200"/>
            </a:solidFill>
            <a:ln w="9525" cap="flat">
              <a:noFill/>
              <a:prstDash val="solid"/>
              <a:miter/>
            </a:ln>
          </p:spPr>
          <p:txBody>
            <a:bodyPr rtlCol="0" anchor="ctr"/>
            <a:lstStyle/>
            <a:p>
              <a:endParaRPr lang="zh-CN" altLang="en-US"/>
            </a:p>
          </p:txBody>
        </p:sp>
        <p:sp>
          <p:nvSpPr>
            <p:cNvPr id="735" name="îṩľïḑè">
              <a:extLst>
                <a:ext uri="{FF2B5EF4-FFF2-40B4-BE49-F238E27FC236}">
                  <a16:creationId xmlns:a16="http://schemas.microsoft.com/office/drawing/2014/main" id="{41680ECD-4712-48AA-9682-CDCF19CAA5C2}"/>
                </a:ext>
              </a:extLst>
            </p:cNvPr>
            <p:cNvSpPr/>
            <p:nvPr/>
          </p:nvSpPr>
          <p:spPr>
            <a:xfrm>
              <a:off x="5339464" y="4970583"/>
              <a:ext cx="109594" cy="63588"/>
            </a:xfrm>
            <a:custGeom>
              <a:avLst/>
              <a:gdLst>
                <a:gd name="connsiteX0" fmla="*/ -336 w 36004"/>
                <a:gd name="connsiteY0" fmla="*/ 10291 h 20890"/>
                <a:gd name="connsiteX1" fmla="*/ 1283 w 36004"/>
                <a:gd name="connsiteY1" fmla="*/ 12482 h 20890"/>
                <a:gd name="connsiteX2" fmla="*/ 3569 w 36004"/>
                <a:gd name="connsiteY2" fmla="*/ 13815 h 20890"/>
                <a:gd name="connsiteX3" fmla="*/ 13856 w 36004"/>
                <a:gd name="connsiteY3" fmla="*/ 19721 h 20890"/>
                <a:gd name="connsiteX4" fmla="*/ 21571 w 36004"/>
                <a:gd name="connsiteY4" fmla="*/ 19721 h 20890"/>
                <a:gd name="connsiteX5" fmla="*/ 31858 w 36004"/>
                <a:gd name="connsiteY5" fmla="*/ 13815 h 20890"/>
                <a:gd name="connsiteX6" fmla="*/ 34144 w 36004"/>
                <a:gd name="connsiteY6" fmla="*/ 12482 h 20890"/>
                <a:gd name="connsiteX7" fmla="*/ 35668 w 36004"/>
                <a:gd name="connsiteY7" fmla="*/ 10291 h 20890"/>
                <a:gd name="connsiteX8" fmla="*/ 34144 w 36004"/>
                <a:gd name="connsiteY8" fmla="*/ 8005 h 20890"/>
                <a:gd name="connsiteX9" fmla="*/ 21571 w 36004"/>
                <a:gd name="connsiteY9" fmla="*/ 766 h 20890"/>
                <a:gd name="connsiteX10" fmla="*/ 13856 w 36004"/>
                <a:gd name="connsiteY10" fmla="*/ 766 h 20890"/>
                <a:gd name="connsiteX11" fmla="*/ 1283 w 36004"/>
                <a:gd name="connsiteY11" fmla="*/ 8005 h 20890"/>
                <a:gd name="connsiteX12" fmla="*/ -336 w 36004"/>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291"/>
                  </a:moveTo>
                  <a:cubicBezTo>
                    <a:pt x="-260" y="11272"/>
                    <a:pt x="369" y="12120"/>
                    <a:pt x="1283" y="12482"/>
                  </a:cubicBezTo>
                  <a:lnTo>
                    <a:pt x="3569" y="13815"/>
                  </a:lnTo>
                  <a:lnTo>
                    <a:pt x="13856" y="19721"/>
                  </a:lnTo>
                  <a:cubicBezTo>
                    <a:pt x="16256" y="21064"/>
                    <a:pt x="19171" y="21064"/>
                    <a:pt x="21571" y="19721"/>
                  </a:cubicBezTo>
                  <a:lnTo>
                    <a:pt x="31858" y="13815"/>
                  </a:lnTo>
                  <a:lnTo>
                    <a:pt x="34144" y="12482"/>
                  </a:lnTo>
                  <a:cubicBezTo>
                    <a:pt x="35021" y="12091"/>
                    <a:pt x="35611" y="11253"/>
                    <a:pt x="35668" y="10291"/>
                  </a:cubicBezTo>
                  <a:cubicBezTo>
                    <a:pt x="35601" y="9310"/>
                    <a:pt x="35021" y="8443"/>
                    <a:pt x="34144" y="8005"/>
                  </a:cubicBezTo>
                  <a:lnTo>
                    <a:pt x="21571" y="766"/>
                  </a:lnTo>
                  <a:cubicBezTo>
                    <a:pt x="19152" y="-472"/>
                    <a:pt x="16275" y="-472"/>
                    <a:pt x="13856" y="766"/>
                  </a:cubicBezTo>
                  <a:lnTo>
                    <a:pt x="1283" y="8005"/>
                  </a:lnTo>
                  <a:cubicBezTo>
                    <a:pt x="349" y="8396"/>
                    <a:pt x="-270" y="9281"/>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736" name="iṡḷïḋê">
              <a:extLst>
                <a:ext uri="{FF2B5EF4-FFF2-40B4-BE49-F238E27FC236}">
                  <a16:creationId xmlns:a16="http://schemas.microsoft.com/office/drawing/2014/main" id="{869809BB-92F1-4986-80AD-A9069C3F36E1}"/>
                </a:ext>
              </a:extLst>
            </p:cNvPr>
            <p:cNvSpPr/>
            <p:nvPr/>
          </p:nvSpPr>
          <p:spPr>
            <a:xfrm>
              <a:off x="5341348" y="4971743"/>
              <a:ext cx="105898" cy="61104"/>
            </a:xfrm>
            <a:custGeom>
              <a:avLst/>
              <a:gdLst>
                <a:gd name="connsiteX0" fmla="*/ 1235 w 34790"/>
                <a:gd name="connsiteY0" fmla="*/ 12006 h 20074"/>
                <a:gd name="connsiteX1" fmla="*/ 13332 w 34790"/>
                <a:gd name="connsiteY1" fmla="*/ 19054 h 20074"/>
                <a:gd name="connsiteX2" fmla="*/ 20762 w 34790"/>
                <a:gd name="connsiteY2" fmla="*/ 19054 h 20074"/>
                <a:gd name="connsiteX3" fmla="*/ 32954 w 34790"/>
                <a:gd name="connsiteY3" fmla="*/ 12006 h 20074"/>
                <a:gd name="connsiteX4" fmla="*/ 32954 w 34790"/>
                <a:gd name="connsiteY4" fmla="*/ 7719 h 20074"/>
                <a:gd name="connsiteX5" fmla="*/ 20762 w 34790"/>
                <a:gd name="connsiteY5" fmla="*/ 766 h 20074"/>
                <a:gd name="connsiteX6" fmla="*/ 13332 w 34790"/>
                <a:gd name="connsiteY6" fmla="*/ 766 h 20074"/>
                <a:gd name="connsiteX7" fmla="*/ 1235 w 34790"/>
                <a:gd name="connsiteY7" fmla="*/ 7719 h 20074"/>
                <a:gd name="connsiteX8" fmla="*/ 1235 w 34790"/>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4">
                  <a:moveTo>
                    <a:pt x="1235" y="12006"/>
                  </a:moveTo>
                  <a:lnTo>
                    <a:pt x="13332" y="19054"/>
                  </a:lnTo>
                  <a:cubicBezTo>
                    <a:pt x="15675" y="20197"/>
                    <a:pt x="18419" y="20197"/>
                    <a:pt x="20762" y="19054"/>
                  </a:cubicBezTo>
                  <a:lnTo>
                    <a:pt x="32954" y="12006"/>
                  </a:lnTo>
                  <a:cubicBezTo>
                    <a:pt x="34954" y="10863"/>
                    <a:pt x="34954" y="8958"/>
                    <a:pt x="32954" y="7719"/>
                  </a:cubicBezTo>
                  <a:lnTo>
                    <a:pt x="20762" y="766"/>
                  </a:lnTo>
                  <a:cubicBezTo>
                    <a:pt x="18437" y="-472"/>
                    <a:pt x="15656" y="-472"/>
                    <a:pt x="13332" y="766"/>
                  </a:cubicBezTo>
                  <a:lnTo>
                    <a:pt x="1235" y="7719"/>
                  </a:lnTo>
                  <a:cubicBezTo>
                    <a:pt x="-860" y="9434"/>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737" name="iṡļïḓê">
              <a:extLst>
                <a:ext uri="{FF2B5EF4-FFF2-40B4-BE49-F238E27FC236}">
                  <a16:creationId xmlns:a16="http://schemas.microsoft.com/office/drawing/2014/main" id="{DDA5E6AA-F7BC-41D7-B5FC-EB19B596CA59}"/>
                </a:ext>
              </a:extLst>
            </p:cNvPr>
            <p:cNvSpPr/>
            <p:nvPr/>
          </p:nvSpPr>
          <p:spPr>
            <a:xfrm>
              <a:off x="5339464" y="5001244"/>
              <a:ext cx="110464" cy="54724"/>
            </a:xfrm>
            <a:custGeom>
              <a:avLst/>
              <a:gdLst>
                <a:gd name="connsiteX0" fmla="*/ -336 w 36290"/>
                <a:gd name="connsiteY0" fmla="*/ 218 h 17978"/>
                <a:gd name="connsiteX1" fmla="*/ -336 w 36290"/>
                <a:gd name="connsiteY1" fmla="*/ 7362 h 17978"/>
                <a:gd name="connsiteX2" fmla="*/ 1283 w 36290"/>
                <a:gd name="connsiteY2" fmla="*/ 9648 h 17978"/>
                <a:gd name="connsiteX3" fmla="*/ 13856 w 36290"/>
                <a:gd name="connsiteY3" fmla="*/ 16887 h 17978"/>
                <a:gd name="connsiteX4" fmla="*/ 21571 w 36290"/>
                <a:gd name="connsiteY4" fmla="*/ 16887 h 17978"/>
                <a:gd name="connsiteX5" fmla="*/ 34430 w 36290"/>
                <a:gd name="connsiteY5" fmla="*/ 9267 h 17978"/>
                <a:gd name="connsiteX6" fmla="*/ 35954 w 36290"/>
                <a:gd name="connsiteY6" fmla="*/ 6981 h 17978"/>
                <a:gd name="connsiteX7" fmla="*/ 35954 w 36290"/>
                <a:gd name="connsiteY7" fmla="*/ -163 h 17978"/>
                <a:gd name="connsiteX8" fmla="*/ 34430 w 36290"/>
                <a:gd name="connsiteY8" fmla="*/ 2028 h 17978"/>
                <a:gd name="connsiteX9" fmla="*/ 32144 w 36290"/>
                <a:gd name="connsiteY9" fmla="*/ 3362 h 17978"/>
                <a:gd name="connsiteX10" fmla="*/ 21857 w 36290"/>
                <a:gd name="connsiteY10" fmla="*/ 9267 h 17978"/>
                <a:gd name="connsiteX11" fmla="*/ 14142 w 36290"/>
                <a:gd name="connsiteY11" fmla="*/ 9267 h 17978"/>
                <a:gd name="connsiteX12" fmla="*/ 3855 w 36290"/>
                <a:gd name="connsiteY12" fmla="*/ 3362 h 17978"/>
                <a:gd name="connsiteX13" fmla="*/ 1568 w 36290"/>
                <a:gd name="connsiteY13" fmla="*/ 2028 h 17978"/>
                <a:gd name="connsiteX14" fmla="*/ -336 w 36290"/>
                <a:gd name="connsiteY14" fmla="*/ 218 h 17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290" h="17978">
                  <a:moveTo>
                    <a:pt x="-336" y="218"/>
                  </a:moveTo>
                  <a:lnTo>
                    <a:pt x="-336" y="7362"/>
                  </a:lnTo>
                  <a:cubicBezTo>
                    <a:pt x="-270" y="8372"/>
                    <a:pt x="359" y="9257"/>
                    <a:pt x="1283" y="9648"/>
                  </a:cubicBezTo>
                  <a:lnTo>
                    <a:pt x="13856" y="16887"/>
                  </a:lnTo>
                  <a:cubicBezTo>
                    <a:pt x="16275" y="18125"/>
                    <a:pt x="19152" y="18125"/>
                    <a:pt x="21571" y="16887"/>
                  </a:cubicBezTo>
                  <a:lnTo>
                    <a:pt x="34430" y="9267"/>
                  </a:lnTo>
                  <a:cubicBezTo>
                    <a:pt x="35297" y="8819"/>
                    <a:pt x="35868" y="7953"/>
                    <a:pt x="35954" y="6981"/>
                  </a:cubicBezTo>
                  <a:lnTo>
                    <a:pt x="35954" y="-163"/>
                  </a:lnTo>
                  <a:cubicBezTo>
                    <a:pt x="35897" y="799"/>
                    <a:pt x="35306" y="1638"/>
                    <a:pt x="34430" y="2028"/>
                  </a:cubicBezTo>
                  <a:lnTo>
                    <a:pt x="32144" y="3362"/>
                  </a:lnTo>
                  <a:lnTo>
                    <a:pt x="21857" y="9267"/>
                  </a:lnTo>
                  <a:cubicBezTo>
                    <a:pt x="19457" y="10610"/>
                    <a:pt x="16542" y="10610"/>
                    <a:pt x="14142" y="9267"/>
                  </a:cubicBezTo>
                  <a:lnTo>
                    <a:pt x="3855" y="3362"/>
                  </a:lnTo>
                  <a:lnTo>
                    <a:pt x="1568" y="2028"/>
                  </a:lnTo>
                  <a:cubicBezTo>
                    <a:pt x="654" y="1818"/>
                    <a:pt x="-79" y="1123"/>
                    <a:pt x="-336" y="218"/>
                  </a:cubicBezTo>
                  <a:close/>
                </a:path>
              </a:pathLst>
            </a:custGeom>
            <a:solidFill>
              <a:srgbClr val="BF4200"/>
            </a:solidFill>
            <a:ln w="9525" cap="flat">
              <a:noFill/>
              <a:prstDash val="solid"/>
              <a:miter/>
            </a:ln>
          </p:spPr>
          <p:txBody>
            <a:bodyPr rtlCol="0" anchor="ctr"/>
            <a:lstStyle/>
            <a:p>
              <a:endParaRPr lang="zh-CN" altLang="en-US"/>
            </a:p>
          </p:txBody>
        </p:sp>
        <p:sp>
          <p:nvSpPr>
            <p:cNvPr id="738" name="ïṩḻîḓè">
              <a:extLst>
                <a:ext uri="{FF2B5EF4-FFF2-40B4-BE49-F238E27FC236}">
                  <a16:creationId xmlns:a16="http://schemas.microsoft.com/office/drawing/2014/main" id="{11AB723C-F5EC-4166-922C-18B6637B5766}"/>
                </a:ext>
              </a:extLst>
            </p:cNvPr>
            <p:cNvSpPr/>
            <p:nvPr/>
          </p:nvSpPr>
          <p:spPr>
            <a:xfrm>
              <a:off x="5416296" y="5015234"/>
              <a:ext cx="109594" cy="63588"/>
            </a:xfrm>
            <a:custGeom>
              <a:avLst/>
              <a:gdLst>
                <a:gd name="connsiteX0" fmla="*/ -336 w 36004"/>
                <a:gd name="connsiteY0" fmla="*/ 10196 h 20890"/>
                <a:gd name="connsiteX1" fmla="*/ 1188 w 36004"/>
                <a:gd name="connsiteY1" fmla="*/ 12482 h 20890"/>
                <a:gd name="connsiteX2" fmla="*/ 3569 w 36004"/>
                <a:gd name="connsiteY2" fmla="*/ 13815 h 20890"/>
                <a:gd name="connsiteX3" fmla="*/ 13856 w 36004"/>
                <a:gd name="connsiteY3" fmla="*/ 19721 h 20890"/>
                <a:gd name="connsiteX4" fmla="*/ 21476 w 36004"/>
                <a:gd name="connsiteY4" fmla="*/ 19721 h 20890"/>
                <a:gd name="connsiteX5" fmla="*/ 31763 w 36004"/>
                <a:gd name="connsiteY5" fmla="*/ 13815 h 20890"/>
                <a:gd name="connsiteX6" fmla="*/ 34144 w 36004"/>
                <a:gd name="connsiteY6" fmla="*/ 12482 h 20890"/>
                <a:gd name="connsiteX7" fmla="*/ 35668 w 36004"/>
                <a:gd name="connsiteY7" fmla="*/ 10196 h 20890"/>
                <a:gd name="connsiteX8" fmla="*/ 34144 w 36004"/>
                <a:gd name="connsiteY8" fmla="*/ 8005 h 20890"/>
                <a:gd name="connsiteX9" fmla="*/ 21476 w 36004"/>
                <a:gd name="connsiteY9" fmla="*/ 766 h 20890"/>
                <a:gd name="connsiteX10" fmla="*/ 13856 w 36004"/>
                <a:gd name="connsiteY10" fmla="*/ 766 h 20890"/>
                <a:gd name="connsiteX11" fmla="*/ 1188 w 36004"/>
                <a:gd name="connsiteY11" fmla="*/ 8005 h 20890"/>
                <a:gd name="connsiteX12" fmla="*/ -336 w 36004"/>
                <a:gd name="connsiteY12" fmla="*/ 10196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196"/>
                  </a:moveTo>
                  <a:cubicBezTo>
                    <a:pt x="-308" y="11186"/>
                    <a:pt x="283" y="12082"/>
                    <a:pt x="1188" y="12482"/>
                  </a:cubicBezTo>
                  <a:lnTo>
                    <a:pt x="3569" y="13815"/>
                  </a:lnTo>
                  <a:lnTo>
                    <a:pt x="13856" y="19721"/>
                  </a:lnTo>
                  <a:cubicBezTo>
                    <a:pt x="16218" y="21064"/>
                    <a:pt x="19114" y="21064"/>
                    <a:pt x="21476" y="19721"/>
                  </a:cubicBezTo>
                  <a:lnTo>
                    <a:pt x="31763" y="13815"/>
                  </a:lnTo>
                  <a:lnTo>
                    <a:pt x="34144" y="12482"/>
                  </a:lnTo>
                  <a:cubicBezTo>
                    <a:pt x="35049" y="12082"/>
                    <a:pt x="35640" y="11186"/>
                    <a:pt x="35668" y="10196"/>
                  </a:cubicBezTo>
                  <a:cubicBezTo>
                    <a:pt x="35573" y="9253"/>
                    <a:pt x="34992" y="8424"/>
                    <a:pt x="34144" y="8005"/>
                  </a:cubicBezTo>
                  <a:lnTo>
                    <a:pt x="21476" y="766"/>
                  </a:lnTo>
                  <a:cubicBezTo>
                    <a:pt x="19085" y="-472"/>
                    <a:pt x="16247" y="-472"/>
                    <a:pt x="13856" y="766"/>
                  </a:cubicBezTo>
                  <a:lnTo>
                    <a:pt x="1188" y="8005"/>
                  </a:lnTo>
                  <a:cubicBezTo>
                    <a:pt x="340" y="8424"/>
                    <a:pt x="-241" y="925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739" name="í$1ïḓe">
              <a:extLst>
                <a:ext uri="{FF2B5EF4-FFF2-40B4-BE49-F238E27FC236}">
                  <a16:creationId xmlns:a16="http://schemas.microsoft.com/office/drawing/2014/main" id="{63A36A64-1E52-4B38-BCDE-2B245F301AEF}"/>
                </a:ext>
              </a:extLst>
            </p:cNvPr>
            <p:cNvSpPr/>
            <p:nvPr/>
          </p:nvSpPr>
          <p:spPr>
            <a:xfrm>
              <a:off x="5419008" y="5016394"/>
              <a:ext cx="105329" cy="61101"/>
            </a:xfrm>
            <a:custGeom>
              <a:avLst/>
              <a:gdLst>
                <a:gd name="connsiteX0" fmla="*/ 1154 w 34603"/>
                <a:gd name="connsiteY0" fmla="*/ 12006 h 20073"/>
                <a:gd name="connsiteX1" fmla="*/ 13250 w 34603"/>
                <a:gd name="connsiteY1" fmla="*/ 19054 h 20073"/>
                <a:gd name="connsiteX2" fmla="*/ 20680 w 34603"/>
                <a:gd name="connsiteY2" fmla="*/ 19054 h 20073"/>
                <a:gd name="connsiteX3" fmla="*/ 32777 w 34603"/>
                <a:gd name="connsiteY3" fmla="*/ 12006 h 20073"/>
                <a:gd name="connsiteX4" fmla="*/ 34120 w 34603"/>
                <a:gd name="connsiteY4" fmla="*/ 9062 h 20073"/>
                <a:gd name="connsiteX5" fmla="*/ 32777 w 34603"/>
                <a:gd name="connsiteY5" fmla="*/ 7719 h 20073"/>
                <a:gd name="connsiteX6" fmla="*/ 20680 w 34603"/>
                <a:gd name="connsiteY6" fmla="*/ 766 h 20073"/>
                <a:gd name="connsiteX7" fmla="*/ 13250 w 34603"/>
                <a:gd name="connsiteY7" fmla="*/ 766 h 20073"/>
                <a:gd name="connsiteX8" fmla="*/ 1154 w 34603"/>
                <a:gd name="connsiteY8" fmla="*/ 7719 h 20073"/>
                <a:gd name="connsiteX9" fmla="*/ -189 w 34603"/>
                <a:gd name="connsiteY9" fmla="*/ 10653 h 20073"/>
                <a:gd name="connsiteX10" fmla="*/ 1154 w 34603"/>
                <a:gd name="connsiteY10"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603" h="20073">
                  <a:moveTo>
                    <a:pt x="1154" y="12006"/>
                  </a:moveTo>
                  <a:lnTo>
                    <a:pt x="13250" y="19054"/>
                  </a:lnTo>
                  <a:cubicBezTo>
                    <a:pt x="15594" y="20197"/>
                    <a:pt x="18337" y="20197"/>
                    <a:pt x="20680" y="19054"/>
                  </a:cubicBezTo>
                  <a:lnTo>
                    <a:pt x="32777" y="12006"/>
                  </a:lnTo>
                  <a:cubicBezTo>
                    <a:pt x="33958" y="11567"/>
                    <a:pt x="34567" y="10253"/>
                    <a:pt x="34120" y="9062"/>
                  </a:cubicBezTo>
                  <a:cubicBezTo>
                    <a:pt x="33891" y="8443"/>
                    <a:pt x="33396" y="7948"/>
                    <a:pt x="32777" y="7719"/>
                  </a:cubicBezTo>
                  <a:lnTo>
                    <a:pt x="20680" y="766"/>
                  </a:lnTo>
                  <a:cubicBezTo>
                    <a:pt x="18356" y="-472"/>
                    <a:pt x="15575" y="-472"/>
                    <a:pt x="13250" y="766"/>
                  </a:cubicBezTo>
                  <a:lnTo>
                    <a:pt x="1154" y="7719"/>
                  </a:lnTo>
                  <a:cubicBezTo>
                    <a:pt x="-27" y="8158"/>
                    <a:pt x="-637" y="9472"/>
                    <a:pt x="-189" y="10653"/>
                  </a:cubicBezTo>
                  <a:cubicBezTo>
                    <a:pt x="39" y="11282"/>
                    <a:pt x="535" y="11777"/>
                    <a:pt x="1154" y="12006"/>
                  </a:cubicBezTo>
                  <a:close/>
                </a:path>
              </a:pathLst>
            </a:custGeom>
            <a:solidFill>
              <a:srgbClr val="D1D9E8"/>
            </a:solidFill>
            <a:ln w="9525" cap="flat">
              <a:noFill/>
              <a:prstDash val="solid"/>
              <a:miter/>
            </a:ln>
          </p:spPr>
          <p:txBody>
            <a:bodyPr rtlCol="0" anchor="ctr"/>
            <a:lstStyle/>
            <a:p>
              <a:endParaRPr lang="zh-CN" altLang="en-US"/>
            </a:p>
          </p:txBody>
        </p:sp>
        <p:sp>
          <p:nvSpPr>
            <p:cNvPr id="740" name="iṥ1îḓè">
              <a:extLst>
                <a:ext uri="{FF2B5EF4-FFF2-40B4-BE49-F238E27FC236}">
                  <a16:creationId xmlns:a16="http://schemas.microsoft.com/office/drawing/2014/main" id="{90DB9E14-DBEB-45D1-914D-0A4BA3F412DB}"/>
                </a:ext>
              </a:extLst>
            </p:cNvPr>
            <p:cNvSpPr/>
            <p:nvPr/>
          </p:nvSpPr>
          <p:spPr>
            <a:xfrm>
              <a:off x="5416296" y="5046763"/>
              <a:ext cx="109594" cy="53804"/>
            </a:xfrm>
            <a:custGeom>
              <a:avLst/>
              <a:gdLst>
                <a:gd name="connsiteX0" fmla="*/ -336 w 36004"/>
                <a:gd name="connsiteY0" fmla="*/ -163 h 17676"/>
                <a:gd name="connsiteX1" fmla="*/ -336 w 36004"/>
                <a:gd name="connsiteY1" fmla="*/ 7076 h 17676"/>
                <a:gd name="connsiteX2" fmla="*/ 1188 w 36004"/>
                <a:gd name="connsiteY2" fmla="*/ 9267 h 17676"/>
                <a:gd name="connsiteX3" fmla="*/ 13856 w 36004"/>
                <a:gd name="connsiteY3" fmla="*/ 16506 h 17676"/>
                <a:gd name="connsiteX4" fmla="*/ 21476 w 36004"/>
                <a:gd name="connsiteY4" fmla="*/ 16506 h 17676"/>
                <a:gd name="connsiteX5" fmla="*/ 34144 w 36004"/>
                <a:gd name="connsiteY5" fmla="*/ 9267 h 17676"/>
                <a:gd name="connsiteX6" fmla="*/ 35668 w 36004"/>
                <a:gd name="connsiteY6" fmla="*/ 7076 h 17676"/>
                <a:gd name="connsiteX7" fmla="*/ 35668 w 36004"/>
                <a:gd name="connsiteY7" fmla="*/ -163 h 17676"/>
                <a:gd name="connsiteX8" fmla="*/ 34144 w 36004"/>
                <a:gd name="connsiteY8" fmla="*/ 2124 h 17676"/>
                <a:gd name="connsiteX9" fmla="*/ 31763 w 36004"/>
                <a:gd name="connsiteY9" fmla="*/ 3457 h 17676"/>
                <a:gd name="connsiteX10" fmla="*/ 21476 w 36004"/>
                <a:gd name="connsiteY10" fmla="*/ 9362 h 17676"/>
                <a:gd name="connsiteX11" fmla="*/ 13856 w 36004"/>
                <a:gd name="connsiteY11" fmla="*/ 9362 h 17676"/>
                <a:gd name="connsiteX12" fmla="*/ 3569 w 36004"/>
                <a:gd name="connsiteY12" fmla="*/ 3457 h 17676"/>
                <a:gd name="connsiteX13" fmla="*/ 1188 w 36004"/>
                <a:gd name="connsiteY13" fmla="*/ 2124 h 17676"/>
                <a:gd name="connsiteX14" fmla="*/ -336 w 36004"/>
                <a:gd name="connsiteY14" fmla="*/ -163 h 17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6">
                  <a:moveTo>
                    <a:pt x="-336" y="-163"/>
                  </a:moveTo>
                  <a:lnTo>
                    <a:pt x="-336" y="7076"/>
                  </a:lnTo>
                  <a:cubicBezTo>
                    <a:pt x="-298" y="8039"/>
                    <a:pt x="292" y="8896"/>
                    <a:pt x="1188" y="9267"/>
                  </a:cubicBezTo>
                  <a:lnTo>
                    <a:pt x="13856" y="16506"/>
                  </a:lnTo>
                  <a:cubicBezTo>
                    <a:pt x="16218" y="17849"/>
                    <a:pt x="19114" y="17849"/>
                    <a:pt x="21476" y="16506"/>
                  </a:cubicBezTo>
                  <a:lnTo>
                    <a:pt x="34144" y="9267"/>
                  </a:lnTo>
                  <a:cubicBezTo>
                    <a:pt x="35021" y="8877"/>
                    <a:pt x="35611" y="8039"/>
                    <a:pt x="35668" y="7076"/>
                  </a:cubicBezTo>
                  <a:lnTo>
                    <a:pt x="35668" y="-163"/>
                  </a:lnTo>
                  <a:cubicBezTo>
                    <a:pt x="35640" y="828"/>
                    <a:pt x="35049" y="1724"/>
                    <a:pt x="34144" y="2124"/>
                  </a:cubicBezTo>
                  <a:lnTo>
                    <a:pt x="31763" y="3457"/>
                  </a:lnTo>
                  <a:lnTo>
                    <a:pt x="21476" y="9362"/>
                  </a:lnTo>
                  <a:cubicBezTo>
                    <a:pt x="19114" y="10706"/>
                    <a:pt x="16218" y="10706"/>
                    <a:pt x="13856" y="9362"/>
                  </a:cubicBezTo>
                  <a:lnTo>
                    <a:pt x="3569" y="3457"/>
                  </a:lnTo>
                  <a:lnTo>
                    <a:pt x="1188" y="2124"/>
                  </a:lnTo>
                  <a:cubicBezTo>
                    <a:pt x="283" y="1724"/>
                    <a:pt x="-308"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41" name="iṧľiḍé">
              <a:extLst>
                <a:ext uri="{FF2B5EF4-FFF2-40B4-BE49-F238E27FC236}">
                  <a16:creationId xmlns:a16="http://schemas.microsoft.com/office/drawing/2014/main" id="{59696EA9-896D-400D-B028-03E79E259CDE}"/>
                </a:ext>
              </a:extLst>
            </p:cNvPr>
            <p:cNvSpPr/>
            <p:nvPr/>
          </p:nvSpPr>
          <p:spPr>
            <a:xfrm>
              <a:off x="5493998" y="5059883"/>
              <a:ext cx="109740" cy="63350"/>
            </a:xfrm>
            <a:custGeom>
              <a:avLst/>
              <a:gdLst>
                <a:gd name="connsiteX0" fmla="*/ -336 w 36052"/>
                <a:gd name="connsiteY0" fmla="*/ 10196 h 20812"/>
                <a:gd name="connsiteX1" fmla="*/ 1283 w 36052"/>
                <a:gd name="connsiteY1" fmla="*/ 12482 h 20812"/>
                <a:gd name="connsiteX2" fmla="*/ 3569 w 36052"/>
                <a:gd name="connsiteY2" fmla="*/ 13815 h 20812"/>
                <a:gd name="connsiteX3" fmla="*/ 13856 w 36052"/>
                <a:gd name="connsiteY3" fmla="*/ 19721 h 20812"/>
                <a:gd name="connsiteX4" fmla="*/ 21571 w 36052"/>
                <a:gd name="connsiteY4" fmla="*/ 19721 h 20812"/>
                <a:gd name="connsiteX5" fmla="*/ 31858 w 36052"/>
                <a:gd name="connsiteY5" fmla="*/ 13815 h 20812"/>
                <a:gd name="connsiteX6" fmla="*/ 34144 w 36052"/>
                <a:gd name="connsiteY6" fmla="*/ 12482 h 20812"/>
                <a:gd name="connsiteX7" fmla="*/ 35573 w 36052"/>
                <a:gd name="connsiteY7" fmla="*/ 9434 h 20812"/>
                <a:gd name="connsiteX8" fmla="*/ 34144 w 36052"/>
                <a:gd name="connsiteY8" fmla="*/ 8005 h 20812"/>
                <a:gd name="connsiteX9" fmla="*/ 21571 w 36052"/>
                <a:gd name="connsiteY9" fmla="*/ 766 h 20812"/>
                <a:gd name="connsiteX10" fmla="*/ 13856 w 36052"/>
                <a:gd name="connsiteY10" fmla="*/ 766 h 20812"/>
                <a:gd name="connsiteX11" fmla="*/ 1283 w 36052"/>
                <a:gd name="connsiteY11" fmla="*/ 8005 h 20812"/>
                <a:gd name="connsiteX12" fmla="*/ -336 w 36052"/>
                <a:gd name="connsiteY12" fmla="*/ 10196 h 20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12">
                  <a:moveTo>
                    <a:pt x="-336" y="10196"/>
                  </a:moveTo>
                  <a:cubicBezTo>
                    <a:pt x="-231" y="11186"/>
                    <a:pt x="378" y="12053"/>
                    <a:pt x="1283" y="12482"/>
                  </a:cubicBezTo>
                  <a:lnTo>
                    <a:pt x="3569" y="13815"/>
                  </a:lnTo>
                  <a:lnTo>
                    <a:pt x="13856" y="19721"/>
                  </a:lnTo>
                  <a:cubicBezTo>
                    <a:pt x="16275" y="20959"/>
                    <a:pt x="19152" y="20959"/>
                    <a:pt x="21571" y="19721"/>
                  </a:cubicBezTo>
                  <a:lnTo>
                    <a:pt x="31858" y="13815"/>
                  </a:lnTo>
                  <a:lnTo>
                    <a:pt x="34144" y="12482"/>
                  </a:lnTo>
                  <a:cubicBezTo>
                    <a:pt x="35382" y="12034"/>
                    <a:pt x="36021" y="10663"/>
                    <a:pt x="35573" y="9434"/>
                  </a:cubicBezTo>
                  <a:cubicBezTo>
                    <a:pt x="35325" y="8767"/>
                    <a:pt x="34811" y="8243"/>
                    <a:pt x="34144" y="8005"/>
                  </a:cubicBezTo>
                  <a:lnTo>
                    <a:pt x="21571" y="766"/>
                  </a:lnTo>
                  <a:cubicBezTo>
                    <a:pt x="19152" y="-472"/>
                    <a:pt x="16275" y="-472"/>
                    <a:pt x="13856" y="766"/>
                  </a:cubicBezTo>
                  <a:lnTo>
                    <a:pt x="1283" y="8005"/>
                  </a:lnTo>
                  <a:cubicBezTo>
                    <a:pt x="407" y="8415"/>
                    <a:pt x="-203" y="924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742" name="íṣḷîḑè">
              <a:extLst>
                <a:ext uri="{FF2B5EF4-FFF2-40B4-BE49-F238E27FC236}">
                  <a16:creationId xmlns:a16="http://schemas.microsoft.com/office/drawing/2014/main" id="{927C74EA-7C9A-470A-B6EA-1CF334DABAE0}"/>
                </a:ext>
              </a:extLst>
            </p:cNvPr>
            <p:cNvSpPr/>
            <p:nvPr/>
          </p:nvSpPr>
          <p:spPr>
            <a:xfrm>
              <a:off x="5496132" y="5060972"/>
              <a:ext cx="105618" cy="61174"/>
            </a:xfrm>
            <a:custGeom>
              <a:avLst/>
              <a:gdLst>
                <a:gd name="connsiteX0" fmla="*/ 1154 w 34698"/>
                <a:gd name="connsiteY0" fmla="*/ 12029 h 20097"/>
                <a:gd name="connsiteX1" fmla="*/ 13251 w 34698"/>
                <a:gd name="connsiteY1" fmla="*/ 19078 h 20097"/>
                <a:gd name="connsiteX2" fmla="*/ 20680 w 34698"/>
                <a:gd name="connsiteY2" fmla="*/ 19078 h 20097"/>
                <a:gd name="connsiteX3" fmla="*/ 32872 w 34698"/>
                <a:gd name="connsiteY3" fmla="*/ 12029 h 20097"/>
                <a:gd name="connsiteX4" fmla="*/ 34215 w 34698"/>
                <a:gd name="connsiteY4" fmla="*/ 9096 h 20097"/>
                <a:gd name="connsiteX5" fmla="*/ 32872 w 34698"/>
                <a:gd name="connsiteY5" fmla="*/ 7743 h 20097"/>
                <a:gd name="connsiteX6" fmla="*/ 20680 w 34698"/>
                <a:gd name="connsiteY6" fmla="*/ 695 h 20097"/>
                <a:gd name="connsiteX7" fmla="*/ 13251 w 34698"/>
                <a:gd name="connsiteY7" fmla="*/ 695 h 20097"/>
                <a:gd name="connsiteX8" fmla="*/ 1154 w 34698"/>
                <a:gd name="connsiteY8" fmla="*/ 7743 h 20097"/>
                <a:gd name="connsiteX9" fmla="*/ -189 w 34698"/>
                <a:gd name="connsiteY9" fmla="*/ 10677 h 20097"/>
                <a:gd name="connsiteX10" fmla="*/ 1154 w 34698"/>
                <a:gd name="connsiteY10" fmla="*/ 12029 h 20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698" h="20097">
                  <a:moveTo>
                    <a:pt x="1154" y="12029"/>
                  </a:moveTo>
                  <a:lnTo>
                    <a:pt x="13251" y="19078"/>
                  </a:lnTo>
                  <a:cubicBezTo>
                    <a:pt x="15594" y="20221"/>
                    <a:pt x="18337" y="20221"/>
                    <a:pt x="20680" y="19078"/>
                  </a:cubicBezTo>
                  <a:lnTo>
                    <a:pt x="32872" y="12029"/>
                  </a:lnTo>
                  <a:cubicBezTo>
                    <a:pt x="34053" y="11591"/>
                    <a:pt x="34663" y="10277"/>
                    <a:pt x="34215" y="9096"/>
                  </a:cubicBezTo>
                  <a:cubicBezTo>
                    <a:pt x="33986" y="8467"/>
                    <a:pt x="33491" y="7972"/>
                    <a:pt x="32872" y="7743"/>
                  </a:cubicBezTo>
                  <a:lnTo>
                    <a:pt x="20680" y="695"/>
                  </a:lnTo>
                  <a:cubicBezTo>
                    <a:pt x="18337" y="-448"/>
                    <a:pt x="15594" y="-448"/>
                    <a:pt x="13251" y="695"/>
                  </a:cubicBezTo>
                  <a:lnTo>
                    <a:pt x="1154" y="7743"/>
                  </a:lnTo>
                  <a:cubicBezTo>
                    <a:pt x="-27" y="8181"/>
                    <a:pt x="-637" y="9496"/>
                    <a:pt x="-189" y="10677"/>
                  </a:cubicBezTo>
                  <a:cubicBezTo>
                    <a:pt x="39" y="11305"/>
                    <a:pt x="535" y="11801"/>
                    <a:pt x="1154" y="12029"/>
                  </a:cubicBezTo>
                  <a:close/>
                </a:path>
              </a:pathLst>
            </a:custGeom>
            <a:solidFill>
              <a:srgbClr val="D1D9E8"/>
            </a:solidFill>
            <a:ln w="9525" cap="flat">
              <a:noFill/>
              <a:prstDash val="solid"/>
              <a:miter/>
            </a:ln>
          </p:spPr>
          <p:txBody>
            <a:bodyPr rtlCol="0" anchor="ctr"/>
            <a:lstStyle/>
            <a:p>
              <a:endParaRPr lang="zh-CN" altLang="en-US"/>
            </a:p>
          </p:txBody>
        </p:sp>
        <p:sp>
          <p:nvSpPr>
            <p:cNvPr id="743" name="îSlïḑé">
              <a:extLst>
                <a:ext uri="{FF2B5EF4-FFF2-40B4-BE49-F238E27FC236}">
                  <a16:creationId xmlns:a16="http://schemas.microsoft.com/office/drawing/2014/main" id="{42468E60-4921-4E25-88E4-BD2224C94268}"/>
                </a:ext>
              </a:extLst>
            </p:cNvPr>
            <p:cNvSpPr/>
            <p:nvPr/>
          </p:nvSpPr>
          <p:spPr>
            <a:xfrm>
              <a:off x="5493998" y="5091415"/>
              <a:ext cx="109883" cy="53801"/>
            </a:xfrm>
            <a:custGeom>
              <a:avLst/>
              <a:gdLst>
                <a:gd name="connsiteX0" fmla="*/ -336 w 36099"/>
                <a:gd name="connsiteY0" fmla="*/ -163 h 17675"/>
                <a:gd name="connsiteX1" fmla="*/ -336 w 36099"/>
                <a:gd name="connsiteY1" fmla="*/ 7076 h 17675"/>
                <a:gd name="connsiteX2" fmla="*/ 1283 w 36099"/>
                <a:gd name="connsiteY2" fmla="*/ 9267 h 17675"/>
                <a:gd name="connsiteX3" fmla="*/ 13856 w 36099"/>
                <a:gd name="connsiteY3" fmla="*/ 16506 h 17675"/>
                <a:gd name="connsiteX4" fmla="*/ 21571 w 36099"/>
                <a:gd name="connsiteY4" fmla="*/ 16506 h 17675"/>
                <a:gd name="connsiteX5" fmla="*/ 34144 w 36099"/>
                <a:gd name="connsiteY5" fmla="*/ 9267 h 17675"/>
                <a:gd name="connsiteX6" fmla="*/ 35764 w 36099"/>
                <a:gd name="connsiteY6" fmla="*/ 7076 h 17675"/>
                <a:gd name="connsiteX7" fmla="*/ 35764 w 36099"/>
                <a:gd name="connsiteY7" fmla="*/ -163 h 17675"/>
                <a:gd name="connsiteX8" fmla="*/ 34144 w 36099"/>
                <a:gd name="connsiteY8" fmla="*/ 2123 h 17675"/>
                <a:gd name="connsiteX9" fmla="*/ 31858 w 36099"/>
                <a:gd name="connsiteY9" fmla="*/ 3457 h 17675"/>
                <a:gd name="connsiteX10" fmla="*/ 21571 w 36099"/>
                <a:gd name="connsiteY10" fmla="*/ 9362 h 17675"/>
                <a:gd name="connsiteX11" fmla="*/ 13856 w 36099"/>
                <a:gd name="connsiteY11" fmla="*/ 9362 h 17675"/>
                <a:gd name="connsiteX12" fmla="*/ 3569 w 36099"/>
                <a:gd name="connsiteY12" fmla="*/ 3457 h 17675"/>
                <a:gd name="connsiteX13" fmla="*/ 1283 w 36099"/>
                <a:gd name="connsiteY13" fmla="*/ 2123 h 17675"/>
                <a:gd name="connsiteX14" fmla="*/ -336 w 36099"/>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675">
                  <a:moveTo>
                    <a:pt x="-336" y="-163"/>
                  </a:moveTo>
                  <a:lnTo>
                    <a:pt x="-336" y="7076"/>
                  </a:lnTo>
                  <a:cubicBezTo>
                    <a:pt x="-222" y="8038"/>
                    <a:pt x="397" y="8877"/>
                    <a:pt x="1283" y="9267"/>
                  </a:cubicBezTo>
                  <a:lnTo>
                    <a:pt x="13856" y="16506"/>
                  </a:lnTo>
                  <a:cubicBezTo>
                    <a:pt x="16256" y="17849"/>
                    <a:pt x="19171" y="17849"/>
                    <a:pt x="21571" y="16506"/>
                  </a:cubicBezTo>
                  <a:lnTo>
                    <a:pt x="34144" y="9267"/>
                  </a:lnTo>
                  <a:cubicBezTo>
                    <a:pt x="35030" y="8877"/>
                    <a:pt x="35649" y="8038"/>
                    <a:pt x="35764" y="7076"/>
                  </a:cubicBezTo>
                  <a:lnTo>
                    <a:pt x="35764" y="-163"/>
                  </a:lnTo>
                  <a:cubicBezTo>
                    <a:pt x="35659" y="828"/>
                    <a:pt x="35049" y="1695"/>
                    <a:pt x="34144" y="2123"/>
                  </a:cubicBezTo>
                  <a:lnTo>
                    <a:pt x="31858" y="3457"/>
                  </a:lnTo>
                  <a:lnTo>
                    <a:pt x="21571" y="9362"/>
                  </a:lnTo>
                  <a:cubicBezTo>
                    <a:pt x="19152" y="10601"/>
                    <a:pt x="16275" y="10601"/>
                    <a:pt x="13856" y="9362"/>
                  </a:cubicBezTo>
                  <a:lnTo>
                    <a:pt x="3569" y="3457"/>
                  </a:lnTo>
                  <a:lnTo>
                    <a:pt x="1283" y="2123"/>
                  </a:lnTo>
                  <a:cubicBezTo>
                    <a:pt x="378" y="1695"/>
                    <a:pt x="-231"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44" name="îšḷiḑè">
              <a:extLst>
                <a:ext uri="{FF2B5EF4-FFF2-40B4-BE49-F238E27FC236}">
                  <a16:creationId xmlns:a16="http://schemas.microsoft.com/office/drawing/2014/main" id="{DDFB7903-C374-4223-9C70-10657E43A362}"/>
                </a:ext>
              </a:extLst>
            </p:cNvPr>
            <p:cNvSpPr/>
            <p:nvPr/>
          </p:nvSpPr>
          <p:spPr>
            <a:xfrm>
              <a:off x="5571411" y="5104440"/>
              <a:ext cx="109740" cy="63445"/>
            </a:xfrm>
            <a:custGeom>
              <a:avLst/>
              <a:gdLst>
                <a:gd name="connsiteX0" fmla="*/ -336 w 36052"/>
                <a:gd name="connsiteY0" fmla="*/ 10227 h 20843"/>
                <a:gd name="connsiteX1" fmla="*/ 1188 w 36052"/>
                <a:gd name="connsiteY1" fmla="*/ 12513 h 20843"/>
                <a:gd name="connsiteX2" fmla="*/ 3569 w 36052"/>
                <a:gd name="connsiteY2" fmla="*/ 13846 h 20843"/>
                <a:gd name="connsiteX3" fmla="*/ 13856 w 36052"/>
                <a:gd name="connsiteY3" fmla="*/ 19752 h 20843"/>
                <a:gd name="connsiteX4" fmla="*/ 21476 w 36052"/>
                <a:gd name="connsiteY4" fmla="*/ 19752 h 20843"/>
                <a:gd name="connsiteX5" fmla="*/ 31763 w 36052"/>
                <a:gd name="connsiteY5" fmla="*/ 13846 h 20843"/>
                <a:gd name="connsiteX6" fmla="*/ 34144 w 36052"/>
                <a:gd name="connsiteY6" fmla="*/ 12513 h 20843"/>
                <a:gd name="connsiteX7" fmla="*/ 35573 w 36052"/>
                <a:gd name="connsiteY7" fmla="*/ 9465 h 20843"/>
                <a:gd name="connsiteX8" fmla="*/ 34144 w 36052"/>
                <a:gd name="connsiteY8" fmla="*/ 8036 h 20843"/>
                <a:gd name="connsiteX9" fmla="*/ 21476 w 36052"/>
                <a:gd name="connsiteY9" fmla="*/ 702 h 20843"/>
                <a:gd name="connsiteX10" fmla="*/ 13856 w 36052"/>
                <a:gd name="connsiteY10" fmla="*/ 702 h 20843"/>
                <a:gd name="connsiteX11" fmla="*/ 1188 w 36052"/>
                <a:gd name="connsiteY11" fmla="*/ 8036 h 20843"/>
                <a:gd name="connsiteX12" fmla="*/ -336 w 36052"/>
                <a:gd name="connsiteY12" fmla="*/ 10227 h 20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3">
                  <a:moveTo>
                    <a:pt x="-336" y="10227"/>
                  </a:moveTo>
                  <a:cubicBezTo>
                    <a:pt x="-270" y="11208"/>
                    <a:pt x="311" y="12075"/>
                    <a:pt x="1188" y="12513"/>
                  </a:cubicBezTo>
                  <a:lnTo>
                    <a:pt x="3569" y="13846"/>
                  </a:lnTo>
                  <a:lnTo>
                    <a:pt x="13856" y="19752"/>
                  </a:lnTo>
                  <a:cubicBezTo>
                    <a:pt x="16247" y="20990"/>
                    <a:pt x="19085" y="20990"/>
                    <a:pt x="21476" y="19752"/>
                  </a:cubicBezTo>
                  <a:lnTo>
                    <a:pt x="31763" y="13846"/>
                  </a:lnTo>
                  <a:lnTo>
                    <a:pt x="34144" y="12513"/>
                  </a:lnTo>
                  <a:cubicBezTo>
                    <a:pt x="35382" y="12065"/>
                    <a:pt x="36020" y="10694"/>
                    <a:pt x="35573" y="9465"/>
                  </a:cubicBezTo>
                  <a:cubicBezTo>
                    <a:pt x="35325" y="8798"/>
                    <a:pt x="34811" y="8274"/>
                    <a:pt x="34144"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745" name="i$ļîḑê">
              <a:extLst>
                <a:ext uri="{FF2B5EF4-FFF2-40B4-BE49-F238E27FC236}">
                  <a16:creationId xmlns:a16="http://schemas.microsoft.com/office/drawing/2014/main" id="{CC5B2D39-3831-48B7-9CEA-D3914233B968}"/>
                </a:ext>
              </a:extLst>
            </p:cNvPr>
            <p:cNvSpPr/>
            <p:nvPr/>
          </p:nvSpPr>
          <p:spPr>
            <a:xfrm>
              <a:off x="5573295" y="5105621"/>
              <a:ext cx="105825" cy="61101"/>
            </a:xfrm>
            <a:custGeom>
              <a:avLst/>
              <a:gdLst>
                <a:gd name="connsiteX0" fmla="*/ 1235 w 34766"/>
                <a:gd name="connsiteY0" fmla="*/ 12030 h 20073"/>
                <a:gd name="connsiteX1" fmla="*/ 13332 w 34766"/>
                <a:gd name="connsiteY1" fmla="*/ 18983 h 20073"/>
                <a:gd name="connsiteX2" fmla="*/ 20762 w 34766"/>
                <a:gd name="connsiteY2" fmla="*/ 18983 h 20073"/>
                <a:gd name="connsiteX3" fmla="*/ 32858 w 34766"/>
                <a:gd name="connsiteY3" fmla="*/ 12030 h 20073"/>
                <a:gd name="connsiteX4" fmla="*/ 32858 w 34766"/>
                <a:gd name="connsiteY4" fmla="*/ 7743 h 20073"/>
                <a:gd name="connsiteX5" fmla="*/ 20762 w 34766"/>
                <a:gd name="connsiteY5" fmla="*/ 695 h 20073"/>
                <a:gd name="connsiteX6" fmla="*/ 13332 w 34766"/>
                <a:gd name="connsiteY6" fmla="*/ 695 h 20073"/>
                <a:gd name="connsiteX7" fmla="*/ 1235 w 34766"/>
                <a:gd name="connsiteY7" fmla="*/ 7743 h 20073"/>
                <a:gd name="connsiteX8" fmla="*/ 1235 w 34766"/>
                <a:gd name="connsiteY8" fmla="*/ 12030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6" h="20073">
                  <a:moveTo>
                    <a:pt x="1235" y="12030"/>
                  </a:moveTo>
                  <a:lnTo>
                    <a:pt x="13332" y="18983"/>
                  </a:lnTo>
                  <a:cubicBezTo>
                    <a:pt x="15656" y="20221"/>
                    <a:pt x="18437" y="20221"/>
                    <a:pt x="20762" y="18983"/>
                  </a:cubicBezTo>
                  <a:lnTo>
                    <a:pt x="32858" y="12030"/>
                  </a:lnTo>
                  <a:cubicBezTo>
                    <a:pt x="34954" y="10791"/>
                    <a:pt x="34954" y="8886"/>
                    <a:pt x="32858" y="7743"/>
                  </a:cubicBezTo>
                  <a:lnTo>
                    <a:pt x="20762" y="695"/>
                  </a:lnTo>
                  <a:cubicBezTo>
                    <a:pt x="18419" y="-448"/>
                    <a:pt x="15675" y="-448"/>
                    <a:pt x="13332" y="695"/>
                  </a:cubicBezTo>
                  <a:lnTo>
                    <a:pt x="1235" y="7743"/>
                  </a:lnTo>
                  <a:cubicBezTo>
                    <a:pt x="-860" y="8886"/>
                    <a:pt x="-860" y="10791"/>
                    <a:pt x="1235" y="12030"/>
                  </a:cubicBezTo>
                  <a:close/>
                </a:path>
              </a:pathLst>
            </a:custGeom>
            <a:solidFill>
              <a:srgbClr val="D1D9E8"/>
            </a:solidFill>
            <a:ln w="9525" cap="flat">
              <a:noFill/>
              <a:prstDash val="solid"/>
              <a:miter/>
            </a:ln>
          </p:spPr>
          <p:txBody>
            <a:bodyPr rtlCol="0" anchor="ctr"/>
            <a:lstStyle/>
            <a:p>
              <a:endParaRPr lang="zh-CN" altLang="en-US"/>
            </a:p>
          </p:txBody>
        </p:sp>
        <p:sp>
          <p:nvSpPr>
            <p:cNvPr id="746" name="îṥḷiḓe">
              <a:extLst>
                <a:ext uri="{FF2B5EF4-FFF2-40B4-BE49-F238E27FC236}">
                  <a16:creationId xmlns:a16="http://schemas.microsoft.com/office/drawing/2014/main" id="{D82267E0-1868-4E72-A8F4-1E8C98462757}"/>
                </a:ext>
              </a:extLst>
            </p:cNvPr>
            <p:cNvSpPr/>
            <p:nvPr/>
          </p:nvSpPr>
          <p:spPr>
            <a:xfrm>
              <a:off x="5571411" y="5136063"/>
              <a:ext cx="109594" cy="53801"/>
            </a:xfrm>
            <a:custGeom>
              <a:avLst/>
              <a:gdLst>
                <a:gd name="connsiteX0" fmla="*/ -336 w 36004"/>
                <a:gd name="connsiteY0" fmla="*/ -163 h 17675"/>
                <a:gd name="connsiteX1" fmla="*/ -336 w 36004"/>
                <a:gd name="connsiteY1" fmla="*/ 7076 h 17675"/>
                <a:gd name="connsiteX2" fmla="*/ 1188 w 36004"/>
                <a:gd name="connsiteY2" fmla="*/ 9267 h 17675"/>
                <a:gd name="connsiteX3" fmla="*/ 13856 w 36004"/>
                <a:gd name="connsiteY3" fmla="*/ 16506 h 17675"/>
                <a:gd name="connsiteX4" fmla="*/ 21476 w 36004"/>
                <a:gd name="connsiteY4" fmla="*/ 16506 h 17675"/>
                <a:gd name="connsiteX5" fmla="*/ 34144 w 36004"/>
                <a:gd name="connsiteY5" fmla="*/ 9267 h 17675"/>
                <a:gd name="connsiteX6" fmla="*/ 35668 w 36004"/>
                <a:gd name="connsiteY6" fmla="*/ 6981 h 17675"/>
                <a:gd name="connsiteX7" fmla="*/ 35668 w 36004"/>
                <a:gd name="connsiteY7" fmla="*/ -163 h 17675"/>
                <a:gd name="connsiteX8" fmla="*/ 34144 w 36004"/>
                <a:gd name="connsiteY8" fmla="*/ 2123 h 17675"/>
                <a:gd name="connsiteX9" fmla="*/ 31763 w 36004"/>
                <a:gd name="connsiteY9" fmla="*/ 3457 h 17675"/>
                <a:gd name="connsiteX10" fmla="*/ 21476 w 36004"/>
                <a:gd name="connsiteY10" fmla="*/ 9362 h 17675"/>
                <a:gd name="connsiteX11" fmla="*/ 13856 w 36004"/>
                <a:gd name="connsiteY11" fmla="*/ 9362 h 17675"/>
                <a:gd name="connsiteX12" fmla="*/ 3569 w 36004"/>
                <a:gd name="connsiteY12" fmla="*/ 3457 h 17675"/>
                <a:gd name="connsiteX13" fmla="*/ 1188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79" y="8038"/>
                    <a:pt x="311" y="8877"/>
                    <a:pt x="1188" y="9267"/>
                  </a:cubicBezTo>
                  <a:lnTo>
                    <a:pt x="13856" y="16506"/>
                  </a:lnTo>
                  <a:cubicBezTo>
                    <a:pt x="16218" y="17849"/>
                    <a:pt x="19114" y="17849"/>
                    <a:pt x="21476" y="16506"/>
                  </a:cubicBezTo>
                  <a:lnTo>
                    <a:pt x="34144" y="9267"/>
                  </a:lnTo>
                  <a:cubicBezTo>
                    <a:pt x="35049" y="8867"/>
                    <a:pt x="35640" y="7972"/>
                    <a:pt x="35668" y="6981"/>
                  </a:cubicBezTo>
                  <a:lnTo>
                    <a:pt x="35668" y="-163"/>
                  </a:lnTo>
                  <a:cubicBezTo>
                    <a:pt x="35601" y="818"/>
                    <a:pt x="35021" y="1685"/>
                    <a:pt x="34144" y="2123"/>
                  </a:cubicBezTo>
                  <a:lnTo>
                    <a:pt x="31763" y="3457"/>
                  </a:lnTo>
                  <a:lnTo>
                    <a:pt x="21476" y="9362"/>
                  </a:lnTo>
                  <a:cubicBezTo>
                    <a:pt x="19085" y="10601"/>
                    <a:pt x="16247" y="10601"/>
                    <a:pt x="13856" y="9362"/>
                  </a:cubicBezTo>
                  <a:lnTo>
                    <a:pt x="3569" y="3457"/>
                  </a:lnTo>
                  <a:lnTo>
                    <a:pt x="1188"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47" name="íşḻíde">
              <a:extLst>
                <a:ext uri="{FF2B5EF4-FFF2-40B4-BE49-F238E27FC236}">
                  <a16:creationId xmlns:a16="http://schemas.microsoft.com/office/drawing/2014/main" id="{688CA885-4697-4E1E-BDEC-6258328FC44B}"/>
                </a:ext>
              </a:extLst>
            </p:cNvPr>
            <p:cNvSpPr/>
            <p:nvPr/>
          </p:nvSpPr>
          <p:spPr>
            <a:xfrm>
              <a:off x="5648243" y="5149240"/>
              <a:ext cx="109740" cy="63289"/>
            </a:xfrm>
            <a:custGeom>
              <a:avLst/>
              <a:gdLst>
                <a:gd name="connsiteX0" fmla="*/ -336 w 36052"/>
                <a:gd name="connsiteY0" fmla="*/ 10177 h 20792"/>
                <a:gd name="connsiteX1" fmla="*/ 1283 w 36052"/>
                <a:gd name="connsiteY1" fmla="*/ 12463 h 20792"/>
                <a:gd name="connsiteX2" fmla="*/ 3569 w 36052"/>
                <a:gd name="connsiteY2" fmla="*/ 13796 h 20792"/>
                <a:gd name="connsiteX3" fmla="*/ 13856 w 36052"/>
                <a:gd name="connsiteY3" fmla="*/ 19702 h 20792"/>
                <a:gd name="connsiteX4" fmla="*/ 21571 w 36052"/>
                <a:gd name="connsiteY4" fmla="*/ 19702 h 20792"/>
                <a:gd name="connsiteX5" fmla="*/ 31858 w 36052"/>
                <a:gd name="connsiteY5" fmla="*/ 13796 h 20792"/>
                <a:gd name="connsiteX6" fmla="*/ 34144 w 36052"/>
                <a:gd name="connsiteY6" fmla="*/ 12463 h 20792"/>
                <a:gd name="connsiteX7" fmla="*/ 35573 w 36052"/>
                <a:gd name="connsiteY7" fmla="*/ 9415 h 20792"/>
                <a:gd name="connsiteX8" fmla="*/ 34144 w 36052"/>
                <a:gd name="connsiteY8" fmla="*/ 7986 h 20792"/>
                <a:gd name="connsiteX9" fmla="*/ 21571 w 36052"/>
                <a:gd name="connsiteY9" fmla="*/ 652 h 20792"/>
                <a:gd name="connsiteX10" fmla="*/ 13856 w 36052"/>
                <a:gd name="connsiteY10" fmla="*/ 652 h 20792"/>
                <a:gd name="connsiteX11" fmla="*/ 1283 w 36052"/>
                <a:gd name="connsiteY11" fmla="*/ 7986 h 20792"/>
                <a:gd name="connsiteX12" fmla="*/ -336 w 36052"/>
                <a:gd name="connsiteY12" fmla="*/ 10177 h 20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792">
                  <a:moveTo>
                    <a:pt x="-336" y="10177"/>
                  </a:moveTo>
                  <a:cubicBezTo>
                    <a:pt x="-232" y="11167"/>
                    <a:pt x="378" y="12034"/>
                    <a:pt x="1283" y="12463"/>
                  </a:cubicBezTo>
                  <a:lnTo>
                    <a:pt x="3569" y="13796"/>
                  </a:lnTo>
                  <a:lnTo>
                    <a:pt x="13856" y="19702"/>
                  </a:lnTo>
                  <a:cubicBezTo>
                    <a:pt x="16275" y="20940"/>
                    <a:pt x="19152" y="20940"/>
                    <a:pt x="21571" y="19702"/>
                  </a:cubicBezTo>
                  <a:lnTo>
                    <a:pt x="31858" y="13796"/>
                  </a:lnTo>
                  <a:lnTo>
                    <a:pt x="34144" y="12463"/>
                  </a:lnTo>
                  <a:cubicBezTo>
                    <a:pt x="35382" y="12015"/>
                    <a:pt x="36020" y="10643"/>
                    <a:pt x="35573" y="9415"/>
                  </a:cubicBezTo>
                  <a:cubicBezTo>
                    <a:pt x="35325" y="8748"/>
                    <a:pt x="34811" y="8224"/>
                    <a:pt x="34144" y="7986"/>
                  </a:cubicBezTo>
                  <a:lnTo>
                    <a:pt x="21571" y="652"/>
                  </a:lnTo>
                  <a:cubicBezTo>
                    <a:pt x="19114" y="-434"/>
                    <a:pt x="16313" y="-434"/>
                    <a:pt x="13856" y="652"/>
                  </a:cubicBezTo>
                  <a:lnTo>
                    <a:pt x="1283" y="7986"/>
                  </a:lnTo>
                  <a:cubicBezTo>
                    <a:pt x="407" y="8396"/>
                    <a:pt x="-203" y="9224"/>
                    <a:pt x="-336" y="10177"/>
                  </a:cubicBezTo>
                  <a:close/>
                </a:path>
              </a:pathLst>
            </a:custGeom>
            <a:solidFill>
              <a:srgbClr val="FFFFFF"/>
            </a:solidFill>
            <a:ln w="9525" cap="flat">
              <a:noFill/>
              <a:prstDash val="solid"/>
              <a:miter/>
            </a:ln>
          </p:spPr>
          <p:txBody>
            <a:bodyPr rtlCol="0" anchor="ctr"/>
            <a:lstStyle/>
            <a:p>
              <a:endParaRPr lang="zh-CN" altLang="en-US"/>
            </a:p>
          </p:txBody>
        </p:sp>
        <p:sp>
          <p:nvSpPr>
            <p:cNvPr id="748" name="îŝḷîdé">
              <a:extLst>
                <a:ext uri="{FF2B5EF4-FFF2-40B4-BE49-F238E27FC236}">
                  <a16:creationId xmlns:a16="http://schemas.microsoft.com/office/drawing/2014/main" id="{EBE0AC25-5AF7-4E92-91C4-516BDBCFC911}"/>
                </a:ext>
              </a:extLst>
            </p:cNvPr>
            <p:cNvSpPr/>
            <p:nvPr/>
          </p:nvSpPr>
          <p:spPr>
            <a:xfrm>
              <a:off x="5649984" y="5150269"/>
              <a:ext cx="106330" cy="61104"/>
            </a:xfrm>
            <a:custGeom>
              <a:avLst/>
              <a:gdLst>
                <a:gd name="connsiteX0" fmla="*/ 1378 w 34932"/>
                <a:gd name="connsiteY0" fmla="*/ 12029 h 20074"/>
                <a:gd name="connsiteX1" fmla="*/ 13570 w 34932"/>
                <a:gd name="connsiteY1" fmla="*/ 18983 h 20074"/>
                <a:gd name="connsiteX2" fmla="*/ 21000 w 34932"/>
                <a:gd name="connsiteY2" fmla="*/ 18983 h 20074"/>
                <a:gd name="connsiteX3" fmla="*/ 33097 w 34932"/>
                <a:gd name="connsiteY3" fmla="*/ 12029 h 20074"/>
                <a:gd name="connsiteX4" fmla="*/ 33097 w 34932"/>
                <a:gd name="connsiteY4" fmla="*/ 7743 h 20074"/>
                <a:gd name="connsiteX5" fmla="*/ 21000 w 34932"/>
                <a:gd name="connsiteY5" fmla="*/ 695 h 20074"/>
                <a:gd name="connsiteX6" fmla="*/ 13570 w 34932"/>
                <a:gd name="connsiteY6" fmla="*/ 695 h 20074"/>
                <a:gd name="connsiteX7" fmla="*/ 1378 w 34932"/>
                <a:gd name="connsiteY7" fmla="*/ 7743 h 20074"/>
                <a:gd name="connsiteX8" fmla="*/ 1378 w 34932"/>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932" h="20074">
                  <a:moveTo>
                    <a:pt x="1378" y="12029"/>
                  </a:moveTo>
                  <a:lnTo>
                    <a:pt x="13570" y="18983"/>
                  </a:lnTo>
                  <a:cubicBezTo>
                    <a:pt x="15894" y="20221"/>
                    <a:pt x="18676" y="20221"/>
                    <a:pt x="21000" y="18983"/>
                  </a:cubicBezTo>
                  <a:lnTo>
                    <a:pt x="33097" y="12029"/>
                  </a:lnTo>
                  <a:cubicBezTo>
                    <a:pt x="35097" y="10791"/>
                    <a:pt x="35097" y="8886"/>
                    <a:pt x="33097" y="7743"/>
                  </a:cubicBezTo>
                  <a:lnTo>
                    <a:pt x="21000" y="695"/>
                  </a:lnTo>
                  <a:cubicBezTo>
                    <a:pt x="18656" y="-448"/>
                    <a:pt x="15913" y="-448"/>
                    <a:pt x="13570" y="695"/>
                  </a:cubicBezTo>
                  <a:lnTo>
                    <a:pt x="1378" y="7743"/>
                  </a:lnTo>
                  <a:cubicBezTo>
                    <a:pt x="-908" y="8886"/>
                    <a:pt x="-908" y="10791"/>
                    <a:pt x="1378" y="12029"/>
                  </a:cubicBezTo>
                  <a:close/>
                </a:path>
              </a:pathLst>
            </a:custGeom>
            <a:solidFill>
              <a:srgbClr val="D1D9E8"/>
            </a:solidFill>
            <a:ln w="9525" cap="flat">
              <a:noFill/>
              <a:prstDash val="solid"/>
              <a:miter/>
            </a:ln>
          </p:spPr>
          <p:txBody>
            <a:bodyPr rtlCol="0" anchor="ctr"/>
            <a:lstStyle/>
            <a:p>
              <a:endParaRPr lang="zh-CN" altLang="en-US"/>
            </a:p>
          </p:txBody>
        </p:sp>
        <p:sp>
          <p:nvSpPr>
            <p:cNvPr id="749" name="ïś1îďê">
              <a:extLst>
                <a:ext uri="{FF2B5EF4-FFF2-40B4-BE49-F238E27FC236}">
                  <a16:creationId xmlns:a16="http://schemas.microsoft.com/office/drawing/2014/main" id="{0D7796B6-D7C8-4F91-84EC-33815DAAA207}"/>
                </a:ext>
              </a:extLst>
            </p:cNvPr>
            <p:cNvSpPr/>
            <p:nvPr/>
          </p:nvSpPr>
          <p:spPr>
            <a:xfrm>
              <a:off x="5648240" y="5180714"/>
              <a:ext cx="109889" cy="54961"/>
            </a:xfrm>
            <a:custGeom>
              <a:avLst/>
              <a:gdLst>
                <a:gd name="connsiteX0" fmla="*/ -335 w 36101"/>
                <a:gd name="connsiteY0" fmla="*/ -163 h 18056"/>
                <a:gd name="connsiteX1" fmla="*/ -335 w 36101"/>
                <a:gd name="connsiteY1" fmla="*/ 7457 h 18056"/>
                <a:gd name="connsiteX2" fmla="*/ 1285 w 36101"/>
                <a:gd name="connsiteY2" fmla="*/ 9648 h 18056"/>
                <a:gd name="connsiteX3" fmla="*/ 13857 w 36101"/>
                <a:gd name="connsiteY3" fmla="*/ 16887 h 18056"/>
                <a:gd name="connsiteX4" fmla="*/ 21573 w 36101"/>
                <a:gd name="connsiteY4" fmla="*/ 16887 h 18056"/>
                <a:gd name="connsiteX5" fmla="*/ 34146 w 36101"/>
                <a:gd name="connsiteY5" fmla="*/ 9648 h 18056"/>
                <a:gd name="connsiteX6" fmla="*/ 35765 w 36101"/>
                <a:gd name="connsiteY6" fmla="*/ 7362 h 18056"/>
                <a:gd name="connsiteX7" fmla="*/ 35765 w 36101"/>
                <a:gd name="connsiteY7" fmla="*/ 218 h 18056"/>
                <a:gd name="connsiteX8" fmla="*/ 34146 w 36101"/>
                <a:gd name="connsiteY8" fmla="*/ 2504 h 18056"/>
                <a:gd name="connsiteX9" fmla="*/ 31860 w 36101"/>
                <a:gd name="connsiteY9" fmla="*/ 3838 h 18056"/>
                <a:gd name="connsiteX10" fmla="*/ 21573 w 36101"/>
                <a:gd name="connsiteY10" fmla="*/ 9743 h 18056"/>
                <a:gd name="connsiteX11" fmla="*/ 13857 w 36101"/>
                <a:gd name="connsiteY11" fmla="*/ 9743 h 18056"/>
                <a:gd name="connsiteX12" fmla="*/ 3571 w 36101"/>
                <a:gd name="connsiteY12" fmla="*/ 3838 h 18056"/>
                <a:gd name="connsiteX13" fmla="*/ 1285 w 36101"/>
                <a:gd name="connsiteY13" fmla="*/ 2504 h 18056"/>
                <a:gd name="connsiteX14" fmla="*/ -335 w 36101"/>
                <a:gd name="connsiteY14" fmla="*/ -163 h 18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101" h="18056">
                  <a:moveTo>
                    <a:pt x="-335" y="-163"/>
                  </a:moveTo>
                  <a:lnTo>
                    <a:pt x="-335" y="7457"/>
                  </a:lnTo>
                  <a:cubicBezTo>
                    <a:pt x="-201" y="8410"/>
                    <a:pt x="408" y="9239"/>
                    <a:pt x="1285" y="9648"/>
                  </a:cubicBezTo>
                  <a:lnTo>
                    <a:pt x="13857" y="16887"/>
                  </a:lnTo>
                  <a:cubicBezTo>
                    <a:pt x="16258" y="18230"/>
                    <a:pt x="19173" y="18230"/>
                    <a:pt x="21573" y="16887"/>
                  </a:cubicBezTo>
                  <a:lnTo>
                    <a:pt x="34146" y="9648"/>
                  </a:lnTo>
                  <a:cubicBezTo>
                    <a:pt x="35070" y="9257"/>
                    <a:pt x="35698" y="8372"/>
                    <a:pt x="35765" y="7362"/>
                  </a:cubicBezTo>
                  <a:lnTo>
                    <a:pt x="35765" y="218"/>
                  </a:lnTo>
                  <a:cubicBezTo>
                    <a:pt x="35698" y="1228"/>
                    <a:pt x="35070" y="2114"/>
                    <a:pt x="34146" y="2504"/>
                  </a:cubicBezTo>
                  <a:lnTo>
                    <a:pt x="31860" y="3838"/>
                  </a:lnTo>
                  <a:lnTo>
                    <a:pt x="21573" y="9743"/>
                  </a:lnTo>
                  <a:cubicBezTo>
                    <a:pt x="19153" y="10981"/>
                    <a:pt x="16277" y="10981"/>
                    <a:pt x="13857" y="9743"/>
                  </a:cubicBezTo>
                  <a:lnTo>
                    <a:pt x="3571" y="3838"/>
                  </a:lnTo>
                  <a:lnTo>
                    <a:pt x="1285" y="2504"/>
                  </a:lnTo>
                  <a:cubicBezTo>
                    <a:pt x="265" y="2018"/>
                    <a:pt x="-373" y="971"/>
                    <a:pt x="-335" y="-163"/>
                  </a:cubicBezTo>
                  <a:close/>
                </a:path>
              </a:pathLst>
            </a:custGeom>
            <a:solidFill>
              <a:srgbClr val="BF4200"/>
            </a:solidFill>
            <a:ln w="9525" cap="flat">
              <a:noFill/>
              <a:prstDash val="solid"/>
              <a:miter/>
            </a:ln>
          </p:spPr>
          <p:txBody>
            <a:bodyPr rtlCol="0" anchor="ctr"/>
            <a:lstStyle/>
            <a:p>
              <a:endParaRPr lang="zh-CN" altLang="en-US"/>
            </a:p>
          </p:txBody>
        </p:sp>
        <p:sp>
          <p:nvSpPr>
            <p:cNvPr id="750" name="îslïḓè">
              <a:extLst>
                <a:ext uri="{FF2B5EF4-FFF2-40B4-BE49-F238E27FC236}">
                  <a16:creationId xmlns:a16="http://schemas.microsoft.com/office/drawing/2014/main" id="{E3DEC783-FAC2-4F35-9CB8-20D881237EF0}"/>
                </a:ext>
              </a:extLst>
            </p:cNvPr>
            <p:cNvSpPr/>
            <p:nvPr/>
          </p:nvSpPr>
          <p:spPr>
            <a:xfrm>
              <a:off x="5725945" y="5193739"/>
              <a:ext cx="109740" cy="63445"/>
            </a:xfrm>
            <a:custGeom>
              <a:avLst/>
              <a:gdLst>
                <a:gd name="connsiteX0" fmla="*/ -336 w 36052"/>
                <a:gd name="connsiteY0" fmla="*/ 10227 h 20843"/>
                <a:gd name="connsiteX1" fmla="*/ 1188 w 36052"/>
                <a:gd name="connsiteY1" fmla="*/ 12513 h 20843"/>
                <a:gd name="connsiteX2" fmla="*/ 3569 w 36052"/>
                <a:gd name="connsiteY2" fmla="*/ 13846 h 20843"/>
                <a:gd name="connsiteX3" fmla="*/ 13856 w 36052"/>
                <a:gd name="connsiteY3" fmla="*/ 19752 h 20843"/>
                <a:gd name="connsiteX4" fmla="*/ 21476 w 36052"/>
                <a:gd name="connsiteY4" fmla="*/ 19752 h 20843"/>
                <a:gd name="connsiteX5" fmla="*/ 31763 w 36052"/>
                <a:gd name="connsiteY5" fmla="*/ 13846 h 20843"/>
                <a:gd name="connsiteX6" fmla="*/ 34144 w 36052"/>
                <a:gd name="connsiteY6" fmla="*/ 12513 h 20843"/>
                <a:gd name="connsiteX7" fmla="*/ 35573 w 36052"/>
                <a:gd name="connsiteY7" fmla="*/ 9465 h 20843"/>
                <a:gd name="connsiteX8" fmla="*/ 34144 w 36052"/>
                <a:gd name="connsiteY8" fmla="*/ 8036 h 20843"/>
                <a:gd name="connsiteX9" fmla="*/ 21476 w 36052"/>
                <a:gd name="connsiteY9" fmla="*/ 702 h 20843"/>
                <a:gd name="connsiteX10" fmla="*/ 13856 w 36052"/>
                <a:gd name="connsiteY10" fmla="*/ 702 h 20843"/>
                <a:gd name="connsiteX11" fmla="*/ 1188 w 36052"/>
                <a:gd name="connsiteY11" fmla="*/ 8036 h 20843"/>
                <a:gd name="connsiteX12" fmla="*/ -336 w 36052"/>
                <a:gd name="connsiteY12" fmla="*/ 10227 h 20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3">
                  <a:moveTo>
                    <a:pt x="-336" y="10227"/>
                  </a:moveTo>
                  <a:cubicBezTo>
                    <a:pt x="-269" y="11208"/>
                    <a:pt x="311" y="12075"/>
                    <a:pt x="1188" y="12513"/>
                  </a:cubicBezTo>
                  <a:lnTo>
                    <a:pt x="3569" y="13846"/>
                  </a:lnTo>
                  <a:lnTo>
                    <a:pt x="13856" y="19752"/>
                  </a:lnTo>
                  <a:cubicBezTo>
                    <a:pt x="16247" y="20990"/>
                    <a:pt x="19085" y="20990"/>
                    <a:pt x="21476" y="19752"/>
                  </a:cubicBezTo>
                  <a:lnTo>
                    <a:pt x="31763" y="13846"/>
                  </a:lnTo>
                  <a:lnTo>
                    <a:pt x="34144" y="12513"/>
                  </a:lnTo>
                  <a:cubicBezTo>
                    <a:pt x="35382" y="12065"/>
                    <a:pt x="36021" y="10694"/>
                    <a:pt x="35573" y="9465"/>
                  </a:cubicBezTo>
                  <a:cubicBezTo>
                    <a:pt x="35325" y="8798"/>
                    <a:pt x="34811" y="8274"/>
                    <a:pt x="34144"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751" name="ïṧ1iďê">
              <a:extLst>
                <a:ext uri="{FF2B5EF4-FFF2-40B4-BE49-F238E27FC236}">
                  <a16:creationId xmlns:a16="http://schemas.microsoft.com/office/drawing/2014/main" id="{196062B8-5CC3-414E-BB3D-236296D19742}"/>
                </a:ext>
              </a:extLst>
            </p:cNvPr>
            <p:cNvSpPr/>
            <p:nvPr/>
          </p:nvSpPr>
          <p:spPr>
            <a:xfrm>
              <a:off x="5727829" y="5195791"/>
              <a:ext cx="105898" cy="61101"/>
            </a:xfrm>
            <a:custGeom>
              <a:avLst/>
              <a:gdLst>
                <a:gd name="connsiteX0" fmla="*/ 1235 w 34790"/>
                <a:gd name="connsiteY0" fmla="*/ 12029 h 20073"/>
                <a:gd name="connsiteX1" fmla="*/ 13332 w 34790"/>
                <a:gd name="connsiteY1" fmla="*/ 18983 h 20073"/>
                <a:gd name="connsiteX2" fmla="*/ 20761 w 34790"/>
                <a:gd name="connsiteY2" fmla="*/ 18983 h 20073"/>
                <a:gd name="connsiteX3" fmla="*/ 32953 w 34790"/>
                <a:gd name="connsiteY3" fmla="*/ 12029 h 20073"/>
                <a:gd name="connsiteX4" fmla="*/ 32953 w 34790"/>
                <a:gd name="connsiteY4" fmla="*/ 7743 h 20073"/>
                <a:gd name="connsiteX5" fmla="*/ 20761 w 34790"/>
                <a:gd name="connsiteY5" fmla="*/ 695 h 20073"/>
                <a:gd name="connsiteX6" fmla="*/ 13332 w 34790"/>
                <a:gd name="connsiteY6" fmla="*/ 695 h 20073"/>
                <a:gd name="connsiteX7" fmla="*/ 1235 w 34790"/>
                <a:gd name="connsiteY7" fmla="*/ 7743 h 20073"/>
                <a:gd name="connsiteX8" fmla="*/ 1235 w 34790"/>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3">
                  <a:moveTo>
                    <a:pt x="1235" y="12029"/>
                  </a:moveTo>
                  <a:lnTo>
                    <a:pt x="13332" y="18983"/>
                  </a:lnTo>
                  <a:cubicBezTo>
                    <a:pt x="15656" y="20221"/>
                    <a:pt x="18437" y="20221"/>
                    <a:pt x="20761" y="18983"/>
                  </a:cubicBezTo>
                  <a:lnTo>
                    <a:pt x="32953" y="12029"/>
                  </a:lnTo>
                  <a:cubicBezTo>
                    <a:pt x="34954" y="10791"/>
                    <a:pt x="34954" y="8886"/>
                    <a:pt x="32953" y="7743"/>
                  </a:cubicBezTo>
                  <a:lnTo>
                    <a:pt x="20761" y="695"/>
                  </a:lnTo>
                  <a:cubicBezTo>
                    <a:pt x="18418" y="-448"/>
                    <a:pt x="15675" y="-448"/>
                    <a:pt x="13332" y="695"/>
                  </a:cubicBezTo>
                  <a:lnTo>
                    <a:pt x="1235" y="7743"/>
                  </a:lnTo>
                  <a:cubicBezTo>
                    <a:pt x="-860" y="8600"/>
                    <a:pt x="-860" y="10505"/>
                    <a:pt x="1235" y="12029"/>
                  </a:cubicBezTo>
                  <a:close/>
                </a:path>
              </a:pathLst>
            </a:custGeom>
            <a:solidFill>
              <a:srgbClr val="D1D9E8"/>
            </a:solidFill>
            <a:ln w="9525" cap="flat">
              <a:noFill/>
              <a:prstDash val="solid"/>
              <a:miter/>
            </a:ln>
          </p:spPr>
          <p:txBody>
            <a:bodyPr rtlCol="0" anchor="ctr"/>
            <a:lstStyle/>
            <a:p>
              <a:endParaRPr lang="zh-CN" altLang="en-US"/>
            </a:p>
          </p:txBody>
        </p:sp>
        <p:sp>
          <p:nvSpPr>
            <p:cNvPr id="752" name="îṩľiḑé">
              <a:extLst>
                <a:ext uri="{FF2B5EF4-FFF2-40B4-BE49-F238E27FC236}">
                  <a16:creationId xmlns:a16="http://schemas.microsoft.com/office/drawing/2014/main" id="{D84F20E0-0431-4D53-8BD4-8134669C4253}"/>
                </a:ext>
              </a:extLst>
            </p:cNvPr>
            <p:cNvSpPr/>
            <p:nvPr/>
          </p:nvSpPr>
          <p:spPr>
            <a:xfrm>
              <a:off x="5725945" y="5225363"/>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4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4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20"/>
                    <a:pt x="35582" y="7953"/>
                    <a:pt x="35668" y="6981"/>
                  </a:cubicBezTo>
                  <a:lnTo>
                    <a:pt x="35668" y="-163"/>
                  </a:lnTo>
                  <a:cubicBezTo>
                    <a:pt x="35602" y="818"/>
                    <a:pt x="35021" y="1685"/>
                    <a:pt x="34144" y="2124"/>
                  </a:cubicBezTo>
                  <a:lnTo>
                    <a:pt x="31763" y="3457"/>
                  </a:lnTo>
                  <a:lnTo>
                    <a:pt x="21476" y="9362"/>
                  </a:lnTo>
                  <a:cubicBezTo>
                    <a:pt x="19085" y="10601"/>
                    <a:pt x="16247" y="10601"/>
                    <a:pt x="13856" y="9362"/>
                  </a:cubicBezTo>
                  <a:lnTo>
                    <a:pt x="3569" y="3457"/>
                  </a:lnTo>
                  <a:lnTo>
                    <a:pt x="1188" y="2124"/>
                  </a:lnTo>
                  <a:cubicBezTo>
                    <a:pt x="311"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53" name="îṡḷîḍê">
              <a:extLst>
                <a:ext uri="{FF2B5EF4-FFF2-40B4-BE49-F238E27FC236}">
                  <a16:creationId xmlns:a16="http://schemas.microsoft.com/office/drawing/2014/main" id="{39B618A4-1EBC-4C34-8A77-911134B0F03A}"/>
                </a:ext>
              </a:extLst>
            </p:cNvPr>
            <p:cNvSpPr/>
            <p:nvPr/>
          </p:nvSpPr>
          <p:spPr>
            <a:xfrm>
              <a:off x="5803358" y="5238388"/>
              <a:ext cx="109447" cy="63445"/>
            </a:xfrm>
            <a:custGeom>
              <a:avLst/>
              <a:gdLst>
                <a:gd name="connsiteX0" fmla="*/ -336 w 35956"/>
                <a:gd name="connsiteY0" fmla="*/ 10227 h 20843"/>
                <a:gd name="connsiteX1" fmla="*/ 1188 w 35956"/>
                <a:gd name="connsiteY1" fmla="*/ 12513 h 20843"/>
                <a:gd name="connsiteX2" fmla="*/ 3569 w 35956"/>
                <a:gd name="connsiteY2" fmla="*/ 13846 h 20843"/>
                <a:gd name="connsiteX3" fmla="*/ 13856 w 35956"/>
                <a:gd name="connsiteY3" fmla="*/ 19752 h 20843"/>
                <a:gd name="connsiteX4" fmla="*/ 21476 w 35956"/>
                <a:gd name="connsiteY4" fmla="*/ 19752 h 20843"/>
                <a:gd name="connsiteX5" fmla="*/ 31763 w 35956"/>
                <a:gd name="connsiteY5" fmla="*/ 13846 h 20843"/>
                <a:gd name="connsiteX6" fmla="*/ 34049 w 35956"/>
                <a:gd name="connsiteY6" fmla="*/ 12513 h 20843"/>
                <a:gd name="connsiteX7" fmla="*/ 35477 w 35956"/>
                <a:gd name="connsiteY7" fmla="*/ 9465 h 20843"/>
                <a:gd name="connsiteX8" fmla="*/ 34049 w 35956"/>
                <a:gd name="connsiteY8" fmla="*/ 8036 h 20843"/>
                <a:gd name="connsiteX9" fmla="*/ 21476 w 35956"/>
                <a:gd name="connsiteY9" fmla="*/ 702 h 20843"/>
                <a:gd name="connsiteX10" fmla="*/ 13856 w 35956"/>
                <a:gd name="connsiteY10" fmla="*/ 702 h 20843"/>
                <a:gd name="connsiteX11" fmla="*/ 1188 w 35956"/>
                <a:gd name="connsiteY11" fmla="*/ 8036 h 20843"/>
                <a:gd name="connsiteX12" fmla="*/ -336 w 35956"/>
                <a:gd name="connsiteY12" fmla="*/ 10227 h 20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956" h="20843">
                  <a:moveTo>
                    <a:pt x="-336" y="10227"/>
                  </a:moveTo>
                  <a:cubicBezTo>
                    <a:pt x="-270" y="11208"/>
                    <a:pt x="311" y="12075"/>
                    <a:pt x="1188" y="12513"/>
                  </a:cubicBezTo>
                  <a:lnTo>
                    <a:pt x="3569" y="13846"/>
                  </a:lnTo>
                  <a:lnTo>
                    <a:pt x="13856" y="19752"/>
                  </a:lnTo>
                  <a:cubicBezTo>
                    <a:pt x="16247" y="20990"/>
                    <a:pt x="19085" y="20990"/>
                    <a:pt x="21476" y="19752"/>
                  </a:cubicBezTo>
                  <a:lnTo>
                    <a:pt x="31763" y="13846"/>
                  </a:lnTo>
                  <a:lnTo>
                    <a:pt x="34049" y="12513"/>
                  </a:lnTo>
                  <a:cubicBezTo>
                    <a:pt x="35287" y="12065"/>
                    <a:pt x="35925" y="10694"/>
                    <a:pt x="35477" y="9465"/>
                  </a:cubicBezTo>
                  <a:cubicBezTo>
                    <a:pt x="35230" y="8798"/>
                    <a:pt x="34716" y="8274"/>
                    <a:pt x="34049"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754" name="ïṥ1ïďè">
              <a:extLst>
                <a:ext uri="{FF2B5EF4-FFF2-40B4-BE49-F238E27FC236}">
                  <a16:creationId xmlns:a16="http://schemas.microsoft.com/office/drawing/2014/main" id="{66E77DE4-7691-4EC9-AAFB-FFC6EFB852B2}"/>
                </a:ext>
              </a:extLst>
            </p:cNvPr>
            <p:cNvSpPr/>
            <p:nvPr/>
          </p:nvSpPr>
          <p:spPr>
            <a:xfrm>
              <a:off x="5805170" y="5239572"/>
              <a:ext cx="105898" cy="61101"/>
            </a:xfrm>
            <a:custGeom>
              <a:avLst/>
              <a:gdLst>
                <a:gd name="connsiteX0" fmla="*/ 1164 w 34790"/>
                <a:gd name="connsiteY0" fmla="*/ 12029 h 20073"/>
                <a:gd name="connsiteX1" fmla="*/ 13356 w 34790"/>
                <a:gd name="connsiteY1" fmla="*/ 18982 h 20073"/>
                <a:gd name="connsiteX2" fmla="*/ 20785 w 34790"/>
                <a:gd name="connsiteY2" fmla="*/ 18982 h 20073"/>
                <a:gd name="connsiteX3" fmla="*/ 32882 w 34790"/>
                <a:gd name="connsiteY3" fmla="*/ 12029 h 20073"/>
                <a:gd name="connsiteX4" fmla="*/ 32882 w 34790"/>
                <a:gd name="connsiteY4" fmla="*/ 7743 h 20073"/>
                <a:gd name="connsiteX5" fmla="*/ 20785 w 34790"/>
                <a:gd name="connsiteY5" fmla="*/ 695 h 20073"/>
                <a:gd name="connsiteX6" fmla="*/ 13356 w 34790"/>
                <a:gd name="connsiteY6" fmla="*/ 695 h 20073"/>
                <a:gd name="connsiteX7" fmla="*/ 1164 w 34790"/>
                <a:gd name="connsiteY7" fmla="*/ 7743 h 20073"/>
                <a:gd name="connsiteX8" fmla="*/ 1164 w 34790"/>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3">
                  <a:moveTo>
                    <a:pt x="1164" y="12029"/>
                  </a:moveTo>
                  <a:lnTo>
                    <a:pt x="13356" y="18982"/>
                  </a:lnTo>
                  <a:cubicBezTo>
                    <a:pt x="15680" y="20221"/>
                    <a:pt x="18461" y="20221"/>
                    <a:pt x="20785" y="18982"/>
                  </a:cubicBezTo>
                  <a:lnTo>
                    <a:pt x="32882" y="12029"/>
                  </a:lnTo>
                  <a:cubicBezTo>
                    <a:pt x="34978" y="10791"/>
                    <a:pt x="34978" y="8886"/>
                    <a:pt x="32882" y="7743"/>
                  </a:cubicBezTo>
                  <a:lnTo>
                    <a:pt x="20785" y="695"/>
                  </a:lnTo>
                  <a:cubicBezTo>
                    <a:pt x="18442" y="-448"/>
                    <a:pt x="15699" y="-448"/>
                    <a:pt x="13356" y="695"/>
                  </a:cubicBezTo>
                  <a:lnTo>
                    <a:pt x="1164" y="7743"/>
                  </a:lnTo>
                  <a:cubicBezTo>
                    <a:pt x="-836" y="8886"/>
                    <a:pt x="-836" y="10791"/>
                    <a:pt x="1164" y="12029"/>
                  </a:cubicBezTo>
                  <a:close/>
                </a:path>
              </a:pathLst>
            </a:custGeom>
            <a:solidFill>
              <a:srgbClr val="D1D9E8"/>
            </a:solidFill>
            <a:ln w="9525" cap="flat">
              <a:noFill/>
              <a:prstDash val="solid"/>
              <a:miter/>
            </a:ln>
          </p:spPr>
          <p:txBody>
            <a:bodyPr rtlCol="0" anchor="ctr"/>
            <a:lstStyle/>
            <a:p>
              <a:endParaRPr lang="zh-CN" altLang="en-US"/>
            </a:p>
          </p:txBody>
        </p:sp>
        <p:sp>
          <p:nvSpPr>
            <p:cNvPr id="755" name="îsļïḑé">
              <a:extLst>
                <a:ext uri="{FF2B5EF4-FFF2-40B4-BE49-F238E27FC236}">
                  <a16:creationId xmlns:a16="http://schemas.microsoft.com/office/drawing/2014/main" id="{CD9273CC-D65A-40AC-A298-37CB0AC1F338}"/>
                </a:ext>
              </a:extLst>
            </p:cNvPr>
            <p:cNvSpPr/>
            <p:nvPr/>
          </p:nvSpPr>
          <p:spPr>
            <a:xfrm>
              <a:off x="5803358" y="5268854"/>
              <a:ext cx="109594" cy="53804"/>
            </a:xfrm>
            <a:custGeom>
              <a:avLst/>
              <a:gdLst>
                <a:gd name="connsiteX0" fmla="*/ -336 w 36004"/>
                <a:gd name="connsiteY0" fmla="*/ 218 h 17676"/>
                <a:gd name="connsiteX1" fmla="*/ -336 w 36004"/>
                <a:gd name="connsiteY1" fmla="*/ 7076 h 17676"/>
                <a:gd name="connsiteX2" fmla="*/ 1188 w 36004"/>
                <a:gd name="connsiteY2" fmla="*/ 9267 h 17676"/>
                <a:gd name="connsiteX3" fmla="*/ 13856 w 36004"/>
                <a:gd name="connsiteY3" fmla="*/ 16506 h 17676"/>
                <a:gd name="connsiteX4" fmla="*/ 21476 w 36004"/>
                <a:gd name="connsiteY4" fmla="*/ 16506 h 17676"/>
                <a:gd name="connsiteX5" fmla="*/ 34049 w 36004"/>
                <a:gd name="connsiteY5" fmla="*/ 9267 h 17676"/>
                <a:gd name="connsiteX6" fmla="*/ 35668 w 36004"/>
                <a:gd name="connsiteY6" fmla="*/ 6981 h 17676"/>
                <a:gd name="connsiteX7" fmla="*/ 35668 w 36004"/>
                <a:gd name="connsiteY7" fmla="*/ -163 h 17676"/>
                <a:gd name="connsiteX8" fmla="*/ 34049 w 36004"/>
                <a:gd name="connsiteY8" fmla="*/ 2124 h 17676"/>
                <a:gd name="connsiteX9" fmla="*/ 31763 w 36004"/>
                <a:gd name="connsiteY9" fmla="*/ 3457 h 17676"/>
                <a:gd name="connsiteX10" fmla="*/ 21476 w 36004"/>
                <a:gd name="connsiteY10" fmla="*/ 9362 h 17676"/>
                <a:gd name="connsiteX11" fmla="*/ 13856 w 36004"/>
                <a:gd name="connsiteY11" fmla="*/ 9362 h 17676"/>
                <a:gd name="connsiteX12" fmla="*/ 3569 w 36004"/>
                <a:gd name="connsiteY12" fmla="*/ 3457 h 17676"/>
                <a:gd name="connsiteX13" fmla="*/ 1188 w 36004"/>
                <a:gd name="connsiteY13" fmla="*/ 2124 h 17676"/>
                <a:gd name="connsiteX14" fmla="*/ -336 w 36004"/>
                <a:gd name="connsiteY14" fmla="*/ 218 h 17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6">
                  <a:moveTo>
                    <a:pt x="-336" y="218"/>
                  </a:moveTo>
                  <a:lnTo>
                    <a:pt x="-336" y="7076"/>
                  </a:lnTo>
                  <a:cubicBezTo>
                    <a:pt x="-279" y="8029"/>
                    <a:pt x="311" y="8877"/>
                    <a:pt x="1188" y="9267"/>
                  </a:cubicBezTo>
                  <a:lnTo>
                    <a:pt x="13856" y="16506"/>
                  </a:lnTo>
                  <a:cubicBezTo>
                    <a:pt x="16218" y="17849"/>
                    <a:pt x="19114" y="17849"/>
                    <a:pt x="21476" y="16506"/>
                  </a:cubicBezTo>
                  <a:lnTo>
                    <a:pt x="34049" y="9267"/>
                  </a:lnTo>
                  <a:cubicBezTo>
                    <a:pt x="34992" y="8896"/>
                    <a:pt x="35630" y="8000"/>
                    <a:pt x="35668" y="6981"/>
                  </a:cubicBezTo>
                  <a:lnTo>
                    <a:pt x="35668" y="-163"/>
                  </a:lnTo>
                  <a:cubicBezTo>
                    <a:pt x="35601" y="847"/>
                    <a:pt x="34973" y="1733"/>
                    <a:pt x="34049" y="2124"/>
                  </a:cubicBezTo>
                  <a:lnTo>
                    <a:pt x="31763" y="3457"/>
                  </a:lnTo>
                  <a:lnTo>
                    <a:pt x="21476" y="9362"/>
                  </a:lnTo>
                  <a:cubicBezTo>
                    <a:pt x="19085" y="10601"/>
                    <a:pt x="16247" y="10601"/>
                    <a:pt x="13856" y="9362"/>
                  </a:cubicBezTo>
                  <a:lnTo>
                    <a:pt x="3569" y="3457"/>
                  </a:lnTo>
                  <a:lnTo>
                    <a:pt x="1188" y="2124"/>
                  </a:lnTo>
                  <a:cubicBezTo>
                    <a:pt x="416" y="1761"/>
                    <a:pt x="-156" y="1057"/>
                    <a:pt x="-336" y="218"/>
                  </a:cubicBezTo>
                  <a:close/>
                </a:path>
              </a:pathLst>
            </a:custGeom>
            <a:solidFill>
              <a:srgbClr val="BF4200"/>
            </a:solidFill>
            <a:ln w="9525" cap="flat">
              <a:noFill/>
              <a:prstDash val="solid"/>
              <a:miter/>
            </a:ln>
          </p:spPr>
          <p:txBody>
            <a:bodyPr rtlCol="0" anchor="ctr"/>
            <a:lstStyle/>
            <a:p>
              <a:endParaRPr lang="zh-CN" altLang="en-US"/>
            </a:p>
          </p:txBody>
        </p:sp>
        <p:sp>
          <p:nvSpPr>
            <p:cNvPr id="756" name="ïṥ1îḍè">
              <a:extLst>
                <a:ext uri="{FF2B5EF4-FFF2-40B4-BE49-F238E27FC236}">
                  <a16:creationId xmlns:a16="http://schemas.microsoft.com/office/drawing/2014/main" id="{292D7253-DAD1-4D7B-9FBA-5238B7AAB45A}"/>
                </a:ext>
              </a:extLst>
            </p:cNvPr>
            <p:cNvSpPr/>
            <p:nvPr/>
          </p:nvSpPr>
          <p:spPr>
            <a:xfrm>
              <a:off x="5880190" y="5283039"/>
              <a:ext cx="109740" cy="63445"/>
            </a:xfrm>
            <a:custGeom>
              <a:avLst/>
              <a:gdLst>
                <a:gd name="connsiteX0" fmla="*/ -336 w 36052"/>
                <a:gd name="connsiteY0" fmla="*/ 10227 h 20843"/>
                <a:gd name="connsiteX1" fmla="*/ 1188 w 36052"/>
                <a:gd name="connsiteY1" fmla="*/ 12513 h 20843"/>
                <a:gd name="connsiteX2" fmla="*/ 3569 w 36052"/>
                <a:gd name="connsiteY2" fmla="*/ 13846 h 20843"/>
                <a:gd name="connsiteX3" fmla="*/ 13856 w 36052"/>
                <a:gd name="connsiteY3" fmla="*/ 19752 h 20843"/>
                <a:gd name="connsiteX4" fmla="*/ 21476 w 36052"/>
                <a:gd name="connsiteY4" fmla="*/ 19752 h 20843"/>
                <a:gd name="connsiteX5" fmla="*/ 31763 w 36052"/>
                <a:gd name="connsiteY5" fmla="*/ 13846 h 20843"/>
                <a:gd name="connsiteX6" fmla="*/ 34144 w 36052"/>
                <a:gd name="connsiteY6" fmla="*/ 12513 h 20843"/>
                <a:gd name="connsiteX7" fmla="*/ 35573 w 36052"/>
                <a:gd name="connsiteY7" fmla="*/ 9465 h 20843"/>
                <a:gd name="connsiteX8" fmla="*/ 34144 w 36052"/>
                <a:gd name="connsiteY8" fmla="*/ 8036 h 20843"/>
                <a:gd name="connsiteX9" fmla="*/ 21476 w 36052"/>
                <a:gd name="connsiteY9" fmla="*/ 702 h 20843"/>
                <a:gd name="connsiteX10" fmla="*/ 13856 w 36052"/>
                <a:gd name="connsiteY10" fmla="*/ 702 h 20843"/>
                <a:gd name="connsiteX11" fmla="*/ 1188 w 36052"/>
                <a:gd name="connsiteY11" fmla="*/ 8036 h 20843"/>
                <a:gd name="connsiteX12" fmla="*/ -336 w 36052"/>
                <a:gd name="connsiteY12" fmla="*/ 10227 h 20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3">
                  <a:moveTo>
                    <a:pt x="-336" y="10227"/>
                  </a:moveTo>
                  <a:cubicBezTo>
                    <a:pt x="-270" y="11208"/>
                    <a:pt x="311" y="12075"/>
                    <a:pt x="1188" y="12513"/>
                  </a:cubicBezTo>
                  <a:lnTo>
                    <a:pt x="3569" y="13846"/>
                  </a:lnTo>
                  <a:lnTo>
                    <a:pt x="13856" y="19752"/>
                  </a:lnTo>
                  <a:cubicBezTo>
                    <a:pt x="16247" y="20990"/>
                    <a:pt x="19085" y="20990"/>
                    <a:pt x="21476" y="19752"/>
                  </a:cubicBezTo>
                  <a:lnTo>
                    <a:pt x="31763" y="13846"/>
                  </a:lnTo>
                  <a:lnTo>
                    <a:pt x="34144" y="12513"/>
                  </a:lnTo>
                  <a:cubicBezTo>
                    <a:pt x="35382" y="12065"/>
                    <a:pt x="36020" y="10693"/>
                    <a:pt x="35573" y="9465"/>
                  </a:cubicBezTo>
                  <a:cubicBezTo>
                    <a:pt x="35325" y="8798"/>
                    <a:pt x="34811" y="8274"/>
                    <a:pt x="34144"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757" name="iṩḷîďé">
              <a:extLst>
                <a:ext uri="{FF2B5EF4-FFF2-40B4-BE49-F238E27FC236}">
                  <a16:creationId xmlns:a16="http://schemas.microsoft.com/office/drawing/2014/main" id="{2BDA689A-97F4-4FBB-9FC6-1F359020D99D}"/>
                </a:ext>
              </a:extLst>
            </p:cNvPr>
            <p:cNvSpPr/>
            <p:nvPr/>
          </p:nvSpPr>
          <p:spPr>
            <a:xfrm>
              <a:off x="5881931" y="5284220"/>
              <a:ext cx="106550" cy="61104"/>
            </a:xfrm>
            <a:custGeom>
              <a:avLst/>
              <a:gdLst>
                <a:gd name="connsiteX0" fmla="*/ 1378 w 35004"/>
                <a:gd name="connsiteY0" fmla="*/ 12029 h 20074"/>
                <a:gd name="connsiteX1" fmla="*/ 13570 w 35004"/>
                <a:gd name="connsiteY1" fmla="*/ 18983 h 20074"/>
                <a:gd name="connsiteX2" fmla="*/ 21000 w 35004"/>
                <a:gd name="connsiteY2" fmla="*/ 18983 h 20074"/>
                <a:gd name="connsiteX3" fmla="*/ 33097 w 35004"/>
                <a:gd name="connsiteY3" fmla="*/ 12029 h 20074"/>
                <a:gd name="connsiteX4" fmla="*/ 33097 w 35004"/>
                <a:gd name="connsiteY4" fmla="*/ 7743 h 20074"/>
                <a:gd name="connsiteX5" fmla="*/ 21000 w 35004"/>
                <a:gd name="connsiteY5" fmla="*/ 695 h 20074"/>
                <a:gd name="connsiteX6" fmla="*/ 13570 w 35004"/>
                <a:gd name="connsiteY6" fmla="*/ 695 h 20074"/>
                <a:gd name="connsiteX7" fmla="*/ 1378 w 35004"/>
                <a:gd name="connsiteY7" fmla="*/ 7743 h 20074"/>
                <a:gd name="connsiteX8" fmla="*/ 1378 w 35004"/>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004" h="20074">
                  <a:moveTo>
                    <a:pt x="1378" y="12029"/>
                  </a:moveTo>
                  <a:lnTo>
                    <a:pt x="13570" y="18983"/>
                  </a:lnTo>
                  <a:cubicBezTo>
                    <a:pt x="15894" y="20221"/>
                    <a:pt x="18676" y="20221"/>
                    <a:pt x="21000" y="18983"/>
                  </a:cubicBezTo>
                  <a:lnTo>
                    <a:pt x="33097" y="12029"/>
                  </a:lnTo>
                  <a:cubicBezTo>
                    <a:pt x="35192" y="10791"/>
                    <a:pt x="35192" y="8886"/>
                    <a:pt x="33097" y="7743"/>
                  </a:cubicBezTo>
                  <a:lnTo>
                    <a:pt x="21000" y="695"/>
                  </a:lnTo>
                  <a:cubicBezTo>
                    <a:pt x="18656" y="-448"/>
                    <a:pt x="15913" y="-448"/>
                    <a:pt x="13570" y="695"/>
                  </a:cubicBezTo>
                  <a:lnTo>
                    <a:pt x="1378" y="7743"/>
                  </a:lnTo>
                  <a:cubicBezTo>
                    <a:pt x="-908" y="8886"/>
                    <a:pt x="-908" y="10791"/>
                    <a:pt x="1378" y="12029"/>
                  </a:cubicBezTo>
                  <a:close/>
                </a:path>
              </a:pathLst>
            </a:custGeom>
            <a:solidFill>
              <a:srgbClr val="D1D9E8"/>
            </a:solidFill>
            <a:ln w="9525" cap="flat">
              <a:noFill/>
              <a:prstDash val="solid"/>
              <a:miter/>
            </a:ln>
          </p:spPr>
          <p:txBody>
            <a:bodyPr rtlCol="0" anchor="ctr"/>
            <a:lstStyle/>
            <a:p>
              <a:endParaRPr lang="zh-CN" altLang="en-US"/>
            </a:p>
          </p:txBody>
        </p:sp>
        <p:sp>
          <p:nvSpPr>
            <p:cNvPr id="758" name="íŝḷíďé">
              <a:extLst>
                <a:ext uri="{FF2B5EF4-FFF2-40B4-BE49-F238E27FC236}">
                  <a16:creationId xmlns:a16="http://schemas.microsoft.com/office/drawing/2014/main" id="{0672DC44-DFB5-4EE6-A7DC-62CEDDA27E7A}"/>
                </a:ext>
              </a:extLst>
            </p:cNvPr>
            <p:cNvSpPr/>
            <p:nvPr/>
          </p:nvSpPr>
          <p:spPr>
            <a:xfrm>
              <a:off x="5880190" y="5314662"/>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3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3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2" y="7953"/>
                    <a:pt x="35668" y="6981"/>
                  </a:cubicBezTo>
                  <a:lnTo>
                    <a:pt x="35668" y="-163"/>
                  </a:lnTo>
                  <a:cubicBezTo>
                    <a:pt x="35602" y="818"/>
                    <a:pt x="35021" y="1685"/>
                    <a:pt x="34144" y="2123"/>
                  </a:cubicBezTo>
                  <a:lnTo>
                    <a:pt x="31763" y="3457"/>
                  </a:lnTo>
                  <a:lnTo>
                    <a:pt x="21476" y="9362"/>
                  </a:lnTo>
                  <a:cubicBezTo>
                    <a:pt x="19085" y="10601"/>
                    <a:pt x="16247" y="10601"/>
                    <a:pt x="13856" y="9362"/>
                  </a:cubicBezTo>
                  <a:lnTo>
                    <a:pt x="3569" y="3457"/>
                  </a:lnTo>
                  <a:lnTo>
                    <a:pt x="1188"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59" name="ïsḷíde">
              <a:extLst>
                <a:ext uri="{FF2B5EF4-FFF2-40B4-BE49-F238E27FC236}">
                  <a16:creationId xmlns:a16="http://schemas.microsoft.com/office/drawing/2014/main" id="{ED7A2CB4-55DE-4FA9-B8AB-57A3CF3AEC20}"/>
                </a:ext>
              </a:extLst>
            </p:cNvPr>
            <p:cNvSpPr/>
            <p:nvPr/>
          </p:nvSpPr>
          <p:spPr>
            <a:xfrm>
              <a:off x="5957893" y="5327492"/>
              <a:ext cx="109594" cy="63639"/>
            </a:xfrm>
            <a:custGeom>
              <a:avLst/>
              <a:gdLst>
                <a:gd name="connsiteX0" fmla="*/ -336 w 36004"/>
                <a:gd name="connsiteY0" fmla="*/ 10291 h 20907"/>
                <a:gd name="connsiteX1" fmla="*/ 1188 w 36004"/>
                <a:gd name="connsiteY1" fmla="*/ 12577 h 20907"/>
                <a:gd name="connsiteX2" fmla="*/ 3569 w 36004"/>
                <a:gd name="connsiteY2" fmla="*/ 13910 h 20907"/>
                <a:gd name="connsiteX3" fmla="*/ 13856 w 36004"/>
                <a:gd name="connsiteY3" fmla="*/ 19816 h 20907"/>
                <a:gd name="connsiteX4" fmla="*/ 21476 w 36004"/>
                <a:gd name="connsiteY4" fmla="*/ 19816 h 20907"/>
                <a:gd name="connsiteX5" fmla="*/ 31763 w 36004"/>
                <a:gd name="connsiteY5" fmla="*/ 13910 h 20907"/>
                <a:gd name="connsiteX6" fmla="*/ 34144 w 36004"/>
                <a:gd name="connsiteY6" fmla="*/ 12577 h 20907"/>
                <a:gd name="connsiteX7" fmla="*/ 35668 w 36004"/>
                <a:gd name="connsiteY7" fmla="*/ 10291 h 20907"/>
                <a:gd name="connsiteX8" fmla="*/ 34144 w 36004"/>
                <a:gd name="connsiteY8" fmla="*/ 8100 h 20907"/>
                <a:gd name="connsiteX9" fmla="*/ 21476 w 36004"/>
                <a:gd name="connsiteY9" fmla="*/ 766 h 20907"/>
                <a:gd name="connsiteX10" fmla="*/ 13856 w 36004"/>
                <a:gd name="connsiteY10" fmla="*/ 766 h 20907"/>
                <a:gd name="connsiteX11" fmla="*/ 1188 w 36004"/>
                <a:gd name="connsiteY11" fmla="*/ 8100 h 20907"/>
                <a:gd name="connsiteX12" fmla="*/ -336 w 36004"/>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907">
                  <a:moveTo>
                    <a:pt x="-336" y="10291"/>
                  </a:moveTo>
                  <a:cubicBezTo>
                    <a:pt x="-269" y="11272"/>
                    <a:pt x="311" y="12139"/>
                    <a:pt x="1188" y="12577"/>
                  </a:cubicBezTo>
                  <a:lnTo>
                    <a:pt x="3569" y="13910"/>
                  </a:lnTo>
                  <a:lnTo>
                    <a:pt x="13856" y="19816"/>
                  </a:lnTo>
                  <a:cubicBezTo>
                    <a:pt x="16247" y="21054"/>
                    <a:pt x="19085" y="21054"/>
                    <a:pt x="21476" y="19816"/>
                  </a:cubicBezTo>
                  <a:lnTo>
                    <a:pt x="31763" y="13910"/>
                  </a:lnTo>
                  <a:lnTo>
                    <a:pt x="34144" y="12577"/>
                  </a:lnTo>
                  <a:cubicBezTo>
                    <a:pt x="35021" y="12139"/>
                    <a:pt x="35602" y="11272"/>
                    <a:pt x="35668" y="10291"/>
                  </a:cubicBezTo>
                  <a:cubicBezTo>
                    <a:pt x="35611" y="9339"/>
                    <a:pt x="35021" y="8491"/>
                    <a:pt x="34144" y="8100"/>
                  </a:cubicBezTo>
                  <a:lnTo>
                    <a:pt x="21476" y="766"/>
                  </a:lnTo>
                  <a:cubicBezTo>
                    <a:pt x="19085" y="-472"/>
                    <a:pt x="16247" y="-472"/>
                    <a:pt x="13856" y="766"/>
                  </a:cubicBezTo>
                  <a:lnTo>
                    <a:pt x="1188" y="8100"/>
                  </a:lnTo>
                  <a:cubicBezTo>
                    <a:pt x="311" y="8491"/>
                    <a:pt x="-279"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760" name="işḻîḋê">
              <a:extLst>
                <a:ext uri="{FF2B5EF4-FFF2-40B4-BE49-F238E27FC236}">
                  <a16:creationId xmlns:a16="http://schemas.microsoft.com/office/drawing/2014/main" id="{AEC3B2BC-6010-466F-9AEA-3F316BC7528C}"/>
                </a:ext>
              </a:extLst>
            </p:cNvPr>
            <p:cNvSpPr/>
            <p:nvPr/>
          </p:nvSpPr>
          <p:spPr>
            <a:xfrm>
              <a:off x="5959841" y="5328868"/>
              <a:ext cx="105761" cy="61104"/>
            </a:xfrm>
            <a:custGeom>
              <a:avLst/>
              <a:gdLst>
                <a:gd name="connsiteX0" fmla="*/ 1119 w 34745"/>
                <a:gd name="connsiteY0" fmla="*/ 12029 h 20074"/>
                <a:gd name="connsiteX1" fmla="*/ 13311 w 34745"/>
                <a:gd name="connsiteY1" fmla="*/ 18983 h 20074"/>
                <a:gd name="connsiteX2" fmla="*/ 20741 w 34745"/>
                <a:gd name="connsiteY2" fmla="*/ 18983 h 20074"/>
                <a:gd name="connsiteX3" fmla="*/ 32838 w 34745"/>
                <a:gd name="connsiteY3" fmla="*/ 12029 h 20074"/>
                <a:gd name="connsiteX4" fmla="*/ 32838 w 34745"/>
                <a:gd name="connsiteY4" fmla="*/ 7743 h 20074"/>
                <a:gd name="connsiteX5" fmla="*/ 21122 w 34745"/>
                <a:gd name="connsiteY5" fmla="*/ 695 h 20074"/>
                <a:gd name="connsiteX6" fmla="*/ 13692 w 34745"/>
                <a:gd name="connsiteY6" fmla="*/ 695 h 20074"/>
                <a:gd name="connsiteX7" fmla="*/ 1500 w 34745"/>
                <a:gd name="connsiteY7" fmla="*/ 7743 h 20074"/>
                <a:gd name="connsiteX8" fmla="*/ 1119 w 34745"/>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45" h="20074">
                  <a:moveTo>
                    <a:pt x="1119" y="12029"/>
                  </a:moveTo>
                  <a:lnTo>
                    <a:pt x="13311" y="18983"/>
                  </a:lnTo>
                  <a:cubicBezTo>
                    <a:pt x="15636" y="20221"/>
                    <a:pt x="18417" y="20221"/>
                    <a:pt x="20741" y="18983"/>
                  </a:cubicBezTo>
                  <a:lnTo>
                    <a:pt x="32838" y="12029"/>
                  </a:lnTo>
                  <a:cubicBezTo>
                    <a:pt x="34933" y="10791"/>
                    <a:pt x="34933" y="8886"/>
                    <a:pt x="32838" y="7743"/>
                  </a:cubicBezTo>
                  <a:lnTo>
                    <a:pt x="21122" y="695"/>
                  </a:lnTo>
                  <a:cubicBezTo>
                    <a:pt x="18779" y="-448"/>
                    <a:pt x="16036" y="-448"/>
                    <a:pt x="13692" y="695"/>
                  </a:cubicBezTo>
                  <a:lnTo>
                    <a:pt x="1500" y="7743"/>
                  </a:lnTo>
                  <a:cubicBezTo>
                    <a:pt x="-881" y="8886"/>
                    <a:pt x="-881" y="10791"/>
                    <a:pt x="1119" y="12029"/>
                  </a:cubicBezTo>
                  <a:close/>
                </a:path>
              </a:pathLst>
            </a:custGeom>
            <a:solidFill>
              <a:srgbClr val="D1D9E8"/>
            </a:solidFill>
            <a:ln w="9525" cap="flat">
              <a:noFill/>
              <a:prstDash val="solid"/>
              <a:miter/>
            </a:ln>
          </p:spPr>
          <p:txBody>
            <a:bodyPr rtlCol="0" anchor="ctr"/>
            <a:lstStyle/>
            <a:p>
              <a:endParaRPr lang="zh-CN" altLang="en-US"/>
            </a:p>
          </p:txBody>
        </p:sp>
        <p:sp>
          <p:nvSpPr>
            <p:cNvPr id="761" name="íṧḻïḍê">
              <a:extLst>
                <a:ext uri="{FF2B5EF4-FFF2-40B4-BE49-F238E27FC236}">
                  <a16:creationId xmlns:a16="http://schemas.microsoft.com/office/drawing/2014/main" id="{54C459E8-DDFA-43D9-A6BA-4F95DBF1A99A}"/>
                </a:ext>
              </a:extLst>
            </p:cNvPr>
            <p:cNvSpPr/>
            <p:nvPr/>
          </p:nvSpPr>
          <p:spPr>
            <a:xfrm>
              <a:off x="5957893" y="5359314"/>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4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4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20"/>
                    <a:pt x="35582" y="7953"/>
                    <a:pt x="35668" y="6981"/>
                  </a:cubicBezTo>
                  <a:lnTo>
                    <a:pt x="35668" y="-163"/>
                  </a:lnTo>
                  <a:cubicBezTo>
                    <a:pt x="35602" y="819"/>
                    <a:pt x="35021" y="1685"/>
                    <a:pt x="34144" y="2124"/>
                  </a:cubicBezTo>
                  <a:lnTo>
                    <a:pt x="31763" y="3457"/>
                  </a:lnTo>
                  <a:lnTo>
                    <a:pt x="21476" y="9362"/>
                  </a:lnTo>
                  <a:cubicBezTo>
                    <a:pt x="19085" y="10601"/>
                    <a:pt x="16247" y="10601"/>
                    <a:pt x="13856" y="9362"/>
                  </a:cubicBezTo>
                  <a:lnTo>
                    <a:pt x="3569" y="3457"/>
                  </a:lnTo>
                  <a:lnTo>
                    <a:pt x="1188" y="2124"/>
                  </a:lnTo>
                  <a:cubicBezTo>
                    <a:pt x="311" y="1685"/>
                    <a:pt x="-269" y="819"/>
                    <a:pt x="-336" y="-163"/>
                  </a:cubicBezTo>
                  <a:close/>
                </a:path>
              </a:pathLst>
            </a:custGeom>
            <a:solidFill>
              <a:srgbClr val="BF4200"/>
            </a:solidFill>
            <a:ln w="9525" cap="flat">
              <a:noFill/>
              <a:prstDash val="solid"/>
              <a:miter/>
            </a:ln>
          </p:spPr>
          <p:txBody>
            <a:bodyPr rtlCol="0" anchor="ctr"/>
            <a:lstStyle/>
            <a:p>
              <a:endParaRPr lang="zh-CN" altLang="en-US"/>
            </a:p>
          </p:txBody>
        </p:sp>
        <p:sp>
          <p:nvSpPr>
            <p:cNvPr id="762" name="íşḻîḍê">
              <a:extLst>
                <a:ext uri="{FF2B5EF4-FFF2-40B4-BE49-F238E27FC236}">
                  <a16:creationId xmlns:a16="http://schemas.microsoft.com/office/drawing/2014/main" id="{51A328CD-D0DB-4693-A594-CD23A1F004A9}"/>
                </a:ext>
              </a:extLst>
            </p:cNvPr>
            <p:cNvSpPr/>
            <p:nvPr/>
          </p:nvSpPr>
          <p:spPr>
            <a:xfrm>
              <a:off x="6035595" y="5373498"/>
              <a:ext cx="197155" cy="113892"/>
            </a:xfrm>
            <a:custGeom>
              <a:avLst/>
              <a:gdLst>
                <a:gd name="connsiteX0" fmla="*/ -336 w 64770"/>
                <a:gd name="connsiteY0" fmla="*/ 10227 h 37416"/>
                <a:gd name="connsiteX1" fmla="*/ 1188 w 64770"/>
                <a:gd name="connsiteY1" fmla="*/ 12513 h 37416"/>
                <a:gd name="connsiteX2" fmla="*/ 3569 w 64770"/>
                <a:gd name="connsiteY2" fmla="*/ 13846 h 37416"/>
                <a:gd name="connsiteX3" fmla="*/ 42526 w 64770"/>
                <a:gd name="connsiteY3" fmla="*/ 36325 h 37416"/>
                <a:gd name="connsiteX4" fmla="*/ 50242 w 64770"/>
                <a:gd name="connsiteY4" fmla="*/ 36325 h 37416"/>
                <a:gd name="connsiteX5" fmla="*/ 60433 w 64770"/>
                <a:gd name="connsiteY5" fmla="*/ 30420 h 37416"/>
                <a:gd name="connsiteX6" fmla="*/ 62814 w 64770"/>
                <a:gd name="connsiteY6" fmla="*/ 28991 h 37416"/>
                <a:gd name="connsiteX7" fmla="*/ 64434 w 64770"/>
                <a:gd name="connsiteY7" fmla="*/ 27372 h 37416"/>
                <a:gd name="connsiteX8" fmla="*/ 64434 w 64770"/>
                <a:gd name="connsiteY8" fmla="*/ 26229 h 37416"/>
                <a:gd name="connsiteX9" fmla="*/ 62814 w 64770"/>
                <a:gd name="connsiteY9" fmla="*/ 24610 h 37416"/>
                <a:gd name="connsiteX10" fmla="*/ 21476 w 64770"/>
                <a:gd name="connsiteY10" fmla="*/ 702 h 37416"/>
                <a:gd name="connsiteX11" fmla="*/ 13856 w 64770"/>
                <a:gd name="connsiteY11" fmla="*/ 702 h 37416"/>
                <a:gd name="connsiteX12" fmla="*/ 1188 w 64770"/>
                <a:gd name="connsiteY12" fmla="*/ 8036 h 37416"/>
                <a:gd name="connsiteX13" fmla="*/ -336 w 64770"/>
                <a:gd name="connsiteY13" fmla="*/ 10227 h 37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4770" h="37416">
                  <a:moveTo>
                    <a:pt x="-336" y="10227"/>
                  </a:moveTo>
                  <a:cubicBezTo>
                    <a:pt x="-269" y="11208"/>
                    <a:pt x="312" y="12075"/>
                    <a:pt x="1188" y="12513"/>
                  </a:cubicBezTo>
                  <a:lnTo>
                    <a:pt x="3569" y="13846"/>
                  </a:lnTo>
                  <a:lnTo>
                    <a:pt x="42526" y="36325"/>
                  </a:lnTo>
                  <a:cubicBezTo>
                    <a:pt x="44946" y="37563"/>
                    <a:pt x="47822" y="37563"/>
                    <a:pt x="50242" y="36325"/>
                  </a:cubicBezTo>
                  <a:lnTo>
                    <a:pt x="60433" y="30420"/>
                  </a:lnTo>
                  <a:lnTo>
                    <a:pt x="62814" y="28991"/>
                  </a:lnTo>
                  <a:cubicBezTo>
                    <a:pt x="63529" y="28658"/>
                    <a:pt x="64100" y="28086"/>
                    <a:pt x="64434" y="27372"/>
                  </a:cubicBezTo>
                  <a:lnTo>
                    <a:pt x="64434" y="26229"/>
                  </a:lnTo>
                  <a:cubicBezTo>
                    <a:pt x="64043" y="25553"/>
                    <a:pt x="63491" y="25000"/>
                    <a:pt x="62814" y="24610"/>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763" name="isḷíḓe">
              <a:extLst>
                <a:ext uri="{FF2B5EF4-FFF2-40B4-BE49-F238E27FC236}">
                  <a16:creationId xmlns:a16="http://schemas.microsoft.com/office/drawing/2014/main" id="{071DD57A-0C44-4039-8C6D-74CCE1CD3299}"/>
                </a:ext>
              </a:extLst>
            </p:cNvPr>
            <p:cNvSpPr/>
            <p:nvPr/>
          </p:nvSpPr>
          <p:spPr>
            <a:xfrm>
              <a:off x="6037479" y="5374679"/>
              <a:ext cx="193168" cy="111551"/>
            </a:xfrm>
            <a:custGeom>
              <a:avLst/>
              <a:gdLst>
                <a:gd name="connsiteX0" fmla="*/ 42002 w 63460"/>
                <a:gd name="connsiteY0" fmla="*/ 35556 h 36647"/>
                <a:gd name="connsiteX1" fmla="*/ 1235 w 63460"/>
                <a:gd name="connsiteY1" fmla="*/ 12030 h 36647"/>
                <a:gd name="connsiteX2" fmla="*/ 1235 w 63460"/>
                <a:gd name="connsiteY2" fmla="*/ 7743 h 36647"/>
                <a:gd name="connsiteX3" fmla="*/ 13332 w 63460"/>
                <a:gd name="connsiteY3" fmla="*/ 695 h 36647"/>
                <a:gd name="connsiteX4" fmla="*/ 20762 w 63460"/>
                <a:gd name="connsiteY4" fmla="*/ 695 h 36647"/>
                <a:gd name="connsiteX5" fmla="*/ 61624 w 63460"/>
                <a:gd name="connsiteY5" fmla="*/ 24317 h 36647"/>
                <a:gd name="connsiteX6" fmla="*/ 61624 w 63460"/>
                <a:gd name="connsiteY6" fmla="*/ 28603 h 36647"/>
                <a:gd name="connsiteX7" fmla="*/ 49432 w 63460"/>
                <a:gd name="connsiteY7" fmla="*/ 35556 h 36647"/>
                <a:gd name="connsiteX8" fmla="*/ 42002 w 63460"/>
                <a:gd name="connsiteY8" fmla="*/ 35556 h 366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3460" h="36647">
                  <a:moveTo>
                    <a:pt x="42002" y="35556"/>
                  </a:moveTo>
                  <a:lnTo>
                    <a:pt x="1235" y="12030"/>
                  </a:lnTo>
                  <a:cubicBezTo>
                    <a:pt x="-860" y="10791"/>
                    <a:pt x="-860" y="8886"/>
                    <a:pt x="1235" y="7743"/>
                  </a:cubicBezTo>
                  <a:lnTo>
                    <a:pt x="13332" y="695"/>
                  </a:lnTo>
                  <a:cubicBezTo>
                    <a:pt x="15675" y="-448"/>
                    <a:pt x="18419" y="-448"/>
                    <a:pt x="20762" y="695"/>
                  </a:cubicBezTo>
                  <a:lnTo>
                    <a:pt x="61624" y="24317"/>
                  </a:lnTo>
                  <a:cubicBezTo>
                    <a:pt x="63624" y="25460"/>
                    <a:pt x="63624" y="27365"/>
                    <a:pt x="61624" y="28603"/>
                  </a:cubicBezTo>
                  <a:lnTo>
                    <a:pt x="49432" y="35556"/>
                  </a:lnTo>
                  <a:cubicBezTo>
                    <a:pt x="47108" y="36794"/>
                    <a:pt x="44327" y="36794"/>
                    <a:pt x="42002" y="35556"/>
                  </a:cubicBezTo>
                  <a:close/>
                </a:path>
              </a:pathLst>
            </a:custGeom>
            <a:solidFill>
              <a:srgbClr val="D1D9E8"/>
            </a:solidFill>
            <a:ln w="9525" cap="flat">
              <a:noFill/>
              <a:prstDash val="solid"/>
              <a:miter/>
            </a:ln>
          </p:spPr>
          <p:txBody>
            <a:bodyPr rtlCol="0" anchor="ctr"/>
            <a:lstStyle/>
            <a:p>
              <a:endParaRPr lang="zh-CN" altLang="en-US"/>
            </a:p>
          </p:txBody>
        </p:sp>
        <p:sp>
          <p:nvSpPr>
            <p:cNvPr id="764" name="îś1iďè">
              <a:extLst>
                <a:ext uri="{FF2B5EF4-FFF2-40B4-BE49-F238E27FC236}">
                  <a16:creationId xmlns:a16="http://schemas.microsoft.com/office/drawing/2014/main" id="{7D9D27D9-6748-4614-A112-2C98BE28EC17}"/>
                </a:ext>
              </a:extLst>
            </p:cNvPr>
            <p:cNvSpPr/>
            <p:nvPr/>
          </p:nvSpPr>
          <p:spPr>
            <a:xfrm>
              <a:off x="6035595" y="5405122"/>
              <a:ext cx="197155" cy="104011"/>
            </a:xfrm>
            <a:custGeom>
              <a:avLst/>
              <a:gdLst>
                <a:gd name="connsiteX0" fmla="*/ -336 w 64770"/>
                <a:gd name="connsiteY0" fmla="*/ -163 h 34170"/>
                <a:gd name="connsiteX1" fmla="*/ -336 w 64770"/>
                <a:gd name="connsiteY1" fmla="*/ 6981 h 34170"/>
                <a:gd name="connsiteX2" fmla="*/ 1188 w 64770"/>
                <a:gd name="connsiteY2" fmla="*/ 9267 h 34170"/>
                <a:gd name="connsiteX3" fmla="*/ 42526 w 64770"/>
                <a:gd name="connsiteY3" fmla="*/ 33080 h 34170"/>
                <a:gd name="connsiteX4" fmla="*/ 50242 w 64770"/>
                <a:gd name="connsiteY4" fmla="*/ 33080 h 34170"/>
                <a:gd name="connsiteX5" fmla="*/ 62814 w 64770"/>
                <a:gd name="connsiteY5" fmla="*/ 25841 h 34170"/>
                <a:gd name="connsiteX6" fmla="*/ 64434 w 64770"/>
                <a:gd name="connsiteY6" fmla="*/ 24221 h 34170"/>
                <a:gd name="connsiteX7" fmla="*/ 64434 w 64770"/>
                <a:gd name="connsiteY7" fmla="*/ 16982 h 34170"/>
                <a:gd name="connsiteX8" fmla="*/ 62814 w 64770"/>
                <a:gd name="connsiteY8" fmla="*/ 18602 h 34170"/>
                <a:gd name="connsiteX9" fmla="*/ 60433 w 64770"/>
                <a:gd name="connsiteY9" fmla="*/ 20030 h 34170"/>
                <a:gd name="connsiteX10" fmla="*/ 50242 w 64770"/>
                <a:gd name="connsiteY10" fmla="*/ 25936 h 34170"/>
                <a:gd name="connsiteX11" fmla="*/ 42526 w 64770"/>
                <a:gd name="connsiteY11" fmla="*/ 25936 h 34170"/>
                <a:gd name="connsiteX12" fmla="*/ 3569 w 64770"/>
                <a:gd name="connsiteY12" fmla="*/ 3457 h 34170"/>
                <a:gd name="connsiteX13" fmla="*/ 1188 w 64770"/>
                <a:gd name="connsiteY13" fmla="*/ 2123 h 34170"/>
                <a:gd name="connsiteX14" fmla="*/ -336 w 64770"/>
                <a:gd name="connsiteY14" fmla="*/ -163 h 341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4770" h="34170">
                  <a:moveTo>
                    <a:pt x="-336" y="-163"/>
                  </a:moveTo>
                  <a:lnTo>
                    <a:pt x="-336" y="6981"/>
                  </a:lnTo>
                  <a:cubicBezTo>
                    <a:pt x="-269" y="7962"/>
                    <a:pt x="312" y="8829"/>
                    <a:pt x="1188" y="9267"/>
                  </a:cubicBezTo>
                  <a:lnTo>
                    <a:pt x="42526" y="33080"/>
                  </a:lnTo>
                  <a:cubicBezTo>
                    <a:pt x="44946" y="34318"/>
                    <a:pt x="47822" y="34318"/>
                    <a:pt x="50242" y="33080"/>
                  </a:cubicBezTo>
                  <a:lnTo>
                    <a:pt x="62814" y="25841"/>
                  </a:lnTo>
                  <a:cubicBezTo>
                    <a:pt x="63443" y="25402"/>
                    <a:pt x="63996" y="24850"/>
                    <a:pt x="64434" y="24221"/>
                  </a:cubicBezTo>
                  <a:lnTo>
                    <a:pt x="64434" y="16982"/>
                  </a:lnTo>
                  <a:cubicBezTo>
                    <a:pt x="64100" y="17697"/>
                    <a:pt x="63529" y="18268"/>
                    <a:pt x="62814" y="18602"/>
                  </a:cubicBezTo>
                  <a:lnTo>
                    <a:pt x="60433" y="20030"/>
                  </a:lnTo>
                  <a:lnTo>
                    <a:pt x="50242" y="25936"/>
                  </a:lnTo>
                  <a:cubicBezTo>
                    <a:pt x="47822" y="27174"/>
                    <a:pt x="44946" y="27174"/>
                    <a:pt x="42526" y="25936"/>
                  </a:cubicBezTo>
                  <a:lnTo>
                    <a:pt x="3569" y="3457"/>
                  </a:lnTo>
                  <a:lnTo>
                    <a:pt x="1188" y="2123"/>
                  </a:lnTo>
                  <a:cubicBezTo>
                    <a:pt x="312"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65" name="ïṩľïḍè">
              <a:extLst>
                <a:ext uri="{FF2B5EF4-FFF2-40B4-BE49-F238E27FC236}">
                  <a16:creationId xmlns:a16="http://schemas.microsoft.com/office/drawing/2014/main" id="{04B388A3-46D6-45E3-9172-A529AA2E238C}"/>
                </a:ext>
              </a:extLst>
            </p:cNvPr>
            <p:cNvSpPr/>
            <p:nvPr/>
          </p:nvSpPr>
          <p:spPr>
            <a:xfrm>
              <a:off x="4920799" y="4820746"/>
              <a:ext cx="109740" cy="63289"/>
            </a:xfrm>
            <a:custGeom>
              <a:avLst/>
              <a:gdLst>
                <a:gd name="connsiteX0" fmla="*/ -336 w 36052"/>
                <a:gd name="connsiteY0" fmla="*/ 10177 h 20792"/>
                <a:gd name="connsiteX1" fmla="*/ 1283 w 36052"/>
                <a:gd name="connsiteY1" fmla="*/ 12463 h 20792"/>
                <a:gd name="connsiteX2" fmla="*/ 3569 w 36052"/>
                <a:gd name="connsiteY2" fmla="*/ 13796 h 20792"/>
                <a:gd name="connsiteX3" fmla="*/ 13856 w 36052"/>
                <a:gd name="connsiteY3" fmla="*/ 19702 h 20792"/>
                <a:gd name="connsiteX4" fmla="*/ 21571 w 36052"/>
                <a:gd name="connsiteY4" fmla="*/ 19702 h 20792"/>
                <a:gd name="connsiteX5" fmla="*/ 31858 w 36052"/>
                <a:gd name="connsiteY5" fmla="*/ 13796 h 20792"/>
                <a:gd name="connsiteX6" fmla="*/ 34144 w 36052"/>
                <a:gd name="connsiteY6" fmla="*/ 12463 h 20792"/>
                <a:gd name="connsiteX7" fmla="*/ 35573 w 36052"/>
                <a:gd name="connsiteY7" fmla="*/ 9415 h 20792"/>
                <a:gd name="connsiteX8" fmla="*/ 34144 w 36052"/>
                <a:gd name="connsiteY8" fmla="*/ 7986 h 20792"/>
                <a:gd name="connsiteX9" fmla="*/ 21571 w 36052"/>
                <a:gd name="connsiteY9" fmla="*/ 652 h 20792"/>
                <a:gd name="connsiteX10" fmla="*/ 13856 w 36052"/>
                <a:gd name="connsiteY10" fmla="*/ 652 h 20792"/>
                <a:gd name="connsiteX11" fmla="*/ 1283 w 36052"/>
                <a:gd name="connsiteY11" fmla="*/ 7986 h 20792"/>
                <a:gd name="connsiteX12" fmla="*/ -336 w 36052"/>
                <a:gd name="connsiteY12" fmla="*/ 10177 h 20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792">
                  <a:moveTo>
                    <a:pt x="-336" y="10177"/>
                  </a:moveTo>
                  <a:cubicBezTo>
                    <a:pt x="-232" y="11167"/>
                    <a:pt x="378" y="12034"/>
                    <a:pt x="1283" y="12463"/>
                  </a:cubicBezTo>
                  <a:lnTo>
                    <a:pt x="3569" y="13796"/>
                  </a:lnTo>
                  <a:lnTo>
                    <a:pt x="13856" y="19702"/>
                  </a:lnTo>
                  <a:cubicBezTo>
                    <a:pt x="16275" y="20940"/>
                    <a:pt x="19152" y="20940"/>
                    <a:pt x="21571" y="19702"/>
                  </a:cubicBezTo>
                  <a:lnTo>
                    <a:pt x="31858" y="13796"/>
                  </a:lnTo>
                  <a:lnTo>
                    <a:pt x="34144" y="12463"/>
                  </a:lnTo>
                  <a:cubicBezTo>
                    <a:pt x="35382" y="12015"/>
                    <a:pt x="36020" y="10643"/>
                    <a:pt x="35573" y="9415"/>
                  </a:cubicBezTo>
                  <a:cubicBezTo>
                    <a:pt x="35325" y="8748"/>
                    <a:pt x="34811" y="8224"/>
                    <a:pt x="34144" y="7986"/>
                  </a:cubicBezTo>
                  <a:lnTo>
                    <a:pt x="21571" y="652"/>
                  </a:lnTo>
                  <a:cubicBezTo>
                    <a:pt x="19114" y="-434"/>
                    <a:pt x="16313" y="-434"/>
                    <a:pt x="13856" y="652"/>
                  </a:cubicBezTo>
                  <a:lnTo>
                    <a:pt x="1283" y="7986"/>
                  </a:lnTo>
                  <a:cubicBezTo>
                    <a:pt x="407" y="8396"/>
                    <a:pt x="-203" y="9224"/>
                    <a:pt x="-336" y="10177"/>
                  </a:cubicBezTo>
                  <a:close/>
                </a:path>
              </a:pathLst>
            </a:custGeom>
            <a:solidFill>
              <a:srgbClr val="FFFFFF"/>
            </a:solidFill>
            <a:ln w="9525" cap="flat">
              <a:noFill/>
              <a:prstDash val="solid"/>
              <a:miter/>
            </a:ln>
          </p:spPr>
          <p:txBody>
            <a:bodyPr rtlCol="0" anchor="ctr"/>
            <a:lstStyle/>
            <a:p>
              <a:endParaRPr lang="zh-CN" altLang="en-US"/>
            </a:p>
          </p:txBody>
        </p:sp>
        <p:sp>
          <p:nvSpPr>
            <p:cNvPr id="766" name="íṩlïḋe">
              <a:extLst>
                <a:ext uri="{FF2B5EF4-FFF2-40B4-BE49-F238E27FC236}">
                  <a16:creationId xmlns:a16="http://schemas.microsoft.com/office/drawing/2014/main" id="{7539D7A0-EB84-49B5-93C0-DED68F7C194B}"/>
                </a:ext>
              </a:extLst>
            </p:cNvPr>
            <p:cNvSpPr/>
            <p:nvPr/>
          </p:nvSpPr>
          <p:spPr>
            <a:xfrm>
              <a:off x="4922902" y="4821774"/>
              <a:ext cx="105679" cy="61101"/>
            </a:xfrm>
            <a:custGeom>
              <a:avLst/>
              <a:gdLst>
                <a:gd name="connsiteX0" fmla="*/ 1164 w 34718"/>
                <a:gd name="connsiteY0" fmla="*/ 12029 h 20073"/>
                <a:gd name="connsiteX1" fmla="*/ 13261 w 34718"/>
                <a:gd name="connsiteY1" fmla="*/ 18982 h 20073"/>
                <a:gd name="connsiteX2" fmla="*/ 20690 w 34718"/>
                <a:gd name="connsiteY2" fmla="*/ 18982 h 20073"/>
                <a:gd name="connsiteX3" fmla="*/ 32882 w 34718"/>
                <a:gd name="connsiteY3" fmla="*/ 12029 h 20073"/>
                <a:gd name="connsiteX4" fmla="*/ 32882 w 34718"/>
                <a:gd name="connsiteY4" fmla="*/ 7743 h 20073"/>
                <a:gd name="connsiteX5" fmla="*/ 20690 w 34718"/>
                <a:gd name="connsiteY5" fmla="*/ 695 h 20073"/>
                <a:gd name="connsiteX6" fmla="*/ 13261 w 34718"/>
                <a:gd name="connsiteY6" fmla="*/ 695 h 20073"/>
                <a:gd name="connsiteX7" fmla="*/ 1164 w 34718"/>
                <a:gd name="connsiteY7" fmla="*/ 7743 h 20073"/>
                <a:gd name="connsiteX8" fmla="*/ 1164 w 34718"/>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18" h="20073">
                  <a:moveTo>
                    <a:pt x="1164" y="12029"/>
                  </a:moveTo>
                  <a:lnTo>
                    <a:pt x="13261" y="18982"/>
                  </a:lnTo>
                  <a:cubicBezTo>
                    <a:pt x="15585" y="20221"/>
                    <a:pt x="18366" y="20221"/>
                    <a:pt x="20690" y="18982"/>
                  </a:cubicBezTo>
                  <a:lnTo>
                    <a:pt x="32882" y="12029"/>
                  </a:lnTo>
                  <a:cubicBezTo>
                    <a:pt x="34882" y="10791"/>
                    <a:pt x="34882" y="8886"/>
                    <a:pt x="32882" y="7743"/>
                  </a:cubicBezTo>
                  <a:lnTo>
                    <a:pt x="20690" y="695"/>
                  </a:lnTo>
                  <a:cubicBezTo>
                    <a:pt x="18347" y="-448"/>
                    <a:pt x="15604" y="-448"/>
                    <a:pt x="13261" y="695"/>
                  </a:cubicBezTo>
                  <a:lnTo>
                    <a:pt x="1164" y="7743"/>
                  </a:lnTo>
                  <a:cubicBezTo>
                    <a:pt x="-836" y="8886"/>
                    <a:pt x="-836" y="11077"/>
                    <a:pt x="1164" y="12029"/>
                  </a:cubicBezTo>
                  <a:close/>
                </a:path>
              </a:pathLst>
            </a:custGeom>
            <a:solidFill>
              <a:srgbClr val="D1D9E8"/>
            </a:solidFill>
            <a:ln w="9525" cap="flat">
              <a:noFill/>
              <a:prstDash val="solid"/>
              <a:miter/>
            </a:ln>
          </p:spPr>
          <p:txBody>
            <a:bodyPr rtlCol="0" anchor="ctr"/>
            <a:lstStyle/>
            <a:p>
              <a:endParaRPr lang="zh-CN" altLang="en-US"/>
            </a:p>
          </p:txBody>
        </p:sp>
        <p:sp>
          <p:nvSpPr>
            <p:cNvPr id="767" name="îṩlïďe">
              <a:extLst>
                <a:ext uri="{FF2B5EF4-FFF2-40B4-BE49-F238E27FC236}">
                  <a16:creationId xmlns:a16="http://schemas.microsoft.com/office/drawing/2014/main" id="{1D5F43EE-1618-49B2-AA2A-0D77F4E30E8F}"/>
                </a:ext>
              </a:extLst>
            </p:cNvPr>
            <p:cNvSpPr/>
            <p:nvPr/>
          </p:nvSpPr>
          <p:spPr>
            <a:xfrm>
              <a:off x="4920799" y="4852217"/>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4 w 36099"/>
                <a:gd name="connsiteY6" fmla="*/ 6981 h 17597"/>
                <a:gd name="connsiteX7" fmla="*/ 35764 w 36099"/>
                <a:gd name="connsiteY7" fmla="*/ -163 h 17597"/>
                <a:gd name="connsiteX8" fmla="*/ 34144 w 36099"/>
                <a:gd name="connsiteY8" fmla="*/ 2123 h 17597"/>
                <a:gd name="connsiteX9" fmla="*/ 31858 w 36099"/>
                <a:gd name="connsiteY9" fmla="*/ 3457 h 17597"/>
                <a:gd name="connsiteX10" fmla="*/ 21571 w 36099"/>
                <a:gd name="connsiteY10" fmla="*/ 9362 h 17597"/>
                <a:gd name="connsiteX11" fmla="*/ 13856 w 36099"/>
                <a:gd name="connsiteY11" fmla="*/ 9362 h 17597"/>
                <a:gd name="connsiteX12" fmla="*/ 3569 w 36099"/>
                <a:gd name="connsiteY12" fmla="*/ 3457 h 17597"/>
                <a:gd name="connsiteX13" fmla="*/ 1283 w 36099"/>
                <a:gd name="connsiteY13" fmla="*/ 2123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03" y="8029"/>
                    <a:pt x="407" y="8857"/>
                    <a:pt x="1283" y="9267"/>
                  </a:cubicBezTo>
                  <a:lnTo>
                    <a:pt x="13856" y="16506"/>
                  </a:lnTo>
                  <a:cubicBezTo>
                    <a:pt x="16275" y="17744"/>
                    <a:pt x="19152" y="17744"/>
                    <a:pt x="21571" y="16506"/>
                  </a:cubicBezTo>
                  <a:lnTo>
                    <a:pt x="34144" y="9267"/>
                  </a:lnTo>
                  <a:cubicBezTo>
                    <a:pt x="35030" y="8829"/>
                    <a:pt x="35640" y="7962"/>
                    <a:pt x="35764" y="6981"/>
                  </a:cubicBezTo>
                  <a:lnTo>
                    <a:pt x="35764" y="-163"/>
                  </a:lnTo>
                  <a:cubicBezTo>
                    <a:pt x="35659" y="828"/>
                    <a:pt x="35049" y="1695"/>
                    <a:pt x="34144" y="2123"/>
                  </a:cubicBezTo>
                  <a:lnTo>
                    <a:pt x="31858" y="3457"/>
                  </a:lnTo>
                  <a:lnTo>
                    <a:pt x="21571" y="9362"/>
                  </a:lnTo>
                  <a:cubicBezTo>
                    <a:pt x="19152" y="10601"/>
                    <a:pt x="16275" y="10601"/>
                    <a:pt x="13856" y="9362"/>
                  </a:cubicBezTo>
                  <a:lnTo>
                    <a:pt x="3569" y="3457"/>
                  </a:lnTo>
                  <a:lnTo>
                    <a:pt x="1283" y="2123"/>
                  </a:lnTo>
                  <a:cubicBezTo>
                    <a:pt x="378" y="1695"/>
                    <a:pt x="-232"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68" name="îṩḷîḋe">
              <a:extLst>
                <a:ext uri="{FF2B5EF4-FFF2-40B4-BE49-F238E27FC236}">
                  <a16:creationId xmlns:a16="http://schemas.microsoft.com/office/drawing/2014/main" id="{720027C5-90CE-437D-9089-D36A073C7668}"/>
                </a:ext>
              </a:extLst>
            </p:cNvPr>
            <p:cNvSpPr/>
            <p:nvPr/>
          </p:nvSpPr>
          <p:spPr>
            <a:xfrm>
              <a:off x="4998212" y="4865047"/>
              <a:ext cx="109740" cy="63639"/>
            </a:xfrm>
            <a:custGeom>
              <a:avLst/>
              <a:gdLst>
                <a:gd name="connsiteX0" fmla="*/ -336 w 36052"/>
                <a:gd name="connsiteY0" fmla="*/ 10291 h 20907"/>
                <a:gd name="connsiteX1" fmla="*/ 1188 w 36052"/>
                <a:gd name="connsiteY1" fmla="*/ 12577 h 20907"/>
                <a:gd name="connsiteX2" fmla="*/ 3569 w 36052"/>
                <a:gd name="connsiteY2" fmla="*/ 13911 h 20907"/>
                <a:gd name="connsiteX3" fmla="*/ 13856 w 36052"/>
                <a:gd name="connsiteY3" fmla="*/ 19816 h 20907"/>
                <a:gd name="connsiteX4" fmla="*/ 21476 w 36052"/>
                <a:gd name="connsiteY4" fmla="*/ 19816 h 20907"/>
                <a:gd name="connsiteX5" fmla="*/ 31763 w 36052"/>
                <a:gd name="connsiteY5" fmla="*/ 13911 h 20907"/>
                <a:gd name="connsiteX6" fmla="*/ 34144 w 36052"/>
                <a:gd name="connsiteY6" fmla="*/ 12577 h 20907"/>
                <a:gd name="connsiteX7" fmla="*/ 35573 w 36052"/>
                <a:gd name="connsiteY7" fmla="*/ 9529 h 20907"/>
                <a:gd name="connsiteX8" fmla="*/ 34144 w 36052"/>
                <a:gd name="connsiteY8" fmla="*/ 8100 h 20907"/>
                <a:gd name="connsiteX9" fmla="*/ 21476 w 36052"/>
                <a:gd name="connsiteY9" fmla="*/ 766 h 20907"/>
                <a:gd name="connsiteX10" fmla="*/ 13856 w 36052"/>
                <a:gd name="connsiteY10" fmla="*/ 766 h 20907"/>
                <a:gd name="connsiteX11" fmla="*/ 1188 w 36052"/>
                <a:gd name="connsiteY11" fmla="*/ 8100 h 20907"/>
                <a:gd name="connsiteX12" fmla="*/ -336 w 36052"/>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907">
                  <a:moveTo>
                    <a:pt x="-336" y="10291"/>
                  </a:moveTo>
                  <a:cubicBezTo>
                    <a:pt x="-269" y="11272"/>
                    <a:pt x="312" y="12139"/>
                    <a:pt x="1188" y="12577"/>
                  </a:cubicBezTo>
                  <a:lnTo>
                    <a:pt x="3569" y="13911"/>
                  </a:lnTo>
                  <a:lnTo>
                    <a:pt x="13856" y="19816"/>
                  </a:lnTo>
                  <a:cubicBezTo>
                    <a:pt x="16247" y="21054"/>
                    <a:pt x="19085" y="21054"/>
                    <a:pt x="21476" y="19816"/>
                  </a:cubicBezTo>
                  <a:lnTo>
                    <a:pt x="31763" y="13911"/>
                  </a:lnTo>
                  <a:lnTo>
                    <a:pt x="34144" y="12577"/>
                  </a:lnTo>
                  <a:cubicBezTo>
                    <a:pt x="35382" y="12129"/>
                    <a:pt x="36021" y="10758"/>
                    <a:pt x="35573" y="9529"/>
                  </a:cubicBezTo>
                  <a:cubicBezTo>
                    <a:pt x="35325" y="8862"/>
                    <a:pt x="34811" y="8338"/>
                    <a:pt x="34144" y="8100"/>
                  </a:cubicBezTo>
                  <a:lnTo>
                    <a:pt x="21476" y="766"/>
                  </a:lnTo>
                  <a:cubicBezTo>
                    <a:pt x="19085" y="-472"/>
                    <a:pt x="16247" y="-472"/>
                    <a:pt x="13856" y="766"/>
                  </a:cubicBezTo>
                  <a:lnTo>
                    <a:pt x="1188" y="8100"/>
                  </a:lnTo>
                  <a:cubicBezTo>
                    <a:pt x="340" y="8519"/>
                    <a:pt x="-241" y="9348"/>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769" name="îṧlïdê">
              <a:extLst>
                <a:ext uri="{FF2B5EF4-FFF2-40B4-BE49-F238E27FC236}">
                  <a16:creationId xmlns:a16="http://schemas.microsoft.com/office/drawing/2014/main" id="{D296E0A0-D5E7-4207-9A7F-EFCE78822F3D}"/>
                </a:ext>
              </a:extLst>
            </p:cNvPr>
            <p:cNvSpPr/>
            <p:nvPr/>
          </p:nvSpPr>
          <p:spPr>
            <a:xfrm>
              <a:off x="5000096" y="4866426"/>
              <a:ext cx="105825" cy="61101"/>
            </a:xfrm>
            <a:custGeom>
              <a:avLst/>
              <a:gdLst>
                <a:gd name="connsiteX0" fmla="*/ 1235 w 34766"/>
                <a:gd name="connsiteY0" fmla="*/ 12030 h 20073"/>
                <a:gd name="connsiteX1" fmla="*/ 13332 w 34766"/>
                <a:gd name="connsiteY1" fmla="*/ 18983 h 20073"/>
                <a:gd name="connsiteX2" fmla="*/ 20761 w 34766"/>
                <a:gd name="connsiteY2" fmla="*/ 18983 h 20073"/>
                <a:gd name="connsiteX3" fmla="*/ 32858 w 34766"/>
                <a:gd name="connsiteY3" fmla="*/ 12030 h 20073"/>
                <a:gd name="connsiteX4" fmla="*/ 32858 w 34766"/>
                <a:gd name="connsiteY4" fmla="*/ 7743 h 20073"/>
                <a:gd name="connsiteX5" fmla="*/ 20761 w 34766"/>
                <a:gd name="connsiteY5" fmla="*/ 695 h 20073"/>
                <a:gd name="connsiteX6" fmla="*/ 13332 w 34766"/>
                <a:gd name="connsiteY6" fmla="*/ 695 h 20073"/>
                <a:gd name="connsiteX7" fmla="*/ 1235 w 34766"/>
                <a:gd name="connsiteY7" fmla="*/ 7743 h 20073"/>
                <a:gd name="connsiteX8" fmla="*/ 1235 w 34766"/>
                <a:gd name="connsiteY8" fmla="*/ 12030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6" h="20073">
                  <a:moveTo>
                    <a:pt x="1235" y="12030"/>
                  </a:moveTo>
                  <a:lnTo>
                    <a:pt x="13332" y="18983"/>
                  </a:lnTo>
                  <a:cubicBezTo>
                    <a:pt x="15656" y="20221"/>
                    <a:pt x="18437" y="20221"/>
                    <a:pt x="20761" y="18983"/>
                  </a:cubicBezTo>
                  <a:lnTo>
                    <a:pt x="32858" y="12030"/>
                  </a:lnTo>
                  <a:cubicBezTo>
                    <a:pt x="34954" y="10791"/>
                    <a:pt x="34954" y="8886"/>
                    <a:pt x="32858" y="7743"/>
                  </a:cubicBezTo>
                  <a:lnTo>
                    <a:pt x="20761" y="695"/>
                  </a:lnTo>
                  <a:cubicBezTo>
                    <a:pt x="18419" y="-448"/>
                    <a:pt x="15675" y="-448"/>
                    <a:pt x="13332" y="695"/>
                  </a:cubicBezTo>
                  <a:lnTo>
                    <a:pt x="1235" y="7743"/>
                  </a:lnTo>
                  <a:cubicBezTo>
                    <a:pt x="-860" y="8886"/>
                    <a:pt x="-860" y="10791"/>
                    <a:pt x="1235" y="12030"/>
                  </a:cubicBezTo>
                  <a:close/>
                </a:path>
              </a:pathLst>
            </a:custGeom>
            <a:solidFill>
              <a:srgbClr val="D1D9E8"/>
            </a:solidFill>
            <a:ln w="9525" cap="flat">
              <a:noFill/>
              <a:prstDash val="solid"/>
              <a:miter/>
            </a:ln>
          </p:spPr>
          <p:txBody>
            <a:bodyPr rtlCol="0" anchor="ctr"/>
            <a:lstStyle/>
            <a:p>
              <a:endParaRPr lang="zh-CN" altLang="en-US"/>
            </a:p>
          </p:txBody>
        </p:sp>
        <p:sp>
          <p:nvSpPr>
            <p:cNvPr id="770" name="î$ḻíďê">
              <a:extLst>
                <a:ext uri="{FF2B5EF4-FFF2-40B4-BE49-F238E27FC236}">
                  <a16:creationId xmlns:a16="http://schemas.microsoft.com/office/drawing/2014/main" id="{A5EA3187-8D26-44EB-A0BF-8BFA9FA1CFE6}"/>
                </a:ext>
              </a:extLst>
            </p:cNvPr>
            <p:cNvSpPr/>
            <p:nvPr/>
          </p:nvSpPr>
          <p:spPr>
            <a:xfrm>
              <a:off x="4998212" y="4896868"/>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3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3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3" y="7953"/>
                    <a:pt x="35668" y="6981"/>
                  </a:cubicBezTo>
                  <a:lnTo>
                    <a:pt x="35668" y="-163"/>
                  </a:lnTo>
                  <a:cubicBezTo>
                    <a:pt x="35602" y="818"/>
                    <a:pt x="35021" y="1685"/>
                    <a:pt x="34144" y="2123"/>
                  </a:cubicBezTo>
                  <a:lnTo>
                    <a:pt x="31763" y="3457"/>
                  </a:lnTo>
                  <a:lnTo>
                    <a:pt x="21476" y="9362"/>
                  </a:lnTo>
                  <a:cubicBezTo>
                    <a:pt x="19085" y="10601"/>
                    <a:pt x="16247" y="10601"/>
                    <a:pt x="13856" y="9362"/>
                  </a:cubicBezTo>
                  <a:lnTo>
                    <a:pt x="3569" y="3457"/>
                  </a:lnTo>
                  <a:lnTo>
                    <a:pt x="1188" y="2123"/>
                  </a:lnTo>
                  <a:cubicBezTo>
                    <a:pt x="312"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71" name="îṥľîḋê">
              <a:extLst>
                <a:ext uri="{FF2B5EF4-FFF2-40B4-BE49-F238E27FC236}">
                  <a16:creationId xmlns:a16="http://schemas.microsoft.com/office/drawing/2014/main" id="{E3F1E167-18E3-4513-AC3F-490566F5DE83}"/>
                </a:ext>
              </a:extLst>
            </p:cNvPr>
            <p:cNvSpPr/>
            <p:nvPr/>
          </p:nvSpPr>
          <p:spPr>
            <a:xfrm>
              <a:off x="5075333" y="4911147"/>
              <a:ext cx="109015" cy="63639"/>
            </a:xfrm>
            <a:custGeom>
              <a:avLst/>
              <a:gdLst>
                <a:gd name="connsiteX0" fmla="*/ -336 w 35814"/>
                <a:gd name="connsiteY0" fmla="*/ 10291 h 20907"/>
                <a:gd name="connsiteX1" fmla="*/ 1283 w 35814"/>
                <a:gd name="connsiteY1" fmla="*/ 12577 h 20907"/>
                <a:gd name="connsiteX2" fmla="*/ 3569 w 35814"/>
                <a:gd name="connsiteY2" fmla="*/ 13911 h 20907"/>
                <a:gd name="connsiteX3" fmla="*/ 13856 w 35814"/>
                <a:gd name="connsiteY3" fmla="*/ 19816 h 20907"/>
                <a:gd name="connsiteX4" fmla="*/ 21571 w 35814"/>
                <a:gd name="connsiteY4" fmla="*/ 19816 h 20907"/>
                <a:gd name="connsiteX5" fmla="*/ 31858 w 35814"/>
                <a:gd name="connsiteY5" fmla="*/ 13911 h 20907"/>
                <a:gd name="connsiteX6" fmla="*/ 34144 w 35814"/>
                <a:gd name="connsiteY6" fmla="*/ 12577 h 20907"/>
                <a:gd name="connsiteX7" fmla="*/ 35478 w 35814"/>
                <a:gd name="connsiteY7" fmla="*/ 10291 h 20907"/>
                <a:gd name="connsiteX8" fmla="*/ 33858 w 35814"/>
                <a:gd name="connsiteY8" fmla="*/ 8100 h 20907"/>
                <a:gd name="connsiteX9" fmla="*/ 21286 w 35814"/>
                <a:gd name="connsiteY9" fmla="*/ 766 h 20907"/>
                <a:gd name="connsiteX10" fmla="*/ 13570 w 35814"/>
                <a:gd name="connsiteY10" fmla="*/ 766 h 20907"/>
                <a:gd name="connsiteX11" fmla="*/ 997 w 35814"/>
                <a:gd name="connsiteY11" fmla="*/ 8100 h 20907"/>
                <a:gd name="connsiteX12" fmla="*/ -336 w 35814"/>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814" h="20907">
                  <a:moveTo>
                    <a:pt x="-336" y="10291"/>
                  </a:moveTo>
                  <a:cubicBezTo>
                    <a:pt x="-231" y="11282"/>
                    <a:pt x="378" y="12149"/>
                    <a:pt x="1283" y="12577"/>
                  </a:cubicBezTo>
                  <a:lnTo>
                    <a:pt x="3569" y="13911"/>
                  </a:lnTo>
                  <a:lnTo>
                    <a:pt x="13856" y="19816"/>
                  </a:lnTo>
                  <a:cubicBezTo>
                    <a:pt x="16275" y="21054"/>
                    <a:pt x="19152" y="21054"/>
                    <a:pt x="21571" y="19816"/>
                  </a:cubicBezTo>
                  <a:lnTo>
                    <a:pt x="31858" y="13911"/>
                  </a:lnTo>
                  <a:lnTo>
                    <a:pt x="34144" y="12577"/>
                  </a:lnTo>
                  <a:cubicBezTo>
                    <a:pt x="34964" y="12101"/>
                    <a:pt x="35468" y="11234"/>
                    <a:pt x="35478" y="10291"/>
                  </a:cubicBezTo>
                  <a:cubicBezTo>
                    <a:pt x="35402" y="9310"/>
                    <a:pt x="34773" y="8462"/>
                    <a:pt x="33858" y="8100"/>
                  </a:cubicBezTo>
                  <a:lnTo>
                    <a:pt x="21286" y="766"/>
                  </a:lnTo>
                  <a:cubicBezTo>
                    <a:pt x="18866" y="-472"/>
                    <a:pt x="15990" y="-472"/>
                    <a:pt x="13570" y="766"/>
                  </a:cubicBezTo>
                  <a:lnTo>
                    <a:pt x="997" y="8100"/>
                  </a:lnTo>
                  <a:cubicBezTo>
                    <a:pt x="216" y="8567"/>
                    <a:pt x="-279" y="9386"/>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772" name="ïṡḷîḑè">
              <a:extLst>
                <a:ext uri="{FF2B5EF4-FFF2-40B4-BE49-F238E27FC236}">
                  <a16:creationId xmlns:a16="http://schemas.microsoft.com/office/drawing/2014/main" id="{8897BE13-B5A0-46CE-9E47-8D566C462FEC}"/>
                </a:ext>
              </a:extLst>
            </p:cNvPr>
            <p:cNvSpPr/>
            <p:nvPr/>
          </p:nvSpPr>
          <p:spPr>
            <a:xfrm>
              <a:off x="5077437" y="4910858"/>
              <a:ext cx="105679" cy="61104"/>
            </a:xfrm>
            <a:custGeom>
              <a:avLst/>
              <a:gdLst>
                <a:gd name="connsiteX0" fmla="*/ 1164 w 34718"/>
                <a:gd name="connsiteY0" fmla="*/ 12006 h 20074"/>
                <a:gd name="connsiteX1" fmla="*/ 13356 w 34718"/>
                <a:gd name="connsiteY1" fmla="*/ 19054 h 20074"/>
                <a:gd name="connsiteX2" fmla="*/ 20785 w 34718"/>
                <a:gd name="connsiteY2" fmla="*/ 19054 h 20074"/>
                <a:gd name="connsiteX3" fmla="*/ 32882 w 34718"/>
                <a:gd name="connsiteY3" fmla="*/ 12006 h 20074"/>
                <a:gd name="connsiteX4" fmla="*/ 32882 w 34718"/>
                <a:gd name="connsiteY4" fmla="*/ 7719 h 20074"/>
                <a:gd name="connsiteX5" fmla="*/ 20785 w 34718"/>
                <a:gd name="connsiteY5" fmla="*/ 766 h 20074"/>
                <a:gd name="connsiteX6" fmla="*/ 13356 w 34718"/>
                <a:gd name="connsiteY6" fmla="*/ 766 h 20074"/>
                <a:gd name="connsiteX7" fmla="*/ 1164 w 34718"/>
                <a:gd name="connsiteY7" fmla="*/ 7719 h 20074"/>
                <a:gd name="connsiteX8" fmla="*/ 1164 w 34718"/>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18" h="20074">
                  <a:moveTo>
                    <a:pt x="1164" y="12006"/>
                  </a:moveTo>
                  <a:lnTo>
                    <a:pt x="13356" y="19054"/>
                  </a:lnTo>
                  <a:cubicBezTo>
                    <a:pt x="15699" y="20197"/>
                    <a:pt x="18442" y="20197"/>
                    <a:pt x="20785" y="19054"/>
                  </a:cubicBezTo>
                  <a:lnTo>
                    <a:pt x="32882" y="12006"/>
                  </a:lnTo>
                  <a:cubicBezTo>
                    <a:pt x="34882" y="10863"/>
                    <a:pt x="34882" y="8958"/>
                    <a:pt x="32882" y="7719"/>
                  </a:cubicBezTo>
                  <a:lnTo>
                    <a:pt x="20785" y="766"/>
                  </a:lnTo>
                  <a:cubicBezTo>
                    <a:pt x="18461" y="-472"/>
                    <a:pt x="15680" y="-472"/>
                    <a:pt x="13356" y="766"/>
                  </a:cubicBezTo>
                  <a:lnTo>
                    <a:pt x="1164" y="7719"/>
                  </a:lnTo>
                  <a:cubicBezTo>
                    <a:pt x="-836" y="8958"/>
                    <a:pt x="-836" y="10863"/>
                    <a:pt x="1164" y="12006"/>
                  </a:cubicBezTo>
                  <a:close/>
                </a:path>
              </a:pathLst>
            </a:custGeom>
            <a:solidFill>
              <a:srgbClr val="D1D9E8"/>
            </a:solidFill>
            <a:ln w="9525" cap="flat">
              <a:noFill/>
              <a:prstDash val="solid"/>
              <a:miter/>
            </a:ln>
          </p:spPr>
          <p:txBody>
            <a:bodyPr rtlCol="0" anchor="ctr"/>
            <a:lstStyle/>
            <a:p>
              <a:endParaRPr lang="zh-CN" altLang="en-US"/>
            </a:p>
          </p:txBody>
        </p:sp>
        <p:sp>
          <p:nvSpPr>
            <p:cNvPr id="773" name="ïŝľiḑé">
              <a:extLst>
                <a:ext uri="{FF2B5EF4-FFF2-40B4-BE49-F238E27FC236}">
                  <a16:creationId xmlns:a16="http://schemas.microsoft.com/office/drawing/2014/main" id="{B392D23A-7B7B-4934-960E-4E73E80226E8}"/>
                </a:ext>
              </a:extLst>
            </p:cNvPr>
            <p:cNvSpPr/>
            <p:nvPr/>
          </p:nvSpPr>
          <p:spPr>
            <a:xfrm>
              <a:off x="5075333" y="4942968"/>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4 w 36099"/>
                <a:gd name="connsiteY6" fmla="*/ 6981 h 17597"/>
                <a:gd name="connsiteX7" fmla="*/ 35764 w 36099"/>
                <a:gd name="connsiteY7" fmla="*/ -163 h 17597"/>
                <a:gd name="connsiteX8" fmla="*/ 34144 w 36099"/>
                <a:gd name="connsiteY8" fmla="*/ 2123 h 17597"/>
                <a:gd name="connsiteX9" fmla="*/ 31858 w 36099"/>
                <a:gd name="connsiteY9" fmla="*/ 3457 h 17597"/>
                <a:gd name="connsiteX10" fmla="*/ 21571 w 36099"/>
                <a:gd name="connsiteY10" fmla="*/ 9362 h 17597"/>
                <a:gd name="connsiteX11" fmla="*/ 13856 w 36099"/>
                <a:gd name="connsiteY11" fmla="*/ 9362 h 17597"/>
                <a:gd name="connsiteX12" fmla="*/ 3569 w 36099"/>
                <a:gd name="connsiteY12" fmla="*/ 3457 h 17597"/>
                <a:gd name="connsiteX13" fmla="*/ 1283 w 36099"/>
                <a:gd name="connsiteY13" fmla="*/ 2123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03" y="8038"/>
                    <a:pt x="407" y="8857"/>
                    <a:pt x="1283" y="9267"/>
                  </a:cubicBezTo>
                  <a:lnTo>
                    <a:pt x="13856" y="16506"/>
                  </a:lnTo>
                  <a:cubicBezTo>
                    <a:pt x="16275" y="17744"/>
                    <a:pt x="19152" y="17744"/>
                    <a:pt x="21571" y="16506"/>
                  </a:cubicBezTo>
                  <a:lnTo>
                    <a:pt x="34144" y="9267"/>
                  </a:lnTo>
                  <a:cubicBezTo>
                    <a:pt x="35059" y="8857"/>
                    <a:pt x="35678" y="7981"/>
                    <a:pt x="35764" y="6981"/>
                  </a:cubicBezTo>
                  <a:lnTo>
                    <a:pt x="35764" y="-163"/>
                  </a:lnTo>
                  <a:cubicBezTo>
                    <a:pt x="35697" y="847"/>
                    <a:pt x="35068" y="1733"/>
                    <a:pt x="34144" y="2123"/>
                  </a:cubicBezTo>
                  <a:lnTo>
                    <a:pt x="31858" y="3457"/>
                  </a:lnTo>
                  <a:lnTo>
                    <a:pt x="21571" y="9362"/>
                  </a:lnTo>
                  <a:cubicBezTo>
                    <a:pt x="19152" y="10601"/>
                    <a:pt x="16275" y="10601"/>
                    <a:pt x="13856" y="9362"/>
                  </a:cubicBezTo>
                  <a:lnTo>
                    <a:pt x="3569" y="3457"/>
                  </a:lnTo>
                  <a:lnTo>
                    <a:pt x="1283" y="2123"/>
                  </a:lnTo>
                  <a:cubicBezTo>
                    <a:pt x="378" y="1695"/>
                    <a:pt x="-231"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74" name="ïslíḋé">
              <a:extLst>
                <a:ext uri="{FF2B5EF4-FFF2-40B4-BE49-F238E27FC236}">
                  <a16:creationId xmlns:a16="http://schemas.microsoft.com/office/drawing/2014/main" id="{71B060B7-65A2-47F6-8352-3D76221B386F}"/>
                </a:ext>
              </a:extLst>
            </p:cNvPr>
            <p:cNvSpPr/>
            <p:nvPr/>
          </p:nvSpPr>
          <p:spPr>
            <a:xfrm>
              <a:off x="5152746" y="4953476"/>
              <a:ext cx="140036" cy="81035"/>
            </a:xfrm>
            <a:custGeom>
              <a:avLst/>
              <a:gdLst>
                <a:gd name="connsiteX0" fmla="*/ -336 w 46005"/>
                <a:gd name="connsiteY0" fmla="*/ 10196 h 26622"/>
                <a:gd name="connsiteX1" fmla="*/ 1283 w 46005"/>
                <a:gd name="connsiteY1" fmla="*/ 12482 h 26622"/>
                <a:gd name="connsiteX2" fmla="*/ 3569 w 46005"/>
                <a:gd name="connsiteY2" fmla="*/ 13815 h 26622"/>
                <a:gd name="connsiteX3" fmla="*/ 23762 w 46005"/>
                <a:gd name="connsiteY3" fmla="*/ 25531 h 26622"/>
                <a:gd name="connsiteX4" fmla="*/ 31477 w 46005"/>
                <a:gd name="connsiteY4" fmla="*/ 25531 h 26622"/>
                <a:gd name="connsiteX5" fmla="*/ 41764 w 46005"/>
                <a:gd name="connsiteY5" fmla="*/ 19530 h 26622"/>
                <a:gd name="connsiteX6" fmla="*/ 44145 w 46005"/>
                <a:gd name="connsiteY6" fmla="*/ 18197 h 26622"/>
                <a:gd name="connsiteX7" fmla="*/ 45669 w 46005"/>
                <a:gd name="connsiteY7" fmla="*/ 16578 h 26622"/>
                <a:gd name="connsiteX8" fmla="*/ 45669 w 46005"/>
                <a:gd name="connsiteY8" fmla="*/ 15435 h 26622"/>
                <a:gd name="connsiteX9" fmla="*/ 44145 w 46005"/>
                <a:gd name="connsiteY9" fmla="*/ 13720 h 26622"/>
                <a:gd name="connsiteX10" fmla="*/ 21571 w 46005"/>
                <a:gd name="connsiteY10" fmla="*/ 766 h 26622"/>
                <a:gd name="connsiteX11" fmla="*/ 13856 w 46005"/>
                <a:gd name="connsiteY11" fmla="*/ 766 h 26622"/>
                <a:gd name="connsiteX12" fmla="*/ 1283 w 46005"/>
                <a:gd name="connsiteY12" fmla="*/ 8005 h 26622"/>
                <a:gd name="connsiteX13" fmla="*/ -336 w 46005"/>
                <a:gd name="connsiteY13" fmla="*/ 10196 h 26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005" h="26622">
                  <a:moveTo>
                    <a:pt x="-336" y="10196"/>
                  </a:moveTo>
                  <a:cubicBezTo>
                    <a:pt x="-298" y="11215"/>
                    <a:pt x="340" y="12110"/>
                    <a:pt x="1283" y="12482"/>
                  </a:cubicBezTo>
                  <a:lnTo>
                    <a:pt x="3569" y="13815"/>
                  </a:lnTo>
                  <a:lnTo>
                    <a:pt x="23762" y="25531"/>
                  </a:lnTo>
                  <a:cubicBezTo>
                    <a:pt x="26181" y="26769"/>
                    <a:pt x="29058" y="26769"/>
                    <a:pt x="31477" y="25531"/>
                  </a:cubicBezTo>
                  <a:lnTo>
                    <a:pt x="41764" y="19530"/>
                  </a:lnTo>
                  <a:lnTo>
                    <a:pt x="44145" y="18197"/>
                  </a:lnTo>
                  <a:cubicBezTo>
                    <a:pt x="44860" y="17892"/>
                    <a:pt x="45412" y="17311"/>
                    <a:pt x="45669" y="16578"/>
                  </a:cubicBezTo>
                  <a:lnTo>
                    <a:pt x="45669" y="15435"/>
                  </a:lnTo>
                  <a:cubicBezTo>
                    <a:pt x="45384" y="14692"/>
                    <a:pt x="44850" y="14082"/>
                    <a:pt x="44145" y="13720"/>
                  </a:cubicBezTo>
                  <a:lnTo>
                    <a:pt x="21571" y="766"/>
                  </a:lnTo>
                  <a:cubicBezTo>
                    <a:pt x="19152" y="-472"/>
                    <a:pt x="16275" y="-472"/>
                    <a:pt x="13856" y="766"/>
                  </a:cubicBezTo>
                  <a:lnTo>
                    <a:pt x="1283" y="8005"/>
                  </a:lnTo>
                  <a:cubicBezTo>
                    <a:pt x="378" y="8386"/>
                    <a:pt x="-241" y="9224"/>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775" name="iṩľide">
              <a:extLst>
                <a:ext uri="{FF2B5EF4-FFF2-40B4-BE49-F238E27FC236}">
                  <a16:creationId xmlns:a16="http://schemas.microsoft.com/office/drawing/2014/main" id="{3CF7866E-A5F9-4F76-893F-B9D584EDAC8D}"/>
                </a:ext>
              </a:extLst>
            </p:cNvPr>
            <p:cNvSpPr/>
            <p:nvPr/>
          </p:nvSpPr>
          <p:spPr>
            <a:xfrm>
              <a:off x="5154880" y="4953984"/>
              <a:ext cx="136021" cy="78570"/>
            </a:xfrm>
            <a:custGeom>
              <a:avLst/>
              <a:gdLst>
                <a:gd name="connsiteX0" fmla="*/ 23252 w 44686"/>
                <a:gd name="connsiteY0" fmla="*/ 24793 h 25812"/>
                <a:gd name="connsiteX1" fmla="*/ 1154 w 44686"/>
                <a:gd name="connsiteY1" fmla="*/ 12029 h 25812"/>
                <a:gd name="connsiteX2" fmla="*/ -189 w 44686"/>
                <a:gd name="connsiteY2" fmla="*/ 9096 h 25812"/>
                <a:gd name="connsiteX3" fmla="*/ 1154 w 44686"/>
                <a:gd name="connsiteY3" fmla="*/ 7743 h 25812"/>
                <a:gd name="connsiteX4" fmla="*/ 13251 w 44686"/>
                <a:gd name="connsiteY4" fmla="*/ 695 h 25812"/>
                <a:gd name="connsiteX5" fmla="*/ 20680 w 44686"/>
                <a:gd name="connsiteY5" fmla="*/ 695 h 25812"/>
                <a:gd name="connsiteX6" fmla="*/ 42778 w 44686"/>
                <a:gd name="connsiteY6" fmla="*/ 13458 h 25812"/>
                <a:gd name="connsiteX7" fmla="*/ 42778 w 44686"/>
                <a:gd name="connsiteY7" fmla="*/ 17744 h 25812"/>
                <a:gd name="connsiteX8" fmla="*/ 30681 w 44686"/>
                <a:gd name="connsiteY8" fmla="*/ 24793 h 25812"/>
                <a:gd name="connsiteX9" fmla="*/ 23252 w 44686"/>
                <a:gd name="connsiteY9" fmla="*/ 24793 h 25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4686" h="25812">
                  <a:moveTo>
                    <a:pt x="23252" y="24793"/>
                  </a:moveTo>
                  <a:lnTo>
                    <a:pt x="1154" y="12029"/>
                  </a:lnTo>
                  <a:cubicBezTo>
                    <a:pt x="-27" y="11591"/>
                    <a:pt x="-637" y="10277"/>
                    <a:pt x="-189" y="9096"/>
                  </a:cubicBezTo>
                  <a:cubicBezTo>
                    <a:pt x="40" y="8467"/>
                    <a:pt x="535" y="7972"/>
                    <a:pt x="1154" y="7743"/>
                  </a:cubicBezTo>
                  <a:lnTo>
                    <a:pt x="13251" y="695"/>
                  </a:lnTo>
                  <a:cubicBezTo>
                    <a:pt x="15594" y="-448"/>
                    <a:pt x="18337" y="-448"/>
                    <a:pt x="20680" y="695"/>
                  </a:cubicBezTo>
                  <a:lnTo>
                    <a:pt x="42778" y="13458"/>
                  </a:lnTo>
                  <a:cubicBezTo>
                    <a:pt x="44874" y="14696"/>
                    <a:pt x="44874" y="16601"/>
                    <a:pt x="42778" y="17744"/>
                  </a:cubicBezTo>
                  <a:lnTo>
                    <a:pt x="30681" y="24793"/>
                  </a:lnTo>
                  <a:cubicBezTo>
                    <a:pt x="28338" y="25936"/>
                    <a:pt x="25595" y="25936"/>
                    <a:pt x="23252" y="24793"/>
                  </a:cubicBezTo>
                  <a:close/>
                </a:path>
              </a:pathLst>
            </a:custGeom>
            <a:solidFill>
              <a:srgbClr val="D1D9E8"/>
            </a:solidFill>
            <a:ln w="9525" cap="flat">
              <a:noFill/>
              <a:prstDash val="solid"/>
              <a:miter/>
            </a:ln>
          </p:spPr>
          <p:txBody>
            <a:bodyPr rtlCol="0" anchor="ctr"/>
            <a:lstStyle/>
            <a:p>
              <a:endParaRPr lang="zh-CN" altLang="en-US"/>
            </a:p>
          </p:txBody>
        </p:sp>
        <p:sp>
          <p:nvSpPr>
            <p:cNvPr id="776" name="iśľíḋè">
              <a:extLst>
                <a:ext uri="{FF2B5EF4-FFF2-40B4-BE49-F238E27FC236}">
                  <a16:creationId xmlns:a16="http://schemas.microsoft.com/office/drawing/2014/main" id="{3E9E979B-266C-49FC-AC2E-809C258F0A99}"/>
                </a:ext>
              </a:extLst>
            </p:cNvPr>
            <p:cNvSpPr/>
            <p:nvPr/>
          </p:nvSpPr>
          <p:spPr>
            <a:xfrm>
              <a:off x="5152746" y="4985008"/>
              <a:ext cx="140036" cy="71249"/>
            </a:xfrm>
            <a:custGeom>
              <a:avLst/>
              <a:gdLst>
                <a:gd name="connsiteX0" fmla="*/ -336 w 46005"/>
                <a:gd name="connsiteY0" fmla="*/ -163 h 23407"/>
                <a:gd name="connsiteX1" fmla="*/ -336 w 46005"/>
                <a:gd name="connsiteY1" fmla="*/ 7076 h 23407"/>
                <a:gd name="connsiteX2" fmla="*/ 1283 w 46005"/>
                <a:gd name="connsiteY2" fmla="*/ 9267 h 23407"/>
                <a:gd name="connsiteX3" fmla="*/ 23762 w 46005"/>
                <a:gd name="connsiteY3" fmla="*/ 22316 h 23407"/>
                <a:gd name="connsiteX4" fmla="*/ 31477 w 46005"/>
                <a:gd name="connsiteY4" fmla="*/ 22316 h 23407"/>
                <a:gd name="connsiteX5" fmla="*/ 44145 w 46005"/>
                <a:gd name="connsiteY5" fmla="*/ 14982 h 23407"/>
                <a:gd name="connsiteX6" fmla="*/ 45669 w 46005"/>
                <a:gd name="connsiteY6" fmla="*/ 13363 h 23407"/>
                <a:gd name="connsiteX7" fmla="*/ 45669 w 46005"/>
                <a:gd name="connsiteY7" fmla="*/ 6219 h 23407"/>
                <a:gd name="connsiteX8" fmla="*/ 44145 w 46005"/>
                <a:gd name="connsiteY8" fmla="*/ 7838 h 23407"/>
                <a:gd name="connsiteX9" fmla="*/ 41764 w 46005"/>
                <a:gd name="connsiteY9" fmla="*/ 9172 h 23407"/>
                <a:gd name="connsiteX10" fmla="*/ 31477 w 46005"/>
                <a:gd name="connsiteY10" fmla="*/ 15172 h 23407"/>
                <a:gd name="connsiteX11" fmla="*/ 23762 w 46005"/>
                <a:gd name="connsiteY11" fmla="*/ 15172 h 23407"/>
                <a:gd name="connsiteX12" fmla="*/ 3569 w 46005"/>
                <a:gd name="connsiteY12" fmla="*/ 3457 h 23407"/>
                <a:gd name="connsiteX13" fmla="*/ 1283 w 46005"/>
                <a:gd name="connsiteY13" fmla="*/ 2123 h 23407"/>
                <a:gd name="connsiteX14" fmla="*/ -336 w 46005"/>
                <a:gd name="connsiteY14" fmla="*/ -163 h 234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6005" h="23407">
                  <a:moveTo>
                    <a:pt x="-336" y="-163"/>
                  </a:moveTo>
                  <a:lnTo>
                    <a:pt x="-336" y="7076"/>
                  </a:lnTo>
                  <a:cubicBezTo>
                    <a:pt x="-260" y="8057"/>
                    <a:pt x="369" y="8905"/>
                    <a:pt x="1283" y="9267"/>
                  </a:cubicBezTo>
                  <a:lnTo>
                    <a:pt x="23762" y="22316"/>
                  </a:lnTo>
                  <a:cubicBezTo>
                    <a:pt x="26181" y="23555"/>
                    <a:pt x="29058" y="23555"/>
                    <a:pt x="31477" y="22316"/>
                  </a:cubicBezTo>
                  <a:lnTo>
                    <a:pt x="44145" y="14982"/>
                  </a:lnTo>
                  <a:cubicBezTo>
                    <a:pt x="44822" y="14629"/>
                    <a:pt x="45355" y="14058"/>
                    <a:pt x="45669" y="13363"/>
                  </a:cubicBezTo>
                  <a:lnTo>
                    <a:pt x="45669" y="6219"/>
                  </a:lnTo>
                  <a:cubicBezTo>
                    <a:pt x="45412" y="6952"/>
                    <a:pt x="44860" y="7533"/>
                    <a:pt x="44145" y="7838"/>
                  </a:cubicBezTo>
                  <a:lnTo>
                    <a:pt x="41764" y="9172"/>
                  </a:lnTo>
                  <a:lnTo>
                    <a:pt x="31477" y="15172"/>
                  </a:lnTo>
                  <a:cubicBezTo>
                    <a:pt x="29058" y="16411"/>
                    <a:pt x="26181" y="16411"/>
                    <a:pt x="23762" y="15172"/>
                  </a:cubicBezTo>
                  <a:lnTo>
                    <a:pt x="3569" y="3457"/>
                  </a:lnTo>
                  <a:lnTo>
                    <a:pt x="1283" y="2123"/>
                  </a:lnTo>
                  <a:cubicBezTo>
                    <a:pt x="340" y="1752"/>
                    <a:pt x="-298" y="856"/>
                    <a:pt x="-336" y="-163"/>
                  </a:cubicBezTo>
                  <a:close/>
                </a:path>
              </a:pathLst>
            </a:custGeom>
            <a:solidFill>
              <a:srgbClr val="BF4200"/>
            </a:solidFill>
            <a:ln w="9525" cap="flat">
              <a:noFill/>
              <a:prstDash val="solid"/>
              <a:miter/>
            </a:ln>
          </p:spPr>
          <p:txBody>
            <a:bodyPr rtlCol="0" anchor="ctr"/>
            <a:lstStyle/>
            <a:p>
              <a:endParaRPr lang="zh-CN" altLang="en-US"/>
            </a:p>
          </p:txBody>
        </p:sp>
        <p:sp>
          <p:nvSpPr>
            <p:cNvPr id="777" name="îşlïďê">
              <a:extLst>
                <a:ext uri="{FF2B5EF4-FFF2-40B4-BE49-F238E27FC236}">
                  <a16:creationId xmlns:a16="http://schemas.microsoft.com/office/drawing/2014/main" id="{ADCC4F74-B715-4A72-B74F-8D0A24CE443D}"/>
                </a:ext>
              </a:extLst>
            </p:cNvPr>
            <p:cNvSpPr/>
            <p:nvPr/>
          </p:nvSpPr>
          <p:spPr>
            <a:xfrm>
              <a:off x="5261180" y="5016300"/>
              <a:ext cx="505645" cy="291913"/>
            </a:xfrm>
            <a:custGeom>
              <a:avLst/>
              <a:gdLst>
                <a:gd name="connsiteX0" fmla="*/ -336 w 166116"/>
                <a:gd name="connsiteY0" fmla="*/ 10227 h 95900"/>
                <a:gd name="connsiteX1" fmla="*/ 1188 w 166116"/>
                <a:gd name="connsiteY1" fmla="*/ 12513 h 95900"/>
                <a:gd name="connsiteX2" fmla="*/ 3569 w 166116"/>
                <a:gd name="connsiteY2" fmla="*/ 13846 h 95900"/>
                <a:gd name="connsiteX3" fmla="*/ 143872 w 166116"/>
                <a:gd name="connsiteY3" fmla="*/ 94809 h 95900"/>
                <a:gd name="connsiteX4" fmla="*/ 151588 w 166116"/>
                <a:gd name="connsiteY4" fmla="*/ 94809 h 95900"/>
                <a:gd name="connsiteX5" fmla="*/ 161779 w 166116"/>
                <a:gd name="connsiteY5" fmla="*/ 88903 h 95900"/>
                <a:gd name="connsiteX6" fmla="*/ 164161 w 166116"/>
                <a:gd name="connsiteY6" fmla="*/ 87570 h 95900"/>
                <a:gd name="connsiteX7" fmla="*/ 165780 w 166116"/>
                <a:gd name="connsiteY7" fmla="*/ 85951 h 95900"/>
                <a:gd name="connsiteX8" fmla="*/ 165780 w 166116"/>
                <a:gd name="connsiteY8" fmla="*/ 84808 h 95900"/>
                <a:gd name="connsiteX9" fmla="*/ 164161 w 166116"/>
                <a:gd name="connsiteY9" fmla="*/ 83093 h 95900"/>
                <a:gd name="connsiteX10" fmla="*/ 21286 w 166116"/>
                <a:gd name="connsiteY10" fmla="*/ 702 h 95900"/>
                <a:gd name="connsiteX11" fmla="*/ 13665 w 166116"/>
                <a:gd name="connsiteY11" fmla="*/ 702 h 95900"/>
                <a:gd name="connsiteX12" fmla="*/ 997 w 166116"/>
                <a:gd name="connsiteY12" fmla="*/ 8036 h 95900"/>
                <a:gd name="connsiteX13" fmla="*/ -336 w 166116"/>
                <a:gd name="connsiteY13" fmla="*/ 10227 h 95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6116" h="95900">
                  <a:moveTo>
                    <a:pt x="-336" y="10227"/>
                  </a:moveTo>
                  <a:cubicBezTo>
                    <a:pt x="-269" y="11208"/>
                    <a:pt x="311" y="12075"/>
                    <a:pt x="1188" y="12513"/>
                  </a:cubicBezTo>
                  <a:lnTo>
                    <a:pt x="3569" y="13846"/>
                  </a:lnTo>
                  <a:lnTo>
                    <a:pt x="143872" y="94809"/>
                  </a:lnTo>
                  <a:cubicBezTo>
                    <a:pt x="146292" y="96047"/>
                    <a:pt x="149168" y="96047"/>
                    <a:pt x="151588" y="94809"/>
                  </a:cubicBezTo>
                  <a:lnTo>
                    <a:pt x="161779" y="88903"/>
                  </a:lnTo>
                  <a:lnTo>
                    <a:pt x="164161" y="87570"/>
                  </a:lnTo>
                  <a:cubicBezTo>
                    <a:pt x="164875" y="87236"/>
                    <a:pt x="165446" y="86665"/>
                    <a:pt x="165780" y="85951"/>
                  </a:cubicBezTo>
                  <a:lnTo>
                    <a:pt x="165780" y="84808"/>
                  </a:lnTo>
                  <a:cubicBezTo>
                    <a:pt x="165484" y="84046"/>
                    <a:pt x="164903" y="83436"/>
                    <a:pt x="164161" y="83093"/>
                  </a:cubicBezTo>
                  <a:lnTo>
                    <a:pt x="21286" y="702"/>
                  </a:lnTo>
                  <a:cubicBezTo>
                    <a:pt x="18876" y="-451"/>
                    <a:pt x="16075" y="-451"/>
                    <a:pt x="13665" y="702"/>
                  </a:cubicBezTo>
                  <a:lnTo>
                    <a:pt x="997" y="8036"/>
                  </a:lnTo>
                  <a:cubicBezTo>
                    <a:pt x="216" y="8503"/>
                    <a:pt x="-279" y="9322"/>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778" name="íşlïďè">
              <a:extLst>
                <a:ext uri="{FF2B5EF4-FFF2-40B4-BE49-F238E27FC236}">
                  <a16:creationId xmlns:a16="http://schemas.microsoft.com/office/drawing/2014/main" id="{70B64131-23E6-4B1F-B036-7D7B5362AEE3}"/>
                </a:ext>
              </a:extLst>
            </p:cNvPr>
            <p:cNvSpPr/>
            <p:nvPr/>
          </p:nvSpPr>
          <p:spPr>
            <a:xfrm>
              <a:off x="5263067" y="5017481"/>
              <a:ext cx="501657" cy="289569"/>
            </a:xfrm>
            <a:custGeom>
              <a:avLst/>
              <a:gdLst>
                <a:gd name="connsiteX0" fmla="*/ 143348 w 164806"/>
                <a:gd name="connsiteY0" fmla="*/ 94039 h 95130"/>
                <a:gd name="connsiteX1" fmla="*/ 1235 w 164806"/>
                <a:gd name="connsiteY1" fmla="*/ 12029 h 95130"/>
                <a:gd name="connsiteX2" fmla="*/ 1235 w 164806"/>
                <a:gd name="connsiteY2" fmla="*/ 7743 h 95130"/>
                <a:gd name="connsiteX3" fmla="*/ 13332 w 164806"/>
                <a:gd name="connsiteY3" fmla="*/ 695 h 95130"/>
                <a:gd name="connsiteX4" fmla="*/ 20761 w 164806"/>
                <a:gd name="connsiteY4" fmla="*/ 695 h 95130"/>
                <a:gd name="connsiteX5" fmla="*/ 162970 w 164806"/>
                <a:gd name="connsiteY5" fmla="*/ 82800 h 95130"/>
                <a:gd name="connsiteX6" fmla="*/ 162970 w 164806"/>
                <a:gd name="connsiteY6" fmla="*/ 87086 h 95130"/>
                <a:gd name="connsiteX7" fmla="*/ 150778 w 164806"/>
                <a:gd name="connsiteY7" fmla="*/ 94039 h 95130"/>
                <a:gd name="connsiteX8" fmla="*/ 143348 w 164806"/>
                <a:gd name="connsiteY8" fmla="*/ 94039 h 95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4806" h="95130">
                  <a:moveTo>
                    <a:pt x="143348" y="94039"/>
                  </a:moveTo>
                  <a:lnTo>
                    <a:pt x="1235" y="12029"/>
                  </a:lnTo>
                  <a:cubicBezTo>
                    <a:pt x="-860" y="10791"/>
                    <a:pt x="-860" y="8886"/>
                    <a:pt x="1235" y="7743"/>
                  </a:cubicBezTo>
                  <a:lnTo>
                    <a:pt x="13332" y="695"/>
                  </a:lnTo>
                  <a:cubicBezTo>
                    <a:pt x="15675" y="-448"/>
                    <a:pt x="18418" y="-448"/>
                    <a:pt x="20761" y="695"/>
                  </a:cubicBezTo>
                  <a:lnTo>
                    <a:pt x="162970" y="82800"/>
                  </a:lnTo>
                  <a:cubicBezTo>
                    <a:pt x="164970" y="83943"/>
                    <a:pt x="164970" y="85848"/>
                    <a:pt x="162970" y="87086"/>
                  </a:cubicBezTo>
                  <a:lnTo>
                    <a:pt x="150778" y="94039"/>
                  </a:lnTo>
                  <a:cubicBezTo>
                    <a:pt x="148454" y="95278"/>
                    <a:pt x="145672" y="95278"/>
                    <a:pt x="143348" y="94039"/>
                  </a:cubicBezTo>
                  <a:close/>
                </a:path>
              </a:pathLst>
            </a:custGeom>
            <a:solidFill>
              <a:srgbClr val="D1D9E8"/>
            </a:solidFill>
            <a:ln w="9525" cap="flat">
              <a:noFill/>
              <a:prstDash val="solid"/>
              <a:miter/>
            </a:ln>
          </p:spPr>
          <p:txBody>
            <a:bodyPr rtlCol="0" anchor="ctr"/>
            <a:lstStyle/>
            <a:p>
              <a:endParaRPr lang="zh-CN" altLang="en-US"/>
            </a:p>
          </p:txBody>
        </p:sp>
        <p:sp>
          <p:nvSpPr>
            <p:cNvPr id="779" name="îṥļíḓê">
              <a:extLst>
                <a:ext uri="{FF2B5EF4-FFF2-40B4-BE49-F238E27FC236}">
                  <a16:creationId xmlns:a16="http://schemas.microsoft.com/office/drawing/2014/main" id="{ECED8C06-AB4B-4A49-91EB-B07AAC223F6A}"/>
                </a:ext>
              </a:extLst>
            </p:cNvPr>
            <p:cNvSpPr/>
            <p:nvPr/>
          </p:nvSpPr>
          <p:spPr>
            <a:xfrm>
              <a:off x="5261180" y="5047923"/>
              <a:ext cx="506223" cy="281974"/>
            </a:xfrm>
            <a:custGeom>
              <a:avLst/>
              <a:gdLst>
                <a:gd name="connsiteX0" fmla="*/ -336 w 166306"/>
                <a:gd name="connsiteY0" fmla="*/ -163 h 92635"/>
                <a:gd name="connsiteX1" fmla="*/ -336 w 166306"/>
                <a:gd name="connsiteY1" fmla="*/ 6981 h 92635"/>
                <a:gd name="connsiteX2" fmla="*/ 1188 w 166306"/>
                <a:gd name="connsiteY2" fmla="*/ 9267 h 92635"/>
                <a:gd name="connsiteX3" fmla="*/ 144063 w 166306"/>
                <a:gd name="connsiteY3" fmla="*/ 91659 h 92635"/>
                <a:gd name="connsiteX4" fmla="*/ 151778 w 166306"/>
                <a:gd name="connsiteY4" fmla="*/ 91659 h 92635"/>
                <a:gd name="connsiteX5" fmla="*/ 164351 w 166306"/>
                <a:gd name="connsiteY5" fmla="*/ 84324 h 92635"/>
                <a:gd name="connsiteX6" fmla="*/ 165970 w 166306"/>
                <a:gd name="connsiteY6" fmla="*/ 82705 h 92635"/>
                <a:gd name="connsiteX7" fmla="*/ 165970 w 166306"/>
                <a:gd name="connsiteY7" fmla="*/ 75561 h 92635"/>
                <a:gd name="connsiteX8" fmla="*/ 164351 w 166306"/>
                <a:gd name="connsiteY8" fmla="*/ 77180 h 92635"/>
                <a:gd name="connsiteX9" fmla="*/ 161970 w 166306"/>
                <a:gd name="connsiteY9" fmla="*/ 78514 h 92635"/>
                <a:gd name="connsiteX10" fmla="*/ 151778 w 166306"/>
                <a:gd name="connsiteY10" fmla="*/ 84419 h 92635"/>
                <a:gd name="connsiteX11" fmla="*/ 144063 w 166306"/>
                <a:gd name="connsiteY11" fmla="*/ 84419 h 92635"/>
                <a:gd name="connsiteX12" fmla="*/ 3569 w 166306"/>
                <a:gd name="connsiteY12" fmla="*/ 3457 h 92635"/>
                <a:gd name="connsiteX13" fmla="*/ 1188 w 166306"/>
                <a:gd name="connsiteY13" fmla="*/ 2123 h 92635"/>
                <a:gd name="connsiteX14" fmla="*/ -336 w 166306"/>
                <a:gd name="connsiteY14" fmla="*/ -163 h 92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66306" h="92635">
                  <a:moveTo>
                    <a:pt x="-336" y="-163"/>
                  </a:moveTo>
                  <a:lnTo>
                    <a:pt x="-336" y="6981"/>
                  </a:lnTo>
                  <a:cubicBezTo>
                    <a:pt x="-251" y="7953"/>
                    <a:pt x="321" y="8819"/>
                    <a:pt x="1188" y="9267"/>
                  </a:cubicBezTo>
                  <a:lnTo>
                    <a:pt x="144063" y="91659"/>
                  </a:lnTo>
                  <a:cubicBezTo>
                    <a:pt x="146520" y="92744"/>
                    <a:pt x="149321" y="92744"/>
                    <a:pt x="151778" y="91659"/>
                  </a:cubicBezTo>
                  <a:lnTo>
                    <a:pt x="164351" y="84324"/>
                  </a:lnTo>
                  <a:cubicBezTo>
                    <a:pt x="165066" y="83991"/>
                    <a:pt x="165637" y="83419"/>
                    <a:pt x="165970" y="82705"/>
                  </a:cubicBezTo>
                  <a:lnTo>
                    <a:pt x="165970" y="75561"/>
                  </a:lnTo>
                  <a:cubicBezTo>
                    <a:pt x="165637" y="76275"/>
                    <a:pt x="165066" y="76847"/>
                    <a:pt x="164351" y="77180"/>
                  </a:cubicBezTo>
                  <a:lnTo>
                    <a:pt x="161970" y="78514"/>
                  </a:lnTo>
                  <a:lnTo>
                    <a:pt x="151778" y="84419"/>
                  </a:lnTo>
                  <a:cubicBezTo>
                    <a:pt x="149359" y="85658"/>
                    <a:pt x="146482" y="85658"/>
                    <a:pt x="144063" y="84419"/>
                  </a:cubicBezTo>
                  <a:lnTo>
                    <a:pt x="3569" y="3457"/>
                  </a:lnTo>
                  <a:lnTo>
                    <a:pt x="1188" y="2123"/>
                  </a:lnTo>
                  <a:cubicBezTo>
                    <a:pt x="311"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80" name="îslïḍé">
              <a:extLst>
                <a:ext uri="{FF2B5EF4-FFF2-40B4-BE49-F238E27FC236}">
                  <a16:creationId xmlns:a16="http://schemas.microsoft.com/office/drawing/2014/main" id="{27F7D28B-2636-47A5-BC3F-FD044A2AB783}"/>
                </a:ext>
              </a:extLst>
            </p:cNvPr>
            <p:cNvSpPr/>
            <p:nvPr/>
          </p:nvSpPr>
          <p:spPr>
            <a:xfrm>
              <a:off x="5735223" y="5289705"/>
              <a:ext cx="109740" cy="63445"/>
            </a:xfrm>
            <a:custGeom>
              <a:avLst/>
              <a:gdLst>
                <a:gd name="connsiteX0" fmla="*/ -336 w 36052"/>
                <a:gd name="connsiteY0" fmla="*/ 10227 h 20843"/>
                <a:gd name="connsiteX1" fmla="*/ 1188 w 36052"/>
                <a:gd name="connsiteY1" fmla="*/ 12513 h 20843"/>
                <a:gd name="connsiteX2" fmla="*/ 3569 w 36052"/>
                <a:gd name="connsiteY2" fmla="*/ 13846 h 20843"/>
                <a:gd name="connsiteX3" fmla="*/ 13856 w 36052"/>
                <a:gd name="connsiteY3" fmla="*/ 19752 h 20843"/>
                <a:gd name="connsiteX4" fmla="*/ 21476 w 36052"/>
                <a:gd name="connsiteY4" fmla="*/ 19752 h 20843"/>
                <a:gd name="connsiteX5" fmla="*/ 31763 w 36052"/>
                <a:gd name="connsiteY5" fmla="*/ 13846 h 20843"/>
                <a:gd name="connsiteX6" fmla="*/ 34144 w 36052"/>
                <a:gd name="connsiteY6" fmla="*/ 12513 h 20843"/>
                <a:gd name="connsiteX7" fmla="*/ 35573 w 36052"/>
                <a:gd name="connsiteY7" fmla="*/ 9465 h 20843"/>
                <a:gd name="connsiteX8" fmla="*/ 34144 w 36052"/>
                <a:gd name="connsiteY8" fmla="*/ 8036 h 20843"/>
                <a:gd name="connsiteX9" fmla="*/ 21476 w 36052"/>
                <a:gd name="connsiteY9" fmla="*/ 702 h 20843"/>
                <a:gd name="connsiteX10" fmla="*/ 13856 w 36052"/>
                <a:gd name="connsiteY10" fmla="*/ 702 h 20843"/>
                <a:gd name="connsiteX11" fmla="*/ 1188 w 36052"/>
                <a:gd name="connsiteY11" fmla="*/ 8036 h 20843"/>
                <a:gd name="connsiteX12" fmla="*/ -336 w 36052"/>
                <a:gd name="connsiteY12" fmla="*/ 10227 h 20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3">
                  <a:moveTo>
                    <a:pt x="-336" y="10227"/>
                  </a:moveTo>
                  <a:cubicBezTo>
                    <a:pt x="-270" y="11208"/>
                    <a:pt x="311" y="12075"/>
                    <a:pt x="1188" y="12513"/>
                  </a:cubicBezTo>
                  <a:lnTo>
                    <a:pt x="3569" y="13846"/>
                  </a:lnTo>
                  <a:lnTo>
                    <a:pt x="13856" y="19752"/>
                  </a:lnTo>
                  <a:cubicBezTo>
                    <a:pt x="16247" y="20990"/>
                    <a:pt x="19085" y="20990"/>
                    <a:pt x="21476" y="19752"/>
                  </a:cubicBezTo>
                  <a:lnTo>
                    <a:pt x="31763" y="13846"/>
                  </a:lnTo>
                  <a:lnTo>
                    <a:pt x="34144" y="12513"/>
                  </a:lnTo>
                  <a:cubicBezTo>
                    <a:pt x="35382" y="12065"/>
                    <a:pt x="36020" y="10694"/>
                    <a:pt x="35573" y="9465"/>
                  </a:cubicBezTo>
                  <a:cubicBezTo>
                    <a:pt x="35325" y="8798"/>
                    <a:pt x="34811" y="8274"/>
                    <a:pt x="34144"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781" name="îṣlîḍè">
              <a:extLst>
                <a:ext uri="{FF2B5EF4-FFF2-40B4-BE49-F238E27FC236}">
                  <a16:creationId xmlns:a16="http://schemas.microsoft.com/office/drawing/2014/main" id="{A419EBA3-666B-4FE5-B4D0-839476ED0445}"/>
                </a:ext>
              </a:extLst>
            </p:cNvPr>
            <p:cNvSpPr/>
            <p:nvPr/>
          </p:nvSpPr>
          <p:spPr>
            <a:xfrm>
              <a:off x="5736818" y="5290889"/>
              <a:ext cx="105898" cy="61104"/>
            </a:xfrm>
            <a:custGeom>
              <a:avLst/>
              <a:gdLst>
                <a:gd name="connsiteX0" fmla="*/ 1235 w 34790"/>
                <a:gd name="connsiteY0" fmla="*/ 12029 h 20074"/>
                <a:gd name="connsiteX1" fmla="*/ 13332 w 34790"/>
                <a:gd name="connsiteY1" fmla="*/ 18983 h 20074"/>
                <a:gd name="connsiteX2" fmla="*/ 20761 w 34790"/>
                <a:gd name="connsiteY2" fmla="*/ 18983 h 20074"/>
                <a:gd name="connsiteX3" fmla="*/ 32953 w 34790"/>
                <a:gd name="connsiteY3" fmla="*/ 12029 h 20074"/>
                <a:gd name="connsiteX4" fmla="*/ 32953 w 34790"/>
                <a:gd name="connsiteY4" fmla="*/ 7743 h 20074"/>
                <a:gd name="connsiteX5" fmla="*/ 20761 w 34790"/>
                <a:gd name="connsiteY5" fmla="*/ 695 h 20074"/>
                <a:gd name="connsiteX6" fmla="*/ 13332 w 34790"/>
                <a:gd name="connsiteY6" fmla="*/ 695 h 20074"/>
                <a:gd name="connsiteX7" fmla="*/ 1235 w 34790"/>
                <a:gd name="connsiteY7" fmla="*/ 7743 h 20074"/>
                <a:gd name="connsiteX8" fmla="*/ 1235 w 34790"/>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4">
                  <a:moveTo>
                    <a:pt x="1235" y="12029"/>
                  </a:moveTo>
                  <a:lnTo>
                    <a:pt x="13332" y="18983"/>
                  </a:lnTo>
                  <a:cubicBezTo>
                    <a:pt x="15656" y="20221"/>
                    <a:pt x="18437" y="20221"/>
                    <a:pt x="20761" y="18983"/>
                  </a:cubicBezTo>
                  <a:lnTo>
                    <a:pt x="32953" y="12029"/>
                  </a:lnTo>
                  <a:cubicBezTo>
                    <a:pt x="34954" y="10791"/>
                    <a:pt x="34954" y="8886"/>
                    <a:pt x="32953" y="7743"/>
                  </a:cubicBezTo>
                  <a:lnTo>
                    <a:pt x="20761" y="695"/>
                  </a:lnTo>
                  <a:cubicBezTo>
                    <a:pt x="18418" y="-448"/>
                    <a:pt x="15675" y="-448"/>
                    <a:pt x="13332" y="695"/>
                  </a:cubicBezTo>
                  <a:lnTo>
                    <a:pt x="1235" y="7743"/>
                  </a:lnTo>
                  <a:cubicBezTo>
                    <a:pt x="-860" y="9362"/>
                    <a:pt x="-860" y="10791"/>
                    <a:pt x="1235" y="12029"/>
                  </a:cubicBezTo>
                  <a:close/>
                </a:path>
              </a:pathLst>
            </a:custGeom>
            <a:solidFill>
              <a:srgbClr val="D1D9E8"/>
            </a:solidFill>
            <a:ln w="9525" cap="flat">
              <a:noFill/>
              <a:prstDash val="solid"/>
              <a:miter/>
            </a:ln>
          </p:spPr>
          <p:txBody>
            <a:bodyPr rtlCol="0" anchor="ctr"/>
            <a:lstStyle/>
            <a:p>
              <a:endParaRPr lang="zh-CN" altLang="en-US"/>
            </a:p>
          </p:txBody>
        </p:sp>
        <p:sp>
          <p:nvSpPr>
            <p:cNvPr id="782" name="ïṩľïḑé">
              <a:extLst>
                <a:ext uri="{FF2B5EF4-FFF2-40B4-BE49-F238E27FC236}">
                  <a16:creationId xmlns:a16="http://schemas.microsoft.com/office/drawing/2014/main" id="{2FA2C075-7330-4BD4-AFA1-C4A750A28101}"/>
                </a:ext>
              </a:extLst>
            </p:cNvPr>
            <p:cNvSpPr/>
            <p:nvPr/>
          </p:nvSpPr>
          <p:spPr>
            <a:xfrm>
              <a:off x="5735223" y="5321332"/>
              <a:ext cx="109594" cy="53804"/>
            </a:xfrm>
            <a:custGeom>
              <a:avLst/>
              <a:gdLst>
                <a:gd name="connsiteX0" fmla="*/ -336 w 36004"/>
                <a:gd name="connsiteY0" fmla="*/ -163 h 17676"/>
                <a:gd name="connsiteX1" fmla="*/ -336 w 36004"/>
                <a:gd name="connsiteY1" fmla="*/ 7076 h 17676"/>
                <a:gd name="connsiteX2" fmla="*/ 1188 w 36004"/>
                <a:gd name="connsiteY2" fmla="*/ 9267 h 17676"/>
                <a:gd name="connsiteX3" fmla="*/ 13856 w 36004"/>
                <a:gd name="connsiteY3" fmla="*/ 16506 h 17676"/>
                <a:gd name="connsiteX4" fmla="*/ 21476 w 36004"/>
                <a:gd name="connsiteY4" fmla="*/ 16506 h 17676"/>
                <a:gd name="connsiteX5" fmla="*/ 34144 w 36004"/>
                <a:gd name="connsiteY5" fmla="*/ 9267 h 17676"/>
                <a:gd name="connsiteX6" fmla="*/ 35668 w 36004"/>
                <a:gd name="connsiteY6" fmla="*/ 6981 h 17676"/>
                <a:gd name="connsiteX7" fmla="*/ 35668 w 36004"/>
                <a:gd name="connsiteY7" fmla="*/ -163 h 17676"/>
                <a:gd name="connsiteX8" fmla="*/ 34144 w 36004"/>
                <a:gd name="connsiteY8" fmla="*/ 2124 h 17676"/>
                <a:gd name="connsiteX9" fmla="*/ 31763 w 36004"/>
                <a:gd name="connsiteY9" fmla="*/ 3457 h 17676"/>
                <a:gd name="connsiteX10" fmla="*/ 21476 w 36004"/>
                <a:gd name="connsiteY10" fmla="*/ 9362 h 17676"/>
                <a:gd name="connsiteX11" fmla="*/ 13856 w 36004"/>
                <a:gd name="connsiteY11" fmla="*/ 9362 h 17676"/>
                <a:gd name="connsiteX12" fmla="*/ 3569 w 36004"/>
                <a:gd name="connsiteY12" fmla="*/ 3457 h 17676"/>
                <a:gd name="connsiteX13" fmla="*/ 1188 w 36004"/>
                <a:gd name="connsiteY13" fmla="*/ 2124 h 17676"/>
                <a:gd name="connsiteX14" fmla="*/ -336 w 36004"/>
                <a:gd name="connsiteY14" fmla="*/ -163 h 17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6">
                  <a:moveTo>
                    <a:pt x="-336" y="-163"/>
                  </a:moveTo>
                  <a:lnTo>
                    <a:pt x="-336" y="7076"/>
                  </a:lnTo>
                  <a:cubicBezTo>
                    <a:pt x="-279" y="8029"/>
                    <a:pt x="311" y="8877"/>
                    <a:pt x="1188" y="9267"/>
                  </a:cubicBezTo>
                  <a:lnTo>
                    <a:pt x="13856" y="16506"/>
                  </a:lnTo>
                  <a:cubicBezTo>
                    <a:pt x="16218" y="17849"/>
                    <a:pt x="19114" y="17849"/>
                    <a:pt x="21476" y="16506"/>
                  </a:cubicBezTo>
                  <a:lnTo>
                    <a:pt x="34144" y="9267"/>
                  </a:lnTo>
                  <a:cubicBezTo>
                    <a:pt x="35049" y="8867"/>
                    <a:pt x="35640" y="7972"/>
                    <a:pt x="35668" y="6981"/>
                  </a:cubicBezTo>
                  <a:lnTo>
                    <a:pt x="35668" y="-163"/>
                  </a:lnTo>
                  <a:cubicBezTo>
                    <a:pt x="35602" y="819"/>
                    <a:pt x="35021" y="1685"/>
                    <a:pt x="34144" y="2124"/>
                  </a:cubicBezTo>
                  <a:lnTo>
                    <a:pt x="31763" y="3457"/>
                  </a:lnTo>
                  <a:lnTo>
                    <a:pt x="21476" y="9362"/>
                  </a:lnTo>
                  <a:cubicBezTo>
                    <a:pt x="19085" y="10601"/>
                    <a:pt x="16247" y="10601"/>
                    <a:pt x="13856" y="9362"/>
                  </a:cubicBezTo>
                  <a:lnTo>
                    <a:pt x="3569" y="3457"/>
                  </a:lnTo>
                  <a:lnTo>
                    <a:pt x="1188" y="2124"/>
                  </a:lnTo>
                  <a:cubicBezTo>
                    <a:pt x="311" y="1685"/>
                    <a:pt x="-270" y="819"/>
                    <a:pt x="-336" y="-163"/>
                  </a:cubicBezTo>
                  <a:close/>
                </a:path>
              </a:pathLst>
            </a:custGeom>
            <a:solidFill>
              <a:srgbClr val="BF4200"/>
            </a:solidFill>
            <a:ln w="9525" cap="flat">
              <a:noFill/>
              <a:prstDash val="solid"/>
              <a:miter/>
            </a:ln>
          </p:spPr>
          <p:txBody>
            <a:bodyPr rtlCol="0" anchor="ctr"/>
            <a:lstStyle/>
            <a:p>
              <a:endParaRPr lang="zh-CN" altLang="en-US"/>
            </a:p>
          </p:txBody>
        </p:sp>
        <p:sp>
          <p:nvSpPr>
            <p:cNvPr id="783" name="íşlídè">
              <a:extLst>
                <a:ext uri="{FF2B5EF4-FFF2-40B4-BE49-F238E27FC236}">
                  <a16:creationId xmlns:a16="http://schemas.microsoft.com/office/drawing/2014/main" id="{E3A65BA0-C3E1-4C3A-8966-C537DC70B9D7}"/>
                </a:ext>
              </a:extLst>
            </p:cNvPr>
            <p:cNvSpPr/>
            <p:nvPr/>
          </p:nvSpPr>
          <p:spPr>
            <a:xfrm>
              <a:off x="5812636" y="5334451"/>
              <a:ext cx="108202" cy="63588"/>
            </a:xfrm>
            <a:custGeom>
              <a:avLst/>
              <a:gdLst>
                <a:gd name="connsiteX0" fmla="*/ -336 w 35547"/>
                <a:gd name="connsiteY0" fmla="*/ 10291 h 20890"/>
                <a:gd name="connsiteX1" fmla="*/ 1187 w 35547"/>
                <a:gd name="connsiteY1" fmla="*/ 12482 h 20890"/>
                <a:gd name="connsiteX2" fmla="*/ 3569 w 35547"/>
                <a:gd name="connsiteY2" fmla="*/ 13911 h 20890"/>
                <a:gd name="connsiteX3" fmla="*/ 13856 w 35547"/>
                <a:gd name="connsiteY3" fmla="*/ 19721 h 20890"/>
                <a:gd name="connsiteX4" fmla="*/ 21476 w 35547"/>
                <a:gd name="connsiteY4" fmla="*/ 19721 h 20890"/>
                <a:gd name="connsiteX5" fmla="*/ 31382 w 35547"/>
                <a:gd name="connsiteY5" fmla="*/ 14101 h 20890"/>
                <a:gd name="connsiteX6" fmla="*/ 33763 w 35547"/>
                <a:gd name="connsiteY6" fmla="*/ 12672 h 20890"/>
                <a:gd name="connsiteX7" fmla="*/ 35020 w 35547"/>
                <a:gd name="connsiteY7" fmla="*/ 9548 h 20890"/>
                <a:gd name="connsiteX8" fmla="*/ 33763 w 35547"/>
                <a:gd name="connsiteY8" fmla="*/ 8291 h 20890"/>
                <a:gd name="connsiteX9" fmla="*/ 21857 w 35547"/>
                <a:gd name="connsiteY9" fmla="*/ 766 h 20890"/>
                <a:gd name="connsiteX10" fmla="*/ 14237 w 35547"/>
                <a:gd name="connsiteY10" fmla="*/ 766 h 20890"/>
                <a:gd name="connsiteX11" fmla="*/ 1568 w 35547"/>
                <a:gd name="connsiteY11" fmla="*/ 8100 h 20890"/>
                <a:gd name="connsiteX12" fmla="*/ -336 w 35547"/>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547" h="20890">
                  <a:moveTo>
                    <a:pt x="-336" y="10291"/>
                  </a:moveTo>
                  <a:cubicBezTo>
                    <a:pt x="-298" y="11253"/>
                    <a:pt x="292" y="12110"/>
                    <a:pt x="1187" y="12482"/>
                  </a:cubicBezTo>
                  <a:lnTo>
                    <a:pt x="3569" y="13911"/>
                  </a:lnTo>
                  <a:lnTo>
                    <a:pt x="13856" y="19721"/>
                  </a:lnTo>
                  <a:cubicBezTo>
                    <a:pt x="16218" y="21064"/>
                    <a:pt x="19114" y="21064"/>
                    <a:pt x="21476" y="19721"/>
                  </a:cubicBezTo>
                  <a:lnTo>
                    <a:pt x="31382" y="14101"/>
                  </a:lnTo>
                  <a:lnTo>
                    <a:pt x="33763" y="12672"/>
                  </a:lnTo>
                  <a:cubicBezTo>
                    <a:pt x="34973" y="12158"/>
                    <a:pt x="35535" y="10758"/>
                    <a:pt x="35020" y="9548"/>
                  </a:cubicBezTo>
                  <a:cubicBezTo>
                    <a:pt x="34782" y="8986"/>
                    <a:pt x="34325" y="8529"/>
                    <a:pt x="33763" y="8291"/>
                  </a:cubicBezTo>
                  <a:lnTo>
                    <a:pt x="21857" y="766"/>
                  </a:lnTo>
                  <a:cubicBezTo>
                    <a:pt x="19466" y="-472"/>
                    <a:pt x="16627" y="-472"/>
                    <a:pt x="14237" y="766"/>
                  </a:cubicBezTo>
                  <a:lnTo>
                    <a:pt x="1568" y="8100"/>
                  </a:lnTo>
                  <a:cubicBezTo>
                    <a:pt x="530" y="8338"/>
                    <a:pt x="-241" y="9224"/>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784" name="í$ľiḑé">
              <a:extLst>
                <a:ext uri="{FF2B5EF4-FFF2-40B4-BE49-F238E27FC236}">
                  <a16:creationId xmlns:a16="http://schemas.microsoft.com/office/drawing/2014/main" id="{11DBEB68-2D0A-42DB-8E1B-E47D7A5160E3}"/>
                </a:ext>
              </a:extLst>
            </p:cNvPr>
            <p:cNvSpPr/>
            <p:nvPr/>
          </p:nvSpPr>
          <p:spPr>
            <a:xfrm>
              <a:off x="5814521" y="5335611"/>
              <a:ext cx="105825" cy="61101"/>
            </a:xfrm>
            <a:custGeom>
              <a:avLst/>
              <a:gdLst>
                <a:gd name="connsiteX0" fmla="*/ 1235 w 34766"/>
                <a:gd name="connsiteY0" fmla="*/ 12006 h 20073"/>
                <a:gd name="connsiteX1" fmla="*/ 13332 w 34766"/>
                <a:gd name="connsiteY1" fmla="*/ 19054 h 20073"/>
                <a:gd name="connsiteX2" fmla="*/ 20762 w 34766"/>
                <a:gd name="connsiteY2" fmla="*/ 19054 h 20073"/>
                <a:gd name="connsiteX3" fmla="*/ 32858 w 34766"/>
                <a:gd name="connsiteY3" fmla="*/ 12006 h 20073"/>
                <a:gd name="connsiteX4" fmla="*/ 32858 w 34766"/>
                <a:gd name="connsiteY4" fmla="*/ 7719 h 20073"/>
                <a:gd name="connsiteX5" fmla="*/ 20762 w 34766"/>
                <a:gd name="connsiteY5" fmla="*/ 766 h 20073"/>
                <a:gd name="connsiteX6" fmla="*/ 13332 w 34766"/>
                <a:gd name="connsiteY6" fmla="*/ 766 h 20073"/>
                <a:gd name="connsiteX7" fmla="*/ 1235 w 34766"/>
                <a:gd name="connsiteY7" fmla="*/ 7719 h 20073"/>
                <a:gd name="connsiteX8" fmla="*/ 1235 w 34766"/>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6" h="20073">
                  <a:moveTo>
                    <a:pt x="1235" y="12006"/>
                  </a:moveTo>
                  <a:lnTo>
                    <a:pt x="13332" y="19054"/>
                  </a:lnTo>
                  <a:cubicBezTo>
                    <a:pt x="15675" y="20197"/>
                    <a:pt x="18419" y="20197"/>
                    <a:pt x="20762" y="19054"/>
                  </a:cubicBezTo>
                  <a:lnTo>
                    <a:pt x="32858" y="12006"/>
                  </a:lnTo>
                  <a:cubicBezTo>
                    <a:pt x="34954" y="10863"/>
                    <a:pt x="34954" y="8957"/>
                    <a:pt x="32858" y="7719"/>
                  </a:cubicBezTo>
                  <a:lnTo>
                    <a:pt x="20762" y="766"/>
                  </a:lnTo>
                  <a:cubicBezTo>
                    <a:pt x="18437" y="-472"/>
                    <a:pt x="15656" y="-472"/>
                    <a:pt x="13332" y="766"/>
                  </a:cubicBezTo>
                  <a:lnTo>
                    <a:pt x="1235" y="7719"/>
                  </a:lnTo>
                  <a:cubicBezTo>
                    <a:pt x="-860" y="8957"/>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785" name="îṧļîḑe">
              <a:extLst>
                <a:ext uri="{FF2B5EF4-FFF2-40B4-BE49-F238E27FC236}">
                  <a16:creationId xmlns:a16="http://schemas.microsoft.com/office/drawing/2014/main" id="{C5537C90-9E55-421D-BA35-C043D68A67DB}"/>
                </a:ext>
              </a:extLst>
            </p:cNvPr>
            <p:cNvSpPr/>
            <p:nvPr/>
          </p:nvSpPr>
          <p:spPr>
            <a:xfrm>
              <a:off x="5812591" y="5366272"/>
              <a:ext cx="109639" cy="53564"/>
            </a:xfrm>
            <a:custGeom>
              <a:avLst/>
              <a:gdLst>
                <a:gd name="connsiteX0" fmla="*/ -321 w 36019"/>
                <a:gd name="connsiteY0" fmla="*/ -163 h 17597"/>
                <a:gd name="connsiteX1" fmla="*/ -321 w 36019"/>
                <a:gd name="connsiteY1" fmla="*/ 7076 h 17597"/>
                <a:gd name="connsiteX2" fmla="*/ 1203 w 36019"/>
                <a:gd name="connsiteY2" fmla="*/ 9267 h 17597"/>
                <a:gd name="connsiteX3" fmla="*/ 13871 w 36019"/>
                <a:gd name="connsiteY3" fmla="*/ 16506 h 17597"/>
                <a:gd name="connsiteX4" fmla="*/ 21491 w 36019"/>
                <a:gd name="connsiteY4" fmla="*/ 16506 h 17597"/>
                <a:gd name="connsiteX5" fmla="*/ 34159 w 36019"/>
                <a:gd name="connsiteY5" fmla="*/ 9267 h 17597"/>
                <a:gd name="connsiteX6" fmla="*/ 35684 w 36019"/>
                <a:gd name="connsiteY6" fmla="*/ 6981 h 17597"/>
                <a:gd name="connsiteX7" fmla="*/ 35684 w 36019"/>
                <a:gd name="connsiteY7" fmla="*/ -163 h 17597"/>
                <a:gd name="connsiteX8" fmla="*/ 34159 w 36019"/>
                <a:gd name="connsiteY8" fmla="*/ 2028 h 17597"/>
                <a:gd name="connsiteX9" fmla="*/ 31397 w 36019"/>
                <a:gd name="connsiteY9" fmla="*/ 3647 h 17597"/>
                <a:gd name="connsiteX10" fmla="*/ 21110 w 36019"/>
                <a:gd name="connsiteY10" fmla="*/ 9457 h 17597"/>
                <a:gd name="connsiteX11" fmla="*/ 13490 w 36019"/>
                <a:gd name="connsiteY11" fmla="*/ 9457 h 17597"/>
                <a:gd name="connsiteX12" fmla="*/ 3203 w 36019"/>
                <a:gd name="connsiteY12" fmla="*/ 3647 h 17597"/>
                <a:gd name="connsiteX13" fmla="*/ 822 w 36019"/>
                <a:gd name="connsiteY13" fmla="*/ 2219 h 17597"/>
                <a:gd name="connsiteX14" fmla="*/ -321 w 3601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19" h="17597">
                  <a:moveTo>
                    <a:pt x="-321" y="-163"/>
                  </a:moveTo>
                  <a:lnTo>
                    <a:pt x="-321" y="7076"/>
                  </a:lnTo>
                  <a:cubicBezTo>
                    <a:pt x="-226" y="8019"/>
                    <a:pt x="355" y="8848"/>
                    <a:pt x="1203" y="9267"/>
                  </a:cubicBezTo>
                  <a:lnTo>
                    <a:pt x="13871" y="16506"/>
                  </a:lnTo>
                  <a:cubicBezTo>
                    <a:pt x="16262" y="17744"/>
                    <a:pt x="19101" y="17744"/>
                    <a:pt x="21491" y="16506"/>
                  </a:cubicBezTo>
                  <a:lnTo>
                    <a:pt x="34159" y="9267"/>
                  </a:lnTo>
                  <a:cubicBezTo>
                    <a:pt x="35026" y="8819"/>
                    <a:pt x="35598" y="7953"/>
                    <a:pt x="35684" y="6981"/>
                  </a:cubicBezTo>
                  <a:lnTo>
                    <a:pt x="35684" y="-163"/>
                  </a:lnTo>
                  <a:cubicBezTo>
                    <a:pt x="35645" y="799"/>
                    <a:pt x="35055" y="1656"/>
                    <a:pt x="34159" y="2028"/>
                  </a:cubicBezTo>
                  <a:lnTo>
                    <a:pt x="31397" y="3647"/>
                  </a:lnTo>
                  <a:lnTo>
                    <a:pt x="21110" y="9457"/>
                  </a:lnTo>
                  <a:cubicBezTo>
                    <a:pt x="18748" y="10801"/>
                    <a:pt x="15852" y="10801"/>
                    <a:pt x="13490" y="9457"/>
                  </a:cubicBezTo>
                  <a:lnTo>
                    <a:pt x="3203" y="3647"/>
                  </a:lnTo>
                  <a:lnTo>
                    <a:pt x="822" y="2219"/>
                  </a:lnTo>
                  <a:cubicBezTo>
                    <a:pt x="12" y="1714"/>
                    <a:pt x="-426" y="780"/>
                    <a:pt x="-321" y="-163"/>
                  </a:cubicBezTo>
                  <a:close/>
                </a:path>
              </a:pathLst>
            </a:custGeom>
            <a:solidFill>
              <a:srgbClr val="BF4200"/>
            </a:solidFill>
            <a:ln w="9525" cap="flat">
              <a:noFill/>
              <a:prstDash val="solid"/>
              <a:miter/>
            </a:ln>
          </p:spPr>
          <p:txBody>
            <a:bodyPr rtlCol="0" anchor="ctr"/>
            <a:lstStyle/>
            <a:p>
              <a:endParaRPr lang="zh-CN" altLang="en-US"/>
            </a:p>
          </p:txBody>
        </p:sp>
        <p:sp>
          <p:nvSpPr>
            <p:cNvPr id="786" name="iṣļîḋè">
              <a:extLst>
                <a:ext uri="{FF2B5EF4-FFF2-40B4-BE49-F238E27FC236}">
                  <a16:creationId xmlns:a16="http://schemas.microsoft.com/office/drawing/2014/main" id="{63566C68-D1FD-4277-A6E3-EF17EFE1B74B}"/>
                </a:ext>
              </a:extLst>
            </p:cNvPr>
            <p:cNvSpPr/>
            <p:nvPr/>
          </p:nvSpPr>
          <p:spPr>
            <a:xfrm>
              <a:off x="5889757" y="5379102"/>
              <a:ext cx="109450" cy="63350"/>
            </a:xfrm>
            <a:custGeom>
              <a:avLst/>
              <a:gdLst>
                <a:gd name="connsiteX0" fmla="*/ -336 w 35957"/>
                <a:gd name="connsiteY0" fmla="*/ 10196 h 20812"/>
                <a:gd name="connsiteX1" fmla="*/ 1188 w 35957"/>
                <a:gd name="connsiteY1" fmla="*/ 12482 h 20812"/>
                <a:gd name="connsiteX2" fmla="*/ 3569 w 35957"/>
                <a:gd name="connsiteY2" fmla="*/ 13815 h 20812"/>
                <a:gd name="connsiteX3" fmla="*/ 13761 w 35957"/>
                <a:gd name="connsiteY3" fmla="*/ 19721 h 20812"/>
                <a:gd name="connsiteX4" fmla="*/ 21476 w 35957"/>
                <a:gd name="connsiteY4" fmla="*/ 19721 h 20812"/>
                <a:gd name="connsiteX5" fmla="*/ 31763 w 35957"/>
                <a:gd name="connsiteY5" fmla="*/ 13815 h 20812"/>
                <a:gd name="connsiteX6" fmla="*/ 34049 w 35957"/>
                <a:gd name="connsiteY6" fmla="*/ 12482 h 20812"/>
                <a:gd name="connsiteX7" fmla="*/ 35478 w 35957"/>
                <a:gd name="connsiteY7" fmla="*/ 9434 h 20812"/>
                <a:gd name="connsiteX8" fmla="*/ 34049 w 35957"/>
                <a:gd name="connsiteY8" fmla="*/ 8005 h 20812"/>
                <a:gd name="connsiteX9" fmla="*/ 21476 w 35957"/>
                <a:gd name="connsiteY9" fmla="*/ 766 h 20812"/>
                <a:gd name="connsiteX10" fmla="*/ 13761 w 35957"/>
                <a:gd name="connsiteY10" fmla="*/ 766 h 20812"/>
                <a:gd name="connsiteX11" fmla="*/ 1188 w 35957"/>
                <a:gd name="connsiteY11" fmla="*/ 8005 h 20812"/>
                <a:gd name="connsiteX12" fmla="*/ -336 w 35957"/>
                <a:gd name="connsiteY12" fmla="*/ 10196 h 20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957" h="20812">
                  <a:moveTo>
                    <a:pt x="-336" y="10196"/>
                  </a:moveTo>
                  <a:cubicBezTo>
                    <a:pt x="-269" y="11177"/>
                    <a:pt x="312" y="12044"/>
                    <a:pt x="1188" y="12482"/>
                  </a:cubicBezTo>
                  <a:lnTo>
                    <a:pt x="3569" y="13815"/>
                  </a:lnTo>
                  <a:lnTo>
                    <a:pt x="13761" y="19721"/>
                  </a:lnTo>
                  <a:cubicBezTo>
                    <a:pt x="16180" y="20959"/>
                    <a:pt x="19057" y="20959"/>
                    <a:pt x="21476" y="19721"/>
                  </a:cubicBezTo>
                  <a:lnTo>
                    <a:pt x="31763" y="13815"/>
                  </a:lnTo>
                  <a:lnTo>
                    <a:pt x="34049" y="12482"/>
                  </a:lnTo>
                  <a:cubicBezTo>
                    <a:pt x="35287" y="12034"/>
                    <a:pt x="35925" y="10662"/>
                    <a:pt x="35478" y="9434"/>
                  </a:cubicBezTo>
                  <a:cubicBezTo>
                    <a:pt x="35230" y="8767"/>
                    <a:pt x="34716" y="8243"/>
                    <a:pt x="34049" y="8005"/>
                  </a:cubicBezTo>
                  <a:lnTo>
                    <a:pt x="21476" y="766"/>
                  </a:lnTo>
                  <a:cubicBezTo>
                    <a:pt x="19057" y="-472"/>
                    <a:pt x="16180" y="-472"/>
                    <a:pt x="13761" y="766"/>
                  </a:cubicBezTo>
                  <a:lnTo>
                    <a:pt x="1188" y="8005"/>
                  </a:lnTo>
                  <a:cubicBezTo>
                    <a:pt x="340" y="8424"/>
                    <a:pt x="-241" y="925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787" name="îŝļïdé">
              <a:extLst>
                <a:ext uri="{FF2B5EF4-FFF2-40B4-BE49-F238E27FC236}">
                  <a16:creationId xmlns:a16="http://schemas.microsoft.com/office/drawing/2014/main" id="{EFFC3D8F-9F4D-4ED2-99EE-199335A81C1E}"/>
                </a:ext>
              </a:extLst>
            </p:cNvPr>
            <p:cNvSpPr/>
            <p:nvPr/>
          </p:nvSpPr>
          <p:spPr>
            <a:xfrm>
              <a:off x="5891602" y="5380189"/>
              <a:ext cx="105618" cy="61174"/>
            </a:xfrm>
            <a:custGeom>
              <a:avLst/>
              <a:gdLst>
                <a:gd name="connsiteX0" fmla="*/ 1154 w 34698"/>
                <a:gd name="connsiteY0" fmla="*/ 12029 h 20097"/>
                <a:gd name="connsiteX1" fmla="*/ 13346 w 34698"/>
                <a:gd name="connsiteY1" fmla="*/ 19078 h 20097"/>
                <a:gd name="connsiteX2" fmla="*/ 20775 w 34698"/>
                <a:gd name="connsiteY2" fmla="*/ 19078 h 20097"/>
                <a:gd name="connsiteX3" fmla="*/ 32872 w 34698"/>
                <a:gd name="connsiteY3" fmla="*/ 12029 h 20097"/>
                <a:gd name="connsiteX4" fmla="*/ 34215 w 34698"/>
                <a:gd name="connsiteY4" fmla="*/ 9086 h 20097"/>
                <a:gd name="connsiteX5" fmla="*/ 32872 w 34698"/>
                <a:gd name="connsiteY5" fmla="*/ 7743 h 20097"/>
                <a:gd name="connsiteX6" fmla="*/ 20775 w 34698"/>
                <a:gd name="connsiteY6" fmla="*/ 695 h 20097"/>
                <a:gd name="connsiteX7" fmla="*/ 13346 w 34698"/>
                <a:gd name="connsiteY7" fmla="*/ 695 h 20097"/>
                <a:gd name="connsiteX8" fmla="*/ 1154 w 34698"/>
                <a:gd name="connsiteY8" fmla="*/ 7743 h 20097"/>
                <a:gd name="connsiteX9" fmla="*/ -189 w 34698"/>
                <a:gd name="connsiteY9" fmla="*/ 10686 h 20097"/>
                <a:gd name="connsiteX10" fmla="*/ 1154 w 34698"/>
                <a:gd name="connsiteY10" fmla="*/ 12029 h 20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698" h="20097">
                  <a:moveTo>
                    <a:pt x="1154" y="12029"/>
                  </a:moveTo>
                  <a:lnTo>
                    <a:pt x="13346" y="19078"/>
                  </a:lnTo>
                  <a:cubicBezTo>
                    <a:pt x="15689" y="20221"/>
                    <a:pt x="18432" y="20221"/>
                    <a:pt x="20775" y="19078"/>
                  </a:cubicBezTo>
                  <a:lnTo>
                    <a:pt x="32872" y="12029"/>
                  </a:lnTo>
                  <a:cubicBezTo>
                    <a:pt x="34053" y="11591"/>
                    <a:pt x="34663" y="10277"/>
                    <a:pt x="34215" y="9086"/>
                  </a:cubicBezTo>
                  <a:cubicBezTo>
                    <a:pt x="33987" y="8467"/>
                    <a:pt x="33491" y="7972"/>
                    <a:pt x="32872" y="7743"/>
                  </a:cubicBezTo>
                  <a:lnTo>
                    <a:pt x="20775" y="695"/>
                  </a:lnTo>
                  <a:cubicBezTo>
                    <a:pt x="18432" y="-448"/>
                    <a:pt x="15689" y="-448"/>
                    <a:pt x="13346" y="695"/>
                  </a:cubicBezTo>
                  <a:lnTo>
                    <a:pt x="1154" y="7743"/>
                  </a:lnTo>
                  <a:cubicBezTo>
                    <a:pt x="-27" y="8181"/>
                    <a:pt x="-637" y="9496"/>
                    <a:pt x="-189" y="10686"/>
                  </a:cubicBezTo>
                  <a:cubicBezTo>
                    <a:pt x="40" y="11305"/>
                    <a:pt x="525" y="11801"/>
                    <a:pt x="1154" y="12029"/>
                  </a:cubicBezTo>
                  <a:close/>
                </a:path>
              </a:pathLst>
            </a:custGeom>
            <a:solidFill>
              <a:srgbClr val="D1D9E8"/>
            </a:solidFill>
            <a:ln w="9525" cap="flat">
              <a:noFill/>
              <a:prstDash val="solid"/>
              <a:miter/>
            </a:ln>
          </p:spPr>
          <p:txBody>
            <a:bodyPr rtlCol="0" anchor="ctr"/>
            <a:lstStyle/>
            <a:p>
              <a:endParaRPr lang="zh-CN" altLang="en-US"/>
            </a:p>
          </p:txBody>
        </p:sp>
        <p:sp>
          <p:nvSpPr>
            <p:cNvPr id="788" name="ïṣḻïdé">
              <a:extLst>
                <a:ext uri="{FF2B5EF4-FFF2-40B4-BE49-F238E27FC236}">
                  <a16:creationId xmlns:a16="http://schemas.microsoft.com/office/drawing/2014/main" id="{5C282766-58CD-4819-880B-9FFB23DE5FC5}"/>
                </a:ext>
              </a:extLst>
            </p:cNvPr>
            <p:cNvSpPr/>
            <p:nvPr/>
          </p:nvSpPr>
          <p:spPr>
            <a:xfrm>
              <a:off x="5889757" y="5410631"/>
              <a:ext cx="109594" cy="53801"/>
            </a:xfrm>
            <a:custGeom>
              <a:avLst/>
              <a:gdLst>
                <a:gd name="connsiteX0" fmla="*/ -336 w 36004"/>
                <a:gd name="connsiteY0" fmla="*/ -163 h 17675"/>
                <a:gd name="connsiteX1" fmla="*/ -336 w 36004"/>
                <a:gd name="connsiteY1" fmla="*/ 7076 h 17675"/>
                <a:gd name="connsiteX2" fmla="*/ 1188 w 36004"/>
                <a:gd name="connsiteY2" fmla="*/ 9267 h 17675"/>
                <a:gd name="connsiteX3" fmla="*/ 13761 w 36004"/>
                <a:gd name="connsiteY3" fmla="*/ 16506 h 17675"/>
                <a:gd name="connsiteX4" fmla="*/ 21476 w 36004"/>
                <a:gd name="connsiteY4" fmla="*/ 16506 h 17675"/>
                <a:gd name="connsiteX5" fmla="*/ 34049 w 36004"/>
                <a:gd name="connsiteY5" fmla="*/ 9267 h 17675"/>
                <a:gd name="connsiteX6" fmla="*/ 35668 w 36004"/>
                <a:gd name="connsiteY6" fmla="*/ 7076 h 17675"/>
                <a:gd name="connsiteX7" fmla="*/ 35668 w 36004"/>
                <a:gd name="connsiteY7" fmla="*/ -163 h 17675"/>
                <a:gd name="connsiteX8" fmla="*/ 34049 w 36004"/>
                <a:gd name="connsiteY8" fmla="*/ 2123 h 17675"/>
                <a:gd name="connsiteX9" fmla="*/ 31763 w 36004"/>
                <a:gd name="connsiteY9" fmla="*/ 3457 h 17675"/>
                <a:gd name="connsiteX10" fmla="*/ 21476 w 36004"/>
                <a:gd name="connsiteY10" fmla="*/ 9362 h 17675"/>
                <a:gd name="connsiteX11" fmla="*/ 13761 w 36004"/>
                <a:gd name="connsiteY11" fmla="*/ 9362 h 17675"/>
                <a:gd name="connsiteX12" fmla="*/ 3569 w 36004"/>
                <a:gd name="connsiteY12" fmla="*/ 3457 h 17675"/>
                <a:gd name="connsiteX13" fmla="*/ 1188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79" y="8038"/>
                    <a:pt x="312" y="8877"/>
                    <a:pt x="1188" y="9267"/>
                  </a:cubicBezTo>
                  <a:lnTo>
                    <a:pt x="13761" y="16506"/>
                  </a:lnTo>
                  <a:cubicBezTo>
                    <a:pt x="16161" y="17849"/>
                    <a:pt x="19076" y="17849"/>
                    <a:pt x="21476" y="16506"/>
                  </a:cubicBezTo>
                  <a:lnTo>
                    <a:pt x="34049" y="9267"/>
                  </a:lnTo>
                  <a:cubicBezTo>
                    <a:pt x="34964" y="8905"/>
                    <a:pt x="35592" y="8058"/>
                    <a:pt x="35668" y="7076"/>
                  </a:cubicBezTo>
                  <a:lnTo>
                    <a:pt x="35668" y="-163"/>
                  </a:lnTo>
                  <a:cubicBezTo>
                    <a:pt x="35602" y="847"/>
                    <a:pt x="34973" y="1733"/>
                    <a:pt x="34049" y="2123"/>
                  </a:cubicBezTo>
                  <a:lnTo>
                    <a:pt x="31763" y="3457"/>
                  </a:lnTo>
                  <a:lnTo>
                    <a:pt x="21476" y="9362"/>
                  </a:lnTo>
                  <a:cubicBezTo>
                    <a:pt x="19057" y="10601"/>
                    <a:pt x="16180" y="10601"/>
                    <a:pt x="13761" y="9362"/>
                  </a:cubicBezTo>
                  <a:lnTo>
                    <a:pt x="3569" y="3457"/>
                  </a:lnTo>
                  <a:lnTo>
                    <a:pt x="1188" y="2123"/>
                  </a:lnTo>
                  <a:cubicBezTo>
                    <a:pt x="312"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89" name="îś1ïḍe">
              <a:extLst>
                <a:ext uri="{FF2B5EF4-FFF2-40B4-BE49-F238E27FC236}">
                  <a16:creationId xmlns:a16="http://schemas.microsoft.com/office/drawing/2014/main" id="{DE082C42-174D-4580-ACD5-0752B0C76AFA}"/>
                </a:ext>
              </a:extLst>
            </p:cNvPr>
            <p:cNvSpPr/>
            <p:nvPr/>
          </p:nvSpPr>
          <p:spPr>
            <a:xfrm>
              <a:off x="5997905" y="5423656"/>
              <a:ext cx="78716" cy="45467"/>
            </a:xfrm>
            <a:custGeom>
              <a:avLst/>
              <a:gdLst>
                <a:gd name="connsiteX0" fmla="*/ -336 w 25860"/>
                <a:gd name="connsiteY0" fmla="*/ 4321 h 14937"/>
                <a:gd name="connsiteX1" fmla="*/ 1283 w 25860"/>
                <a:gd name="connsiteY1" fmla="*/ 6607 h 14937"/>
                <a:gd name="connsiteX2" fmla="*/ 3569 w 25860"/>
                <a:gd name="connsiteY2" fmla="*/ 7941 h 14937"/>
                <a:gd name="connsiteX3" fmla="*/ 13856 w 25860"/>
                <a:gd name="connsiteY3" fmla="*/ 13846 h 14937"/>
                <a:gd name="connsiteX4" fmla="*/ 21571 w 25860"/>
                <a:gd name="connsiteY4" fmla="*/ 13846 h 14937"/>
                <a:gd name="connsiteX5" fmla="*/ 21571 w 25860"/>
                <a:gd name="connsiteY5" fmla="*/ 13846 h 14937"/>
                <a:gd name="connsiteX6" fmla="*/ 23952 w 25860"/>
                <a:gd name="connsiteY6" fmla="*/ 12513 h 14937"/>
                <a:gd name="connsiteX7" fmla="*/ 25381 w 25860"/>
                <a:gd name="connsiteY7" fmla="*/ 9465 h 14937"/>
                <a:gd name="connsiteX8" fmla="*/ 23952 w 25860"/>
                <a:gd name="connsiteY8" fmla="*/ 8036 h 14937"/>
                <a:gd name="connsiteX9" fmla="*/ 11284 w 25860"/>
                <a:gd name="connsiteY9" fmla="*/ 702 h 14937"/>
                <a:gd name="connsiteX10" fmla="*/ 3664 w 25860"/>
                <a:gd name="connsiteY10" fmla="*/ 702 h 14937"/>
                <a:gd name="connsiteX11" fmla="*/ 1283 w 25860"/>
                <a:gd name="connsiteY11" fmla="*/ 2130 h 14937"/>
                <a:gd name="connsiteX12" fmla="*/ -336 w 25860"/>
                <a:gd name="connsiteY12" fmla="*/ 4321 h 149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5860" h="14937">
                  <a:moveTo>
                    <a:pt x="-336" y="4321"/>
                  </a:moveTo>
                  <a:cubicBezTo>
                    <a:pt x="-231" y="5312"/>
                    <a:pt x="378" y="6178"/>
                    <a:pt x="1283" y="6607"/>
                  </a:cubicBezTo>
                  <a:lnTo>
                    <a:pt x="3569" y="7941"/>
                  </a:lnTo>
                  <a:lnTo>
                    <a:pt x="13856" y="13846"/>
                  </a:lnTo>
                  <a:cubicBezTo>
                    <a:pt x="16275" y="15084"/>
                    <a:pt x="19152" y="15084"/>
                    <a:pt x="21571" y="13846"/>
                  </a:cubicBezTo>
                  <a:lnTo>
                    <a:pt x="21571" y="13846"/>
                  </a:lnTo>
                  <a:lnTo>
                    <a:pt x="23952" y="12513"/>
                  </a:lnTo>
                  <a:cubicBezTo>
                    <a:pt x="25191" y="12065"/>
                    <a:pt x="25829" y="10693"/>
                    <a:pt x="25381" y="9465"/>
                  </a:cubicBezTo>
                  <a:cubicBezTo>
                    <a:pt x="25134" y="8798"/>
                    <a:pt x="24619" y="8274"/>
                    <a:pt x="23952" y="8036"/>
                  </a:cubicBezTo>
                  <a:lnTo>
                    <a:pt x="11284" y="702"/>
                  </a:lnTo>
                  <a:cubicBezTo>
                    <a:pt x="8874" y="-451"/>
                    <a:pt x="6074" y="-451"/>
                    <a:pt x="3664" y="702"/>
                  </a:cubicBezTo>
                  <a:lnTo>
                    <a:pt x="1283" y="2130"/>
                  </a:lnTo>
                  <a:cubicBezTo>
                    <a:pt x="397" y="2521"/>
                    <a:pt x="-222" y="3359"/>
                    <a:pt x="-336" y="4321"/>
                  </a:cubicBezTo>
                  <a:close/>
                </a:path>
              </a:pathLst>
            </a:custGeom>
            <a:solidFill>
              <a:srgbClr val="FFFFFF"/>
            </a:solidFill>
            <a:ln w="9525" cap="flat">
              <a:noFill/>
              <a:prstDash val="solid"/>
              <a:miter/>
            </a:ln>
          </p:spPr>
          <p:txBody>
            <a:bodyPr rtlCol="0" anchor="ctr"/>
            <a:lstStyle/>
            <a:p>
              <a:endParaRPr lang="zh-CN" altLang="en-US"/>
            </a:p>
          </p:txBody>
        </p:sp>
        <p:sp>
          <p:nvSpPr>
            <p:cNvPr id="790" name="iṥ1îdé">
              <a:extLst>
                <a:ext uri="{FF2B5EF4-FFF2-40B4-BE49-F238E27FC236}">
                  <a16:creationId xmlns:a16="http://schemas.microsoft.com/office/drawing/2014/main" id="{36FA47B0-500F-4D49-980E-6E2BA962E36C}"/>
                </a:ext>
              </a:extLst>
            </p:cNvPr>
            <p:cNvSpPr/>
            <p:nvPr/>
          </p:nvSpPr>
          <p:spPr>
            <a:xfrm>
              <a:off x="6000005" y="5424837"/>
              <a:ext cx="74585" cy="42910"/>
            </a:xfrm>
            <a:custGeom>
              <a:avLst/>
              <a:gdLst>
                <a:gd name="connsiteX0" fmla="*/ 1164 w 24503"/>
                <a:gd name="connsiteY0" fmla="*/ 6029 h 14097"/>
                <a:gd name="connsiteX1" fmla="*/ 13261 w 24503"/>
                <a:gd name="connsiteY1" fmla="*/ 13077 h 14097"/>
                <a:gd name="connsiteX2" fmla="*/ 20690 w 24503"/>
                <a:gd name="connsiteY2" fmla="*/ 13077 h 14097"/>
                <a:gd name="connsiteX3" fmla="*/ 22595 w 24503"/>
                <a:gd name="connsiteY3" fmla="*/ 12029 h 14097"/>
                <a:gd name="connsiteX4" fmla="*/ 22595 w 24503"/>
                <a:gd name="connsiteY4" fmla="*/ 7743 h 14097"/>
                <a:gd name="connsiteX5" fmla="*/ 10498 w 24503"/>
                <a:gd name="connsiteY5" fmla="*/ 695 h 14097"/>
                <a:gd name="connsiteX6" fmla="*/ 3069 w 24503"/>
                <a:gd name="connsiteY6" fmla="*/ 695 h 14097"/>
                <a:gd name="connsiteX7" fmla="*/ 1164 w 24503"/>
                <a:gd name="connsiteY7" fmla="*/ 1742 h 14097"/>
                <a:gd name="connsiteX8" fmla="*/ 1164 w 24503"/>
                <a:gd name="connsiteY8" fmla="*/ 6029 h 14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503" h="14097">
                  <a:moveTo>
                    <a:pt x="1164" y="6029"/>
                  </a:moveTo>
                  <a:lnTo>
                    <a:pt x="13261" y="13077"/>
                  </a:lnTo>
                  <a:cubicBezTo>
                    <a:pt x="15604" y="14220"/>
                    <a:pt x="18347" y="14220"/>
                    <a:pt x="20690" y="13077"/>
                  </a:cubicBezTo>
                  <a:lnTo>
                    <a:pt x="22595" y="12029"/>
                  </a:lnTo>
                  <a:cubicBezTo>
                    <a:pt x="24691" y="10791"/>
                    <a:pt x="24691" y="8886"/>
                    <a:pt x="22595" y="7743"/>
                  </a:cubicBezTo>
                  <a:lnTo>
                    <a:pt x="10498" y="695"/>
                  </a:lnTo>
                  <a:cubicBezTo>
                    <a:pt x="8155" y="-448"/>
                    <a:pt x="5412" y="-448"/>
                    <a:pt x="3069" y="695"/>
                  </a:cubicBezTo>
                  <a:lnTo>
                    <a:pt x="1164" y="1742"/>
                  </a:lnTo>
                  <a:cubicBezTo>
                    <a:pt x="-836" y="3457"/>
                    <a:pt x="-836" y="4886"/>
                    <a:pt x="1164" y="6029"/>
                  </a:cubicBezTo>
                  <a:close/>
                </a:path>
              </a:pathLst>
            </a:custGeom>
            <a:solidFill>
              <a:srgbClr val="D1D9E8"/>
            </a:solidFill>
            <a:ln w="9525" cap="flat">
              <a:noFill/>
              <a:prstDash val="solid"/>
              <a:miter/>
            </a:ln>
          </p:spPr>
          <p:txBody>
            <a:bodyPr rtlCol="0" anchor="ctr"/>
            <a:lstStyle/>
            <a:p>
              <a:endParaRPr lang="zh-CN" altLang="en-US"/>
            </a:p>
          </p:txBody>
        </p:sp>
        <p:sp>
          <p:nvSpPr>
            <p:cNvPr id="791" name="î$ḷíďê">
              <a:extLst>
                <a:ext uri="{FF2B5EF4-FFF2-40B4-BE49-F238E27FC236}">
                  <a16:creationId xmlns:a16="http://schemas.microsoft.com/office/drawing/2014/main" id="{CCC638CA-300F-42BE-9FF5-B85462D88B9A}"/>
                </a:ext>
              </a:extLst>
            </p:cNvPr>
            <p:cNvSpPr/>
            <p:nvPr/>
          </p:nvSpPr>
          <p:spPr>
            <a:xfrm>
              <a:off x="5997905" y="5437305"/>
              <a:ext cx="78570" cy="53564"/>
            </a:xfrm>
            <a:custGeom>
              <a:avLst/>
              <a:gdLst>
                <a:gd name="connsiteX0" fmla="*/ -336 w 25812"/>
                <a:gd name="connsiteY0" fmla="*/ -163 h 17597"/>
                <a:gd name="connsiteX1" fmla="*/ -336 w 25812"/>
                <a:gd name="connsiteY1" fmla="*/ 7076 h 17597"/>
                <a:gd name="connsiteX2" fmla="*/ 1283 w 25812"/>
                <a:gd name="connsiteY2" fmla="*/ 9267 h 17597"/>
                <a:gd name="connsiteX3" fmla="*/ 13856 w 25812"/>
                <a:gd name="connsiteY3" fmla="*/ 16506 h 17597"/>
                <a:gd name="connsiteX4" fmla="*/ 21571 w 25812"/>
                <a:gd name="connsiteY4" fmla="*/ 16506 h 17597"/>
                <a:gd name="connsiteX5" fmla="*/ 23952 w 25812"/>
                <a:gd name="connsiteY5" fmla="*/ 15173 h 17597"/>
                <a:gd name="connsiteX6" fmla="*/ 25476 w 25812"/>
                <a:gd name="connsiteY6" fmla="*/ 12887 h 17597"/>
                <a:gd name="connsiteX7" fmla="*/ 25476 w 25812"/>
                <a:gd name="connsiteY7" fmla="*/ 5743 h 17597"/>
                <a:gd name="connsiteX8" fmla="*/ 23952 w 25812"/>
                <a:gd name="connsiteY8" fmla="*/ 8029 h 17597"/>
                <a:gd name="connsiteX9" fmla="*/ 21571 w 25812"/>
                <a:gd name="connsiteY9" fmla="*/ 9362 h 17597"/>
                <a:gd name="connsiteX10" fmla="*/ 21571 w 25812"/>
                <a:gd name="connsiteY10" fmla="*/ 9362 h 17597"/>
                <a:gd name="connsiteX11" fmla="*/ 13856 w 25812"/>
                <a:gd name="connsiteY11" fmla="*/ 9362 h 17597"/>
                <a:gd name="connsiteX12" fmla="*/ 3569 w 25812"/>
                <a:gd name="connsiteY12" fmla="*/ 3457 h 17597"/>
                <a:gd name="connsiteX13" fmla="*/ 1283 w 25812"/>
                <a:gd name="connsiteY13" fmla="*/ 2124 h 17597"/>
                <a:gd name="connsiteX14" fmla="*/ -336 w 25812"/>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5812" h="17597">
                  <a:moveTo>
                    <a:pt x="-336" y="-163"/>
                  </a:moveTo>
                  <a:lnTo>
                    <a:pt x="-336" y="7076"/>
                  </a:lnTo>
                  <a:cubicBezTo>
                    <a:pt x="-203" y="8029"/>
                    <a:pt x="407" y="8858"/>
                    <a:pt x="1283" y="9267"/>
                  </a:cubicBezTo>
                  <a:lnTo>
                    <a:pt x="13856" y="16506"/>
                  </a:lnTo>
                  <a:cubicBezTo>
                    <a:pt x="16275" y="17744"/>
                    <a:pt x="19152" y="17744"/>
                    <a:pt x="21571" y="16506"/>
                  </a:cubicBezTo>
                  <a:lnTo>
                    <a:pt x="23952" y="15173"/>
                  </a:lnTo>
                  <a:cubicBezTo>
                    <a:pt x="24819" y="14725"/>
                    <a:pt x="25391" y="13858"/>
                    <a:pt x="25476" y="12887"/>
                  </a:cubicBezTo>
                  <a:lnTo>
                    <a:pt x="25476" y="5743"/>
                  </a:lnTo>
                  <a:cubicBezTo>
                    <a:pt x="25410" y="6724"/>
                    <a:pt x="24829" y="7591"/>
                    <a:pt x="23952" y="8029"/>
                  </a:cubicBezTo>
                  <a:lnTo>
                    <a:pt x="21571" y="9362"/>
                  </a:lnTo>
                  <a:lnTo>
                    <a:pt x="21571" y="9362"/>
                  </a:lnTo>
                  <a:cubicBezTo>
                    <a:pt x="19152" y="10601"/>
                    <a:pt x="16275" y="10601"/>
                    <a:pt x="13856" y="9362"/>
                  </a:cubicBezTo>
                  <a:lnTo>
                    <a:pt x="3569" y="3457"/>
                  </a:lnTo>
                  <a:lnTo>
                    <a:pt x="1283" y="2124"/>
                  </a:lnTo>
                  <a:cubicBezTo>
                    <a:pt x="378" y="1695"/>
                    <a:pt x="-231"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92" name="iṧḷïḓè">
              <a:extLst>
                <a:ext uri="{FF2B5EF4-FFF2-40B4-BE49-F238E27FC236}">
                  <a16:creationId xmlns:a16="http://schemas.microsoft.com/office/drawing/2014/main" id="{F5E83523-9450-49B7-91EB-01D2E70E1E39}"/>
                </a:ext>
              </a:extLst>
            </p:cNvPr>
            <p:cNvSpPr/>
            <p:nvPr/>
          </p:nvSpPr>
          <p:spPr>
            <a:xfrm>
              <a:off x="5967170" y="5441436"/>
              <a:ext cx="78603" cy="45902"/>
            </a:xfrm>
            <a:custGeom>
              <a:avLst/>
              <a:gdLst>
                <a:gd name="connsiteX0" fmla="*/ -336 w 25823"/>
                <a:gd name="connsiteY0" fmla="*/ 4386 h 15080"/>
                <a:gd name="connsiteX1" fmla="*/ 1283 w 25823"/>
                <a:gd name="connsiteY1" fmla="*/ 6672 h 15080"/>
                <a:gd name="connsiteX2" fmla="*/ 3569 w 25823"/>
                <a:gd name="connsiteY2" fmla="*/ 8005 h 15080"/>
                <a:gd name="connsiteX3" fmla="*/ 13856 w 25823"/>
                <a:gd name="connsiteY3" fmla="*/ 13911 h 15080"/>
                <a:gd name="connsiteX4" fmla="*/ 21571 w 25823"/>
                <a:gd name="connsiteY4" fmla="*/ 13911 h 15080"/>
                <a:gd name="connsiteX5" fmla="*/ 21571 w 25823"/>
                <a:gd name="connsiteY5" fmla="*/ 13911 h 15080"/>
                <a:gd name="connsiteX6" fmla="*/ 23857 w 25823"/>
                <a:gd name="connsiteY6" fmla="*/ 12482 h 15080"/>
                <a:gd name="connsiteX7" fmla="*/ 25391 w 25823"/>
                <a:gd name="connsiteY7" fmla="*/ 9634 h 15080"/>
                <a:gd name="connsiteX8" fmla="*/ 23857 w 25823"/>
                <a:gd name="connsiteY8" fmla="*/ 8100 h 15080"/>
                <a:gd name="connsiteX9" fmla="*/ 11284 w 25823"/>
                <a:gd name="connsiteY9" fmla="*/ 766 h 15080"/>
                <a:gd name="connsiteX10" fmla="*/ 3569 w 25823"/>
                <a:gd name="connsiteY10" fmla="*/ 766 h 15080"/>
                <a:gd name="connsiteX11" fmla="*/ 1283 w 25823"/>
                <a:gd name="connsiteY11" fmla="*/ 2099 h 15080"/>
                <a:gd name="connsiteX12" fmla="*/ -336 w 25823"/>
                <a:gd name="connsiteY12" fmla="*/ 4386 h 15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5823" h="15080">
                  <a:moveTo>
                    <a:pt x="-336" y="4386"/>
                  </a:moveTo>
                  <a:cubicBezTo>
                    <a:pt x="-298" y="5405"/>
                    <a:pt x="340" y="6300"/>
                    <a:pt x="1283" y="6672"/>
                  </a:cubicBezTo>
                  <a:lnTo>
                    <a:pt x="3569" y="8005"/>
                  </a:lnTo>
                  <a:lnTo>
                    <a:pt x="13856" y="13911"/>
                  </a:lnTo>
                  <a:cubicBezTo>
                    <a:pt x="16256" y="15254"/>
                    <a:pt x="19171" y="15254"/>
                    <a:pt x="21571" y="13911"/>
                  </a:cubicBezTo>
                  <a:lnTo>
                    <a:pt x="21571" y="13911"/>
                  </a:lnTo>
                  <a:lnTo>
                    <a:pt x="23857" y="12482"/>
                  </a:lnTo>
                  <a:cubicBezTo>
                    <a:pt x="25067" y="12120"/>
                    <a:pt x="25753" y="10843"/>
                    <a:pt x="25391" y="9634"/>
                  </a:cubicBezTo>
                  <a:cubicBezTo>
                    <a:pt x="25172" y="8900"/>
                    <a:pt x="24600" y="8319"/>
                    <a:pt x="23857" y="8100"/>
                  </a:cubicBezTo>
                  <a:lnTo>
                    <a:pt x="11284" y="766"/>
                  </a:lnTo>
                  <a:cubicBezTo>
                    <a:pt x="8865" y="-472"/>
                    <a:pt x="5988" y="-472"/>
                    <a:pt x="3569" y="766"/>
                  </a:cubicBezTo>
                  <a:lnTo>
                    <a:pt x="1283" y="2099"/>
                  </a:lnTo>
                  <a:cubicBezTo>
                    <a:pt x="359" y="2490"/>
                    <a:pt x="-270" y="3376"/>
                    <a:pt x="-336" y="4386"/>
                  </a:cubicBezTo>
                  <a:close/>
                </a:path>
              </a:pathLst>
            </a:custGeom>
            <a:solidFill>
              <a:srgbClr val="FFFFFF"/>
            </a:solidFill>
            <a:ln w="9525" cap="flat">
              <a:noFill/>
              <a:prstDash val="solid"/>
              <a:miter/>
            </a:ln>
          </p:spPr>
          <p:txBody>
            <a:bodyPr rtlCol="0" anchor="ctr"/>
            <a:lstStyle/>
            <a:p>
              <a:endParaRPr lang="zh-CN" altLang="en-US"/>
            </a:p>
          </p:txBody>
        </p:sp>
        <p:sp>
          <p:nvSpPr>
            <p:cNvPr id="793" name="ïṣ1ïdê">
              <a:extLst>
                <a:ext uri="{FF2B5EF4-FFF2-40B4-BE49-F238E27FC236}">
                  <a16:creationId xmlns:a16="http://schemas.microsoft.com/office/drawing/2014/main" id="{B6893468-5703-4826-B42C-C3CC0145243B}"/>
                </a:ext>
              </a:extLst>
            </p:cNvPr>
            <p:cNvSpPr/>
            <p:nvPr/>
          </p:nvSpPr>
          <p:spPr>
            <a:xfrm>
              <a:off x="5968692" y="5442885"/>
              <a:ext cx="74585" cy="43126"/>
            </a:xfrm>
            <a:custGeom>
              <a:avLst/>
              <a:gdLst>
                <a:gd name="connsiteX0" fmla="*/ 1164 w 24503"/>
                <a:gd name="connsiteY0" fmla="*/ 6100 h 14168"/>
                <a:gd name="connsiteX1" fmla="*/ 13261 w 24503"/>
                <a:gd name="connsiteY1" fmla="*/ 13149 h 14168"/>
                <a:gd name="connsiteX2" fmla="*/ 20690 w 24503"/>
                <a:gd name="connsiteY2" fmla="*/ 13149 h 14168"/>
                <a:gd name="connsiteX3" fmla="*/ 22595 w 24503"/>
                <a:gd name="connsiteY3" fmla="*/ 12006 h 14168"/>
                <a:gd name="connsiteX4" fmla="*/ 22595 w 24503"/>
                <a:gd name="connsiteY4" fmla="*/ 7719 h 14168"/>
                <a:gd name="connsiteX5" fmla="*/ 10498 w 24503"/>
                <a:gd name="connsiteY5" fmla="*/ 766 h 14168"/>
                <a:gd name="connsiteX6" fmla="*/ 3069 w 24503"/>
                <a:gd name="connsiteY6" fmla="*/ 766 h 14168"/>
                <a:gd name="connsiteX7" fmla="*/ 1164 w 24503"/>
                <a:gd name="connsiteY7" fmla="*/ 1814 h 14168"/>
                <a:gd name="connsiteX8" fmla="*/ 1164 w 24503"/>
                <a:gd name="connsiteY8" fmla="*/ 6100 h 14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503" h="14168">
                  <a:moveTo>
                    <a:pt x="1164" y="6100"/>
                  </a:moveTo>
                  <a:lnTo>
                    <a:pt x="13261" y="13149"/>
                  </a:lnTo>
                  <a:cubicBezTo>
                    <a:pt x="15604" y="14292"/>
                    <a:pt x="18347" y="14292"/>
                    <a:pt x="20690" y="13149"/>
                  </a:cubicBezTo>
                  <a:lnTo>
                    <a:pt x="22595" y="12006"/>
                  </a:lnTo>
                  <a:cubicBezTo>
                    <a:pt x="24691" y="10863"/>
                    <a:pt x="24691" y="8958"/>
                    <a:pt x="22595" y="7719"/>
                  </a:cubicBezTo>
                  <a:lnTo>
                    <a:pt x="10498" y="766"/>
                  </a:lnTo>
                  <a:cubicBezTo>
                    <a:pt x="8174" y="-472"/>
                    <a:pt x="5393" y="-472"/>
                    <a:pt x="3069" y="766"/>
                  </a:cubicBezTo>
                  <a:lnTo>
                    <a:pt x="1164" y="1814"/>
                  </a:lnTo>
                  <a:cubicBezTo>
                    <a:pt x="-836" y="3052"/>
                    <a:pt x="-836" y="4957"/>
                    <a:pt x="1164" y="6100"/>
                  </a:cubicBezTo>
                  <a:close/>
                </a:path>
              </a:pathLst>
            </a:custGeom>
            <a:solidFill>
              <a:srgbClr val="D1D9E8"/>
            </a:solidFill>
            <a:ln w="9525" cap="flat">
              <a:noFill/>
              <a:prstDash val="solid"/>
              <a:miter/>
            </a:ln>
          </p:spPr>
          <p:txBody>
            <a:bodyPr rtlCol="0" anchor="ctr"/>
            <a:lstStyle/>
            <a:p>
              <a:endParaRPr lang="zh-CN" altLang="en-US"/>
            </a:p>
          </p:txBody>
        </p:sp>
        <p:sp>
          <p:nvSpPr>
            <p:cNvPr id="794" name="îŝḷïďè">
              <a:extLst>
                <a:ext uri="{FF2B5EF4-FFF2-40B4-BE49-F238E27FC236}">
                  <a16:creationId xmlns:a16="http://schemas.microsoft.com/office/drawing/2014/main" id="{624DE2D7-5E3D-47EE-AB25-A7DFCCE78D52}"/>
                </a:ext>
              </a:extLst>
            </p:cNvPr>
            <p:cNvSpPr/>
            <p:nvPr/>
          </p:nvSpPr>
          <p:spPr>
            <a:xfrm>
              <a:off x="5967170" y="5455283"/>
              <a:ext cx="78570" cy="53801"/>
            </a:xfrm>
            <a:custGeom>
              <a:avLst/>
              <a:gdLst>
                <a:gd name="connsiteX0" fmla="*/ -336 w 25812"/>
                <a:gd name="connsiteY0" fmla="*/ -163 h 17675"/>
                <a:gd name="connsiteX1" fmla="*/ -336 w 25812"/>
                <a:gd name="connsiteY1" fmla="*/ 7076 h 17675"/>
                <a:gd name="connsiteX2" fmla="*/ 1283 w 25812"/>
                <a:gd name="connsiteY2" fmla="*/ 9267 h 17675"/>
                <a:gd name="connsiteX3" fmla="*/ 13856 w 25812"/>
                <a:gd name="connsiteY3" fmla="*/ 16506 h 17675"/>
                <a:gd name="connsiteX4" fmla="*/ 21571 w 25812"/>
                <a:gd name="connsiteY4" fmla="*/ 16506 h 17675"/>
                <a:gd name="connsiteX5" fmla="*/ 23857 w 25812"/>
                <a:gd name="connsiteY5" fmla="*/ 15268 h 17675"/>
                <a:gd name="connsiteX6" fmla="*/ 25476 w 25812"/>
                <a:gd name="connsiteY6" fmla="*/ 12982 h 17675"/>
                <a:gd name="connsiteX7" fmla="*/ 25476 w 25812"/>
                <a:gd name="connsiteY7" fmla="*/ 5838 h 17675"/>
                <a:gd name="connsiteX8" fmla="*/ 23857 w 25812"/>
                <a:gd name="connsiteY8" fmla="*/ 8029 h 17675"/>
                <a:gd name="connsiteX9" fmla="*/ 21571 w 25812"/>
                <a:gd name="connsiteY9" fmla="*/ 9457 h 17675"/>
                <a:gd name="connsiteX10" fmla="*/ 21571 w 25812"/>
                <a:gd name="connsiteY10" fmla="*/ 9457 h 17675"/>
                <a:gd name="connsiteX11" fmla="*/ 13856 w 25812"/>
                <a:gd name="connsiteY11" fmla="*/ 9457 h 17675"/>
                <a:gd name="connsiteX12" fmla="*/ 3569 w 25812"/>
                <a:gd name="connsiteY12" fmla="*/ 3552 h 17675"/>
                <a:gd name="connsiteX13" fmla="*/ 1283 w 25812"/>
                <a:gd name="connsiteY13" fmla="*/ 2219 h 17675"/>
                <a:gd name="connsiteX14" fmla="*/ -336 w 25812"/>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5812" h="17675">
                  <a:moveTo>
                    <a:pt x="-336" y="-163"/>
                  </a:moveTo>
                  <a:lnTo>
                    <a:pt x="-336" y="7076"/>
                  </a:lnTo>
                  <a:cubicBezTo>
                    <a:pt x="-279" y="8067"/>
                    <a:pt x="349" y="8924"/>
                    <a:pt x="1283" y="9267"/>
                  </a:cubicBezTo>
                  <a:lnTo>
                    <a:pt x="13856" y="16506"/>
                  </a:lnTo>
                  <a:cubicBezTo>
                    <a:pt x="16256" y="17849"/>
                    <a:pt x="19171" y="17849"/>
                    <a:pt x="21571" y="16506"/>
                  </a:cubicBezTo>
                  <a:lnTo>
                    <a:pt x="23857" y="15268"/>
                  </a:lnTo>
                  <a:cubicBezTo>
                    <a:pt x="24771" y="14858"/>
                    <a:pt x="25391" y="13982"/>
                    <a:pt x="25476" y="12982"/>
                  </a:cubicBezTo>
                  <a:lnTo>
                    <a:pt x="25476" y="5838"/>
                  </a:lnTo>
                  <a:cubicBezTo>
                    <a:pt x="25419" y="6829"/>
                    <a:pt x="24791" y="7686"/>
                    <a:pt x="23857" y="8029"/>
                  </a:cubicBezTo>
                  <a:lnTo>
                    <a:pt x="21571" y="9457"/>
                  </a:lnTo>
                  <a:lnTo>
                    <a:pt x="21571" y="9457"/>
                  </a:lnTo>
                  <a:cubicBezTo>
                    <a:pt x="19171" y="10801"/>
                    <a:pt x="16256" y="10801"/>
                    <a:pt x="13856" y="9457"/>
                  </a:cubicBezTo>
                  <a:lnTo>
                    <a:pt x="3569" y="3552"/>
                  </a:lnTo>
                  <a:lnTo>
                    <a:pt x="1283" y="2219"/>
                  </a:lnTo>
                  <a:cubicBezTo>
                    <a:pt x="311" y="1828"/>
                    <a:pt x="-336" y="885"/>
                    <a:pt x="-336" y="-163"/>
                  </a:cubicBezTo>
                  <a:close/>
                </a:path>
              </a:pathLst>
            </a:custGeom>
            <a:solidFill>
              <a:srgbClr val="BF4200"/>
            </a:solidFill>
            <a:ln w="9525" cap="flat">
              <a:noFill/>
              <a:prstDash val="solid"/>
              <a:miter/>
            </a:ln>
          </p:spPr>
          <p:txBody>
            <a:bodyPr rtlCol="0" anchor="ctr"/>
            <a:lstStyle/>
            <a:p>
              <a:endParaRPr lang="zh-CN" altLang="en-US"/>
            </a:p>
          </p:txBody>
        </p:sp>
        <p:sp>
          <p:nvSpPr>
            <p:cNvPr id="795" name="islíḋé">
              <a:extLst>
                <a:ext uri="{FF2B5EF4-FFF2-40B4-BE49-F238E27FC236}">
                  <a16:creationId xmlns:a16="http://schemas.microsoft.com/office/drawing/2014/main" id="{B15E2F62-4A7C-48F9-BBB5-624B381CE9E7}"/>
                </a:ext>
              </a:extLst>
            </p:cNvPr>
            <p:cNvSpPr/>
            <p:nvPr/>
          </p:nvSpPr>
          <p:spPr>
            <a:xfrm>
              <a:off x="6044294" y="5468110"/>
              <a:ext cx="109594" cy="63588"/>
            </a:xfrm>
            <a:custGeom>
              <a:avLst/>
              <a:gdLst>
                <a:gd name="connsiteX0" fmla="*/ -336 w 36004"/>
                <a:gd name="connsiteY0" fmla="*/ 10291 h 20890"/>
                <a:gd name="connsiteX1" fmla="*/ 1188 w 36004"/>
                <a:gd name="connsiteY1" fmla="*/ 12577 h 20890"/>
                <a:gd name="connsiteX2" fmla="*/ 3569 w 36004"/>
                <a:gd name="connsiteY2" fmla="*/ 13911 h 20890"/>
                <a:gd name="connsiteX3" fmla="*/ 13856 w 36004"/>
                <a:gd name="connsiteY3" fmla="*/ 19721 h 20890"/>
                <a:gd name="connsiteX4" fmla="*/ 21476 w 36004"/>
                <a:gd name="connsiteY4" fmla="*/ 19721 h 20890"/>
                <a:gd name="connsiteX5" fmla="*/ 31763 w 36004"/>
                <a:gd name="connsiteY5" fmla="*/ 13911 h 20890"/>
                <a:gd name="connsiteX6" fmla="*/ 34144 w 36004"/>
                <a:gd name="connsiteY6" fmla="*/ 12577 h 20890"/>
                <a:gd name="connsiteX7" fmla="*/ 35668 w 36004"/>
                <a:gd name="connsiteY7" fmla="*/ 10291 h 20890"/>
                <a:gd name="connsiteX8" fmla="*/ 34144 w 36004"/>
                <a:gd name="connsiteY8" fmla="*/ 8101 h 20890"/>
                <a:gd name="connsiteX9" fmla="*/ 21476 w 36004"/>
                <a:gd name="connsiteY9" fmla="*/ 766 h 20890"/>
                <a:gd name="connsiteX10" fmla="*/ 13856 w 36004"/>
                <a:gd name="connsiteY10" fmla="*/ 766 h 20890"/>
                <a:gd name="connsiteX11" fmla="*/ 1188 w 36004"/>
                <a:gd name="connsiteY11" fmla="*/ 8101 h 20890"/>
                <a:gd name="connsiteX12" fmla="*/ -336 w 36004"/>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291"/>
                  </a:moveTo>
                  <a:cubicBezTo>
                    <a:pt x="-270" y="11272"/>
                    <a:pt x="311" y="12139"/>
                    <a:pt x="1188" y="12577"/>
                  </a:cubicBezTo>
                  <a:lnTo>
                    <a:pt x="3569" y="13911"/>
                  </a:lnTo>
                  <a:lnTo>
                    <a:pt x="13856" y="19721"/>
                  </a:lnTo>
                  <a:cubicBezTo>
                    <a:pt x="16218" y="21064"/>
                    <a:pt x="19114" y="21064"/>
                    <a:pt x="21476" y="19721"/>
                  </a:cubicBezTo>
                  <a:lnTo>
                    <a:pt x="31763" y="13911"/>
                  </a:lnTo>
                  <a:lnTo>
                    <a:pt x="34144" y="12577"/>
                  </a:lnTo>
                  <a:cubicBezTo>
                    <a:pt x="35021" y="12139"/>
                    <a:pt x="35602" y="11272"/>
                    <a:pt x="35668" y="10291"/>
                  </a:cubicBezTo>
                  <a:cubicBezTo>
                    <a:pt x="35611" y="9339"/>
                    <a:pt x="35021" y="8491"/>
                    <a:pt x="34144" y="8101"/>
                  </a:cubicBezTo>
                  <a:lnTo>
                    <a:pt x="21476" y="766"/>
                  </a:lnTo>
                  <a:cubicBezTo>
                    <a:pt x="19085" y="-472"/>
                    <a:pt x="16247" y="-472"/>
                    <a:pt x="13856" y="766"/>
                  </a:cubicBezTo>
                  <a:lnTo>
                    <a:pt x="1188" y="8101"/>
                  </a:lnTo>
                  <a:cubicBezTo>
                    <a:pt x="311" y="8491"/>
                    <a:pt x="-279"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796" name="íşļïdê">
              <a:extLst>
                <a:ext uri="{FF2B5EF4-FFF2-40B4-BE49-F238E27FC236}">
                  <a16:creationId xmlns:a16="http://schemas.microsoft.com/office/drawing/2014/main" id="{EA1DC5C8-3296-475C-AA25-5F9B59ED2ABC}"/>
                </a:ext>
              </a:extLst>
            </p:cNvPr>
            <p:cNvSpPr/>
            <p:nvPr/>
          </p:nvSpPr>
          <p:spPr>
            <a:xfrm>
              <a:off x="6046179" y="5469269"/>
              <a:ext cx="105825" cy="61104"/>
            </a:xfrm>
            <a:custGeom>
              <a:avLst/>
              <a:gdLst>
                <a:gd name="connsiteX0" fmla="*/ 1235 w 34766"/>
                <a:gd name="connsiteY0" fmla="*/ 12006 h 20074"/>
                <a:gd name="connsiteX1" fmla="*/ 13332 w 34766"/>
                <a:gd name="connsiteY1" fmla="*/ 19054 h 20074"/>
                <a:gd name="connsiteX2" fmla="*/ 20761 w 34766"/>
                <a:gd name="connsiteY2" fmla="*/ 19054 h 20074"/>
                <a:gd name="connsiteX3" fmla="*/ 32858 w 34766"/>
                <a:gd name="connsiteY3" fmla="*/ 12006 h 20074"/>
                <a:gd name="connsiteX4" fmla="*/ 32858 w 34766"/>
                <a:gd name="connsiteY4" fmla="*/ 7719 h 20074"/>
                <a:gd name="connsiteX5" fmla="*/ 20761 w 34766"/>
                <a:gd name="connsiteY5" fmla="*/ 766 h 20074"/>
                <a:gd name="connsiteX6" fmla="*/ 13332 w 34766"/>
                <a:gd name="connsiteY6" fmla="*/ 766 h 20074"/>
                <a:gd name="connsiteX7" fmla="*/ 1235 w 34766"/>
                <a:gd name="connsiteY7" fmla="*/ 7719 h 20074"/>
                <a:gd name="connsiteX8" fmla="*/ 1235 w 34766"/>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6" h="20074">
                  <a:moveTo>
                    <a:pt x="1235" y="12006"/>
                  </a:moveTo>
                  <a:lnTo>
                    <a:pt x="13332" y="19054"/>
                  </a:lnTo>
                  <a:cubicBezTo>
                    <a:pt x="15675" y="20197"/>
                    <a:pt x="18418" y="20197"/>
                    <a:pt x="20761" y="19054"/>
                  </a:cubicBezTo>
                  <a:lnTo>
                    <a:pt x="32858" y="12006"/>
                  </a:lnTo>
                  <a:cubicBezTo>
                    <a:pt x="34954" y="10863"/>
                    <a:pt x="34954" y="8957"/>
                    <a:pt x="32858" y="7719"/>
                  </a:cubicBezTo>
                  <a:lnTo>
                    <a:pt x="20761" y="766"/>
                  </a:lnTo>
                  <a:cubicBezTo>
                    <a:pt x="18437" y="-472"/>
                    <a:pt x="15656" y="-472"/>
                    <a:pt x="13332" y="766"/>
                  </a:cubicBezTo>
                  <a:lnTo>
                    <a:pt x="1235" y="7719"/>
                  </a:lnTo>
                  <a:cubicBezTo>
                    <a:pt x="-860" y="8957"/>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797" name="îṣḷïḓè">
              <a:extLst>
                <a:ext uri="{FF2B5EF4-FFF2-40B4-BE49-F238E27FC236}">
                  <a16:creationId xmlns:a16="http://schemas.microsoft.com/office/drawing/2014/main" id="{324F7CB5-ED1E-4C42-94F3-222683A99F0B}"/>
                </a:ext>
              </a:extLst>
            </p:cNvPr>
            <p:cNvSpPr/>
            <p:nvPr/>
          </p:nvSpPr>
          <p:spPr>
            <a:xfrm>
              <a:off x="6044288" y="5499931"/>
              <a:ext cx="109600" cy="54435"/>
            </a:xfrm>
            <a:custGeom>
              <a:avLst/>
              <a:gdLst>
                <a:gd name="connsiteX0" fmla="*/ -335 w 36006"/>
                <a:gd name="connsiteY0" fmla="*/ -163 h 17883"/>
                <a:gd name="connsiteX1" fmla="*/ -335 w 36006"/>
                <a:gd name="connsiteY1" fmla="*/ 7362 h 17883"/>
                <a:gd name="connsiteX2" fmla="*/ 1189 w 36006"/>
                <a:gd name="connsiteY2" fmla="*/ 9553 h 17883"/>
                <a:gd name="connsiteX3" fmla="*/ 13858 w 36006"/>
                <a:gd name="connsiteY3" fmla="*/ 16792 h 17883"/>
                <a:gd name="connsiteX4" fmla="*/ 21478 w 36006"/>
                <a:gd name="connsiteY4" fmla="*/ 16792 h 17883"/>
                <a:gd name="connsiteX5" fmla="*/ 34146 w 36006"/>
                <a:gd name="connsiteY5" fmla="*/ 9553 h 17883"/>
                <a:gd name="connsiteX6" fmla="*/ 35670 w 36006"/>
                <a:gd name="connsiteY6" fmla="*/ 7267 h 17883"/>
                <a:gd name="connsiteX7" fmla="*/ 35670 w 36006"/>
                <a:gd name="connsiteY7" fmla="*/ 123 h 17883"/>
                <a:gd name="connsiteX8" fmla="*/ 34146 w 36006"/>
                <a:gd name="connsiteY8" fmla="*/ 2409 h 17883"/>
                <a:gd name="connsiteX9" fmla="*/ 31765 w 36006"/>
                <a:gd name="connsiteY9" fmla="*/ 3743 h 17883"/>
                <a:gd name="connsiteX10" fmla="*/ 21478 w 36006"/>
                <a:gd name="connsiteY10" fmla="*/ 9553 h 17883"/>
                <a:gd name="connsiteX11" fmla="*/ 13858 w 36006"/>
                <a:gd name="connsiteY11" fmla="*/ 9553 h 17883"/>
                <a:gd name="connsiteX12" fmla="*/ 3571 w 36006"/>
                <a:gd name="connsiteY12" fmla="*/ 3743 h 17883"/>
                <a:gd name="connsiteX13" fmla="*/ 1189 w 36006"/>
                <a:gd name="connsiteY13" fmla="*/ 2409 h 17883"/>
                <a:gd name="connsiteX14" fmla="*/ -335 w 36006"/>
                <a:gd name="connsiteY14" fmla="*/ -163 h 17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6" h="17883">
                  <a:moveTo>
                    <a:pt x="-335" y="-163"/>
                  </a:moveTo>
                  <a:lnTo>
                    <a:pt x="-335" y="7362"/>
                  </a:lnTo>
                  <a:cubicBezTo>
                    <a:pt x="-239" y="8305"/>
                    <a:pt x="342" y="9134"/>
                    <a:pt x="1189" y="9553"/>
                  </a:cubicBezTo>
                  <a:lnTo>
                    <a:pt x="13858" y="16792"/>
                  </a:lnTo>
                  <a:cubicBezTo>
                    <a:pt x="16248" y="18030"/>
                    <a:pt x="19087" y="18030"/>
                    <a:pt x="21478" y="16792"/>
                  </a:cubicBezTo>
                  <a:lnTo>
                    <a:pt x="34146" y="9553"/>
                  </a:lnTo>
                  <a:cubicBezTo>
                    <a:pt x="35013" y="9105"/>
                    <a:pt x="35584" y="8239"/>
                    <a:pt x="35670" y="7267"/>
                  </a:cubicBezTo>
                  <a:lnTo>
                    <a:pt x="35670" y="123"/>
                  </a:lnTo>
                  <a:cubicBezTo>
                    <a:pt x="35603" y="1104"/>
                    <a:pt x="35022" y="1971"/>
                    <a:pt x="34146" y="2409"/>
                  </a:cubicBezTo>
                  <a:lnTo>
                    <a:pt x="31765" y="3743"/>
                  </a:lnTo>
                  <a:lnTo>
                    <a:pt x="21478" y="9553"/>
                  </a:lnTo>
                  <a:cubicBezTo>
                    <a:pt x="19115" y="10896"/>
                    <a:pt x="16220" y="10896"/>
                    <a:pt x="13858" y="9553"/>
                  </a:cubicBezTo>
                  <a:lnTo>
                    <a:pt x="3571" y="3743"/>
                  </a:lnTo>
                  <a:lnTo>
                    <a:pt x="1189" y="2409"/>
                  </a:lnTo>
                  <a:cubicBezTo>
                    <a:pt x="218" y="1923"/>
                    <a:pt x="-373" y="923"/>
                    <a:pt x="-335" y="-163"/>
                  </a:cubicBezTo>
                  <a:close/>
                </a:path>
              </a:pathLst>
            </a:custGeom>
            <a:solidFill>
              <a:srgbClr val="BF4200"/>
            </a:solidFill>
            <a:ln w="9525" cap="flat">
              <a:noFill/>
              <a:prstDash val="solid"/>
              <a:miter/>
            </a:ln>
          </p:spPr>
          <p:txBody>
            <a:bodyPr rtlCol="0" anchor="ctr"/>
            <a:lstStyle/>
            <a:p>
              <a:endParaRPr lang="zh-CN" altLang="en-US"/>
            </a:p>
          </p:txBody>
        </p:sp>
        <p:sp>
          <p:nvSpPr>
            <p:cNvPr id="798" name="ïŝľîdê">
              <a:extLst>
                <a:ext uri="{FF2B5EF4-FFF2-40B4-BE49-F238E27FC236}">
                  <a16:creationId xmlns:a16="http://schemas.microsoft.com/office/drawing/2014/main" id="{34CA68B2-58AC-49D4-8884-C13252F074A8}"/>
                </a:ext>
              </a:extLst>
            </p:cNvPr>
            <p:cNvSpPr/>
            <p:nvPr/>
          </p:nvSpPr>
          <p:spPr>
            <a:xfrm>
              <a:off x="5927812" y="4346502"/>
              <a:ext cx="1038326" cy="599437"/>
            </a:xfrm>
            <a:custGeom>
              <a:avLst/>
              <a:gdLst>
                <a:gd name="connsiteX0" fmla="*/ 126894 w 341114"/>
                <a:gd name="connsiteY0" fmla="*/ 182551 h 196929"/>
                <a:gd name="connsiteX1" fmla="*/ 24310 w 341114"/>
                <a:gd name="connsiteY1" fmla="*/ 123305 h 196929"/>
                <a:gd name="connsiteX2" fmla="*/ 24310 w 341114"/>
                <a:gd name="connsiteY2" fmla="*/ 54630 h 196929"/>
                <a:gd name="connsiteX3" fmla="*/ 94509 w 341114"/>
                <a:gd name="connsiteY3" fmla="*/ 14053 h 196929"/>
                <a:gd name="connsiteX4" fmla="*/ 213571 w 341114"/>
                <a:gd name="connsiteY4" fmla="*/ 14053 h 196929"/>
                <a:gd name="connsiteX5" fmla="*/ 316060 w 341114"/>
                <a:gd name="connsiteY5" fmla="*/ 73299 h 196929"/>
                <a:gd name="connsiteX6" fmla="*/ 316060 w 341114"/>
                <a:gd name="connsiteY6" fmla="*/ 141974 h 196929"/>
                <a:gd name="connsiteX7" fmla="*/ 245861 w 341114"/>
                <a:gd name="connsiteY7" fmla="*/ 182551 h 196929"/>
                <a:gd name="connsiteX8" fmla="*/ 126894 w 341114"/>
                <a:gd name="connsiteY8" fmla="*/ 182551 h 196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1114" h="196929">
                  <a:moveTo>
                    <a:pt x="126894" y="182551"/>
                  </a:moveTo>
                  <a:lnTo>
                    <a:pt x="24310" y="123305"/>
                  </a:lnTo>
                  <a:cubicBezTo>
                    <a:pt x="-8552" y="104255"/>
                    <a:pt x="-8552" y="73585"/>
                    <a:pt x="24310" y="54630"/>
                  </a:cubicBezTo>
                  <a:lnTo>
                    <a:pt x="94509" y="14053"/>
                  </a:lnTo>
                  <a:cubicBezTo>
                    <a:pt x="131932" y="-4901"/>
                    <a:pt x="176148" y="-4901"/>
                    <a:pt x="213571" y="14053"/>
                  </a:cubicBezTo>
                  <a:lnTo>
                    <a:pt x="316060" y="73299"/>
                  </a:lnTo>
                  <a:cubicBezTo>
                    <a:pt x="349017" y="92349"/>
                    <a:pt x="349017" y="123019"/>
                    <a:pt x="316060" y="141974"/>
                  </a:cubicBezTo>
                  <a:lnTo>
                    <a:pt x="245861" y="182551"/>
                  </a:lnTo>
                  <a:cubicBezTo>
                    <a:pt x="208475" y="201506"/>
                    <a:pt x="164279" y="201506"/>
                    <a:pt x="126894" y="182551"/>
                  </a:cubicBezTo>
                  <a:close/>
                </a:path>
              </a:pathLst>
            </a:custGeom>
            <a:solidFill>
              <a:srgbClr val="BF4200"/>
            </a:solidFill>
            <a:ln w="9525" cap="flat">
              <a:noFill/>
              <a:prstDash val="solid"/>
              <a:miter/>
            </a:ln>
          </p:spPr>
          <p:txBody>
            <a:bodyPr rtlCol="0" anchor="ctr"/>
            <a:lstStyle/>
            <a:p>
              <a:endParaRPr lang="zh-CN" altLang="en-US"/>
            </a:p>
          </p:txBody>
        </p:sp>
        <p:sp>
          <p:nvSpPr>
            <p:cNvPr id="799" name="iśľidè">
              <a:extLst>
                <a:ext uri="{FF2B5EF4-FFF2-40B4-BE49-F238E27FC236}">
                  <a16:creationId xmlns:a16="http://schemas.microsoft.com/office/drawing/2014/main" id="{65E867A8-5334-46AE-B99E-C3A6429353C4}"/>
                </a:ext>
              </a:extLst>
            </p:cNvPr>
            <p:cNvSpPr/>
            <p:nvPr/>
          </p:nvSpPr>
          <p:spPr>
            <a:xfrm>
              <a:off x="5927812" y="4311710"/>
              <a:ext cx="1038326" cy="599437"/>
            </a:xfrm>
            <a:custGeom>
              <a:avLst/>
              <a:gdLst>
                <a:gd name="connsiteX0" fmla="*/ 126894 w 341114"/>
                <a:gd name="connsiteY0" fmla="*/ 182551 h 196929"/>
                <a:gd name="connsiteX1" fmla="*/ 24310 w 341114"/>
                <a:gd name="connsiteY1" fmla="*/ 123305 h 196929"/>
                <a:gd name="connsiteX2" fmla="*/ 24310 w 341114"/>
                <a:gd name="connsiteY2" fmla="*/ 54630 h 196929"/>
                <a:gd name="connsiteX3" fmla="*/ 94509 w 341114"/>
                <a:gd name="connsiteY3" fmla="*/ 14053 h 196929"/>
                <a:gd name="connsiteX4" fmla="*/ 213571 w 341114"/>
                <a:gd name="connsiteY4" fmla="*/ 14053 h 196929"/>
                <a:gd name="connsiteX5" fmla="*/ 316060 w 341114"/>
                <a:gd name="connsiteY5" fmla="*/ 73299 h 196929"/>
                <a:gd name="connsiteX6" fmla="*/ 316060 w 341114"/>
                <a:gd name="connsiteY6" fmla="*/ 141974 h 196929"/>
                <a:gd name="connsiteX7" fmla="*/ 245861 w 341114"/>
                <a:gd name="connsiteY7" fmla="*/ 182551 h 196929"/>
                <a:gd name="connsiteX8" fmla="*/ 126894 w 341114"/>
                <a:gd name="connsiteY8" fmla="*/ 182551 h 196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1114" h="196929">
                  <a:moveTo>
                    <a:pt x="126894" y="182551"/>
                  </a:moveTo>
                  <a:lnTo>
                    <a:pt x="24310" y="123305"/>
                  </a:lnTo>
                  <a:cubicBezTo>
                    <a:pt x="-8552" y="104255"/>
                    <a:pt x="-8552" y="73585"/>
                    <a:pt x="24310" y="54630"/>
                  </a:cubicBezTo>
                  <a:lnTo>
                    <a:pt x="94509" y="14053"/>
                  </a:lnTo>
                  <a:cubicBezTo>
                    <a:pt x="131932" y="-4901"/>
                    <a:pt x="176148" y="-4901"/>
                    <a:pt x="213571" y="14053"/>
                  </a:cubicBezTo>
                  <a:lnTo>
                    <a:pt x="316060" y="73299"/>
                  </a:lnTo>
                  <a:cubicBezTo>
                    <a:pt x="349017" y="92349"/>
                    <a:pt x="349017" y="123019"/>
                    <a:pt x="316060" y="141974"/>
                  </a:cubicBezTo>
                  <a:lnTo>
                    <a:pt x="245861" y="182551"/>
                  </a:lnTo>
                  <a:cubicBezTo>
                    <a:pt x="208475" y="201505"/>
                    <a:pt x="164279" y="201505"/>
                    <a:pt x="126894" y="182551"/>
                  </a:cubicBezTo>
                  <a:close/>
                </a:path>
              </a:pathLst>
            </a:custGeom>
            <a:solidFill>
              <a:srgbClr val="FF7D33"/>
            </a:solidFill>
            <a:ln w="9525" cap="flat">
              <a:noFill/>
              <a:prstDash val="solid"/>
              <a:miter/>
            </a:ln>
          </p:spPr>
          <p:txBody>
            <a:bodyPr rtlCol="0" anchor="ctr"/>
            <a:lstStyle/>
            <a:p>
              <a:endParaRPr lang="zh-CN" altLang="en-US"/>
            </a:p>
          </p:txBody>
        </p:sp>
        <p:sp>
          <p:nvSpPr>
            <p:cNvPr id="800" name="ïšlídé">
              <a:extLst>
                <a:ext uri="{FF2B5EF4-FFF2-40B4-BE49-F238E27FC236}">
                  <a16:creationId xmlns:a16="http://schemas.microsoft.com/office/drawing/2014/main" id="{07929FBF-E6DA-45B1-8304-362A633089AB}"/>
                </a:ext>
              </a:extLst>
            </p:cNvPr>
            <p:cNvSpPr/>
            <p:nvPr/>
          </p:nvSpPr>
          <p:spPr>
            <a:xfrm>
              <a:off x="6375915" y="4006641"/>
              <a:ext cx="260198" cy="150440"/>
            </a:xfrm>
            <a:custGeom>
              <a:avLst/>
              <a:gdLst>
                <a:gd name="connsiteX0" fmla="*/ 71979 w 85481"/>
                <a:gd name="connsiteY0" fmla="*/ 6737 h 49423"/>
                <a:gd name="connsiteX1" fmla="*/ 73218 w 85481"/>
                <a:gd name="connsiteY1" fmla="*/ 41694 h 49423"/>
                <a:gd name="connsiteX2" fmla="*/ 12829 w 85481"/>
                <a:gd name="connsiteY2" fmla="*/ 42361 h 49423"/>
                <a:gd name="connsiteX3" fmla="*/ 11591 w 85481"/>
                <a:gd name="connsiteY3" fmla="*/ 7404 h 49423"/>
                <a:gd name="connsiteX4" fmla="*/ 71979 w 85481"/>
                <a:gd name="connsiteY4" fmla="*/ 6737 h 49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481" h="49423">
                  <a:moveTo>
                    <a:pt x="71979" y="6737"/>
                  </a:moveTo>
                  <a:cubicBezTo>
                    <a:pt x="89029" y="16262"/>
                    <a:pt x="89601" y="31884"/>
                    <a:pt x="73218" y="41694"/>
                  </a:cubicBezTo>
                  <a:cubicBezTo>
                    <a:pt x="54349" y="51543"/>
                    <a:pt x="31908" y="51791"/>
                    <a:pt x="12829" y="42361"/>
                  </a:cubicBezTo>
                  <a:cubicBezTo>
                    <a:pt x="-4221" y="32836"/>
                    <a:pt x="-4792" y="17215"/>
                    <a:pt x="11591" y="7404"/>
                  </a:cubicBezTo>
                  <a:cubicBezTo>
                    <a:pt x="30460" y="-2445"/>
                    <a:pt x="52901" y="-2692"/>
                    <a:pt x="71979" y="6737"/>
                  </a:cubicBezTo>
                  <a:close/>
                </a:path>
              </a:pathLst>
            </a:custGeom>
            <a:solidFill>
              <a:srgbClr val="E73E1E"/>
            </a:solidFill>
            <a:ln w="9525" cap="flat">
              <a:noFill/>
              <a:prstDash val="solid"/>
              <a:miter/>
            </a:ln>
          </p:spPr>
          <p:txBody>
            <a:bodyPr rtlCol="0" anchor="ctr"/>
            <a:lstStyle/>
            <a:p>
              <a:endParaRPr lang="zh-CN" altLang="en-US"/>
            </a:p>
          </p:txBody>
        </p:sp>
        <p:sp>
          <p:nvSpPr>
            <p:cNvPr id="801" name="ïŝľiḑê">
              <a:extLst>
                <a:ext uri="{FF2B5EF4-FFF2-40B4-BE49-F238E27FC236}">
                  <a16:creationId xmlns:a16="http://schemas.microsoft.com/office/drawing/2014/main" id="{37C44FC7-80DB-4517-87F8-EE1F2D1C7CAE}"/>
                </a:ext>
              </a:extLst>
            </p:cNvPr>
            <p:cNvSpPr/>
            <p:nvPr/>
          </p:nvSpPr>
          <p:spPr>
            <a:xfrm>
              <a:off x="6375398" y="4081863"/>
              <a:ext cx="260070" cy="535488"/>
            </a:xfrm>
            <a:custGeom>
              <a:avLst/>
              <a:gdLst>
                <a:gd name="connsiteX0" fmla="*/ 85103 w 85439"/>
                <a:gd name="connsiteY0" fmla="*/ 151190 h 175920"/>
                <a:gd name="connsiteX1" fmla="*/ 85103 w 85439"/>
                <a:gd name="connsiteY1" fmla="*/ 123 h 175920"/>
                <a:gd name="connsiteX2" fmla="*/ 73197 w 85439"/>
                <a:gd name="connsiteY2" fmla="*/ 17173 h 175920"/>
                <a:gd name="connsiteX3" fmla="*/ 12808 w 85439"/>
                <a:gd name="connsiteY3" fmla="*/ 17744 h 175920"/>
                <a:gd name="connsiteX4" fmla="*/ -336 w 85439"/>
                <a:gd name="connsiteY4" fmla="*/ -163 h 175920"/>
                <a:gd name="connsiteX5" fmla="*/ -336 w 85439"/>
                <a:gd name="connsiteY5" fmla="*/ 150904 h 175920"/>
                <a:gd name="connsiteX6" fmla="*/ 12808 w 85439"/>
                <a:gd name="connsiteY6" fmla="*/ 168811 h 175920"/>
                <a:gd name="connsiteX7" fmla="*/ 73197 w 85439"/>
                <a:gd name="connsiteY7" fmla="*/ 168239 h 175920"/>
                <a:gd name="connsiteX8" fmla="*/ 85103 w 85439"/>
                <a:gd name="connsiteY8" fmla="*/ 151190 h 175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5439" h="175920">
                  <a:moveTo>
                    <a:pt x="85103" y="151190"/>
                  </a:moveTo>
                  <a:lnTo>
                    <a:pt x="85103" y="123"/>
                  </a:lnTo>
                  <a:cubicBezTo>
                    <a:pt x="84436" y="7515"/>
                    <a:pt x="79902" y="14001"/>
                    <a:pt x="73197" y="17173"/>
                  </a:cubicBezTo>
                  <a:cubicBezTo>
                    <a:pt x="54309" y="26993"/>
                    <a:pt x="31877" y="27203"/>
                    <a:pt x="12808" y="17744"/>
                  </a:cubicBezTo>
                  <a:cubicBezTo>
                    <a:pt x="5474" y="14639"/>
                    <a:pt x="426" y="7762"/>
                    <a:pt x="-336" y="-163"/>
                  </a:cubicBezTo>
                  <a:lnTo>
                    <a:pt x="-336" y="150904"/>
                  </a:lnTo>
                  <a:cubicBezTo>
                    <a:pt x="426" y="158829"/>
                    <a:pt x="5474" y="165706"/>
                    <a:pt x="12808" y="168811"/>
                  </a:cubicBezTo>
                  <a:cubicBezTo>
                    <a:pt x="31877" y="178269"/>
                    <a:pt x="54309" y="178059"/>
                    <a:pt x="73197" y="168239"/>
                  </a:cubicBezTo>
                  <a:cubicBezTo>
                    <a:pt x="79902" y="165068"/>
                    <a:pt x="84436" y="158581"/>
                    <a:pt x="85103" y="151190"/>
                  </a:cubicBezTo>
                  <a:close/>
                </a:path>
              </a:pathLst>
            </a:custGeom>
            <a:solidFill>
              <a:srgbClr val="BF4200"/>
            </a:solidFill>
            <a:ln w="9525" cap="flat">
              <a:noFill/>
              <a:prstDash val="solid"/>
              <a:miter/>
            </a:ln>
          </p:spPr>
          <p:txBody>
            <a:bodyPr rtlCol="0" anchor="ctr"/>
            <a:lstStyle/>
            <a:p>
              <a:endParaRPr lang="zh-CN" altLang="en-US"/>
            </a:p>
          </p:txBody>
        </p:sp>
        <p:sp>
          <p:nvSpPr>
            <p:cNvPr id="802" name="ïšļiḋè">
              <a:extLst>
                <a:ext uri="{FF2B5EF4-FFF2-40B4-BE49-F238E27FC236}">
                  <a16:creationId xmlns:a16="http://schemas.microsoft.com/office/drawing/2014/main" id="{62B5AA3F-B058-4E45-991D-FCF2CB2B88D6}"/>
                </a:ext>
              </a:extLst>
            </p:cNvPr>
            <p:cNvSpPr/>
            <p:nvPr/>
          </p:nvSpPr>
          <p:spPr>
            <a:xfrm>
              <a:off x="7368421" y="4755091"/>
              <a:ext cx="168451" cy="100264"/>
            </a:xfrm>
            <a:custGeom>
              <a:avLst/>
              <a:gdLst>
                <a:gd name="connsiteX0" fmla="*/ 32811 w 55340"/>
                <a:gd name="connsiteY0" fmla="*/ 27746 h 32939"/>
                <a:gd name="connsiteX1" fmla="*/ 32811 w 55340"/>
                <a:gd name="connsiteY1" fmla="*/ 27746 h 32939"/>
                <a:gd name="connsiteX2" fmla="*/ 36335 w 55340"/>
                <a:gd name="connsiteY2" fmla="*/ 25650 h 32939"/>
                <a:gd name="connsiteX3" fmla="*/ 44146 w 55340"/>
                <a:gd name="connsiteY3" fmla="*/ 20221 h 32939"/>
                <a:gd name="connsiteX4" fmla="*/ 50432 w 55340"/>
                <a:gd name="connsiteY4" fmla="*/ 13553 h 32939"/>
                <a:gd name="connsiteX5" fmla="*/ 53575 w 55340"/>
                <a:gd name="connsiteY5" fmla="*/ 7362 h 32939"/>
                <a:gd name="connsiteX6" fmla="*/ 55004 w 55340"/>
                <a:gd name="connsiteY6" fmla="*/ -163 h 32939"/>
                <a:gd name="connsiteX7" fmla="*/ 55004 w 55340"/>
                <a:gd name="connsiteY7" fmla="*/ -163 h 32939"/>
                <a:gd name="connsiteX8" fmla="*/ 53671 w 55340"/>
                <a:gd name="connsiteY8" fmla="*/ 2219 h 32939"/>
                <a:gd name="connsiteX9" fmla="*/ 53671 w 55340"/>
                <a:gd name="connsiteY9" fmla="*/ 2219 h 32939"/>
                <a:gd name="connsiteX10" fmla="*/ 53194 w 55340"/>
                <a:gd name="connsiteY10" fmla="*/ 2695 h 32939"/>
                <a:gd name="connsiteX11" fmla="*/ 53194 w 55340"/>
                <a:gd name="connsiteY11" fmla="*/ 2695 h 32939"/>
                <a:gd name="connsiteX12" fmla="*/ 52528 w 55340"/>
                <a:gd name="connsiteY12" fmla="*/ 3362 h 32939"/>
                <a:gd name="connsiteX13" fmla="*/ 51861 w 55340"/>
                <a:gd name="connsiteY13" fmla="*/ 3933 h 32939"/>
                <a:gd name="connsiteX14" fmla="*/ 49480 w 55340"/>
                <a:gd name="connsiteY14" fmla="*/ 5743 h 32939"/>
                <a:gd name="connsiteX15" fmla="*/ 48813 w 55340"/>
                <a:gd name="connsiteY15" fmla="*/ 6315 h 32939"/>
                <a:gd name="connsiteX16" fmla="*/ 48813 w 55340"/>
                <a:gd name="connsiteY16" fmla="*/ 6315 h 32939"/>
                <a:gd name="connsiteX17" fmla="*/ 48051 w 55340"/>
                <a:gd name="connsiteY17" fmla="*/ 6886 h 32939"/>
                <a:gd name="connsiteX18" fmla="*/ 45098 w 55340"/>
                <a:gd name="connsiteY18" fmla="*/ 8696 h 32939"/>
                <a:gd name="connsiteX19" fmla="*/ 41574 w 55340"/>
                <a:gd name="connsiteY19" fmla="*/ 10696 h 32939"/>
                <a:gd name="connsiteX20" fmla="*/ 23476 w 55340"/>
                <a:gd name="connsiteY20" fmla="*/ 16030 h 32939"/>
                <a:gd name="connsiteX21" fmla="*/ 23476 w 55340"/>
                <a:gd name="connsiteY21" fmla="*/ 16030 h 32939"/>
                <a:gd name="connsiteX22" fmla="*/ 22619 w 55340"/>
                <a:gd name="connsiteY22" fmla="*/ 21269 h 32939"/>
                <a:gd name="connsiteX23" fmla="*/ 22143 w 55340"/>
                <a:gd name="connsiteY23" fmla="*/ 22793 h 32939"/>
                <a:gd name="connsiteX24" fmla="*/ 22143 w 55340"/>
                <a:gd name="connsiteY24" fmla="*/ 22793 h 32939"/>
                <a:gd name="connsiteX25" fmla="*/ 21476 w 55340"/>
                <a:gd name="connsiteY25" fmla="*/ 24317 h 32939"/>
                <a:gd name="connsiteX26" fmla="*/ 21476 w 55340"/>
                <a:gd name="connsiteY26" fmla="*/ 24317 h 32939"/>
                <a:gd name="connsiteX27" fmla="*/ 16523 w 55340"/>
                <a:gd name="connsiteY27" fmla="*/ 29651 h 32939"/>
                <a:gd name="connsiteX28" fmla="*/ 9189 w 55340"/>
                <a:gd name="connsiteY28" fmla="*/ 31175 h 32939"/>
                <a:gd name="connsiteX29" fmla="*/ -336 w 55340"/>
                <a:gd name="connsiteY29" fmla="*/ 28222 h 32939"/>
                <a:gd name="connsiteX30" fmla="*/ 10903 w 55340"/>
                <a:gd name="connsiteY30" fmla="*/ 32699 h 32939"/>
                <a:gd name="connsiteX31" fmla="*/ 14142 w 55340"/>
                <a:gd name="connsiteY31" fmla="*/ 32699 h 32939"/>
                <a:gd name="connsiteX32" fmla="*/ 18333 w 55340"/>
                <a:gd name="connsiteY32" fmla="*/ 32223 h 32939"/>
                <a:gd name="connsiteX33" fmla="*/ 18333 w 55340"/>
                <a:gd name="connsiteY33" fmla="*/ 32223 h 32939"/>
                <a:gd name="connsiteX34" fmla="*/ 31858 w 55340"/>
                <a:gd name="connsiteY34" fmla="*/ 27269 h 32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55340" h="32939">
                  <a:moveTo>
                    <a:pt x="32811" y="27746"/>
                  </a:moveTo>
                  <a:lnTo>
                    <a:pt x="32811" y="27746"/>
                  </a:lnTo>
                  <a:lnTo>
                    <a:pt x="36335" y="25650"/>
                  </a:lnTo>
                  <a:cubicBezTo>
                    <a:pt x="39088" y="24069"/>
                    <a:pt x="41707" y="22259"/>
                    <a:pt x="44146" y="20221"/>
                  </a:cubicBezTo>
                  <a:cubicBezTo>
                    <a:pt x="46498" y="18259"/>
                    <a:pt x="48613" y="16020"/>
                    <a:pt x="50432" y="13553"/>
                  </a:cubicBezTo>
                  <a:cubicBezTo>
                    <a:pt x="51737" y="11629"/>
                    <a:pt x="52794" y="9553"/>
                    <a:pt x="53575" y="7362"/>
                  </a:cubicBezTo>
                  <a:cubicBezTo>
                    <a:pt x="54423" y="4933"/>
                    <a:pt x="54899" y="2400"/>
                    <a:pt x="55004" y="-163"/>
                  </a:cubicBezTo>
                  <a:lnTo>
                    <a:pt x="55004" y="-163"/>
                  </a:lnTo>
                  <a:cubicBezTo>
                    <a:pt x="54785" y="742"/>
                    <a:pt x="54328" y="1561"/>
                    <a:pt x="53671" y="2219"/>
                  </a:cubicBezTo>
                  <a:lnTo>
                    <a:pt x="53671" y="2219"/>
                  </a:lnTo>
                  <a:cubicBezTo>
                    <a:pt x="53671" y="2219"/>
                    <a:pt x="53671" y="2219"/>
                    <a:pt x="53194" y="2695"/>
                  </a:cubicBezTo>
                  <a:lnTo>
                    <a:pt x="53194" y="2695"/>
                  </a:lnTo>
                  <a:lnTo>
                    <a:pt x="52528" y="3362"/>
                  </a:lnTo>
                  <a:lnTo>
                    <a:pt x="51861" y="3933"/>
                  </a:lnTo>
                  <a:lnTo>
                    <a:pt x="49480" y="5743"/>
                  </a:lnTo>
                  <a:lnTo>
                    <a:pt x="48813" y="6315"/>
                  </a:lnTo>
                  <a:lnTo>
                    <a:pt x="48813" y="6315"/>
                  </a:lnTo>
                  <a:lnTo>
                    <a:pt x="48051" y="6886"/>
                  </a:lnTo>
                  <a:lnTo>
                    <a:pt x="45098" y="8696"/>
                  </a:lnTo>
                  <a:lnTo>
                    <a:pt x="41574" y="10696"/>
                  </a:lnTo>
                  <a:cubicBezTo>
                    <a:pt x="33954" y="15173"/>
                    <a:pt x="25762" y="17554"/>
                    <a:pt x="23476" y="16030"/>
                  </a:cubicBezTo>
                  <a:lnTo>
                    <a:pt x="23476" y="16030"/>
                  </a:lnTo>
                  <a:cubicBezTo>
                    <a:pt x="23305" y="17792"/>
                    <a:pt x="23019" y="19545"/>
                    <a:pt x="22619" y="21269"/>
                  </a:cubicBezTo>
                  <a:cubicBezTo>
                    <a:pt x="22619" y="21840"/>
                    <a:pt x="22619" y="22317"/>
                    <a:pt x="22143" y="22793"/>
                  </a:cubicBezTo>
                  <a:lnTo>
                    <a:pt x="22143" y="22793"/>
                  </a:lnTo>
                  <a:cubicBezTo>
                    <a:pt x="21981" y="23326"/>
                    <a:pt x="21752" y="23831"/>
                    <a:pt x="21476" y="24317"/>
                  </a:cubicBezTo>
                  <a:lnTo>
                    <a:pt x="21476" y="24317"/>
                  </a:lnTo>
                  <a:cubicBezTo>
                    <a:pt x="20352" y="26517"/>
                    <a:pt x="18638" y="28365"/>
                    <a:pt x="16523" y="29651"/>
                  </a:cubicBezTo>
                  <a:cubicBezTo>
                    <a:pt x="14275" y="30851"/>
                    <a:pt x="11732" y="31384"/>
                    <a:pt x="9189" y="31175"/>
                  </a:cubicBezTo>
                  <a:cubicBezTo>
                    <a:pt x="5826" y="30946"/>
                    <a:pt x="2569" y="29936"/>
                    <a:pt x="-336" y="28222"/>
                  </a:cubicBezTo>
                  <a:cubicBezTo>
                    <a:pt x="3159" y="30279"/>
                    <a:pt x="6950" y="31784"/>
                    <a:pt x="10903" y="32699"/>
                  </a:cubicBezTo>
                  <a:cubicBezTo>
                    <a:pt x="11979" y="32803"/>
                    <a:pt x="13065" y="32803"/>
                    <a:pt x="14142" y="32699"/>
                  </a:cubicBezTo>
                  <a:cubicBezTo>
                    <a:pt x="15551" y="32651"/>
                    <a:pt x="16952" y="32489"/>
                    <a:pt x="18333" y="32223"/>
                  </a:cubicBezTo>
                  <a:lnTo>
                    <a:pt x="18333" y="32223"/>
                  </a:lnTo>
                  <a:cubicBezTo>
                    <a:pt x="23076" y="31289"/>
                    <a:pt x="27639" y="29622"/>
                    <a:pt x="31858" y="27269"/>
                  </a:cubicBezTo>
                  <a:close/>
                </a:path>
              </a:pathLst>
            </a:custGeom>
            <a:solidFill>
              <a:srgbClr val="BF4200"/>
            </a:solidFill>
            <a:ln w="9525" cap="flat">
              <a:noFill/>
              <a:prstDash val="solid"/>
              <a:miter/>
            </a:ln>
          </p:spPr>
          <p:txBody>
            <a:bodyPr rtlCol="0" anchor="ctr"/>
            <a:lstStyle/>
            <a:p>
              <a:endParaRPr lang="zh-CN" altLang="en-US"/>
            </a:p>
          </p:txBody>
        </p:sp>
        <p:sp>
          <p:nvSpPr>
            <p:cNvPr id="803" name="iṣḻíďè">
              <a:extLst>
                <a:ext uri="{FF2B5EF4-FFF2-40B4-BE49-F238E27FC236}">
                  <a16:creationId xmlns:a16="http://schemas.microsoft.com/office/drawing/2014/main" id="{4E8CD3CF-EACD-428B-BC70-93E7F1F02D45}"/>
                </a:ext>
              </a:extLst>
            </p:cNvPr>
            <p:cNvSpPr/>
            <p:nvPr/>
          </p:nvSpPr>
          <p:spPr>
            <a:xfrm>
              <a:off x="5454710" y="1859559"/>
              <a:ext cx="166278" cy="110425"/>
            </a:xfrm>
            <a:custGeom>
              <a:avLst/>
              <a:gdLst>
                <a:gd name="connsiteX0" fmla="*/ 37621 w 54626"/>
                <a:gd name="connsiteY0" fmla="*/ 9826 h 36277"/>
                <a:gd name="connsiteX1" fmla="*/ 41050 w 54626"/>
                <a:gd name="connsiteY1" fmla="*/ 7825 h 36277"/>
                <a:gd name="connsiteX2" fmla="*/ 43622 w 54626"/>
                <a:gd name="connsiteY2" fmla="*/ 6492 h 36277"/>
                <a:gd name="connsiteX3" fmla="*/ 45241 w 54626"/>
                <a:gd name="connsiteY3" fmla="*/ 5635 h 36277"/>
                <a:gd name="connsiteX4" fmla="*/ 50671 w 54626"/>
                <a:gd name="connsiteY4" fmla="*/ 3634 h 36277"/>
                <a:gd name="connsiteX5" fmla="*/ 51147 w 54626"/>
                <a:gd name="connsiteY5" fmla="*/ 3634 h 36277"/>
                <a:gd name="connsiteX6" fmla="*/ 54290 w 54626"/>
                <a:gd name="connsiteY6" fmla="*/ 3634 h 36277"/>
                <a:gd name="connsiteX7" fmla="*/ 46099 w 54626"/>
                <a:gd name="connsiteY7" fmla="*/ 491 h 36277"/>
                <a:gd name="connsiteX8" fmla="*/ 38574 w 54626"/>
                <a:gd name="connsiteY8" fmla="*/ -80 h 36277"/>
                <a:gd name="connsiteX9" fmla="*/ 21238 w 54626"/>
                <a:gd name="connsiteY9" fmla="*/ 5730 h 36277"/>
                <a:gd name="connsiteX10" fmla="*/ 21238 w 54626"/>
                <a:gd name="connsiteY10" fmla="*/ 5730 h 36277"/>
                <a:gd name="connsiteX11" fmla="*/ 17809 w 54626"/>
                <a:gd name="connsiteY11" fmla="*/ 7730 h 36277"/>
                <a:gd name="connsiteX12" fmla="*/ 9522 w 54626"/>
                <a:gd name="connsiteY12" fmla="*/ 13540 h 36277"/>
                <a:gd name="connsiteX13" fmla="*/ 3141 w 54626"/>
                <a:gd name="connsiteY13" fmla="*/ 20684 h 36277"/>
                <a:gd name="connsiteX14" fmla="*/ 379 w 54626"/>
                <a:gd name="connsiteY14" fmla="*/ 27256 h 36277"/>
                <a:gd name="connsiteX15" fmla="*/ -288 w 54626"/>
                <a:gd name="connsiteY15" fmla="*/ 36115 h 36277"/>
                <a:gd name="connsiteX16" fmla="*/ 6855 w 54626"/>
                <a:gd name="connsiteY16" fmla="*/ 20970 h 36277"/>
                <a:gd name="connsiteX17" fmla="*/ 12380 w 54626"/>
                <a:gd name="connsiteY17" fmla="*/ 19446 h 36277"/>
                <a:gd name="connsiteX18" fmla="*/ 13047 w 54626"/>
                <a:gd name="connsiteY18" fmla="*/ 19446 h 36277"/>
                <a:gd name="connsiteX19" fmla="*/ 15428 w 54626"/>
                <a:gd name="connsiteY19" fmla="*/ 19446 h 36277"/>
                <a:gd name="connsiteX20" fmla="*/ 16666 w 54626"/>
                <a:gd name="connsiteY20" fmla="*/ 19446 h 36277"/>
                <a:gd name="connsiteX21" fmla="*/ 17428 w 54626"/>
                <a:gd name="connsiteY21" fmla="*/ 19446 h 36277"/>
                <a:gd name="connsiteX22" fmla="*/ 18095 w 54626"/>
                <a:gd name="connsiteY22" fmla="*/ 19446 h 36277"/>
                <a:gd name="connsiteX23" fmla="*/ 18857 w 54626"/>
                <a:gd name="connsiteY23" fmla="*/ 19446 h 36277"/>
                <a:gd name="connsiteX24" fmla="*/ 19619 w 54626"/>
                <a:gd name="connsiteY24" fmla="*/ 19446 h 36277"/>
                <a:gd name="connsiteX25" fmla="*/ 20571 w 54626"/>
                <a:gd name="connsiteY25" fmla="*/ 19446 h 36277"/>
                <a:gd name="connsiteX26" fmla="*/ 21524 w 54626"/>
                <a:gd name="connsiteY26" fmla="*/ 19446 h 36277"/>
                <a:gd name="connsiteX27" fmla="*/ 22191 w 54626"/>
                <a:gd name="connsiteY27" fmla="*/ 19446 h 36277"/>
                <a:gd name="connsiteX28" fmla="*/ 23905 w 54626"/>
                <a:gd name="connsiteY28" fmla="*/ 20303 h 36277"/>
                <a:gd name="connsiteX29" fmla="*/ 23905 w 54626"/>
                <a:gd name="connsiteY29" fmla="*/ 20303 h 36277"/>
                <a:gd name="connsiteX30" fmla="*/ 37621 w 54626"/>
                <a:gd name="connsiteY30" fmla="*/ 9826 h 36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54626" h="36277">
                  <a:moveTo>
                    <a:pt x="37621" y="9826"/>
                  </a:moveTo>
                  <a:lnTo>
                    <a:pt x="41050" y="7825"/>
                  </a:lnTo>
                  <a:lnTo>
                    <a:pt x="43622" y="6492"/>
                  </a:lnTo>
                  <a:cubicBezTo>
                    <a:pt x="44117" y="6130"/>
                    <a:pt x="44660" y="5844"/>
                    <a:pt x="45241" y="5635"/>
                  </a:cubicBezTo>
                  <a:cubicBezTo>
                    <a:pt x="46984" y="4806"/>
                    <a:pt x="48804" y="4139"/>
                    <a:pt x="50671" y="3634"/>
                  </a:cubicBezTo>
                  <a:lnTo>
                    <a:pt x="51147" y="3634"/>
                  </a:lnTo>
                  <a:lnTo>
                    <a:pt x="54290" y="3634"/>
                  </a:lnTo>
                  <a:cubicBezTo>
                    <a:pt x="51699" y="2244"/>
                    <a:pt x="48946" y="1196"/>
                    <a:pt x="46099" y="491"/>
                  </a:cubicBezTo>
                  <a:cubicBezTo>
                    <a:pt x="43641" y="-99"/>
                    <a:pt x="41098" y="-290"/>
                    <a:pt x="38574" y="-80"/>
                  </a:cubicBezTo>
                  <a:cubicBezTo>
                    <a:pt x="32440" y="567"/>
                    <a:pt x="26525" y="2549"/>
                    <a:pt x="21238" y="5730"/>
                  </a:cubicBezTo>
                  <a:lnTo>
                    <a:pt x="21238" y="5730"/>
                  </a:lnTo>
                  <a:lnTo>
                    <a:pt x="17809" y="7730"/>
                  </a:lnTo>
                  <a:cubicBezTo>
                    <a:pt x="14866" y="9397"/>
                    <a:pt x="12094" y="11340"/>
                    <a:pt x="9522" y="13540"/>
                  </a:cubicBezTo>
                  <a:cubicBezTo>
                    <a:pt x="7084" y="15626"/>
                    <a:pt x="4941" y="18027"/>
                    <a:pt x="3141" y="20684"/>
                  </a:cubicBezTo>
                  <a:cubicBezTo>
                    <a:pt x="1950" y="22751"/>
                    <a:pt x="1017" y="24961"/>
                    <a:pt x="379" y="27256"/>
                  </a:cubicBezTo>
                  <a:cubicBezTo>
                    <a:pt x="-117" y="30181"/>
                    <a:pt x="-345" y="33143"/>
                    <a:pt x="-288" y="36115"/>
                  </a:cubicBezTo>
                  <a:cubicBezTo>
                    <a:pt x="-736" y="30162"/>
                    <a:pt x="1969" y="24408"/>
                    <a:pt x="6855" y="20970"/>
                  </a:cubicBezTo>
                  <a:cubicBezTo>
                    <a:pt x="8551" y="20027"/>
                    <a:pt x="10447" y="19503"/>
                    <a:pt x="12380" y="19446"/>
                  </a:cubicBezTo>
                  <a:lnTo>
                    <a:pt x="13047" y="19446"/>
                  </a:lnTo>
                  <a:cubicBezTo>
                    <a:pt x="13837" y="19360"/>
                    <a:pt x="14638" y="19360"/>
                    <a:pt x="15428" y="19446"/>
                  </a:cubicBezTo>
                  <a:lnTo>
                    <a:pt x="16666" y="19446"/>
                  </a:lnTo>
                  <a:lnTo>
                    <a:pt x="17428" y="19446"/>
                  </a:lnTo>
                  <a:lnTo>
                    <a:pt x="18095" y="19446"/>
                  </a:lnTo>
                  <a:lnTo>
                    <a:pt x="18857" y="19446"/>
                  </a:lnTo>
                  <a:cubicBezTo>
                    <a:pt x="18857" y="19446"/>
                    <a:pt x="18857" y="19446"/>
                    <a:pt x="19619" y="19446"/>
                  </a:cubicBezTo>
                  <a:lnTo>
                    <a:pt x="20571" y="19446"/>
                  </a:lnTo>
                  <a:lnTo>
                    <a:pt x="21524" y="19446"/>
                  </a:lnTo>
                  <a:lnTo>
                    <a:pt x="22191" y="19446"/>
                  </a:lnTo>
                  <a:lnTo>
                    <a:pt x="23905" y="20303"/>
                  </a:lnTo>
                  <a:lnTo>
                    <a:pt x="23905" y="20303"/>
                  </a:lnTo>
                  <a:cubicBezTo>
                    <a:pt x="23620" y="20113"/>
                    <a:pt x="29906" y="14302"/>
                    <a:pt x="37621" y="9826"/>
                  </a:cubicBezTo>
                  <a:close/>
                </a:path>
              </a:pathLst>
            </a:custGeom>
            <a:solidFill>
              <a:srgbClr val="D9530B"/>
            </a:solidFill>
            <a:ln w="9525" cap="flat">
              <a:noFill/>
              <a:prstDash val="solid"/>
              <a:miter/>
            </a:ln>
          </p:spPr>
          <p:txBody>
            <a:bodyPr rtlCol="0" anchor="ctr"/>
            <a:lstStyle/>
            <a:p>
              <a:endParaRPr lang="zh-CN" altLang="en-US"/>
            </a:p>
          </p:txBody>
        </p:sp>
        <p:sp>
          <p:nvSpPr>
            <p:cNvPr id="804" name="ïṩ1íḋe">
              <a:extLst>
                <a:ext uri="{FF2B5EF4-FFF2-40B4-BE49-F238E27FC236}">
                  <a16:creationId xmlns:a16="http://schemas.microsoft.com/office/drawing/2014/main" id="{89BBFA73-B929-434E-8DAB-D73E5A956ADA}"/>
                </a:ext>
              </a:extLst>
            </p:cNvPr>
            <p:cNvSpPr/>
            <p:nvPr/>
          </p:nvSpPr>
          <p:spPr>
            <a:xfrm>
              <a:off x="5527630" y="1869668"/>
              <a:ext cx="1931250" cy="1119145"/>
            </a:xfrm>
            <a:custGeom>
              <a:avLst/>
              <a:gdLst>
                <a:gd name="connsiteX0" fmla="*/ 617265 w 634460"/>
                <a:gd name="connsiteY0" fmla="*/ 355025 h 367665"/>
                <a:gd name="connsiteX1" fmla="*/ 620694 w 634460"/>
                <a:gd name="connsiteY1" fmla="*/ 353024 h 367665"/>
                <a:gd name="connsiteX2" fmla="*/ 634124 w 634460"/>
                <a:gd name="connsiteY2" fmla="*/ 348738 h 367665"/>
                <a:gd name="connsiteX3" fmla="*/ 30525 w 634460"/>
                <a:gd name="connsiteY3" fmla="*/ -163 h 367665"/>
                <a:gd name="connsiteX4" fmla="*/ 27191 w 634460"/>
                <a:gd name="connsiteY4" fmla="*/ -163 h 367665"/>
                <a:gd name="connsiteX5" fmla="*/ 26715 w 634460"/>
                <a:gd name="connsiteY5" fmla="*/ -163 h 367665"/>
                <a:gd name="connsiteX6" fmla="*/ 21285 w 634460"/>
                <a:gd name="connsiteY6" fmla="*/ 1838 h 367665"/>
                <a:gd name="connsiteX7" fmla="*/ 19666 w 634460"/>
                <a:gd name="connsiteY7" fmla="*/ 2695 h 367665"/>
                <a:gd name="connsiteX8" fmla="*/ 17095 w 634460"/>
                <a:gd name="connsiteY8" fmla="*/ 4028 h 367665"/>
                <a:gd name="connsiteX9" fmla="*/ 13665 w 634460"/>
                <a:gd name="connsiteY9" fmla="*/ 6029 h 367665"/>
                <a:gd name="connsiteX10" fmla="*/ -336 w 634460"/>
                <a:gd name="connsiteY10" fmla="*/ 18983 h 367665"/>
                <a:gd name="connsiteX11" fmla="*/ 603263 w 634460"/>
                <a:gd name="connsiteY11" fmla="*/ 367502 h 367665"/>
                <a:gd name="connsiteX12" fmla="*/ 617265 w 634460"/>
                <a:gd name="connsiteY12" fmla="*/ 355025 h 3676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34460" h="367665">
                  <a:moveTo>
                    <a:pt x="617265" y="355025"/>
                  </a:moveTo>
                  <a:lnTo>
                    <a:pt x="620694" y="353024"/>
                  </a:lnTo>
                  <a:cubicBezTo>
                    <a:pt x="627075" y="349405"/>
                    <a:pt x="632409" y="347786"/>
                    <a:pt x="634124" y="348738"/>
                  </a:cubicBezTo>
                  <a:lnTo>
                    <a:pt x="30525" y="-163"/>
                  </a:lnTo>
                  <a:lnTo>
                    <a:pt x="27191" y="-163"/>
                  </a:lnTo>
                  <a:lnTo>
                    <a:pt x="26715" y="-163"/>
                  </a:lnTo>
                  <a:cubicBezTo>
                    <a:pt x="24848" y="342"/>
                    <a:pt x="23029" y="1009"/>
                    <a:pt x="21285" y="1838"/>
                  </a:cubicBezTo>
                  <a:cubicBezTo>
                    <a:pt x="20705" y="2047"/>
                    <a:pt x="20162" y="2333"/>
                    <a:pt x="19666" y="2695"/>
                  </a:cubicBezTo>
                  <a:lnTo>
                    <a:pt x="17095" y="4028"/>
                  </a:lnTo>
                  <a:lnTo>
                    <a:pt x="13665" y="6029"/>
                  </a:lnTo>
                  <a:cubicBezTo>
                    <a:pt x="5950" y="10505"/>
                    <a:pt x="-336" y="16316"/>
                    <a:pt x="-336" y="18983"/>
                  </a:cubicBezTo>
                  <a:lnTo>
                    <a:pt x="603263" y="367502"/>
                  </a:lnTo>
                  <a:cubicBezTo>
                    <a:pt x="603263" y="365312"/>
                    <a:pt x="609549" y="359501"/>
                    <a:pt x="617265" y="355025"/>
                  </a:cubicBezTo>
                  <a:close/>
                </a:path>
              </a:pathLst>
            </a:custGeom>
            <a:solidFill>
              <a:srgbClr val="FF7D33"/>
            </a:solidFill>
            <a:ln w="9525" cap="flat">
              <a:noFill/>
              <a:prstDash val="solid"/>
              <a:miter/>
            </a:ln>
          </p:spPr>
          <p:txBody>
            <a:bodyPr rtlCol="0" anchor="ctr"/>
            <a:lstStyle/>
            <a:p>
              <a:endParaRPr lang="zh-CN" altLang="en-US"/>
            </a:p>
          </p:txBody>
        </p:sp>
        <p:sp>
          <p:nvSpPr>
            <p:cNvPr id="805" name="i$ḻiďe">
              <a:extLst>
                <a:ext uri="{FF2B5EF4-FFF2-40B4-BE49-F238E27FC236}">
                  <a16:creationId xmlns:a16="http://schemas.microsoft.com/office/drawing/2014/main" id="{B21D6CF6-FFBE-41BF-9E8C-474C6E6F3B92}"/>
                </a:ext>
              </a:extLst>
            </p:cNvPr>
            <p:cNvSpPr/>
            <p:nvPr/>
          </p:nvSpPr>
          <p:spPr>
            <a:xfrm>
              <a:off x="7437716" y="3069702"/>
              <a:ext cx="97707" cy="1739361"/>
            </a:xfrm>
            <a:custGeom>
              <a:avLst/>
              <a:gdLst>
                <a:gd name="connsiteX0" fmla="*/ 18333 w 32099"/>
                <a:gd name="connsiteY0" fmla="*/ 564956 h 571420"/>
                <a:gd name="connsiteX1" fmla="*/ 21857 w 32099"/>
                <a:gd name="connsiteY1" fmla="*/ 562956 h 571420"/>
                <a:gd name="connsiteX2" fmla="*/ 24810 w 32099"/>
                <a:gd name="connsiteY2" fmla="*/ 561146 h 571420"/>
                <a:gd name="connsiteX3" fmla="*/ 25572 w 32099"/>
                <a:gd name="connsiteY3" fmla="*/ 560574 h 571420"/>
                <a:gd name="connsiteX4" fmla="*/ 25572 w 32099"/>
                <a:gd name="connsiteY4" fmla="*/ 560574 h 571420"/>
                <a:gd name="connsiteX5" fmla="*/ 26239 w 32099"/>
                <a:gd name="connsiteY5" fmla="*/ 560003 h 571420"/>
                <a:gd name="connsiteX6" fmla="*/ 28620 w 32099"/>
                <a:gd name="connsiteY6" fmla="*/ 558193 h 571420"/>
                <a:gd name="connsiteX7" fmla="*/ 29286 w 32099"/>
                <a:gd name="connsiteY7" fmla="*/ 557622 h 571420"/>
                <a:gd name="connsiteX8" fmla="*/ 29953 w 32099"/>
                <a:gd name="connsiteY8" fmla="*/ 556955 h 571420"/>
                <a:gd name="connsiteX9" fmla="*/ 29953 w 32099"/>
                <a:gd name="connsiteY9" fmla="*/ 556955 h 571420"/>
                <a:gd name="connsiteX10" fmla="*/ 30430 w 32099"/>
                <a:gd name="connsiteY10" fmla="*/ 556478 h 571420"/>
                <a:gd name="connsiteX11" fmla="*/ 30430 w 32099"/>
                <a:gd name="connsiteY11" fmla="*/ 556478 h 571420"/>
                <a:gd name="connsiteX12" fmla="*/ 31763 w 32099"/>
                <a:gd name="connsiteY12" fmla="*/ 554097 h 571420"/>
                <a:gd name="connsiteX13" fmla="*/ 31763 w 32099"/>
                <a:gd name="connsiteY13" fmla="*/ 554097 h 571420"/>
                <a:gd name="connsiteX14" fmla="*/ 31763 w 32099"/>
                <a:gd name="connsiteY14" fmla="*/ -163 h 571420"/>
                <a:gd name="connsiteX15" fmla="*/ 21285 w 32099"/>
                <a:gd name="connsiteY15" fmla="*/ 9362 h 571420"/>
                <a:gd name="connsiteX16" fmla="*/ 17856 w 32099"/>
                <a:gd name="connsiteY16" fmla="*/ 11363 h 571420"/>
                <a:gd name="connsiteX17" fmla="*/ -336 w 32099"/>
                <a:gd name="connsiteY17" fmla="*/ 16982 h 571420"/>
                <a:gd name="connsiteX18" fmla="*/ -336 w 32099"/>
                <a:gd name="connsiteY18" fmla="*/ 571147 h 571420"/>
                <a:gd name="connsiteX19" fmla="*/ -336 w 32099"/>
                <a:gd name="connsiteY19" fmla="*/ 571147 h 571420"/>
                <a:gd name="connsiteX20" fmla="*/ 18333 w 32099"/>
                <a:gd name="connsiteY20" fmla="*/ 564956 h 571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2099" h="571420">
                  <a:moveTo>
                    <a:pt x="18333" y="564956"/>
                  </a:moveTo>
                  <a:lnTo>
                    <a:pt x="21857" y="562956"/>
                  </a:lnTo>
                  <a:lnTo>
                    <a:pt x="24810" y="561146"/>
                  </a:lnTo>
                  <a:lnTo>
                    <a:pt x="25572" y="560574"/>
                  </a:lnTo>
                  <a:lnTo>
                    <a:pt x="25572" y="560574"/>
                  </a:lnTo>
                  <a:lnTo>
                    <a:pt x="26239" y="560003"/>
                  </a:lnTo>
                  <a:lnTo>
                    <a:pt x="28620" y="558193"/>
                  </a:lnTo>
                  <a:lnTo>
                    <a:pt x="29286" y="557622"/>
                  </a:lnTo>
                  <a:lnTo>
                    <a:pt x="29953" y="556955"/>
                  </a:lnTo>
                  <a:lnTo>
                    <a:pt x="29953" y="556955"/>
                  </a:lnTo>
                  <a:cubicBezTo>
                    <a:pt x="29953" y="556955"/>
                    <a:pt x="29953" y="556955"/>
                    <a:pt x="30430" y="556478"/>
                  </a:cubicBezTo>
                  <a:lnTo>
                    <a:pt x="30430" y="556478"/>
                  </a:lnTo>
                  <a:cubicBezTo>
                    <a:pt x="31087" y="555821"/>
                    <a:pt x="31544" y="555002"/>
                    <a:pt x="31763" y="554097"/>
                  </a:cubicBezTo>
                  <a:lnTo>
                    <a:pt x="31763" y="554097"/>
                  </a:lnTo>
                  <a:cubicBezTo>
                    <a:pt x="31763" y="321116"/>
                    <a:pt x="31763" y="232819"/>
                    <a:pt x="31763" y="-163"/>
                  </a:cubicBezTo>
                  <a:cubicBezTo>
                    <a:pt x="31763" y="1838"/>
                    <a:pt x="27667" y="5648"/>
                    <a:pt x="21285" y="9362"/>
                  </a:cubicBezTo>
                  <a:lnTo>
                    <a:pt x="17856" y="11363"/>
                  </a:lnTo>
                  <a:cubicBezTo>
                    <a:pt x="10046" y="15744"/>
                    <a:pt x="1950" y="18316"/>
                    <a:pt x="-336" y="16982"/>
                  </a:cubicBezTo>
                  <a:cubicBezTo>
                    <a:pt x="-336" y="249869"/>
                    <a:pt x="-336" y="338261"/>
                    <a:pt x="-336" y="571147"/>
                  </a:cubicBezTo>
                  <a:lnTo>
                    <a:pt x="-336" y="571147"/>
                  </a:lnTo>
                  <a:cubicBezTo>
                    <a:pt x="2331" y="571814"/>
                    <a:pt x="10713" y="569432"/>
                    <a:pt x="18333" y="564956"/>
                  </a:cubicBezTo>
                  <a:close/>
                </a:path>
              </a:pathLst>
            </a:custGeom>
            <a:solidFill>
              <a:srgbClr val="BF4200"/>
            </a:solidFill>
            <a:ln w="9525" cap="flat">
              <a:noFill/>
              <a:prstDash val="solid"/>
              <a:miter/>
            </a:ln>
          </p:spPr>
          <p:txBody>
            <a:bodyPr rtlCol="0" anchor="ctr"/>
            <a:lstStyle/>
            <a:p>
              <a:endParaRPr lang="zh-CN" altLang="en-US"/>
            </a:p>
          </p:txBody>
        </p:sp>
        <p:sp>
          <p:nvSpPr>
            <p:cNvPr id="806" name="îśľiḋe">
              <a:extLst>
                <a:ext uri="{FF2B5EF4-FFF2-40B4-BE49-F238E27FC236}">
                  <a16:creationId xmlns:a16="http://schemas.microsoft.com/office/drawing/2014/main" id="{9F780B28-95DD-4F56-8488-283BE4711079}"/>
                </a:ext>
              </a:extLst>
            </p:cNvPr>
            <p:cNvSpPr/>
            <p:nvPr/>
          </p:nvSpPr>
          <p:spPr>
            <a:xfrm>
              <a:off x="5452829" y="1919241"/>
              <a:ext cx="1985758" cy="2934488"/>
            </a:xfrm>
            <a:custGeom>
              <a:avLst/>
              <a:gdLst>
                <a:gd name="connsiteX0" fmla="*/ 6712 w 652367"/>
                <a:gd name="connsiteY0" fmla="*/ 593818 h 964047"/>
                <a:gd name="connsiteX1" fmla="*/ 22428 w 652367"/>
                <a:gd name="connsiteY1" fmla="*/ 611153 h 964047"/>
                <a:gd name="connsiteX2" fmla="*/ 24048 w 652367"/>
                <a:gd name="connsiteY2" fmla="*/ 612106 h 964047"/>
                <a:gd name="connsiteX3" fmla="*/ 627552 w 652367"/>
                <a:gd name="connsiteY3" fmla="*/ 960530 h 964047"/>
                <a:gd name="connsiteX4" fmla="*/ 652031 w 652367"/>
                <a:gd name="connsiteY4" fmla="*/ 946433 h 964047"/>
                <a:gd name="connsiteX5" fmla="*/ 652031 w 652367"/>
                <a:gd name="connsiteY5" fmla="*/ 393983 h 964047"/>
                <a:gd name="connsiteX6" fmla="*/ 652031 w 652367"/>
                <a:gd name="connsiteY6" fmla="*/ 392174 h 964047"/>
                <a:gd name="connsiteX7" fmla="*/ 644887 w 652367"/>
                <a:gd name="connsiteY7" fmla="*/ 369885 h 964047"/>
                <a:gd name="connsiteX8" fmla="*/ 627647 w 652367"/>
                <a:gd name="connsiteY8" fmla="*/ 351597 h 964047"/>
                <a:gd name="connsiteX9" fmla="*/ 24143 w 652367"/>
                <a:gd name="connsiteY9" fmla="*/ 3173 h 964047"/>
                <a:gd name="connsiteX10" fmla="*/ -336 w 652367"/>
                <a:gd name="connsiteY10" fmla="*/ 17365 h 964047"/>
                <a:gd name="connsiteX11" fmla="*/ -336 w 652367"/>
                <a:gd name="connsiteY11" fmla="*/ 569815 h 964047"/>
                <a:gd name="connsiteX12" fmla="*/ 6712 w 652367"/>
                <a:gd name="connsiteY12" fmla="*/ 593818 h 9640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2367" h="964047">
                  <a:moveTo>
                    <a:pt x="6712" y="593818"/>
                  </a:moveTo>
                  <a:cubicBezTo>
                    <a:pt x="10570" y="600714"/>
                    <a:pt x="15951" y="606639"/>
                    <a:pt x="22428" y="611153"/>
                  </a:cubicBezTo>
                  <a:lnTo>
                    <a:pt x="24048" y="612106"/>
                  </a:lnTo>
                  <a:lnTo>
                    <a:pt x="627552" y="960530"/>
                  </a:lnTo>
                  <a:cubicBezTo>
                    <a:pt x="641077" y="968341"/>
                    <a:pt x="652031" y="962054"/>
                    <a:pt x="652031" y="946433"/>
                  </a:cubicBezTo>
                  <a:lnTo>
                    <a:pt x="652031" y="393983"/>
                  </a:lnTo>
                  <a:cubicBezTo>
                    <a:pt x="651983" y="393383"/>
                    <a:pt x="651983" y="392774"/>
                    <a:pt x="652031" y="392174"/>
                  </a:cubicBezTo>
                  <a:cubicBezTo>
                    <a:pt x="651412" y="384287"/>
                    <a:pt x="648964" y="376657"/>
                    <a:pt x="644887" y="369885"/>
                  </a:cubicBezTo>
                  <a:cubicBezTo>
                    <a:pt x="640791" y="362418"/>
                    <a:pt x="634857" y="356122"/>
                    <a:pt x="627647" y="351597"/>
                  </a:cubicBezTo>
                  <a:lnTo>
                    <a:pt x="24143" y="3173"/>
                  </a:lnTo>
                  <a:cubicBezTo>
                    <a:pt x="10617" y="-4638"/>
                    <a:pt x="-336" y="1744"/>
                    <a:pt x="-336" y="17365"/>
                  </a:cubicBezTo>
                  <a:lnTo>
                    <a:pt x="-336" y="569815"/>
                  </a:lnTo>
                  <a:cubicBezTo>
                    <a:pt x="-89" y="578292"/>
                    <a:pt x="2340" y="586560"/>
                    <a:pt x="6712" y="593818"/>
                  </a:cubicBezTo>
                  <a:close/>
                </a:path>
              </a:pathLst>
            </a:custGeom>
            <a:solidFill>
              <a:srgbClr val="D9530B"/>
            </a:solidFill>
            <a:ln w="9525" cap="flat">
              <a:noFill/>
              <a:prstDash val="solid"/>
              <a:miter/>
            </a:ln>
          </p:spPr>
          <p:txBody>
            <a:bodyPr rtlCol="0" anchor="ctr"/>
            <a:lstStyle/>
            <a:p>
              <a:endParaRPr lang="zh-CN" altLang="en-US"/>
            </a:p>
          </p:txBody>
        </p:sp>
        <p:sp>
          <p:nvSpPr>
            <p:cNvPr id="807" name="ïš1îďe">
              <a:extLst>
                <a:ext uri="{FF2B5EF4-FFF2-40B4-BE49-F238E27FC236}">
                  <a16:creationId xmlns:a16="http://schemas.microsoft.com/office/drawing/2014/main" id="{8DCB870C-63AE-40BF-A678-4A1F4AF144D8}"/>
                </a:ext>
              </a:extLst>
            </p:cNvPr>
            <p:cNvSpPr/>
            <p:nvPr/>
          </p:nvSpPr>
          <p:spPr>
            <a:xfrm>
              <a:off x="5540969" y="2067691"/>
              <a:ext cx="1810348" cy="2427035"/>
            </a:xfrm>
            <a:custGeom>
              <a:avLst/>
              <a:gdLst>
                <a:gd name="connsiteX0" fmla="*/ 594741 w 594741"/>
                <a:gd name="connsiteY0" fmla="*/ 797338 h 797337"/>
                <a:gd name="connsiteX1" fmla="*/ 594741 w 594741"/>
                <a:gd name="connsiteY1" fmla="*/ 343376 h 797337"/>
                <a:gd name="connsiteX2" fmla="*/ 0 w 594741"/>
                <a:gd name="connsiteY2" fmla="*/ 0 h 797337"/>
                <a:gd name="connsiteX3" fmla="*/ 0 w 594741"/>
                <a:gd name="connsiteY3" fmla="*/ 453962 h 797337"/>
                <a:gd name="connsiteX4" fmla="*/ 594741 w 594741"/>
                <a:gd name="connsiteY4" fmla="*/ 797338 h 7973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4741" h="797337">
                  <a:moveTo>
                    <a:pt x="594741" y="797338"/>
                  </a:moveTo>
                  <a:lnTo>
                    <a:pt x="594741" y="343376"/>
                  </a:lnTo>
                  <a:lnTo>
                    <a:pt x="0" y="0"/>
                  </a:lnTo>
                  <a:lnTo>
                    <a:pt x="0" y="453962"/>
                  </a:lnTo>
                  <a:lnTo>
                    <a:pt x="594741" y="797338"/>
                  </a:lnTo>
                  <a:close/>
                </a:path>
              </a:pathLst>
            </a:custGeom>
            <a:solidFill>
              <a:srgbClr val="73A1FF"/>
            </a:solidFill>
            <a:ln w="9525" cap="flat">
              <a:noFill/>
              <a:prstDash val="solid"/>
              <a:miter/>
            </a:ln>
          </p:spPr>
          <p:txBody>
            <a:bodyPr rtlCol="0" anchor="ctr"/>
            <a:lstStyle/>
            <a:p>
              <a:endParaRPr lang="zh-CN" altLang="en-US"/>
            </a:p>
          </p:txBody>
        </p:sp>
        <p:sp>
          <p:nvSpPr>
            <p:cNvPr id="808" name="íş1iďè">
              <a:extLst>
                <a:ext uri="{FF2B5EF4-FFF2-40B4-BE49-F238E27FC236}">
                  <a16:creationId xmlns:a16="http://schemas.microsoft.com/office/drawing/2014/main" id="{CD7F518F-52F7-4056-8576-9F82939D0A0C}"/>
                </a:ext>
              </a:extLst>
            </p:cNvPr>
            <p:cNvSpPr/>
            <p:nvPr/>
          </p:nvSpPr>
          <p:spPr>
            <a:xfrm>
              <a:off x="6426426" y="2495140"/>
              <a:ext cx="39720" cy="50864"/>
            </a:xfrm>
            <a:custGeom>
              <a:avLst/>
              <a:gdLst>
                <a:gd name="connsiteX0" fmla="*/ 6236 w 13049"/>
                <a:gd name="connsiteY0" fmla="*/ 15716 h 16710"/>
                <a:gd name="connsiteX1" fmla="*/ 12713 w 13049"/>
                <a:gd name="connsiteY1" fmla="*/ 12002 h 16710"/>
                <a:gd name="connsiteX2" fmla="*/ 6236 w 13049"/>
                <a:gd name="connsiteY2" fmla="*/ 667 h 16710"/>
                <a:gd name="connsiteX3" fmla="*/ -336 w 13049"/>
                <a:gd name="connsiteY3" fmla="*/ 4477 h 16710"/>
                <a:gd name="connsiteX4" fmla="*/ 6236 w 13049"/>
                <a:gd name="connsiteY4" fmla="*/ 15716 h 167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49" h="16710">
                  <a:moveTo>
                    <a:pt x="6236" y="15716"/>
                  </a:moveTo>
                  <a:cubicBezTo>
                    <a:pt x="9760" y="17812"/>
                    <a:pt x="12713" y="15716"/>
                    <a:pt x="12713" y="12002"/>
                  </a:cubicBezTo>
                  <a:cubicBezTo>
                    <a:pt x="12446" y="7420"/>
                    <a:pt x="10046" y="3220"/>
                    <a:pt x="6236" y="667"/>
                  </a:cubicBezTo>
                  <a:cubicBezTo>
                    <a:pt x="2616" y="-1429"/>
                    <a:pt x="-336" y="667"/>
                    <a:pt x="-336" y="4477"/>
                  </a:cubicBezTo>
                  <a:cubicBezTo>
                    <a:pt x="-51" y="9049"/>
                    <a:pt x="2388" y="13221"/>
                    <a:pt x="6236" y="15716"/>
                  </a:cubicBezTo>
                  <a:close/>
                </a:path>
              </a:pathLst>
            </a:custGeom>
            <a:solidFill>
              <a:srgbClr val="BF4200"/>
            </a:solidFill>
            <a:ln w="9525" cap="flat">
              <a:noFill/>
              <a:prstDash val="solid"/>
              <a:miter/>
            </a:ln>
          </p:spPr>
          <p:txBody>
            <a:bodyPr rtlCol="0" anchor="ctr"/>
            <a:lstStyle/>
            <a:p>
              <a:endParaRPr lang="zh-CN" altLang="en-US"/>
            </a:p>
          </p:txBody>
        </p:sp>
        <p:sp>
          <p:nvSpPr>
            <p:cNvPr id="809" name="íṣḻïḑé">
              <a:extLst>
                <a:ext uri="{FF2B5EF4-FFF2-40B4-BE49-F238E27FC236}">
                  <a16:creationId xmlns:a16="http://schemas.microsoft.com/office/drawing/2014/main" id="{94F9CDCC-7441-4F07-9AE0-41224977642F}"/>
                </a:ext>
              </a:extLst>
            </p:cNvPr>
            <p:cNvSpPr/>
            <p:nvPr/>
          </p:nvSpPr>
          <p:spPr>
            <a:xfrm>
              <a:off x="6433966" y="2504747"/>
              <a:ext cx="24644" cy="31642"/>
            </a:xfrm>
            <a:custGeom>
              <a:avLst/>
              <a:gdLst>
                <a:gd name="connsiteX0" fmla="*/ 3759 w 8096"/>
                <a:gd name="connsiteY0" fmla="*/ 9703 h 10395"/>
                <a:gd name="connsiteX1" fmla="*/ 7760 w 8096"/>
                <a:gd name="connsiteY1" fmla="*/ 7416 h 10395"/>
                <a:gd name="connsiteX2" fmla="*/ 3759 w 8096"/>
                <a:gd name="connsiteY2" fmla="*/ 368 h 10395"/>
                <a:gd name="connsiteX3" fmla="*/ -336 w 8096"/>
                <a:gd name="connsiteY3" fmla="*/ 2654 h 10395"/>
                <a:gd name="connsiteX4" fmla="*/ 3759 w 8096"/>
                <a:gd name="connsiteY4" fmla="*/ 9703 h 103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96" h="10395">
                  <a:moveTo>
                    <a:pt x="3759" y="9703"/>
                  </a:moveTo>
                  <a:cubicBezTo>
                    <a:pt x="5950" y="11036"/>
                    <a:pt x="7760" y="9703"/>
                    <a:pt x="7760" y="7416"/>
                  </a:cubicBezTo>
                  <a:cubicBezTo>
                    <a:pt x="7645" y="4559"/>
                    <a:pt x="6150" y="1930"/>
                    <a:pt x="3759" y="368"/>
                  </a:cubicBezTo>
                  <a:cubicBezTo>
                    <a:pt x="1473" y="-965"/>
                    <a:pt x="-336" y="368"/>
                    <a:pt x="-336" y="2654"/>
                  </a:cubicBezTo>
                  <a:cubicBezTo>
                    <a:pt x="-213" y="5531"/>
                    <a:pt x="1321" y="8169"/>
                    <a:pt x="3759" y="9703"/>
                  </a:cubicBezTo>
                  <a:close/>
                </a:path>
              </a:pathLst>
            </a:custGeom>
            <a:solidFill>
              <a:srgbClr val="171A42"/>
            </a:solidFill>
            <a:ln w="9525" cap="flat">
              <a:noFill/>
              <a:prstDash val="solid"/>
              <a:miter/>
            </a:ln>
          </p:spPr>
          <p:txBody>
            <a:bodyPr rtlCol="0" anchor="ctr"/>
            <a:lstStyle/>
            <a:p>
              <a:endParaRPr lang="zh-CN" altLang="en-US"/>
            </a:p>
          </p:txBody>
        </p:sp>
        <p:sp>
          <p:nvSpPr>
            <p:cNvPr id="810" name="îṩľíďè">
              <a:extLst>
                <a:ext uri="{FF2B5EF4-FFF2-40B4-BE49-F238E27FC236}">
                  <a16:creationId xmlns:a16="http://schemas.microsoft.com/office/drawing/2014/main" id="{D0AD837C-F765-4C26-9E57-9EBF73F4055D}"/>
                </a:ext>
              </a:extLst>
            </p:cNvPr>
            <p:cNvSpPr/>
            <p:nvPr/>
          </p:nvSpPr>
          <p:spPr>
            <a:xfrm>
              <a:off x="5453100" y="1919957"/>
              <a:ext cx="1987164" cy="2935252"/>
            </a:xfrm>
            <a:custGeom>
              <a:avLst/>
              <a:gdLst>
                <a:gd name="connsiteX0" fmla="*/ 9005 w 652829"/>
                <a:gd name="connsiteY0" fmla="*/ 4938 h 964298"/>
                <a:gd name="connsiteX1" fmla="*/ 25388 w 652829"/>
                <a:gd name="connsiteY1" fmla="*/ 6557 h 964298"/>
                <a:gd name="connsiteX2" fmla="*/ 628891 w 652829"/>
                <a:gd name="connsiteY2" fmla="*/ 354791 h 964298"/>
                <a:gd name="connsiteX3" fmla="*/ 643846 w 652829"/>
                <a:gd name="connsiteY3" fmla="*/ 370222 h 964298"/>
                <a:gd name="connsiteX4" fmla="*/ 649751 w 652829"/>
                <a:gd name="connsiteY4" fmla="*/ 389272 h 964298"/>
                <a:gd name="connsiteX5" fmla="*/ 649751 w 652829"/>
                <a:gd name="connsiteY5" fmla="*/ 943246 h 964298"/>
                <a:gd name="connsiteX6" fmla="*/ 642893 w 652829"/>
                <a:gd name="connsiteY6" fmla="*/ 958295 h 964298"/>
                <a:gd name="connsiteX7" fmla="*/ 626510 w 652829"/>
                <a:gd name="connsiteY7" fmla="*/ 956676 h 964298"/>
                <a:gd name="connsiteX8" fmla="*/ 23006 w 652829"/>
                <a:gd name="connsiteY8" fmla="*/ 608251 h 964298"/>
                <a:gd name="connsiteX9" fmla="*/ 21578 w 652829"/>
                <a:gd name="connsiteY9" fmla="*/ 607394 h 964298"/>
                <a:gd name="connsiteX10" fmla="*/ 8147 w 652829"/>
                <a:gd name="connsiteY10" fmla="*/ 592821 h 964298"/>
                <a:gd name="connsiteX11" fmla="*/ 2147 w 652829"/>
                <a:gd name="connsiteY11" fmla="*/ 572152 h 964298"/>
                <a:gd name="connsiteX12" fmla="*/ 2147 w 652829"/>
                <a:gd name="connsiteY12" fmla="*/ 19702 h 964298"/>
                <a:gd name="connsiteX13" fmla="*/ 9005 w 652829"/>
                <a:gd name="connsiteY13" fmla="*/ 4652 h 964298"/>
                <a:gd name="connsiteX14" fmla="*/ 6909 w 652829"/>
                <a:gd name="connsiteY14" fmla="*/ 1318 h 964298"/>
                <a:gd name="connsiteX15" fmla="*/ -235 w 652829"/>
                <a:gd name="connsiteY15" fmla="*/ 17225 h 964298"/>
                <a:gd name="connsiteX16" fmla="*/ -235 w 652829"/>
                <a:gd name="connsiteY16" fmla="*/ 569675 h 964298"/>
                <a:gd name="connsiteX17" fmla="*/ 6909 w 652829"/>
                <a:gd name="connsiteY17" fmla="*/ 593773 h 964298"/>
                <a:gd name="connsiteX18" fmla="*/ 22625 w 652829"/>
                <a:gd name="connsiteY18" fmla="*/ 611109 h 964298"/>
                <a:gd name="connsiteX19" fmla="*/ 24245 w 652829"/>
                <a:gd name="connsiteY19" fmla="*/ 612061 h 964298"/>
                <a:gd name="connsiteX20" fmla="*/ 627748 w 652829"/>
                <a:gd name="connsiteY20" fmla="*/ 960486 h 964298"/>
                <a:gd name="connsiteX21" fmla="*/ 648846 w 652829"/>
                <a:gd name="connsiteY21" fmla="*/ 958971 h 964298"/>
                <a:gd name="connsiteX22" fmla="*/ 652228 w 652829"/>
                <a:gd name="connsiteY22" fmla="*/ 946389 h 964298"/>
                <a:gd name="connsiteX23" fmla="*/ 652228 w 652829"/>
                <a:gd name="connsiteY23" fmla="*/ 393939 h 964298"/>
                <a:gd name="connsiteX24" fmla="*/ 652228 w 652829"/>
                <a:gd name="connsiteY24" fmla="*/ 392129 h 964298"/>
                <a:gd name="connsiteX25" fmla="*/ 645084 w 652829"/>
                <a:gd name="connsiteY25" fmla="*/ 369841 h 964298"/>
                <a:gd name="connsiteX26" fmla="*/ 627844 w 652829"/>
                <a:gd name="connsiteY26" fmla="*/ 351553 h 964298"/>
                <a:gd name="connsiteX27" fmla="*/ 24340 w 652829"/>
                <a:gd name="connsiteY27" fmla="*/ 3128 h 964298"/>
                <a:gd name="connsiteX28" fmla="*/ 7004 w 652829"/>
                <a:gd name="connsiteY28" fmla="*/ 1414 h 964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652829" h="964298">
                  <a:moveTo>
                    <a:pt x="9005" y="4938"/>
                  </a:moveTo>
                  <a:cubicBezTo>
                    <a:pt x="14367" y="2519"/>
                    <a:pt x="20606" y="3128"/>
                    <a:pt x="25388" y="6557"/>
                  </a:cubicBezTo>
                  <a:lnTo>
                    <a:pt x="628891" y="354791"/>
                  </a:lnTo>
                  <a:cubicBezTo>
                    <a:pt x="635102" y="358592"/>
                    <a:pt x="640245" y="363897"/>
                    <a:pt x="643846" y="370222"/>
                  </a:cubicBezTo>
                  <a:cubicBezTo>
                    <a:pt x="647208" y="376051"/>
                    <a:pt x="649227" y="382566"/>
                    <a:pt x="649751" y="389272"/>
                  </a:cubicBezTo>
                  <a:lnTo>
                    <a:pt x="649751" y="943246"/>
                  </a:lnTo>
                  <a:cubicBezTo>
                    <a:pt x="650370" y="949132"/>
                    <a:pt x="647741" y="954895"/>
                    <a:pt x="642893" y="958295"/>
                  </a:cubicBezTo>
                  <a:cubicBezTo>
                    <a:pt x="637550" y="960800"/>
                    <a:pt x="631263" y="960181"/>
                    <a:pt x="626510" y="956676"/>
                  </a:cubicBezTo>
                  <a:lnTo>
                    <a:pt x="23006" y="608251"/>
                  </a:lnTo>
                  <a:lnTo>
                    <a:pt x="21578" y="607394"/>
                  </a:lnTo>
                  <a:cubicBezTo>
                    <a:pt x="16034" y="603641"/>
                    <a:pt x="11433" y="598650"/>
                    <a:pt x="8147" y="592821"/>
                  </a:cubicBezTo>
                  <a:cubicBezTo>
                    <a:pt x="4375" y="586573"/>
                    <a:pt x="2308" y="579448"/>
                    <a:pt x="2147" y="572152"/>
                  </a:cubicBezTo>
                  <a:lnTo>
                    <a:pt x="2147" y="19702"/>
                  </a:lnTo>
                  <a:cubicBezTo>
                    <a:pt x="1565" y="13815"/>
                    <a:pt x="4185" y="8072"/>
                    <a:pt x="9005" y="4652"/>
                  </a:cubicBezTo>
                  <a:close/>
                  <a:moveTo>
                    <a:pt x="6909" y="1318"/>
                  </a:moveTo>
                  <a:cubicBezTo>
                    <a:pt x="1823" y="4938"/>
                    <a:pt x="-911" y="11024"/>
                    <a:pt x="-235" y="17225"/>
                  </a:cubicBezTo>
                  <a:lnTo>
                    <a:pt x="-235" y="569675"/>
                  </a:lnTo>
                  <a:cubicBezTo>
                    <a:pt x="23" y="578191"/>
                    <a:pt x="2480" y="586496"/>
                    <a:pt x="6909" y="593773"/>
                  </a:cubicBezTo>
                  <a:cubicBezTo>
                    <a:pt x="10767" y="600670"/>
                    <a:pt x="16148" y="606594"/>
                    <a:pt x="22625" y="611109"/>
                  </a:cubicBezTo>
                  <a:lnTo>
                    <a:pt x="24245" y="612061"/>
                  </a:lnTo>
                  <a:lnTo>
                    <a:pt x="627748" y="960486"/>
                  </a:lnTo>
                  <a:cubicBezTo>
                    <a:pt x="633997" y="965896"/>
                    <a:pt x="643436" y="965210"/>
                    <a:pt x="648846" y="958971"/>
                  </a:cubicBezTo>
                  <a:cubicBezTo>
                    <a:pt x="651837" y="955514"/>
                    <a:pt x="653085" y="950875"/>
                    <a:pt x="652228" y="946389"/>
                  </a:cubicBezTo>
                  <a:lnTo>
                    <a:pt x="652228" y="393939"/>
                  </a:lnTo>
                  <a:cubicBezTo>
                    <a:pt x="652180" y="393339"/>
                    <a:pt x="652180" y="392729"/>
                    <a:pt x="652228" y="392129"/>
                  </a:cubicBezTo>
                  <a:cubicBezTo>
                    <a:pt x="651609" y="384242"/>
                    <a:pt x="649161" y="376613"/>
                    <a:pt x="645084" y="369841"/>
                  </a:cubicBezTo>
                  <a:cubicBezTo>
                    <a:pt x="640988" y="362373"/>
                    <a:pt x="635054" y="356077"/>
                    <a:pt x="627844" y="351553"/>
                  </a:cubicBezTo>
                  <a:lnTo>
                    <a:pt x="24340" y="3128"/>
                  </a:lnTo>
                  <a:cubicBezTo>
                    <a:pt x="19291" y="-539"/>
                    <a:pt x="12672" y="-1187"/>
                    <a:pt x="7004" y="1414"/>
                  </a:cubicBezTo>
                  <a:close/>
                </a:path>
              </a:pathLst>
            </a:custGeom>
            <a:solidFill>
              <a:srgbClr val="D1D9E8"/>
            </a:solidFill>
            <a:ln w="9525" cap="flat">
              <a:noFill/>
              <a:prstDash val="solid"/>
              <a:miter/>
            </a:ln>
          </p:spPr>
          <p:txBody>
            <a:bodyPr rtlCol="0" anchor="ctr"/>
            <a:lstStyle/>
            <a:p>
              <a:endParaRPr lang="zh-CN" altLang="en-US"/>
            </a:p>
          </p:txBody>
        </p:sp>
        <p:sp>
          <p:nvSpPr>
            <p:cNvPr id="811" name="ïṥḻíḍê">
              <a:extLst>
                <a:ext uri="{FF2B5EF4-FFF2-40B4-BE49-F238E27FC236}">
                  <a16:creationId xmlns:a16="http://schemas.microsoft.com/office/drawing/2014/main" id="{E579A483-10B4-42DB-9C39-A74477E3BE2E}"/>
                </a:ext>
              </a:extLst>
            </p:cNvPr>
            <p:cNvSpPr/>
            <p:nvPr/>
          </p:nvSpPr>
          <p:spPr>
            <a:xfrm>
              <a:off x="5541258" y="2067694"/>
              <a:ext cx="1810348" cy="2425586"/>
            </a:xfrm>
            <a:custGeom>
              <a:avLst/>
              <a:gdLst>
                <a:gd name="connsiteX0" fmla="*/ 2045 w 594741"/>
                <a:gd name="connsiteY0" fmla="*/ 4028 h 796861"/>
                <a:gd name="connsiteX1" fmla="*/ 591928 w 594741"/>
                <a:gd name="connsiteY1" fmla="*/ 344357 h 796861"/>
                <a:gd name="connsiteX2" fmla="*/ 591928 w 594741"/>
                <a:gd name="connsiteY2" fmla="*/ 792984 h 796861"/>
                <a:gd name="connsiteX3" fmla="*/ 2045 w 594741"/>
                <a:gd name="connsiteY3" fmla="*/ 452370 h 796861"/>
                <a:gd name="connsiteX4" fmla="*/ 2045 w 594741"/>
                <a:gd name="connsiteY4" fmla="*/ 4028 h 796861"/>
                <a:gd name="connsiteX5" fmla="*/ -336 w 594741"/>
                <a:gd name="connsiteY5" fmla="*/ -163 h 796861"/>
                <a:gd name="connsiteX6" fmla="*/ -336 w 594741"/>
                <a:gd name="connsiteY6" fmla="*/ 453799 h 796861"/>
                <a:gd name="connsiteX7" fmla="*/ 594405 w 594741"/>
                <a:gd name="connsiteY7" fmla="*/ 796699 h 796861"/>
                <a:gd name="connsiteX8" fmla="*/ 594405 w 594741"/>
                <a:gd name="connsiteY8" fmla="*/ 343214 h 796861"/>
                <a:gd name="connsiteX9" fmla="*/ -336 w 594741"/>
                <a:gd name="connsiteY9" fmla="*/ 314 h 796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94741" h="796861">
                  <a:moveTo>
                    <a:pt x="2045" y="4028"/>
                  </a:moveTo>
                  <a:lnTo>
                    <a:pt x="591928" y="344357"/>
                  </a:lnTo>
                  <a:lnTo>
                    <a:pt x="591928" y="792984"/>
                  </a:lnTo>
                  <a:lnTo>
                    <a:pt x="2045" y="452370"/>
                  </a:lnTo>
                  <a:lnTo>
                    <a:pt x="2045" y="4028"/>
                  </a:lnTo>
                  <a:close/>
                  <a:moveTo>
                    <a:pt x="-336" y="-163"/>
                  </a:moveTo>
                  <a:lnTo>
                    <a:pt x="-336" y="453799"/>
                  </a:lnTo>
                  <a:lnTo>
                    <a:pt x="594405" y="796699"/>
                  </a:lnTo>
                  <a:lnTo>
                    <a:pt x="594405" y="343214"/>
                  </a:lnTo>
                  <a:lnTo>
                    <a:pt x="-336" y="314"/>
                  </a:lnTo>
                  <a:close/>
                </a:path>
              </a:pathLst>
            </a:custGeom>
            <a:solidFill>
              <a:srgbClr val="316DE6"/>
            </a:solidFill>
            <a:ln w="9525" cap="flat">
              <a:noFill/>
              <a:prstDash val="solid"/>
              <a:miter/>
            </a:ln>
          </p:spPr>
          <p:txBody>
            <a:bodyPr rtlCol="0" anchor="ctr"/>
            <a:lstStyle/>
            <a:p>
              <a:endParaRPr lang="zh-CN" altLang="en-US"/>
            </a:p>
          </p:txBody>
        </p:sp>
        <p:sp>
          <p:nvSpPr>
            <p:cNvPr id="812" name="ïsľïḍe">
              <a:extLst>
                <a:ext uri="{FF2B5EF4-FFF2-40B4-BE49-F238E27FC236}">
                  <a16:creationId xmlns:a16="http://schemas.microsoft.com/office/drawing/2014/main" id="{F6936D73-B50B-46E0-9433-3B94B076AC93}"/>
                </a:ext>
              </a:extLst>
            </p:cNvPr>
            <p:cNvSpPr/>
            <p:nvPr/>
          </p:nvSpPr>
          <p:spPr>
            <a:xfrm>
              <a:off x="6693165" y="2844613"/>
              <a:ext cx="510479" cy="888747"/>
            </a:xfrm>
            <a:custGeom>
              <a:avLst/>
              <a:gdLst>
                <a:gd name="connsiteX0" fmla="*/ 167304 w 167704"/>
                <a:gd name="connsiteY0" fmla="*/ 111504 h 291974"/>
                <a:gd name="connsiteX1" fmla="*/ 167304 w 167704"/>
                <a:gd name="connsiteY1" fmla="*/ 268380 h 291974"/>
                <a:gd name="connsiteX2" fmla="*/ 160636 w 167704"/>
                <a:gd name="connsiteY2" fmla="*/ 284478 h 291974"/>
                <a:gd name="connsiteX3" fmla="*/ 158636 w 167704"/>
                <a:gd name="connsiteY3" fmla="*/ 285621 h 291974"/>
                <a:gd name="connsiteX4" fmla="*/ 147873 w 167704"/>
                <a:gd name="connsiteY4" fmla="*/ 291812 h 291974"/>
                <a:gd name="connsiteX5" fmla="*/ 152159 w 167704"/>
                <a:gd name="connsiteY5" fmla="*/ 286668 h 291974"/>
                <a:gd name="connsiteX6" fmla="*/ 154445 w 167704"/>
                <a:gd name="connsiteY6" fmla="*/ 275810 h 291974"/>
                <a:gd name="connsiteX7" fmla="*/ 154445 w 167704"/>
                <a:gd name="connsiteY7" fmla="*/ 118933 h 291974"/>
                <a:gd name="connsiteX8" fmla="*/ 152254 w 167704"/>
                <a:gd name="connsiteY8" fmla="*/ 105693 h 291974"/>
                <a:gd name="connsiteX9" fmla="*/ 128823 w 167704"/>
                <a:gd name="connsiteY9" fmla="*/ 74451 h 291974"/>
                <a:gd name="connsiteX10" fmla="*/ 17761 w 167704"/>
                <a:gd name="connsiteY10" fmla="*/ 10443 h 291974"/>
                <a:gd name="connsiteX11" fmla="*/ 7188 w 167704"/>
                <a:gd name="connsiteY11" fmla="*/ 6919 h 291974"/>
                <a:gd name="connsiteX12" fmla="*/ -336 w 167704"/>
                <a:gd name="connsiteY12" fmla="*/ 8634 h 291974"/>
                <a:gd name="connsiteX13" fmla="*/ 12046 w 167704"/>
                <a:gd name="connsiteY13" fmla="*/ 1490 h 291974"/>
                <a:gd name="connsiteX14" fmla="*/ 12046 w 167704"/>
                <a:gd name="connsiteY14" fmla="*/ 1490 h 291974"/>
                <a:gd name="connsiteX15" fmla="*/ 30239 w 167704"/>
                <a:gd name="connsiteY15" fmla="*/ 3300 h 291974"/>
                <a:gd name="connsiteX16" fmla="*/ 141205 w 167704"/>
                <a:gd name="connsiteY16" fmla="*/ 67403 h 291974"/>
                <a:gd name="connsiteX17" fmla="*/ 167304 w 167704"/>
                <a:gd name="connsiteY17" fmla="*/ 111504 h 2919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67704" h="291974">
                  <a:moveTo>
                    <a:pt x="167304" y="111504"/>
                  </a:moveTo>
                  <a:lnTo>
                    <a:pt x="167304" y="268380"/>
                  </a:lnTo>
                  <a:cubicBezTo>
                    <a:pt x="167808" y="274505"/>
                    <a:pt x="165322" y="280506"/>
                    <a:pt x="160636" y="284478"/>
                  </a:cubicBezTo>
                  <a:lnTo>
                    <a:pt x="158636" y="285621"/>
                  </a:lnTo>
                  <a:lnTo>
                    <a:pt x="147873" y="291812"/>
                  </a:lnTo>
                  <a:cubicBezTo>
                    <a:pt x="149711" y="290488"/>
                    <a:pt x="151187" y="288716"/>
                    <a:pt x="152159" y="286668"/>
                  </a:cubicBezTo>
                  <a:cubicBezTo>
                    <a:pt x="153797" y="283287"/>
                    <a:pt x="154578" y="279563"/>
                    <a:pt x="154445" y="275810"/>
                  </a:cubicBezTo>
                  <a:lnTo>
                    <a:pt x="154445" y="118933"/>
                  </a:lnTo>
                  <a:cubicBezTo>
                    <a:pt x="154397" y="114437"/>
                    <a:pt x="153664" y="109970"/>
                    <a:pt x="152254" y="105693"/>
                  </a:cubicBezTo>
                  <a:cubicBezTo>
                    <a:pt x="148358" y="92854"/>
                    <a:pt x="140062" y="81795"/>
                    <a:pt x="128823" y="74451"/>
                  </a:cubicBezTo>
                  <a:lnTo>
                    <a:pt x="17761" y="10443"/>
                  </a:lnTo>
                  <a:cubicBezTo>
                    <a:pt x="14561" y="8453"/>
                    <a:pt x="10941" y="7243"/>
                    <a:pt x="7188" y="6919"/>
                  </a:cubicBezTo>
                  <a:cubicBezTo>
                    <a:pt x="4569" y="6776"/>
                    <a:pt x="1959" y="7367"/>
                    <a:pt x="-336" y="8634"/>
                  </a:cubicBezTo>
                  <a:lnTo>
                    <a:pt x="12046" y="1490"/>
                  </a:lnTo>
                  <a:lnTo>
                    <a:pt x="12046" y="1490"/>
                  </a:lnTo>
                  <a:cubicBezTo>
                    <a:pt x="17990" y="-1244"/>
                    <a:pt x="24943" y="-549"/>
                    <a:pt x="30239" y="3300"/>
                  </a:cubicBezTo>
                  <a:lnTo>
                    <a:pt x="141205" y="67403"/>
                  </a:lnTo>
                  <a:cubicBezTo>
                    <a:pt x="156455" y="77080"/>
                    <a:pt x="166160" y="93473"/>
                    <a:pt x="167304" y="111504"/>
                  </a:cubicBezTo>
                  <a:close/>
                </a:path>
              </a:pathLst>
            </a:custGeom>
            <a:solidFill>
              <a:srgbClr val="D9530B"/>
            </a:solidFill>
            <a:ln w="9525" cap="flat">
              <a:noFill/>
              <a:prstDash val="solid"/>
              <a:miter/>
            </a:ln>
          </p:spPr>
          <p:txBody>
            <a:bodyPr rtlCol="0" anchor="ctr"/>
            <a:lstStyle/>
            <a:p>
              <a:endParaRPr lang="zh-CN" altLang="en-US"/>
            </a:p>
          </p:txBody>
        </p:sp>
        <p:sp>
          <p:nvSpPr>
            <p:cNvPr id="813" name="i$ļïďè">
              <a:extLst>
                <a:ext uri="{FF2B5EF4-FFF2-40B4-BE49-F238E27FC236}">
                  <a16:creationId xmlns:a16="http://schemas.microsoft.com/office/drawing/2014/main" id="{C4EB154B-4ED8-49ED-9D91-578475FE1BE5}"/>
                </a:ext>
              </a:extLst>
            </p:cNvPr>
            <p:cNvSpPr/>
            <p:nvPr/>
          </p:nvSpPr>
          <p:spPr>
            <a:xfrm>
              <a:off x="6669977" y="2868426"/>
              <a:ext cx="494331" cy="347114"/>
            </a:xfrm>
            <a:custGeom>
              <a:avLst/>
              <a:gdLst>
                <a:gd name="connsiteX0" fmla="*/ 162063 w 162399"/>
                <a:gd name="connsiteY0" fmla="*/ 111110 h 114035"/>
                <a:gd name="connsiteX1" fmla="*/ 162063 w 162399"/>
                <a:gd name="connsiteY1" fmla="*/ 113873 h 114035"/>
                <a:gd name="connsiteX2" fmla="*/ 12616 w 162399"/>
                <a:gd name="connsiteY2" fmla="*/ 28148 h 114035"/>
                <a:gd name="connsiteX3" fmla="*/ -243 w 162399"/>
                <a:gd name="connsiteY3" fmla="*/ 20718 h 114035"/>
                <a:gd name="connsiteX4" fmla="*/ -243 w 162399"/>
                <a:gd name="connsiteY4" fmla="*/ 17861 h 114035"/>
                <a:gd name="connsiteX5" fmla="*/ 6805 w 162399"/>
                <a:gd name="connsiteY5" fmla="*/ 1573 h 114035"/>
                <a:gd name="connsiteX6" fmla="*/ 7282 w 162399"/>
                <a:gd name="connsiteY6" fmla="*/ 1573 h 114035"/>
                <a:gd name="connsiteX7" fmla="*/ 14806 w 162399"/>
                <a:gd name="connsiteY7" fmla="*/ -142 h 114035"/>
                <a:gd name="connsiteX8" fmla="*/ 25379 w 162399"/>
                <a:gd name="connsiteY8" fmla="*/ 3383 h 114035"/>
                <a:gd name="connsiteX9" fmla="*/ 136441 w 162399"/>
                <a:gd name="connsiteY9" fmla="*/ 67391 h 114035"/>
                <a:gd name="connsiteX10" fmla="*/ 159872 w 162399"/>
                <a:gd name="connsiteY10" fmla="*/ 98633 h 114035"/>
                <a:gd name="connsiteX11" fmla="*/ 162063 w 162399"/>
                <a:gd name="connsiteY11" fmla="*/ 111110 h 1140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2399" h="114035">
                  <a:moveTo>
                    <a:pt x="162063" y="111110"/>
                  </a:moveTo>
                  <a:lnTo>
                    <a:pt x="162063" y="113873"/>
                  </a:lnTo>
                  <a:lnTo>
                    <a:pt x="12616" y="28148"/>
                  </a:lnTo>
                  <a:lnTo>
                    <a:pt x="-243" y="20718"/>
                  </a:lnTo>
                  <a:lnTo>
                    <a:pt x="-243" y="17861"/>
                  </a:lnTo>
                  <a:cubicBezTo>
                    <a:pt x="-881" y="11574"/>
                    <a:pt x="1786" y="5411"/>
                    <a:pt x="6805" y="1573"/>
                  </a:cubicBezTo>
                  <a:lnTo>
                    <a:pt x="7282" y="1573"/>
                  </a:lnTo>
                  <a:cubicBezTo>
                    <a:pt x="9577" y="306"/>
                    <a:pt x="12187" y="-285"/>
                    <a:pt x="14806" y="-142"/>
                  </a:cubicBezTo>
                  <a:cubicBezTo>
                    <a:pt x="18559" y="182"/>
                    <a:pt x="22179" y="1392"/>
                    <a:pt x="25379" y="3383"/>
                  </a:cubicBezTo>
                  <a:lnTo>
                    <a:pt x="136441" y="67391"/>
                  </a:lnTo>
                  <a:cubicBezTo>
                    <a:pt x="147680" y="74734"/>
                    <a:pt x="155976" y="85793"/>
                    <a:pt x="159872" y="98633"/>
                  </a:cubicBezTo>
                  <a:cubicBezTo>
                    <a:pt x="161206" y="102662"/>
                    <a:pt x="161939" y="106862"/>
                    <a:pt x="162063" y="111110"/>
                  </a:cubicBezTo>
                  <a:close/>
                </a:path>
              </a:pathLst>
            </a:custGeom>
            <a:solidFill>
              <a:srgbClr val="FF7D33"/>
            </a:solidFill>
            <a:ln w="9525" cap="flat">
              <a:noFill/>
              <a:prstDash val="solid"/>
              <a:miter/>
            </a:ln>
          </p:spPr>
          <p:txBody>
            <a:bodyPr rtlCol="0" anchor="ctr"/>
            <a:lstStyle/>
            <a:p>
              <a:endParaRPr lang="zh-CN" altLang="en-US"/>
            </a:p>
          </p:txBody>
        </p:sp>
        <p:sp>
          <p:nvSpPr>
            <p:cNvPr id="814" name="ïslíḓè">
              <a:extLst>
                <a:ext uri="{FF2B5EF4-FFF2-40B4-BE49-F238E27FC236}">
                  <a16:creationId xmlns:a16="http://schemas.microsoft.com/office/drawing/2014/main" id="{97F203B2-2BA3-44AA-816F-65A9CEF2DF4F}"/>
                </a:ext>
              </a:extLst>
            </p:cNvPr>
            <p:cNvSpPr/>
            <p:nvPr/>
          </p:nvSpPr>
          <p:spPr>
            <a:xfrm>
              <a:off x="6670263" y="3390952"/>
              <a:ext cx="494090" cy="349053"/>
            </a:xfrm>
            <a:custGeom>
              <a:avLst/>
              <a:gdLst>
                <a:gd name="connsiteX0" fmla="*/ 161970 w 162320"/>
                <a:gd name="connsiteY0" fmla="*/ 93468 h 114672"/>
                <a:gd name="connsiteX1" fmla="*/ 161970 w 162320"/>
                <a:gd name="connsiteY1" fmla="*/ 96326 h 114672"/>
                <a:gd name="connsiteX2" fmla="*/ 159684 w 162320"/>
                <a:gd name="connsiteY2" fmla="*/ 107184 h 114672"/>
                <a:gd name="connsiteX3" fmla="*/ 155397 w 162320"/>
                <a:gd name="connsiteY3" fmla="*/ 112328 h 114672"/>
                <a:gd name="connsiteX4" fmla="*/ 153302 w 162320"/>
                <a:gd name="connsiteY4" fmla="*/ 113471 h 114672"/>
                <a:gd name="connsiteX5" fmla="*/ 136347 w 162320"/>
                <a:gd name="connsiteY5" fmla="*/ 111185 h 114672"/>
                <a:gd name="connsiteX6" fmla="*/ 25286 w 162320"/>
                <a:gd name="connsiteY6" fmla="*/ 47081 h 114672"/>
                <a:gd name="connsiteX7" fmla="*/ -336 w 162320"/>
                <a:gd name="connsiteY7" fmla="*/ 2600 h 114672"/>
                <a:gd name="connsiteX8" fmla="*/ -336 w 162320"/>
                <a:gd name="connsiteY8" fmla="*/ -163 h 114672"/>
                <a:gd name="connsiteX9" fmla="*/ 14713 w 162320"/>
                <a:gd name="connsiteY9" fmla="*/ 8505 h 114672"/>
                <a:gd name="connsiteX10" fmla="*/ 25762 w 162320"/>
                <a:gd name="connsiteY10" fmla="*/ 14887 h 114672"/>
                <a:gd name="connsiteX11" fmla="*/ 37002 w 162320"/>
                <a:gd name="connsiteY11" fmla="*/ 21364 h 114672"/>
                <a:gd name="connsiteX12" fmla="*/ 128823 w 162320"/>
                <a:gd name="connsiteY12" fmla="*/ 74418 h 114672"/>
                <a:gd name="connsiteX13" fmla="*/ 141491 w 162320"/>
                <a:gd name="connsiteY13" fmla="*/ 81752 h 114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2320" h="114672">
                  <a:moveTo>
                    <a:pt x="161970" y="93468"/>
                  </a:moveTo>
                  <a:lnTo>
                    <a:pt x="161970" y="96326"/>
                  </a:lnTo>
                  <a:cubicBezTo>
                    <a:pt x="162103" y="100078"/>
                    <a:pt x="161322" y="103803"/>
                    <a:pt x="159684" y="107184"/>
                  </a:cubicBezTo>
                  <a:cubicBezTo>
                    <a:pt x="158712" y="109232"/>
                    <a:pt x="157236" y="111004"/>
                    <a:pt x="155397" y="112328"/>
                  </a:cubicBezTo>
                  <a:lnTo>
                    <a:pt x="153302" y="113471"/>
                  </a:lnTo>
                  <a:cubicBezTo>
                    <a:pt x="147606" y="115433"/>
                    <a:pt x="141320" y="114585"/>
                    <a:pt x="136347" y="111185"/>
                  </a:cubicBezTo>
                  <a:lnTo>
                    <a:pt x="25286" y="47081"/>
                  </a:lnTo>
                  <a:cubicBezTo>
                    <a:pt x="10189" y="37137"/>
                    <a:pt x="692" y="20640"/>
                    <a:pt x="-336" y="2600"/>
                  </a:cubicBezTo>
                  <a:lnTo>
                    <a:pt x="-336" y="-163"/>
                  </a:lnTo>
                  <a:lnTo>
                    <a:pt x="14713" y="8505"/>
                  </a:lnTo>
                  <a:lnTo>
                    <a:pt x="25762" y="14887"/>
                  </a:lnTo>
                  <a:lnTo>
                    <a:pt x="37002" y="21364"/>
                  </a:lnTo>
                  <a:lnTo>
                    <a:pt x="128823" y="74418"/>
                  </a:lnTo>
                  <a:lnTo>
                    <a:pt x="141491" y="81752"/>
                  </a:lnTo>
                  <a:close/>
                </a:path>
              </a:pathLst>
            </a:custGeom>
            <a:solidFill>
              <a:srgbClr val="FF7D33"/>
            </a:solidFill>
            <a:ln w="9525" cap="flat">
              <a:noFill/>
              <a:prstDash val="solid"/>
              <a:miter/>
            </a:ln>
          </p:spPr>
          <p:txBody>
            <a:bodyPr rtlCol="0" anchor="ctr"/>
            <a:lstStyle/>
            <a:p>
              <a:endParaRPr lang="zh-CN" altLang="en-US"/>
            </a:p>
          </p:txBody>
        </p:sp>
        <p:sp>
          <p:nvSpPr>
            <p:cNvPr id="815" name="íŝḷïḍé">
              <a:extLst>
                <a:ext uri="{FF2B5EF4-FFF2-40B4-BE49-F238E27FC236}">
                  <a16:creationId xmlns:a16="http://schemas.microsoft.com/office/drawing/2014/main" id="{6AFEC9CC-894A-47C0-985B-FD3C9BC1FC42}"/>
                </a:ext>
              </a:extLst>
            </p:cNvPr>
            <p:cNvSpPr/>
            <p:nvPr/>
          </p:nvSpPr>
          <p:spPr>
            <a:xfrm>
              <a:off x="6669971" y="2930245"/>
              <a:ext cx="494337" cy="745707"/>
            </a:xfrm>
            <a:custGeom>
              <a:avLst/>
              <a:gdLst>
                <a:gd name="connsiteX0" fmla="*/ 162401 w 162401"/>
                <a:gd name="connsiteY0" fmla="*/ 93726 h 244982"/>
                <a:gd name="connsiteX1" fmla="*/ 162401 w 162401"/>
                <a:gd name="connsiteY1" fmla="*/ 244983 h 244982"/>
                <a:gd name="connsiteX2" fmla="*/ 141922 w 162401"/>
                <a:gd name="connsiteY2" fmla="*/ 233172 h 244982"/>
                <a:gd name="connsiteX3" fmla="*/ 129254 w 162401"/>
                <a:gd name="connsiteY3" fmla="*/ 225838 h 244982"/>
                <a:gd name="connsiteX4" fmla="*/ 37433 w 162401"/>
                <a:gd name="connsiteY4" fmla="*/ 172879 h 244982"/>
                <a:gd name="connsiteX5" fmla="*/ 26194 w 162401"/>
                <a:gd name="connsiteY5" fmla="*/ 166306 h 244982"/>
                <a:gd name="connsiteX6" fmla="*/ 15050 w 162401"/>
                <a:gd name="connsiteY6" fmla="*/ 159925 h 244982"/>
                <a:gd name="connsiteX7" fmla="*/ 0 w 162401"/>
                <a:gd name="connsiteY7" fmla="*/ 151257 h 244982"/>
                <a:gd name="connsiteX8" fmla="*/ 0 w 162401"/>
                <a:gd name="connsiteY8" fmla="*/ 0 h 244982"/>
                <a:gd name="connsiteX9" fmla="*/ 12859 w 162401"/>
                <a:gd name="connsiteY9" fmla="*/ 7429 h 244982"/>
                <a:gd name="connsiteX10" fmla="*/ 162401 w 162401"/>
                <a:gd name="connsiteY10" fmla="*/ 93726 h 244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2401" h="244982">
                  <a:moveTo>
                    <a:pt x="162401" y="93726"/>
                  </a:moveTo>
                  <a:lnTo>
                    <a:pt x="162401" y="244983"/>
                  </a:lnTo>
                  <a:lnTo>
                    <a:pt x="141922" y="233172"/>
                  </a:lnTo>
                  <a:lnTo>
                    <a:pt x="129254" y="225838"/>
                  </a:lnTo>
                  <a:lnTo>
                    <a:pt x="37433" y="172879"/>
                  </a:lnTo>
                  <a:lnTo>
                    <a:pt x="26194" y="166306"/>
                  </a:lnTo>
                  <a:lnTo>
                    <a:pt x="15050" y="159925"/>
                  </a:lnTo>
                  <a:lnTo>
                    <a:pt x="0" y="151257"/>
                  </a:lnTo>
                  <a:lnTo>
                    <a:pt x="0" y="0"/>
                  </a:lnTo>
                  <a:lnTo>
                    <a:pt x="12859" y="7429"/>
                  </a:lnTo>
                  <a:lnTo>
                    <a:pt x="162401" y="93726"/>
                  </a:lnTo>
                  <a:close/>
                </a:path>
              </a:pathLst>
            </a:custGeom>
            <a:solidFill>
              <a:srgbClr val="EDF4FF"/>
            </a:solidFill>
            <a:ln w="9525" cap="flat">
              <a:noFill/>
              <a:prstDash val="solid"/>
              <a:miter/>
            </a:ln>
          </p:spPr>
          <p:txBody>
            <a:bodyPr rtlCol="0" anchor="ctr"/>
            <a:lstStyle/>
            <a:p>
              <a:endParaRPr lang="zh-CN" altLang="en-US"/>
            </a:p>
          </p:txBody>
        </p:sp>
        <p:sp>
          <p:nvSpPr>
            <p:cNvPr id="816" name="îṡḻîḓè">
              <a:extLst>
                <a:ext uri="{FF2B5EF4-FFF2-40B4-BE49-F238E27FC236}">
                  <a16:creationId xmlns:a16="http://schemas.microsoft.com/office/drawing/2014/main" id="{D5F2D606-37C9-46BD-9EF7-160DAF41903B}"/>
                </a:ext>
              </a:extLst>
            </p:cNvPr>
            <p:cNvSpPr/>
            <p:nvPr/>
          </p:nvSpPr>
          <p:spPr>
            <a:xfrm>
              <a:off x="6809955" y="3127117"/>
              <a:ext cx="227363" cy="241797"/>
            </a:xfrm>
            <a:custGeom>
              <a:avLst/>
              <a:gdLst>
                <a:gd name="connsiteX0" fmla="*/ 74358 w 74694"/>
                <a:gd name="connsiteY0" fmla="*/ 69749 h 79436"/>
                <a:gd name="connsiteX1" fmla="*/ 73215 w 74694"/>
                <a:gd name="connsiteY1" fmla="*/ 79274 h 79436"/>
                <a:gd name="connsiteX2" fmla="*/ 65595 w 74694"/>
                <a:gd name="connsiteY2" fmla="*/ 74988 h 79436"/>
                <a:gd name="connsiteX3" fmla="*/ 67119 w 74694"/>
                <a:gd name="connsiteY3" fmla="*/ 65463 h 79436"/>
                <a:gd name="connsiteX4" fmla="*/ 62261 w 74694"/>
                <a:gd name="connsiteY4" fmla="*/ 43841 h 79436"/>
                <a:gd name="connsiteX5" fmla="*/ 11779 w 74694"/>
                <a:gd name="connsiteY5" fmla="*/ 14599 h 79436"/>
                <a:gd name="connsiteX6" fmla="*/ 6921 w 74694"/>
                <a:gd name="connsiteY6" fmla="*/ 30697 h 79436"/>
                <a:gd name="connsiteX7" fmla="*/ 8350 w 74694"/>
                <a:gd name="connsiteY7" fmla="*/ 42222 h 79436"/>
                <a:gd name="connsiteX8" fmla="*/ 825 w 74694"/>
                <a:gd name="connsiteY8" fmla="*/ 37840 h 79436"/>
                <a:gd name="connsiteX9" fmla="*/ -318 w 74694"/>
                <a:gd name="connsiteY9" fmla="*/ 26506 h 79436"/>
                <a:gd name="connsiteX10" fmla="*/ 3397 w 74694"/>
                <a:gd name="connsiteY10" fmla="*/ 9837 h 79436"/>
                <a:gd name="connsiteX11" fmla="*/ 37020 w 74694"/>
                <a:gd name="connsiteY11" fmla="*/ 4884 h 79436"/>
                <a:gd name="connsiteX12" fmla="*/ 70548 w 74694"/>
                <a:gd name="connsiteY12" fmla="*/ 48604 h 79436"/>
                <a:gd name="connsiteX13" fmla="*/ 74358 w 74694"/>
                <a:gd name="connsiteY13" fmla="*/ 69749 h 794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4694" h="79436">
                  <a:moveTo>
                    <a:pt x="74358" y="69749"/>
                  </a:moveTo>
                  <a:cubicBezTo>
                    <a:pt x="74320" y="72959"/>
                    <a:pt x="73929" y="76150"/>
                    <a:pt x="73215" y="79274"/>
                  </a:cubicBezTo>
                  <a:lnTo>
                    <a:pt x="65595" y="74988"/>
                  </a:lnTo>
                  <a:cubicBezTo>
                    <a:pt x="66605" y="71911"/>
                    <a:pt x="67119" y="68701"/>
                    <a:pt x="67119" y="65463"/>
                  </a:cubicBezTo>
                  <a:cubicBezTo>
                    <a:pt x="66957" y="58005"/>
                    <a:pt x="65309" y="50652"/>
                    <a:pt x="62261" y="43841"/>
                  </a:cubicBezTo>
                  <a:lnTo>
                    <a:pt x="11779" y="14599"/>
                  </a:lnTo>
                  <a:cubicBezTo>
                    <a:pt x="8350" y="19238"/>
                    <a:pt x="6626" y="24934"/>
                    <a:pt x="6921" y="30697"/>
                  </a:cubicBezTo>
                  <a:cubicBezTo>
                    <a:pt x="6940" y="34583"/>
                    <a:pt x="7416" y="38450"/>
                    <a:pt x="8350" y="42222"/>
                  </a:cubicBezTo>
                  <a:lnTo>
                    <a:pt x="825" y="37840"/>
                  </a:lnTo>
                  <a:cubicBezTo>
                    <a:pt x="82" y="34107"/>
                    <a:pt x="-299" y="30316"/>
                    <a:pt x="-318" y="26506"/>
                  </a:cubicBezTo>
                  <a:cubicBezTo>
                    <a:pt x="-509" y="20724"/>
                    <a:pt x="777" y="14990"/>
                    <a:pt x="3397" y="9837"/>
                  </a:cubicBezTo>
                  <a:cubicBezTo>
                    <a:pt x="9493" y="-1022"/>
                    <a:pt x="22447" y="-3593"/>
                    <a:pt x="37020" y="4884"/>
                  </a:cubicBezTo>
                  <a:cubicBezTo>
                    <a:pt x="52879" y="15180"/>
                    <a:pt x="64719" y="30611"/>
                    <a:pt x="70548" y="48604"/>
                  </a:cubicBezTo>
                  <a:cubicBezTo>
                    <a:pt x="73006" y="55385"/>
                    <a:pt x="74292" y="62539"/>
                    <a:pt x="74358" y="69749"/>
                  </a:cubicBezTo>
                  <a:close/>
                </a:path>
              </a:pathLst>
            </a:custGeom>
            <a:solidFill>
              <a:srgbClr val="D9530B"/>
            </a:solidFill>
            <a:ln w="9525" cap="flat">
              <a:noFill/>
              <a:prstDash val="solid"/>
              <a:miter/>
            </a:ln>
          </p:spPr>
          <p:txBody>
            <a:bodyPr rtlCol="0" anchor="ctr"/>
            <a:lstStyle/>
            <a:p>
              <a:endParaRPr lang="zh-CN" altLang="en-US"/>
            </a:p>
          </p:txBody>
        </p:sp>
        <p:sp>
          <p:nvSpPr>
            <p:cNvPr id="817" name="íSľidê">
              <a:extLst>
                <a:ext uri="{FF2B5EF4-FFF2-40B4-BE49-F238E27FC236}">
                  <a16:creationId xmlns:a16="http://schemas.microsoft.com/office/drawing/2014/main" id="{90748980-C0CC-4962-8706-CA228CC9CD60}"/>
                </a:ext>
              </a:extLst>
            </p:cNvPr>
            <p:cNvSpPr/>
            <p:nvPr/>
          </p:nvSpPr>
          <p:spPr>
            <a:xfrm>
              <a:off x="6783917" y="3350940"/>
              <a:ext cx="279493" cy="267028"/>
            </a:xfrm>
            <a:custGeom>
              <a:avLst/>
              <a:gdLst>
                <a:gd name="connsiteX0" fmla="*/ 91485 w 91820"/>
                <a:gd name="connsiteY0" fmla="*/ 87563 h 87725"/>
                <a:gd name="connsiteX1" fmla="*/ -336 w 91820"/>
                <a:gd name="connsiteY1" fmla="*/ 34508 h 87725"/>
                <a:gd name="connsiteX2" fmla="*/ 19952 w 91820"/>
                <a:gd name="connsiteY2" fmla="*/ 409 h 87725"/>
                <a:gd name="connsiteX3" fmla="*/ 25762 w 91820"/>
                <a:gd name="connsiteY3" fmla="*/ -163 h 87725"/>
                <a:gd name="connsiteX4" fmla="*/ 33096 w 91820"/>
                <a:gd name="connsiteY4" fmla="*/ 790 h 87725"/>
                <a:gd name="connsiteX5" fmla="*/ 35192 w 91820"/>
                <a:gd name="connsiteY5" fmla="*/ 1266 h 87725"/>
                <a:gd name="connsiteX6" fmla="*/ 45574 w 91820"/>
                <a:gd name="connsiteY6" fmla="*/ 9458 h 87725"/>
                <a:gd name="connsiteX7" fmla="*/ 55956 w 91820"/>
                <a:gd name="connsiteY7" fmla="*/ 13363 h 87725"/>
                <a:gd name="connsiteX8" fmla="*/ 58052 w 91820"/>
                <a:gd name="connsiteY8" fmla="*/ 15077 h 87725"/>
                <a:gd name="connsiteX9" fmla="*/ 65386 w 91820"/>
                <a:gd name="connsiteY9" fmla="*/ 22697 h 87725"/>
                <a:gd name="connsiteX10" fmla="*/ 71101 w 91820"/>
                <a:gd name="connsiteY10" fmla="*/ 29936 h 87725"/>
                <a:gd name="connsiteX11" fmla="*/ 91485 w 91820"/>
                <a:gd name="connsiteY11" fmla="*/ 87563 h 87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1820" h="87725">
                  <a:moveTo>
                    <a:pt x="91485" y="87563"/>
                  </a:moveTo>
                  <a:lnTo>
                    <a:pt x="-336" y="34508"/>
                  </a:lnTo>
                  <a:cubicBezTo>
                    <a:pt x="-336" y="15458"/>
                    <a:pt x="7760" y="3266"/>
                    <a:pt x="19952" y="409"/>
                  </a:cubicBezTo>
                  <a:cubicBezTo>
                    <a:pt x="21866" y="28"/>
                    <a:pt x="23809" y="-163"/>
                    <a:pt x="25762" y="-163"/>
                  </a:cubicBezTo>
                  <a:cubicBezTo>
                    <a:pt x="28239" y="-163"/>
                    <a:pt x="30705" y="152"/>
                    <a:pt x="33096" y="790"/>
                  </a:cubicBezTo>
                  <a:lnTo>
                    <a:pt x="35192" y="1266"/>
                  </a:lnTo>
                  <a:cubicBezTo>
                    <a:pt x="38240" y="4476"/>
                    <a:pt x="41736" y="7238"/>
                    <a:pt x="45574" y="9458"/>
                  </a:cubicBezTo>
                  <a:cubicBezTo>
                    <a:pt x="48755" y="11401"/>
                    <a:pt x="52280" y="12725"/>
                    <a:pt x="55956" y="13363"/>
                  </a:cubicBezTo>
                  <a:lnTo>
                    <a:pt x="58052" y="15077"/>
                  </a:lnTo>
                  <a:cubicBezTo>
                    <a:pt x="60528" y="17459"/>
                    <a:pt x="63005" y="19935"/>
                    <a:pt x="65386" y="22697"/>
                  </a:cubicBezTo>
                  <a:cubicBezTo>
                    <a:pt x="67415" y="25012"/>
                    <a:pt x="69329" y="27422"/>
                    <a:pt x="71101" y="29936"/>
                  </a:cubicBezTo>
                  <a:cubicBezTo>
                    <a:pt x="83550" y="46653"/>
                    <a:pt x="90656" y="66741"/>
                    <a:pt x="91485" y="87563"/>
                  </a:cubicBezTo>
                  <a:close/>
                </a:path>
              </a:pathLst>
            </a:custGeom>
            <a:solidFill>
              <a:srgbClr val="316DE6"/>
            </a:solidFill>
            <a:ln w="9525" cap="flat">
              <a:noFill/>
              <a:prstDash val="solid"/>
              <a:miter/>
            </a:ln>
          </p:spPr>
          <p:txBody>
            <a:bodyPr rtlCol="0" anchor="ctr"/>
            <a:lstStyle/>
            <a:p>
              <a:endParaRPr lang="zh-CN" altLang="en-US"/>
            </a:p>
          </p:txBody>
        </p:sp>
        <p:sp>
          <p:nvSpPr>
            <p:cNvPr id="818" name="iŝ1ïḓè">
              <a:extLst>
                <a:ext uri="{FF2B5EF4-FFF2-40B4-BE49-F238E27FC236}">
                  <a16:creationId xmlns:a16="http://schemas.microsoft.com/office/drawing/2014/main" id="{27EE3898-6F5E-44B1-94B8-FBF0CE8F53D9}"/>
                </a:ext>
              </a:extLst>
            </p:cNvPr>
            <p:cNvSpPr/>
            <p:nvPr/>
          </p:nvSpPr>
          <p:spPr>
            <a:xfrm>
              <a:off x="6831944" y="3171762"/>
              <a:ext cx="183336" cy="220411"/>
            </a:xfrm>
            <a:custGeom>
              <a:avLst/>
              <a:gdLst>
                <a:gd name="connsiteX0" fmla="*/ 59894 w 60230"/>
                <a:gd name="connsiteY0" fmla="*/ 50987 h 72410"/>
                <a:gd name="connsiteX1" fmla="*/ 58370 w 60230"/>
                <a:gd name="connsiteY1" fmla="*/ 60512 h 72410"/>
                <a:gd name="connsiteX2" fmla="*/ 40177 w 60230"/>
                <a:gd name="connsiteY2" fmla="*/ 71942 h 72410"/>
                <a:gd name="connsiteX3" fmla="*/ 29795 w 60230"/>
                <a:gd name="connsiteY3" fmla="*/ 68036 h 72410"/>
                <a:gd name="connsiteX4" fmla="*/ 19413 w 60230"/>
                <a:gd name="connsiteY4" fmla="*/ 59845 h 72410"/>
                <a:gd name="connsiteX5" fmla="*/ 1125 w 60230"/>
                <a:gd name="connsiteY5" fmla="*/ 27460 h 72410"/>
                <a:gd name="connsiteX6" fmla="*/ -304 w 60230"/>
                <a:gd name="connsiteY6" fmla="*/ 15935 h 72410"/>
                <a:gd name="connsiteX7" fmla="*/ 4554 w 60230"/>
                <a:gd name="connsiteY7" fmla="*/ -163 h 72410"/>
                <a:gd name="connsiteX8" fmla="*/ 55037 w 60230"/>
                <a:gd name="connsiteY8" fmla="*/ 29079 h 72410"/>
                <a:gd name="connsiteX9" fmla="*/ 59894 w 60230"/>
                <a:gd name="connsiteY9" fmla="*/ 50987 h 72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0230" h="72410">
                  <a:moveTo>
                    <a:pt x="59894" y="50987"/>
                  </a:moveTo>
                  <a:cubicBezTo>
                    <a:pt x="59894" y="54225"/>
                    <a:pt x="59380" y="57435"/>
                    <a:pt x="58370" y="60512"/>
                  </a:cubicBezTo>
                  <a:cubicBezTo>
                    <a:pt x="56303" y="68551"/>
                    <a:pt x="48312" y="73570"/>
                    <a:pt x="40177" y="71942"/>
                  </a:cubicBezTo>
                  <a:cubicBezTo>
                    <a:pt x="36501" y="71303"/>
                    <a:pt x="32977" y="69979"/>
                    <a:pt x="29795" y="68036"/>
                  </a:cubicBezTo>
                  <a:cubicBezTo>
                    <a:pt x="25957" y="65817"/>
                    <a:pt x="22461" y="63055"/>
                    <a:pt x="19413" y="59845"/>
                  </a:cubicBezTo>
                  <a:cubicBezTo>
                    <a:pt x="10564" y="50853"/>
                    <a:pt x="4259" y="39680"/>
                    <a:pt x="1125" y="27460"/>
                  </a:cubicBezTo>
                  <a:cubicBezTo>
                    <a:pt x="191" y="23688"/>
                    <a:pt x="-285" y="19821"/>
                    <a:pt x="-304" y="15935"/>
                  </a:cubicBezTo>
                  <a:cubicBezTo>
                    <a:pt x="-599" y="10172"/>
                    <a:pt x="1125" y="4476"/>
                    <a:pt x="4554" y="-163"/>
                  </a:cubicBezTo>
                  <a:lnTo>
                    <a:pt x="55037" y="29079"/>
                  </a:lnTo>
                  <a:cubicBezTo>
                    <a:pt x="58123" y="35975"/>
                    <a:pt x="59770" y="43433"/>
                    <a:pt x="59894" y="50987"/>
                  </a:cubicBezTo>
                  <a:close/>
                </a:path>
              </a:pathLst>
            </a:custGeom>
            <a:solidFill>
              <a:srgbClr val="FFB4A1"/>
            </a:solidFill>
            <a:ln w="9525" cap="flat">
              <a:noFill/>
              <a:prstDash val="solid"/>
              <a:miter/>
            </a:ln>
          </p:spPr>
          <p:txBody>
            <a:bodyPr rtlCol="0" anchor="ctr"/>
            <a:lstStyle/>
            <a:p>
              <a:endParaRPr lang="zh-CN" altLang="en-US"/>
            </a:p>
          </p:txBody>
        </p:sp>
        <p:sp>
          <p:nvSpPr>
            <p:cNvPr id="819" name="išļiḍê">
              <a:extLst>
                <a:ext uri="{FF2B5EF4-FFF2-40B4-BE49-F238E27FC236}">
                  <a16:creationId xmlns:a16="http://schemas.microsoft.com/office/drawing/2014/main" id="{AF998AC8-7F03-4245-B791-5F03F65A5F5A}"/>
                </a:ext>
              </a:extLst>
            </p:cNvPr>
            <p:cNvSpPr/>
            <p:nvPr/>
          </p:nvSpPr>
          <p:spPr>
            <a:xfrm>
              <a:off x="7048915" y="3088934"/>
              <a:ext cx="80116" cy="105728"/>
            </a:xfrm>
            <a:custGeom>
              <a:avLst/>
              <a:gdLst>
                <a:gd name="connsiteX0" fmla="*/ 25953 w 26320"/>
                <a:gd name="connsiteY0" fmla="*/ 23523 h 34734"/>
                <a:gd name="connsiteX1" fmla="*/ 22429 w 26320"/>
                <a:gd name="connsiteY1" fmla="*/ 31715 h 34734"/>
                <a:gd name="connsiteX2" fmla="*/ 17475 w 26320"/>
                <a:gd name="connsiteY2" fmla="*/ 34572 h 34734"/>
                <a:gd name="connsiteX3" fmla="*/ 19380 w 26320"/>
                <a:gd name="connsiteY3" fmla="*/ 32572 h 34734"/>
                <a:gd name="connsiteX4" fmla="*/ 21000 w 26320"/>
                <a:gd name="connsiteY4" fmla="*/ 26381 h 34734"/>
                <a:gd name="connsiteX5" fmla="*/ 8331 w 26320"/>
                <a:gd name="connsiteY5" fmla="*/ 4378 h 34734"/>
                <a:gd name="connsiteX6" fmla="*/ 2140 w 26320"/>
                <a:gd name="connsiteY6" fmla="*/ 2664 h 34734"/>
                <a:gd name="connsiteX7" fmla="*/ -336 w 26320"/>
                <a:gd name="connsiteY7" fmla="*/ 3330 h 34734"/>
                <a:gd name="connsiteX8" fmla="*/ 3855 w 26320"/>
                <a:gd name="connsiteY8" fmla="*/ 949 h 34734"/>
                <a:gd name="connsiteX9" fmla="*/ 3855 w 26320"/>
                <a:gd name="connsiteY9" fmla="*/ 949 h 34734"/>
                <a:gd name="connsiteX10" fmla="*/ 4712 w 26320"/>
                <a:gd name="connsiteY10" fmla="*/ 378 h 34734"/>
                <a:gd name="connsiteX11" fmla="*/ 13284 w 26320"/>
                <a:gd name="connsiteY11" fmla="*/ 1521 h 34734"/>
                <a:gd name="connsiteX12" fmla="*/ 25953 w 26320"/>
                <a:gd name="connsiteY12" fmla="*/ 23523 h 34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320" h="34734">
                  <a:moveTo>
                    <a:pt x="25953" y="23523"/>
                  </a:moveTo>
                  <a:cubicBezTo>
                    <a:pt x="26210" y="26667"/>
                    <a:pt x="24886" y="29734"/>
                    <a:pt x="22429" y="31715"/>
                  </a:cubicBezTo>
                  <a:lnTo>
                    <a:pt x="17475" y="34572"/>
                  </a:lnTo>
                  <a:cubicBezTo>
                    <a:pt x="18266" y="34077"/>
                    <a:pt x="18923" y="33391"/>
                    <a:pt x="19380" y="32572"/>
                  </a:cubicBezTo>
                  <a:cubicBezTo>
                    <a:pt x="20533" y="30715"/>
                    <a:pt x="21095" y="28562"/>
                    <a:pt x="21000" y="26381"/>
                  </a:cubicBezTo>
                  <a:cubicBezTo>
                    <a:pt x="20447" y="17475"/>
                    <a:pt x="15761" y="9331"/>
                    <a:pt x="8331" y="4378"/>
                  </a:cubicBezTo>
                  <a:cubicBezTo>
                    <a:pt x="6464" y="3254"/>
                    <a:pt x="4322" y="2664"/>
                    <a:pt x="2140" y="2664"/>
                  </a:cubicBezTo>
                  <a:cubicBezTo>
                    <a:pt x="1283" y="2740"/>
                    <a:pt x="445" y="2968"/>
                    <a:pt x="-336" y="3330"/>
                  </a:cubicBezTo>
                  <a:lnTo>
                    <a:pt x="3855" y="949"/>
                  </a:lnTo>
                  <a:lnTo>
                    <a:pt x="3855" y="949"/>
                  </a:lnTo>
                  <a:lnTo>
                    <a:pt x="4712" y="378"/>
                  </a:lnTo>
                  <a:cubicBezTo>
                    <a:pt x="7588" y="-632"/>
                    <a:pt x="10779" y="-213"/>
                    <a:pt x="13284" y="1521"/>
                  </a:cubicBezTo>
                  <a:cubicBezTo>
                    <a:pt x="20790" y="6397"/>
                    <a:pt x="25505" y="14579"/>
                    <a:pt x="25953" y="23523"/>
                  </a:cubicBezTo>
                  <a:close/>
                </a:path>
              </a:pathLst>
            </a:custGeom>
            <a:solidFill>
              <a:srgbClr val="BF4200"/>
            </a:solidFill>
            <a:ln w="9525" cap="flat">
              <a:noFill/>
              <a:prstDash val="solid"/>
              <a:miter/>
            </a:ln>
          </p:spPr>
          <p:txBody>
            <a:bodyPr rtlCol="0" anchor="ctr"/>
            <a:lstStyle/>
            <a:p>
              <a:endParaRPr lang="zh-CN" altLang="en-US"/>
            </a:p>
          </p:txBody>
        </p:sp>
        <p:sp>
          <p:nvSpPr>
            <p:cNvPr id="820" name="iṥḷîďê">
              <a:extLst>
                <a:ext uri="{FF2B5EF4-FFF2-40B4-BE49-F238E27FC236}">
                  <a16:creationId xmlns:a16="http://schemas.microsoft.com/office/drawing/2014/main" id="{0FFA7302-59BD-4A1B-99D0-7449B4960359}"/>
                </a:ext>
              </a:extLst>
            </p:cNvPr>
            <p:cNvSpPr/>
            <p:nvPr/>
          </p:nvSpPr>
          <p:spPr>
            <a:xfrm>
              <a:off x="7035218" y="3097539"/>
              <a:ext cx="78670" cy="100237"/>
            </a:xfrm>
            <a:custGeom>
              <a:avLst/>
              <a:gdLst>
                <a:gd name="connsiteX0" fmla="*/ 25499 w 25845"/>
                <a:gd name="connsiteY0" fmla="*/ 23555 h 32930"/>
                <a:gd name="connsiteX1" fmla="*/ 23880 w 25845"/>
                <a:gd name="connsiteY1" fmla="*/ 29746 h 32930"/>
                <a:gd name="connsiteX2" fmla="*/ 21975 w 25845"/>
                <a:gd name="connsiteY2" fmla="*/ 31746 h 32930"/>
                <a:gd name="connsiteX3" fmla="*/ 12450 w 25845"/>
                <a:gd name="connsiteY3" fmla="*/ 30889 h 32930"/>
                <a:gd name="connsiteX4" fmla="*/ -313 w 25845"/>
                <a:gd name="connsiteY4" fmla="*/ 8886 h 32930"/>
                <a:gd name="connsiteX5" fmla="*/ 3020 w 25845"/>
                <a:gd name="connsiteY5" fmla="*/ 980 h 32930"/>
                <a:gd name="connsiteX6" fmla="*/ 3020 w 25845"/>
                <a:gd name="connsiteY6" fmla="*/ 980 h 32930"/>
                <a:gd name="connsiteX7" fmla="*/ 3782 w 25845"/>
                <a:gd name="connsiteY7" fmla="*/ 504 h 32930"/>
                <a:gd name="connsiteX8" fmla="*/ 6259 w 25845"/>
                <a:gd name="connsiteY8" fmla="*/ -163 h 32930"/>
                <a:gd name="connsiteX9" fmla="*/ 12450 w 25845"/>
                <a:gd name="connsiteY9" fmla="*/ 1552 h 32930"/>
                <a:gd name="connsiteX10" fmla="*/ 25499 w 25845"/>
                <a:gd name="connsiteY10" fmla="*/ 23555 h 329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5845" h="32930">
                  <a:moveTo>
                    <a:pt x="25499" y="23555"/>
                  </a:moveTo>
                  <a:cubicBezTo>
                    <a:pt x="25595" y="25736"/>
                    <a:pt x="25033" y="27888"/>
                    <a:pt x="23880" y="29746"/>
                  </a:cubicBezTo>
                  <a:cubicBezTo>
                    <a:pt x="23423" y="30565"/>
                    <a:pt x="22766" y="31251"/>
                    <a:pt x="21975" y="31746"/>
                  </a:cubicBezTo>
                  <a:cubicBezTo>
                    <a:pt x="18908" y="33375"/>
                    <a:pt x="15174" y="33032"/>
                    <a:pt x="12450" y="30889"/>
                  </a:cubicBezTo>
                  <a:cubicBezTo>
                    <a:pt x="4916" y="26022"/>
                    <a:pt x="172" y="17840"/>
                    <a:pt x="-313" y="8886"/>
                  </a:cubicBezTo>
                  <a:cubicBezTo>
                    <a:pt x="-523" y="5867"/>
                    <a:pt x="715" y="2933"/>
                    <a:pt x="3020" y="980"/>
                  </a:cubicBezTo>
                  <a:lnTo>
                    <a:pt x="3020" y="980"/>
                  </a:lnTo>
                  <a:lnTo>
                    <a:pt x="3782" y="504"/>
                  </a:lnTo>
                  <a:cubicBezTo>
                    <a:pt x="4563" y="142"/>
                    <a:pt x="5402" y="-86"/>
                    <a:pt x="6259" y="-163"/>
                  </a:cubicBezTo>
                  <a:cubicBezTo>
                    <a:pt x="8440" y="-163"/>
                    <a:pt x="10583" y="428"/>
                    <a:pt x="12450" y="1552"/>
                  </a:cubicBezTo>
                  <a:cubicBezTo>
                    <a:pt x="20023" y="6419"/>
                    <a:pt x="24861" y="14573"/>
                    <a:pt x="25499" y="23555"/>
                  </a:cubicBezTo>
                  <a:close/>
                </a:path>
              </a:pathLst>
            </a:custGeom>
            <a:solidFill>
              <a:srgbClr val="D9530B"/>
            </a:solidFill>
            <a:ln w="9525" cap="flat">
              <a:noFill/>
              <a:prstDash val="solid"/>
              <a:miter/>
            </a:ln>
          </p:spPr>
          <p:txBody>
            <a:bodyPr rtlCol="0" anchor="ctr"/>
            <a:lstStyle/>
            <a:p>
              <a:endParaRPr lang="zh-CN" altLang="en-US"/>
            </a:p>
          </p:txBody>
        </p:sp>
        <p:sp>
          <p:nvSpPr>
            <p:cNvPr id="821" name="í$ḷîde">
              <a:extLst>
                <a:ext uri="{FF2B5EF4-FFF2-40B4-BE49-F238E27FC236}">
                  <a16:creationId xmlns:a16="http://schemas.microsoft.com/office/drawing/2014/main" id="{265F52D0-5DDF-4A08-8A31-F429559AA622}"/>
                </a:ext>
              </a:extLst>
            </p:cNvPr>
            <p:cNvSpPr/>
            <p:nvPr/>
          </p:nvSpPr>
          <p:spPr>
            <a:xfrm>
              <a:off x="5661292" y="2264030"/>
              <a:ext cx="830368" cy="1632674"/>
            </a:xfrm>
            <a:custGeom>
              <a:avLst/>
              <a:gdLst>
                <a:gd name="connsiteX0" fmla="*/ -336 w 272795"/>
                <a:gd name="connsiteY0" fmla="*/ 357674 h 536371"/>
                <a:gd name="connsiteX1" fmla="*/ -336 w 272795"/>
                <a:gd name="connsiteY1" fmla="*/ 20966 h 536371"/>
                <a:gd name="connsiteX2" fmla="*/ 29096 w 272795"/>
                <a:gd name="connsiteY2" fmla="*/ 3916 h 536371"/>
                <a:gd name="connsiteX3" fmla="*/ 243027 w 272795"/>
                <a:gd name="connsiteY3" fmla="*/ 127455 h 536371"/>
                <a:gd name="connsiteX4" fmla="*/ 272460 w 272795"/>
                <a:gd name="connsiteY4" fmla="*/ 178509 h 536371"/>
                <a:gd name="connsiteX5" fmla="*/ 272460 w 272795"/>
                <a:gd name="connsiteY5" fmla="*/ 515123 h 536371"/>
                <a:gd name="connsiteX6" fmla="*/ 243027 w 272795"/>
                <a:gd name="connsiteY6" fmla="*/ 532172 h 536371"/>
                <a:gd name="connsiteX7" fmla="*/ 29191 w 272795"/>
                <a:gd name="connsiteY7" fmla="*/ 408347 h 536371"/>
                <a:gd name="connsiteX8" fmla="*/ -336 w 272795"/>
                <a:gd name="connsiteY8" fmla="*/ 357674 h 536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2795" h="536371">
                  <a:moveTo>
                    <a:pt x="-336" y="357674"/>
                  </a:moveTo>
                  <a:lnTo>
                    <a:pt x="-336" y="20966"/>
                  </a:lnTo>
                  <a:cubicBezTo>
                    <a:pt x="-336" y="1916"/>
                    <a:pt x="12808" y="-5514"/>
                    <a:pt x="29096" y="3916"/>
                  </a:cubicBezTo>
                  <a:lnTo>
                    <a:pt x="243027" y="127455"/>
                  </a:lnTo>
                  <a:cubicBezTo>
                    <a:pt x="260411" y="138809"/>
                    <a:pt x="271345" y="157773"/>
                    <a:pt x="272460" y="178509"/>
                  </a:cubicBezTo>
                  <a:lnTo>
                    <a:pt x="272460" y="515123"/>
                  </a:lnTo>
                  <a:cubicBezTo>
                    <a:pt x="272460" y="534173"/>
                    <a:pt x="259315" y="541507"/>
                    <a:pt x="243027" y="532172"/>
                  </a:cubicBezTo>
                  <a:lnTo>
                    <a:pt x="29191" y="408347"/>
                  </a:lnTo>
                  <a:cubicBezTo>
                    <a:pt x="11875" y="397089"/>
                    <a:pt x="921" y="378286"/>
                    <a:pt x="-336" y="357674"/>
                  </a:cubicBezTo>
                  <a:close/>
                </a:path>
              </a:pathLst>
            </a:custGeom>
            <a:solidFill>
              <a:srgbClr val="D1D9E8"/>
            </a:solidFill>
            <a:ln w="9525" cap="flat">
              <a:noFill/>
              <a:prstDash val="solid"/>
              <a:miter/>
            </a:ln>
          </p:spPr>
          <p:txBody>
            <a:bodyPr rtlCol="0" anchor="ctr"/>
            <a:lstStyle/>
            <a:p>
              <a:endParaRPr lang="zh-CN" altLang="en-US"/>
            </a:p>
          </p:txBody>
        </p:sp>
        <p:sp>
          <p:nvSpPr>
            <p:cNvPr id="822" name="iṩļíḍê">
              <a:extLst>
                <a:ext uri="{FF2B5EF4-FFF2-40B4-BE49-F238E27FC236}">
                  <a16:creationId xmlns:a16="http://schemas.microsoft.com/office/drawing/2014/main" id="{8C056275-4AD6-4C10-AAC2-85CA85873F13}"/>
                </a:ext>
              </a:extLst>
            </p:cNvPr>
            <p:cNvSpPr/>
            <p:nvPr/>
          </p:nvSpPr>
          <p:spPr>
            <a:xfrm>
              <a:off x="5643026" y="2274595"/>
              <a:ext cx="830368" cy="1633834"/>
            </a:xfrm>
            <a:custGeom>
              <a:avLst/>
              <a:gdLst>
                <a:gd name="connsiteX0" fmla="*/ -336 w 272795"/>
                <a:gd name="connsiteY0" fmla="*/ 357633 h 536752"/>
                <a:gd name="connsiteX1" fmla="*/ -336 w 272795"/>
                <a:gd name="connsiteY1" fmla="*/ 20924 h 536752"/>
                <a:gd name="connsiteX2" fmla="*/ 29191 w 272795"/>
                <a:gd name="connsiteY2" fmla="*/ 3874 h 536752"/>
                <a:gd name="connsiteX3" fmla="*/ 242932 w 272795"/>
                <a:gd name="connsiteY3" fmla="*/ 127699 h 536752"/>
                <a:gd name="connsiteX4" fmla="*/ 272460 w 272795"/>
                <a:gd name="connsiteY4" fmla="*/ 178753 h 536752"/>
                <a:gd name="connsiteX5" fmla="*/ 272460 w 272795"/>
                <a:gd name="connsiteY5" fmla="*/ 515462 h 536752"/>
                <a:gd name="connsiteX6" fmla="*/ 242932 w 272795"/>
                <a:gd name="connsiteY6" fmla="*/ 532512 h 536752"/>
                <a:gd name="connsiteX7" fmla="*/ 29191 w 272795"/>
                <a:gd name="connsiteY7" fmla="*/ 408687 h 536752"/>
                <a:gd name="connsiteX8" fmla="*/ -336 w 272795"/>
                <a:gd name="connsiteY8" fmla="*/ 357633 h 5367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2795" h="536752">
                  <a:moveTo>
                    <a:pt x="-336" y="357633"/>
                  </a:moveTo>
                  <a:lnTo>
                    <a:pt x="-336" y="20924"/>
                  </a:lnTo>
                  <a:cubicBezTo>
                    <a:pt x="-336" y="1874"/>
                    <a:pt x="12903" y="-5460"/>
                    <a:pt x="29191" y="3874"/>
                  </a:cubicBezTo>
                  <a:lnTo>
                    <a:pt x="242932" y="127699"/>
                  </a:lnTo>
                  <a:cubicBezTo>
                    <a:pt x="260344" y="139043"/>
                    <a:pt x="271307" y="158008"/>
                    <a:pt x="272460" y="178753"/>
                  </a:cubicBezTo>
                  <a:lnTo>
                    <a:pt x="272460" y="515462"/>
                  </a:lnTo>
                  <a:cubicBezTo>
                    <a:pt x="272460" y="534512"/>
                    <a:pt x="259220" y="541941"/>
                    <a:pt x="242932" y="532512"/>
                  </a:cubicBezTo>
                  <a:lnTo>
                    <a:pt x="29191" y="408687"/>
                  </a:lnTo>
                  <a:cubicBezTo>
                    <a:pt x="11780" y="397342"/>
                    <a:pt x="816" y="378378"/>
                    <a:pt x="-336" y="357633"/>
                  </a:cubicBezTo>
                  <a:close/>
                </a:path>
              </a:pathLst>
            </a:custGeom>
            <a:solidFill>
              <a:srgbClr val="EDF4FF"/>
            </a:solidFill>
            <a:ln w="9525" cap="flat">
              <a:noFill/>
              <a:prstDash val="solid"/>
              <a:miter/>
            </a:ln>
          </p:spPr>
          <p:txBody>
            <a:bodyPr rtlCol="0" anchor="ctr"/>
            <a:lstStyle/>
            <a:p>
              <a:endParaRPr lang="zh-CN" altLang="en-US"/>
            </a:p>
          </p:txBody>
        </p:sp>
        <p:sp>
          <p:nvSpPr>
            <p:cNvPr id="823" name="ïş1íḍe">
              <a:extLst>
                <a:ext uri="{FF2B5EF4-FFF2-40B4-BE49-F238E27FC236}">
                  <a16:creationId xmlns:a16="http://schemas.microsoft.com/office/drawing/2014/main" id="{B5F245E8-E8BA-46C7-A37C-C6EBF002BE92}"/>
                </a:ext>
              </a:extLst>
            </p:cNvPr>
            <p:cNvSpPr/>
            <p:nvPr/>
          </p:nvSpPr>
          <p:spPr>
            <a:xfrm>
              <a:off x="5963819" y="2599522"/>
              <a:ext cx="431315" cy="268967"/>
            </a:xfrm>
            <a:custGeom>
              <a:avLst/>
              <a:gdLst>
                <a:gd name="connsiteX0" fmla="*/ 134115 w 141697"/>
                <a:gd name="connsiteY0" fmla="*/ 88009 h 88362"/>
                <a:gd name="connsiteX1" fmla="*/ 130400 w 141697"/>
                <a:gd name="connsiteY1" fmla="*/ 87057 h 88362"/>
                <a:gd name="connsiteX2" fmla="*/ 2670 w 141697"/>
                <a:gd name="connsiteY2" fmla="*/ 13238 h 88362"/>
                <a:gd name="connsiteX3" fmla="*/ 1127 w 141697"/>
                <a:gd name="connsiteY3" fmla="*/ 2846 h 88362"/>
                <a:gd name="connsiteX4" fmla="*/ 10100 w 141697"/>
                <a:gd name="connsiteY4" fmla="*/ 474 h 88362"/>
                <a:gd name="connsiteX5" fmla="*/ 137735 w 141697"/>
                <a:gd name="connsiteY5" fmla="*/ 74388 h 88362"/>
                <a:gd name="connsiteX6" fmla="*/ 140316 w 141697"/>
                <a:gd name="connsiteY6" fmla="*/ 84571 h 88362"/>
                <a:gd name="connsiteX7" fmla="*/ 134020 w 141697"/>
                <a:gd name="connsiteY7" fmla="*/ 88200 h 883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1697" h="88362">
                  <a:moveTo>
                    <a:pt x="134115" y="88009"/>
                  </a:moveTo>
                  <a:cubicBezTo>
                    <a:pt x="132820" y="88009"/>
                    <a:pt x="131544" y="87685"/>
                    <a:pt x="130400" y="87057"/>
                  </a:cubicBezTo>
                  <a:lnTo>
                    <a:pt x="2670" y="13238"/>
                  </a:lnTo>
                  <a:cubicBezTo>
                    <a:pt x="-625" y="10800"/>
                    <a:pt x="-1321" y="6142"/>
                    <a:pt x="1127" y="2846"/>
                  </a:cubicBezTo>
                  <a:cubicBezTo>
                    <a:pt x="3194" y="55"/>
                    <a:pt x="6918" y="-935"/>
                    <a:pt x="10100" y="474"/>
                  </a:cubicBezTo>
                  <a:lnTo>
                    <a:pt x="137735" y="74388"/>
                  </a:lnTo>
                  <a:cubicBezTo>
                    <a:pt x="141259" y="76493"/>
                    <a:pt x="142412" y="81046"/>
                    <a:pt x="140316" y="84571"/>
                  </a:cubicBezTo>
                  <a:cubicBezTo>
                    <a:pt x="138992" y="86799"/>
                    <a:pt x="136611" y="88171"/>
                    <a:pt x="134020" y="88200"/>
                  </a:cubicBezTo>
                  <a:close/>
                </a:path>
              </a:pathLst>
            </a:custGeom>
            <a:solidFill>
              <a:srgbClr val="D1D9E8"/>
            </a:solidFill>
            <a:ln w="9525" cap="flat">
              <a:noFill/>
              <a:prstDash val="solid"/>
              <a:miter/>
            </a:ln>
          </p:spPr>
          <p:txBody>
            <a:bodyPr rtlCol="0" anchor="ctr"/>
            <a:lstStyle/>
            <a:p>
              <a:endParaRPr lang="zh-CN" altLang="en-US"/>
            </a:p>
          </p:txBody>
        </p:sp>
        <p:sp>
          <p:nvSpPr>
            <p:cNvPr id="824" name="iṩḻíḓè">
              <a:extLst>
                <a:ext uri="{FF2B5EF4-FFF2-40B4-BE49-F238E27FC236}">
                  <a16:creationId xmlns:a16="http://schemas.microsoft.com/office/drawing/2014/main" id="{993562D3-3035-4D56-B631-75DD1C92C6F3}"/>
                </a:ext>
              </a:extLst>
            </p:cNvPr>
            <p:cNvSpPr/>
            <p:nvPr/>
          </p:nvSpPr>
          <p:spPr>
            <a:xfrm>
              <a:off x="5962318" y="2676789"/>
              <a:ext cx="433108" cy="269111"/>
            </a:xfrm>
            <a:custGeom>
              <a:avLst/>
              <a:gdLst>
                <a:gd name="connsiteX0" fmla="*/ 134608 w 142286"/>
                <a:gd name="connsiteY0" fmla="*/ 88247 h 88409"/>
                <a:gd name="connsiteX1" fmla="*/ 130893 w 142286"/>
                <a:gd name="connsiteY1" fmla="*/ 87295 h 88409"/>
                <a:gd name="connsiteX2" fmla="*/ 3163 w 142286"/>
                <a:gd name="connsiteY2" fmla="*/ 13571 h 88409"/>
                <a:gd name="connsiteX3" fmla="*/ 792 w 142286"/>
                <a:gd name="connsiteY3" fmla="*/ 3341 h 88409"/>
                <a:gd name="connsiteX4" fmla="*/ 10593 w 142286"/>
                <a:gd name="connsiteY4" fmla="*/ 713 h 88409"/>
                <a:gd name="connsiteX5" fmla="*/ 138323 w 142286"/>
                <a:gd name="connsiteY5" fmla="*/ 74436 h 88409"/>
                <a:gd name="connsiteX6" fmla="*/ 140905 w 142286"/>
                <a:gd name="connsiteY6" fmla="*/ 84618 h 88409"/>
                <a:gd name="connsiteX7" fmla="*/ 134608 w 142286"/>
                <a:gd name="connsiteY7" fmla="*/ 88247 h 88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2286" h="88409">
                  <a:moveTo>
                    <a:pt x="134608" y="88247"/>
                  </a:moveTo>
                  <a:cubicBezTo>
                    <a:pt x="133313" y="88247"/>
                    <a:pt x="132037" y="87923"/>
                    <a:pt x="130893" y="87295"/>
                  </a:cubicBezTo>
                  <a:lnTo>
                    <a:pt x="3163" y="13571"/>
                  </a:lnTo>
                  <a:cubicBezTo>
                    <a:pt x="-323" y="11400"/>
                    <a:pt x="-1380" y="6818"/>
                    <a:pt x="792" y="3341"/>
                  </a:cubicBezTo>
                  <a:cubicBezTo>
                    <a:pt x="2859" y="17"/>
                    <a:pt x="7145" y="-1126"/>
                    <a:pt x="10593" y="713"/>
                  </a:cubicBezTo>
                  <a:lnTo>
                    <a:pt x="138323" y="74436"/>
                  </a:lnTo>
                  <a:cubicBezTo>
                    <a:pt x="141847" y="76541"/>
                    <a:pt x="143000" y="81094"/>
                    <a:pt x="140905" y="84618"/>
                  </a:cubicBezTo>
                  <a:cubicBezTo>
                    <a:pt x="139580" y="86847"/>
                    <a:pt x="137199" y="88219"/>
                    <a:pt x="134608" y="88247"/>
                  </a:cubicBezTo>
                  <a:close/>
                </a:path>
              </a:pathLst>
            </a:custGeom>
            <a:solidFill>
              <a:srgbClr val="D1D9E8"/>
            </a:solidFill>
            <a:ln w="9525" cap="flat">
              <a:noFill/>
              <a:prstDash val="solid"/>
              <a:miter/>
            </a:ln>
          </p:spPr>
          <p:txBody>
            <a:bodyPr rtlCol="0" anchor="ctr"/>
            <a:lstStyle/>
            <a:p>
              <a:endParaRPr lang="zh-CN" altLang="en-US"/>
            </a:p>
          </p:txBody>
        </p:sp>
        <p:sp>
          <p:nvSpPr>
            <p:cNvPr id="825" name="iŝḻiḑe">
              <a:extLst>
                <a:ext uri="{FF2B5EF4-FFF2-40B4-BE49-F238E27FC236}">
                  <a16:creationId xmlns:a16="http://schemas.microsoft.com/office/drawing/2014/main" id="{64F59885-A00C-472A-B6A7-DB5AAC53509D}"/>
                </a:ext>
              </a:extLst>
            </p:cNvPr>
            <p:cNvSpPr/>
            <p:nvPr/>
          </p:nvSpPr>
          <p:spPr>
            <a:xfrm>
              <a:off x="5716743" y="3357576"/>
              <a:ext cx="433985" cy="269668"/>
            </a:xfrm>
            <a:custGeom>
              <a:avLst/>
              <a:gdLst>
                <a:gd name="connsiteX0" fmla="*/ 134798 w 142574"/>
                <a:gd name="connsiteY0" fmla="*/ 88430 h 88592"/>
                <a:gd name="connsiteX1" fmla="*/ 131084 w 142574"/>
                <a:gd name="connsiteY1" fmla="*/ 87383 h 88592"/>
                <a:gd name="connsiteX2" fmla="*/ 3353 w 142574"/>
                <a:gd name="connsiteY2" fmla="*/ 13659 h 88592"/>
                <a:gd name="connsiteX3" fmla="*/ 639 w 142574"/>
                <a:gd name="connsiteY3" fmla="*/ 3648 h 88592"/>
                <a:gd name="connsiteX4" fmla="*/ 686 w 142574"/>
                <a:gd name="connsiteY4" fmla="*/ 3563 h 88592"/>
                <a:gd name="connsiteX5" fmla="*/ 10783 w 142574"/>
                <a:gd name="connsiteY5" fmla="*/ 800 h 88592"/>
                <a:gd name="connsiteX6" fmla="*/ 138513 w 142574"/>
                <a:gd name="connsiteY6" fmla="*/ 74619 h 88592"/>
                <a:gd name="connsiteX7" fmla="*/ 141275 w 142574"/>
                <a:gd name="connsiteY7" fmla="*/ 84716 h 88592"/>
                <a:gd name="connsiteX8" fmla="*/ 134798 w 142574"/>
                <a:gd name="connsiteY8" fmla="*/ 88430 h 885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574" h="88592">
                  <a:moveTo>
                    <a:pt x="134798" y="88430"/>
                  </a:moveTo>
                  <a:cubicBezTo>
                    <a:pt x="133493" y="88402"/>
                    <a:pt x="132217" y="88040"/>
                    <a:pt x="131084" y="87383"/>
                  </a:cubicBezTo>
                  <a:lnTo>
                    <a:pt x="3353" y="13659"/>
                  </a:lnTo>
                  <a:cubicBezTo>
                    <a:pt x="-161" y="11649"/>
                    <a:pt x="-1381" y="7163"/>
                    <a:pt x="639" y="3648"/>
                  </a:cubicBezTo>
                  <a:cubicBezTo>
                    <a:pt x="648" y="3620"/>
                    <a:pt x="667" y="3591"/>
                    <a:pt x="686" y="3563"/>
                  </a:cubicBezTo>
                  <a:cubicBezTo>
                    <a:pt x="2725" y="29"/>
                    <a:pt x="7230" y="-1209"/>
                    <a:pt x="10783" y="800"/>
                  </a:cubicBezTo>
                  <a:lnTo>
                    <a:pt x="138513" y="74619"/>
                  </a:lnTo>
                  <a:cubicBezTo>
                    <a:pt x="142047" y="76658"/>
                    <a:pt x="143285" y="81163"/>
                    <a:pt x="141275" y="84716"/>
                  </a:cubicBezTo>
                  <a:cubicBezTo>
                    <a:pt x="139923" y="87011"/>
                    <a:pt x="137465" y="88430"/>
                    <a:pt x="134798" y="88430"/>
                  </a:cubicBezTo>
                  <a:close/>
                </a:path>
              </a:pathLst>
            </a:custGeom>
            <a:solidFill>
              <a:srgbClr val="D1D9E8"/>
            </a:solidFill>
            <a:ln w="9525" cap="flat">
              <a:noFill/>
              <a:prstDash val="solid"/>
              <a:miter/>
            </a:ln>
          </p:spPr>
          <p:txBody>
            <a:bodyPr rtlCol="0" anchor="ctr"/>
            <a:lstStyle/>
            <a:p>
              <a:endParaRPr lang="zh-CN" altLang="en-US"/>
            </a:p>
          </p:txBody>
        </p:sp>
        <p:sp>
          <p:nvSpPr>
            <p:cNvPr id="826" name="íṧ1îḓê">
              <a:extLst>
                <a:ext uri="{FF2B5EF4-FFF2-40B4-BE49-F238E27FC236}">
                  <a16:creationId xmlns:a16="http://schemas.microsoft.com/office/drawing/2014/main" id="{1EC2C900-F6A5-4629-9C62-2C181DC65BF5}"/>
                </a:ext>
              </a:extLst>
            </p:cNvPr>
            <p:cNvSpPr/>
            <p:nvPr/>
          </p:nvSpPr>
          <p:spPr>
            <a:xfrm>
              <a:off x="5721017" y="2673928"/>
              <a:ext cx="674397" cy="922602"/>
            </a:xfrm>
            <a:custGeom>
              <a:avLst/>
              <a:gdLst>
                <a:gd name="connsiteX0" fmla="*/ 192640 w 221555"/>
                <a:gd name="connsiteY0" fmla="*/ 299023 h 303096"/>
                <a:gd name="connsiteX1" fmla="*/ 28239 w 221555"/>
                <a:gd name="connsiteY1" fmla="*/ 203773 h 303096"/>
                <a:gd name="connsiteX2" fmla="*/ -336 w 221555"/>
                <a:gd name="connsiteY2" fmla="*/ 153767 h 303096"/>
                <a:gd name="connsiteX3" fmla="*/ -336 w 221555"/>
                <a:gd name="connsiteY3" fmla="*/ 20417 h 303096"/>
                <a:gd name="connsiteX4" fmla="*/ 28239 w 221555"/>
                <a:gd name="connsiteY4" fmla="*/ 3748 h 303096"/>
                <a:gd name="connsiteX5" fmla="*/ 192640 w 221555"/>
                <a:gd name="connsiteY5" fmla="*/ 98998 h 303096"/>
                <a:gd name="connsiteX6" fmla="*/ 221215 w 221555"/>
                <a:gd name="connsiteY6" fmla="*/ 149004 h 303096"/>
                <a:gd name="connsiteX7" fmla="*/ 221215 w 221555"/>
                <a:gd name="connsiteY7" fmla="*/ 282354 h 303096"/>
                <a:gd name="connsiteX8" fmla="*/ 192640 w 221555"/>
                <a:gd name="connsiteY8" fmla="*/ 299023 h 303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1555" h="303096">
                  <a:moveTo>
                    <a:pt x="192640" y="299023"/>
                  </a:moveTo>
                  <a:lnTo>
                    <a:pt x="28239" y="203773"/>
                  </a:lnTo>
                  <a:cubicBezTo>
                    <a:pt x="11293" y="192610"/>
                    <a:pt x="683" y="174036"/>
                    <a:pt x="-336" y="153767"/>
                  </a:cubicBezTo>
                  <a:lnTo>
                    <a:pt x="-336" y="20417"/>
                  </a:lnTo>
                  <a:cubicBezTo>
                    <a:pt x="-336" y="2034"/>
                    <a:pt x="12618" y="-5396"/>
                    <a:pt x="28239" y="3748"/>
                  </a:cubicBezTo>
                  <a:lnTo>
                    <a:pt x="192640" y="98998"/>
                  </a:lnTo>
                  <a:cubicBezTo>
                    <a:pt x="209547" y="110200"/>
                    <a:pt x="220148" y="128754"/>
                    <a:pt x="221215" y="149004"/>
                  </a:cubicBezTo>
                  <a:lnTo>
                    <a:pt x="221215" y="282354"/>
                  </a:lnTo>
                  <a:cubicBezTo>
                    <a:pt x="221501" y="300738"/>
                    <a:pt x="208547" y="308167"/>
                    <a:pt x="192640" y="299023"/>
                  </a:cubicBezTo>
                  <a:close/>
                </a:path>
              </a:pathLst>
            </a:custGeom>
            <a:solidFill>
              <a:srgbClr val="D1D9E8"/>
            </a:solidFill>
            <a:ln w="9525" cap="flat">
              <a:noFill/>
              <a:prstDash val="solid"/>
              <a:miter/>
            </a:ln>
          </p:spPr>
          <p:txBody>
            <a:bodyPr rtlCol="0" anchor="ctr"/>
            <a:lstStyle/>
            <a:p>
              <a:endParaRPr lang="zh-CN" altLang="en-US"/>
            </a:p>
          </p:txBody>
        </p:sp>
        <p:sp>
          <p:nvSpPr>
            <p:cNvPr id="827" name="iṡļiḑè">
              <a:extLst>
                <a:ext uri="{FF2B5EF4-FFF2-40B4-BE49-F238E27FC236}">
                  <a16:creationId xmlns:a16="http://schemas.microsoft.com/office/drawing/2014/main" id="{1B134461-EF03-4910-8FE7-C60869608561}"/>
                </a:ext>
              </a:extLst>
            </p:cNvPr>
            <p:cNvSpPr/>
            <p:nvPr/>
          </p:nvSpPr>
          <p:spPr>
            <a:xfrm>
              <a:off x="5684667" y="2813404"/>
              <a:ext cx="92307" cy="154534"/>
            </a:xfrm>
            <a:custGeom>
              <a:avLst/>
              <a:gdLst>
                <a:gd name="connsiteX0" fmla="*/ 12272 w 30325"/>
                <a:gd name="connsiteY0" fmla="*/ 50606 h 50768"/>
                <a:gd name="connsiteX1" fmla="*/ 29989 w 30325"/>
                <a:gd name="connsiteY1" fmla="*/ 40414 h 50768"/>
                <a:gd name="connsiteX2" fmla="*/ 17416 w 30325"/>
                <a:gd name="connsiteY2" fmla="*/ 3171 h 50768"/>
                <a:gd name="connsiteX3" fmla="*/ 17416 w 30325"/>
                <a:gd name="connsiteY3" fmla="*/ -163 h 50768"/>
                <a:gd name="connsiteX4" fmla="*/ -301 w 30325"/>
                <a:gd name="connsiteY4" fmla="*/ 10029 h 50768"/>
                <a:gd name="connsiteX5" fmla="*/ -301 w 30325"/>
                <a:gd name="connsiteY5" fmla="*/ 12220 h 50768"/>
                <a:gd name="connsiteX6" fmla="*/ -301 w 30325"/>
                <a:gd name="connsiteY6" fmla="*/ 12220 h 50768"/>
                <a:gd name="connsiteX7" fmla="*/ -301 w 30325"/>
                <a:gd name="connsiteY7" fmla="*/ 13363 h 50768"/>
                <a:gd name="connsiteX8" fmla="*/ 12272 w 30325"/>
                <a:gd name="connsiteY8" fmla="*/ 50606 h 50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325" h="50768">
                  <a:moveTo>
                    <a:pt x="12272" y="50606"/>
                  </a:moveTo>
                  <a:lnTo>
                    <a:pt x="29989" y="40414"/>
                  </a:lnTo>
                  <a:cubicBezTo>
                    <a:pt x="22321" y="29460"/>
                    <a:pt x="17949" y="16535"/>
                    <a:pt x="17416" y="3171"/>
                  </a:cubicBezTo>
                  <a:cubicBezTo>
                    <a:pt x="17416" y="2028"/>
                    <a:pt x="17416" y="885"/>
                    <a:pt x="17416" y="-163"/>
                  </a:cubicBezTo>
                  <a:lnTo>
                    <a:pt x="-301" y="10029"/>
                  </a:lnTo>
                  <a:cubicBezTo>
                    <a:pt x="-301" y="10696"/>
                    <a:pt x="-301" y="11458"/>
                    <a:pt x="-301" y="12220"/>
                  </a:cubicBezTo>
                  <a:lnTo>
                    <a:pt x="-301" y="12220"/>
                  </a:lnTo>
                  <a:cubicBezTo>
                    <a:pt x="-348" y="12601"/>
                    <a:pt x="-348" y="12982"/>
                    <a:pt x="-301" y="13363"/>
                  </a:cubicBezTo>
                  <a:cubicBezTo>
                    <a:pt x="233" y="26726"/>
                    <a:pt x="4605" y="39652"/>
                    <a:pt x="12272" y="50606"/>
                  </a:cubicBezTo>
                  <a:close/>
                </a:path>
              </a:pathLst>
            </a:custGeom>
            <a:solidFill>
              <a:srgbClr val="214EA6"/>
            </a:solidFill>
            <a:ln w="9525" cap="flat">
              <a:noFill/>
              <a:prstDash val="solid"/>
              <a:miter/>
            </a:ln>
          </p:spPr>
          <p:txBody>
            <a:bodyPr rtlCol="0" anchor="ctr"/>
            <a:lstStyle/>
            <a:p>
              <a:endParaRPr lang="zh-CN" altLang="en-US"/>
            </a:p>
          </p:txBody>
        </p:sp>
        <p:sp>
          <p:nvSpPr>
            <p:cNvPr id="828" name="ïṧľîdé">
              <a:extLst>
                <a:ext uri="{FF2B5EF4-FFF2-40B4-BE49-F238E27FC236}">
                  <a16:creationId xmlns:a16="http://schemas.microsoft.com/office/drawing/2014/main" id="{4A73E1D4-A6C8-4D75-AA25-A4CDB96CB4DC}"/>
                </a:ext>
              </a:extLst>
            </p:cNvPr>
            <p:cNvSpPr/>
            <p:nvPr/>
          </p:nvSpPr>
          <p:spPr>
            <a:xfrm>
              <a:off x="5623021" y="2802385"/>
              <a:ext cx="100026" cy="199475"/>
            </a:xfrm>
            <a:custGeom>
              <a:avLst/>
              <a:gdLst>
                <a:gd name="connsiteX0" fmla="*/ 19761 w 32861"/>
                <a:gd name="connsiteY0" fmla="*/ 65369 h 65532"/>
                <a:gd name="connsiteX1" fmla="*/ 32525 w 32861"/>
                <a:gd name="connsiteY1" fmla="*/ 54225 h 65532"/>
                <a:gd name="connsiteX2" fmla="*/ 19952 w 32861"/>
                <a:gd name="connsiteY2" fmla="*/ 16982 h 65532"/>
                <a:gd name="connsiteX3" fmla="*/ 19952 w 32861"/>
                <a:gd name="connsiteY3" fmla="*/ 15839 h 65532"/>
                <a:gd name="connsiteX4" fmla="*/ 19952 w 32861"/>
                <a:gd name="connsiteY4" fmla="*/ 15839 h 65532"/>
                <a:gd name="connsiteX5" fmla="*/ 19952 w 32861"/>
                <a:gd name="connsiteY5" fmla="*/ 13649 h 65532"/>
                <a:gd name="connsiteX6" fmla="*/ 19190 w 32861"/>
                <a:gd name="connsiteY6" fmla="*/ 13077 h 65532"/>
                <a:gd name="connsiteX7" fmla="*/ -336 w 32861"/>
                <a:gd name="connsiteY7" fmla="*/ -163 h 65532"/>
                <a:gd name="connsiteX8" fmla="*/ -336 w 32861"/>
                <a:gd name="connsiteY8" fmla="*/ 5171 h 65532"/>
                <a:gd name="connsiteX9" fmla="*/ 19761 w 32861"/>
                <a:gd name="connsiteY9" fmla="*/ 65369 h 65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2861" h="65532">
                  <a:moveTo>
                    <a:pt x="19761" y="65369"/>
                  </a:moveTo>
                  <a:lnTo>
                    <a:pt x="32525" y="54225"/>
                  </a:lnTo>
                  <a:cubicBezTo>
                    <a:pt x="24857" y="43271"/>
                    <a:pt x="20485" y="30346"/>
                    <a:pt x="19952" y="16982"/>
                  </a:cubicBezTo>
                  <a:cubicBezTo>
                    <a:pt x="19904" y="16601"/>
                    <a:pt x="19904" y="16220"/>
                    <a:pt x="19952" y="15839"/>
                  </a:cubicBezTo>
                  <a:lnTo>
                    <a:pt x="19952" y="15839"/>
                  </a:lnTo>
                  <a:cubicBezTo>
                    <a:pt x="19952" y="15077"/>
                    <a:pt x="19952" y="14315"/>
                    <a:pt x="19952" y="13649"/>
                  </a:cubicBezTo>
                  <a:lnTo>
                    <a:pt x="19190" y="13077"/>
                  </a:lnTo>
                  <a:lnTo>
                    <a:pt x="-336" y="-163"/>
                  </a:lnTo>
                  <a:cubicBezTo>
                    <a:pt x="-336" y="1552"/>
                    <a:pt x="-336" y="3266"/>
                    <a:pt x="-336" y="5171"/>
                  </a:cubicBezTo>
                  <a:cubicBezTo>
                    <a:pt x="549" y="26736"/>
                    <a:pt x="7512" y="47605"/>
                    <a:pt x="19761" y="65369"/>
                  </a:cubicBezTo>
                  <a:close/>
                </a:path>
              </a:pathLst>
            </a:custGeom>
            <a:solidFill>
              <a:srgbClr val="316DE6"/>
            </a:solidFill>
            <a:ln w="9525" cap="flat">
              <a:noFill/>
              <a:prstDash val="solid"/>
              <a:miter/>
            </a:ln>
          </p:spPr>
          <p:txBody>
            <a:bodyPr rtlCol="0" anchor="ctr"/>
            <a:lstStyle/>
            <a:p>
              <a:endParaRPr lang="zh-CN" altLang="en-US"/>
            </a:p>
          </p:txBody>
        </p:sp>
        <p:sp>
          <p:nvSpPr>
            <p:cNvPr id="829" name="îŝlîḍé">
              <a:extLst>
                <a:ext uri="{FF2B5EF4-FFF2-40B4-BE49-F238E27FC236}">
                  <a16:creationId xmlns:a16="http://schemas.microsoft.com/office/drawing/2014/main" id="{E9406A8C-7ADA-4D4F-8048-8A09D241813C}"/>
                </a:ext>
              </a:extLst>
            </p:cNvPr>
            <p:cNvSpPr/>
            <p:nvPr/>
          </p:nvSpPr>
          <p:spPr>
            <a:xfrm>
              <a:off x="5623599" y="2757444"/>
              <a:ext cx="115392" cy="86688"/>
            </a:xfrm>
            <a:custGeom>
              <a:avLst/>
              <a:gdLst>
                <a:gd name="connsiteX0" fmla="*/ 0 w 37909"/>
                <a:gd name="connsiteY0" fmla="*/ 14668 h 28479"/>
                <a:gd name="connsiteX1" fmla="*/ 25527 w 37909"/>
                <a:gd name="connsiteY1" fmla="*/ 0 h 28479"/>
                <a:gd name="connsiteX2" fmla="*/ 37909 w 37909"/>
                <a:gd name="connsiteY2" fmla="*/ 18288 h 28479"/>
                <a:gd name="connsiteX3" fmla="*/ 20288 w 37909"/>
                <a:gd name="connsiteY3" fmla="*/ 28480 h 28479"/>
                <a:gd name="connsiteX4" fmla="*/ 0 w 37909"/>
                <a:gd name="connsiteY4" fmla="*/ 14668 h 284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09" h="28479">
                  <a:moveTo>
                    <a:pt x="0" y="14668"/>
                  </a:moveTo>
                  <a:lnTo>
                    <a:pt x="25527" y="0"/>
                  </a:lnTo>
                  <a:lnTo>
                    <a:pt x="37909" y="18288"/>
                  </a:lnTo>
                  <a:lnTo>
                    <a:pt x="20288" y="28480"/>
                  </a:lnTo>
                  <a:lnTo>
                    <a:pt x="0" y="14668"/>
                  </a:lnTo>
                  <a:close/>
                </a:path>
              </a:pathLst>
            </a:custGeom>
            <a:solidFill>
              <a:srgbClr val="323A82"/>
            </a:solidFill>
            <a:ln w="9525" cap="flat">
              <a:noFill/>
              <a:prstDash val="solid"/>
              <a:miter/>
            </a:ln>
          </p:spPr>
          <p:txBody>
            <a:bodyPr rtlCol="0" anchor="ctr"/>
            <a:lstStyle/>
            <a:p>
              <a:endParaRPr lang="zh-CN" altLang="en-US"/>
            </a:p>
          </p:txBody>
        </p:sp>
        <p:sp>
          <p:nvSpPr>
            <p:cNvPr id="830" name="ïšļíḑè">
              <a:extLst>
                <a:ext uri="{FF2B5EF4-FFF2-40B4-BE49-F238E27FC236}">
                  <a16:creationId xmlns:a16="http://schemas.microsoft.com/office/drawing/2014/main" id="{EA1258CE-D948-45DA-9436-79899DB17B28}"/>
                </a:ext>
              </a:extLst>
            </p:cNvPr>
            <p:cNvSpPr/>
            <p:nvPr/>
          </p:nvSpPr>
          <p:spPr>
            <a:xfrm>
              <a:off x="5684195" y="2936914"/>
              <a:ext cx="92487" cy="64653"/>
            </a:xfrm>
            <a:custGeom>
              <a:avLst/>
              <a:gdLst>
                <a:gd name="connsiteX0" fmla="*/ 0 w 30384"/>
                <a:gd name="connsiteY0" fmla="*/ 21241 h 21240"/>
                <a:gd name="connsiteX1" fmla="*/ 23622 w 30384"/>
                <a:gd name="connsiteY1" fmla="*/ 7715 h 21240"/>
                <a:gd name="connsiteX2" fmla="*/ 30385 w 30384"/>
                <a:gd name="connsiteY2" fmla="*/ 0 h 21240"/>
                <a:gd name="connsiteX3" fmla="*/ 12668 w 30384"/>
                <a:gd name="connsiteY3" fmla="*/ 10192 h 21240"/>
                <a:gd name="connsiteX4" fmla="*/ 0 w 30384"/>
                <a:gd name="connsiteY4" fmla="*/ 21241 h 212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384" h="21240">
                  <a:moveTo>
                    <a:pt x="0" y="21241"/>
                  </a:moveTo>
                  <a:lnTo>
                    <a:pt x="23622" y="7715"/>
                  </a:lnTo>
                  <a:lnTo>
                    <a:pt x="30385" y="0"/>
                  </a:lnTo>
                  <a:lnTo>
                    <a:pt x="12668" y="10192"/>
                  </a:lnTo>
                  <a:lnTo>
                    <a:pt x="0" y="21241"/>
                  </a:lnTo>
                  <a:close/>
                </a:path>
              </a:pathLst>
            </a:custGeom>
            <a:solidFill>
              <a:srgbClr val="171A42"/>
            </a:solidFill>
            <a:ln w="9525" cap="flat">
              <a:noFill/>
              <a:prstDash val="solid"/>
              <a:miter/>
            </a:ln>
          </p:spPr>
          <p:txBody>
            <a:bodyPr rtlCol="0" anchor="ctr"/>
            <a:lstStyle/>
            <a:p>
              <a:endParaRPr lang="zh-CN" altLang="en-US"/>
            </a:p>
          </p:txBody>
        </p:sp>
        <p:sp>
          <p:nvSpPr>
            <p:cNvPr id="831" name="isḻíḓé">
              <a:extLst>
                <a:ext uri="{FF2B5EF4-FFF2-40B4-BE49-F238E27FC236}">
                  <a16:creationId xmlns:a16="http://schemas.microsoft.com/office/drawing/2014/main" id="{5A73807E-06F1-4E91-B6DF-3591A48E13D7}"/>
                </a:ext>
              </a:extLst>
            </p:cNvPr>
            <p:cNvSpPr/>
            <p:nvPr/>
          </p:nvSpPr>
          <p:spPr>
            <a:xfrm>
              <a:off x="5735223" y="2763243"/>
              <a:ext cx="31021" cy="17685"/>
            </a:xfrm>
            <a:custGeom>
              <a:avLst/>
              <a:gdLst>
                <a:gd name="connsiteX0" fmla="*/ -336 w 10191"/>
                <a:gd name="connsiteY0" fmla="*/ 5647 h 5810"/>
                <a:gd name="connsiteX1" fmla="*/ 9855 w 10191"/>
                <a:gd name="connsiteY1" fmla="*/ -163 h 5810"/>
                <a:gd name="connsiteX2" fmla="*/ 2331 w 10191"/>
                <a:gd name="connsiteY2" fmla="*/ 2980 h 5810"/>
                <a:gd name="connsiteX3" fmla="*/ -336 w 10191"/>
                <a:gd name="connsiteY3" fmla="*/ 5647 h 5810"/>
              </a:gdLst>
              <a:ahLst/>
              <a:cxnLst>
                <a:cxn ang="0">
                  <a:pos x="connsiteX0" y="connsiteY0"/>
                </a:cxn>
                <a:cxn ang="0">
                  <a:pos x="connsiteX1" y="connsiteY1"/>
                </a:cxn>
                <a:cxn ang="0">
                  <a:pos x="connsiteX2" y="connsiteY2"/>
                </a:cxn>
                <a:cxn ang="0">
                  <a:pos x="connsiteX3" y="connsiteY3"/>
                </a:cxn>
              </a:cxnLst>
              <a:rect l="l" t="t" r="r" b="b"/>
              <a:pathLst>
                <a:path w="10191" h="5810">
                  <a:moveTo>
                    <a:pt x="-336" y="5647"/>
                  </a:moveTo>
                  <a:lnTo>
                    <a:pt x="9855" y="-163"/>
                  </a:lnTo>
                  <a:cubicBezTo>
                    <a:pt x="7122" y="218"/>
                    <a:pt x="4531" y="1304"/>
                    <a:pt x="2331" y="2980"/>
                  </a:cubicBezTo>
                  <a:cubicBezTo>
                    <a:pt x="1350" y="3771"/>
                    <a:pt x="454" y="4666"/>
                    <a:pt x="-336" y="5647"/>
                  </a:cubicBezTo>
                  <a:close/>
                </a:path>
              </a:pathLst>
            </a:custGeom>
            <a:solidFill>
              <a:srgbClr val="D9530B"/>
            </a:solidFill>
            <a:ln w="9525" cap="flat">
              <a:noFill/>
              <a:prstDash val="solid"/>
              <a:miter/>
            </a:ln>
          </p:spPr>
          <p:txBody>
            <a:bodyPr rtlCol="0" anchor="ctr"/>
            <a:lstStyle/>
            <a:p>
              <a:endParaRPr lang="zh-CN" altLang="en-US"/>
            </a:p>
          </p:txBody>
        </p:sp>
        <p:sp>
          <p:nvSpPr>
            <p:cNvPr id="832" name="ïśliḋê">
              <a:extLst>
                <a:ext uri="{FF2B5EF4-FFF2-40B4-BE49-F238E27FC236}">
                  <a16:creationId xmlns:a16="http://schemas.microsoft.com/office/drawing/2014/main" id="{F29405DE-2A04-4565-837A-930752D6186D}"/>
                </a:ext>
              </a:extLst>
            </p:cNvPr>
            <p:cNvSpPr/>
            <p:nvPr/>
          </p:nvSpPr>
          <p:spPr>
            <a:xfrm>
              <a:off x="5706230" y="2651093"/>
              <a:ext cx="281816" cy="172168"/>
            </a:xfrm>
            <a:custGeom>
              <a:avLst/>
              <a:gdLst>
                <a:gd name="connsiteX0" fmla="*/ 74530 w 92583"/>
                <a:gd name="connsiteY0" fmla="*/ 56399 h 56561"/>
                <a:gd name="connsiteX1" fmla="*/ 92247 w 92583"/>
                <a:gd name="connsiteY1" fmla="*/ 46207 h 56561"/>
                <a:gd name="connsiteX2" fmla="*/ 55099 w 92583"/>
                <a:gd name="connsiteY2" fmla="*/ 7250 h 56561"/>
                <a:gd name="connsiteX3" fmla="*/ 16999 w 92583"/>
                <a:gd name="connsiteY3" fmla="*/ 3440 h 56561"/>
                <a:gd name="connsiteX4" fmla="*/ -336 w 92583"/>
                <a:gd name="connsiteY4" fmla="*/ 13631 h 56561"/>
                <a:gd name="connsiteX5" fmla="*/ 9189 w 92583"/>
                <a:gd name="connsiteY5" fmla="*/ 10393 h 56561"/>
                <a:gd name="connsiteX6" fmla="*/ 10141 w 92583"/>
                <a:gd name="connsiteY6" fmla="*/ 10393 h 56561"/>
                <a:gd name="connsiteX7" fmla="*/ 37192 w 92583"/>
                <a:gd name="connsiteY7" fmla="*/ 17632 h 56561"/>
                <a:gd name="connsiteX8" fmla="*/ 53956 w 92583"/>
                <a:gd name="connsiteY8" fmla="*/ 30491 h 56561"/>
                <a:gd name="connsiteX9" fmla="*/ 53956 w 92583"/>
                <a:gd name="connsiteY9" fmla="*/ 30491 h 56561"/>
                <a:gd name="connsiteX10" fmla="*/ 74530 w 92583"/>
                <a:gd name="connsiteY10" fmla="*/ 56399 h 565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2583" h="56561">
                  <a:moveTo>
                    <a:pt x="74530" y="56399"/>
                  </a:moveTo>
                  <a:lnTo>
                    <a:pt x="92247" y="46207"/>
                  </a:lnTo>
                  <a:cubicBezTo>
                    <a:pt x="83303" y="30329"/>
                    <a:pt x="70539" y="16936"/>
                    <a:pt x="55099" y="7250"/>
                  </a:cubicBezTo>
                  <a:cubicBezTo>
                    <a:pt x="40240" y="-1323"/>
                    <a:pt x="26524" y="-2275"/>
                    <a:pt x="16999" y="3440"/>
                  </a:cubicBezTo>
                  <a:lnTo>
                    <a:pt x="-336" y="13631"/>
                  </a:lnTo>
                  <a:cubicBezTo>
                    <a:pt x="2588" y="11917"/>
                    <a:pt x="5826" y="10812"/>
                    <a:pt x="9189" y="10393"/>
                  </a:cubicBezTo>
                  <a:lnTo>
                    <a:pt x="10141" y="10393"/>
                  </a:lnTo>
                  <a:cubicBezTo>
                    <a:pt x="19695" y="9945"/>
                    <a:pt x="29144" y="12479"/>
                    <a:pt x="37192" y="17632"/>
                  </a:cubicBezTo>
                  <a:cubicBezTo>
                    <a:pt x="43260" y="21251"/>
                    <a:pt x="48879" y="25576"/>
                    <a:pt x="53956" y="30491"/>
                  </a:cubicBezTo>
                  <a:lnTo>
                    <a:pt x="53956" y="30491"/>
                  </a:lnTo>
                  <a:cubicBezTo>
                    <a:pt x="61948" y="38158"/>
                    <a:pt x="68872" y="46874"/>
                    <a:pt x="74530" y="56399"/>
                  </a:cubicBezTo>
                  <a:close/>
                </a:path>
              </a:pathLst>
            </a:custGeom>
            <a:solidFill>
              <a:srgbClr val="D9530B"/>
            </a:solidFill>
            <a:ln w="9525" cap="flat">
              <a:noFill/>
              <a:prstDash val="solid"/>
              <a:miter/>
            </a:ln>
          </p:spPr>
          <p:txBody>
            <a:bodyPr rtlCol="0" anchor="ctr"/>
            <a:lstStyle/>
            <a:p>
              <a:endParaRPr lang="zh-CN" altLang="en-US"/>
            </a:p>
          </p:txBody>
        </p:sp>
        <p:sp>
          <p:nvSpPr>
            <p:cNvPr id="833" name="îsḻîḑê">
              <a:extLst>
                <a:ext uri="{FF2B5EF4-FFF2-40B4-BE49-F238E27FC236}">
                  <a16:creationId xmlns:a16="http://schemas.microsoft.com/office/drawing/2014/main" id="{55CB0A6F-EB1D-46AE-8BE3-46E54E88FAA6}"/>
                </a:ext>
              </a:extLst>
            </p:cNvPr>
            <p:cNvSpPr/>
            <p:nvPr/>
          </p:nvSpPr>
          <p:spPr>
            <a:xfrm>
              <a:off x="5685936" y="2682488"/>
              <a:ext cx="248181" cy="167154"/>
            </a:xfrm>
            <a:custGeom>
              <a:avLst/>
              <a:gdLst>
                <a:gd name="connsiteX0" fmla="*/ 67005 w 81533"/>
                <a:gd name="connsiteY0" fmla="*/ 54752 h 54914"/>
                <a:gd name="connsiteX1" fmla="*/ 81198 w 81533"/>
                <a:gd name="connsiteY1" fmla="*/ 46084 h 54914"/>
                <a:gd name="connsiteX2" fmla="*/ 60814 w 81533"/>
                <a:gd name="connsiteY2" fmla="*/ 19986 h 54914"/>
                <a:gd name="connsiteX3" fmla="*/ 60814 w 81533"/>
                <a:gd name="connsiteY3" fmla="*/ 19986 h 54914"/>
                <a:gd name="connsiteX4" fmla="*/ 44431 w 81533"/>
                <a:gd name="connsiteY4" fmla="*/ 7127 h 54914"/>
                <a:gd name="connsiteX5" fmla="*/ 17380 w 81533"/>
                <a:gd name="connsiteY5" fmla="*/ -112 h 54914"/>
                <a:gd name="connsiteX6" fmla="*/ 16428 w 81533"/>
                <a:gd name="connsiteY6" fmla="*/ -112 h 54914"/>
                <a:gd name="connsiteX7" fmla="*/ 6903 w 81533"/>
                <a:gd name="connsiteY7" fmla="*/ 3127 h 54914"/>
                <a:gd name="connsiteX8" fmla="*/ -336 w 81533"/>
                <a:gd name="connsiteY8" fmla="*/ 9318 h 54914"/>
                <a:gd name="connsiteX9" fmla="*/ 9189 w 81533"/>
                <a:gd name="connsiteY9" fmla="*/ 21891 h 54914"/>
                <a:gd name="connsiteX10" fmla="*/ 9855 w 81533"/>
                <a:gd name="connsiteY10" fmla="*/ 22748 h 54914"/>
                <a:gd name="connsiteX11" fmla="*/ 9855 w 81533"/>
                <a:gd name="connsiteY11" fmla="*/ 22748 h 54914"/>
                <a:gd name="connsiteX12" fmla="*/ 16809 w 81533"/>
                <a:gd name="connsiteY12" fmla="*/ 32273 h 54914"/>
                <a:gd name="connsiteX13" fmla="*/ 19476 w 81533"/>
                <a:gd name="connsiteY13" fmla="*/ 29606 h 54914"/>
                <a:gd name="connsiteX14" fmla="*/ 27001 w 81533"/>
                <a:gd name="connsiteY14" fmla="*/ 26463 h 54914"/>
                <a:gd name="connsiteX15" fmla="*/ 31954 w 81533"/>
                <a:gd name="connsiteY15" fmla="*/ 26463 h 54914"/>
                <a:gd name="connsiteX16" fmla="*/ 44812 w 81533"/>
                <a:gd name="connsiteY16" fmla="*/ 30940 h 54914"/>
                <a:gd name="connsiteX17" fmla="*/ 67005 w 81533"/>
                <a:gd name="connsiteY17" fmla="*/ 54752 h 54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1533" h="54914">
                  <a:moveTo>
                    <a:pt x="67005" y="54752"/>
                  </a:moveTo>
                  <a:lnTo>
                    <a:pt x="81198" y="46084"/>
                  </a:lnTo>
                  <a:cubicBezTo>
                    <a:pt x="75607" y="36502"/>
                    <a:pt x="68749" y="27730"/>
                    <a:pt x="60814" y="19986"/>
                  </a:cubicBezTo>
                  <a:lnTo>
                    <a:pt x="60814" y="19986"/>
                  </a:lnTo>
                  <a:cubicBezTo>
                    <a:pt x="55861" y="15090"/>
                    <a:pt x="50365" y="10775"/>
                    <a:pt x="44431" y="7127"/>
                  </a:cubicBezTo>
                  <a:cubicBezTo>
                    <a:pt x="36383" y="1974"/>
                    <a:pt x="26934" y="-560"/>
                    <a:pt x="17380" y="-112"/>
                  </a:cubicBezTo>
                  <a:lnTo>
                    <a:pt x="16428" y="-112"/>
                  </a:lnTo>
                  <a:cubicBezTo>
                    <a:pt x="13065" y="307"/>
                    <a:pt x="9827" y="1412"/>
                    <a:pt x="6903" y="3127"/>
                  </a:cubicBezTo>
                  <a:cubicBezTo>
                    <a:pt x="4131" y="4736"/>
                    <a:pt x="1683" y="6832"/>
                    <a:pt x="-336" y="9318"/>
                  </a:cubicBezTo>
                  <a:lnTo>
                    <a:pt x="9189" y="21891"/>
                  </a:lnTo>
                  <a:lnTo>
                    <a:pt x="9855" y="22748"/>
                  </a:lnTo>
                  <a:lnTo>
                    <a:pt x="9855" y="22748"/>
                  </a:lnTo>
                  <a:lnTo>
                    <a:pt x="16809" y="32273"/>
                  </a:lnTo>
                  <a:cubicBezTo>
                    <a:pt x="17599" y="31292"/>
                    <a:pt x="18495" y="30397"/>
                    <a:pt x="19476" y="29606"/>
                  </a:cubicBezTo>
                  <a:cubicBezTo>
                    <a:pt x="21676" y="27930"/>
                    <a:pt x="24267" y="26844"/>
                    <a:pt x="27001" y="26463"/>
                  </a:cubicBezTo>
                  <a:cubicBezTo>
                    <a:pt x="28639" y="26215"/>
                    <a:pt x="30315" y="26215"/>
                    <a:pt x="31954" y="26463"/>
                  </a:cubicBezTo>
                  <a:cubicBezTo>
                    <a:pt x="36516" y="27015"/>
                    <a:pt x="40897" y="28539"/>
                    <a:pt x="44812" y="30940"/>
                  </a:cubicBezTo>
                  <a:cubicBezTo>
                    <a:pt x="54061" y="36921"/>
                    <a:pt x="61691" y="45103"/>
                    <a:pt x="67005" y="54752"/>
                  </a:cubicBezTo>
                  <a:close/>
                </a:path>
              </a:pathLst>
            </a:custGeom>
            <a:solidFill>
              <a:srgbClr val="FF7D33"/>
            </a:solidFill>
            <a:ln w="9525" cap="flat">
              <a:noFill/>
              <a:prstDash val="solid"/>
              <a:miter/>
            </a:ln>
          </p:spPr>
          <p:txBody>
            <a:bodyPr rtlCol="0" anchor="ctr"/>
            <a:lstStyle/>
            <a:p>
              <a:endParaRPr lang="zh-CN" altLang="en-US"/>
            </a:p>
          </p:txBody>
        </p:sp>
        <p:sp>
          <p:nvSpPr>
            <p:cNvPr id="834" name="ïṥļíḍê">
              <a:extLst>
                <a:ext uri="{FF2B5EF4-FFF2-40B4-BE49-F238E27FC236}">
                  <a16:creationId xmlns:a16="http://schemas.microsoft.com/office/drawing/2014/main" id="{1DBF95BD-F3B9-4C5C-ADEC-EE0283F866BF}"/>
                </a:ext>
              </a:extLst>
            </p:cNvPr>
            <p:cNvSpPr/>
            <p:nvPr/>
          </p:nvSpPr>
          <p:spPr>
            <a:xfrm>
              <a:off x="5934119" y="2792236"/>
              <a:ext cx="104041" cy="300950"/>
            </a:xfrm>
            <a:custGeom>
              <a:avLst/>
              <a:gdLst>
                <a:gd name="connsiteX0" fmla="*/ 140 w 34180"/>
                <a:gd name="connsiteY0" fmla="*/ 98707 h 98869"/>
                <a:gd name="connsiteX1" fmla="*/ 17856 w 34180"/>
                <a:gd name="connsiteY1" fmla="*/ 88515 h 98869"/>
                <a:gd name="connsiteX2" fmla="*/ 33668 w 34180"/>
                <a:gd name="connsiteY2" fmla="*/ 53844 h 98869"/>
                <a:gd name="connsiteX3" fmla="*/ 17380 w 34180"/>
                <a:gd name="connsiteY3" fmla="*/ -163 h 98869"/>
                <a:gd name="connsiteX4" fmla="*/ -336 w 34180"/>
                <a:gd name="connsiteY4" fmla="*/ 10029 h 98869"/>
                <a:gd name="connsiteX5" fmla="*/ 13285 w 34180"/>
                <a:gd name="connsiteY5" fmla="*/ 43081 h 98869"/>
                <a:gd name="connsiteX6" fmla="*/ 15952 w 34180"/>
                <a:gd name="connsiteY6" fmla="*/ 64036 h 98869"/>
                <a:gd name="connsiteX7" fmla="*/ 10998 w 34180"/>
                <a:gd name="connsiteY7" fmla="*/ 86991 h 98869"/>
                <a:gd name="connsiteX8" fmla="*/ 7951 w 34180"/>
                <a:gd name="connsiteY8" fmla="*/ 91754 h 98869"/>
                <a:gd name="connsiteX9" fmla="*/ 140 w 34180"/>
                <a:gd name="connsiteY9" fmla="*/ 98707 h 98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4180" h="98869">
                  <a:moveTo>
                    <a:pt x="140" y="98707"/>
                  </a:moveTo>
                  <a:lnTo>
                    <a:pt x="17856" y="88515"/>
                  </a:lnTo>
                  <a:cubicBezTo>
                    <a:pt x="28944" y="80609"/>
                    <a:pt x="34973" y="67398"/>
                    <a:pt x="33668" y="53844"/>
                  </a:cubicBezTo>
                  <a:cubicBezTo>
                    <a:pt x="32982" y="34737"/>
                    <a:pt x="27372" y="16135"/>
                    <a:pt x="17380" y="-163"/>
                  </a:cubicBezTo>
                  <a:lnTo>
                    <a:pt x="-336" y="10029"/>
                  </a:lnTo>
                  <a:cubicBezTo>
                    <a:pt x="5779" y="20326"/>
                    <a:pt x="10370" y="31460"/>
                    <a:pt x="13285" y="43081"/>
                  </a:cubicBezTo>
                  <a:cubicBezTo>
                    <a:pt x="14989" y="49939"/>
                    <a:pt x="15885" y="56968"/>
                    <a:pt x="15952" y="64036"/>
                  </a:cubicBezTo>
                  <a:cubicBezTo>
                    <a:pt x="16104" y="71970"/>
                    <a:pt x="14408" y="79828"/>
                    <a:pt x="10998" y="86991"/>
                  </a:cubicBezTo>
                  <a:cubicBezTo>
                    <a:pt x="10151" y="88677"/>
                    <a:pt x="9132" y="90277"/>
                    <a:pt x="7951" y="91754"/>
                  </a:cubicBezTo>
                  <a:cubicBezTo>
                    <a:pt x="5855" y="94582"/>
                    <a:pt x="3188" y="96945"/>
                    <a:pt x="140" y="98707"/>
                  </a:cubicBezTo>
                  <a:close/>
                </a:path>
              </a:pathLst>
            </a:custGeom>
            <a:solidFill>
              <a:srgbClr val="171A42"/>
            </a:solidFill>
            <a:ln w="9525" cap="flat">
              <a:noFill/>
              <a:prstDash val="solid"/>
              <a:miter/>
            </a:ln>
          </p:spPr>
          <p:txBody>
            <a:bodyPr rtlCol="0" anchor="ctr"/>
            <a:lstStyle/>
            <a:p>
              <a:endParaRPr lang="zh-CN" altLang="en-US"/>
            </a:p>
          </p:txBody>
        </p:sp>
        <p:sp>
          <p:nvSpPr>
            <p:cNvPr id="835" name="ïṧľîďê">
              <a:extLst>
                <a:ext uri="{FF2B5EF4-FFF2-40B4-BE49-F238E27FC236}">
                  <a16:creationId xmlns:a16="http://schemas.microsoft.com/office/drawing/2014/main" id="{9ED0951F-C03D-4CAE-8A53-84FF6AAA820C}"/>
                </a:ext>
              </a:extLst>
            </p:cNvPr>
            <p:cNvSpPr/>
            <p:nvPr/>
          </p:nvSpPr>
          <p:spPr>
            <a:xfrm>
              <a:off x="5882510" y="2823260"/>
              <a:ext cx="101214" cy="276596"/>
            </a:xfrm>
            <a:custGeom>
              <a:avLst/>
              <a:gdLst>
                <a:gd name="connsiteX0" fmla="*/ 17095 w 33251"/>
                <a:gd name="connsiteY0" fmla="*/ 88515 h 90868"/>
                <a:gd name="connsiteX1" fmla="*/ 24905 w 33251"/>
                <a:gd name="connsiteY1" fmla="*/ 81562 h 90868"/>
                <a:gd name="connsiteX2" fmla="*/ 27953 w 33251"/>
                <a:gd name="connsiteY2" fmla="*/ 76799 h 90868"/>
                <a:gd name="connsiteX3" fmla="*/ 32906 w 33251"/>
                <a:gd name="connsiteY3" fmla="*/ 53844 h 90868"/>
                <a:gd name="connsiteX4" fmla="*/ 30239 w 33251"/>
                <a:gd name="connsiteY4" fmla="*/ 32889 h 90868"/>
                <a:gd name="connsiteX5" fmla="*/ 16618 w 33251"/>
                <a:gd name="connsiteY5" fmla="*/ -163 h 90868"/>
                <a:gd name="connsiteX6" fmla="*/ 2426 w 33251"/>
                <a:gd name="connsiteY6" fmla="*/ 8505 h 90868"/>
                <a:gd name="connsiteX7" fmla="*/ 12522 w 33251"/>
                <a:gd name="connsiteY7" fmla="*/ 42033 h 90868"/>
                <a:gd name="connsiteX8" fmla="*/ 9951 w 33251"/>
                <a:gd name="connsiteY8" fmla="*/ 55463 h 90868"/>
                <a:gd name="connsiteX9" fmla="*/ 5474 w 33251"/>
                <a:gd name="connsiteY9" fmla="*/ 61559 h 90868"/>
                <a:gd name="connsiteX10" fmla="*/ -336 w 33251"/>
                <a:gd name="connsiteY10" fmla="*/ 64893 h 90868"/>
                <a:gd name="connsiteX11" fmla="*/ 6522 w 33251"/>
                <a:gd name="connsiteY11" fmla="*/ 79085 h 90868"/>
                <a:gd name="connsiteX12" fmla="*/ 12142 w 33251"/>
                <a:gd name="connsiteY12" fmla="*/ 90706 h 90868"/>
                <a:gd name="connsiteX13" fmla="*/ 17095 w 33251"/>
                <a:gd name="connsiteY13" fmla="*/ 88515 h 90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3251" h="90868">
                  <a:moveTo>
                    <a:pt x="17095" y="88515"/>
                  </a:moveTo>
                  <a:cubicBezTo>
                    <a:pt x="20143" y="86753"/>
                    <a:pt x="22810" y="84391"/>
                    <a:pt x="24905" y="81562"/>
                  </a:cubicBezTo>
                  <a:cubicBezTo>
                    <a:pt x="26086" y="80086"/>
                    <a:pt x="27105" y="78485"/>
                    <a:pt x="27953" y="76799"/>
                  </a:cubicBezTo>
                  <a:cubicBezTo>
                    <a:pt x="31363" y="69637"/>
                    <a:pt x="33058" y="61779"/>
                    <a:pt x="32906" y="53844"/>
                  </a:cubicBezTo>
                  <a:cubicBezTo>
                    <a:pt x="32839" y="46777"/>
                    <a:pt x="31944" y="39747"/>
                    <a:pt x="30239" y="32889"/>
                  </a:cubicBezTo>
                  <a:cubicBezTo>
                    <a:pt x="27324" y="21269"/>
                    <a:pt x="22733" y="10134"/>
                    <a:pt x="16618" y="-163"/>
                  </a:cubicBezTo>
                  <a:lnTo>
                    <a:pt x="2426" y="8505"/>
                  </a:lnTo>
                  <a:cubicBezTo>
                    <a:pt x="8646" y="18611"/>
                    <a:pt x="12132" y="30165"/>
                    <a:pt x="12522" y="42033"/>
                  </a:cubicBezTo>
                  <a:cubicBezTo>
                    <a:pt x="12618" y="46643"/>
                    <a:pt x="11741" y="51215"/>
                    <a:pt x="9951" y="55463"/>
                  </a:cubicBezTo>
                  <a:cubicBezTo>
                    <a:pt x="8865" y="57768"/>
                    <a:pt x="7341" y="59835"/>
                    <a:pt x="5474" y="61559"/>
                  </a:cubicBezTo>
                  <a:cubicBezTo>
                    <a:pt x="3807" y="63083"/>
                    <a:pt x="1826" y="64217"/>
                    <a:pt x="-336" y="64893"/>
                  </a:cubicBezTo>
                  <a:lnTo>
                    <a:pt x="6522" y="79085"/>
                  </a:lnTo>
                  <a:lnTo>
                    <a:pt x="12142" y="90706"/>
                  </a:lnTo>
                  <a:cubicBezTo>
                    <a:pt x="13856" y="90134"/>
                    <a:pt x="15513" y="89401"/>
                    <a:pt x="17095" y="88515"/>
                  </a:cubicBezTo>
                  <a:close/>
                </a:path>
              </a:pathLst>
            </a:custGeom>
            <a:solidFill>
              <a:srgbClr val="323A82"/>
            </a:solidFill>
            <a:ln w="9525" cap="flat">
              <a:noFill/>
              <a:prstDash val="solid"/>
              <a:miter/>
            </a:ln>
          </p:spPr>
          <p:txBody>
            <a:bodyPr rtlCol="0" anchor="ctr"/>
            <a:lstStyle/>
            <a:p>
              <a:endParaRPr lang="zh-CN" altLang="en-US"/>
            </a:p>
          </p:txBody>
        </p:sp>
        <p:sp>
          <p:nvSpPr>
            <p:cNvPr id="836" name="íṧḻidé">
              <a:extLst>
                <a:ext uri="{FF2B5EF4-FFF2-40B4-BE49-F238E27FC236}">
                  <a16:creationId xmlns:a16="http://schemas.microsoft.com/office/drawing/2014/main" id="{38392300-FEB3-4657-BDBB-A8519C3F0BB4}"/>
                </a:ext>
              </a:extLst>
            </p:cNvPr>
            <p:cNvSpPr/>
            <p:nvPr/>
          </p:nvSpPr>
          <p:spPr>
            <a:xfrm>
              <a:off x="5757547" y="2917199"/>
              <a:ext cx="156272" cy="104623"/>
            </a:xfrm>
            <a:custGeom>
              <a:avLst/>
              <a:gdLst>
                <a:gd name="connsiteX0" fmla="*/ 46527 w 51339"/>
                <a:gd name="connsiteY0" fmla="*/ 30698 h 34371"/>
                <a:gd name="connsiteX1" fmla="*/ 51004 w 51339"/>
                <a:gd name="connsiteY1" fmla="*/ 24602 h 34371"/>
                <a:gd name="connsiteX2" fmla="*/ 38049 w 51339"/>
                <a:gd name="connsiteY2" fmla="*/ 20126 h 34371"/>
                <a:gd name="connsiteX3" fmla="*/ 17380 w 51339"/>
                <a:gd name="connsiteY3" fmla="*/ -163 h 34371"/>
                <a:gd name="connsiteX4" fmla="*/ -336 w 51339"/>
                <a:gd name="connsiteY4" fmla="*/ 9934 h 34371"/>
                <a:gd name="connsiteX5" fmla="*/ 20333 w 51339"/>
                <a:gd name="connsiteY5" fmla="*/ 30317 h 34371"/>
                <a:gd name="connsiteX6" fmla="*/ 21286 w 51339"/>
                <a:gd name="connsiteY6" fmla="*/ 30317 h 34371"/>
                <a:gd name="connsiteX7" fmla="*/ 40336 w 51339"/>
                <a:gd name="connsiteY7" fmla="*/ 33556 h 34371"/>
                <a:gd name="connsiteX8" fmla="*/ 46527 w 51339"/>
                <a:gd name="connsiteY8" fmla="*/ 30698 h 34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339" h="34371">
                  <a:moveTo>
                    <a:pt x="46527" y="30698"/>
                  </a:moveTo>
                  <a:cubicBezTo>
                    <a:pt x="48394" y="28974"/>
                    <a:pt x="49918" y="26907"/>
                    <a:pt x="51004" y="24602"/>
                  </a:cubicBezTo>
                  <a:cubicBezTo>
                    <a:pt x="46413" y="24069"/>
                    <a:pt x="41993" y="22535"/>
                    <a:pt x="38049" y="20126"/>
                  </a:cubicBezTo>
                  <a:cubicBezTo>
                    <a:pt x="29734" y="14992"/>
                    <a:pt x="22667" y="8057"/>
                    <a:pt x="17380" y="-163"/>
                  </a:cubicBezTo>
                  <a:lnTo>
                    <a:pt x="-336" y="9934"/>
                  </a:lnTo>
                  <a:cubicBezTo>
                    <a:pt x="4950" y="18182"/>
                    <a:pt x="12008" y="25145"/>
                    <a:pt x="20333" y="30317"/>
                  </a:cubicBezTo>
                  <a:cubicBezTo>
                    <a:pt x="20647" y="30365"/>
                    <a:pt x="20971" y="30365"/>
                    <a:pt x="21286" y="30317"/>
                  </a:cubicBezTo>
                  <a:cubicBezTo>
                    <a:pt x="26943" y="33908"/>
                    <a:pt x="33811" y="35080"/>
                    <a:pt x="40336" y="33556"/>
                  </a:cubicBezTo>
                  <a:cubicBezTo>
                    <a:pt x="42583" y="33080"/>
                    <a:pt x="44698" y="32098"/>
                    <a:pt x="46527" y="30698"/>
                  </a:cubicBezTo>
                  <a:close/>
                </a:path>
              </a:pathLst>
            </a:custGeom>
            <a:solidFill>
              <a:srgbClr val="171A42"/>
            </a:solidFill>
            <a:ln w="9525" cap="flat">
              <a:noFill/>
              <a:prstDash val="solid"/>
              <a:miter/>
            </a:ln>
          </p:spPr>
          <p:txBody>
            <a:bodyPr rtlCol="0" anchor="ctr"/>
            <a:lstStyle/>
            <a:p>
              <a:endParaRPr lang="zh-CN" altLang="en-US"/>
            </a:p>
          </p:txBody>
        </p:sp>
        <p:sp>
          <p:nvSpPr>
            <p:cNvPr id="837" name="íṡḻîḓê">
              <a:extLst>
                <a:ext uri="{FF2B5EF4-FFF2-40B4-BE49-F238E27FC236}">
                  <a16:creationId xmlns:a16="http://schemas.microsoft.com/office/drawing/2014/main" id="{3BF1685C-4C11-41EB-A345-7975D0FD340A}"/>
                </a:ext>
              </a:extLst>
            </p:cNvPr>
            <p:cNvSpPr/>
            <p:nvPr/>
          </p:nvSpPr>
          <p:spPr>
            <a:xfrm>
              <a:off x="5720147" y="2949382"/>
              <a:ext cx="200342" cy="154096"/>
            </a:xfrm>
            <a:custGeom>
              <a:avLst/>
              <a:gdLst>
                <a:gd name="connsiteX0" fmla="*/ 65481 w 65817"/>
                <a:gd name="connsiteY0" fmla="*/ 49272 h 50624"/>
                <a:gd name="connsiteX1" fmla="*/ 59861 w 65817"/>
                <a:gd name="connsiteY1" fmla="*/ 37652 h 50624"/>
                <a:gd name="connsiteX2" fmla="*/ 53003 w 65817"/>
                <a:gd name="connsiteY2" fmla="*/ 23459 h 50624"/>
                <a:gd name="connsiteX3" fmla="*/ 33953 w 65817"/>
                <a:gd name="connsiteY3" fmla="*/ 20221 h 50624"/>
                <a:gd name="connsiteX4" fmla="*/ 33001 w 65817"/>
                <a:gd name="connsiteY4" fmla="*/ 20221 h 50624"/>
                <a:gd name="connsiteX5" fmla="*/ 12332 w 65817"/>
                <a:gd name="connsiteY5" fmla="*/ -163 h 50624"/>
                <a:gd name="connsiteX6" fmla="*/ -336 w 65817"/>
                <a:gd name="connsiteY6" fmla="*/ 10982 h 50624"/>
                <a:gd name="connsiteX7" fmla="*/ 32906 w 65817"/>
                <a:gd name="connsiteY7" fmla="*/ 43748 h 50624"/>
                <a:gd name="connsiteX8" fmla="*/ 65481 w 65817"/>
                <a:gd name="connsiteY8" fmla="*/ 49272 h 506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5817" h="50624">
                  <a:moveTo>
                    <a:pt x="65481" y="49272"/>
                  </a:moveTo>
                  <a:lnTo>
                    <a:pt x="59861" y="37652"/>
                  </a:lnTo>
                  <a:lnTo>
                    <a:pt x="53003" y="23459"/>
                  </a:lnTo>
                  <a:cubicBezTo>
                    <a:pt x="46479" y="24983"/>
                    <a:pt x="39612" y="23812"/>
                    <a:pt x="33953" y="20221"/>
                  </a:cubicBezTo>
                  <a:cubicBezTo>
                    <a:pt x="33639" y="20268"/>
                    <a:pt x="33315" y="20268"/>
                    <a:pt x="33001" y="20221"/>
                  </a:cubicBezTo>
                  <a:cubicBezTo>
                    <a:pt x="24676" y="15049"/>
                    <a:pt x="17618" y="8086"/>
                    <a:pt x="12332" y="-163"/>
                  </a:cubicBezTo>
                  <a:lnTo>
                    <a:pt x="-336" y="10982"/>
                  </a:lnTo>
                  <a:cubicBezTo>
                    <a:pt x="8160" y="24250"/>
                    <a:pt x="19523" y="35442"/>
                    <a:pt x="32906" y="43748"/>
                  </a:cubicBezTo>
                  <a:cubicBezTo>
                    <a:pt x="42545" y="49996"/>
                    <a:pt x="54327" y="51996"/>
                    <a:pt x="65481" y="49272"/>
                  </a:cubicBezTo>
                  <a:close/>
                </a:path>
              </a:pathLst>
            </a:custGeom>
            <a:solidFill>
              <a:srgbClr val="323A82"/>
            </a:solidFill>
            <a:ln w="9525" cap="flat">
              <a:noFill/>
              <a:prstDash val="solid"/>
              <a:miter/>
            </a:ln>
          </p:spPr>
          <p:txBody>
            <a:bodyPr rtlCol="0" anchor="ctr"/>
            <a:lstStyle/>
            <a:p>
              <a:endParaRPr lang="zh-CN" altLang="en-US"/>
            </a:p>
          </p:txBody>
        </p:sp>
        <p:sp>
          <p:nvSpPr>
            <p:cNvPr id="838" name="íṩľíḋe">
              <a:extLst>
                <a:ext uri="{FF2B5EF4-FFF2-40B4-BE49-F238E27FC236}">
                  <a16:creationId xmlns:a16="http://schemas.microsoft.com/office/drawing/2014/main" id="{6FC3C3F2-D28F-405D-BEA1-A291D2DFBFF2}"/>
                </a:ext>
              </a:extLst>
            </p:cNvPr>
            <p:cNvSpPr/>
            <p:nvPr/>
          </p:nvSpPr>
          <p:spPr>
            <a:xfrm>
              <a:off x="5719857" y="2762229"/>
              <a:ext cx="61755" cy="62190"/>
            </a:xfrm>
            <a:custGeom>
              <a:avLst/>
              <a:gdLst>
                <a:gd name="connsiteX0" fmla="*/ -336 w 20288"/>
                <a:gd name="connsiteY0" fmla="*/ 20268 h 20431"/>
                <a:gd name="connsiteX1" fmla="*/ 17380 w 20288"/>
                <a:gd name="connsiteY1" fmla="*/ 10077 h 20431"/>
                <a:gd name="connsiteX2" fmla="*/ 19952 w 20288"/>
                <a:gd name="connsiteY2" fmla="*/ -20 h 20431"/>
                <a:gd name="connsiteX3" fmla="*/ 15094 w 20288"/>
                <a:gd name="connsiteY3" fmla="*/ -20 h 20431"/>
                <a:gd name="connsiteX4" fmla="*/ 4902 w 20288"/>
                <a:gd name="connsiteY4" fmla="*/ 5791 h 20431"/>
                <a:gd name="connsiteX5" fmla="*/ -336 w 20288"/>
                <a:gd name="connsiteY5" fmla="*/ 20268 h 20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288" h="20431">
                  <a:moveTo>
                    <a:pt x="-336" y="20268"/>
                  </a:moveTo>
                  <a:lnTo>
                    <a:pt x="17380" y="10077"/>
                  </a:lnTo>
                  <a:cubicBezTo>
                    <a:pt x="17656" y="6591"/>
                    <a:pt x="18523" y="3171"/>
                    <a:pt x="19952" y="-20"/>
                  </a:cubicBezTo>
                  <a:cubicBezTo>
                    <a:pt x="18342" y="-210"/>
                    <a:pt x="16704" y="-210"/>
                    <a:pt x="15094" y="-20"/>
                  </a:cubicBezTo>
                  <a:lnTo>
                    <a:pt x="4902" y="5791"/>
                  </a:lnTo>
                  <a:cubicBezTo>
                    <a:pt x="1759" y="9991"/>
                    <a:pt x="-60" y="15030"/>
                    <a:pt x="-336" y="20268"/>
                  </a:cubicBezTo>
                  <a:close/>
                </a:path>
              </a:pathLst>
            </a:custGeom>
            <a:solidFill>
              <a:srgbClr val="BF4200"/>
            </a:solidFill>
            <a:ln w="9525" cap="flat">
              <a:noFill/>
              <a:prstDash val="solid"/>
              <a:miter/>
            </a:ln>
          </p:spPr>
          <p:txBody>
            <a:bodyPr rtlCol="0" anchor="ctr"/>
            <a:lstStyle/>
            <a:p>
              <a:endParaRPr lang="zh-CN" altLang="en-US"/>
            </a:p>
          </p:txBody>
        </p:sp>
        <p:sp>
          <p:nvSpPr>
            <p:cNvPr id="839" name="î$lîḋê">
              <a:extLst>
                <a:ext uri="{FF2B5EF4-FFF2-40B4-BE49-F238E27FC236}">
                  <a16:creationId xmlns:a16="http://schemas.microsoft.com/office/drawing/2014/main" id="{C185C861-2269-40B3-9DA9-4DF21C27A903}"/>
                </a:ext>
              </a:extLst>
            </p:cNvPr>
            <p:cNvSpPr/>
            <p:nvPr/>
          </p:nvSpPr>
          <p:spPr>
            <a:xfrm>
              <a:off x="5658102" y="2711055"/>
              <a:ext cx="77410" cy="113362"/>
            </a:xfrm>
            <a:custGeom>
              <a:avLst/>
              <a:gdLst>
                <a:gd name="connsiteX0" fmla="*/ 19952 w 25431"/>
                <a:gd name="connsiteY0" fmla="*/ 37080 h 37242"/>
                <a:gd name="connsiteX1" fmla="*/ 25096 w 25431"/>
                <a:gd name="connsiteY1" fmla="*/ 22793 h 37242"/>
                <a:gd name="connsiteX2" fmla="*/ 18142 w 25431"/>
                <a:gd name="connsiteY2" fmla="*/ 13268 h 37242"/>
                <a:gd name="connsiteX3" fmla="*/ 18142 w 25431"/>
                <a:gd name="connsiteY3" fmla="*/ 13268 h 37242"/>
                <a:gd name="connsiteX4" fmla="*/ 17475 w 25431"/>
                <a:gd name="connsiteY4" fmla="*/ 12410 h 37242"/>
                <a:gd name="connsiteX5" fmla="*/ 7950 w 25431"/>
                <a:gd name="connsiteY5" fmla="*/ -163 h 37242"/>
                <a:gd name="connsiteX6" fmla="*/ -336 w 25431"/>
                <a:gd name="connsiteY6" fmla="*/ 22983 h 37242"/>
                <a:gd name="connsiteX7" fmla="*/ 18714 w 25431"/>
                <a:gd name="connsiteY7" fmla="*/ 36318 h 37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431" h="37242">
                  <a:moveTo>
                    <a:pt x="19952" y="37080"/>
                  </a:moveTo>
                  <a:cubicBezTo>
                    <a:pt x="20238" y="31918"/>
                    <a:pt x="22028" y="26955"/>
                    <a:pt x="25096" y="22793"/>
                  </a:cubicBezTo>
                  <a:lnTo>
                    <a:pt x="18142" y="13268"/>
                  </a:lnTo>
                  <a:lnTo>
                    <a:pt x="18142" y="13268"/>
                  </a:lnTo>
                  <a:lnTo>
                    <a:pt x="17475" y="12410"/>
                  </a:lnTo>
                  <a:lnTo>
                    <a:pt x="7950" y="-163"/>
                  </a:lnTo>
                  <a:cubicBezTo>
                    <a:pt x="2902" y="6533"/>
                    <a:pt x="7" y="14601"/>
                    <a:pt x="-336" y="22983"/>
                  </a:cubicBezTo>
                  <a:lnTo>
                    <a:pt x="18714" y="36318"/>
                  </a:lnTo>
                  <a:close/>
                </a:path>
              </a:pathLst>
            </a:custGeom>
            <a:solidFill>
              <a:srgbClr val="D9530B"/>
            </a:solidFill>
            <a:ln w="9525" cap="flat">
              <a:noFill/>
              <a:prstDash val="solid"/>
              <a:miter/>
            </a:ln>
          </p:spPr>
          <p:txBody>
            <a:bodyPr rtlCol="0" anchor="ctr"/>
            <a:lstStyle/>
            <a:p>
              <a:endParaRPr lang="zh-CN" altLang="en-US"/>
            </a:p>
          </p:txBody>
        </p:sp>
        <p:sp>
          <p:nvSpPr>
            <p:cNvPr id="840" name="ïŝļiḍe">
              <a:extLst>
                <a:ext uri="{FF2B5EF4-FFF2-40B4-BE49-F238E27FC236}">
                  <a16:creationId xmlns:a16="http://schemas.microsoft.com/office/drawing/2014/main" id="{B3A80D8E-BD80-4551-A942-A5B8E19DF908}"/>
                </a:ext>
              </a:extLst>
            </p:cNvPr>
            <p:cNvSpPr/>
            <p:nvPr/>
          </p:nvSpPr>
          <p:spPr>
            <a:xfrm>
              <a:off x="6306973" y="3583469"/>
              <a:ext cx="84661" cy="51318"/>
            </a:xfrm>
            <a:custGeom>
              <a:avLst/>
              <a:gdLst>
                <a:gd name="connsiteX0" fmla="*/ -336 w 27813"/>
                <a:gd name="connsiteY0" fmla="*/ 16697 h 16859"/>
                <a:gd name="connsiteX1" fmla="*/ 21381 w 27813"/>
                <a:gd name="connsiteY1" fmla="*/ 4314 h 16859"/>
                <a:gd name="connsiteX2" fmla="*/ 27477 w 27813"/>
                <a:gd name="connsiteY2" fmla="*/ -163 h 16859"/>
                <a:gd name="connsiteX3" fmla="*/ 5855 w 27813"/>
                <a:gd name="connsiteY3" fmla="*/ 12315 h 16859"/>
                <a:gd name="connsiteX4" fmla="*/ -336 w 27813"/>
                <a:gd name="connsiteY4" fmla="*/ 16697 h 16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813" h="16859">
                  <a:moveTo>
                    <a:pt x="-336" y="16697"/>
                  </a:moveTo>
                  <a:lnTo>
                    <a:pt x="21381" y="4314"/>
                  </a:lnTo>
                  <a:cubicBezTo>
                    <a:pt x="23572" y="3047"/>
                    <a:pt x="25610" y="1552"/>
                    <a:pt x="27477" y="-163"/>
                  </a:cubicBezTo>
                  <a:lnTo>
                    <a:pt x="5855" y="12315"/>
                  </a:lnTo>
                  <a:cubicBezTo>
                    <a:pt x="3959" y="14001"/>
                    <a:pt x="1883" y="15468"/>
                    <a:pt x="-336" y="16697"/>
                  </a:cubicBezTo>
                  <a:close/>
                </a:path>
              </a:pathLst>
            </a:custGeom>
            <a:solidFill>
              <a:srgbClr val="171A42"/>
            </a:solidFill>
            <a:ln w="9525" cap="flat">
              <a:noFill/>
              <a:prstDash val="solid"/>
              <a:miter/>
            </a:ln>
          </p:spPr>
          <p:txBody>
            <a:bodyPr rtlCol="0" anchor="ctr"/>
            <a:lstStyle/>
            <a:p>
              <a:endParaRPr lang="zh-CN" altLang="en-US"/>
            </a:p>
          </p:txBody>
        </p:sp>
        <p:sp>
          <p:nvSpPr>
            <p:cNvPr id="841" name="íśľíďé">
              <a:extLst>
                <a:ext uri="{FF2B5EF4-FFF2-40B4-BE49-F238E27FC236}">
                  <a16:creationId xmlns:a16="http://schemas.microsoft.com/office/drawing/2014/main" id="{8F83C863-F308-4083-863E-21D9A3A42A7A}"/>
                </a:ext>
              </a:extLst>
            </p:cNvPr>
            <p:cNvSpPr/>
            <p:nvPr/>
          </p:nvSpPr>
          <p:spPr>
            <a:xfrm>
              <a:off x="6148089" y="3357320"/>
              <a:ext cx="28993" cy="578"/>
            </a:xfrm>
            <a:custGeom>
              <a:avLst/>
              <a:gdLst>
                <a:gd name="connsiteX0" fmla="*/ 0 w 9525"/>
                <a:gd name="connsiteY0" fmla="*/ 191 h 190"/>
                <a:gd name="connsiteX1" fmla="*/ 0 w 9525"/>
                <a:gd name="connsiteY1" fmla="*/ 95 h 190"/>
                <a:gd name="connsiteX2" fmla="*/ 0 w 9525"/>
                <a:gd name="connsiteY2" fmla="*/ 0 h 190"/>
                <a:gd name="connsiteX3" fmla="*/ 0 w 9525"/>
                <a:gd name="connsiteY3" fmla="*/ 95 h 190"/>
                <a:gd name="connsiteX4" fmla="*/ 0 w 9525"/>
                <a:gd name="connsiteY4" fmla="*/ 95 h 190"/>
                <a:gd name="connsiteX5" fmla="*/ 0 w 9525"/>
                <a:gd name="connsiteY5" fmla="*/ 191 h 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525" h="190">
                  <a:moveTo>
                    <a:pt x="0" y="191"/>
                  </a:moveTo>
                  <a:lnTo>
                    <a:pt x="0" y="95"/>
                  </a:lnTo>
                  <a:lnTo>
                    <a:pt x="0" y="0"/>
                  </a:lnTo>
                  <a:lnTo>
                    <a:pt x="0" y="95"/>
                  </a:lnTo>
                  <a:lnTo>
                    <a:pt x="0" y="95"/>
                  </a:lnTo>
                  <a:lnTo>
                    <a:pt x="0" y="191"/>
                  </a:lnTo>
                  <a:close/>
                </a:path>
              </a:pathLst>
            </a:custGeom>
            <a:solidFill>
              <a:srgbClr val="2E3192"/>
            </a:solidFill>
            <a:ln w="9525" cap="flat">
              <a:noFill/>
              <a:prstDash val="solid"/>
              <a:miter/>
            </a:ln>
          </p:spPr>
          <p:txBody>
            <a:bodyPr rtlCol="0" anchor="ctr"/>
            <a:lstStyle/>
            <a:p>
              <a:endParaRPr lang="zh-CN" altLang="en-US"/>
            </a:p>
          </p:txBody>
        </p:sp>
        <p:sp>
          <p:nvSpPr>
            <p:cNvPr id="842" name="iṡ1íḋe">
              <a:extLst>
                <a:ext uri="{FF2B5EF4-FFF2-40B4-BE49-F238E27FC236}">
                  <a16:creationId xmlns:a16="http://schemas.microsoft.com/office/drawing/2014/main" id="{4ADF0396-AA45-4068-ACD6-241C476C30EA}"/>
                </a:ext>
              </a:extLst>
            </p:cNvPr>
            <p:cNvSpPr/>
            <p:nvPr/>
          </p:nvSpPr>
          <p:spPr>
            <a:xfrm>
              <a:off x="5957603" y="3373553"/>
              <a:ext cx="340381" cy="292068"/>
            </a:xfrm>
            <a:custGeom>
              <a:avLst/>
              <a:gdLst>
                <a:gd name="connsiteX0" fmla="*/ 105391 w 111823"/>
                <a:gd name="connsiteY0" fmla="*/ 90896 h 95951"/>
                <a:gd name="connsiteX1" fmla="*/ 111487 w 111823"/>
                <a:gd name="connsiteY1" fmla="*/ 86420 h 95951"/>
                <a:gd name="connsiteX2" fmla="*/ 53099 w 111823"/>
                <a:gd name="connsiteY2" fmla="*/ -163 h 95951"/>
                <a:gd name="connsiteX3" fmla="*/ -336 w 111823"/>
                <a:gd name="connsiteY3" fmla="*/ 28412 h 95951"/>
                <a:gd name="connsiteX4" fmla="*/ 52908 w 111823"/>
                <a:gd name="connsiteY4" fmla="*/ 85562 h 95951"/>
                <a:gd name="connsiteX5" fmla="*/ 105391 w 111823"/>
                <a:gd name="connsiteY5" fmla="*/ 90896 h 95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1823" h="95951">
                  <a:moveTo>
                    <a:pt x="105391" y="90896"/>
                  </a:moveTo>
                  <a:cubicBezTo>
                    <a:pt x="107582" y="89630"/>
                    <a:pt x="109620" y="88134"/>
                    <a:pt x="111487" y="86420"/>
                  </a:cubicBezTo>
                  <a:lnTo>
                    <a:pt x="53099" y="-163"/>
                  </a:lnTo>
                  <a:lnTo>
                    <a:pt x="-336" y="28412"/>
                  </a:lnTo>
                  <a:cubicBezTo>
                    <a:pt x="12141" y="51768"/>
                    <a:pt x="30496" y="71465"/>
                    <a:pt x="52908" y="85562"/>
                  </a:cubicBezTo>
                  <a:cubicBezTo>
                    <a:pt x="73387" y="97469"/>
                    <a:pt x="91866" y="98612"/>
                    <a:pt x="105391" y="90896"/>
                  </a:cubicBezTo>
                  <a:close/>
                </a:path>
              </a:pathLst>
            </a:custGeom>
            <a:solidFill>
              <a:srgbClr val="323A82"/>
            </a:solidFill>
            <a:ln w="9525" cap="flat">
              <a:noFill/>
              <a:prstDash val="solid"/>
              <a:miter/>
            </a:ln>
          </p:spPr>
          <p:txBody>
            <a:bodyPr rtlCol="0" anchor="ctr"/>
            <a:lstStyle/>
            <a:p>
              <a:endParaRPr lang="zh-CN" altLang="en-US"/>
            </a:p>
          </p:txBody>
        </p:sp>
        <p:sp>
          <p:nvSpPr>
            <p:cNvPr id="843" name="ï$ḷïdê">
              <a:extLst>
                <a:ext uri="{FF2B5EF4-FFF2-40B4-BE49-F238E27FC236}">
                  <a16:creationId xmlns:a16="http://schemas.microsoft.com/office/drawing/2014/main" id="{CC1A9DEA-AE72-445F-A792-2A7A72993486}"/>
                </a:ext>
              </a:extLst>
            </p:cNvPr>
            <p:cNvSpPr/>
            <p:nvPr/>
          </p:nvSpPr>
          <p:spPr>
            <a:xfrm>
              <a:off x="6120256" y="3328616"/>
              <a:ext cx="250792" cy="308490"/>
            </a:xfrm>
            <a:custGeom>
              <a:avLst/>
              <a:gdLst>
                <a:gd name="connsiteX0" fmla="*/ 58388 w 82391"/>
                <a:gd name="connsiteY0" fmla="*/ 101346 h 101346"/>
                <a:gd name="connsiteX1" fmla="*/ 82391 w 82391"/>
                <a:gd name="connsiteY1" fmla="*/ 87535 h 101346"/>
                <a:gd name="connsiteX2" fmla="*/ 78105 w 82391"/>
                <a:gd name="connsiteY2" fmla="*/ 80867 h 101346"/>
                <a:gd name="connsiteX3" fmla="*/ 27813 w 82391"/>
                <a:gd name="connsiteY3" fmla="*/ 3143 h 101346"/>
                <a:gd name="connsiteX4" fmla="*/ 25718 w 82391"/>
                <a:gd name="connsiteY4" fmla="*/ 0 h 101346"/>
                <a:gd name="connsiteX5" fmla="*/ 0 w 82391"/>
                <a:gd name="connsiteY5" fmla="*/ 14764 h 101346"/>
                <a:gd name="connsiteX6" fmla="*/ 58388 w 82391"/>
                <a:gd name="connsiteY6" fmla="*/ 101346 h 101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391" h="101346">
                  <a:moveTo>
                    <a:pt x="58388" y="101346"/>
                  </a:moveTo>
                  <a:lnTo>
                    <a:pt x="82391" y="87535"/>
                  </a:lnTo>
                  <a:lnTo>
                    <a:pt x="78105" y="80867"/>
                  </a:lnTo>
                  <a:lnTo>
                    <a:pt x="27813" y="3143"/>
                  </a:lnTo>
                  <a:lnTo>
                    <a:pt x="25718" y="0"/>
                  </a:lnTo>
                  <a:lnTo>
                    <a:pt x="0" y="14764"/>
                  </a:lnTo>
                  <a:lnTo>
                    <a:pt x="58388" y="101346"/>
                  </a:lnTo>
                  <a:close/>
                </a:path>
              </a:pathLst>
            </a:custGeom>
            <a:solidFill>
              <a:srgbClr val="171A42"/>
            </a:solidFill>
            <a:ln w="9525" cap="flat">
              <a:noFill/>
              <a:prstDash val="solid"/>
              <a:miter/>
            </a:ln>
          </p:spPr>
          <p:txBody>
            <a:bodyPr rtlCol="0" anchor="ctr"/>
            <a:lstStyle/>
            <a:p>
              <a:endParaRPr lang="zh-CN" altLang="en-US"/>
            </a:p>
          </p:txBody>
        </p:sp>
        <p:sp>
          <p:nvSpPr>
            <p:cNvPr id="844" name="íŝļiďé">
              <a:extLst>
                <a:ext uri="{FF2B5EF4-FFF2-40B4-BE49-F238E27FC236}">
                  <a16:creationId xmlns:a16="http://schemas.microsoft.com/office/drawing/2014/main" id="{1891841E-A284-4B56-B8A8-1BE4471295CA}"/>
                </a:ext>
              </a:extLst>
            </p:cNvPr>
            <p:cNvSpPr/>
            <p:nvPr/>
          </p:nvSpPr>
          <p:spPr>
            <a:xfrm>
              <a:off x="5957314" y="3328616"/>
              <a:ext cx="241222" cy="131918"/>
            </a:xfrm>
            <a:custGeom>
              <a:avLst/>
              <a:gdLst>
                <a:gd name="connsiteX0" fmla="*/ 0 w 79247"/>
                <a:gd name="connsiteY0" fmla="*/ 43339 h 43338"/>
                <a:gd name="connsiteX1" fmla="*/ 73914 w 79247"/>
                <a:gd name="connsiteY1" fmla="*/ 857 h 43338"/>
                <a:gd name="connsiteX2" fmla="*/ 79248 w 79247"/>
                <a:gd name="connsiteY2" fmla="*/ 0 h 43338"/>
                <a:gd name="connsiteX3" fmla="*/ 53530 w 79247"/>
                <a:gd name="connsiteY3" fmla="*/ 14764 h 43338"/>
                <a:gd name="connsiteX4" fmla="*/ 0 w 79247"/>
                <a:gd name="connsiteY4" fmla="*/ 43339 h 433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247" h="43338">
                  <a:moveTo>
                    <a:pt x="0" y="43339"/>
                  </a:moveTo>
                  <a:lnTo>
                    <a:pt x="73914" y="857"/>
                  </a:lnTo>
                  <a:lnTo>
                    <a:pt x="79248" y="0"/>
                  </a:lnTo>
                  <a:lnTo>
                    <a:pt x="53530" y="14764"/>
                  </a:lnTo>
                  <a:lnTo>
                    <a:pt x="0" y="43339"/>
                  </a:lnTo>
                  <a:close/>
                </a:path>
              </a:pathLst>
            </a:custGeom>
            <a:solidFill>
              <a:srgbClr val="171A42"/>
            </a:solidFill>
            <a:ln w="9525" cap="flat">
              <a:noFill/>
              <a:prstDash val="solid"/>
              <a:miter/>
            </a:ln>
          </p:spPr>
          <p:txBody>
            <a:bodyPr rtlCol="0" anchor="ctr"/>
            <a:lstStyle/>
            <a:p>
              <a:endParaRPr lang="zh-CN" altLang="en-US"/>
            </a:p>
          </p:txBody>
        </p:sp>
        <p:sp>
          <p:nvSpPr>
            <p:cNvPr id="845" name="îŝľïḋè">
              <a:extLst>
                <a:ext uri="{FF2B5EF4-FFF2-40B4-BE49-F238E27FC236}">
                  <a16:creationId xmlns:a16="http://schemas.microsoft.com/office/drawing/2014/main" id="{86391D09-F6C3-4F5D-9B71-FC53C1804C28}"/>
                </a:ext>
              </a:extLst>
            </p:cNvPr>
            <p:cNvSpPr/>
            <p:nvPr/>
          </p:nvSpPr>
          <p:spPr>
            <a:xfrm>
              <a:off x="6279429" y="3621448"/>
              <a:ext cx="47838" cy="29283"/>
            </a:xfrm>
            <a:custGeom>
              <a:avLst/>
              <a:gdLst>
                <a:gd name="connsiteX0" fmla="*/ -336 w 15716"/>
                <a:gd name="connsiteY0" fmla="*/ 9458 h 9620"/>
                <a:gd name="connsiteX1" fmla="*/ 9189 w 15716"/>
                <a:gd name="connsiteY1" fmla="*/ 4219 h 9620"/>
                <a:gd name="connsiteX2" fmla="*/ 15380 w 15716"/>
                <a:gd name="connsiteY2" fmla="*/ -163 h 9620"/>
                <a:gd name="connsiteX3" fmla="*/ 5855 w 15716"/>
                <a:gd name="connsiteY3" fmla="*/ 4981 h 9620"/>
                <a:gd name="connsiteX4" fmla="*/ -336 w 15716"/>
                <a:gd name="connsiteY4" fmla="*/ 9458 h 9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16" h="9620">
                  <a:moveTo>
                    <a:pt x="-336" y="9458"/>
                  </a:moveTo>
                  <a:lnTo>
                    <a:pt x="9189" y="4219"/>
                  </a:lnTo>
                  <a:cubicBezTo>
                    <a:pt x="11408" y="2990"/>
                    <a:pt x="13485" y="1523"/>
                    <a:pt x="15380" y="-163"/>
                  </a:cubicBezTo>
                  <a:lnTo>
                    <a:pt x="5855" y="4981"/>
                  </a:lnTo>
                  <a:cubicBezTo>
                    <a:pt x="3960" y="6695"/>
                    <a:pt x="1883" y="8200"/>
                    <a:pt x="-336" y="9458"/>
                  </a:cubicBezTo>
                  <a:close/>
                </a:path>
              </a:pathLst>
            </a:custGeom>
            <a:solidFill>
              <a:srgbClr val="171A42"/>
            </a:solidFill>
            <a:ln w="9525" cap="flat">
              <a:noFill/>
              <a:prstDash val="solid"/>
              <a:miter/>
            </a:ln>
          </p:spPr>
          <p:txBody>
            <a:bodyPr rtlCol="0" anchor="ctr"/>
            <a:lstStyle/>
            <a:p>
              <a:endParaRPr lang="zh-CN" altLang="en-US"/>
            </a:p>
          </p:txBody>
        </p:sp>
        <p:sp>
          <p:nvSpPr>
            <p:cNvPr id="846" name="ïśḻïḍè">
              <a:extLst>
                <a:ext uri="{FF2B5EF4-FFF2-40B4-BE49-F238E27FC236}">
                  <a16:creationId xmlns:a16="http://schemas.microsoft.com/office/drawing/2014/main" id="{C78AD938-EA6B-470E-B4FD-F750F8F016A2}"/>
                </a:ext>
              </a:extLst>
            </p:cNvPr>
            <p:cNvSpPr/>
            <p:nvPr/>
          </p:nvSpPr>
          <p:spPr>
            <a:xfrm>
              <a:off x="6325240" y="3260191"/>
              <a:ext cx="114933" cy="361256"/>
            </a:xfrm>
            <a:custGeom>
              <a:avLst/>
              <a:gdLst>
                <a:gd name="connsiteX0" fmla="*/ -146 w 37758"/>
                <a:gd name="connsiteY0" fmla="*/ 118519 h 118681"/>
                <a:gd name="connsiteX1" fmla="*/ 21476 w 37758"/>
                <a:gd name="connsiteY1" fmla="*/ 106041 h 118681"/>
                <a:gd name="connsiteX2" fmla="*/ 37287 w 37758"/>
                <a:gd name="connsiteY2" fmla="*/ 62512 h 118681"/>
                <a:gd name="connsiteX3" fmla="*/ 21285 w 37758"/>
                <a:gd name="connsiteY3" fmla="*/ -163 h 118681"/>
                <a:gd name="connsiteX4" fmla="*/ -336 w 37758"/>
                <a:gd name="connsiteY4" fmla="*/ 12220 h 118681"/>
                <a:gd name="connsiteX5" fmla="*/ 15570 w 37758"/>
                <a:gd name="connsiteY5" fmla="*/ 74894 h 118681"/>
                <a:gd name="connsiteX6" fmla="*/ 13475 w 37758"/>
                <a:gd name="connsiteY6" fmla="*/ 93944 h 118681"/>
                <a:gd name="connsiteX7" fmla="*/ 3378 w 37758"/>
                <a:gd name="connsiteY7" fmla="*/ 114709 h 118681"/>
                <a:gd name="connsiteX8" fmla="*/ -146 w 37758"/>
                <a:gd name="connsiteY8" fmla="*/ 118519 h 118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758" h="118681">
                  <a:moveTo>
                    <a:pt x="-146" y="118519"/>
                  </a:moveTo>
                  <a:lnTo>
                    <a:pt x="21476" y="106041"/>
                  </a:lnTo>
                  <a:cubicBezTo>
                    <a:pt x="32649" y="94411"/>
                    <a:pt x="38392" y="78600"/>
                    <a:pt x="37287" y="62512"/>
                  </a:cubicBezTo>
                  <a:cubicBezTo>
                    <a:pt x="36687" y="40690"/>
                    <a:pt x="31220" y="19278"/>
                    <a:pt x="21285" y="-163"/>
                  </a:cubicBezTo>
                  <a:lnTo>
                    <a:pt x="-336" y="12220"/>
                  </a:lnTo>
                  <a:cubicBezTo>
                    <a:pt x="9598" y="31651"/>
                    <a:pt x="15037" y="53072"/>
                    <a:pt x="15570" y="74894"/>
                  </a:cubicBezTo>
                  <a:cubicBezTo>
                    <a:pt x="15599" y="81305"/>
                    <a:pt x="14894" y="87696"/>
                    <a:pt x="13475" y="93944"/>
                  </a:cubicBezTo>
                  <a:cubicBezTo>
                    <a:pt x="11741" y="101545"/>
                    <a:pt x="8284" y="108651"/>
                    <a:pt x="3378" y="114709"/>
                  </a:cubicBezTo>
                  <a:cubicBezTo>
                    <a:pt x="2311" y="116071"/>
                    <a:pt x="1130" y="117347"/>
                    <a:pt x="-146" y="118519"/>
                  </a:cubicBezTo>
                  <a:close/>
                </a:path>
              </a:pathLst>
            </a:custGeom>
            <a:solidFill>
              <a:srgbClr val="323A82"/>
            </a:solidFill>
            <a:ln w="9525" cap="flat">
              <a:noFill/>
              <a:prstDash val="solid"/>
              <a:miter/>
            </a:ln>
          </p:spPr>
          <p:txBody>
            <a:bodyPr rtlCol="0" anchor="ctr"/>
            <a:lstStyle/>
            <a:p>
              <a:endParaRPr lang="zh-CN" altLang="en-US"/>
            </a:p>
          </p:txBody>
        </p:sp>
        <p:sp>
          <p:nvSpPr>
            <p:cNvPr id="847" name="íSļïḋê">
              <a:extLst>
                <a:ext uri="{FF2B5EF4-FFF2-40B4-BE49-F238E27FC236}">
                  <a16:creationId xmlns:a16="http://schemas.microsoft.com/office/drawing/2014/main" id="{7C8569D3-F952-4CB0-A0DC-8D616FAA0A86}"/>
                </a:ext>
              </a:extLst>
            </p:cNvPr>
            <p:cNvSpPr/>
            <p:nvPr/>
          </p:nvSpPr>
          <p:spPr>
            <a:xfrm>
              <a:off x="6147511" y="3298174"/>
              <a:ext cx="226149" cy="323274"/>
            </a:xfrm>
            <a:custGeom>
              <a:avLst/>
              <a:gdLst>
                <a:gd name="connsiteX0" fmla="*/ 58242 w 74295"/>
                <a:gd name="connsiteY0" fmla="*/ 106041 h 106203"/>
                <a:gd name="connsiteX1" fmla="*/ 61767 w 74295"/>
                <a:gd name="connsiteY1" fmla="*/ 102326 h 106203"/>
                <a:gd name="connsiteX2" fmla="*/ 71863 w 74295"/>
                <a:gd name="connsiteY2" fmla="*/ 81562 h 106203"/>
                <a:gd name="connsiteX3" fmla="*/ 73959 w 74295"/>
                <a:gd name="connsiteY3" fmla="*/ 62512 h 106203"/>
                <a:gd name="connsiteX4" fmla="*/ 58052 w 74295"/>
                <a:gd name="connsiteY4" fmla="*/ -163 h 106203"/>
                <a:gd name="connsiteX5" fmla="*/ 35668 w 74295"/>
                <a:gd name="connsiteY5" fmla="*/ 6791 h 106203"/>
                <a:gd name="connsiteX6" fmla="*/ 24143 w 74295"/>
                <a:gd name="connsiteY6" fmla="*/ 10696 h 106203"/>
                <a:gd name="connsiteX7" fmla="*/ -336 w 74295"/>
                <a:gd name="connsiteY7" fmla="*/ 18887 h 106203"/>
                <a:gd name="connsiteX8" fmla="*/ -336 w 74295"/>
                <a:gd name="connsiteY8" fmla="*/ 18887 h 106203"/>
                <a:gd name="connsiteX9" fmla="*/ 35668 w 74295"/>
                <a:gd name="connsiteY9" fmla="*/ 73466 h 106203"/>
                <a:gd name="connsiteX10" fmla="*/ 55766 w 74295"/>
                <a:gd name="connsiteY10" fmla="*/ 103279 h 106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4295" h="106203">
                  <a:moveTo>
                    <a:pt x="58242" y="106041"/>
                  </a:moveTo>
                  <a:cubicBezTo>
                    <a:pt x="59509" y="104898"/>
                    <a:pt x="60690" y="103660"/>
                    <a:pt x="61767" y="102326"/>
                  </a:cubicBezTo>
                  <a:cubicBezTo>
                    <a:pt x="66672" y="96268"/>
                    <a:pt x="70130" y="89163"/>
                    <a:pt x="71863" y="81562"/>
                  </a:cubicBezTo>
                  <a:cubicBezTo>
                    <a:pt x="73282" y="75313"/>
                    <a:pt x="73987" y="68922"/>
                    <a:pt x="73959" y="62512"/>
                  </a:cubicBezTo>
                  <a:cubicBezTo>
                    <a:pt x="73425" y="40690"/>
                    <a:pt x="67987" y="19268"/>
                    <a:pt x="58052" y="-163"/>
                  </a:cubicBezTo>
                  <a:lnTo>
                    <a:pt x="35668" y="6791"/>
                  </a:lnTo>
                  <a:lnTo>
                    <a:pt x="24143" y="10696"/>
                  </a:lnTo>
                  <a:lnTo>
                    <a:pt x="-336" y="18887"/>
                  </a:lnTo>
                  <a:lnTo>
                    <a:pt x="-336" y="18887"/>
                  </a:lnTo>
                  <a:lnTo>
                    <a:pt x="35668" y="73466"/>
                  </a:lnTo>
                  <a:lnTo>
                    <a:pt x="55766" y="103279"/>
                  </a:lnTo>
                  <a:close/>
                </a:path>
              </a:pathLst>
            </a:custGeom>
            <a:solidFill>
              <a:srgbClr val="316DE6"/>
            </a:solidFill>
            <a:ln w="9525" cap="flat">
              <a:noFill/>
              <a:prstDash val="solid"/>
              <a:miter/>
            </a:ln>
          </p:spPr>
          <p:txBody>
            <a:bodyPr rtlCol="0" anchor="ctr"/>
            <a:lstStyle/>
            <a:p>
              <a:endParaRPr lang="zh-CN" altLang="en-US"/>
            </a:p>
          </p:txBody>
        </p:sp>
        <p:sp>
          <p:nvSpPr>
            <p:cNvPr id="848" name="iṡḻiḓe">
              <a:extLst>
                <a:ext uri="{FF2B5EF4-FFF2-40B4-BE49-F238E27FC236}">
                  <a16:creationId xmlns:a16="http://schemas.microsoft.com/office/drawing/2014/main" id="{05AC8E08-14EC-44B3-8743-33965BC22A50}"/>
                </a:ext>
              </a:extLst>
            </p:cNvPr>
            <p:cNvSpPr/>
            <p:nvPr/>
          </p:nvSpPr>
          <p:spPr>
            <a:xfrm>
              <a:off x="6027188" y="3029337"/>
              <a:ext cx="167580" cy="58051"/>
            </a:xfrm>
            <a:custGeom>
              <a:avLst/>
              <a:gdLst>
                <a:gd name="connsiteX0" fmla="*/ 33096 w 55054"/>
                <a:gd name="connsiteY0" fmla="*/ 18909 h 19071"/>
                <a:gd name="connsiteX1" fmla="*/ 54718 w 55054"/>
                <a:gd name="connsiteY1" fmla="*/ 6431 h 19071"/>
                <a:gd name="connsiteX2" fmla="*/ 21285 w 55054"/>
                <a:gd name="connsiteY2" fmla="*/ 240 h 19071"/>
                <a:gd name="connsiteX3" fmla="*/ -336 w 55054"/>
                <a:gd name="connsiteY3" fmla="*/ 12622 h 19071"/>
                <a:gd name="connsiteX4" fmla="*/ 28239 w 55054"/>
                <a:gd name="connsiteY4" fmla="*/ 16718 h 19071"/>
                <a:gd name="connsiteX5" fmla="*/ 33096 w 55054"/>
                <a:gd name="connsiteY5" fmla="*/ 18909 h 190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5054" h="19071">
                  <a:moveTo>
                    <a:pt x="33096" y="18909"/>
                  </a:moveTo>
                  <a:lnTo>
                    <a:pt x="54718" y="6431"/>
                  </a:lnTo>
                  <a:cubicBezTo>
                    <a:pt x="44460" y="1021"/>
                    <a:pt x="32801" y="-1132"/>
                    <a:pt x="21285" y="240"/>
                  </a:cubicBezTo>
                  <a:lnTo>
                    <a:pt x="-336" y="12622"/>
                  </a:lnTo>
                  <a:cubicBezTo>
                    <a:pt x="9389" y="11355"/>
                    <a:pt x="19266" y="12775"/>
                    <a:pt x="28239" y="16718"/>
                  </a:cubicBezTo>
                  <a:cubicBezTo>
                    <a:pt x="29763" y="17004"/>
                    <a:pt x="31382" y="17670"/>
                    <a:pt x="33096" y="18909"/>
                  </a:cubicBezTo>
                  <a:close/>
                </a:path>
              </a:pathLst>
            </a:custGeom>
            <a:solidFill>
              <a:srgbClr val="D9530B"/>
            </a:solidFill>
            <a:ln w="9525" cap="flat">
              <a:noFill/>
              <a:prstDash val="solid"/>
              <a:miter/>
            </a:ln>
          </p:spPr>
          <p:txBody>
            <a:bodyPr rtlCol="0" anchor="ctr"/>
            <a:lstStyle/>
            <a:p>
              <a:endParaRPr lang="zh-CN" altLang="en-US"/>
            </a:p>
          </p:txBody>
        </p:sp>
        <p:sp>
          <p:nvSpPr>
            <p:cNvPr id="849" name="iSḷîḓé">
              <a:extLst>
                <a:ext uri="{FF2B5EF4-FFF2-40B4-BE49-F238E27FC236}">
                  <a16:creationId xmlns:a16="http://schemas.microsoft.com/office/drawing/2014/main" id="{FBF5DED1-7EF4-4573-A7B4-154ABE5DF6FF}"/>
                </a:ext>
              </a:extLst>
            </p:cNvPr>
            <p:cNvSpPr/>
            <p:nvPr/>
          </p:nvSpPr>
          <p:spPr>
            <a:xfrm>
              <a:off x="6027188" y="3065724"/>
              <a:ext cx="120902" cy="291593"/>
            </a:xfrm>
            <a:custGeom>
              <a:avLst/>
              <a:gdLst>
                <a:gd name="connsiteX0" fmla="*/ 39383 w 39719"/>
                <a:gd name="connsiteY0" fmla="*/ 95633 h 95795"/>
                <a:gd name="connsiteX1" fmla="*/ 39383 w 39719"/>
                <a:gd name="connsiteY1" fmla="*/ 94966 h 95795"/>
                <a:gd name="connsiteX2" fmla="*/ 35573 w 39719"/>
                <a:gd name="connsiteY2" fmla="*/ 40388 h 95795"/>
                <a:gd name="connsiteX3" fmla="*/ 33954 w 39719"/>
                <a:gd name="connsiteY3" fmla="*/ 18099 h 95795"/>
                <a:gd name="connsiteX4" fmla="*/ 33954 w 39719"/>
                <a:gd name="connsiteY4" fmla="*/ 18099 h 95795"/>
                <a:gd name="connsiteX5" fmla="*/ 33192 w 39719"/>
                <a:gd name="connsiteY5" fmla="*/ 6574 h 95795"/>
                <a:gd name="connsiteX6" fmla="*/ 28239 w 39719"/>
                <a:gd name="connsiteY6" fmla="*/ 4383 h 95795"/>
                <a:gd name="connsiteX7" fmla="*/ -336 w 39719"/>
                <a:gd name="connsiteY7" fmla="*/ 288 h 95795"/>
                <a:gd name="connsiteX8" fmla="*/ 14713 w 39719"/>
                <a:gd name="connsiteY8" fmla="*/ 36578 h 95795"/>
                <a:gd name="connsiteX9" fmla="*/ 39097 w 39719"/>
                <a:gd name="connsiteY9" fmla="*/ 95061 h 95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719" h="95795">
                  <a:moveTo>
                    <a:pt x="39383" y="95633"/>
                  </a:moveTo>
                  <a:lnTo>
                    <a:pt x="39383" y="94966"/>
                  </a:lnTo>
                  <a:lnTo>
                    <a:pt x="35573" y="40388"/>
                  </a:lnTo>
                  <a:lnTo>
                    <a:pt x="33954" y="18099"/>
                  </a:lnTo>
                  <a:lnTo>
                    <a:pt x="33954" y="18099"/>
                  </a:lnTo>
                  <a:lnTo>
                    <a:pt x="33192" y="6574"/>
                  </a:lnTo>
                  <a:cubicBezTo>
                    <a:pt x="31477" y="5717"/>
                    <a:pt x="29858" y="5050"/>
                    <a:pt x="28239" y="4383"/>
                  </a:cubicBezTo>
                  <a:cubicBezTo>
                    <a:pt x="19266" y="440"/>
                    <a:pt x="9389" y="-979"/>
                    <a:pt x="-336" y="288"/>
                  </a:cubicBezTo>
                  <a:lnTo>
                    <a:pt x="14713" y="36578"/>
                  </a:lnTo>
                  <a:lnTo>
                    <a:pt x="39097" y="95061"/>
                  </a:lnTo>
                  <a:close/>
                </a:path>
              </a:pathLst>
            </a:custGeom>
            <a:solidFill>
              <a:srgbClr val="FF7D33"/>
            </a:solidFill>
            <a:ln w="9525" cap="flat">
              <a:noFill/>
              <a:prstDash val="solid"/>
              <a:miter/>
            </a:ln>
          </p:spPr>
          <p:txBody>
            <a:bodyPr rtlCol="0" anchor="ctr"/>
            <a:lstStyle/>
            <a:p>
              <a:endParaRPr lang="zh-CN" altLang="en-US"/>
            </a:p>
          </p:txBody>
        </p:sp>
        <p:sp>
          <p:nvSpPr>
            <p:cNvPr id="850" name="îsľîḓe">
              <a:extLst>
                <a:ext uri="{FF2B5EF4-FFF2-40B4-BE49-F238E27FC236}">
                  <a16:creationId xmlns:a16="http://schemas.microsoft.com/office/drawing/2014/main" id="{25364711-C8E9-4C80-B7DA-136A87B2F5E4}"/>
                </a:ext>
              </a:extLst>
            </p:cNvPr>
            <p:cNvSpPr/>
            <p:nvPr/>
          </p:nvSpPr>
          <p:spPr>
            <a:xfrm>
              <a:off x="5988916" y="3029404"/>
              <a:ext cx="104084" cy="51025"/>
            </a:xfrm>
            <a:custGeom>
              <a:avLst/>
              <a:gdLst>
                <a:gd name="connsiteX0" fmla="*/ 12237 w 34194"/>
                <a:gd name="connsiteY0" fmla="*/ 12220 h 16763"/>
                <a:gd name="connsiteX1" fmla="*/ 33858 w 34194"/>
                <a:gd name="connsiteY1" fmla="*/ -163 h 16763"/>
                <a:gd name="connsiteX2" fmla="*/ 21381 w 34194"/>
                <a:gd name="connsiteY2" fmla="*/ 4219 h 16763"/>
                <a:gd name="connsiteX3" fmla="*/ -336 w 34194"/>
                <a:gd name="connsiteY3" fmla="*/ 16601 h 16763"/>
                <a:gd name="connsiteX4" fmla="*/ 11665 w 34194"/>
                <a:gd name="connsiteY4" fmla="*/ 12315 h 16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194" h="16763">
                  <a:moveTo>
                    <a:pt x="12237" y="12220"/>
                  </a:moveTo>
                  <a:lnTo>
                    <a:pt x="33858" y="-163"/>
                  </a:lnTo>
                  <a:cubicBezTo>
                    <a:pt x="29458" y="485"/>
                    <a:pt x="25219" y="1971"/>
                    <a:pt x="21381" y="4219"/>
                  </a:cubicBezTo>
                  <a:lnTo>
                    <a:pt x="-336" y="16601"/>
                  </a:lnTo>
                  <a:cubicBezTo>
                    <a:pt x="3379" y="14468"/>
                    <a:pt x="7445" y="13020"/>
                    <a:pt x="11665" y="12315"/>
                  </a:cubicBezTo>
                  <a:close/>
                </a:path>
              </a:pathLst>
            </a:custGeom>
            <a:solidFill>
              <a:srgbClr val="E1E8F2"/>
            </a:solidFill>
            <a:ln w="9525" cap="flat">
              <a:noFill/>
              <a:prstDash val="solid"/>
              <a:miter/>
            </a:ln>
          </p:spPr>
          <p:txBody>
            <a:bodyPr rtlCol="0" anchor="ctr"/>
            <a:lstStyle/>
            <a:p>
              <a:endParaRPr lang="zh-CN" altLang="en-US"/>
            </a:p>
          </p:txBody>
        </p:sp>
        <p:sp>
          <p:nvSpPr>
            <p:cNvPr id="851" name="iS1ïḍe">
              <a:extLst>
                <a:ext uri="{FF2B5EF4-FFF2-40B4-BE49-F238E27FC236}">
                  <a16:creationId xmlns:a16="http://schemas.microsoft.com/office/drawing/2014/main" id="{754B52E0-E4BA-4E0E-A20C-4CFD294F2D87}"/>
                </a:ext>
              </a:extLst>
            </p:cNvPr>
            <p:cNvSpPr/>
            <p:nvPr/>
          </p:nvSpPr>
          <p:spPr>
            <a:xfrm>
              <a:off x="5922233" y="3067383"/>
              <a:ext cx="225856" cy="376044"/>
            </a:xfrm>
            <a:custGeom>
              <a:avLst/>
              <a:gdLst>
                <a:gd name="connsiteX0" fmla="*/ 73863 w 74199"/>
                <a:gd name="connsiteY0" fmla="*/ 95183 h 123539"/>
                <a:gd name="connsiteX1" fmla="*/ 73863 w 74199"/>
                <a:gd name="connsiteY1" fmla="*/ 95183 h 123539"/>
                <a:gd name="connsiteX2" fmla="*/ 73863 w 74199"/>
                <a:gd name="connsiteY2" fmla="*/ 94611 h 123539"/>
                <a:gd name="connsiteX3" fmla="*/ 49479 w 74199"/>
                <a:gd name="connsiteY3" fmla="*/ 36128 h 123539"/>
                <a:gd name="connsiteX4" fmla="*/ 34430 w 74199"/>
                <a:gd name="connsiteY4" fmla="*/ -163 h 123539"/>
                <a:gd name="connsiteX5" fmla="*/ 33477 w 74199"/>
                <a:gd name="connsiteY5" fmla="*/ -163 h 123539"/>
                <a:gd name="connsiteX6" fmla="*/ 21476 w 74199"/>
                <a:gd name="connsiteY6" fmla="*/ 4124 h 123539"/>
                <a:gd name="connsiteX7" fmla="*/ -336 w 74199"/>
                <a:gd name="connsiteY7" fmla="*/ 51749 h 123539"/>
                <a:gd name="connsiteX8" fmla="*/ 20237 w 74199"/>
                <a:gd name="connsiteY8" fmla="*/ 123377 h 123539"/>
                <a:gd name="connsiteX9" fmla="*/ 40621 w 74199"/>
                <a:gd name="connsiteY9" fmla="*/ 112518 h 123539"/>
                <a:gd name="connsiteX10" fmla="*/ 42335 w 74199"/>
                <a:gd name="connsiteY10" fmla="*/ 111661 h 123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4199" h="123539">
                  <a:moveTo>
                    <a:pt x="73863" y="95183"/>
                  </a:moveTo>
                  <a:lnTo>
                    <a:pt x="73863" y="95183"/>
                  </a:lnTo>
                  <a:lnTo>
                    <a:pt x="73863" y="94611"/>
                  </a:lnTo>
                  <a:lnTo>
                    <a:pt x="49479" y="36128"/>
                  </a:lnTo>
                  <a:lnTo>
                    <a:pt x="34430" y="-163"/>
                  </a:lnTo>
                  <a:lnTo>
                    <a:pt x="33477" y="-163"/>
                  </a:lnTo>
                  <a:cubicBezTo>
                    <a:pt x="29258" y="542"/>
                    <a:pt x="25191" y="1990"/>
                    <a:pt x="21476" y="4124"/>
                  </a:cubicBezTo>
                  <a:cubicBezTo>
                    <a:pt x="8045" y="11839"/>
                    <a:pt x="-336" y="28412"/>
                    <a:pt x="-336" y="51749"/>
                  </a:cubicBezTo>
                  <a:cubicBezTo>
                    <a:pt x="426" y="76971"/>
                    <a:pt x="7503" y="101593"/>
                    <a:pt x="20237" y="123377"/>
                  </a:cubicBezTo>
                  <a:lnTo>
                    <a:pt x="40621" y="112518"/>
                  </a:lnTo>
                  <a:lnTo>
                    <a:pt x="42335" y="111661"/>
                  </a:lnTo>
                  <a:close/>
                </a:path>
              </a:pathLst>
            </a:custGeom>
            <a:solidFill>
              <a:srgbClr val="EDF4FF"/>
            </a:solidFill>
            <a:ln w="9525" cap="flat">
              <a:noFill/>
              <a:prstDash val="solid"/>
              <a:miter/>
            </a:ln>
          </p:spPr>
          <p:txBody>
            <a:bodyPr rtlCol="0" anchor="ctr"/>
            <a:lstStyle/>
            <a:p>
              <a:endParaRPr lang="zh-CN" altLang="en-US"/>
            </a:p>
          </p:txBody>
        </p:sp>
        <p:sp>
          <p:nvSpPr>
            <p:cNvPr id="852" name="iSḷíḍê">
              <a:extLst>
                <a:ext uri="{FF2B5EF4-FFF2-40B4-BE49-F238E27FC236}">
                  <a16:creationId xmlns:a16="http://schemas.microsoft.com/office/drawing/2014/main" id="{5AAECCBF-A759-4354-BEF5-A747019A8EAE}"/>
                </a:ext>
              </a:extLst>
            </p:cNvPr>
            <p:cNvSpPr/>
            <p:nvPr/>
          </p:nvSpPr>
          <p:spPr>
            <a:xfrm>
              <a:off x="6128955" y="3086231"/>
              <a:ext cx="196285" cy="271086"/>
            </a:xfrm>
            <a:custGeom>
              <a:avLst/>
              <a:gdLst>
                <a:gd name="connsiteX0" fmla="*/ 64148 w 64484"/>
                <a:gd name="connsiteY0" fmla="*/ 69370 h 89058"/>
                <a:gd name="connsiteX1" fmla="*/ 61862 w 64484"/>
                <a:gd name="connsiteY1" fmla="*/ 64988 h 89058"/>
                <a:gd name="connsiteX2" fmla="*/ 23286 w 64484"/>
                <a:gd name="connsiteY2" fmla="*/ 15554 h 89058"/>
                <a:gd name="connsiteX3" fmla="*/ 6141 w 64484"/>
                <a:gd name="connsiteY3" fmla="*/ 3266 h 89058"/>
                <a:gd name="connsiteX4" fmla="*/ -336 w 64484"/>
                <a:gd name="connsiteY4" fmla="*/ -163 h 89058"/>
                <a:gd name="connsiteX5" fmla="*/ 426 w 64484"/>
                <a:gd name="connsiteY5" fmla="*/ 11363 h 89058"/>
                <a:gd name="connsiteX6" fmla="*/ 426 w 64484"/>
                <a:gd name="connsiteY6" fmla="*/ 11363 h 89058"/>
                <a:gd name="connsiteX7" fmla="*/ 2045 w 64484"/>
                <a:gd name="connsiteY7" fmla="*/ 33651 h 89058"/>
                <a:gd name="connsiteX8" fmla="*/ 5855 w 64484"/>
                <a:gd name="connsiteY8" fmla="*/ 88229 h 89058"/>
                <a:gd name="connsiteX9" fmla="*/ 5855 w 64484"/>
                <a:gd name="connsiteY9" fmla="*/ 88896 h 89058"/>
                <a:gd name="connsiteX10" fmla="*/ 5855 w 64484"/>
                <a:gd name="connsiteY10" fmla="*/ 88896 h 89058"/>
                <a:gd name="connsiteX11" fmla="*/ 30334 w 64484"/>
                <a:gd name="connsiteY11" fmla="*/ 80705 h 89058"/>
                <a:gd name="connsiteX12" fmla="*/ 41764 w 64484"/>
                <a:gd name="connsiteY12" fmla="*/ 76418 h 890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4484" h="89058">
                  <a:moveTo>
                    <a:pt x="64148" y="69370"/>
                  </a:moveTo>
                  <a:lnTo>
                    <a:pt x="61862" y="64988"/>
                  </a:lnTo>
                  <a:cubicBezTo>
                    <a:pt x="52204" y="46243"/>
                    <a:pt x="39126" y="29479"/>
                    <a:pt x="23286" y="15554"/>
                  </a:cubicBezTo>
                  <a:cubicBezTo>
                    <a:pt x="17961" y="10934"/>
                    <a:pt x="12218" y="6829"/>
                    <a:pt x="6141" y="3266"/>
                  </a:cubicBezTo>
                  <a:lnTo>
                    <a:pt x="-336" y="-163"/>
                  </a:lnTo>
                  <a:lnTo>
                    <a:pt x="426" y="11363"/>
                  </a:lnTo>
                  <a:lnTo>
                    <a:pt x="426" y="11363"/>
                  </a:lnTo>
                  <a:lnTo>
                    <a:pt x="2045" y="33651"/>
                  </a:lnTo>
                  <a:lnTo>
                    <a:pt x="5855" y="88229"/>
                  </a:lnTo>
                  <a:lnTo>
                    <a:pt x="5855" y="88896"/>
                  </a:lnTo>
                  <a:lnTo>
                    <a:pt x="5855" y="88896"/>
                  </a:lnTo>
                  <a:lnTo>
                    <a:pt x="30334" y="80705"/>
                  </a:lnTo>
                  <a:lnTo>
                    <a:pt x="41764" y="76418"/>
                  </a:lnTo>
                  <a:close/>
                </a:path>
              </a:pathLst>
            </a:custGeom>
            <a:solidFill>
              <a:srgbClr val="D9530B"/>
            </a:solidFill>
            <a:ln w="9525" cap="flat">
              <a:noFill/>
              <a:prstDash val="solid"/>
              <a:miter/>
            </a:ln>
          </p:spPr>
          <p:txBody>
            <a:bodyPr rtlCol="0" anchor="ctr"/>
            <a:lstStyle/>
            <a:p>
              <a:endParaRPr lang="zh-CN" altLang="en-US"/>
            </a:p>
          </p:txBody>
        </p:sp>
        <p:sp>
          <p:nvSpPr>
            <p:cNvPr id="853" name="íṥľîdé">
              <a:extLst>
                <a:ext uri="{FF2B5EF4-FFF2-40B4-BE49-F238E27FC236}">
                  <a16:creationId xmlns:a16="http://schemas.microsoft.com/office/drawing/2014/main" id="{238E2079-D109-4040-B9FB-DFEA3E0F6BDE}"/>
                </a:ext>
              </a:extLst>
            </p:cNvPr>
            <p:cNvSpPr/>
            <p:nvPr/>
          </p:nvSpPr>
          <p:spPr>
            <a:xfrm>
              <a:off x="6128955" y="3048249"/>
              <a:ext cx="262100" cy="249632"/>
            </a:xfrm>
            <a:custGeom>
              <a:avLst/>
              <a:gdLst>
                <a:gd name="connsiteX0" fmla="*/ 64148 w 86106"/>
                <a:gd name="connsiteY0" fmla="*/ 81848 h 82010"/>
                <a:gd name="connsiteX1" fmla="*/ 85770 w 86106"/>
                <a:gd name="connsiteY1" fmla="*/ 69465 h 82010"/>
                <a:gd name="connsiteX2" fmla="*/ 27858 w 86106"/>
                <a:gd name="connsiteY2" fmla="*/ 3362 h 82010"/>
                <a:gd name="connsiteX3" fmla="*/ 21286 w 86106"/>
                <a:gd name="connsiteY3" fmla="*/ -163 h 82010"/>
                <a:gd name="connsiteX4" fmla="*/ -336 w 86106"/>
                <a:gd name="connsiteY4" fmla="*/ 12696 h 82010"/>
                <a:gd name="connsiteX5" fmla="*/ 6141 w 86106"/>
                <a:gd name="connsiteY5" fmla="*/ 16125 h 82010"/>
                <a:gd name="connsiteX6" fmla="*/ 23286 w 86106"/>
                <a:gd name="connsiteY6" fmla="*/ 28412 h 82010"/>
                <a:gd name="connsiteX7" fmla="*/ 61862 w 86106"/>
                <a:gd name="connsiteY7" fmla="*/ 77847 h 82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6106" h="82010">
                  <a:moveTo>
                    <a:pt x="64148" y="81848"/>
                  </a:moveTo>
                  <a:lnTo>
                    <a:pt x="85770" y="69465"/>
                  </a:lnTo>
                  <a:cubicBezTo>
                    <a:pt x="73168" y="42357"/>
                    <a:pt x="53071" y="19421"/>
                    <a:pt x="27858" y="3362"/>
                  </a:cubicBezTo>
                  <a:cubicBezTo>
                    <a:pt x="25724" y="2076"/>
                    <a:pt x="23533" y="904"/>
                    <a:pt x="21286" y="-163"/>
                  </a:cubicBezTo>
                  <a:lnTo>
                    <a:pt x="-336" y="12696"/>
                  </a:lnTo>
                  <a:lnTo>
                    <a:pt x="6141" y="16125"/>
                  </a:lnTo>
                  <a:cubicBezTo>
                    <a:pt x="12218" y="19687"/>
                    <a:pt x="17961" y="23793"/>
                    <a:pt x="23286" y="28412"/>
                  </a:cubicBezTo>
                  <a:cubicBezTo>
                    <a:pt x="39126" y="42338"/>
                    <a:pt x="52204" y="59102"/>
                    <a:pt x="61862" y="77847"/>
                  </a:cubicBezTo>
                  <a:close/>
                </a:path>
              </a:pathLst>
            </a:custGeom>
            <a:solidFill>
              <a:srgbClr val="BF4200"/>
            </a:solidFill>
            <a:ln w="9525" cap="flat">
              <a:noFill/>
              <a:prstDash val="solid"/>
              <a:miter/>
            </a:ln>
          </p:spPr>
          <p:txBody>
            <a:bodyPr rtlCol="0" anchor="ctr"/>
            <a:lstStyle/>
            <a:p>
              <a:endParaRPr lang="zh-CN" altLang="en-US"/>
            </a:p>
          </p:txBody>
        </p:sp>
        <p:sp>
          <p:nvSpPr>
            <p:cNvPr id="854" name="ïṩḻíḓè">
              <a:extLst>
                <a:ext uri="{FF2B5EF4-FFF2-40B4-BE49-F238E27FC236}">
                  <a16:creationId xmlns:a16="http://schemas.microsoft.com/office/drawing/2014/main" id="{2365F1C0-E6F1-4720-A934-B31488390561}"/>
                </a:ext>
              </a:extLst>
            </p:cNvPr>
            <p:cNvSpPr/>
            <p:nvPr/>
          </p:nvSpPr>
          <p:spPr>
            <a:xfrm>
              <a:off x="6765069" y="3674485"/>
              <a:ext cx="227887" cy="124981"/>
            </a:xfrm>
            <a:custGeom>
              <a:avLst/>
              <a:gdLst>
                <a:gd name="connsiteX0" fmla="*/ -336 w 74866"/>
                <a:gd name="connsiteY0" fmla="*/ 3940 h 41059"/>
                <a:gd name="connsiteX1" fmla="*/ 2045 w 74866"/>
                <a:gd name="connsiteY1" fmla="*/ 3178 h 41059"/>
                <a:gd name="connsiteX2" fmla="*/ 12141 w 74866"/>
                <a:gd name="connsiteY2" fmla="*/ 5654 h 41059"/>
                <a:gd name="connsiteX3" fmla="*/ 67672 w 74866"/>
                <a:gd name="connsiteY3" fmla="*/ 37658 h 41059"/>
                <a:gd name="connsiteX4" fmla="*/ 73292 w 74866"/>
                <a:gd name="connsiteY4" fmla="*/ 40897 h 41059"/>
                <a:gd name="connsiteX5" fmla="*/ 74530 w 74866"/>
                <a:gd name="connsiteY5" fmla="*/ 35087 h 41059"/>
                <a:gd name="connsiteX6" fmla="*/ 74530 w 74866"/>
                <a:gd name="connsiteY6" fmla="*/ 35087 h 41059"/>
                <a:gd name="connsiteX7" fmla="*/ 73292 w 74866"/>
                <a:gd name="connsiteY7" fmla="*/ 34420 h 41059"/>
                <a:gd name="connsiteX8" fmla="*/ 17761 w 74866"/>
                <a:gd name="connsiteY8" fmla="*/ 2321 h 41059"/>
                <a:gd name="connsiteX9" fmla="*/ 5283 w 74866"/>
                <a:gd name="connsiteY9" fmla="*/ 606 h 41059"/>
                <a:gd name="connsiteX10" fmla="*/ 3950 w 74866"/>
                <a:gd name="connsiteY10" fmla="*/ 1463 h 41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4866" h="41059">
                  <a:moveTo>
                    <a:pt x="-336" y="3940"/>
                  </a:moveTo>
                  <a:cubicBezTo>
                    <a:pt x="416" y="3578"/>
                    <a:pt x="1226" y="3330"/>
                    <a:pt x="2045" y="3178"/>
                  </a:cubicBezTo>
                  <a:cubicBezTo>
                    <a:pt x="5598" y="2806"/>
                    <a:pt x="9160" y="3683"/>
                    <a:pt x="12141" y="5654"/>
                  </a:cubicBezTo>
                  <a:lnTo>
                    <a:pt x="67672" y="37658"/>
                  </a:lnTo>
                  <a:lnTo>
                    <a:pt x="73292" y="40897"/>
                  </a:lnTo>
                  <a:cubicBezTo>
                    <a:pt x="73254" y="38887"/>
                    <a:pt x="73682" y="36906"/>
                    <a:pt x="74530" y="35087"/>
                  </a:cubicBezTo>
                  <a:lnTo>
                    <a:pt x="74530" y="35087"/>
                  </a:lnTo>
                  <a:lnTo>
                    <a:pt x="73292" y="34420"/>
                  </a:lnTo>
                  <a:lnTo>
                    <a:pt x="17761" y="2321"/>
                  </a:lnTo>
                  <a:cubicBezTo>
                    <a:pt x="14113" y="-213"/>
                    <a:pt x="9474" y="-851"/>
                    <a:pt x="5283" y="606"/>
                  </a:cubicBezTo>
                  <a:lnTo>
                    <a:pt x="3950" y="1463"/>
                  </a:lnTo>
                  <a:close/>
                </a:path>
              </a:pathLst>
            </a:custGeom>
            <a:solidFill>
              <a:srgbClr val="316DE6"/>
            </a:solidFill>
            <a:ln w="9525" cap="flat">
              <a:noFill/>
              <a:prstDash val="solid"/>
              <a:miter/>
            </a:ln>
          </p:spPr>
          <p:txBody>
            <a:bodyPr rtlCol="0" anchor="ctr"/>
            <a:lstStyle/>
            <a:p>
              <a:endParaRPr lang="zh-CN" altLang="en-US"/>
            </a:p>
          </p:txBody>
        </p:sp>
        <p:sp>
          <p:nvSpPr>
            <p:cNvPr id="855" name="î$ļíḍè">
              <a:extLst>
                <a:ext uri="{FF2B5EF4-FFF2-40B4-BE49-F238E27FC236}">
                  <a16:creationId xmlns:a16="http://schemas.microsoft.com/office/drawing/2014/main" id="{361C565A-8A9B-4D05-910C-FE9014D6B379}"/>
                </a:ext>
              </a:extLst>
            </p:cNvPr>
            <p:cNvSpPr/>
            <p:nvPr/>
          </p:nvSpPr>
          <p:spPr>
            <a:xfrm>
              <a:off x="6745907" y="3685848"/>
              <a:ext cx="390855" cy="518177"/>
            </a:xfrm>
            <a:custGeom>
              <a:avLst/>
              <a:gdLst>
                <a:gd name="connsiteX0" fmla="*/ -328 w 128405"/>
                <a:gd name="connsiteY0" fmla="*/ 12780 h 170233"/>
                <a:gd name="connsiteX1" fmla="*/ -328 w 128405"/>
                <a:gd name="connsiteY1" fmla="*/ 17066 h 170233"/>
                <a:gd name="connsiteX2" fmla="*/ 5292 w 128405"/>
                <a:gd name="connsiteY2" fmla="*/ 20400 h 170233"/>
                <a:gd name="connsiteX3" fmla="*/ 51488 w 128405"/>
                <a:gd name="connsiteY3" fmla="*/ 46974 h 170233"/>
                <a:gd name="connsiteX4" fmla="*/ 86730 w 128405"/>
                <a:gd name="connsiteY4" fmla="*/ 67072 h 170233"/>
                <a:gd name="connsiteX5" fmla="*/ 105780 w 128405"/>
                <a:gd name="connsiteY5" fmla="*/ 99552 h 170233"/>
                <a:gd name="connsiteX6" fmla="*/ 105780 w 128405"/>
                <a:gd name="connsiteY6" fmla="*/ 162989 h 170233"/>
                <a:gd name="connsiteX7" fmla="*/ 116829 w 128405"/>
                <a:gd name="connsiteY7" fmla="*/ 168609 h 170233"/>
                <a:gd name="connsiteX8" fmla="*/ 116829 w 128405"/>
                <a:gd name="connsiteY8" fmla="*/ 168609 h 170233"/>
                <a:gd name="connsiteX9" fmla="*/ 128069 w 128405"/>
                <a:gd name="connsiteY9" fmla="*/ 149559 h 170233"/>
                <a:gd name="connsiteX10" fmla="*/ 128069 w 128405"/>
                <a:gd name="connsiteY10" fmla="*/ 65358 h 170233"/>
                <a:gd name="connsiteX11" fmla="*/ 114353 w 128405"/>
                <a:gd name="connsiteY11" fmla="*/ 41640 h 170233"/>
                <a:gd name="connsiteX12" fmla="*/ 93779 w 128405"/>
                <a:gd name="connsiteY12" fmla="*/ 29734 h 170233"/>
                <a:gd name="connsiteX13" fmla="*/ 87302 w 128405"/>
                <a:gd name="connsiteY13" fmla="*/ 27924 h 170233"/>
                <a:gd name="connsiteX14" fmla="*/ 84635 w 128405"/>
                <a:gd name="connsiteY14" fmla="*/ 28496 h 170233"/>
                <a:gd name="connsiteX15" fmla="*/ 83778 w 128405"/>
                <a:gd name="connsiteY15" fmla="*/ 28972 h 170233"/>
                <a:gd name="connsiteX16" fmla="*/ 81301 w 128405"/>
                <a:gd name="connsiteY16" fmla="*/ 31830 h 170233"/>
                <a:gd name="connsiteX17" fmla="*/ 81301 w 128405"/>
                <a:gd name="connsiteY17" fmla="*/ 31830 h 170233"/>
                <a:gd name="connsiteX18" fmla="*/ 80063 w 128405"/>
                <a:gd name="connsiteY18" fmla="*/ 37640 h 170233"/>
                <a:gd name="connsiteX19" fmla="*/ 74443 w 128405"/>
                <a:gd name="connsiteY19" fmla="*/ 34401 h 170233"/>
                <a:gd name="connsiteX20" fmla="*/ 18913 w 128405"/>
                <a:gd name="connsiteY20" fmla="*/ 2397 h 170233"/>
                <a:gd name="connsiteX21" fmla="*/ 8816 w 128405"/>
                <a:gd name="connsiteY21" fmla="*/ -79 h 170233"/>
                <a:gd name="connsiteX22" fmla="*/ 6435 w 128405"/>
                <a:gd name="connsiteY22" fmla="*/ 683 h 170233"/>
                <a:gd name="connsiteX23" fmla="*/ 5006 w 128405"/>
                <a:gd name="connsiteY23" fmla="*/ 1445 h 170233"/>
                <a:gd name="connsiteX24" fmla="*/ -328 w 128405"/>
                <a:gd name="connsiteY24" fmla="*/ 12780 h 170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28405" h="170233">
                  <a:moveTo>
                    <a:pt x="-328" y="12780"/>
                  </a:moveTo>
                  <a:lnTo>
                    <a:pt x="-328" y="17066"/>
                  </a:lnTo>
                  <a:lnTo>
                    <a:pt x="5292" y="20400"/>
                  </a:lnTo>
                  <a:lnTo>
                    <a:pt x="51488" y="46974"/>
                  </a:lnTo>
                  <a:lnTo>
                    <a:pt x="86730" y="67072"/>
                  </a:lnTo>
                  <a:cubicBezTo>
                    <a:pt x="97932" y="74206"/>
                    <a:pt x="105019" y="86294"/>
                    <a:pt x="105780" y="99552"/>
                  </a:cubicBezTo>
                  <a:lnTo>
                    <a:pt x="105780" y="162989"/>
                  </a:lnTo>
                  <a:cubicBezTo>
                    <a:pt x="105780" y="169371"/>
                    <a:pt x="110924" y="171942"/>
                    <a:pt x="116829" y="168609"/>
                  </a:cubicBezTo>
                  <a:lnTo>
                    <a:pt x="116829" y="168609"/>
                  </a:lnTo>
                  <a:cubicBezTo>
                    <a:pt x="123364" y="164380"/>
                    <a:pt x="127526" y="157322"/>
                    <a:pt x="128069" y="149559"/>
                  </a:cubicBezTo>
                  <a:lnTo>
                    <a:pt x="128069" y="65358"/>
                  </a:lnTo>
                  <a:cubicBezTo>
                    <a:pt x="127526" y="55718"/>
                    <a:pt x="122430" y="46917"/>
                    <a:pt x="114353" y="41640"/>
                  </a:cubicBezTo>
                  <a:lnTo>
                    <a:pt x="93779" y="29734"/>
                  </a:lnTo>
                  <a:cubicBezTo>
                    <a:pt x="91836" y="28524"/>
                    <a:pt x="89588" y="27896"/>
                    <a:pt x="87302" y="27924"/>
                  </a:cubicBezTo>
                  <a:cubicBezTo>
                    <a:pt x="86387" y="27953"/>
                    <a:pt x="85483" y="28153"/>
                    <a:pt x="84635" y="28496"/>
                  </a:cubicBezTo>
                  <a:lnTo>
                    <a:pt x="83778" y="28972"/>
                  </a:lnTo>
                  <a:cubicBezTo>
                    <a:pt x="82721" y="29696"/>
                    <a:pt x="81863" y="30677"/>
                    <a:pt x="81301" y="31830"/>
                  </a:cubicBezTo>
                  <a:lnTo>
                    <a:pt x="81301" y="31830"/>
                  </a:lnTo>
                  <a:cubicBezTo>
                    <a:pt x="80454" y="33649"/>
                    <a:pt x="80025" y="35630"/>
                    <a:pt x="80063" y="37640"/>
                  </a:cubicBezTo>
                  <a:lnTo>
                    <a:pt x="74443" y="34401"/>
                  </a:lnTo>
                  <a:lnTo>
                    <a:pt x="18913" y="2397"/>
                  </a:lnTo>
                  <a:cubicBezTo>
                    <a:pt x="15931" y="426"/>
                    <a:pt x="12369" y="-451"/>
                    <a:pt x="8816" y="-79"/>
                  </a:cubicBezTo>
                  <a:cubicBezTo>
                    <a:pt x="7997" y="73"/>
                    <a:pt x="7187" y="321"/>
                    <a:pt x="6435" y="683"/>
                  </a:cubicBezTo>
                  <a:lnTo>
                    <a:pt x="5006" y="1445"/>
                  </a:lnTo>
                  <a:cubicBezTo>
                    <a:pt x="1510" y="4140"/>
                    <a:pt x="-480" y="8360"/>
                    <a:pt x="-328" y="12780"/>
                  </a:cubicBezTo>
                  <a:close/>
                </a:path>
              </a:pathLst>
            </a:custGeom>
            <a:solidFill>
              <a:srgbClr val="323A82"/>
            </a:solidFill>
            <a:ln w="9525" cap="flat">
              <a:noFill/>
              <a:prstDash val="solid"/>
              <a:miter/>
            </a:ln>
          </p:spPr>
          <p:txBody>
            <a:bodyPr rtlCol="0" anchor="ctr"/>
            <a:lstStyle/>
            <a:p>
              <a:endParaRPr lang="zh-CN" altLang="en-US"/>
            </a:p>
          </p:txBody>
        </p:sp>
        <p:sp>
          <p:nvSpPr>
            <p:cNvPr id="856" name="ïṣlíḓe">
              <a:extLst>
                <a:ext uri="{FF2B5EF4-FFF2-40B4-BE49-F238E27FC236}">
                  <a16:creationId xmlns:a16="http://schemas.microsoft.com/office/drawing/2014/main" id="{09BDFFF9-C1C3-46C8-B229-7742F5A4DA2D}"/>
                </a:ext>
              </a:extLst>
            </p:cNvPr>
            <p:cNvSpPr/>
            <p:nvPr/>
          </p:nvSpPr>
          <p:spPr>
            <a:xfrm>
              <a:off x="6754053" y="3705265"/>
              <a:ext cx="322114" cy="451667"/>
            </a:xfrm>
            <a:custGeom>
              <a:avLst/>
              <a:gdLst>
                <a:gd name="connsiteX0" fmla="*/ 8522 w 105822"/>
                <a:gd name="connsiteY0" fmla="*/ 96127 h 148383"/>
                <a:gd name="connsiteX1" fmla="*/ 96628 w 105822"/>
                <a:gd name="connsiteY1" fmla="*/ 146991 h 148383"/>
                <a:gd name="connsiteX2" fmla="*/ 105486 w 105822"/>
                <a:gd name="connsiteY2" fmla="*/ 141847 h 148383"/>
                <a:gd name="connsiteX3" fmla="*/ 105486 w 105822"/>
                <a:gd name="connsiteY3" fmla="*/ 67266 h 148383"/>
                <a:gd name="connsiteX4" fmla="*/ 96628 w 105822"/>
                <a:gd name="connsiteY4" fmla="*/ 51931 h 148383"/>
                <a:gd name="connsiteX5" fmla="*/ 8522 w 105822"/>
                <a:gd name="connsiteY5" fmla="*/ 1068 h 148383"/>
                <a:gd name="connsiteX6" fmla="*/ -336 w 105822"/>
                <a:gd name="connsiteY6" fmla="*/ 6211 h 148383"/>
                <a:gd name="connsiteX7" fmla="*/ -336 w 105822"/>
                <a:gd name="connsiteY7" fmla="*/ 80697 h 148383"/>
                <a:gd name="connsiteX8" fmla="*/ 8522 w 105822"/>
                <a:gd name="connsiteY8" fmla="*/ 96127 h 1483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822" h="148383">
                  <a:moveTo>
                    <a:pt x="8522" y="96127"/>
                  </a:moveTo>
                  <a:lnTo>
                    <a:pt x="96628" y="146991"/>
                  </a:lnTo>
                  <a:cubicBezTo>
                    <a:pt x="101486" y="149848"/>
                    <a:pt x="105486" y="147562"/>
                    <a:pt x="105486" y="141847"/>
                  </a:cubicBezTo>
                  <a:lnTo>
                    <a:pt x="105486" y="67266"/>
                  </a:lnTo>
                  <a:cubicBezTo>
                    <a:pt x="105143" y="61037"/>
                    <a:pt x="101848" y="55341"/>
                    <a:pt x="96628" y="51931"/>
                  </a:cubicBezTo>
                  <a:lnTo>
                    <a:pt x="8522" y="1068"/>
                  </a:lnTo>
                  <a:cubicBezTo>
                    <a:pt x="3664" y="-1790"/>
                    <a:pt x="-336" y="496"/>
                    <a:pt x="-336" y="6211"/>
                  </a:cubicBezTo>
                  <a:lnTo>
                    <a:pt x="-336" y="80697"/>
                  </a:lnTo>
                  <a:cubicBezTo>
                    <a:pt x="-22" y="86964"/>
                    <a:pt x="3274" y="92698"/>
                    <a:pt x="8522" y="96127"/>
                  </a:cubicBezTo>
                  <a:close/>
                </a:path>
              </a:pathLst>
            </a:custGeom>
            <a:solidFill>
              <a:srgbClr val="D1D9E8"/>
            </a:solidFill>
            <a:ln w="9525" cap="flat">
              <a:noFill/>
              <a:prstDash val="solid"/>
              <a:miter/>
            </a:ln>
          </p:spPr>
          <p:txBody>
            <a:bodyPr rtlCol="0" anchor="ctr"/>
            <a:lstStyle/>
            <a:p>
              <a:endParaRPr lang="zh-CN" altLang="en-US"/>
            </a:p>
          </p:txBody>
        </p:sp>
        <p:sp>
          <p:nvSpPr>
            <p:cNvPr id="857" name="ïśḻïďé">
              <a:extLst>
                <a:ext uri="{FF2B5EF4-FFF2-40B4-BE49-F238E27FC236}">
                  <a16:creationId xmlns:a16="http://schemas.microsoft.com/office/drawing/2014/main" id="{91F87AD4-F703-4D8E-962D-80BE1B5E24FD}"/>
                </a:ext>
              </a:extLst>
            </p:cNvPr>
            <p:cNvSpPr/>
            <p:nvPr/>
          </p:nvSpPr>
          <p:spPr>
            <a:xfrm>
              <a:off x="6736946" y="3715121"/>
              <a:ext cx="322114" cy="451667"/>
            </a:xfrm>
            <a:custGeom>
              <a:avLst/>
              <a:gdLst>
                <a:gd name="connsiteX0" fmla="*/ 8522 w 105822"/>
                <a:gd name="connsiteY0" fmla="*/ 96127 h 148383"/>
                <a:gd name="connsiteX1" fmla="*/ 96628 w 105822"/>
                <a:gd name="connsiteY1" fmla="*/ 146991 h 148383"/>
                <a:gd name="connsiteX2" fmla="*/ 105487 w 105822"/>
                <a:gd name="connsiteY2" fmla="*/ 141847 h 148383"/>
                <a:gd name="connsiteX3" fmla="*/ 105487 w 105822"/>
                <a:gd name="connsiteY3" fmla="*/ 67362 h 148383"/>
                <a:gd name="connsiteX4" fmla="*/ 96628 w 105822"/>
                <a:gd name="connsiteY4" fmla="*/ 51931 h 148383"/>
                <a:gd name="connsiteX5" fmla="*/ 8522 w 105822"/>
                <a:gd name="connsiteY5" fmla="*/ 1068 h 148383"/>
                <a:gd name="connsiteX6" fmla="*/ -336 w 105822"/>
                <a:gd name="connsiteY6" fmla="*/ 6211 h 148383"/>
                <a:gd name="connsiteX7" fmla="*/ -336 w 105822"/>
                <a:gd name="connsiteY7" fmla="*/ 80792 h 148383"/>
                <a:gd name="connsiteX8" fmla="*/ 8522 w 105822"/>
                <a:gd name="connsiteY8" fmla="*/ 96127 h 1483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822" h="148383">
                  <a:moveTo>
                    <a:pt x="8522" y="96127"/>
                  </a:moveTo>
                  <a:lnTo>
                    <a:pt x="96628" y="146991"/>
                  </a:lnTo>
                  <a:cubicBezTo>
                    <a:pt x="101486" y="149848"/>
                    <a:pt x="105487" y="147562"/>
                    <a:pt x="105487" y="141847"/>
                  </a:cubicBezTo>
                  <a:lnTo>
                    <a:pt x="105487" y="67362"/>
                  </a:lnTo>
                  <a:cubicBezTo>
                    <a:pt x="105172" y="61094"/>
                    <a:pt x="101877" y="55360"/>
                    <a:pt x="96628" y="51931"/>
                  </a:cubicBezTo>
                  <a:lnTo>
                    <a:pt x="8522" y="1068"/>
                  </a:lnTo>
                  <a:cubicBezTo>
                    <a:pt x="3664" y="-1790"/>
                    <a:pt x="-336" y="496"/>
                    <a:pt x="-336" y="6211"/>
                  </a:cubicBezTo>
                  <a:lnTo>
                    <a:pt x="-336" y="80792"/>
                  </a:lnTo>
                  <a:cubicBezTo>
                    <a:pt x="7" y="87021"/>
                    <a:pt x="3302" y="92717"/>
                    <a:pt x="8522" y="96127"/>
                  </a:cubicBezTo>
                  <a:close/>
                </a:path>
              </a:pathLst>
            </a:custGeom>
            <a:solidFill>
              <a:srgbClr val="EDF4FF"/>
            </a:solidFill>
            <a:ln w="9525" cap="flat">
              <a:noFill/>
              <a:prstDash val="solid"/>
              <a:miter/>
            </a:ln>
          </p:spPr>
          <p:txBody>
            <a:bodyPr rtlCol="0" anchor="ctr"/>
            <a:lstStyle/>
            <a:p>
              <a:endParaRPr lang="zh-CN" altLang="en-US"/>
            </a:p>
          </p:txBody>
        </p:sp>
        <p:sp>
          <p:nvSpPr>
            <p:cNvPr id="858" name="íṧḷïḋe">
              <a:extLst>
                <a:ext uri="{FF2B5EF4-FFF2-40B4-BE49-F238E27FC236}">
                  <a16:creationId xmlns:a16="http://schemas.microsoft.com/office/drawing/2014/main" id="{B76787ED-60B1-4E56-B090-58A5664940CA}"/>
                </a:ext>
              </a:extLst>
            </p:cNvPr>
            <p:cNvSpPr/>
            <p:nvPr/>
          </p:nvSpPr>
          <p:spPr>
            <a:xfrm>
              <a:off x="6660525" y="3735385"/>
              <a:ext cx="390146" cy="528581"/>
            </a:xfrm>
            <a:custGeom>
              <a:avLst/>
              <a:gdLst>
                <a:gd name="connsiteX0" fmla="*/ -281 w 128172"/>
                <a:gd name="connsiteY0" fmla="*/ 12698 h 173651"/>
                <a:gd name="connsiteX1" fmla="*/ -281 w 128172"/>
                <a:gd name="connsiteY1" fmla="*/ 86327 h 173651"/>
                <a:gd name="connsiteX2" fmla="*/ 18769 w 128172"/>
                <a:gd name="connsiteY2" fmla="*/ 118807 h 173651"/>
                <a:gd name="connsiteX3" fmla="*/ 109066 w 128172"/>
                <a:gd name="connsiteY3" fmla="*/ 171004 h 173651"/>
                <a:gd name="connsiteX4" fmla="*/ 121639 w 128172"/>
                <a:gd name="connsiteY4" fmla="*/ 172623 h 173651"/>
                <a:gd name="connsiteX5" fmla="*/ 122782 w 128172"/>
                <a:gd name="connsiteY5" fmla="*/ 172052 h 173651"/>
                <a:gd name="connsiteX6" fmla="*/ 124878 w 128172"/>
                <a:gd name="connsiteY6" fmla="*/ 170147 h 173651"/>
                <a:gd name="connsiteX7" fmla="*/ 127830 w 128172"/>
                <a:gd name="connsiteY7" fmla="*/ 160622 h 173651"/>
                <a:gd name="connsiteX8" fmla="*/ 127830 w 128172"/>
                <a:gd name="connsiteY8" fmla="*/ 86993 h 173651"/>
                <a:gd name="connsiteX9" fmla="*/ 108780 w 128172"/>
                <a:gd name="connsiteY9" fmla="*/ 54513 h 173651"/>
                <a:gd name="connsiteX10" fmla="*/ 33343 w 128172"/>
                <a:gd name="connsiteY10" fmla="*/ 10984 h 173651"/>
                <a:gd name="connsiteX11" fmla="*/ 27723 w 128172"/>
                <a:gd name="connsiteY11" fmla="*/ 7745 h 173651"/>
                <a:gd name="connsiteX12" fmla="*/ 18198 w 128172"/>
                <a:gd name="connsiteY12" fmla="*/ 2316 h 173651"/>
                <a:gd name="connsiteX13" fmla="*/ 8006 w 128172"/>
                <a:gd name="connsiteY13" fmla="*/ -65 h 173651"/>
                <a:gd name="connsiteX14" fmla="*/ 4672 w 128172"/>
                <a:gd name="connsiteY14" fmla="*/ 1173 h 173651"/>
                <a:gd name="connsiteX15" fmla="*/ -281 w 128172"/>
                <a:gd name="connsiteY15" fmla="*/ 12698 h 173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8172" h="173651">
                  <a:moveTo>
                    <a:pt x="-281" y="12698"/>
                  </a:moveTo>
                  <a:lnTo>
                    <a:pt x="-281" y="86327"/>
                  </a:lnTo>
                  <a:cubicBezTo>
                    <a:pt x="481" y="99586"/>
                    <a:pt x="7568" y="111673"/>
                    <a:pt x="18769" y="118807"/>
                  </a:cubicBezTo>
                  <a:lnTo>
                    <a:pt x="109066" y="171004"/>
                  </a:lnTo>
                  <a:cubicBezTo>
                    <a:pt x="112733" y="173595"/>
                    <a:pt x="117439" y="174204"/>
                    <a:pt x="121639" y="172623"/>
                  </a:cubicBezTo>
                  <a:lnTo>
                    <a:pt x="122782" y="172052"/>
                  </a:lnTo>
                  <a:cubicBezTo>
                    <a:pt x="123544" y="171499"/>
                    <a:pt x="124249" y="170852"/>
                    <a:pt x="124878" y="170147"/>
                  </a:cubicBezTo>
                  <a:cubicBezTo>
                    <a:pt x="126888" y="167384"/>
                    <a:pt x="127926" y="164032"/>
                    <a:pt x="127830" y="160622"/>
                  </a:cubicBezTo>
                  <a:lnTo>
                    <a:pt x="127830" y="86993"/>
                  </a:lnTo>
                  <a:cubicBezTo>
                    <a:pt x="127040" y="73744"/>
                    <a:pt x="119953" y="61676"/>
                    <a:pt x="108780" y="54513"/>
                  </a:cubicBezTo>
                  <a:lnTo>
                    <a:pt x="33343" y="10984"/>
                  </a:lnTo>
                  <a:lnTo>
                    <a:pt x="27723" y="7745"/>
                  </a:lnTo>
                  <a:lnTo>
                    <a:pt x="18198" y="2316"/>
                  </a:lnTo>
                  <a:cubicBezTo>
                    <a:pt x="15178" y="373"/>
                    <a:pt x="11578" y="-465"/>
                    <a:pt x="8006" y="-65"/>
                  </a:cubicBezTo>
                  <a:cubicBezTo>
                    <a:pt x="6825" y="135"/>
                    <a:pt x="5691" y="554"/>
                    <a:pt x="4672" y="1173"/>
                  </a:cubicBezTo>
                  <a:cubicBezTo>
                    <a:pt x="1177" y="3926"/>
                    <a:pt x="-690" y="8269"/>
                    <a:pt x="-281" y="12698"/>
                  </a:cubicBezTo>
                  <a:close/>
                </a:path>
              </a:pathLst>
            </a:custGeom>
            <a:solidFill>
              <a:srgbClr val="214EA6"/>
            </a:solidFill>
            <a:ln w="9525" cap="flat">
              <a:noFill/>
              <a:prstDash val="solid"/>
              <a:miter/>
            </a:ln>
          </p:spPr>
          <p:txBody>
            <a:bodyPr rtlCol="0" anchor="ctr"/>
            <a:lstStyle/>
            <a:p>
              <a:endParaRPr lang="zh-CN" altLang="en-US"/>
            </a:p>
          </p:txBody>
        </p:sp>
        <p:sp>
          <p:nvSpPr>
            <p:cNvPr id="859" name="iš1ïďè">
              <a:extLst>
                <a:ext uri="{FF2B5EF4-FFF2-40B4-BE49-F238E27FC236}">
                  <a16:creationId xmlns:a16="http://schemas.microsoft.com/office/drawing/2014/main" id="{AEAC9AA5-994C-4D35-B295-90966C0B5A40}"/>
                </a:ext>
              </a:extLst>
            </p:cNvPr>
            <p:cNvSpPr/>
            <p:nvPr/>
          </p:nvSpPr>
          <p:spPr>
            <a:xfrm>
              <a:off x="6676640" y="3721158"/>
              <a:ext cx="477717" cy="536982"/>
            </a:xfrm>
            <a:custGeom>
              <a:avLst/>
              <a:gdLst>
                <a:gd name="connsiteX0" fmla="*/ -336 w 156941"/>
                <a:gd name="connsiteY0" fmla="*/ 5371 h 176411"/>
                <a:gd name="connsiteX1" fmla="*/ 2997 w 156941"/>
                <a:gd name="connsiteY1" fmla="*/ 4132 h 176411"/>
                <a:gd name="connsiteX2" fmla="*/ 13189 w 156941"/>
                <a:gd name="connsiteY2" fmla="*/ 6514 h 176411"/>
                <a:gd name="connsiteX3" fmla="*/ 22714 w 156941"/>
                <a:gd name="connsiteY3" fmla="*/ 11943 h 176411"/>
                <a:gd name="connsiteX4" fmla="*/ 28334 w 156941"/>
                <a:gd name="connsiteY4" fmla="*/ 15181 h 176411"/>
                <a:gd name="connsiteX5" fmla="*/ 103772 w 156941"/>
                <a:gd name="connsiteY5" fmla="*/ 58711 h 176411"/>
                <a:gd name="connsiteX6" fmla="*/ 122822 w 156941"/>
                <a:gd name="connsiteY6" fmla="*/ 91191 h 176411"/>
                <a:gd name="connsiteX7" fmla="*/ 122822 w 156941"/>
                <a:gd name="connsiteY7" fmla="*/ 164819 h 176411"/>
                <a:gd name="connsiteX8" fmla="*/ 119869 w 156941"/>
                <a:gd name="connsiteY8" fmla="*/ 174344 h 176411"/>
                <a:gd name="connsiteX9" fmla="*/ 117774 w 156941"/>
                <a:gd name="connsiteY9" fmla="*/ 176249 h 176411"/>
                <a:gd name="connsiteX10" fmla="*/ 122250 w 156941"/>
                <a:gd name="connsiteY10" fmla="*/ 173582 h 176411"/>
                <a:gd name="connsiteX11" fmla="*/ 123489 w 156941"/>
                <a:gd name="connsiteY11" fmla="*/ 172915 h 176411"/>
                <a:gd name="connsiteX12" fmla="*/ 151302 w 156941"/>
                <a:gd name="connsiteY12" fmla="*/ 156818 h 176411"/>
                <a:gd name="connsiteX13" fmla="*/ 156540 w 156941"/>
                <a:gd name="connsiteY13" fmla="*/ 144817 h 176411"/>
                <a:gd name="connsiteX14" fmla="*/ 156540 w 156941"/>
                <a:gd name="connsiteY14" fmla="*/ 49567 h 176411"/>
                <a:gd name="connsiteX15" fmla="*/ 142824 w 156941"/>
                <a:gd name="connsiteY15" fmla="*/ 25849 h 176411"/>
                <a:gd name="connsiteX16" fmla="*/ 122250 w 156941"/>
                <a:gd name="connsiteY16" fmla="*/ 13943 h 176411"/>
                <a:gd name="connsiteX17" fmla="*/ 112725 w 156941"/>
                <a:gd name="connsiteY17" fmla="*/ 12705 h 176411"/>
                <a:gd name="connsiteX18" fmla="*/ 112725 w 156941"/>
                <a:gd name="connsiteY18" fmla="*/ 12705 h 176411"/>
                <a:gd name="connsiteX19" fmla="*/ 111773 w 156941"/>
                <a:gd name="connsiteY19" fmla="*/ 13276 h 176411"/>
                <a:gd name="connsiteX20" fmla="*/ 107106 w 156941"/>
                <a:gd name="connsiteY20" fmla="*/ 15943 h 176411"/>
                <a:gd name="connsiteX21" fmla="*/ 109773 w 156941"/>
                <a:gd name="connsiteY21" fmla="*/ 15372 h 176411"/>
                <a:gd name="connsiteX22" fmla="*/ 116250 w 156941"/>
                <a:gd name="connsiteY22" fmla="*/ 17182 h 176411"/>
                <a:gd name="connsiteX23" fmla="*/ 136824 w 156941"/>
                <a:gd name="connsiteY23" fmla="*/ 29088 h 176411"/>
                <a:gd name="connsiteX24" fmla="*/ 150540 w 156941"/>
                <a:gd name="connsiteY24" fmla="*/ 52805 h 176411"/>
                <a:gd name="connsiteX25" fmla="*/ 150540 w 156941"/>
                <a:gd name="connsiteY25" fmla="*/ 137006 h 176411"/>
                <a:gd name="connsiteX26" fmla="*/ 139300 w 156941"/>
                <a:gd name="connsiteY26" fmla="*/ 156056 h 176411"/>
                <a:gd name="connsiteX27" fmla="*/ 139300 w 156941"/>
                <a:gd name="connsiteY27" fmla="*/ 156056 h 176411"/>
                <a:gd name="connsiteX28" fmla="*/ 128251 w 156941"/>
                <a:gd name="connsiteY28" fmla="*/ 150436 h 176411"/>
                <a:gd name="connsiteX29" fmla="*/ 128251 w 156941"/>
                <a:gd name="connsiteY29" fmla="*/ 87000 h 176411"/>
                <a:gd name="connsiteX30" fmla="*/ 109201 w 156941"/>
                <a:gd name="connsiteY30" fmla="*/ 54520 h 176411"/>
                <a:gd name="connsiteX31" fmla="*/ 74340 w 156941"/>
                <a:gd name="connsiteY31" fmla="*/ 34327 h 176411"/>
                <a:gd name="connsiteX32" fmla="*/ 28143 w 156941"/>
                <a:gd name="connsiteY32" fmla="*/ 7752 h 176411"/>
                <a:gd name="connsiteX33" fmla="*/ 22524 w 156941"/>
                <a:gd name="connsiteY33" fmla="*/ 4418 h 176411"/>
                <a:gd name="connsiteX34" fmla="*/ 18904 w 156941"/>
                <a:gd name="connsiteY34" fmla="*/ 2323 h 176411"/>
                <a:gd name="connsiteX35" fmla="*/ 6236 w 156941"/>
                <a:gd name="connsiteY35" fmla="*/ 703 h 176411"/>
                <a:gd name="connsiteX36" fmla="*/ 5664 w 156941"/>
                <a:gd name="connsiteY36" fmla="*/ 703 h 176411"/>
                <a:gd name="connsiteX37" fmla="*/ 5664 w 156941"/>
                <a:gd name="connsiteY37" fmla="*/ 703 h 1764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56941" h="176411">
                  <a:moveTo>
                    <a:pt x="-336" y="5371"/>
                  </a:moveTo>
                  <a:cubicBezTo>
                    <a:pt x="683" y="4751"/>
                    <a:pt x="1816" y="4332"/>
                    <a:pt x="2997" y="4132"/>
                  </a:cubicBezTo>
                  <a:cubicBezTo>
                    <a:pt x="6569" y="3732"/>
                    <a:pt x="10170" y="4571"/>
                    <a:pt x="13189" y="6514"/>
                  </a:cubicBezTo>
                  <a:lnTo>
                    <a:pt x="22714" y="11943"/>
                  </a:lnTo>
                  <a:lnTo>
                    <a:pt x="28334" y="15181"/>
                  </a:lnTo>
                  <a:lnTo>
                    <a:pt x="103772" y="58711"/>
                  </a:lnTo>
                  <a:cubicBezTo>
                    <a:pt x="114945" y="65873"/>
                    <a:pt x="122031" y="77942"/>
                    <a:pt x="122822" y="91191"/>
                  </a:cubicBezTo>
                  <a:lnTo>
                    <a:pt x="122822" y="164819"/>
                  </a:lnTo>
                  <a:cubicBezTo>
                    <a:pt x="122917" y="168229"/>
                    <a:pt x="121879" y="171582"/>
                    <a:pt x="119869" y="174344"/>
                  </a:cubicBezTo>
                  <a:cubicBezTo>
                    <a:pt x="119240" y="175049"/>
                    <a:pt x="118536" y="175697"/>
                    <a:pt x="117774" y="176249"/>
                  </a:cubicBezTo>
                  <a:lnTo>
                    <a:pt x="122250" y="173582"/>
                  </a:lnTo>
                  <a:lnTo>
                    <a:pt x="123489" y="172915"/>
                  </a:lnTo>
                  <a:lnTo>
                    <a:pt x="151302" y="156818"/>
                  </a:lnTo>
                  <a:cubicBezTo>
                    <a:pt x="155016" y="153999"/>
                    <a:pt x="156998" y="149455"/>
                    <a:pt x="156540" y="144817"/>
                  </a:cubicBezTo>
                  <a:lnTo>
                    <a:pt x="156540" y="49567"/>
                  </a:lnTo>
                  <a:cubicBezTo>
                    <a:pt x="155997" y="39927"/>
                    <a:pt x="150902" y="31126"/>
                    <a:pt x="142824" y="25849"/>
                  </a:cubicBezTo>
                  <a:lnTo>
                    <a:pt x="122250" y="13943"/>
                  </a:lnTo>
                  <a:cubicBezTo>
                    <a:pt x="119498" y="11933"/>
                    <a:pt x="115907" y="11467"/>
                    <a:pt x="112725" y="12705"/>
                  </a:cubicBezTo>
                  <a:lnTo>
                    <a:pt x="112725" y="12705"/>
                  </a:lnTo>
                  <a:lnTo>
                    <a:pt x="111773" y="13276"/>
                  </a:lnTo>
                  <a:lnTo>
                    <a:pt x="107106" y="15943"/>
                  </a:lnTo>
                  <a:cubicBezTo>
                    <a:pt x="107953" y="15601"/>
                    <a:pt x="108858" y="15400"/>
                    <a:pt x="109773" y="15372"/>
                  </a:cubicBezTo>
                  <a:cubicBezTo>
                    <a:pt x="112059" y="15343"/>
                    <a:pt x="114307" y="15972"/>
                    <a:pt x="116250" y="17182"/>
                  </a:cubicBezTo>
                  <a:lnTo>
                    <a:pt x="136824" y="29088"/>
                  </a:lnTo>
                  <a:cubicBezTo>
                    <a:pt x="144901" y="34365"/>
                    <a:pt x="149997" y="43166"/>
                    <a:pt x="150540" y="52805"/>
                  </a:cubicBezTo>
                  <a:lnTo>
                    <a:pt x="150540" y="137006"/>
                  </a:lnTo>
                  <a:cubicBezTo>
                    <a:pt x="149997" y="144769"/>
                    <a:pt x="145834" y="151827"/>
                    <a:pt x="139300" y="156056"/>
                  </a:cubicBezTo>
                  <a:lnTo>
                    <a:pt x="139300" y="156056"/>
                  </a:lnTo>
                  <a:cubicBezTo>
                    <a:pt x="133395" y="159390"/>
                    <a:pt x="128632" y="156818"/>
                    <a:pt x="128251" y="150436"/>
                  </a:cubicBezTo>
                  <a:lnTo>
                    <a:pt x="128251" y="87000"/>
                  </a:lnTo>
                  <a:cubicBezTo>
                    <a:pt x="127489" y="73741"/>
                    <a:pt x="120403" y="61654"/>
                    <a:pt x="109201" y="54520"/>
                  </a:cubicBezTo>
                  <a:lnTo>
                    <a:pt x="74340" y="34327"/>
                  </a:lnTo>
                  <a:lnTo>
                    <a:pt x="28143" y="7752"/>
                  </a:lnTo>
                  <a:lnTo>
                    <a:pt x="22524" y="4418"/>
                  </a:lnTo>
                  <a:lnTo>
                    <a:pt x="18904" y="2323"/>
                  </a:lnTo>
                  <a:cubicBezTo>
                    <a:pt x="15208" y="-268"/>
                    <a:pt x="10465" y="-878"/>
                    <a:pt x="6236" y="703"/>
                  </a:cubicBezTo>
                  <a:lnTo>
                    <a:pt x="5664" y="703"/>
                  </a:lnTo>
                  <a:lnTo>
                    <a:pt x="5664" y="703"/>
                  </a:lnTo>
                  <a:close/>
                </a:path>
              </a:pathLst>
            </a:custGeom>
            <a:solidFill>
              <a:srgbClr val="316DE6"/>
            </a:solidFill>
            <a:ln w="9525" cap="flat">
              <a:noFill/>
              <a:prstDash val="solid"/>
              <a:miter/>
            </a:ln>
          </p:spPr>
          <p:txBody>
            <a:bodyPr rtlCol="0" anchor="ctr"/>
            <a:lstStyle/>
            <a:p>
              <a:endParaRPr lang="zh-CN" altLang="en-US"/>
            </a:p>
          </p:txBody>
        </p:sp>
      </p:grpSp>
      <p:sp>
        <p:nvSpPr>
          <p:cNvPr id="866" name="文本框 865">
            <a:extLst>
              <a:ext uri="{FF2B5EF4-FFF2-40B4-BE49-F238E27FC236}">
                <a16:creationId xmlns:a16="http://schemas.microsoft.com/office/drawing/2014/main" id="{AA8FE061-8D7B-4564-97D7-72FCAB85DCC3}"/>
              </a:ext>
            </a:extLst>
          </p:cNvPr>
          <p:cNvSpPr txBox="1"/>
          <p:nvPr/>
        </p:nvSpPr>
        <p:spPr>
          <a:xfrm>
            <a:off x="669924" y="4037917"/>
            <a:ext cx="7588572" cy="1477328"/>
          </a:xfrm>
          <a:prstGeom prst="rect">
            <a:avLst/>
          </a:prstGeom>
          <a:noFill/>
        </p:spPr>
        <p:txBody>
          <a:bodyPr wrap="square" rtlCol="0">
            <a:spAutoFit/>
          </a:bodyPr>
          <a:lstStyle/>
          <a:p>
            <a:pPr algn="l"/>
            <a:r>
              <a:rPr lang="en-US" altLang="zh-CN" b="1" i="0" dirty="0">
                <a:solidFill>
                  <a:srgbClr val="4F4F4F"/>
                </a:solidFill>
                <a:effectLst/>
                <a:latin typeface="PingFang SC"/>
              </a:rPr>
              <a:t>4</a:t>
            </a:r>
            <a:r>
              <a:rPr lang="zh-CN" altLang="en-US" b="1" i="0" dirty="0">
                <a:solidFill>
                  <a:srgbClr val="4F4F4F"/>
                </a:solidFill>
                <a:effectLst/>
                <a:latin typeface="PingFang SC"/>
              </a:rPr>
              <a:t>、消息</a:t>
            </a:r>
          </a:p>
          <a:p>
            <a:pPr algn="l"/>
            <a:r>
              <a:rPr lang="zh-CN" altLang="en-US" b="0" i="0" dirty="0">
                <a:effectLst/>
                <a:latin typeface="-apple-system"/>
              </a:rPr>
              <a:t>对象之间的交互是通过相互发消息来实现的。一个对象通过发送消息请求另一个对象做事件。</a:t>
            </a:r>
          </a:p>
          <a:p>
            <a:pPr algn="l"/>
            <a:r>
              <a:rPr lang="zh-CN" altLang="en-US" b="0" i="0" dirty="0">
                <a:effectLst/>
                <a:latin typeface="-apple-system"/>
              </a:rPr>
              <a:t>消息从源对象指向目标对象。消息一旦发送便将控制从源对象转移到目标对象。</a:t>
            </a:r>
          </a:p>
        </p:txBody>
      </p:sp>
      <p:pic>
        <p:nvPicPr>
          <p:cNvPr id="18434" name="Picture 2">
            <a:extLst>
              <a:ext uri="{FF2B5EF4-FFF2-40B4-BE49-F238E27FC236}">
                <a16:creationId xmlns:a16="http://schemas.microsoft.com/office/drawing/2014/main" id="{D254585D-D69E-43C6-BAF7-F3B7876FEC9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902742" y="3770438"/>
            <a:ext cx="2617745" cy="2411928"/>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2892615380"/>
      </p:ext>
    </p:extLst>
  </p:cSld>
  <p:clrMapOvr>
    <a:masterClrMapping/>
  </p:clrMapOvr>
  <mc:AlternateContent xmlns:mc="http://schemas.openxmlformats.org/markup-compatibility/2006">
    <mc:Choice xmlns:p14="http://schemas.microsoft.com/office/powerpoint/2010/main" Requires="p14">
      <p:transition spd="slow" p14:dur="1250">
        <p:blinds dir="vert"/>
      </p:transition>
    </mc:Choice>
    <mc:Fallback>
      <p:transition spd="slow">
        <p:blinds dir="vert"/>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a:xfrm>
            <a:off x="7803909" y="2171807"/>
            <a:ext cx="5002454" cy="895350"/>
          </a:xfrm>
        </p:spPr>
        <p:txBody>
          <a:bodyPr>
            <a:normAutofit/>
          </a:bodyPr>
          <a:lstStyle/>
          <a:p>
            <a:r>
              <a:rPr lang="zh-CN" altLang="en-US" sz="4400" dirty="0"/>
              <a:t>协作图</a:t>
            </a:r>
          </a:p>
        </p:txBody>
      </p:sp>
      <p:sp>
        <p:nvSpPr>
          <p:cNvPr id="6" name="文本占位符 5"/>
          <p:cNvSpPr>
            <a:spLocks noGrp="1"/>
          </p:cNvSpPr>
          <p:nvPr>
            <p:ph type="body" idx="1"/>
          </p:nvPr>
        </p:nvSpPr>
        <p:spPr/>
        <p:txBody>
          <a:bodyPr>
            <a:normAutofit/>
          </a:bodyPr>
          <a:lstStyle/>
          <a:p>
            <a:pPr lvl="0"/>
            <a:r>
              <a:rPr lang="zh-CN" altLang="en-US" sz="1400" dirty="0"/>
              <a:t> 协作图又称通信图，以图或网格格式描述对象交互，其中对象可以置于图中任何位置。</a:t>
            </a:r>
          </a:p>
        </p:txBody>
      </p:sp>
      <p:sp>
        <p:nvSpPr>
          <p:cNvPr id="9" name="文本框 8">
            <a:extLst>
              <a:ext uri="{FF2B5EF4-FFF2-40B4-BE49-F238E27FC236}">
                <a16:creationId xmlns:a16="http://schemas.microsoft.com/office/drawing/2014/main" id="{04F69230-F3A6-4586-9371-A858F4763E9F}"/>
              </a:ext>
            </a:extLst>
          </p:cNvPr>
          <p:cNvSpPr txBox="1"/>
          <p:nvPr/>
        </p:nvSpPr>
        <p:spPr>
          <a:xfrm>
            <a:off x="6632714" y="2171808"/>
            <a:ext cx="1171195" cy="895349"/>
          </a:xfrm>
          <a:prstGeom prst="rect">
            <a:avLst/>
          </a:prstGeom>
          <a:noFill/>
          <a:ln w="117475">
            <a:noFill/>
          </a:ln>
        </p:spPr>
        <p:txBody>
          <a:bodyPr wrap="none" rtlCol="0">
            <a:prstTxWarp prst="textPlain">
              <a:avLst/>
            </a:prstTxWarp>
            <a:spAutoFit/>
          </a:bodyPr>
          <a:lstStyle/>
          <a:p>
            <a:r>
              <a:rPr lang="en-US" altLang="zh-CN" spc="100" dirty="0">
                <a:solidFill>
                  <a:schemeClr val="accent1"/>
                </a:solidFill>
                <a:latin typeface="Impact" panose="020B0806030902050204" pitchFamily="34" charset="0"/>
                <a:cs typeface="Arial" panose="020B0604020202020204" pitchFamily="34" charset="0"/>
              </a:rPr>
              <a:t>/1-5</a:t>
            </a:r>
            <a:endParaRPr lang="zh-CN" altLang="en-US" spc="100" dirty="0">
              <a:solidFill>
                <a:schemeClr val="accent1"/>
              </a:solidFill>
              <a:latin typeface="Impact" panose="020B0806030902050204" pitchFamily="34" charset="0"/>
              <a:cs typeface="Arial" panose="020B0604020202020204" pitchFamily="34" charset="0"/>
            </a:endParaRPr>
          </a:p>
        </p:txBody>
      </p:sp>
    </p:spTree>
    <p:custDataLst>
      <p:tags r:id="rId1"/>
    </p:custDataLst>
    <p:extLst>
      <p:ext uri="{BB962C8B-B14F-4D97-AF65-F5344CB8AC3E}">
        <p14:creationId xmlns:p14="http://schemas.microsoft.com/office/powerpoint/2010/main" val="3010517902"/>
      </p:ext>
    </p:extLst>
  </p:cSld>
  <p:clrMapOvr>
    <a:masterClrMapping/>
  </p:clrMapOvr>
  <p:transition spd="slow">
    <p:cover/>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3" name="组合 112"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a16="http://schemas.microsoft.com/office/drawing/2014/main" id="{BCC32565-B5F1-4345-93B1-7579CAE2448D}"/>
              </a:ext>
            </a:extLst>
          </p:cNvPr>
          <p:cNvGrpSpPr>
            <a:grpSpLocks noChangeAspect="1"/>
          </p:cNvGrpSpPr>
          <p:nvPr/>
        </p:nvGrpSpPr>
        <p:grpSpPr>
          <a:xfrm>
            <a:off x="267057" y="1580435"/>
            <a:ext cx="3578873" cy="3290113"/>
            <a:chOff x="3497263" y="1133475"/>
            <a:chExt cx="5194301" cy="4775201"/>
          </a:xfrm>
        </p:grpSpPr>
        <p:sp>
          <p:nvSpPr>
            <p:cNvPr id="114" name="îŝḷiḍê">
              <a:extLst>
                <a:ext uri="{FF2B5EF4-FFF2-40B4-BE49-F238E27FC236}">
                  <a16:creationId xmlns:a16="http://schemas.microsoft.com/office/drawing/2014/main" id="{2F7783D1-1E64-4D82-A642-80878185E9D9}"/>
                </a:ext>
              </a:extLst>
            </p:cNvPr>
            <p:cNvSpPr/>
            <p:nvPr/>
          </p:nvSpPr>
          <p:spPr bwMode="auto">
            <a:xfrm>
              <a:off x="7559676" y="2924175"/>
              <a:ext cx="1131888" cy="465138"/>
            </a:xfrm>
            <a:custGeom>
              <a:avLst/>
              <a:gdLst>
                <a:gd name="T0" fmla="*/ 290 w 301"/>
                <a:gd name="T1" fmla="*/ 124 h 124"/>
                <a:gd name="T2" fmla="*/ 301 w 301"/>
                <a:gd name="T3" fmla="*/ 91 h 124"/>
                <a:gd name="T4" fmla="*/ 245 w 301"/>
                <a:gd name="T5" fmla="*/ 35 h 124"/>
                <a:gd name="T6" fmla="*/ 223 w 301"/>
                <a:gd name="T7" fmla="*/ 40 h 124"/>
                <a:gd name="T8" fmla="*/ 155 w 301"/>
                <a:gd name="T9" fmla="*/ 0 h 124"/>
                <a:gd name="T10" fmla="*/ 80 w 301"/>
                <a:gd name="T11" fmla="*/ 59 h 124"/>
                <a:gd name="T12" fmla="*/ 56 w 301"/>
                <a:gd name="T13" fmla="*/ 53 h 124"/>
                <a:gd name="T14" fmla="*/ 0 w 301"/>
                <a:gd name="T15" fmla="*/ 109 h 124"/>
                <a:gd name="T16" fmla="*/ 2 w 301"/>
                <a:gd name="T17" fmla="*/ 124 h 124"/>
                <a:gd name="T18" fmla="*/ 290 w 301"/>
                <a:gd name="T19" fmla="*/ 124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1" h="124">
                  <a:moveTo>
                    <a:pt x="290" y="124"/>
                  </a:moveTo>
                  <a:cubicBezTo>
                    <a:pt x="297" y="115"/>
                    <a:pt x="301" y="103"/>
                    <a:pt x="301" y="91"/>
                  </a:cubicBezTo>
                  <a:cubicBezTo>
                    <a:pt x="301" y="60"/>
                    <a:pt x="276" y="35"/>
                    <a:pt x="245" y="35"/>
                  </a:cubicBezTo>
                  <a:cubicBezTo>
                    <a:pt x="237" y="35"/>
                    <a:pt x="230" y="36"/>
                    <a:pt x="223" y="40"/>
                  </a:cubicBezTo>
                  <a:cubicBezTo>
                    <a:pt x="209" y="16"/>
                    <a:pt x="184" y="0"/>
                    <a:pt x="155" y="0"/>
                  </a:cubicBezTo>
                  <a:cubicBezTo>
                    <a:pt x="119" y="0"/>
                    <a:pt x="89" y="25"/>
                    <a:pt x="80" y="59"/>
                  </a:cubicBezTo>
                  <a:cubicBezTo>
                    <a:pt x="73" y="55"/>
                    <a:pt x="65" y="53"/>
                    <a:pt x="56" y="53"/>
                  </a:cubicBezTo>
                  <a:cubicBezTo>
                    <a:pt x="25" y="53"/>
                    <a:pt x="0" y="78"/>
                    <a:pt x="0" y="109"/>
                  </a:cubicBezTo>
                  <a:cubicBezTo>
                    <a:pt x="0" y="114"/>
                    <a:pt x="1" y="119"/>
                    <a:pt x="2" y="124"/>
                  </a:cubicBezTo>
                  <a:lnTo>
                    <a:pt x="290" y="1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5" name="í$1iḑê">
              <a:extLst>
                <a:ext uri="{FF2B5EF4-FFF2-40B4-BE49-F238E27FC236}">
                  <a16:creationId xmlns:a16="http://schemas.microsoft.com/office/drawing/2014/main" id="{4148FF42-2BDA-474F-A28A-047CACEB88FF}"/>
                </a:ext>
              </a:extLst>
            </p:cNvPr>
            <p:cNvSpPr/>
            <p:nvPr/>
          </p:nvSpPr>
          <p:spPr bwMode="auto">
            <a:xfrm>
              <a:off x="3876676" y="5362575"/>
              <a:ext cx="984250" cy="485775"/>
            </a:xfrm>
            <a:prstGeom prst="rect">
              <a:avLst/>
            </a:prstGeom>
            <a:solidFill>
              <a:srgbClr val="C8E6EB"/>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16" name="íṧlíḓê">
              <a:extLst>
                <a:ext uri="{FF2B5EF4-FFF2-40B4-BE49-F238E27FC236}">
                  <a16:creationId xmlns:a16="http://schemas.microsoft.com/office/drawing/2014/main" id="{7E230365-8E7B-4A68-B6DD-7B87D36429C3}"/>
                </a:ext>
              </a:extLst>
            </p:cNvPr>
            <p:cNvSpPr/>
            <p:nvPr/>
          </p:nvSpPr>
          <p:spPr bwMode="auto">
            <a:xfrm>
              <a:off x="3876676" y="5362575"/>
              <a:ext cx="984250" cy="485775"/>
            </a:xfrm>
            <a:custGeom>
              <a:avLst/>
              <a:gdLst>
                <a:gd name="T0" fmla="*/ 587 w 620"/>
                <a:gd name="T1" fmla="*/ 31 h 306"/>
                <a:gd name="T2" fmla="*/ 587 w 620"/>
                <a:gd name="T3" fmla="*/ 275 h 306"/>
                <a:gd name="T4" fmla="*/ 31 w 620"/>
                <a:gd name="T5" fmla="*/ 275 h 306"/>
                <a:gd name="T6" fmla="*/ 31 w 620"/>
                <a:gd name="T7" fmla="*/ 31 h 306"/>
                <a:gd name="T8" fmla="*/ 587 w 620"/>
                <a:gd name="T9" fmla="*/ 31 h 306"/>
                <a:gd name="T10" fmla="*/ 620 w 620"/>
                <a:gd name="T11" fmla="*/ 0 h 306"/>
                <a:gd name="T12" fmla="*/ 0 w 620"/>
                <a:gd name="T13" fmla="*/ 0 h 306"/>
                <a:gd name="T14" fmla="*/ 0 w 620"/>
                <a:gd name="T15" fmla="*/ 306 h 306"/>
                <a:gd name="T16" fmla="*/ 620 w 620"/>
                <a:gd name="T17" fmla="*/ 306 h 306"/>
                <a:gd name="T18" fmla="*/ 620 w 620"/>
                <a:gd name="T19" fmla="*/ 0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20" h="306">
                  <a:moveTo>
                    <a:pt x="587" y="31"/>
                  </a:moveTo>
                  <a:lnTo>
                    <a:pt x="587" y="275"/>
                  </a:lnTo>
                  <a:lnTo>
                    <a:pt x="31" y="275"/>
                  </a:lnTo>
                  <a:lnTo>
                    <a:pt x="31" y="31"/>
                  </a:lnTo>
                  <a:lnTo>
                    <a:pt x="587" y="31"/>
                  </a:lnTo>
                  <a:close/>
                  <a:moveTo>
                    <a:pt x="620" y="0"/>
                  </a:moveTo>
                  <a:lnTo>
                    <a:pt x="0" y="0"/>
                  </a:lnTo>
                  <a:lnTo>
                    <a:pt x="0" y="306"/>
                  </a:lnTo>
                  <a:lnTo>
                    <a:pt x="620" y="306"/>
                  </a:lnTo>
                  <a:lnTo>
                    <a:pt x="620" y="0"/>
                  </a:lnTo>
                  <a:close/>
                </a:path>
              </a:pathLst>
            </a:custGeom>
            <a:solidFill>
              <a:srgbClr val="FA870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7" name="îṡľîḋé">
              <a:extLst>
                <a:ext uri="{FF2B5EF4-FFF2-40B4-BE49-F238E27FC236}">
                  <a16:creationId xmlns:a16="http://schemas.microsoft.com/office/drawing/2014/main" id="{75CCBCEF-7BB7-4FCA-AC26-AF48BDCD38AB}"/>
                </a:ext>
              </a:extLst>
            </p:cNvPr>
            <p:cNvSpPr/>
            <p:nvPr/>
          </p:nvSpPr>
          <p:spPr bwMode="auto">
            <a:xfrm>
              <a:off x="3876676" y="5362575"/>
              <a:ext cx="984250" cy="485775"/>
            </a:xfrm>
            <a:custGeom>
              <a:avLst/>
              <a:gdLst>
                <a:gd name="T0" fmla="*/ 587 w 620"/>
                <a:gd name="T1" fmla="*/ 31 h 306"/>
                <a:gd name="T2" fmla="*/ 587 w 620"/>
                <a:gd name="T3" fmla="*/ 275 h 306"/>
                <a:gd name="T4" fmla="*/ 31 w 620"/>
                <a:gd name="T5" fmla="*/ 275 h 306"/>
                <a:gd name="T6" fmla="*/ 31 w 620"/>
                <a:gd name="T7" fmla="*/ 31 h 306"/>
                <a:gd name="T8" fmla="*/ 587 w 620"/>
                <a:gd name="T9" fmla="*/ 31 h 306"/>
                <a:gd name="T10" fmla="*/ 620 w 620"/>
                <a:gd name="T11" fmla="*/ 0 h 306"/>
                <a:gd name="T12" fmla="*/ 0 w 620"/>
                <a:gd name="T13" fmla="*/ 0 h 306"/>
                <a:gd name="T14" fmla="*/ 0 w 620"/>
                <a:gd name="T15" fmla="*/ 306 h 306"/>
                <a:gd name="T16" fmla="*/ 620 w 620"/>
                <a:gd name="T17" fmla="*/ 306 h 306"/>
                <a:gd name="T18" fmla="*/ 620 w 620"/>
                <a:gd name="T19" fmla="*/ 0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20" h="306">
                  <a:moveTo>
                    <a:pt x="587" y="31"/>
                  </a:moveTo>
                  <a:lnTo>
                    <a:pt x="587" y="275"/>
                  </a:lnTo>
                  <a:lnTo>
                    <a:pt x="31" y="275"/>
                  </a:lnTo>
                  <a:lnTo>
                    <a:pt x="31" y="31"/>
                  </a:lnTo>
                  <a:lnTo>
                    <a:pt x="587" y="31"/>
                  </a:lnTo>
                  <a:moveTo>
                    <a:pt x="620" y="0"/>
                  </a:moveTo>
                  <a:lnTo>
                    <a:pt x="0" y="0"/>
                  </a:lnTo>
                  <a:lnTo>
                    <a:pt x="0" y="306"/>
                  </a:lnTo>
                  <a:lnTo>
                    <a:pt x="620" y="306"/>
                  </a:lnTo>
                  <a:lnTo>
                    <a:pt x="62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8" name="îSľíde">
              <a:extLst>
                <a:ext uri="{FF2B5EF4-FFF2-40B4-BE49-F238E27FC236}">
                  <a16:creationId xmlns:a16="http://schemas.microsoft.com/office/drawing/2014/main" id="{6BBEBB36-9723-437F-AB90-97F0F4E283E3}"/>
                </a:ext>
              </a:extLst>
            </p:cNvPr>
            <p:cNvSpPr/>
            <p:nvPr/>
          </p:nvSpPr>
          <p:spPr bwMode="auto">
            <a:xfrm>
              <a:off x="3876676" y="5362575"/>
              <a:ext cx="90488" cy="90488"/>
            </a:xfrm>
            <a:custGeom>
              <a:avLst/>
              <a:gdLst>
                <a:gd name="T0" fmla="*/ 0 w 24"/>
                <a:gd name="T1" fmla="*/ 24 h 24"/>
                <a:gd name="T2" fmla="*/ 24 w 24"/>
                <a:gd name="T3" fmla="*/ 0 h 24"/>
                <a:gd name="T4" fmla="*/ 0 w 24"/>
                <a:gd name="T5" fmla="*/ 0 h 24"/>
                <a:gd name="T6" fmla="*/ 0 w 24"/>
                <a:gd name="T7" fmla="*/ 24 h 24"/>
              </a:gdLst>
              <a:ahLst/>
              <a:cxnLst>
                <a:cxn ang="0">
                  <a:pos x="T0" y="T1"/>
                </a:cxn>
                <a:cxn ang="0">
                  <a:pos x="T2" y="T3"/>
                </a:cxn>
                <a:cxn ang="0">
                  <a:pos x="T4" y="T5"/>
                </a:cxn>
                <a:cxn ang="0">
                  <a:pos x="T6" y="T7"/>
                </a:cxn>
              </a:cxnLst>
              <a:rect l="0" t="0" r="r" b="b"/>
              <a:pathLst>
                <a:path w="24" h="24">
                  <a:moveTo>
                    <a:pt x="0" y="24"/>
                  </a:moveTo>
                  <a:cubicBezTo>
                    <a:pt x="13" y="24"/>
                    <a:pt x="24" y="13"/>
                    <a:pt x="24" y="0"/>
                  </a:cubicBezTo>
                  <a:cubicBezTo>
                    <a:pt x="0" y="0"/>
                    <a:pt x="0" y="0"/>
                    <a:pt x="0" y="0"/>
                  </a:cubicBezTo>
                  <a:lnTo>
                    <a:pt x="0" y="24"/>
                  </a:lnTo>
                  <a:close/>
                </a:path>
              </a:pathLst>
            </a:custGeom>
            <a:solidFill>
              <a:srgbClr val="FA870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9" name="îṣļïḍé">
              <a:extLst>
                <a:ext uri="{FF2B5EF4-FFF2-40B4-BE49-F238E27FC236}">
                  <a16:creationId xmlns:a16="http://schemas.microsoft.com/office/drawing/2014/main" id="{9F108B06-782F-4A38-A17A-E33DB340A88B}"/>
                </a:ext>
              </a:extLst>
            </p:cNvPr>
            <p:cNvSpPr/>
            <p:nvPr/>
          </p:nvSpPr>
          <p:spPr bwMode="auto">
            <a:xfrm>
              <a:off x="4770438" y="5362575"/>
              <a:ext cx="90488" cy="90488"/>
            </a:xfrm>
            <a:custGeom>
              <a:avLst/>
              <a:gdLst>
                <a:gd name="T0" fmla="*/ 0 w 24"/>
                <a:gd name="T1" fmla="*/ 0 h 24"/>
                <a:gd name="T2" fmla="*/ 24 w 24"/>
                <a:gd name="T3" fmla="*/ 24 h 24"/>
                <a:gd name="T4" fmla="*/ 24 w 24"/>
                <a:gd name="T5" fmla="*/ 0 h 24"/>
                <a:gd name="T6" fmla="*/ 0 w 24"/>
                <a:gd name="T7" fmla="*/ 0 h 24"/>
              </a:gdLst>
              <a:ahLst/>
              <a:cxnLst>
                <a:cxn ang="0">
                  <a:pos x="T0" y="T1"/>
                </a:cxn>
                <a:cxn ang="0">
                  <a:pos x="T2" y="T3"/>
                </a:cxn>
                <a:cxn ang="0">
                  <a:pos x="T4" y="T5"/>
                </a:cxn>
                <a:cxn ang="0">
                  <a:pos x="T6" y="T7"/>
                </a:cxn>
              </a:cxnLst>
              <a:rect l="0" t="0" r="r" b="b"/>
              <a:pathLst>
                <a:path w="24" h="24">
                  <a:moveTo>
                    <a:pt x="0" y="0"/>
                  </a:moveTo>
                  <a:cubicBezTo>
                    <a:pt x="0" y="13"/>
                    <a:pt x="10" y="24"/>
                    <a:pt x="24" y="24"/>
                  </a:cubicBezTo>
                  <a:cubicBezTo>
                    <a:pt x="24" y="0"/>
                    <a:pt x="24" y="0"/>
                    <a:pt x="24" y="0"/>
                  </a:cubicBezTo>
                  <a:lnTo>
                    <a:pt x="0" y="0"/>
                  </a:lnTo>
                  <a:close/>
                </a:path>
              </a:pathLst>
            </a:custGeom>
            <a:solidFill>
              <a:srgbClr val="FA870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0" name="îṩļïḓe">
              <a:extLst>
                <a:ext uri="{FF2B5EF4-FFF2-40B4-BE49-F238E27FC236}">
                  <a16:creationId xmlns:a16="http://schemas.microsoft.com/office/drawing/2014/main" id="{F3C82CC2-EDF1-4141-A7A3-E9568D1A1C2B}"/>
                </a:ext>
              </a:extLst>
            </p:cNvPr>
            <p:cNvSpPr/>
            <p:nvPr/>
          </p:nvSpPr>
          <p:spPr bwMode="auto">
            <a:xfrm>
              <a:off x="3876676" y="5757863"/>
              <a:ext cx="90488" cy="90488"/>
            </a:xfrm>
            <a:custGeom>
              <a:avLst/>
              <a:gdLst>
                <a:gd name="T0" fmla="*/ 0 w 24"/>
                <a:gd name="T1" fmla="*/ 0 h 24"/>
                <a:gd name="T2" fmla="*/ 0 w 24"/>
                <a:gd name="T3" fmla="*/ 24 h 24"/>
                <a:gd name="T4" fmla="*/ 24 w 24"/>
                <a:gd name="T5" fmla="*/ 24 h 24"/>
                <a:gd name="T6" fmla="*/ 0 w 24"/>
                <a:gd name="T7" fmla="*/ 0 h 24"/>
              </a:gdLst>
              <a:ahLst/>
              <a:cxnLst>
                <a:cxn ang="0">
                  <a:pos x="T0" y="T1"/>
                </a:cxn>
                <a:cxn ang="0">
                  <a:pos x="T2" y="T3"/>
                </a:cxn>
                <a:cxn ang="0">
                  <a:pos x="T4" y="T5"/>
                </a:cxn>
                <a:cxn ang="0">
                  <a:pos x="T6" y="T7"/>
                </a:cxn>
              </a:cxnLst>
              <a:rect l="0" t="0" r="r" b="b"/>
              <a:pathLst>
                <a:path w="24" h="24">
                  <a:moveTo>
                    <a:pt x="0" y="0"/>
                  </a:moveTo>
                  <a:cubicBezTo>
                    <a:pt x="0" y="24"/>
                    <a:pt x="0" y="24"/>
                    <a:pt x="0" y="24"/>
                  </a:cubicBezTo>
                  <a:cubicBezTo>
                    <a:pt x="24" y="24"/>
                    <a:pt x="24" y="24"/>
                    <a:pt x="24" y="24"/>
                  </a:cubicBezTo>
                  <a:cubicBezTo>
                    <a:pt x="24" y="11"/>
                    <a:pt x="13" y="0"/>
                    <a:pt x="0" y="0"/>
                  </a:cubicBezTo>
                  <a:close/>
                </a:path>
              </a:pathLst>
            </a:custGeom>
            <a:solidFill>
              <a:srgbClr val="FA870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1" name="iṧliḍè">
              <a:extLst>
                <a:ext uri="{FF2B5EF4-FFF2-40B4-BE49-F238E27FC236}">
                  <a16:creationId xmlns:a16="http://schemas.microsoft.com/office/drawing/2014/main" id="{1024E808-71B4-4052-8F55-FA0F85CC6872}"/>
                </a:ext>
              </a:extLst>
            </p:cNvPr>
            <p:cNvSpPr/>
            <p:nvPr/>
          </p:nvSpPr>
          <p:spPr bwMode="auto">
            <a:xfrm>
              <a:off x="4770438" y="5757863"/>
              <a:ext cx="90488" cy="90488"/>
            </a:xfrm>
            <a:custGeom>
              <a:avLst/>
              <a:gdLst>
                <a:gd name="T0" fmla="*/ 24 w 24"/>
                <a:gd name="T1" fmla="*/ 0 h 24"/>
                <a:gd name="T2" fmla="*/ 0 w 24"/>
                <a:gd name="T3" fmla="*/ 24 h 24"/>
                <a:gd name="T4" fmla="*/ 24 w 24"/>
                <a:gd name="T5" fmla="*/ 24 h 24"/>
                <a:gd name="T6" fmla="*/ 24 w 24"/>
                <a:gd name="T7" fmla="*/ 0 h 24"/>
              </a:gdLst>
              <a:ahLst/>
              <a:cxnLst>
                <a:cxn ang="0">
                  <a:pos x="T0" y="T1"/>
                </a:cxn>
                <a:cxn ang="0">
                  <a:pos x="T2" y="T3"/>
                </a:cxn>
                <a:cxn ang="0">
                  <a:pos x="T4" y="T5"/>
                </a:cxn>
                <a:cxn ang="0">
                  <a:pos x="T6" y="T7"/>
                </a:cxn>
              </a:cxnLst>
              <a:rect l="0" t="0" r="r" b="b"/>
              <a:pathLst>
                <a:path w="24" h="24">
                  <a:moveTo>
                    <a:pt x="24" y="0"/>
                  </a:moveTo>
                  <a:cubicBezTo>
                    <a:pt x="10" y="0"/>
                    <a:pt x="0" y="11"/>
                    <a:pt x="0" y="24"/>
                  </a:cubicBezTo>
                  <a:cubicBezTo>
                    <a:pt x="24" y="24"/>
                    <a:pt x="24" y="24"/>
                    <a:pt x="24" y="24"/>
                  </a:cubicBezTo>
                  <a:lnTo>
                    <a:pt x="24" y="0"/>
                  </a:lnTo>
                  <a:close/>
                </a:path>
              </a:pathLst>
            </a:custGeom>
            <a:solidFill>
              <a:srgbClr val="FA870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2" name="îṧlíḍé">
              <a:extLst>
                <a:ext uri="{FF2B5EF4-FFF2-40B4-BE49-F238E27FC236}">
                  <a16:creationId xmlns:a16="http://schemas.microsoft.com/office/drawing/2014/main" id="{824ED63E-298A-4759-8EE7-6B0C2D872644}"/>
                </a:ext>
              </a:extLst>
            </p:cNvPr>
            <p:cNvSpPr/>
            <p:nvPr/>
          </p:nvSpPr>
          <p:spPr bwMode="auto">
            <a:xfrm>
              <a:off x="4229101" y="5438775"/>
              <a:ext cx="279400" cy="333375"/>
            </a:xfrm>
            <a:prstGeom prst="ellipse">
              <a:avLst/>
            </a:prstGeom>
            <a:solidFill>
              <a:srgbClr val="FA870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3" name="ïşľïḍè">
              <a:extLst>
                <a:ext uri="{FF2B5EF4-FFF2-40B4-BE49-F238E27FC236}">
                  <a16:creationId xmlns:a16="http://schemas.microsoft.com/office/drawing/2014/main" id="{E1C7F6D8-E3F9-44A6-A81B-B85062BFEBB9}"/>
                </a:ext>
              </a:extLst>
            </p:cNvPr>
            <p:cNvSpPr/>
            <p:nvPr/>
          </p:nvSpPr>
          <p:spPr bwMode="auto">
            <a:xfrm>
              <a:off x="3944938" y="5551488"/>
              <a:ext cx="231775" cy="36513"/>
            </a:xfrm>
            <a:prstGeom prst="rect">
              <a:avLst/>
            </a:prstGeom>
            <a:solidFill>
              <a:srgbClr val="FA870A"/>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24" name="îş1ïḍê">
              <a:extLst>
                <a:ext uri="{FF2B5EF4-FFF2-40B4-BE49-F238E27FC236}">
                  <a16:creationId xmlns:a16="http://schemas.microsoft.com/office/drawing/2014/main" id="{666C4788-9EC2-452B-884B-99001FA8FBC7}"/>
                </a:ext>
              </a:extLst>
            </p:cNvPr>
            <p:cNvSpPr/>
            <p:nvPr/>
          </p:nvSpPr>
          <p:spPr bwMode="auto">
            <a:xfrm>
              <a:off x="3944938" y="5622925"/>
              <a:ext cx="231775" cy="36513"/>
            </a:xfrm>
            <a:prstGeom prst="rect">
              <a:avLst/>
            </a:prstGeom>
            <a:solidFill>
              <a:srgbClr val="FA870A"/>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25" name="iṩľîḓe">
              <a:extLst>
                <a:ext uri="{FF2B5EF4-FFF2-40B4-BE49-F238E27FC236}">
                  <a16:creationId xmlns:a16="http://schemas.microsoft.com/office/drawing/2014/main" id="{3268D6B8-A7F1-4602-877E-E21E6805FD4F}"/>
                </a:ext>
              </a:extLst>
            </p:cNvPr>
            <p:cNvSpPr/>
            <p:nvPr/>
          </p:nvSpPr>
          <p:spPr bwMode="auto">
            <a:xfrm>
              <a:off x="4545013" y="5551488"/>
              <a:ext cx="233363" cy="36513"/>
            </a:xfrm>
            <a:prstGeom prst="rect">
              <a:avLst/>
            </a:prstGeom>
            <a:solidFill>
              <a:srgbClr val="FA870A"/>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26" name="íṧļíḑè">
              <a:extLst>
                <a:ext uri="{FF2B5EF4-FFF2-40B4-BE49-F238E27FC236}">
                  <a16:creationId xmlns:a16="http://schemas.microsoft.com/office/drawing/2014/main" id="{ADDE1C8B-0847-4682-A32E-AEE5F1955EE4}"/>
                </a:ext>
              </a:extLst>
            </p:cNvPr>
            <p:cNvSpPr/>
            <p:nvPr/>
          </p:nvSpPr>
          <p:spPr bwMode="auto">
            <a:xfrm>
              <a:off x="4545013" y="5622925"/>
              <a:ext cx="233363" cy="36513"/>
            </a:xfrm>
            <a:prstGeom prst="rect">
              <a:avLst/>
            </a:prstGeom>
            <a:solidFill>
              <a:srgbClr val="FA870A"/>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27" name="íṣļïḓè">
              <a:extLst>
                <a:ext uri="{FF2B5EF4-FFF2-40B4-BE49-F238E27FC236}">
                  <a16:creationId xmlns:a16="http://schemas.microsoft.com/office/drawing/2014/main" id="{4EA5CB98-E436-488A-BBEB-EE9F5F0C5148}"/>
                </a:ext>
              </a:extLst>
            </p:cNvPr>
            <p:cNvSpPr/>
            <p:nvPr/>
          </p:nvSpPr>
          <p:spPr bwMode="auto">
            <a:xfrm>
              <a:off x="6510338" y="2498725"/>
              <a:ext cx="981075" cy="1577975"/>
            </a:xfrm>
            <a:prstGeom prst="rect">
              <a:avLst/>
            </a:prstGeom>
            <a:solidFill>
              <a:srgbClr val="E4F2F6"/>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28" name="ïslïďè">
              <a:extLst>
                <a:ext uri="{FF2B5EF4-FFF2-40B4-BE49-F238E27FC236}">
                  <a16:creationId xmlns:a16="http://schemas.microsoft.com/office/drawing/2014/main" id="{9F0B437D-A475-4E9C-9265-62072E8F03F9}"/>
                </a:ext>
              </a:extLst>
            </p:cNvPr>
            <p:cNvSpPr/>
            <p:nvPr/>
          </p:nvSpPr>
          <p:spPr bwMode="auto">
            <a:xfrm>
              <a:off x="6510338" y="2298700"/>
              <a:ext cx="1200150" cy="200025"/>
            </a:xfrm>
            <a:custGeom>
              <a:avLst/>
              <a:gdLst>
                <a:gd name="T0" fmla="*/ 618 w 756"/>
                <a:gd name="T1" fmla="*/ 126 h 126"/>
                <a:gd name="T2" fmla="*/ 0 w 756"/>
                <a:gd name="T3" fmla="*/ 126 h 126"/>
                <a:gd name="T4" fmla="*/ 133 w 756"/>
                <a:gd name="T5" fmla="*/ 0 h 126"/>
                <a:gd name="T6" fmla="*/ 756 w 756"/>
                <a:gd name="T7" fmla="*/ 0 h 126"/>
                <a:gd name="T8" fmla="*/ 618 w 756"/>
                <a:gd name="T9" fmla="*/ 126 h 126"/>
              </a:gdLst>
              <a:ahLst/>
              <a:cxnLst>
                <a:cxn ang="0">
                  <a:pos x="T0" y="T1"/>
                </a:cxn>
                <a:cxn ang="0">
                  <a:pos x="T2" y="T3"/>
                </a:cxn>
                <a:cxn ang="0">
                  <a:pos x="T4" y="T5"/>
                </a:cxn>
                <a:cxn ang="0">
                  <a:pos x="T6" y="T7"/>
                </a:cxn>
                <a:cxn ang="0">
                  <a:pos x="T8" y="T9"/>
                </a:cxn>
              </a:cxnLst>
              <a:rect l="0" t="0" r="r" b="b"/>
              <a:pathLst>
                <a:path w="756" h="126">
                  <a:moveTo>
                    <a:pt x="618" y="126"/>
                  </a:moveTo>
                  <a:lnTo>
                    <a:pt x="0" y="126"/>
                  </a:lnTo>
                  <a:lnTo>
                    <a:pt x="133" y="0"/>
                  </a:lnTo>
                  <a:lnTo>
                    <a:pt x="756" y="0"/>
                  </a:lnTo>
                  <a:lnTo>
                    <a:pt x="618" y="126"/>
                  </a:lnTo>
                  <a:close/>
                </a:path>
              </a:pathLst>
            </a:custGeom>
            <a:solidFill>
              <a:srgbClr val="6A9EA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9" name="iŝ1iḍê">
              <a:extLst>
                <a:ext uri="{FF2B5EF4-FFF2-40B4-BE49-F238E27FC236}">
                  <a16:creationId xmlns:a16="http://schemas.microsoft.com/office/drawing/2014/main" id="{D269D76F-9574-4D97-834D-535204E0B6F0}"/>
                </a:ext>
              </a:extLst>
            </p:cNvPr>
            <p:cNvSpPr/>
            <p:nvPr/>
          </p:nvSpPr>
          <p:spPr bwMode="auto">
            <a:xfrm>
              <a:off x="7491413" y="2298700"/>
              <a:ext cx="439738" cy="1778000"/>
            </a:xfrm>
            <a:custGeom>
              <a:avLst/>
              <a:gdLst>
                <a:gd name="T0" fmla="*/ 0 w 277"/>
                <a:gd name="T1" fmla="*/ 126 h 1120"/>
                <a:gd name="T2" fmla="*/ 138 w 277"/>
                <a:gd name="T3" fmla="*/ 0 h 1120"/>
                <a:gd name="T4" fmla="*/ 277 w 277"/>
                <a:gd name="T5" fmla="*/ 126 h 1120"/>
                <a:gd name="T6" fmla="*/ 277 w 277"/>
                <a:gd name="T7" fmla="*/ 1120 h 1120"/>
                <a:gd name="T8" fmla="*/ 0 w 277"/>
                <a:gd name="T9" fmla="*/ 1120 h 1120"/>
                <a:gd name="T10" fmla="*/ 0 w 277"/>
                <a:gd name="T11" fmla="*/ 126 h 1120"/>
              </a:gdLst>
              <a:ahLst/>
              <a:cxnLst>
                <a:cxn ang="0">
                  <a:pos x="T0" y="T1"/>
                </a:cxn>
                <a:cxn ang="0">
                  <a:pos x="T2" y="T3"/>
                </a:cxn>
                <a:cxn ang="0">
                  <a:pos x="T4" y="T5"/>
                </a:cxn>
                <a:cxn ang="0">
                  <a:pos x="T6" y="T7"/>
                </a:cxn>
                <a:cxn ang="0">
                  <a:pos x="T8" y="T9"/>
                </a:cxn>
                <a:cxn ang="0">
                  <a:pos x="T10" y="T11"/>
                </a:cxn>
              </a:cxnLst>
              <a:rect l="0" t="0" r="r" b="b"/>
              <a:pathLst>
                <a:path w="277" h="1120">
                  <a:moveTo>
                    <a:pt x="0" y="126"/>
                  </a:moveTo>
                  <a:lnTo>
                    <a:pt x="138" y="0"/>
                  </a:lnTo>
                  <a:lnTo>
                    <a:pt x="277" y="126"/>
                  </a:lnTo>
                  <a:lnTo>
                    <a:pt x="277" y="1120"/>
                  </a:lnTo>
                  <a:lnTo>
                    <a:pt x="0" y="1120"/>
                  </a:lnTo>
                  <a:lnTo>
                    <a:pt x="0" y="126"/>
                  </a:lnTo>
                  <a:close/>
                </a:path>
              </a:pathLst>
            </a:custGeom>
            <a:solidFill>
              <a:srgbClr val="A5C8C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0" name="ïśľíďê">
              <a:extLst>
                <a:ext uri="{FF2B5EF4-FFF2-40B4-BE49-F238E27FC236}">
                  <a16:creationId xmlns:a16="http://schemas.microsoft.com/office/drawing/2014/main" id="{4F45A41C-C71A-4073-80EA-5BA5AF1EE31C}"/>
                </a:ext>
              </a:extLst>
            </p:cNvPr>
            <p:cNvSpPr/>
            <p:nvPr/>
          </p:nvSpPr>
          <p:spPr bwMode="auto">
            <a:xfrm>
              <a:off x="6680201" y="2614613"/>
              <a:ext cx="187325" cy="195263"/>
            </a:xfrm>
            <a:prstGeom prst="rect">
              <a:avLst/>
            </a:prstGeom>
            <a:solidFill>
              <a:srgbClr val="A5C8CD"/>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31" name="ïş1idé">
              <a:extLst>
                <a:ext uri="{FF2B5EF4-FFF2-40B4-BE49-F238E27FC236}">
                  <a16:creationId xmlns:a16="http://schemas.microsoft.com/office/drawing/2014/main" id="{C00729EE-2E8C-4F4F-A0F4-F41191B01933}"/>
                </a:ext>
              </a:extLst>
            </p:cNvPr>
            <p:cNvSpPr/>
            <p:nvPr/>
          </p:nvSpPr>
          <p:spPr bwMode="auto">
            <a:xfrm>
              <a:off x="7623176" y="2625725"/>
              <a:ext cx="188913" cy="196850"/>
            </a:xfrm>
            <a:prstGeom prst="rect">
              <a:avLst/>
            </a:prstGeom>
            <a:solidFill>
              <a:srgbClr val="6C9BAA"/>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32" name="iṥľiḑê">
              <a:extLst>
                <a:ext uri="{FF2B5EF4-FFF2-40B4-BE49-F238E27FC236}">
                  <a16:creationId xmlns:a16="http://schemas.microsoft.com/office/drawing/2014/main" id="{DFBD1274-19CA-4B87-B5ED-85A34103B957}"/>
                </a:ext>
              </a:extLst>
            </p:cNvPr>
            <p:cNvSpPr/>
            <p:nvPr/>
          </p:nvSpPr>
          <p:spPr bwMode="auto">
            <a:xfrm>
              <a:off x="7623176" y="2995613"/>
              <a:ext cx="188913" cy="190500"/>
            </a:xfrm>
            <a:prstGeom prst="rect">
              <a:avLst/>
            </a:prstGeom>
            <a:solidFill>
              <a:srgbClr val="6C9BAA"/>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33" name="îṥlïďè">
              <a:extLst>
                <a:ext uri="{FF2B5EF4-FFF2-40B4-BE49-F238E27FC236}">
                  <a16:creationId xmlns:a16="http://schemas.microsoft.com/office/drawing/2014/main" id="{12A71E89-3D17-47A5-B02C-A7F5DC151544}"/>
                </a:ext>
              </a:extLst>
            </p:cNvPr>
            <p:cNvSpPr/>
            <p:nvPr/>
          </p:nvSpPr>
          <p:spPr bwMode="auto">
            <a:xfrm>
              <a:off x="7623176" y="3344863"/>
              <a:ext cx="188913" cy="190500"/>
            </a:xfrm>
            <a:prstGeom prst="rect">
              <a:avLst/>
            </a:prstGeom>
            <a:solidFill>
              <a:srgbClr val="6C9BAA"/>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34" name="ïṡļïḑe">
              <a:extLst>
                <a:ext uri="{FF2B5EF4-FFF2-40B4-BE49-F238E27FC236}">
                  <a16:creationId xmlns:a16="http://schemas.microsoft.com/office/drawing/2014/main" id="{B9B815B1-5BCF-49BA-A350-E94E961B08D5}"/>
                </a:ext>
              </a:extLst>
            </p:cNvPr>
            <p:cNvSpPr/>
            <p:nvPr/>
          </p:nvSpPr>
          <p:spPr bwMode="auto">
            <a:xfrm>
              <a:off x="7623176" y="3678238"/>
              <a:ext cx="188913" cy="196850"/>
            </a:xfrm>
            <a:prstGeom prst="rect">
              <a:avLst/>
            </a:prstGeom>
            <a:solidFill>
              <a:srgbClr val="6C9BAA"/>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35" name="isľïḍè">
              <a:extLst>
                <a:ext uri="{FF2B5EF4-FFF2-40B4-BE49-F238E27FC236}">
                  <a16:creationId xmlns:a16="http://schemas.microsoft.com/office/drawing/2014/main" id="{BF1E0F50-691F-4220-9967-F0FD304F2683}"/>
                </a:ext>
              </a:extLst>
            </p:cNvPr>
            <p:cNvSpPr/>
            <p:nvPr/>
          </p:nvSpPr>
          <p:spPr bwMode="auto">
            <a:xfrm>
              <a:off x="7086601" y="2614613"/>
              <a:ext cx="187325" cy="195263"/>
            </a:xfrm>
            <a:prstGeom prst="rect">
              <a:avLst/>
            </a:prstGeom>
            <a:solidFill>
              <a:srgbClr val="A5C8CD"/>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36" name="ï$ḷîdê">
              <a:extLst>
                <a:ext uri="{FF2B5EF4-FFF2-40B4-BE49-F238E27FC236}">
                  <a16:creationId xmlns:a16="http://schemas.microsoft.com/office/drawing/2014/main" id="{3BD44D2A-88DD-47B5-9632-D3A9B27F745B}"/>
                </a:ext>
              </a:extLst>
            </p:cNvPr>
            <p:cNvSpPr/>
            <p:nvPr/>
          </p:nvSpPr>
          <p:spPr bwMode="auto">
            <a:xfrm>
              <a:off x="7292976" y="2182813"/>
              <a:ext cx="49213" cy="211138"/>
            </a:xfrm>
            <a:custGeom>
              <a:avLst/>
              <a:gdLst>
                <a:gd name="T0" fmla="*/ 31 w 31"/>
                <a:gd name="T1" fmla="*/ 0 h 133"/>
                <a:gd name="T2" fmla="*/ 0 w 31"/>
                <a:gd name="T3" fmla="*/ 0 h 133"/>
                <a:gd name="T4" fmla="*/ 0 w 31"/>
                <a:gd name="T5" fmla="*/ 133 h 133"/>
                <a:gd name="T6" fmla="*/ 31 w 31"/>
                <a:gd name="T7" fmla="*/ 92 h 133"/>
                <a:gd name="T8" fmla="*/ 31 w 31"/>
                <a:gd name="T9" fmla="*/ 0 h 133"/>
              </a:gdLst>
              <a:ahLst/>
              <a:cxnLst>
                <a:cxn ang="0">
                  <a:pos x="T0" y="T1"/>
                </a:cxn>
                <a:cxn ang="0">
                  <a:pos x="T2" y="T3"/>
                </a:cxn>
                <a:cxn ang="0">
                  <a:pos x="T4" y="T5"/>
                </a:cxn>
                <a:cxn ang="0">
                  <a:pos x="T6" y="T7"/>
                </a:cxn>
                <a:cxn ang="0">
                  <a:pos x="T8" y="T9"/>
                </a:cxn>
              </a:cxnLst>
              <a:rect l="0" t="0" r="r" b="b"/>
              <a:pathLst>
                <a:path w="31" h="133">
                  <a:moveTo>
                    <a:pt x="31" y="0"/>
                  </a:moveTo>
                  <a:lnTo>
                    <a:pt x="0" y="0"/>
                  </a:lnTo>
                  <a:lnTo>
                    <a:pt x="0" y="133"/>
                  </a:lnTo>
                  <a:lnTo>
                    <a:pt x="31" y="92"/>
                  </a:lnTo>
                  <a:lnTo>
                    <a:pt x="31" y="0"/>
                  </a:lnTo>
                  <a:close/>
                </a:path>
              </a:pathLst>
            </a:custGeom>
            <a:solidFill>
              <a:srgbClr val="A5C8C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7" name="íş1îḓè">
              <a:extLst>
                <a:ext uri="{FF2B5EF4-FFF2-40B4-BE49-F238E27FC236}">
                  <a16:creationId xmlns:a16="http://schemas.microsoft.com/office/drawing/2014/main" id="{B316C89C-218A-4988-8FA8-72270C2020EE}"/>
                </a:ext>
              </a:extLst>
            </p:cNvPr>
            <p:cNvSpPr/>
            <p:nvPr/>
          </p:nvSpPr>
          <p:spPr bwMode="auto">
            <a:xfrm>
              <a:off x="7123113" y="2182813"/>
              <a:ext cx="169863" cy="211138"/>
            </a:xfrm>
            <a:prstGeom prst="rect">
              <a:avLst/>
            </a:prstGeom>
            <a:solidFill>
              <a:srgbClr val="E4F2F6"/>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38" name="iS1íḑê">
              <a:extLst>
                <a:ext uri="{FF2B5EF4-FFF2-40B4-BE49-F238E27FC236}">
                  <a16:creationId xmlns:a16="http://schemas.microsoft.com/office/drawing/2014/main" id="{C720971B-18FF-4A27-A7DB-92839049A7D4}"/>
                </a:ext>
              </a:extLst>
            </p:cNvPr>
            <p:cNvSpPr/>
            <p:nvPr/>
          </p:nvSpPr>
          <p:spPr bwMode="auto">
            <a:xfrm>
              <a:off x="7105651" y="2149475"/>
              <a:ext cx="187325" cy="33338"/>
            </a:xfrm>
            <a:prstGeom prst="rect">
              <a:avLst/>
            </a:prstGeom>
            <a:solidFill>
              <a:srgbClr val="A5C8CD"/>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39" name="îsľiḑè">
              <a:extLst>
                <a:ext uri="{FF2B5EF4-FFF2-40B4-BE49-F238E27FC236}">
                  <a16:creationId xmlns:a16="http://schemas.microsoft.com/office/drawing/2014/main" id="{181A0490-04FD-4AB2-93E3-9C53DE8414BF}"/>
                </a:ext>
              </a:extLst>
            </p:cNvPr>
            <p:cNvSpPr/>
            <p:nvPr/>
          </p:nvSpPr>
          <p:spPr bwMode="auto">
            <a:xfrm>
              <a:off x="7292976" y="2149475"/>
              <a:ext cx="60325" cy="33338"/>
            </a:xfrm>
            <a:prstGeom prst="rect">
              <a:avLst/>
            </a:prstGeom>
            <a:solidFill>
              <a:srgbClr val="6C9BAA"/>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40" name="íSľïḓê">
              <a:extLst>
                <a:ext uri="{FF2B5EF4-FFF2-40B4-BE49-F238E27FC236}">
                  <a16:creationId xmlns:a16="http://schemas.microsoft.com/office/drawing/2014/main" id="{98475823-6D28-4627-81AD-C57C00A1A0F3}"/>
                </a:ext>
              </a:extLst>
            </p:cNvPr>
            <p:cNvSpPr/>
            <p:nvPr/>
          </p:nvSpPr>
          <p:spPr bwMode="auto">
            <a:xfrm>
              <a:off x="6680201" y="2935288"/>
              <a:ext cx="593725" cy="112713"/>
            </a:xfrm>
            <a:prstGeom prst="rect">
              <a:avLst/>
            </a:prstGeom>
            <a:solidFill>
              <a:srgbClr val="87AFB9"/>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41" name="iṡlidè">
              <a:extLst>
                <a:ext uri="{FF2B5EF4-FFF2-40B4-BE49-F238E27FC236}">
                  <a16:creationId xmlns:a16="http://schemas.microsoft.com/office/drawing/2014/main" id="{0E977D07-658A-49D6-9765-B4E5366EDD3D}"/>
                </a:ext>
              </a:extLst>
            </p:cNvPr>
            <p:cNvSpPr/>
            <p:nvPr/>
          </p:nvSpPr>
          <p:spPr bwMode="auto">
            <a:xfrm>
              <a:off x="6680201" y="3149600"/>
              <a:ext cx="593725" cy="112713"/>
            </a:xfrm>
            <a:prstGeom prst="rect">
              <a:avLst/>
            </a:prstGeom>
            <a:solidFill>
              <a:srgbClr val="87AFB9"/>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42" name="ïSļíḑê">
              <a:extLst>
                <a:ext uri="{FF2B5EF4-FFF2-40B4-BE49-F238E27FC236}">
                  <a16:creationId xmlns:a16="http://schemas.microsoft.com/office/drawing/2014/main" id="{F77878AC-6A4B-4793-BD71-D3215CE2BC2B}"/>
                </a:ext>
              </a:extLst>
            </p:cNvPr>
            <p:cNvSpPr/>
            <p:nvPr/>
          </p:nvSpPr>
          <p:spPr bwMode="auto">
            <a:xfrm>
              <a:off x="6680201" y="3359150"/>
              <a:ext cx="593725" cy="112713"/>
            </a:xfrm>
            <a:prstGeom prst="rect">
              <a:avLst/>
            </a:prstGeom>
            <a:solidFill>
              <a:srgbClr val="87AFB9"/>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43" name="isḷiďé">
              <a:extLst>
                <a:ext uri="{FF2B5EF4-FFF2-40B4-BE49-F238E27FC236}">
                  <a16:creationId xmlns:a16="http://schemas.microsoft.com/office/drawing/2014/main" id="{DEC23C3D-DA78-4CD6-A19B-50D07EFB6314}"/>
                </a:ext>
              </a:extLst>
            </p:cNvPr>
            <p:cNvSpPr/>
            <p:nvPr/>
          </p:nvSpPr>
          <p:spPr bwMode="auto">
            <a:xfrm>
              <a:off x="6680201" y="3573463"/>
              <a:ext cx="593725" cy="112713"/>
            </a:xfrm>
            <a:prstGeom prst="rect">
              <a:avLst/>
            </a:prstGeom>
            <a:solidFill>
              <a:srgbClr val="87AFB9"/>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44" name="ïşļîḋè">
              <a:extLst>
                <a:ext uri="{FF2B5EF4-FFF2-40B4-BE49-F238E27FC236}">
                  <a16:creationId xmlns:a16="http://schemas.microsoft.com/office/drawing/2014/main" id="{FD4FAA66-F6E0-4013-B29D-BD9BBF1F65CE}"/>
                </a:ext>
              </a:extLst>
            </p:cNvPr>
            <p:cNvSpPr/>
            <p:nvPr/>
          </p:nvSpPr>
          <p:spPr bwMode="auto">
            <a:xfrm>
              <a:off x="6680201" y="3773488"/>
              <a:ext cx="593725" cy="112713"/>
            </a:xfrm>
            <a:prstGeom prst="rect">
              <a:avLst/>
            </a:prstGeom>
            <a:solidFill>
              <a:srgbClr val="87AFB9"/>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45" name="ïṧļíḋê">
              <a:extLst>
                <a:ext uri="{FF2B5EF4-FFF2-40B4-BE49-F238E27FC236}">
                  <a16:creationId xmlns:a16="http://schemas.microsoft.com/office/drawing/2014/main" id="{9DF407EF-0C98-4F02-B7D8-E340100095A8}"/>
                </a:ext>
              </a:extLst>
            </p:cNvPr>
            <p:cNvSpPr/>
            <p:nvPr/>
          </p:nvSpPr>
          <p:spPr bwMode="auto">
            <a:xfrm>
              <a:off x="5880101" y="1133475"/>
              <a:ext cx="49213" cy="876300"/>
            </a:xfrm>
            <a:prstGeom prst="rect">
              <a:avLst/>
            </a:prstGeom>
            <a:solidFill>
              <a:srgbClr val="578291"/>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46" name="íṡliḍè">
              <a:extLst>
                <a:ext uri="{FF2B5EF4-FFF2-40B4-BE49-F238E27FC236}">
                  <a16:creationId xmlns:a16="http://schemas.microsoft.com/office/drawing/2014/main" id="{3C77C14A-9A77-4F76-A592-527BA91642A3}"/>
                </a:ext>
              </a:extLst>
            </p:cNvPr>
            <p:cNvSpPr/>
            <p:nvPr/>
          </p:nvSpPr>
          <p:spPr bwMode="auto">
            <a:xfrm>
              <a:off x="6284913" y="1152525"/>
              <a:ext cx="34925" cy="977900"/>
            </a:xfrm>
            <a:prstGeom prst="rect">
              <a:avLst/>
            </a:prstGeom>
            <a:solidFill>
              <a:srgbClr val="578291"/>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47" name="işḻïḋè">
              <a:extLst>
                <a:ext uri="{FF2B5EF4-FFF2-40B4-BE49-F238E27FC236}">
                  <a16:creationId xmlns:a16="http://schemas.microsoft.com/office/drawing/2014/main" id="{638E9FB7-8356-4A2A-815D-E2AA14ABCEB5}"/>
                </a:ext>
              </a:extLst>
            </p:cNvPr>
            <p:cNvSpPr/>
            <p:nvPr/>
          </p:nvSpPr>
          <p:spPr bwMode="auto">
            <a:xfrm>
              <a:off x="6078538" y="1622425"/>
              <a:ext cx="447675" cy="38100"/>
            </a:xfrm>
            <a:prstGeom prst="rect">
              <a:avLst/>
            </a:prstGeom>
            <a:solidFill>
              <a:srgbClr val="578291"/>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48" name="íSļîďè">
              <a:extLst>
                <a:ext uri="{FF2B5EF4-FFF2-40B4-BE49-F238E27FC236}">
                  <a16:creationId xmlns:a16="http://schemas.microsoft.com/office/drawing/2014/main" id="{BC540582-5EFF-47CA-8DE4-03DF6EE1F76F}"/>
                </a:ext>
              </a:extLst>
            </p:cNvPr>
            <p:cNvSpPr/>
            <p:nvPr/>
          </p:nvSpPr>
          <p:spPr bwMode="auto">
            <a:xfrm>
              <a:off x="6078538" y="1536700"/>
              <a:ext cx="447675" cy="33338"/>
            </a:xfrm>
            <a:prstGeom prst="rect">
              <a:avLst/>
            </a:prstGeom>
            <a:solidFill>
              <a:srgbClr val="578291"/>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49" name="î$1îďê">
              <a:extLst>
                <a:ext uri="{FF2B5EF4-FFF2-40B4-BE49-F238E27FC236}">
                  <a16:creationId xmlns:a16="http://schemas.microsoft.com/office/drawing/2014/main" id="{4E89FDA4-BF8C-44CC-98E3-4058086C88A7}"/>
                </a:ext>
              </a:extLst>
            </p:cNvPr>
            <p:cNvSpPr/>
            <p:nvPr/>
          </p:nvSpPr>
          <p:spPr bwMode="auto">
            <a:xfrm>
              <a:off x="6078538" y="1449388"/>
              <a:ext cx="447675" cy="34925"/>
            </a:xfrm>
            <a:prstGeom prst="rect">
              <a:avLst/>
            </a:prstGeom>
            <a:solidFill>
              <a:srgbClr val="578291"/>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50" name="íṥ1ïḋè">
              <a:extLst>
                <a:ext uri="{FF2B5EF4-FFF2-40B4-BE49-F238E27FC236}">
                  <a16:creationId xmlns:a16="http://schemas.microsoft.com/office/drawing/2014/main" id="{94427939-7D7C-4761-914C-12BB438BFF6B}"/>
                </a:ext>
              </a:extLst>
            </p:cNvPr>
            <p:cNvSpPr/>
            <p:nvPr/>
          </p:nvSpPr>
          <p:spPr bwMode="auto">
            <a:xfrm>
              <a:off x="6078538" y="1358900"/>
              <a:ext cx="447675" cy="38100"/>
            </a:xfrm>
            <a:prstGeom prst="rect">
              <a:avLst/>
            </a:prstGeom>
            <a:solidFill>
              <a:srgbClr val="578291"/>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51" name="îṣḷîde">
              <a:extLst>
                <a:ext uri="{FF2B5EF4-FFF2-40B4-BE49-F238E27FC236}">
                  <a16:creationId xmlns:a16="http://schemas.microsoft.com/office/drawing/2014/main" id="{2B653F00-43FF-4F5C-955E-F2F459FBC211}"/>
                </a:ext>
              </a:extLst>
            </p:cNvPr>
            <p:cNvSpPr/>
            <p:nvPr/>
          </p:nvSpPr>
          <p:spPr bwMode="auto">
            <a:xfrm>
              <a:off x="5476876" y="2224088"/>
              <a:ext cx="992188" cy="2717800"/>
            </a:xfrm>
            <a:prstGeom prst="rect">
              <a:avLst/>
            </a:prstGeom>
            <a:solidFill>
              <a:srgbClr val="C0E5F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52" name="îsḷíďê">
              <a:extLst>
                <a:ext uri="{FF2B5EF4-FFF2-40B4-BE49-F238E27FC236}">
                  <a16:creationId xmlns:a16="http://schemas.microsoft.com/office/drawing/2014/main" id="{B8FF160D-4A20-4108-8BB8-9EBF37016969}"/>
                </a:ext>
              </a:extLst>
            </p:cNvPr>
            <p:cNvSpPr/>
            <p:nvPr/>
          </p:nvSpPr>
          <p:spPr bwMode="auto">
            <a:xfrm>
              <a:off x="5476876" y="2224088"/>
              <a:ext cx="992188" cy="2717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53" name="îsḷiḍè">
              <a:extLst>
                <a:ext uri="{FF2B5EF4-FFF2-40B4-BE49-F238E27FC236}">
                  <a16:creationId xmlns:a16="http://schemas.microsoft.com/office/drawing/2014/main" id="{39760B9C-1226-4646-BA62-F771371D98FC}"/>
                </a:ext>
              </a:extLst>
            </p:cNvPr>
            <p:cNvSpPr/>
            <p:nvPr/>
          </p:nvSpPr>
          <p:spPr bwMode="auto">
            <a:xfrm>
              <a:off x="5627688" y="2400300"/>
              <a:ext cx="687388" cy="150813"/>
            </a:xfrm>
            <a:prstGeom prst="rect">
              <a:avLst/>
            </a:prstGeom>
            <a:solidFill>
              <a:srgbClr val="91D6F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54" name="îṩḻíḑe">
              <a:extLst>
                <a:ext uri="{FF2B5EF4-FFF2-40B4-BE49-F238E27FC236}">
                  <a16:creationId xmlns:a16="http://schemas.microsoft.com/office/drawing/2014/main" id="{F09123B3-386D-4230-9148-8A1E1F9DCCFA}"/>
                </a:ext>
              </a:extLst>
            </p:cNvPr>
            <p:cNvSpPr/>
            <p:nvPr/>
          </p:nvSpPr>
          <p:spPr bwMode="auto">
            <a:xfrm>
              <a:off x="5627688" y="2674938"/>
              <a:ext cx="687388" cy="150813"/>
            </a:xfrm>
            <a:prstGeom prst="rect">
              <a:avLst/>
            </a:prstGeom>
            <a:solidFill>
              <a:srgbClr val="91D6F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55" name="ïŝľíḓê">
              <a:extLst>
                <a:ext uri="{FF2B5EF4-FFF2-40B4-BE49-F238E27FC236}">
                  <a16:creationId xmlns:a16="http://schemas.microsoft.com/office/drawing/2014/main" id="{075CF274-AFF9-4C8A-A8C1-0FB0FDDE280E}"/>
                </a:ext>
              </a:extLst>
            </p:cNvPr>
            <p:cNvSpPr/>
            <p:nvPr/>
          </p:nvSpPr>
          <p:spPr bwMode="auto">
            <a:xfrm>
              <a:off x="5627688" y="2949575"/>
              <a:ext cx="687388" cy="150813"/>
            </a:xfrm>
            <a:prstGeom prst="rect">
              <a:avLst/>
            </a:prstGeom>
            <a:solidFill>
              <a:srgbClr val="91D6F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56" name="í$ḷîdé">
              <a:extLst>
                <a:ext uri="{FF2B5EF4-FFF2-40B4-BE49-F238E27FC236}">
                  <a16:creationId xmlns:a16="http://schemas.microsoft.com/office/drawing/2014/main" id="{385A4A4B-FA2A-4836-9F95-D17633B97AE5}"/>
                </a:ext>
              </a:extLst>
            </p:cNvPr>
            <p:cNvSpPr/>
            <p:nvPr/>
          </p:nvSpPr>
          <p:spPr bwMode="auto">
            <a:xfrm>
              <a:off x="5627688" y="3224213"/>
              <a:ext cx="687388" cy="150813"/>
            </a:xfrm>
            <a:prstGeom prst="rect">
              <a:avLst/>
            </a:prstGeom>
            <a:solidFill>
              <a:srgbClr val="91D6F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57" name="îŝḻíḓê">
              <a:extLst>
                <a:ext uri="{FF2B5EF4-FFF2-40B4-BE49-F238E27FC236}">
                  <a16:creationId xmlns:a16="http://schemas.microsoft.com/office/drawing/2014/main" id="{243A4453-4617-4A2C-A2A3-0B71453578C4}"/>
                </a:ext>
              </a:extLst>
            </p:cNvPr>
            <p:cNvSpPr/>
            <p:nvPr/>
          </p:nvSpPr>
          <p:spPr bwMode="auto">
            <a:xfrm>
              <a:off x="5627688" y="3498850"/>
              <a:ext cx="687388" cy="146050"/>
            </a:xfrm>
            <a:prstGeom prst="rect">
              <a:avLst/>
            </a:prstGeom>
            <a:solidFill>
              <a:srgbClr val="91D6F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58" name="îṡliďê">
              <a:extLst>
                <a:ext uri="{FF2B5EF4-FFF2-40B4-BE49-F238E27FC236}">
                  <a16:creationId xmlns:a16="http://schemas.microsoft.com/office/drawing/2014/main" id="{21CE7BCB-9750-4B42-A316-A64C915A0E5F}"/>
                </a:ext>
              </a:extLst>
            </p:cNvPr>
            <p:cNvSpPr/>
            <p:nvPr/>
          </p:nvSpPr>
          <p:spPr bwMode="auto">
            <a:xfrm>
              <a:off x="5627688" y="3768725"/>
              <a:ext cx="687388" cy="150813"/>
            </a:xfrm>
            <a:prstGeom prst="rect">
              <a:avLst/>
            </a:prstGeom>
            <a:solidFill>
              <a:srgbClr val="91D6F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59" name="i$lïḋê">
              <a:extLst>
                <a:ext uri="{FF2B5EF4-FFF2-40B4-BE49-F238E27FC236}">
                  <a16:creationId xmlns:a16="http://schemas.microsoft.com/office/drawing/2014/main" id="{08B25B00-9720-4002-A393-BA915E001844}"/>
                </a:ext>
              </a:extLst>
            </p:cNvPr>
            <p:cNvSpPr/>
            <p:nvPr/>
          </p:nvSpPr>
          <p:spPr bwMode="auto">
            <a:xfrm>
              <a:off x="5567363" y="2006600"/>
              <a:ext cx="846138" cy="217488"/>
            </a:xfrm>
            <a:prstGeom prst="rect">
              <a:avLst/>
            </a:prstGeom>
            <a:solidFill>
              <a:srgbClr val="91D6F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60" name="íṩ1îḓè">
              <a:extLst>
                <a:ext uri="{FF2B5EF4-FFF2-40B4-BE49-F238E27FC236}">
                  <a16:creationId xmlns:a16="http://schemas.microsoft.com/office/drawing/2014/main" id="{05A37B3E-AA2E-4FD7-8C4F-FD7C4982188C}"/>
                </a:ext>
              </a:extLst>
            </p:cNvPr>
            <p:cNvSpPr/>
            <p:nvPr/>
          </p:nvSpPr>
          <p:spPr bwMode="auto">
            <a:xfrm>
              <a:off x="5688013" y="1765300"/>
              <a:ext cx="657225" cy="241300"/>
            </a:xfrm>
            <a:prstGeom prst="rect">
              <a:avLst/>
            </a:prstGeom>
            <a:solidFill>
              <a:srgbClr val="6A9EA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61" name="îṡľïdé">
              <a:extLst>
                <a:ext uri="{FF2B5EF4-FFF2-40B4-BE49-F238E27FC236}">
                  <a16:creationId xmlns:a16="http://schemas.microsoft.com/office/drawing/2014/main" id="{EC4251D1-0A14-4346-8A5F-D3E5CC80D98A}"/>
                </a:ext>
              </a:extLst>
            </p:cNvPr>
            <p:cNvSpPr/>
            <p:nvPr/>
          </p:nvSpPr>
          <p:spPr bwMode="auto">
            <a:xfrm>
              <a:off x="6469063" y="2224088"/>
              <a:ext cx="350838" cy="2717800"/>
            </a:xfrm>
            <a:prstGeom prst="rect">
              <a:avLst/>
            </a:prstGeom>
            <a:solidFill>
              <a:srgbClr val="91D6F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62" name="íS1iḍé">
              <a:extLst>
                <a:ext uri="{FF2B5EF4-FFF2-40B4-BE49-F238E27FC236}">
                  <a16:creationId xmlns:a16="http://schemas.microsoft.com/office/drawing/2014/main" id="{E80FE0D3-48F6-4951-8383-480A6D2110EA}"/>
                </a:ext>
              </a:extLst>
            </p:cNvPr>
            <p:cNvSpPr/>
            <p:nvPr/>
          </p:nvSpPr>
          <p:spPr bwMode="auto">
            <a:xfrm>
              <a:off x="6469063" y="2224088"/>
              <a:ext cx="350838" cy="2717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63" name="íśļiḑe">
              <a:extLst>
                <a:ext uri="{FF2B5EF4-FFF2-40B4-BE49-F238E27FC236}">
                  <a16:creationId xmlns:a16="http://schemas.microsoft.com/office/drawing/2014/main" id="{5458C681-DA9A-42DC-B189-3CB315C0DBE2}"/>
                </a:ext>
              </a:extLst>
            </p:cNvPr>
            <p:cNvSpPr/>
            <p:nvPr/>
          </p:nvSpPr>
          <p:spPr bwMode="auto">
            <a:xfrm>
              <a:off x="6469063" y="2400300"/>
              <a:ext cx="249238" cy="150813"/>
            </a:xfrm>
            <a:prstGeom prst="rect">
              <a:avLst/>
            </a:prstGeom>
            <a:solidFill>
              <a:srgbClr val="6A9EA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64" name="ïŝḷîḋé">
              <a:extLst>
                <a:ext uri="{FF2B5EF4-FFF2-40B4-BE49-F238E27FC236}">
                  <a16:creationId xmlns:a16="http://schemas.microsoft.com/office/drawing/2014/main" id="{12E7D90C-B813-4B7B-B9E5-883842632D05}"/>
                </a:ext>
              </a:extLst>
            </p:cNvPr>
            <p:cNvSpPr/>
            <p:nvPr/>
          </p:nvSpPr>
          <p:spPr bwMode="auto">
            <a:xfrm>
              <a:off x="6469063" y="2674938"/>
              <a:ext cx="249238" cy="150813"/>
            </a:xfrm>
            <a:prstGeom prst="rect">
              <a:avLst/>
            </a:prstGeom>
            <a:solidFill>
              <a:srgbClr val="6A9EA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65" name="îṥḻïḋé">
              <a:extLst>
                <a:ext uri="{FF2B5EF4-FFF2-40B4-BE49-F238E27FC236}">
                  <a16:creationId xmlns:a16="http://schemas.microsoft.com/office/drawing/2014/main" id="{3D3A7100-42C9-4EC7-A001-D66E5C5F2B7F}"/>
                </a:ext>
              </a:extLst>
            </p:cNvPr>
            <p:cNvSpPr/>
            <p:nvPr/>
          </p:nvSpPr>
          <p:spPr bwMode="auto">
            <a:xfrm>
              <a:off x="6469063" y="2949575"/>
              <a:ext cx="249238" cy="150813"/>
            </a:xfrm>
            <a:prstGeom prst="rect">
              <a:avLst/>
            </a:prstGeom>
            <a:solidFill>
              <a:srgbClr val="6A9EA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66" name="îş1îḓè">
              <a:extLst>
                <a:ext uri="{FF2B5EF4-FFF2-40B4-BE49-F238E27FC236}">
                  <a16:creationId xmlns:a16="http://schemas.microsoft.com/office/drawing/2014/main" id="{D50401E8-22FC-4982-93EF-737ABE2AD03F}"/>
                </a:ext>
              </a:extLst>
            </p:cNvPr>
            <p:cNvSpPr/>
            <p:nvPr/>
          </p:nvSpPr>
          <p:spPr bwMode="auto">
            <a:xfrm>
              <a:off x="6469063" y="3224213"/>
              <a:ext cx="249238" cy="150813"/>
            </a:xfrm>
            <a:prstGeom prst="rect">
              <a:avLst/>
            </a:prstGeom>
            <a:solidFill>
              <a:srgbClr val="6A9EA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67" name="íṧlîďê">
              <a:extLst>
                <a:ext uri="{FF2B5EF4-FFF2-40B4-BE49-F238E27FC236}">
                  <a16:creationId xmlns:a16="http://schemas.microsoft.com/office/drawing/2014/main" id="{09D01CB0-EE8C-4C03-9A90-C4FA19CC663D}"/>
                </a:ext>
              </a:extLst>
            </p:cNvPr>
            <p:cNvSpPr/>
            <p:nvPr/>
          </p:nvSpPr>
          <p:spPr bwMode="auto">
            <a:xfrm>
              <a:off x="6469063" y="3498850"/>
              <a:ext cx="249238" cy="146050"/>
            </a:xfrm>
            <a:prstGeom prst="rect">
              <a:avLst/>
            </a:prstGeom>
            <a:solidFill>
              <a:srgbClr val="6A9EA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68" name="îsḷîḑê">
              <a:extLst>
                <a:ext uri="{FF2B5EF4-FFF2-40B4-BE49-F238E27FC236}">
                  <a16:creationId xmlns:a16="http://schemas.microsoft.com/office/drawing/2014/main" id="{DC7A795F-8C9C-48FE-953A-1377A7CA98C8}"/>
                </a:ext>
              </a:extLst>
            </p:cNvPr>
            <p:cNvSpPr/>
            <p:nvPr/>
          </p:nvSpPr>
          <p:spPr bwMode="auto">
            <a:xfrm>
              <a:off x="6469063" y="3768725"/>
              <a:ext cx="249238" cy="150813"/>
            </a:xfrm>
            <a:prstGeom prst="rect">
              <a:avLst/>
            </a:prstGeom>
            <a:solidFill>
              <a:srgbClr val="6A9EA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69" name="i$ḷïďe">
              <a:extLst>
                <a:ext uri="{FF2B5EF4-FFF2-40B4-BE49-F238E27FC236}">
                  <a16:creationId xmlns:a16="http://schemas.microsoft.com/office/drawing/2014/main" id="{3A84658A-3A92-454D-BF62-86B6D623864B}"/>
                </a:ext>
              </a:extLst>
            </p:cNvPr>
            <p:cNvSpPr/>
            <p:nvPr/>
          </p:nvSpPr>
          <p:spPr bwMode="auto">
            <a:xfrm>
              <a:off x="5627688" y="4029075"/>
              <a:ext cx="687388" cy="149225"/>
            </a:xfrm>
            <a:prstGeom prst="rect">
              <a:avLst/>
            </a:prstGeom>
            <a:solidFill>
              <a:srgbClr val="91D6F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70" name="îS1ïḋé">
              <a:extLst>
                <a:ext uri="{FF2B5EF4-FFF2-40B4-BE49-F238E27FC236}">
                  <a16:creationId xmlns:a16="http://schemas.microsoft.com/office/drawing/2014/main" id="{FA44431A-52C1-475D-AA73-8026C2695041}"/>
                </a:ext>
              </a:extLst>
            </p:cNvPr>
            <p:cNvSpPr/>
            <p:nvPr/>
          </p:nvSpPr>
          <p:spPr bwMode="auto">
            <a:xfrm>
              <a:off x="5627688" y="4029075"/>
              <a:ext cx="687388" cy="149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71" name="ïśḷíḑè">
              <a:extLst>
                <a:ext uri="{FF2B5EF4-FFF2-40B4-BE49-F238E27FC236}">
                  <a16:creationId xmlns:a16="http://schemas.microsoft.com/office/drawing/2014/main" id="{A8A939A8-0E2E-4106-8EAC-7CA64CBBBE11}"/>
                </a:ext>
              </a:extLst>
            </p:cNvPr>
            <p:cNvSpPr/>
            <p:nvPr/>
          </p:nvSpPr>
          <p:spPr bwMode="auto">
            <a:xfrm>
              <a:off x="5627688" y="4303713"/>
              <a:ext cx="687388" cy="149225"/>
            </a:xfrm>
            <a:prstGeom prst="rect">
              <a:avLst/>
            </a:prstGeom>
            <a:solidFill>
              <a:srgbClr val="91D6F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72" name="îṣļiḓê">
              <a:extLst>
                <a:ext uri="{FF2B5EF4-FFF2-40B4-BE49-F238E27FC236}">
                  <a16:creationId xmlns:a16="http://schemas.microsoft.com/office/drawing/2014/main" id="{D48509D0-F61C-4136-953F-2326E59E3434}"/>
                </a:ext>
              </a:extLst>
            </p:cNvPr>
            <p:cNvSpPr/>
            <p:nvPr/>
          </p:nvSpPr>
          <p:spPr bwMode="auto">
            <a:xfrm>
              <a:off x="5627688" y="4303713"/>
              <a:ext cx="687388" cy="149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73" name="iśḷïďe">
              <a:extLst>
                <a:ext uri="{FF2B5EF4-FFF2-40B4-BE49-F238E27FC236}">
                  <a16:creationId xmlns:a16="http://schemas.microsoft.com/office/drawing/2014/main" id="{6D6F9F5E-3747-4D50-ABE5-A18E77B2FC91}"/>
                </a:ext>
              </a:extLst>
            </p:cNvPr>
            <p:cNvSpPr/>
            <p:nvPr/>
          </p:nvSpPr>
          <p:spPr bwMode="auto">
            <a:xfrm>
              <a:off x="5627688" y="4576763"/>
              <a:ext cx="687388" cy="150813"/>
            </a:xfrm>
            <a:prstGeom prst="rect">
              <a:avLst/>
            </a:prstGeom>
            <a:solidFill>
              <a:srgbClr val="91D6F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74" name="ïsḻïďe">
              <a:extLst>
                <a:ext uri="{FF2B5EF4-FFF2-40B4-BE49-F238E27FC236}">
                  <a16:creationId xmlns:a16="http://schemas.microsoft.com/office/drawing/2014/main" id="{4483C484-1115-4120-A196-DD3AC9391715}"/>
                </a:ext>
              </a:extLst>
            </p:cNvPr>
            <p:cNvSpPr/>
            <p:nvPr/>
          </p:nvSpPr>
          <p:spPr bwMode="auto">
            <a:xfrm>
              <a:off x="5627688" y="4576763"/>
              <a:ext cx="687388" cy="150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75" name="ïŝ1idé">
              <a:extLst>
                <a:ext uri="{FF2B5EF4-FFF2-40B4-BE49-F238E27FC236}">
                  <a16:creationId xmlns:a16="http://schemas.microsoft.com/office/drawing/2014/main" id="{C43AE596-A7BD-4D2F-A6C3-C8539F7D83AB}"/>
                </a:ext>
              </a:extLst>
            </p:cNvPr>
            <p:cNvSpPr/>
            <p:nvPr/>
          </p:nvSpPr>
          <p:spPr bwMode="auto">
            <a:xfrm>
              <a:off x="4324351" y="2446338"/>
              <a:ext cx="992188" cy="1830388"/>
            </a:xfrm>
            <a:prstGeom prst="rect">
              <a:avLst/>
            </a:prstGeom>
            <a:solidFill>
              <a:srgbClr val="91D6F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76" name="íṥļîḓé">
              <a:extLst>
                <a:ext uri="{FF2B5EF4-FFF2-40B4-BE49-F238E27FC236}">
                  <a16:creationId xmlns:a16="http://schemas.microsoft.com/office/drawing/2014/main" id="{044D7F47-6590-4EBF-BFAC-8A15D2DB2BFF}"/>
                </a:ext>
              </a:extLst>
            </p:cNvPr>
            <p:cNvSpPr/>
            <p:nvPr/>
          </p:nvSpPr>
          <p:spPr bwMode="auto">
            <a:xfrm>
              <a:off x="5316538" y="2446338"/>
              <a:ext cx="319088" cy="1830388"/>
            </a:xfrm>
            <a:prstGeom prst="rect">
              <a:avLst/>
            </a:prstGeom>
            <a:solidFill>
              <a:srgbClr val="6A9EA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77" name="iṡļíďê">
              <a:extLst>
                <a:ext uri="{FF2B5EF4-FFF2-40B4-BE49-F238E27FC236}">
                  <a16:creationId xmlns:a16="http://schemas.microsoft.com/office/drawing/2014/main" id="{B17F4E6D-7DAC-4F48-A2B3-FDD84BA08D60}"/>
                </a:ext>
              </a:extLst>
            </p:cNvPr>
            <p:cNvSpPr/>
            <p:nvPr/>
          </p:nvSpPr>
          <p:spPr bwMode="auto">
            <a:xfrm>
              <a:off x="4473576" y="2566988"/>
              <a:ext cx="692150" cy="101600"/>
            </a:xfrm>
            <a:prstGeom prst="rect">
              <a:avLst/>
            </a:prstGeom>
            <a:solidFill>
              <a:srgbClr val="6A9EA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78" name="íşľïḓé">
              <a:extLst>
                <a:ext uri="{FF2B5EF4-FFF2-40B4-BE49-F238E27FC236}">
                  <a16:creationId xmlns:a16="http://schemas.microsoft.com/office/drawing/2014/main" id="{FB7B7139-110C-471B-8686-67ECD528F6DB}"/>
                </a:ext>
              </a:extLst>
            </p:cNvPr>
            <p:cNvSpPr/>
            <p:nvPr/>
          </p:nvSpPr>
          <p:spPr bwMode="auto">
            <a:xfrm>
              <a:off x="4473576" y="2751138"/>
              <a:ext cx="692150" cy="101600"/>
            </a:xfrm>
            <a:prstGeom prst="rect">
              <a:avLst/>
            </a:prstGeom>
            <a:solidFill>
              <a:srgbClr val="6A9EA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79" name="iš1ide">
              <a:extLst>
                <a:ext uri="{FF2B5EF4-FFF2-40B4-BE49-F238E27FC236}">
                  <a16:creationId xmlns:a16="http://schemas.microsoft.com/office/drawing/2014/main" id="{9EB4BB80-19D8-407F-8497-2BE1E616514F}"/>
                </a:ext>
              </a:extLst>
            </p:cNvPr>
            <p:cNvSpPr/>
            <p:nvPr/>
          </p:nvSpPr>
          <p:spPr bwMode="auto">
            <a:xfrm>
              <a:off x="4473576" y="2935288"/>
              <a:ext cx="692150" cy="101600"/>
            </a:xfrm>
            <a:prstGeom prst="rect">
              <a:avLst/>
            </a:prstGeom>
            <a:solidFill>
              <a:srgbClr val="6A9EA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80" name="îṧľîḍê">
              <a:extLst>
                <a:ext uri="{FF2B5EF4-FFF2-40B4-BE49-F238E27FC236}">
                  <a16:creationId xmlns:a16="http://schemas.microsoft.com/office/drawing/2014/main" id="{4150305E-533A-435C-9840-BEF9CF886DF5}"/>
                </a:ext>
              </a:extLst>
            </p:cNvPr>
            <p:cNvSpPr/>
            <p:nvPr/>
          </p:nvSpPr>
          <p:spPr bwMode="auto">
            <a:xfrm>
              <a:off x="4473576" y="3119438"/>
              <a:ext cx="692150" cy="101600"/>
            </a:xfrm>
            <a:prstGeom prst="rect">
              <a:avLst/>
            </a:prstGeom>
            <a:solidFill>
              <a:srgbClr val="6A9EA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81" name="íṥļïďè">
              <a:extLst>
                <a:ext uri="{FF2B5EF4-FFF2-40B4-BE49-F238E27FC236}">
                  <a16:creationId xmlns:a16="http://schemas.microsoft.com/office/drawing/2014/main" id="{C6757ED7-3DDE-4172-A191-2BC83EEFF4DA}"/>
                </a:ext>
              </a:extLst>
            </p:cNvPr>
            <p:cNvSpPr/>
            <p:nvPr/>
          </p:nvSpPr>
          <p:spPr bwMode="auto">
            <a:xfrm>
              <a:off x="4473576" y="3303588"/>
              <a:ext cx="692150" cy="101600"/>
            </a:xfrm>
            <a:prstGeom prst="rect">
              <a:avLst/>
            </a:prstGeom>
            <a:solidFill>
              <a:srgbClr val="6A9EA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82" name="iṡļiḑé">
              <a:extLst>
                <a:ext uri="{FF2B5EF4-FFF2-40B4-BE49-F238E27FC236}">
                  <a16:creationId xmlns:a16="http://schemas.microsoft.com/office/drawing/2014/main" id="{C9FCA3E7-54B4-44A8-A5D0-E15EC082403C}"/>
                </a:ext>
              </a:extLst>
            </p:cNvPr>
            <p:cNvSpPr/>
            <p:nvPr/>
          </p:nvSpPr>
          <p:spPr bwMode="auto">
            <a:xfrm>
              <a:off x="4473576" y="3487738"/>
              <a:ext cx="692150" cy="101600"/>
            </a:xfrm>
            <a:prstGeom prst="rect">
              <a:avLst/>
            </a:prstGeom>
            <a:solidFill>
              <a:srgbClr val="6A9EA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83" name="îṡ1iḑê">
              <a:extLst>
                <a:ext uri="{FF2B5EF4-FFF2-40B4-BE49-F238E27FC236}">
                  <a16:creationId xmlns:a16="http://schemas.microsoft.com/office/drawing/2014/main" id="{EFFF45CF-7055-452A-B19F-9220305A9A4B}"/>
                </a:ext>
              </a:extLst>
            </p:cNvPr>
            <p:cNvSpPr/>
            <p:nvPr/>
          </p:nvSpPr>
          <p:spPr bwMode="auto">
            <a:xfrm>
              <a:off x="4473576" y="3660775"/>
              <a:ext cx="692150" cy="101600"/>
            </a:xfrm>
            <a:prstGeom prst="rect">
              <a:avLst/>
            </a:prstGeom>
            <a:solidFill>
              <a:srgbClr val="6A9EA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84" name="îşḻíḓe">
              <a:extLst>
                <a:ext uri="{FF2B5EF4-FFF2-40B4-BE49-F238E27FC236}">
                  <a16:creationId xmlns:a16="http://schemas.microsoft.com/office/drawing/2014/main" id="{8E791E8A-ADF5-4E70-8BE2-6FCB7DD65A54}"/>
                </a:ext>
              </a:extLst>
            </p:cNvPr>
            <p:cNvSpPr/>
            <p:nvPr/>
          </p:nvSpPr>
          <p:spPr bwMode="auto">
            <a:xfrm>
              <a:off x="4473576" y="3848100"/>
              <a:ext cx="692150" cy="98425"/>
            </a:xfrm>
            <a:prstGeom prst="rect">
              <a:avLst/>
            </a:prstGeom>
            <a:solidFill>
              <a:srgbClr val="6A9EA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85" name="îśľîdê">
              <a:extLst>
                <a:ext uri="{FF2B5EF4-FFF2-40B4-BE49-F238E27FC236}">
                  <a16:creationId xmlns:a16="http://schemas.microsoft.com/office/drawing/2014/main" id="{5F48F6C3-D5EA-4D63-A1F9-29D772D5821D}"/>
                </a:ext>
              </a:extLst>
            </p:cNvPr>
            <p:cNvSpPr/>
            <p:nvPr/>
          </p:nvSpPr>
          <p:spPr bwMode="auto">
            <a:xfrm>
              <a:off x="4473576" y="4032250"/>
              <a:ext cx="692150" cy="98425"/>
            </a:xfrm>
            <a:prstGeom prst="rect">
              <a:avLst/>
            </a:prstGeom>
            <a:solidFill>
              <a:srgbClr val="6A9EA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86" name="iṩḻïdè">
              <a:extLst>
                <a:ext uri="{FF2B5EF4-FFF2-40B4-BE49-F238E27FC236}">
                  <a16:creationId xmlns:a16="http://schemas.microsoft.com/office/drawing/2014/main" id="{3E055868-8004-4B36-81F1-965361C2F84E}"/>
                </a:ext>
              </a:extLst>
            </p:cNvPr>
            <p:cNvSpPr/>
            <p:nvPr/>
          </p:nvSpPr>
          <p:spPr bwMode="auto">
            <a:xfrm>
              <a:off x="6469063" y="4029075"/>
              <a:ext cx="249238" cy="149225"/>
            </a:xfrm>
            <a:prstGeom prst="rect">
              <a:avLst/>
            </a:prstGeom>
            <a:solidFill>
              <a:srgbClr val="6A9EA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87" name="íṡ1iḓè">
              <a:extLst>
                <a:ext uri="{FF2B5EF4-FFF2-40B4-BE49-F238E27FC236}">
                  <a16:creationId xmlns:a16="http://schemas.microsoft.com/office/drawing/2014/main" id="{1106A3DA-D3EF-4FDF-8470-E58F127A6965}"/>
                </a:ext>
              </a:extLst>
            </p:cNvPr>
            <p:cNvSpPr/>
            <p:nvPr/>
          </p:nvSpPr>
          <p:spPr bwMode="auto">
            <a:xfrm>
              <a:off x="6469063" y="4029075"/>
              <a:ext cx="249238" cy="149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88" name="işlîḍé">
              <a:extLst>
                <a:ext uri="{FF2B5EF4-FFF2-40B4-BE49-F238E27FC236}">
                  <a16:creationId xmlns:a16="http://schemas.microsoft.com/office/drawing/2014/main" id="{51A4489F-4E7F-4537-9695-A0A39EDF643C}"/>
                </a:ext>
              </a:extLst>
            </p:cNvPr>
            <p:cNvSpPr/>
            <p:nvPr/>
          </p:nvSpPr>
          <p:spPr bwMode="auto">
            <a:xfrm>
              <a:off x="6469063" y="4303713"/>
              <a:ext cx="249238" cy="149225"/>
            </a:xfrm>
            <a:prstGeom prst="rect">
              <a:avLst/>
            </a:prstGeom>
            <a:solidFill>
              <a:srgbClr val="6A9EA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89" name="ïṣlîďé">
              <a:extLst>
                <a:ext uri="{FF2B5EF4-FFF2-40B4-BE49-F238E27FC236}">
                  <a16:creationId xmlns:a16="http://schemas.microsoft.com/office/drawing/2014/main" id="{D10D2B2C-C3EA-4A68-9F61-26AB2CD7A3CC}"/>
                </a:ext>
              </a:extLst>
            </p:cNvPr>
            <p:cNvSpPr/>
            <p:nvPr/>
          </p:nvSpPr>
          <p:spPr bwMode="auto">
            <a:xfrm>
              <a:off x="6469063" y="4303713"/>
              <a:ext cx="249238" cy="149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90" name="ïSḷíḍé">
              <a:extLst>
                <a:ext uri="{FF2B5EF4-FFF2-40B4-BE49-F238E27FC236}">
                  <a16:creationId xmlns:a16="http://schemas.microsoft.com/office/drawing/2014/main" id="{47D765DF-C6F1-4BDF-986A-4301C915DB6F}"/>
                </a:ext>
              </a:extLst>
            </p:cNvPr>
            <p:cNvSpPr/>
            <p:nvPr/>
          </p:nvSpPr>
          <p:spPr bwMode="auto">
            <a:xfrm>
              <a:off x="6469063" y="4576763"/>
              <a:ext cx="249238" cy="150813"/>
            </a:xfrm>
            <a:prstGeom prst="rect">
              <a:avLst/>
            </a:prstGeom>
            <a:solidFill>
              <a:srgbClr val="6A9EA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91" name="ïŝľîde">
              <a:extLst>
                <a:ext uri="{FF2B5EF4-FFF2-40B4-BE49-F238E27FC236}">
                  <a16:creationId xmlns:a16="http://schemas.microsoft.com/office/drawing/2014/main" id="{1C42383A-AFC8-423C-A7B1-524DAB02661F}"/>
                </a:ext>
              </a:extLst>
            </p:cNvPr>
            <p:cNvSpPr/>
            <p:nvPr/>
          </p:nvSpPr>
          <p:spPr bwMode="auto">
            <a:xfrm>
              <a:off x="6469063" y="4576763"/>
              <a:ext cx="249238" cy="150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92" name="îṧľîḑe">
              <a:extLst>
                <a:ext uri="{FF2B5EF4-FFF2-40B4-BE49-F238E27FC236}">
                  <a16:creationId xmlns:a16="http://schemas.microsoft.com/office/drawing/2014/main" id="{C146A600-DE09-4C64-A808-5E5AFABC5903}"/>
                </a:ext>
              </a:extLst>
            </p:cNvPr>
            <p:cNvSpPr/>
            <p:nvPr/>
          </p:nvSpPr>
          <p:spPr bwMode="auto">
            <a:xfrm>
              <a:off x="6413501" y="2006600"/>
              <a:ext cx="304800" cy="217488"/>
            </a:xfrm>
            <a:prstGeom prst="rect">
              <a:avLst/>
            </a:prstGeom>
            <a:solidFill>
              <a:srgbClr val="578291"/>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93" name="ïṣlíḋê">
              <a:extLst>
                <a:ext uri="{FF2B5EF4-FFF2-40B4-BE49-F238E27FC236}">
                  <a16:creationId xmlns:a16="http://schemas.microsoft.com/office/drawing/2014/main" id="{D63CDD95-5F90-4254-AB3E-B4F38DF63637}"/>
                </a:ext>
              </a:extLst>
            </p:cNvPr>
            <p:cNvSpPr/>
            <p:nvPr/>
          </p:nvSpPr>
          <p:spPr bwMode="auto">
            <a:xfrm>
              <a:off x="6345238" y="1765300"/>
              <a:ext cx="233363" cy="241300"/>
            </a:xfrm>
            <a:prstGeom prst="rect">
              <a:avLst/>
            </a:prstGeom>
            <a:solidFill>
              <a:srgbClr val="578291"/>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94" name="ïşḷïḑè">
              <a:extLst>
                <a:ext uri="{FF2B5EF4-FFF2-40B4-BE49-F238E27FC236}">
                  <a16:creationId xmlns:a16="http://schemas.microsoft.com/office/drawing/2014/main" id="{B7C31CF7-0903-4D42-B6FB-BBFDDE381DE0}"/>
                </a:ext>
              </a:extLst>
            </p:cNvPr>
            <p:cNvSpPr/>
            <p:nvPr/>
          </p:nvSpPr>
          <p:spPr bwMode="auto">
            <a:xfrm>
              <a:off x="4511676" y="2224088"/>
              <a:ext cx="887413" cy="222250"/>
            </a:xfrm>
            <a:prstGeom prst="rect">
              <a:avLst/>
            </a:prstGeom>
            <a:solidFill>
              <a:srgbClr val="6A9EA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95" name="ïṣľíďe">
              <a:extLst>
                <a:ext uri="{FF2B5EF4-FFF2-40B4-BE49-F238E27FC236}">
                  <a16:creationId xmlns:a16="http://schemas.microsoft.com/office/drawing/2014/main" id="{43B9A3FA-D505-4CF9-AA32-183074D4E226}"/>
                </a:ext>
              </a:extLst>
            </p:cNvPr>
            <p:cNvSpPr/>
            <p:nvPr/>
          </p:nvSpPr>
          <p:spPr bwMode="auto">
            <a:xfrm>
              <a:off x="5176838" y="2224088"/>
              <a:ext cx="222250" cy="222250"/>
            </a:xfrm>
            <a:prstGeom prst="rect">
              <a:avLst/>
            </a:prstGeom>
            <a:solidFill>
              <a:srgbClr val="578291"/>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96" name="îSḻîḋe">
              <a:extLst>
                <a:ext uri="{FF2B5EF4-FFF2-40B4-BE49-F238E27FC236}">
                  <a16:creationId xmlns:a16="http://schemas.microsoft.com/office/drawing/2014/main" id="{BAA05A26-0259-407A-813B-5E18E3417A63}"/>
                </a:ext>
              </a:extLst>
            </p:cNvPr>
            <p:cNvSpPr/>
            <p:nvPr/>
          </p:nvSpPr>
          <p:spPr bwMode="auto">
            <a:xfrm>
              <a:off x="5064126" y="2897188"/>
              <a:ext cx="2112963" cy="3011488"/>
            </a:xfrm>
            <a:prstGeom prst="rect">
              <a:avLst/>
            </a:prstGeom>
            <a:solidFill>
              <a:srgbClr val="C8E6EB"/>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97" name="iṥḻiďé">
              <a:extLst>
                <a:ext uri="{FF2B5EF4-FFF2-40B4-BE49-F238E27FC236}">
                  <a16:creationId xmlns:a16="http://schemas.microsoft.com/office/drawing/2014/main" id="{9B9F601E-76BE-4C5F-B5EB-00C901F7F3DA}"/>
                </a:ext>
              </a:extLst>
            </p:cNvPr>
            <p:cNvSpPr/>
            <p:nvPr/>
          </p:nvSpPr>
          <p:spPr bwMode="auto">
            <a:xfrm>
              <a:off x="5064126" y="2897188"/>
              <a:ext cx="2112963" cy="301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98" name="í$ḻïḓè">
              <a:extLst>
                <a:ext uri="{FF2B5EF4-FFF2-40B4-BE49-F238E27FC236}">
                  <a16:creationId xmlns:a16="http://schemas.microsoft.com/office/drawing/2014/main" id="{2E840246-1077-43D5-B13C-98DF4813A275}"/>
                </a:ext>
              </a:extLst>
            </p:cNvPr>
            <p:cNvSpPr/>
            <p:nvPr/>
          </p:nvSpPr>
          <p:spPr bwMode="auto">
            <a:xfrm>
              <a:off x="5011738" y="2825750"/>
              <a:ext cx="2111375" cy="30114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99" name="íṥḷïḍé">
              <a:extLst>
                <a:ext uri="{FF2B5EF4-FFF2-40B4-BE49-F238E27FC236}">
                  <a16:creationId xmlns:a16="http://schemas.microsoft.com/office/drawing/2014/main" id="{19FDAEA9-64E4-4A04-8517-84933193B87B}"/>
                </a:ext>
              </a:extLst>
            </p:cNvPr>
            <p:cNvSpPr/>
            <p:nvPr/>
          </p:nvSpPr>
          <p:spPr bwMode="auto">
            <a:xfrm>
              <a:off x="5011738" y="2825750"/>
              <a:ext cx="2111375" cy="301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200" name="îs1ïḓè">
              <a:extLst>
                <a:ext uri="{FF2B5EF4-FFF2-40B4-BE49-F238E27FC236}">
                  <a16:creationId xmlns:a16="http://schemas.microsoft.com/office/drawing/2014/main" id="{5B4284B8-0FB6-42FF-9034-FB8EFB926B0F}"/>
                </a:ext>
              </a:extLst>
            </p:cNvPr>
            <p:cNvSpPr/>
            <p:nvPr/>
          </p:nvSpPr>
          <p:spPr bwMode="auto">
            <a:xfrm>
              <a:off x="3756026" y="2201863"/>
              <a:ext cx="1135063" cy="461963"/>
            </a:xfrm>
            <a:custGeom>
              <a:avLst/>
              <a:gdLst>
                <a:gd name="T0" fmla="*/ 291 w 302"/>
                <a:gd name="T1" fmla="*/ 123 h 123"/>
                <a:gd name="T2" fmla="*/ 302 w 302"/>
                <a:gd name="T3" fmla="*/ 90 h 123"/>
                <a:gd name="T4" fmla="*/ 246 w 302"/>
                <a:gd name="T5" fmla="*/ 34 h 123"/>
                <a:gd name="T6" fmla="*/ 223 w 302"/>
                <a:gd name="T7" fmla="*/ 39 h 123"/>
                <a:gd name="T8" fmla="*/ 155 w 302"/>
                <a:gd name="T9" fmla="*/ 0 h 123"/>
                <a:gd name="T10" fmla="*/ 80 w 302"/>
                <a:gd name="T11" fmla="*/ 58 h 123"/>
                <a:gd name="T12" fmla="*/ 56 w 302"/>
                <a:gd name="T13" fmla="*/ 52 h 123"/>
                <a:gd name="T14" fmla="*/ 0 w 302"/>
                <a:gd name="T15" fmla="*/ 108 h 123"/>
                <a:gd name="T16" fmla="*/ 2 w 302"/>
                <a:gd name="T17" fmla="*/ 123 h 123"/>
                <a:gd name="T18" fmla="*/ 291 w 302"/>
                <a:gd name="T19" fmla="*/ 123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2" h="123">
                  <a:moveTo>
                    <a:pt x="291" y="123"/>
                  </a:moveTo>
                  <a:cubicBezTo>
                    <a:pt x="298" y="114"/>
                    <a:pt x="302" y="102"/>
                    <a:pt x="302" y="90"/>
                  </a:cubicBezTo>
                  <a:cubicBezTo>
                    <a:pt x="302" y="59"/>
                    <a:pt x="277" y="34"/>
                    <a:pt x="246" y="34"/>
                  </a:cubicBezTo>
                  <a:cubicBezTo>
                    <a:pt x="238" y="34"/>
                    <a:pt x="230" y="36"/>
                    <a:pt x="223" y="39"/>
                  </a:cubicBezTo>
                  <a:cubicBezTo>
                    <a:pt x="210" y="15"/>
                    <a:pt x="184" y="0"/>
                    <a:pt x="155" y="0"/>
                  </a:cubicBezTo>
                  <a:cubicBezTo>
                    <a:pt x="119" y="0"/>
                    <a:pt x="89" y="24"/>
                    <a:pt x="80" y="58"/>
                  </a:cubicBezTo>
                  <a:cubicBezTo>
                    <a:pt x="73" y="54"/>
                    <a:pt x="65" y="52"/>
                    <a:pt x="56" y="52"/>
                  </a:cubicBezTo>
                  <a:cubicBezTo>
                    <a:pt x="25" y="52"/>
                    <a:pt x="0" y="77"/>
                    <a:pt x="0" y="108"/>
                  </a:cubicBezTo>
                  <a:cubicBezTo>
                    <a:pt x="0" y="114"/>
                    <a:pt x="1" y="119"/>
                    <a:pt x="2" y="123"/>
                  </a:cubicBezTo>
                  <a:lnTo>
                    <a:pt x="291" y="1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01" name="îśḻídé">
              <a:extLst>
                <a:ext uri="{FF2B5EF4-FFF2-40B4-BE49-F238E27FC236}">
                  <a16:creationId xmlns:a16="http://schemas.microsoft.com/office/drawing/2014/main" id="{1829E0D6-C9BF-4AF0-8E90-D56861D27CB0}"/>
                </a:ext>
              </a:extLst>
            </p:cNvPr>
            <p:cNvSpPr/>
            <p:nvPr/>
          </p:nvSpPr>
          <p:spPr bwMode="auto">
            <a:xfrm>
              <a:off x="4549776" y="1746250"/>
              <a:ext cx="676275" cy="279400"/>
            </a:xfrm>
            <a:custGeom>
              <a:avLst/>
              <a:gdLst>
                <a:gd name="T0" fmla="*/ 174 w 180"/>
                <a:gd name="T1" fmla="*/ 74 h 74"/>
                <a:gd name="T2" fmla="*/ 180 w 180"/>
                <a:gd name="T3" fmla="*/ 54 h 74"/>
                <a:gd name="T4" fmla="*/ 147 w 180"/>
                <a:gd name="T5" fmla="*/ 21 h 74"/>
                <a:gd name="T6" fmla="*/ 133 w 180"/>
                <a:gd name="T7" fmla="*/ 24 h 74"/>
                <a:gd name="T8" fmla="*/ 93 w 180"/>
                <a:gd name="T9" fmla="*/ 0 h 74"/>
                <a:gd name="T10" fmla="*/ 48 w 180"/>
                <a:gd name="T11" fmla="*/ 35 h 74"/>
                <a:gd name="T12" fmla="*/ 33 w 180"/>
                <a:gd name="T13" fmla="*/ 32 h 74"/>
                <a:gd name="T14" fmla="*/ 0 w 180"/>
                <a:gd name="T15" fmla="*/ 65 h 74"/>
                <a:gd name="T16" fmla="*/ 1 w 180"/>
                <a:gd name="T17" fmla="*/ 74 h 74"/>
                <a:gd name="T18" fmla="*/ 174 w 180"/>
                <a:gd name="T19" fmla="*/ 74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0" h="74">
                  <a:moveTo>
                    <a:pt x="174" y="74"/>
                  </a:moveTo>
                  <a:cubicBezTo>
                    <a:pt x="178" y="69"/>
                    <a:pt x="180" y="62"/>
                    <a:pt x="180" y="54"/>
                  </a:cubicBezTo>
                  <a:cubicBezTo>
                    <a:pt x="180" y="36"/>
                    <a:pt x="165" y="21"/>
                    <a:pt x="147" y="21"/>
                  </a:cubicBezTo>
                  <a:cubicBezTo>
                    <a:pt x="142" y="21"/>
                    <a:pt x="137" y="22"/>
                    <a:pt x="133" y="24"/>
                  </a:cubicBezTo>
                  <a:cubicBezTo>
                    <a:pt x="125" y="10"/>
                    <a:pt x="110" y="0"/>
                    <a:pt x="93" y="0"/>
                  </a:cubicBezTo>
                  <a:cubicBezTo>
                    <a:pt x="71" y="0"/>
                    <a:pt x="53" y="15"/>
                    <a:pt x="48" y="35"/>
                  </a:cubicBezTo>
                  <a:cubicBezTo>
                    <a:pt x="43" y="33"/>
                    <a:pt x="38" y="32"/>
                    <a:pt x="33" y="32"/>
                  </a:cubicBezTo>
                  <a:cubicBezTo>
                    <a:pt x="15" y="32"/>
                    <a:pt x="0" y="47"/>
                    <a:pt x="0" y="65"/>
                  </a:cubicBezTo>
                  <a:cubicBezTo>
                    <a:pt x="0" y="68"/>
                    <a:pt x="0" y="71"/>
                    <a:pt x="1" y="74"/>
                  </a:cubicBezTo>
                  <a:lnTo>
                    <a:pt x="174" y="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02" name="íśľiḋé">
              <a:extLst>
                <a:ext uri="{FF2B5EF4-FFF2-40B4-BE49-F238E27FC236}">
                  <a16:creationId xmlns:a16="http://schemas.microsoft.com/office/drawing/2014/main" id="{16BCD366-FD27-4E93-A7DC-C570481D166F}"/>
                </a:ext>
              </a:extLst>
            </p:cNvPr>
            <p:cNvSpPr/>
            <p:nvPr/>
          </p:nvSpPr>
          <p:spPr bwMode="auto">
            <a:xfrm>
              <a:off x="5270501" y="3438525"/>
              <a:ext cx="909638" cy="101600"/>
            </a:xfrm>
            <a:prstGeom prst="rect">
              <a:avLst/>
            </a:prstGeom>
            <a:solidFill>
              <a:srgbClr val="A5C8CD"/>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203" name="ïş1iḍè">
              <a:extLst>
                <a:ext uri="{FF2B5EF4-FFF2-40B4-BE49-F238E27FC236}">
                  <a16:creationId xmlns:a16="http://schemas.microsoft.com/office/drawing/2014/main" id="{B8092DE3-ADFA-4053-9C3A-1ACC1A09B64C}"/>
                </a:ext>
              </a:extLst>
            </p:cNvPr>
            <p:cNvSpPr/>
            <p:nvPr/>
          </p:nvSpPr>
          <p:spPr bwMode="auto">
            <a:xfrm>
              <a:off x="5270501" y="3678238"/>
              <a:ext cx="1608138" cy="98425"/>
            </a:xfrm>
            <a:prstGeom prst="rect">
              <a:avLst/>
            </a:prstGeom>
            <a:solidFill>
              <a:srgbClr val="B4D7DC"/>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204" name="íṧḷidè">
              <a:extLst>
                <a:ext uri="{FF2B5EF4-FFF2-40B4-BE49-F238E27FC236}">
                  <a16:creationId xmlns:a16="http://schemas.microsoft.com/office/drawing/2014/main" id="{8965541A-6B80-44F8-BAD6-22A54941336C}"/>
                </a:ext>
              </a:extLst>
            </p:cNvPr>
            <p:cNvSpPr/>
            <p:nvPr/>
          </p:nvSpPr>
          <p:spPr bwMode="auto">
            <a:xfrm>
              <a:off x="5270501" y="3878263"/>
              <a:ext cx="1608138" cy="98425"/>
            </a:xfrm>
            <a:prstGeom prst="rect">
              <a:avLst/>
            </a:prstGeom>
            <a:solidFill>
              <a:srgbClr val="A5C8CD"/>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205" name="iṣḷíḓe">
              <a:extLst>
                <a:ext uri="{FF2B5EF4-FFF2-40B4-BE49-F238E27FC236}">
                  <a16:creationId xmlns:a16="http://schemas.microsoft.com/office/drawing/2014/main" id="{C1622B94-7C08-41FC-9637-78657EE106BA}"/>
                </a:ext>
              </a:extLst>
            </p:cNvPr>
            <p:cNvSpPr/>
            <p:nvPr/>
          </p:nvSpPr>
          <p:spPr bwMode="auto">
            <a:xfrm>
              <a:off x="6537326" y="5175250"/>
              <a:ext cx="360363" cy="365125"/>
            </a:xfrm>
            <a:prstGeom prst="ellipse">
              <a:avLst/>
            </a:prstGeom>
            <a:solidFill>
              <a:srgbClr val="FA870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06" name="ï$ḷíḋé">
              <a:extLst>
                <a:ext uri="{FF2B5EF4-FFF2-40B4-BE49-F238E27FC236}">
                  <a16:creationId xmlns:a16="http://schemas.microsoft.com/office/drawing/2014/main" id="{CDB2CBC5-9B14-4313-8B57-3ECC21341C9A}"/>
                </a:ext>
              </a:extLst>
            </p:cNvPr>
            <p:cNvSpPr/>
            <p:nvPr/>
          </p:nvSpPr>
          <p:spPr bwMode="auto">
            <a:xfrm>
              <a:off x="6462713" y="5103813"/>
              <a:ext cx="506413" cy="508000"/>
            </a:xfrm>
            <a:custGeom>
              <a:avLst/>
              <a:gdLst>
                <a:gd name="T0" fmla="*/ 68 w 135"/>
                <a:gd name="T1" fmla="*/ 5 h 135"/>
                <a:gd name="T2" fmla="*/ 131 w 135"/>
                <a:gd name="T3" fmla="*/ 68 h 135"/>
                <a:gd name="T4" fmla="*/ 68 w 135"/>
                <a:gd name="T5" fmla="*/ 131 h 135"/>
                <a:gd name="T6" fmla="*/ 5 w 135"/>
                <a:gd name="T7" fmla="*/ 68 h 135"/>
                <a:gd name="T8" fmla="*/ 68 w 135"/>
                <a:gd name="T9" fmla="*/ 5 h 135"/>
                <a:gd name="T10" fmla="*/ 68 w 135"/>
                <a:gd name="T11" fmla="*/ 0 h 135"/>
                <a:gd name="T12" fmla="*/ 0 w 135"/>
                <a:gd name="T13" fmla="*/ 68 h 135"/>
                <a:gd name="T14" fmla="*/ 68 w 135"/>
                <a:gd name="T15" fmla="*/ 135 h 135"/>
                <a:gd name="T16" fmla="*/ 135 w 135"/>
                <a:gd name="T17" fmla="*/ 68 h 135"/>
                <a:gd name="T18" fmla="*/ 68 w 135"/>
                <a:gd name="T19" fmla="*/ 0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5" h="135">
                  <a:moveTo>
                    <a:pt x="68" y="5"/>
                  </a:moveTo>
                  <a:cubicBezTo>
                    <a:pt x="102" y="5"/>
                    <a:pt x="131" y="33"/>
                    <a:pt x="131" y="68"/>
                  </a:cubicBezTo>
                  <a:cubicBezTo>
                    <a:pt x="131" y="102"/>
                    <a:pt x="102" y="131"/>
                    <a:pt x="68" y="131"/>
                  </a:cubicBezTo>
                  <a:cubicBezTo>
                    <a:pt x="33" y="131"/>
                    <a:pt x="5" y="102"/>
                    <a:pt x="5" y="68"/>
                  </a:cubicBezTo>
                  <a:cubicBezTo>
                    <a:pt x="5" y="33"/>
                    <a:pt x="33" y="5"/>
                    <a:pt x="68" y="5"/>
                  </a:cubicBezTo>
                  <a:moveTo>
                    <a:pt x="68" y="0"/>
                  </a:moveTo>
                  <a:cubicBezTo>
                    <a:pt x="30" y="0"/>
                    <a:pt x="0" y="30"/>
                    <a:pt x="0" y="68"/>
                  </a:cubicBezTo>
                  <a:cubicBezTo>
                    <a:pt x="0" y="105"/>
                    <a:pt x="30" y="135"/>
                    <a:pt x="68" y="135"/>
                  </a:cubicBezTo>
                  <a:cubicBezTo>
                    <a:pt x="105" y="135"/>
                    <a:pt x="135" y="105"/>
                    <a:pt x="135" y="68"/>
                  </a:cubicBezTo>
                  <a:cubicBezTo>
                    <a:pt x="135" y="30"/>
                    <a:pt x="105" y="0"/>
                    <a:pt x="68" y="0"/>
                  </a:cubicBezTo>
                  <a:close/>
                </a:path>
              </a:pathLst>
            </a:custGeom>
            <a:solidFill>
              <a:srgbClr val="FA870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07" name="ïş1íḓé">
              <a:extLst>
                <a:ext uri="{FF2B5EF4-FFF2-40B4-BE49-F238E27FC236}">
                  <a16:creationId xmlns:a16="http://schemas.microsoft.com/office/drawing/2014/main" id="{7CB05534-A48F-465A-AFD5-D5791793E12D}"/>
                </a:ext>
              </a:extLst>
            </p:cNvPr>
            <p:cNvSpPr/>
            <p:nvPr/>
          </p:nvSpPr>
          <p:spPr bwMode="auto">
            <a:xfrm>
              <a:off x="6503988" y="5145088"/>
              <a:ext cx="423863" cy="425450"/>
            </a:xfrm>
            <a:custGeom>
              <a:avLst/>
              <a:gdLst>
                <a:gd name="T0" fmla="*/ 111 w 113"/>
                <a:gd name="T1" fmla="*/ 63 h 113"/>
                <a:gd name="T2" fmla="*/ 113 w 113"/>
                <a:gd name="T3" fmla="*/ 56 h 113"/>
                <a:gd name="T4" fmla="*/ 111 w 113"/>
                <a:gd name="T5" fmla="*/ 50 h 113"/>
                <a:gd name="T6" fmla="*/ 109 w 113"/>
                <a:gd name="T7" fmla="*/ 43 h 113"/>
                <a:gd name="T8" fmla="*/ 110 w 113"/>
                <a:gd name="T9" fmla="*/ 36 h 113"/>
                <a:gd name="T10" fmla="*/ 97 w 113"/>
                <a:gd name="T11" fmla="*/ 20 h 113"/>
                <a:gd name="T12" fmla="*/ 99 w 113"/>
                <a:gd name="T13" fmla="*/ 19 h 113"/>
                <a:gd name="T14" fmla="*/ 93 w 113"/>
                <a:gd name="T15" fmla="*/ 16 h 113"/>
                <a:gd name="T16" fmla="*/ 87 w 113"/>
                <a:gd name="T17" fmla="*/ 12 h 113"/>
                <a:gd name="T18" fmla="*/ 83 w 113"/>
                <a:gd name="T19" fmla="*/ 6 h 113"/>
                <a:gd name="T20" fmla="*/ 63 w 113"/>
                <a:gd name="T21" fmla="*/ 3 h 113"/>
                <a:gd name="T22" fmla="*/ 63 w 113"/>
                <a:gd name="T23" fmla="*/ 0 h 113"/>
                <a:gd name="T24" fmla="*/ 56 w 113"/>
                <a:gd name="T25" fmla="*/ 2 h 113"/>
                <a:gd name="T26" fmla="*/ 50 w 113"/>
                <a:gd name="T27" fmla="*/ 3 h 113"/>
                <a:gd name="T28" fmla="*/ 43 w 113"/>
                <a:gd name="T29" fmla="*/ 2 h 113"/>
                <a:gd name="T30" fmla="*/ 26 w 113"/>
                <a:gd name="T31" fmla="*/ 12 h 113"/>
                <a:gd name="T32" fmla="*/ 24 w 113"/>
                <a:gd name="T33" fmla="*/ 10 h 113"/>
                <a:gd name="T34" fmla="*/ 20 w 113"/>
                <a:gd name="T35" fmla="*/ 16 h 113"/>
                <a:gd name="T36" fmla="*/ 16 w 113"/>
                <a:gd name="T37" fmla="*/ 21 h 113"/>
                <a:gd name="T38" fmla="*/ 10 w 113"/>
                <a:gd name="T39" fmla="*/ 24 h 113"/>
                <a:gd name="T40" fmla="*/ 4 w 113"/>
                <a:gd name="T41" fmla="*/ 44 h 113"/>
                <a:gd name="T42" fmla="*/ 2 w 113"/>
                <a:gd name="T43" fmla="*/ 43 h 113"/>
                <a:gd name="T44" fmla="*/ 2 w 113"/>
                <a:gd name="T45" fmla="*/ 57 h 113"/>
                <a:gd name="T46" fmla="*/ 0 w 113"/>
                <a:gd name="T47" fmla="*/ 57 h 113"/>
                <a:gd name="T48" fmla="*/ 4 w 113"/>
                <a:gd name="T49" fmla="*/ 70 h 113"/>
                <a:gd name="T50" fmla="*/ 2 w 113"/>
                <a:gd name="T51" fmla="*/ 70 h 113"/>
                <a:gd name="T52" fmla="*/ 6 w 113"/>
                <a:gd name="T53" fmla="*/ 76 h 113"/>
                <a:gd name="T54" fmla="*/ 9 w 113"/>
                <a:gd name="T55" fmla="*/ 82 h 113"/>
                <a:gd name="T56" fmla="*/ 10 w 113"/>
                <a:gd name="T57" fmla="*/ 89 h 113"/>
                <a:gd name="T58" fmla="*/ 26 w 113"/>
                <a:gd name="T59" fmla="*/ 101 h 113"/>
                <a:gd name="T60" fmla="*/ 25 w 113"/>
                <a:gd name="T61" fmla="*/ 103 h 113"/>
                <a:gd name="T62" fmla="*/ 31 w 113"/>
                <a:gd name="T63" fmla="*/ 105 h 113"/>
                <a:gd name="T64" fmla="*/ 37 w 113"/>
                <a:gd name="T65" fmla="*/ 107 h 113"/>
                <a:gd name="T66" fmla="*/ 43 w 113"/>
                <a:gd name="T67" fmla="*/ 112 h 113"/>
                <a:gd name="T68" fmla="*/ 63 w 113"/>
                <a:gd name="T69" fmla="*/ 111 h 113"/>
                <a:gd name="T70" fmla="*/ 64 w 113"/>
                <a:gd name="T71" fmla="*/ 113 h 113"/>
                <a:gd name="T72" fmla="*/ 70 w 113"/>
                <a:gd name="T73" fmla="*/ 109 h 113"/>
                <a:gd name="T74" fmla="*/ 76 w 113"/>
                <a:gd name="T75" fmla="*/ 107 h 113"/>
                <a:gd name="T76" fmla="*/ 83 w 113"/>
                <a:gd name="T77" fmla="*/ 107 h 113"/>
                <a:gd name="T78" fmla="*/ 97 w 113"/>
                <a:gd name="T79" fmla="*/ 93 h 113"/>
                <a:gd name="T80" fmla="*/ 99 w 113"/>
                <a:gd name="T81" fmla="*/ 94 h 113"/>
                <a:gd name="T82" fmla="*/ 101 w 113"/>
                <a:gd name="T83" fmla="*/ 87 h 113"/>
                <a:gd name="T84" fmla="*/ 105 w 113"/>
                <a:gd name="T85" fmla="*/ 82 h 113"/>
                <a:gd name="T86" fmla="*/ 110 w 113"/>
                <a:gd name="T87" fmla="*/ 77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13" h="113">
                  <a:moveTo>
                    <a:pt x="111" y="56"/>
                  </a:moveTo>
                  <a:cubicBezTo>
                    <a:pt x="111" y="57"/>
                    <a:pt x="111" y="57"/>
                    <a:pt x="111" y="57"/>
                  </a:cubicBezTo>
                  <a:cubicBezTo>
                    <a:pt x="111" y="59"/>
                    <a:pt x="111" y="61"/>
                    <a:pt x="111" y="63"/>
                  </a:cubicBezTo>
                  <a:cubicBezTo>
                    <a:pt x="113" y="63"/>
                    <a:pt x="113" y="63"/>
                    <a:pt x="113" y="63"/>
                  </a:cubicBezTo>
                  <a:cubicBezTo>
                    <a:pt x="113" y="61"/>
                    <a:pt x="113" y="59"/>
                    <a:pt x="113" y="57"/>
                  </a:cubicBezTo>
                  <a:cubicBezTo>
                    <a:pt x="113" y="56"/>
                    <a:pt x="113" y="56"/>
                    <a:pt x="113" y="56"/>
                  </a:cubicBezTo>
                  <a:cubicBezTo>
                    <a:pt x="111" y="56"/>
                    <a:pt x="111" y="56"/>
                    <a:pt x="111" y="56"/>
                  </a:cubicBezTo>
                  <a:close/>
                  <a:moveTo>
                    <a:pt x="109" y="43"/>
                  </a:moveTo>
                  <a:cubicBezTo>
                    <a:pt x="110" y="45"/>
                    <a:pt x="110" y="48"/>
                    <a:pt x="111" y="50"/>
                  </a:cubicBezTo>
                  <a:cubicBezTo>
                    <a:pt x="113" y="50"/>
                    <a:pt x="113" y="50"/>
                    <a:pt x="113" y="50"/>
                  </a:cubicBezTo>
                  <a:cubicBezTo>
                    <a:pt x="113" y="47"/>
                    <a:pt x="112" y="45"/>
                    <a:pt x="112" y="43"/>
                  </a:cubicBezTo>
                  <a:cubicBezTo>
                    <a:pt x="109" y="43"/>
                    <a:pt x="109" y="43"/>
                    <a:pt x="109" y="43"/>
                  </a:cubicBezTo>
                  <a:close/>
                  <a:moveTo>
                    <a:pt x="105" y="31"/>
                  </a:moveTo>
                  <a:cubicBezTo>
                    <a:pt x="106" y="33"/>
                    <a:pt x="107" y="35"/>
                    <a:pt x="107" y="37"/>
                  </a:cubicBezTo>
                  <a:cubicBezTo>
                    <a:pt x="110" y="36"/>
                    <a:pt x="110" y="36"/>
                    <a:pt x="110" y="36"/>
                  </a:cubicBezTo>
                  <a:cubicBezTo>
                    <a:pt x="109" y="34"/>
                    <a:pt x="108" y="32"/>
                    <a:pt x="107" y="30"/>
                  </a:cubicBezTo>
                  <a:lnTo>
                    <a:pt x="105" y="31"/>
                  </a:lnTo>
                  <a:close/>
                  <a:moveTo>
                    <a:pt x="97" y="20"/>
                  </a:moveTo>
                  <a:cubicBezTo>
                    <a:pt x="99" y="22"/>
                    <a:pt x="100" y="24"/>
                    <a:pt x="101" y="25"/>
                  </a:cubicBezTo>
                  <a:cubicBezTo>
                    <a:pt x="103" y="24"/>
                    <a:pt x="103" y="24"/>
                    <a:pt x="103" y="24"/>
                  </a:cubicBezTo>
                  <a:cubicBezTo>
                    <a:pt x="102" y="22"/>
                    <a:pt x="100" y="21"/>
                    <a:pt x="99" y="19"/>
                  </a:cubicBezTo>
                  <a:cubicBezTo>
                    <a:pt x="97" y="20"/>
                    <a:pt x="97" y="20"/>
                    <a:pt x="97" y="20"/>
                  </a:cubicBezTo>
                  <a:close/>
                  <a:moveTo>
                    <a:pt x="87" y="12"/>
                  </a:moveTo>
                  <a:cubicBezTo>
                    <a:pt x="89" y="13"/>
                    <a:pt x="91" y="14"/>
                    <a:pt x="93" y="16"/>
                  </a:cubicBezTo>
                  <a:cubicBezTo>
                    <a:pt x="94" y="14"/>
                    <a:pt x="94" y="14"/>
                    <a:pt x="94" y="14"/>
                  </a:cubicBezTo>
                  <a:cubicBezTo>
                    <a:pt x="92" y="13"/>
                    <a:pt x="91" y="11"/>
                    <a:pt x="89" y="10"/>
                  </a:cubicBezTo>
                  <a:cubicBezTo>
                    <a:pt x="87" y="12"/>
                    <a:pt x="87" y="12"/>
                    <a:pt x="87" y="12"/>
                  </a:cubicBezTo>
                  <a:close/>
                  <a:moveTo>
                    <a:pt x="76" y="6"/>
                  </a:moveTo>
                  <a:cubicBezTo>
                    <a:pt x="78" y="6"/>
                    <a:pt x="80" y="7"/>
                    <a:pt x="82" y="8"/>
                  </a:cubicBezTo>
                  <a:cubicBezTo>
                    <a:pt x="83" y="6"/>
                    <a:pt x="83" y="6"/>
                    <a:pt x="83" y="6"/>
                  </a:cubicBezTo>
                  <a:cubicBezTo>
                    <a:pt x="81" y="5"/>
                    <a:pt x="79" y="4"/>
                    <a:pt x="77" y="3"/>
                  </a:cubicBezTo>
                  <a:cubicBezTo>
                    <a:pt x="76" y="6"/>
                    <a:pt x="76" y="6"/>
                    <a:pt x="76" y="6"/>
                  </a:cubicBezTo>
                  <a:close/>
                  <a:moveTo>
                    <a:pt x="63" y="3"/>
                  </a:moveTo>
                  <a:cubicBezTo>
                    <a:pt x="65" y="3"/>
                    <a:pt x="67" y="3"/>
                    <a:pt x="70" y="4"/>
                  </a:cubicBezTo>
                  <a:cubicBezTo>
                    <a:pt x="70" y="1"/>
                    <a:pt x="70" y="1"/>
                    <a:pt x="70" y="1"/>
                  </a:cubicBezTo>
                  <a:cubicBezTo>
                    <a:pt x="68" y="1"/>
                    <a:pt x="66" y="1"/>
                    <a:pt x="63" y="0"/>
                  </a:cubicBezTo>
                  <a:cubicBezTo>
                    <a:pt x="63" y="3"/>
                    <a:pt x="63" y="3"/>
                    <a:pt x="63" y="3"/>
                  </a:cubicBezTo>
                  <a:close/>
                  <a:moveTo>
                    <a:pt x="50" y="3"/>
                  </a:moveTo>
                  <a:cubicBezTo>
                    <a:pt x="52" y="2"/>
                    <a:pt x="54" y="2"/>
                    <a:pt x="56" y="2"/>
                  </a:cubicBezTo>
                  <a:cubicBezTo>
                    <a:pt x="56" y="0"/>
                    <a:pt x="56" y="0"/>
                    <a:pt x="56" y="0"/>
                  </a:cubicBezTo>
                  <a:cubicBezTo>
                    <a:pt x="54" y="0"/>
                    <a:pt x="52" y="0"/>
                    <a:pt x="50" y="0"/>
                  </a:cubicBezTo>
                  <a:cubicBezTo>
                    <a:pt x="50" y="3"/>
                    <a:pt x="50" y="3"/>
                    <a:pt x="50" y="3"/>
                  </a:cubicBezTo>
                  <a:close/>
                  <a:moveTo>
                    <a:pt x="37" y="6"/>
                  </a:moveTo>
                  <a:cubicBezTo>
                    <a:pt x="39" y="5"/>
                    <a:pt x="41" y="4"/>
                    <a:pt x="43" y="4"/>
                  </a:cubicBezTo>
                  <a:cubicBezTo>
                    <a:pt x="43" y="2"/>
                    <a:pt x="43" y="2"/>
                    <a:pt x="43" y="2"/>
                  </a:cubicBezTo>
                  <a:cubicBezTo>
                    <a:pt x="41" y="2"/>
                    <a:pt x="39" y="3"/>
                    <a:pt x="36" y="4"/>
                  </a:cubicBezTo>
                  <a:cubicBezTo>
                    <a:pt x="37" y="6"/>
                    <a:pt x="37" y="6"/>
                    <a:pt x="37" y="6"/>
                  </a:cubicBezTo>
                  <a:close/>
                  <a:moveTo>
                    <a:pt x="26" y="12"/>
                  </a:moveTo>
                  <a:cubicBezTo>
                    <a:pt x="27" y="11"/>
                    <a:pt x="29" y="9"/>
                    <a:pt x="31" y="8"/>
                  </a:cubicBezTo>
                  <a:cubicBezTo>
                    <a:pt x="30" y="6"/>
                    <a:pt x="30" y="6"/>
                    <a:pt x="30" y="6"/>
                  </a:cubicBezTo>
                  <a:cubicBezTo>
                    <a:pt x="28" y="8"/>
                    <a:pt x="26" y="9"/>
                    <a:pt x="24" y="10"/>
                  </a:cubicBezTo>
                  <a:cubicBezTo>
                    <a:pt x="26" y="12"/>
                    <a:pt x="26" y="12"/>
                    <a:pt x="26" y="12"/>
                  </a:cubicBezTo>
                  <a:close/>
                  <a:moveTo>
                    <a:pt x="16" y="21"/>
                  </a:moveTo>
                  <a:cubicBezTo>
                    <a:pt x="17" y="19"/>
                    <a:pt x="19" y="17"/>
                    <a:pt x="20" y="16"/>
                  </a:cubicBezTo>
                  <a:cubicBezTo>
                    <a:pt x="19" y="14"/>
                    <a:pt x="19" y="14"/>
                    <a:pt x="19" y="14"/>
                  </a:cubicBezTo>
                  <a:cubicBezTo>
                    <a:pt x="17" y="16"/>
                    <a:pt x="16" y="17"/>
                    <a:pt x="14" y="19"/>
                  </a:cubicBezTo>
                  <a:cubicBezTo>
                    <a:pt x="16" y="21"/>
                    <a:pt x="16" y="21"/>
                    <a:pt x="16" y="21"/>
                  </a:cubicBezTo>
                  <a:close/>
                  <a:moveTo>
                    <a:pt x="8" y="31"/>
                  </a:moveTo>
                  <a:cubicBezTo>
                    <a:pt x="9" y="29"/>
                    <a:pt x="11" y="28"/>
                    <a:pt x="12" y="26"/>
                  </a:cubicBezTo>
                  <a:cubicBezTo>
                    <a:pt x="10" y="24"/>
                    <a:pt x="10" y="24"/>
                    <a:pt x="10" y="24"/>
                  </a:cubicBezTo>
                  <a:cubicBezTo>
                    <a:pt x="9" y="26"/>
                    <a:pt x="7" y="28"/>
                    <a:pt x="6" y="30"/>
                  </a:cubicBezTo>
                  <a:cubicBezTo>
                    <a:pt x="8" y="31"/>
                    <a:pt x="8" y="31"/>
                    <a:pt x="8" y="31"/>
                  </a:cubicBezTo>
                  <a:close/>
                  <a:moveTo>
                    <a:pt x="4" y="44"/>
                  </a:moveTo>
                  <a:cubicBezTo>
                    <a:pt x="4" y="41"/>
                    <a:pt x="5" y="39"/>
                    <a:pt x="6" y="37"/>
                  </a:cubicBezTo>
                  <a:cubicBezTo>
                    <a:pt x="4" y="37"/>
                    <a:pt x="4" y="37"/>
                    <a:pt x="4" y="37"/>
                  </a:cubicBezTo>
                  <a:cubicBezTo>
                    <a:pt x="3" y="39"/>
                    <a:pt x="2" y="41"/>
                    <a:pt x="2" y="43"/>
                  </a:cubicBezTo>
                  <a:lnTo>
                    <a:pt x="4" y="44"/>
                  </a:lnTo>
                  <a:close/>
                  <a:moveTo>
                    <a:pt x="2" y="57"/>
                  </a:moveTo>
                  <a:cubicBezTo>
                    <a:pt x="2" y="57"/>
                    <a:pt x="2" y="57"/>
                    <a:pt x="2" y="57"/>
                  </a:cubicBezTo>
                  <a:cubicBezTo>
                    <a:pt x="2" y="54"/>
                    <a:pt x="2" y="52"/>
                    <a:pt x="3" y="50"/>
                  </a:cubicBezTo>
                  <a:cubicBezTo>
                    <a:pt x="0" y="50"/>
                    <a:pt x="0" y="50"/>
                    <a:pt x="0" y="50"/>
                  </a:cubicBezTo>
                  <a:cubicBezTo>
                    <a:pt x="0" y="52"/>
                    <a:pt x="0" y="54"/>
                    <a:pt x="0" y="57"/>
                  </a:cubicBezTo>
                  <a:cubicBezTo>
                    <a:pt x="0" y="57"/>
                    <a:pt x="0" y="57"/>
                    <a:pt x="0" y="57"/>
                  </a:cubicBezTo>
                  <a:cubicBezTo>
                    <a:pt x="2" y="57"/>
                    <a:pt x="2" y="57"/>
                    <a:pt x="2" y="57"/>
                  </a:cubicBezTo>
                  <a:close/>
                  <a:moveTo>
                    <a:pt x="4" y="70"/>
                  </a:moveTo>
                  <a:cubicBezTo>
                    <a:pt x="3" y="68"/>
                    <a:pt x="3" y="65"/>
                    <a:pt x="3" y="63"/>
                  </a:cubicBezTo>
                  <a:cubicBezTo>
                    <a:pt x="0" y="63"/>
                    <a:pt x="0" y="63"/>
                    <a:pt x="0" y="63"/>
                  </a:cubicBezTo>
                  <a:cubicBezTo>
                    <a:pt x="1" y="66"/>
                    <a:pt x="1" y="68"/>
                    <a:pt x="2" y="70"/>
                  </a:cubicBezTo>
                  <a:cubicBezTo>
                    <a:pt x="4" y="70"/>
                    <a:pt x="4" y="70"/>
                    <a:pt x="4" y="70"/>
                  </a:cubicBezTo>
                  <a:close/>
                  <a:moveTo>
                    <a:pt x="9" y="82"/>
                  </a:moveTo>
                  <a:cubicBezTo>
                    <a:pt x="7" y="80"/>
                    <a:pt x="7" y="78"/>
                    <a:pt x="6" y="76"/>
                  </a:cubicBezTo>
                  <a:cubicBezTo>
                    <a:pt x="4" y="77"/>
                    <a:pt x="4" y="77"/>
                    <a:pt x="4" y="77"/>
                  </a:cubicBezTo>
                  <a:cubicBezTo>
                    <a:pt x="5" y="79"/>
                    <a:pt x="5" y="81"/>
                    <a:pt x="7" y="83"/>
                  </a:cubicBezTo>
                  <a:cubicBezTo>
                    <a:pt x="9" y="82"/>
                    <a:pt x="9" y="82"/>
                    <a:pt x="9" y="82"/>
                  </a:cubicBezTo>
                  <a:close/>
                  <a:moveTo>
                    <a:pt x="16" y="93"/>
                  </a:moveTo>
                  <a:cubicBezTo>
                    <a:pt x="15" y="91"/>
                    <a:pt x="13" y="89"/>
                    <a:pt x="12" y="88"/>
                  </a:cubicBezTo>
                  <a:cubicBezTo>
                    <a:pt x="10" y="89"/>
                    <a:pt x="10" y="89"/>
                    <a:pt x="10" y="89"/>
                  </a:cubicBezTo>
                  <a:cubicBezTo>
                    <a:pt x="11" y="91"/>
                    <a:pt x="13" y="92"/>
                    <a:pt x="14" y="94"/>
                  </a:cubicBezTo>
                  <a:cubicBezTo>
                    <a:pt x="16" y="93"/>
                    <a:pt x="16" y="93"/>
                    <a:pt x="16" y="93"/>
                  </a:cubicBezTo>
                  <a:close/>
                  <a:moveTo>
                    <a:pt x="26" y="101"/>
                  </a:moveTo>
                  <a:cubicBezTo>
                    <a:pt x="24" y="100"/>
                    <a:pt x="22" y="99"/>
                    <a:pt x="21" y="97"/>
                  </a:cubicBezTo>
                  <a:cubicBezTo>
                    <a:pt x="19" y="99"/>
                    <a:pt x="19" y="99"/>
                    <a:pt x="19" y="99"/>
                  </a:cubicBezTo>
                  <a:cubicBezTo>
                    <a:pt x="21" y="101"/>
                    <a:pt x="23" y="102"/>
                    <a:pt x="25" y="103"/>
                  </a:cubicBezTo>
                  <a:cubicBezTo>
                    <a:pt x="26" y="101"/>
                    <a:pt x="26" y="101"/>
                    <a:pt x="26" y="101"/>
                  </a:cubicBezTo>
                  <a:close/>
                  <a:moveTo>
                    <a:pt x="37" y="107"/>
                  </a:moveTo>
                  <a:cubicBezTo>
                    <a:pt x="35" y="107"/>
                    <a:pt x="33" y="106"/>
                    <a:pt x="31" y="105"/>
                  </a:cubicBezTo>
                  <a:cubicBezTo>
                    <a:pt x="30" y="107"/>
                    <a:pt x="30" y="107"/>
                    <a:pt x="30" y="107"/>
                  </a:cubicBezTo>
                  <a:cubicBezTo>
                    <a:pt x="32" y="108"/>
                    <a:pt x="34" y="109"/>
                    <a:pt x="37" y="110"/>
                  </a:cubicBezTo>
                  <a:cubicBezTo>
                    <a:pt x="37" y="107"/>
                    <a:pt x="37" y="107"/>
                    <a:pt x="37" y="107"/>
                  </a:cubicBezTo>
                  <a:close/>
                  <a:moveTo>
                    <a:pt x="50" y="111"/>
                  </a:moveTo>
                  <a:cubicBezTo>
                    <a:pt x="48" y="110"/>
                    <a:pt x="46" y="110"/>
                    <a:pt x="44" y="109"/>
                  </a:cubicBezTo>
                  <a:cubicBezTo>
                    <a:pt x="43" y="112"/>
                    <a:pt x="43" y="112"/>
                    <a:pt x="43" y="112"/>
                  </a:cubicBezTo>
                  <a:cubicBezTo>
                    <a:pt x="45" y="112"/>
                    <a:pt x="48" y="113"/>
                    <a:pt x="50" y="113"/>
                  </a:cubicBezTo>
                  <a:lnTo>
                    <a:pt x="50" y="111"/>
                  </a:lnTo>
                  <a:close/>
                  <a:moveTo>
                    <a:pt x="63" y="111"/>
                  </a:moveTo>
                  <a:cubicBezTo>
                    <a:pt x="61" y="111"/>
                    <a:pt x="59" y="111"/>
                    <a:pt x="57" y="111"/>
                  </a:cubicBezTo>
                  <a:cubicBezTo>
                    <a:pt x="57" y="113"/>
                    <a:pt x="57" y="113"/>
                    <a:pt x="57" y="113"/>
                  </a:cubicBezTo>
                  <a:cubicBezTo>
                    <a:pt x="59" y="113"/>
                    <a:pt x="61" y="113"/>
                    <a:pt x="64" y="113"/>
                  </a:cubicBezTo>
                  <a:lnTo>
                    <a:pt x="63" y="111"/>
                  </a:lnTo>
                  <a:close/>
                  <a:moveTo>
                    <a:pt x="76" y="107"/>
                  </a:moveTo>
                  <a:cubicBezTo>
                    <a:pt x="74" y="108"/>
                    <a:pt x="72" y="109"/>
                    <a:pt x="70" y="109"/>
                  </a:cubicBezTo>
                  <a:cubicBezTo>
                    <a:pt x="70" y="112"/>
                    <a:pt x="70" y="112"/>
                    <a:pt x="70" y="112"/>
                  </a:cubicBezTo>
                  <a:cubicBezTo>
                    <a:pt x="72" y="111"/>
                    <a:pt x="75" y="110"/>
                    <a:pt x="77" y="110"/>
                  </a:cubicBezTo>
                  <a:cubicBezTo>
                    <a:pt x="76" y="107"/>
                    <a:pt x="76" y="107"/>
                    <a:pt x="76" y="107"/>
                  </a:cubicBezTo>
                  <a:close/>
                  <a:moveTo>
                    <a:pt x="88" y="101"/>
                  </a:moveTo>
                  <a:cubicBezTo>
                    <a:pt x="86" y="103"/>
                    <a:pt x="84" y="104"/>
                    <a:pt x="82" y="105"/>
                  </a:cubicBezTo>
                  <a:cubicBezTo>
                    <a:pt x="83" y="107"/>
                    <a:pt x="83" y="107"/>
                    <a:pt x="83" y="107"/>
                  </a:cubicBezTo>
                  <a:cubicBezTo>
                    <a:pt x="85" y="106"/>
                    <a:pt x="87" y="104"/>
                    <a:pt x="89" y="103"/>
                  </a:cubicBezTo>
                  <a:cubicBezTo>
                    <a:pt x="88" y="101"/>
                    <a:pt x="88" y="101"/>
                    <a:pt x="88" y="101"/>
                  </a:cubicBezTo>
                  <a:close/>
                  <a:moveTo>
                    <a:pt x="97" y="93"/>
                  </a:moveTo>
                  <a:cubicBezTo>
                    <a:pt x="96" y="94"/>
                    <a:pt x="94" y="96"/>
                    <a:pt x="93" y="97"/>
                  </a:cubicBezTo>
                  <a:cubicBezTo>
                    <a:pt x="94" y="99"/>
                    <a:pt x="94" y="99"/>
                    <a:pt x="94" y="99"/>
                  </a:cubicBezTo>
                  <a:cubicBezTo>
                    <a:pt x="96" y="97"/>
                    <a:pt x="98" y="96"/>
                    <a:pt x="99" y="94"/>
                  </a:cubicBezTo>
                  <a:cubicBezTo>
                    <a:pt x="97" y="93"/>
                    <a:pt x="97" y="93"/>
                    <a:pt x="97" y="93"/>
                  </a:cubicBezTo>
                  <a:close/>
                  <a:moveTo>
                    <a:pt x="105" y="82"/>
                  </a:moveTo>
                  <a:cubicBezTo>
                    <a:pt x="104" y="84"/>
                    <a:pt x="103" y="86"/>
                    <a:pt x="101" y="87"/>
                  </a:cubicBezTo>
                  <a:cubicBezTo>
                    <a:pt x="103" y="89"/>
                    <a:pt x="103" y="89"/>
                    <a:pt x="103" y="89"/>
                  </a:cubicBezTo>
                  <a:cubicBezTo>
                    <a:pt x="105" y="87"/>
                    <a:pt x="106" y="85"/>
                    <a:pt x="107" y="83"/>
                  </a:cubicBezTo>
                  <a:cubicBezTo>
                    <a:pt x="105" y="82"/>
                    <a:pt x="105" y="82"/>
                    <a:pt x="105" y="82"/>
                  </a:cubicBezTo>
                  <a:close/>
                  <a:moveTo>
                    <a:pt x="109" y="70"/>
                  </a:moveTo>
                  <a:cubicBezTo>
                    <a:pt x="109" y="72"/>
                    <a:pt x="108" y="74"/>
                    <a:pt x="108" y="76"/>
                  </a:cubicBezTo>
                  <a:cubicBezTo>
                    <a:pt x="110" y="77"/>
                    <a:pt x="110" y="77"/>
                    <a:pt x="110" y="77"/>
                  </a:cubicBezTo>
                  <a:cubicBezTo>
                    <a:pt x="110" y="75"/>
                    <a:pt x="111" y="72"/>
                    <a:pt x="112" y="70"/>
                  </a:cubicBezTo>
                  <a:cubicBezTo>
                    <a:pt x="109" y="70"/>
                    <a:pt x="109" y="70"/>
                    <a:pt x="109" y="70"/>
                  </a:cubicBezTo>
                  <a:close/>
                </a:path>
              </a:pathLst>
            </a:custGeom>
            <a:solidFill>
              <a:srgbClr val="FA870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08" name="i$lidè">
              <a:extLst>
                <a:ext uri="{FF2B5EF4-FFF2-40B4-BE49-F238E27FC236}">
                  <a16:creationId xmlns:a16="http://schemas.microsoft.com/office/drawing/2014/main" id="{C5BB6081-A196-4416-8C0F-C3501A816BA7}"/>
                </a:ext>
              </a:extLst>
            </p:cNvPr>
            <p:cNvSpPr/>
            <p:nvPr/>
          </p:nvSpPr>
          <p:spPr bwMode="auto">
            <a:xfrm>
              <a:off x="6391276" y="5032375"/>
              <a:ext cx="649288" cy="650875"/>
            </a:xfrm>
            <a:custGeom>
              <a:avLst/>
              <a:gdLst>
                <a:gd name="T0" fmla="*/ 101 w 173"/>
                <a:gd name="T1" fmla="*/ 18 h 173"/>
                <a:gd name="T2" fmla="*/ 114 w 173"/>
                <a:gd name="T3" fmla="*/ 16 h 173"/>
                <a:gd name="T4" fmla="*/ 137 w 173"/>
                <a:gd name="T5" fmla="*/ 26 h 173"/>
                <a:gd name="T6" fmla="*/ 151 w 173"/>
                <a:gd name="T7" fmla="*/ 47 h 173"/>
                <a:gd name="T8" fmla="*/ 152 w 173"/>
                <a:gd name="T9" fmla="*/ 63 h 173"/>
                <a:gd name="T10" fmla="*/ 161 w 173"/>
                <a:gd name="T11" fmla="*/ 76 h 173"/>
                <a:gd name="T12" fmla="*/ 164 w 173"/>
                <a:gd name="T13" fmla="*/ 100 h 173"/>
                <a:gd name="T14" fmla="*/ 153 w 173"/>
                <a:gd name="T15" fmla="*/ 122 h 173"/>
                <a:gd name="T16" fmla="*/ 140 w 173"/>
                <a:gd name="T17" fmla="*/ 131 h 173"/>
                <a:gd name="T18" fmla="*/ 133 w 173"/>
                <a:gd name="T19" fmla="*/ 146 h 173"/>
                <a:gd name="T20" fmla="*/ 114 w 173"/>
                <a:gd name="T21" fmla="*/ 160 h 173"/>
                <a:gd name="T22" fmla="*/ 89 w 173"/>
                <a:gd name="T23" fmla="*/ 162 h 173"/>
                <a:gd name="T24" fmla="*/ 72 w 173"/>
                <a:gd name="T25" fmla="*/ 155 h 173"/>
                <a:gd name="T26" fmla="*/ 59 w 173"/>
                <a:gd name="T27" fmla="*/ 157 h 173"/>
                <a:gd name="T28" fmla="*/ 36 w 173"/>
                <a:gd name="T29" fmla="*/ 147 h 173"/>
                <a:gd name="T30" fmla="*/ 22 w 173"/>
                <a:gd name="T31" fmla="*/ 126 h 173"/>
                <a:gd name="T32" fmla="*/ 21 w 173"/>
                <a:gd name="T33" fmla="*/ 110 h 173"/>
                <a:gd name="T34" fmla="*/ 12 w 173"/>
                <a:gd name="T35" fmla="*/ 98 h 173"/>
                <a:gd name="T36" fmla="*/ 9 w 173"/>
                <a:gd name="T37" fmla="*/ 73 h 173"/>
                <a:gd name="T38" fmla="*/ 20 w 173"/>
                <a:gd name="T39" fmla="*/ 51 h 173"/>
                <a:gd name="T40" fmla="*/ 33 w 173"/>
                <a:gd name="T41" fmla="*/ 42 h 173"/>
                <a:gd name="T42" fmla="*/ 40 w 173"/>
                <a:gd name="T43" fmla="*/ 27 h 173"/>
                <a:gd name="T44" fmla="*/ 60 w 173"/>
                <a:gd name="T45" fmla="*/ 13 h 173"/>
                <a:gd name="T46" fmla="*/ 85 w 173"/>
                <a:gd name="T47" fmla="*/ 11 h 173"/>
                <a:gd name="T48" fmla="*/ 80 w 173"/>
                <a:gd name="T49" fmla="*/ 4 h 173"/>
                <a:gd name="T50" fmla="*/ 67 w 173"/>
                <a:gd name="T51" fmla="*/ 9 h 173"/>
                <a:gd name="T52" fmla="*/ 52 w 173"/>
                <a:gd name="T53" fmla="*/ 11 h 173"/>
                <a:gd name="T54" fmla="*/ 42 w 173"/>
                <a:gd name="T55" fmla="*/ 20 h 173"/>
                <a:gd name="T56" fmla="*/ 28 w 173"/>
                <a:gd name="T57" fmla="*/ 27 h 173"/>
                <a:gd name="T58" fmla="*/ 18 w 173"/>
                <a:gd name="T59" fmla="*/ 40 h 173"/>
                <a:gd name="T60" fmla="*/ 10 w 173"/>
                <a:gd name="T61" fmla="*/ 64 h 173"/>
                <a:gd name="T62" fmla="*/ 7 w 173"/>
                <a:gd name="T63" fmla="*/ 81 h 173"/>
                <a:gd name="T64" fmla="*/ 6 w 173"/>
                <a:gd name="T65" fmla="*/ 107 h 173"/>
                <a:gd name="T66" fmla="*/ 12 w 173"/>
                <a:gd name="T67" fmla="*/ 123 h 173"/>
                <a:gd name="T68" fmla="*/ 29 w 173"/>
                <a:gd name="T69" fmla="*/ 142 h 173"/>
                <a:gd name="T70" fmla="*/ 38 w 173"/>
                <a:gd name="T71" fmla="*/ 154 h 173"/>
                <a:gd name="T72" fmla="*/ 51 w 173"/>
                <a:gd name="T73" fmla="*/ 158 h 173"/>
                <a:gd name="T74" fmla="*/ 64 w 173"/>
                <a:gd name="T75" fmla="*/ 167 h 173"/>
                <a:gd name="T76" fmla="*/ 78 w 173"/>
                <a:gd name="T77" fmla="*/ 166 h 173"/>
                <a:gd name="T78" fmla="*/ 93 w 173"/>
                <a:gd name="T79" fmla="*/ 170 h 173"/>
                <a:gd name="T80" fmla="*/ 106 w 173"/>
                <a:gd name="T81" fmla="*/ 164 h 173"/>
                <a:gd name="T82" fmla="*/ 121 w 173"/>
                <a:gd name="T83" fmla="*/ 162 h 173"/>
                <a:gd name="T84" fmla="*/ 131 w 173"/>
                <a:gd name="T85" fmla="*/ 153 h 173"/>
                <a:gd name="T86" fmla="*/ 145 w 173"/>
                <a:gd name="T87" fmla="*/ 146 h 173"/>
                <a:gd name="T88" fmla="*/ 155 w 173"/>
                <a:gd name="T89" fmla="*/ 133 h 173"/>
                <a:gd name="T90" fmla="*/ 164 w 173"/>
                <a:gd name="T91" fmla="*/ 109 h 173"/>
                <a:gd name="T92" fmla="*/ 167 w 173"/>
                <a:gd name="T93" fmla="*/ 92 h 173"/>
                <a:gd name="T94" fmla="*/ 167 w 173"/>
                <a:gd name="T95" fmla="*/ 66 h 173"/>
                <a:gd name="T96" fmla="*/ 162 w 173"/>
                <a:gd name="T97" fmla="*/ 50 h 173"/>
                <a:gd name="T98" fmla="*/ 144 w 173"/>
                <a:gd name="T99" fmla="*/ 31 h 173"/>
                <a:gd name="T100" fmla="*/ 135 w 173"/>
                <a:gd name="T101" fmla="*/ 19 h 173"/>
                <a:gd name="T102" fmla="*/ 122 w 173"/>
                <a:gd name="T103" fmla="*/ 15 h 173"/>
                <a:gd name="T104" fmla="*/ 109 w 173"/>
                <a:gd name="T105" fmla="*/ 6 h 173"/>
                <a:gd name="T106" fmla="*/ 95 w 173"/>
                <a:gd name="T107" fmla="*/ 7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73" h="173">
                  <a:moveTo>
                    <a:pt x="87" y="8"/>
                  </a:moveTo>
                  <a:cubicBezTo>
                    <a:pt x="89" y="11"/>
                    <a:pt x="89" y="11"/>
                    <a:pt x="89" y="11"/>
                  </a:cubicBezTo>
                  <a:cubicBezTo>
                    <a:pt x="92" y="15"/>
                    <a:pt x="96" y="18"/>
                    <a:pt x="101" y="18"/>
                  </a:cubicBezTo>
                  <a:cubicBezTo>
                    <a:pt x="105" y="18"/>
                    <a:pt x="108" y="17"/>
                    <a:pt x="110" y="15"/>
                  </a:cubicBezTo>
                  <a:cubicBezTo>
                    <a:pt x="114" y="13"/>
                    <a:pt x="114" y="13"/>
                    <a:pt x="114" y="13"/>
                  </a:cubicBezTo>
                  <a:cubicBezTo>
                    <a:pt x="114" y="16"/>
                    <a:pt x="114" y="16"/>
                    <a:pt x="114" y="16"/>
                  </a:cubicBezTo>
                  <a:cubicBezTo>
                    <a:pt x="116" y="23"/>
                    <a:pt x="122" y="28"/>
                    <a:pt x="129" y="28"/>
                  </a:cubicBezTo>
                  <a:cubicBezTo>
                    <a:pt x="131" y="28"/>
                    <a:pt x="132" y="28"/>
                    <a:pt x="133" y="27"/>
                  </a:cubicBezTo>
                  <a:cubicBezTo>
                    <a:pt x="137" y="26"/>
                    <a:pt x="137" y="26"/>
                    <a:pt x="137" y="26"/>
                  </a:cubicBezTo>
                  <a:cubicBezTo>
                    <a:pt x="137" y="30"/>
                    <a:pt x="137" y="30"/>
                    <a:pt x="137" y="30"/>
                  </a:cubicBezTo>
                  <a:cubicBezTo>
                    <a:pt x="136" y="34"/>
                    <a:pt x="138" y="38"/>
                    <a:pt x="140" y="42"/>
                  </a:cubicBezTo>
                  <a:cubicBezTo>
                    <a:pt x="143" y="45"/>
                    <a:pt x="147" y="47"/>
                    <a:pt x="151" y="47"/>
                  </a:cubicBezTo>
                  <a:cubicBezTo>
                    <a:pt x="155" y="47"/>
                    <a:pt x="155" y="47"/>
                    <a:pt x="155" y="47"/>
                  </a:cubicBezTo>
                  <a:cubicBezTo>
                    <a:pt x="153" y="51"/>
                    <a:pt x="153" y="51"/>
                    <a:pt x="153" y="51"/>
                  </a:cubicBezTo>
                  <a:cubicBezTo>
                    <a:pt x="151" y="54"/>
                    <a:pt x="151" y="59"/>
                    <a:pt x="152" y="63"/>
                  </a:cubicBezTo>
                  <a:cubicBezTo>
                    <a:pt x="154" y="67"/>
                    <a:pt x="157" y="70"/>
                    <a:pt x="161" y="71"/>
                  </a:cubicBezTo>
                  <a:cubicBezTo>
                    <a:pt x="164" y="73"/>
                    <a:pt x="164" y="73"/>
                    <a:pt x="164" y="73"/>
                  </a:cubicBezTo>
                  <a:cubicBezTo>
                    <a:pt x="161" y="76"/>
                    <a:pt x="161" y="76"/>
                    <a:pt x="161" y="76"/>
                  </a:cubicBezTo>
                  <a:cubicBezTo>
                    <a:pt x="158" y="78"/>
                    <a:pt x="157" y="82"/>
                    <a:pt x="157" y="87"/>
                  </a:cubicBezTo>
                  <a:cubicBezTo>
                    <a:pt x="157" y="91"/>
                    <a:pt x="158" y="95"/>
                    <a:pt x="161" y="98"/>
                  </a:cubicBezTo>
                  <a:cubicBezTo>
                    <a:pt x="164" y="100"/>
                    <a:pt x="164" y="100"/>
                    <a:pt x="164" y="100"/>
                  </a:cubicBezTo>
                  <a:cubicBezTo>
                    <a:pt x="161" y="102"/>
                    <a:pt x="161" y="102"/>
                    <a:pt x="161" y="102"/>
                  </a:cubicBezTo>
                  <a:cubicBezTo>
                    <a:pt x="157" y="103"/>
                    <a:pt x="154" y="107"/>
                    <a:pt x="152" y="110"/>
                  </a:cubicBezTo>
                  <a:cubicBezTo>
                    <a:pt x="151" y="114"/>
                    <a:pt x="151" y="119"/>
                    <a:pt x="153" y="122"/>
                  </a:cubicBezTo>
                  <a:cubicBezTo>
                    <a:pt x="155" y="126"/>
                    <a:pt x="155" y="126"/>
                    <a:pt x="155" y="126"/>
                  </a:cubicBezTo>
                  <a:cubicBezTo>
                    <a:pt x="151" y="126"/>
                    <a:pt x="151" y="126"/>
                    <a:pt x="151" y="126"/>
                  </a:cubicBezTo>
                  <a:cubicBezTo>
                    <a:pt x="147" y="126"/>
                    <a:pt x="143" y="128"/>
                    <a:pt x="140" y="131"/>
                  </a:cubicBezTo>
                  <a:cubicBezTo>
                    <a:pt x="138" y="135"/>
                    <a:pt x="136" y="139"/>
                    <a:pt x="137" y="143"/>
                  </a:cubicBezTo>
                  <a:cubicBezTo>
                    <a:pt x="137" y="147"/>
                    <a:pt x="137" y="147"/>
                    <a:pt x="137" y="147"/>
                  </a:cubicBezTo>
                  <a:cubicBezTo>
                    <a:pt x="133" y="146"/>
                    <a:pt x="133" y="146"/>
                    <a:pt x="133" y="146"/>
                  </a:cubicBezTo>
                  <a:cubicBezTo>
                    <a:pt x="132" y="145"/>
                    <a:pt x="131" y="145"/>
                    <a:pt x="129" y="145"/>
                  </a:cubicBezTo>
                  <a:cubicBezTo>
                    <a:pt x="122" y="145"/>
                    <a:pt x="116" y="150"/>
                    <a:pt x="114" y="157"/>
                  </a:cubicBezTo>
                  <a:cubicBezTo>
                    <a:pt x="114" y="160"/>
                    <a:pt x="114" y="160"/>
                    <a:pt x="114" y="160"/>
                  </a:cubicBezTo>
                  <a:cubicBezTo>
                    <a:pt x="110" y="158"/>
                    <a:pt x="110" y="158"/>
                    <a:pt x="110" y="158"/>
                  </a:cubicBezTo>
                  <a:cubicBezTo>
                    <a:pt x="108" y="156"/>
                    <a:pt x="105" y="155"/>
                    <a:pt x="101" y="155"/>
                  </a:cubicBezTo>
                  <a:cubicBezTo>
                    <a:pt x="96" y="155"/>
                    <a:pt x="92" y="158"/>
                    <a:pt x="89" y="162"/>
                  </a:cubicBezTo>
                  <a:cubicBezTo>
                    <a:pt x="87" y="165"/>
                    <a:pt x="87" y="165"/>
                    <a:pt x="87" y="165"/>
                  </a:cubicBezTo>
                  <a:cubicBezTo>
                    <a:pt x="85" y="162"/>
                    <a:pt x="85" y="162"/>
                    <a:pt x="85" y="162"/>
                  </a:cubicBezTo>
                  <a:cubicBezTo>
                    <a:pt x="82" y="158"/>
                    <a:pt x="77" y="155"/>
                    <a:pt x="72" y="155"/>
                  </a:cubicBezTo>
                  <a:cubicBezTo>
                    <a:pt x="69" y="155"/>
                    <a:pt x="65" y="156"/>
                    <a:pt x="63" y="158"/>
                  </a:cubicBezTo>
                  <a:cubicBezTo>
                    <a:pt x="60" y="160"/>
                    <a:pt x="60" y="160"/>
                    <a:pt x="60" y="160"/>
                  </a:cubicBezTo>
                  <a:cubicBezTo>
                    <a:pt x="59" y="157"/>
                    <a:pt x="59" y="157"/>
                    <a:pt x="59" y="157"/>
                  </a:cubicBezTo>
                  <a:cubicBezTo>
                    <a:pt x="57" y="150"/>
                    <a:pt x="51" y="145"/>
                    <a:pt x="44" y="145"/>
                  </a:cubicBezTo>
                  <a:cubicBezTo>
                    <a:pt x="43" y="145"/>
                    <a:pt x="41" y="145"/>
                    <a:pt x="40" y="146"/>
                  </a:cubicBezTo>
                  <a:cubicBezTo>
                    <a:pt x="36" y="147"/>
                    <a:pt x="36" y="147"/>
                    <a:pt x="36" y="147"/>
                  </a:cubicBezTo>
                  <a:cubicBezTo>
                    <a:pt x="37" y="143"/>
                    <a:pt x="37" y="143"/>
                    <a:pt x="37" y="143"/>
                  </a:cubicBezTo>
                  <a:cubicBezTo>
                    <a:pt x="37" y="139"/>
                    <a:pt x="36" y="135"/>
                    <a:pt x="33" y="131"/>
                  </a:cubicBezTo>
                  <a:cubicBezTo>
                    <a:pt x="30" y="128"/>
                    <a:pt x="27" y="126"/>
                    <a:pt x="22" y="126"/>
                  </a:cubicBezTo>
                  <a:cubicBezTo>
                    <a:pt x="19" y="126"/>
                    <a:pt x="19" y="126"/>
                    <a:pt x="19" y="126"/>
                  </a:cubicBezTo>
                  <a:cubicBezTo>
                    <a:pt x="20" y="122"/>
                    <a:pt x="20" y="122"/>
                    <a:pt x="20" y="122"/>
                  </a:cubicBezTo>
                  <a:cubicBezTo>
                    <a:pt x="22" y="119"/>
                    <a:pt x="22" y="114"/>
                    <a:pt x="21" y="110"/>
                  </a:cubicBezTo>
                  <a:cubicBezTo>
                    <a:pt x="20" y="107"/>
                    <a:pt x="17" y="103"/>
                    <a:pt x="13" y="102"/>
                  </a:cubicBezTo>
                  <a:cubicBezTo>
                    <a:pt x="9" y="100"/>
                    <a:pt x="9" y="100"/>
                    <a:pt x="9" y="100"/>
                  </a:cubicBezTo>
                  <a:cubicBezTo>
                    <a:pt x="12" y="98"/>
                    <a:pt x="12" y="98"/>
                    <a:pt x="12" y="98"/>
                  </a:cubicBezTo>
                  <a:cubicBezTo>
                    <a:pt x="15" y="95"/>
                    <a:pt x="17" y="91"/>
                    <a:pt x="17" y="87"/>
                  </a:cubicBezTo>
                  <a:cubicBezTo>
                    <a:pt x="17" y="82"/>
                    <a:pt x="15" y="78"/>
                    <a:pt x="12" y="76"/>
                  </a:cubicBezTo>
                  <a:cubicBezTo>
                    <a:pt x="9" y="73"/>
                    <a:pt x="9" y="73"/>
                    <a:pt x="9" y="73"/>
                  </a:cubicBezTo>
                  <a:cubicBezTo>
                    <a:pt x="13" y="71"/>
                    <a:pt x="13" y="71"/>
                    <a:pt x="13" y="71"/>
                  </a:cubicBezTo>
                  <a:cubicBezTo>
                    <a:pt x="17" y="70"/>
                    <a:pt x="20" y="67"/>
                    <a:pt x="21" y="63"/>
                  </a:cubicBezTo>
                  <a:cubicBezTo>
                    <a:pt x="22" y="59"/>
                    <a:pt x="22" y="54"/>
                    <a:pt x="20" y="51"/>
                  </a:cubicBezTo>
                  <a:cubicBezTo>
                    <a:pt x="19" y="47"/>
                    <a:pt x="19" y="47"/>
                    <a:pt x="19" y="47"/>
                  </a:cubicBezTo>
                  <a:cubicBezTo>
                    <a:pt x="22" y="47"/>
                    <a:pt x="22" y="47"/>
                    <a:pt x="22" y="47"/>
                  </a:cubicBezTo>
                  <a:cubicBezTo>
                    <a:pt x="27" y="47"/>
                    <a:pt x="30" y="45"/>
                    <a:pt x="33" y="42"/>
                  </a:cubicBezTo>
                  <a:cubicBezTo>
                    <a:pt x="36" y="38"/>
                    <a:pt x="37" y="34"/>
                    <a:pt x="37" y="30"/>
                  </a:cubicBezTo>
                  <a:cubicBezTo>
                    <a:pt x="36" y="26"/>
                    <a:pt x="36" y="26"/>
                    <a:pt x="36" y="26"/>
                  </a:cubicBezTo>
                  <a:cubicBezTo>
                    <a:pt x="40" y="27"/>
                    <a:pt x="40" y="27"/>
                    <a:pt x="40" y="27"/>
                  </a:cubicBezTo>
                  <a:cubicBezTo>
                    <a:pt x="41" y="28"/>
                    <a:pt x="43" y="28"/>
                    <a:pt x="44" y="28"/>
                  </a:cubicBezTo>
                  <a:cubicBezTo>
                    <a:pt x="51" y="28"/>
                    <a:pt x="57" y="23"/>
                    <a:pt x="59" y="16"/>
                  </a:cubicBezTo>
                  <a:cubicBezTo>
                    <a:pt x="60" y="13"/>
                    <a:pt x="60" y="13"/>
                    <a:pt x="60" y="13"/>
                  </a:cubicBezTo>
                  <a:cubicBezTo>
                    <a:pt x="63" y="15"/>
                    <a:pt x="63" y="15"/>
                    <a:pt x="63" y="15"/>
                  </a:cubicBezTo>
                  <a:cubicBezTo>
                    <a:pt x="65" y="17"/>
                    <a:pt x="69" y="18"/>
                    <a:pt x="72" y="18"/>
                  </a:cubicBezTo>
                  <a:cubicBezTo>
                    <a:pt x="77" y="18"/>
                    <a:pt x="82" y="15"/>
                    <a:pt x="85" y="11"/>
                  </a:cubicBezTo>
                  <a:cubicBezTo>
                    <a:pt x="87" y="8"/>
                    <a:pt x="87" y="8"/>
                    <a:pt x="87" y="8"/>
                  </a:cubicBezTo>
                  <a:moveTo>
                    <a:pt x="87" y="0"/>
                  </a:moveTo>
                  <a:cubicBezTo>
                    <a:pt x="84" y="0"/>
                    <a:pt x="82" y="1"/>
                    <a:pt x="80" y="4"/>
                  </a:cubicBezTo>
                  <a:cubicBezTo>
                    <a:pt x="78" y="7"/>
                    <a:pt x="78" y="7"/>
                    <a:pt x="78" y="7"/>
                  </a:cubicBezTo>
                  <a:cubicBezTo>
                    <a:pt x="77" y="9"/>
                    <a:pt x="74" y="10"/>
                    <a:pt x="72" y="10"/>
                  </a:cubicBezTo>
                  <a:cubicBezTo>
                    <a:pt x="70" y="10"/>
                    <a:pt x="69" y="10"/>
                    <a:pt x="67" y="9"/>
                  </a:cubicBezTo>
                  <a:cubicBezTo>
                    <a:pt x="64" y="6"/>
                    <a:pt x="64" y="6"/>
                    <a:pt x="64" y="6"/>
                  </a:cubicBezTo>
                  <a:cubicBezTo>
                    <a:pt x="63" y="5"/>
                    <a:pt x="61" y="5"/>
                    <a:pt x="60" y="5"/>
                  </a:cubicBezTo>
                  <a:cubicBezTo>
                    <a:pt x="56" y="5"/>
                    <a:pt x="53" y="7"/>
                    <a:pt x="52" y="11"/>
                  </a:cubicBezTo>
                  <a:cubicBezTo>
                    <a:pt x="51" y="15"/>
                    <a:pt x="51" y="15"/>
                    <a:pt x="51" y="15"/>
                  </a:cubicBezTo>
                  <a:cubicBezTo>
                    <a:pt x="51" y="18"/>
                    <a:pt x="48" y="20"/>
                    <a:pt x="44" y="20"/>
                  </a:cubicBezTo>
                  <a:cubicBezTo>
                    <a:pt x="43" y="20"/>
                    <a:pt x="43" y="20"/>
                    <a:pt x="42" y="20"/>
                  </a:cubicBezTo>
                  <a:cubicBezTo>
                    <a:pt x="38" y="19"/>
                    <a:pt x="38" y="19"/>
                    <a:pt x="38" y="19"/>
                  </a:cubicBezTo>
                  <a:cubicBezTo>
                    <a:pt x="37" y="19"/>
                    <a:pt x="37" y="19"/>
                    <a:pt x="36" y="19"/>
                  </a:cubicBezTo>
                  <a:cubicBezTo>
                    <a:pt x="32" y="19"/>
                    <a:pt x="28" y="22"/>
                    <a:pt x="28" y="27"/>
                  </a:cubicBezTo>
                  <a:cubicBezTo>
                    <a:pt x="29" y="31"/>
                    <a:pt x="29" y="31"/>
                    <a:pt x="29" y="31"/>
                  </a:cubicBezTo>
                  <a:cubicBezTo>
                    <a:pt x="29" y="35"/>
                    <a:pt x="26" y="39"/>
                    <a:pt x="22" y="39"/>
                  </a:cubicBezTo>
                  <a:cubicBezTo>
                    <a:pt x="18" y="40"/>
                    <a:pt x="18" y="40"/>
                    <a:pt x="18" y="40"/>
                  </a:cubicBezTo>
                  <a:cubicBezTo>
                    <a:pt x="13" y="40"/>
                    <a:pt x="9" y="46"/>
                    <a:pt x="12" y="50"/>
                  </a:cubicBezTo>
                  <a:cubicBezTo>
                    <a:pt x="13" y="54"/>
                    <a:pt x="13" y="54"/>
                    <a:pt x="13" y="54"/>
                  </a:cubicBezTo>
                  <a:cubicBezTo>
                    <a:pt x="15" y="58"/>
                    <a:pt x="14" y="63"/>
                    <a:pt x="10" y="64"/>
                  </a:cubicBezTo>
                  <a:cubicBezTo>
                    <a:pt x="6" y="66"/>
                    <a:pt x="6" y="66"/>
                    <a:pt x="6" y="66"/>
                  </a:cubicBezTo>
                  <a:cubicBezTo>
                    <a:pt x="1" y="68"/>
                    <a:pt x="0" y="75"/>
                    <a:pt x="4" y="78"/>
                  </a:cubicBezTo>
                  <a:cubicBezTo>
                    <a:pt x="7" y="81"/>
                    <a:pt x="7" y="81"/>
                    <a:pt x="7" y="81"/>
                  </a:cubicBezTo>
                  <a:cubicBezTo>
                    <a:pt x="10" y="84"/>
                    <a:pt x="10" y="89"/>
                    <a:pt x="7" y="92"/>
                  </a:cubicBezTo>
                  <a:cubicBezTo>
                    <a:pt x="4" y="95"/>
                    <a:pt x="4" y="95"/>
                    <a:pt x="4" y="95"/>
                  </a:cubicBezTo>
                  <a:cubicBezTo>
                    <a:pt x="0" y="99"/>
                    <a:pt x="1" y="105"/>
                    <a:pt x="6" y="107"/>
                  </a:cubicBezTo>
                  <a:cubicBezTo>
                    <a:pt x="10" y="109"/>
                    <a:pt x="10" y="109"/>
                    <a:pt x="10" y="109"/>
                  </a:cubicBezTo>
                  <a:cubicBezTo>
                    <a:pt x="14" y="110"/>
                    <a:pt x="15" y="115"/>
                    <a:pt x="13" y="119"/>
                  </a:cubicBezTo>
                  <a:cubicBezTo>
                    <a:pt x="12" y="123"/>
                    <a:pt x="12" y="123"/>
                    <a:pt x="12" y="123"/>
                  </a:cubicBezTo>
                  <a:cubicBezTo>
                    <a:pt x="9" y="127"/>
                    <a:pt x="13" y="133"/>
                    <a:pt x="18" y="133"/>
                  </a:cubicBezTo>
                  <a:cubicBezTo>
                    <a:pt x="22" y="134"/>
                    <a:pt x="22" y="134"/>
                    <a:pt x="22" y="134"/>
                  </a:cubicBezTo>
                  <a:cubicBezTo>
                    <a:pt x="26" y="134"/>
                    <a:pt x="29" y="138"/>
                    <a:pt x="29" y="142"/>
                  </a:cubicBezTo>
                  <a:cubicBezTo>
                    <a:pt x="28" y="146"/>
                    <a:pt x="28" y="146"/>
                    <a:pt x="28" y="146"/>
                  </a:cubicBezTo>
                  <a:cubicBezTo>
                    <a:pt x="28" y="151"/>
                    <a:pt x="32" y="154"/>
                    <a:pt x="36" y="154"/>
                  </a:cubicBezTo>
                  <a:cubicBezTo>
                    <a:pt x="37" y="154"/>
                    <a:pt x="37" y="154"/>
                    <a:pt x="38" y="154"/>
                  </a:cubicBezTo>
                  <a:cubicBezTo>
                    <a:pt x="42" y="153"/>
                    <a:pt x="42" y="153"/>
                    <a:pt x="42" y="153"/>
                  </a:cubicBezTo>
                  <a:cubicBezTo>
                    <a:pt x="43" y="153"/>
                    <a:pt x="43" y="153"/>
                    <a:pt x="44" y="153"/>
                  </a:cubicBezTo>
                  <a:cubicBezTo>
                    <a:pt x="48" y="153"/>
                    <a:pt x="51" y="155"/>
                    <a:pt x="51" y="158"/>
                  </a:cubicBezTo>
                  <a:cubicBezTo>
                    <a:pt x="52" y="162"/>
                    <a:pt x="52" y="162"/>
                    <a:pt x="52" y="162"/>
                  </a:cubicBezTo>
                  <a:cubicBezTo>
                    <a:pt x="53" y="166"/>
                    <a:pt x="56" y="168"/>
                    <a:pt x="60" y="168"/>
                  </a:cubicBezTo>
                  <a:cubicBezTo>
                    <a:pt x="61" y="168"/>
                    <a:pt x="63" y="168"/>
                    <a:pt x="64" y="167"/>
                  </a:cubicBezTo>
                  <a:cubicBezTo>
                    <a:pt x="67" y="164"/>
                    <a:pt x="67" y="164"/>
                    <a:pt x="67" y="164"/>
                  </a:cubicBezTo>
                  <a:cubicBezTo>
                    <a:pt x="69" y="163"/>
                    <a:pt x="70" y="163"/>
                    <a:pt x="72" y="163"/>
                  </a:cubicBezTo>
                  <a:cubicBezTo>
                    <a:pt x="74" y="163"/>
                    <a:pt x="77" y="164"/>
                    <a:pt x="78" y="166"/>
                  </a:cubicBezTo>
                  <a:cubicBezTo>
                    <a:pt x="80" y="170"/>
                    <a:pt x="80" y="170"/>
                    <a:pt x="80" y="170"/>
                  </a:cubicBezTo>
                  <a:cubicBezTo>
                    <a:pt x="82" y="172"/>
                    <a:pt x="84" y="173"/>
                    <a:pt x="87" y="173"/>
                  </a:cubicBezTo>
                  <a:cubicBezTo>
                    <a:pt x="89" y="173"/>
                    <a:pt x="91" y="172"/>
                    <a:pt x="93" y="170"/>
                  </a:cubicBezTo>
                  <a:cubicBezTo>
                    <a:pt x="95" y="166"/>
                    <a:pt x="95" y="166"/>
                    <a:pt x="95" y="166"/>
                  </a:cubicBezTo>
                  <a:cubicBezTo>
                    <a:pt x="97" y="164"/>
                    <a:pt x="99" y="163"/>
                    <a:pt x="101" y="163"/>
                  </a:cubicBezTo>
                  <a:cubicBezTo>
                    <a:pt x="103" y="163"/>
                    <a:pt x="105" y="163"/>
                    <a:pt x="106" y="164"/>
                  </a:cubicBezTo>
                  <a:cubicBezTo>
                    <a:pt x="109" y="167"/>
                    <a:pt x="109" y="167"/>
                    <a:pt x="109" y="167"/>
                  </a:cubicBezTo>
                  <a:cubicBezTo>
                    <a:pt x="111" y="168"/>
                    <a:pt x="112" y="168"/>
                    <a:pt x="114" y="168"/>
                  </a:cubicBezTo>
                  <a:cubicBezTo>
                    <a:pt x="117" y="168"/>
                    <a:pt x="120" y="166"/>
                    <a:pt x="121" y="162"/>
                  </a:cubicBezTo>
                  <a:cubicBezTo>
                    <a:pt x="122" y="158"/>
                    <a:pt x="122" y="158"/>
                    <a:pt x="122" y="158"/>
                  </a:cubicBezTo>
                  <a:cubicBezTo>
                    <a:pt x="123" y="155"/>
                    <a:pt x="126" y="153"/>
                    <a:pt x="129" y="153"/>
                  </a:cubicBezTo>
                  <a:cubicBezTo>
                    <a:pt x="130" y="153"/>
                    <a:pt x="131" y="153"/>
                    <a:pt x="131" y="153"/>
                  </a:cubicBezTo>
                  <a:cubicBezTo>
                    <a:pt x="135" y="154"/>
                    <a:pt x="135" y="154"/>
                    <a:pt x="135" y="154"/>
                  </a:cubicBezTo>
                  <a:cubicBezTo>
                    <a:pt x="136" y="154"/>
                    <a:pt x="137" y="154"/>
                    <a:pt x="137" y="154"/>
                  </a:cubicBezTo>
                  <a:cubicBezTo>
                    <a:pt x="142" y="154"/>
                    <a:pt x="145" y="151"/>
                    <a:pt x="145" y="146"/>
                  </a:cubicBezTo>
                  <a:cubicBezTo>
                    <a:pt x="144" y="142"/>
                    <a:pt x="144" y="142"/>
                    <a:pt x="144" y="142"/>
                  </a:cubicBezTo>
                  <a:cubicBezTo>
                    <a:pt x="144" y="138"/>
                    <a:pt x="147" y="134"/>
                    <a:pt x="151" y="134"/>
                  </a:cubicBezTo>
                  <a:cubicBezTo>
                    <a:pt x="155" y="133"/>
                    <a:pt x="155" y="133"/>
                    <a:pt x="155" y="133"/>
                  </a:cubicBezTo>
                  <a:cubicBezTo>
                    <a:pt x="161" y="133"/>
                    <a:pt x="164" y="127"/>
                    <a:pt x="162" y="123"/>
                  </a:cubicBezTo>
                  <a:cubicBezTo>
                    <a:pt x="160" y="119"/>
                    <a:pt x="160" y="119"/>
                    <a:pt x="160" y="119"/>
                  </a:cubicBezTo>
                  <a:cubicBezTo>
                    <a:pt x="158" y="115"/>
                    <a:pt x="160" y="110"/>
                    <a:pt x="164" y="109"/>
                  </a:cubicBezTo>
                  <a:cubicBezTo>
                    <a:pt x="167" y="107"/>
                    <a:pt x="167" y="107"/>
                    <a:pt x="167" y="107"/>
                  </a:cubicBezTo>
                  <a:cubicBezTo>
                    <a:pt x="172" y="105"/>
                    <a:pt x="173" y="99"/>
                    <a:pt x="170" y="95"/>
                  </a:cubicBezTo>
                  <a:cubicBezTo>
                    <a:pt x="167" y="92"/>
                    <a:pt x="167" y="92"/>
                    <a:pt x="167" y="92"/>
                  </a:cubicBezTo>
                  <a:cubicBezTo>
                    <a:pt x="163" y="89"/>
                    <a:pt x="163" y="84"/>
                    <a:pt x="167" y="81"/>
                  </a:cubicBezTo>
                  <a:cubicBezTo>
                    <a:pt x="170" y="78"/>
                    <a:pt x="170" y="78"/>
                    <a:pt x="170" y="78"/>
                  </a:cubicBezTo>
                  <a:cubicBezTo>
                    <a:pt x="173" y="75"/>
                    <a:pt x="172" y="68"/>
                    <a:pt x="167" y="66"/>
                  </a:cubicBezTo>
                  <a:cubicBezTo>
                    <a:pt x="164" y="64"/>
                    <a:pt x="164" y="64"/>
                    <a:pt x="164" y="64"/>
                  </a:cubicBezTo>
                  <a:cubicBezTo>
                    <a:pt x="160" y="63"/>
                    <a:pt x="158" y="58"/>
                    <a:pt x="160" y="54"/>
                  </a:cubicBezTo>
                  <a:cubicBezTo>
                    <a:pt x="162" y="50"/>
                    <a:pt x="162" y="50"/>
                    <a:pt x="162" y="50"/>
                  </a:cubicBezTo>
                  <a:cubicBezTo>
                    <a:pt x="164" y="46"/>
                    <a:pt x="161" y="40"/>
                    <a:pt x="155" y="40"/>
                  </a:cubicBezTo>
                  <a:cubicBezTo>
                    <a:pt x="151" y="39"/>
                    <a:pt x="151" y="39"/>
                    <a:pt x="151" y="39"/>
                  </a:cubicBezTo>
                  <a:cubicBezTo>
                    <a:pt x="147" y="39"/>
                    <a:pt x="144" y="35"/>
                    <a:pt x="144" y="31"/>
                  </a:cubicBezTo>
                  <a:cubicBezTo>
                    <a:pt x="145" y="27"/>
                    <a:pt x="145" y="27"/>
                    <a:pt x="145" y="27"/>
                  </a:cubicBezTo>
                  <a:cubicBezTo>
                    <a:pt x="145" y="22"/>
                    <a:pt x="142" y="19"/>
                    <a:pt x="137" y="19"/>
                  </a:cubicBezTo>
                  <a:cubicBezTo>
                    <a:pt x="137" y="19"/>
                    <a:pt x="136" y="19"/>
                    <a:pt x="135" y="19"/>
                  </a:cubicBezTo>
                  <a:cubicBezTo>
                    <a:pt x="131" y="20"/>
                    <a:pt x="131" y="20"/>
                    <a:pt x="131" y="20"/>
                  </a:cubicBezTo>
                  <a:cubicBezTo>
                    <a:pt x="131" y="20"/>
                    <a:pt x="130" y="20"/>
                    <a:pt x="129" y="20"/>
                  </a:cubicBezTo>
                  <a:cubicBezTo>
                    <a:pt x="126" y="20"/>
                    <a:pt x="123" y="18"/>
                    <a:pt x="122" y="15"/>
                  </a:cubicBezTo>
                  <a:cubicBezTo>
                    <a:pt x="121" y="11"/>
                    <a:pt x="121" y="11"/>
                    <a:pt x="121" y="11"/>
                  </a:cubicBezTo>
                  <a:cubicBezTo>
                    <a:pt x="120" y="7"/>
                    <a:pt x="117" y="5"/>
                    <a:pt x="114" y="5"/>
                  </a:cubicBezTo>
                  <a:cubicBezTo>
                    <a:pt x="112" y="5"/>
                    <a:pt x="111" y="5"/>
                    <a:pt x="109" y="6"/>
                  </a:cubicBezTo>
                  <a:cubicBezTo>
                    <a:pt x="106" y="9"/>
                    <a:pt x="106" y="9"/>
                    <a:pt x="106" y="9"/>
                  </a:cubicBezTo>
                  <a:cubicBezTo>
                    <a:pt x="105" y="10"/>
                    <a:pt x="103" y="10"/>
                    <a:pt x="101" y="10"/>
                  </a:cubicBezTo>
                  <a:cubicBezTo>
                    <a:pt x="99" y="10"/>
                    <a:pt x="97" y="9"/>
                    <a:pt x="95" y="7"/>
                  </a:cubicBezTo>
                  <a:cubicBezTo>
                    <a:pt x="93" y="4"/>
                    <a:pt x="93" y="4"/>
                    <a:pt x="93" y="4"/>
                  </a:cubicBezTo>
                  <a:cubicBezTo>
                    <a:pt x="91" y="1"/>
                    <a:pt x="89" y="0"/>
                    <a:pt x="87" y="0"/>
                  </a:cubicBezTo>
                  <a:close/>
                </a:path>
              </a:pathLst>
            </a:custGeom>
            <a:solidFill>
              <a:srgbClr val="FA870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09" name="îṣļîḑê">
              <a:extLst>
                <a:ext uri="{FF2B5EF4-FFF2-40B4-BE49-F238E27FC236}">
                  <a16:creationId xmlns:a16="http://schemas.microsoft.com/office/drawing/2014/main" id="{EBB4355E-747B-4F45-8B74-C3C0E8B5797E}"/>
                </a:ext>
              </a:extLst>
            </p:cNvPr>
            <p:cNvSpPr/>
            <p:nvPr/>
          </p:nvSpPr>
          <p:spPr bwMode="auto">
            <a:xfrm>
              <a:off x="5157788" y="3994150"/>
              <a:ext cx="1360488" cy="850900"/>
            </a:xfrm>
            <a:custGeom>
              <a:avLst/>
              <a:gdLst>
                <a:gd name="T0" fmla="*/ 357 w 362"/>
                <a:gd name="T1" fmla="*/ 108 h 226"/>
                <a:gd name="T2" fmla="*/ 342 w 362"/>
                <a:gd name="T3" fmla="*/ 76 h 226"/>
                <a:gd name="T4" fmla="*/ 200 w 362"/>
                <a:gd name="T5" fmla="*/ 27 h 226"/>
                <a:gd name="T6" fmla="*/ 199 w 362"/>
                <a:gd name="T7" fmla="*/ 27 h 226"/>
                <a:gd name="T8" fmla="*/ 187 w 362"/>
                <a:gd name="T9" fmla="*/ 22 h 226"/>
                <a:gd name="T10" fmla="*/ 34 w 362"/>
                <a:gd name="T11" fmla="*/ 95 h 226"/>
                <a:gd name="T12" fmla="*/ 0 w 362"/>
                <a:gd name="T13" fmla="*/ 191 h 226"/>
                <a:gd name="T14" fmla="*/ 32 w 362"/>
                <a:gd name="T15" fmla="*/ 203 h 226"/>
                <a:gd name="T16" fmla="*/ 190 w 362"/>
                <a:gd name="T17" fmla="*/ 128 h 226"/>
                <a:gd name="T18" fmla="*/ 192 w 362"/>
                <a:gd name="T19" fmla="*/ 123 h 226"/>
                <a:gd name="T20" fmla="*/ 221 w 362"/>
                <a:gd name="T21" fmla="*/ 109 h 226"/>
                <a:gd name="T22" fmla="*/ 299 w 362"/>
                <a:gd name="T23" fmla="*/ 136 h 226"/>
                <a:gd name="T24" fmla="*/ 357 w 362"/>
                <a:gd name="T25" fmla="*/ 108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62" h="226">
                  <a:moveTo>
                    <a:pt x="357" y="108"/>
                  </a:moveTo>
                  <a:cubicBezTo>
                    <a:pt x="362" y="95"/>
                    <a:pt x="355" y="81"/>
                    <a:pt x="342" y="76"/>
                  </a:cubicBezTo>
                  <a:cubicBezTo>
                    <a:pt x="200" y="27"/>
                    <a:pt x="200" y="27"/>
                    <a:pt x="200" y="27"/>
                  </a:cubicBezTo>
                  <a:cubicBezTo>
                    <a:pt x="199" y="27"/>
                    <a:pt x="199" y="27"/>
                    <a:pt x="199" y="27"/>
                  </a:cubicBezTo>
                  <a:cubicBezTo>
                    <a:pt x="187" y="22"/>
                    <a:pt x="187" y="22"/>
                    <a:pt x="187" y="22"/>
                  </a:cubicBezTo>
                  <a:cubicBezTo>
                    <a:pt x="124" y="0"/>
                    <a:pt x="56" y="33"/>
                    <a:pt x="34" y="95"/>
                  </a:cubicBezTo>
                  <a:cubicBezTo>
                    <a:pt x="0" y="191"/>
                    <a:pt x="0" y="191"/>
                    <a:pt x="0" y="191"/>
                  </a:cubicBezTo>
                  <a:cubicBezTo>
                    <a:pt x="32" y="203"/>
                    <a:pt x="32" y="203"/>
                    <a:pt x="32" y="203"/>
                  </a:cubicBezTo>
                  <a:cubicBezTo>
                    <a:pt x="97" y="226"/>
                    <a:pt x="167" y="192"/>
                    <a:pt x="190" y="128"/>
                  </a:cubicBezTo>
                  <a:cubicBezTo>
                    <a:pt x="192" y="123"/>
                    <a:pt x="192" y="123"/>
                    <a:pt x="192" y="123"/>
                  </a:cubicBezTo>
                  <a:cubicBezTo>
                    <a:pt x="196" y="111"/>
                    <a:pt x="209" y="105"/>
                    <a:pt x="221" y="109"/>
                  </a:cubicBezTo>
                  <a:cubicBezTo>
                    <a:pt x="299" y="136"/>
                    <a:pt x="299" y="136"/>
                    <a:pt x="299" y="136"/>
                  </a:cubicBezTo>
                  <a:cubicBezTo>
                    <a:pt x="323" y="144"/>
                    <a:pt x="349" y="132"/>
                    <a:pt x="357" y="108"/>
                  </a:cubicBezTo>
                </a:path>
              </a:pathLst>
            </a:custGeom>
            <a:solidFill>
              <a:srgbClr val="96502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10" name="îṣlîdè">
              <a:extLst>
                <a:ext uri="{FF2B5EF4-FFF2-40B4-BE49-F238E27FC236}">
                  <a16:creationId xmlns:a16="http://schemas.microsoft.com/office/drawing/2014/main" id="{AF0F8B16-2EE1-4390-8C5F-DBF357EF1CCB}"/>
                </a:ext>
              </a:extLst>
            </p:cNvPr>
            <p:cNvSpPr/>
            <p:nvPr/>
          </p:nvSpPr>
          <p:spPr bwMode="auto">
            <a:xfrm>
              <a:off x="6556376" y="3963988"/>
              <a:ext cx="1243013" cy="1052513"/>
            </a:xfrm>
            <a:custGeom>
              <a:avLst/>
              <a:gdLst>
                <a:gd name="T0" fmla="*/ 156 w 783"/>
                <a:gd name="T1" fmla="*/ 663 h 663"/>
                <a:gd name="T2" fmla="*/ 783 w 783"/>
                <a:gd name="T3" fmla="*/ 441 h 663"/>
                <a:gd name="T4" fmla="*/ 627 w 783"/>
                <a:gd name="T5" fmla="*/ 0 h 663"/>
                <a:gd name="T6" fmla="*/ 0 w 783"/>
                <a:gd name="T7" fmla="*/ 223 h 663"/>
                <a:gd name="T8" fmla="*/ 156 w 783"/>
                <a:gd name="T9" fmla="*/ 663 h 663"/>
              </a:gdLst>
              <a:ahLst/>
              <a:cxnLst>
                <a:cxn ang="0">
                  <a:pos x="T0" y="T1"/>
                </a:cxn>
                <a:cxn ang="0">
                  <a:pos x="T2" y="T3"/>
                </a:cxn>
                <a:cxn ang="0">
                  <a:pos x="T4" y="T5"/>
                </a:cxn>
                <a:cxn ang="0">
                  <a:pos x="T6" y="T7"/>
                </a:cxn>
                <a:cxn ang="0">
                  <a:pos x="T8" y="T9"/>
                </a:cxn>
              </a:cxnLst>
              <a:rect l="0" t="0" r="r" b="b"/>
              <a:pathLst>
                <a:path w="783" h="663">
                  <a:moveTo>
                    <a:pt x="156" y="663"/>
                  </a:moveTo>
                  <a:lnTo>
                    <a:pt x="783" y="441"/>
                  </a:lnTo>
                  <a:lnTo>
                    <a:pt x="627" y="0"/>
                  </a:lnTo>
                  <a:lnTo>
                    <a:pt x="0" y="223"/>
                  </a:lnTo>
                  <a:lnTo>
                    <a:pt x="156" y="663"/>
                  </a:lnTo>
                  <a:close/>
                </a:path>
              </a:pathLst>
            </a:custGeom>
            <a:solidFill>
              <a:srgbClr val="FFA65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11" name="ïšľide">
              <a:extLst>
                <a:ext uri="{FF2B5EF4-FFF2-40B4-BE49-F238E27FC236}">
                  <a16:creationId xmlns:a16="http://schemas.microsoft.com/office/drawing/2014/main" id="{0B6EECC1-A081-4177-98A9-DBFBCBAA3938}"/>
                </a:ext>
              </a:extLst>
            </p:cNvPr>
            <p:cNvSpPr/>
            <p:nvPr/>
          </p:nvSpPr>
          <p:spPr bwMode="auto">
            <a:xfrm>
              <a:off x="6556376" y="3963988"/>
              <a:ext cx="1243013" cy="1052513"/>
            </a:xfrm>
            <a:custGeom>
              <a:avLst/>
              <a:gdLst>
                <a:gd name="T0" fmla="*/ 156 w 783"/>
                <a:gd name="T1" fmla="*/ 663 h 663"/>
                <a:gd name="T2" fmla="*/ 783 w 783"/>
                <a:gd name="T3" fmla="*/ 441 h 663"/>
                <a:gd name="T4" fmla="*/ 627 w 783"/>
                <a:gd name="T5" fmla="*/ 0 h 663"/>
                <a:gd name="T6" fmla="*/ 0 w 783"/>
                <a:gd name="T7" fmla="*/ 223 h 663"/>
                <a:gd name="T8" fmla="*/ 156 w 783"/>
                <a:gd name="T9" fmla="*/ 663 h 663"/>
              </a:gdLst>
              <a:ahLst/>
              <a:cxnLst>
                <a:cxn ang="0">
                  <a:pos x="T0" y="T1"/>
                </a:cxn>
                <a:cxn ang="0">
                  <a:pos x="T2" y="T3"/>
                </a:cxn>
                <a:cxn ang="0">
                  <a:pos x="T4" y="T5"/>
                </a:cxn>
                <a:cxn ang="0">
                  <a:pos x="T6" y="T7"/>
                </a:cxn>
                <a:cxn ang="0">
                  <a:pos x="T8" y="T9"/>
                </a:cxn>
              </a:cxnLst>
              <a:rect l="0" t="0" r="r" b="b"/>
              <a:pathLst>
                <a:path w="783" h="663">
                  <a:moveTo>
                    <a:pt x="156" y="663"/>
                  </a:moveTo>
                  <a:lnTo>
                    <a:pt x="783" y="441"/>
                  </a:lnTo>
                  <a:lnTo>
                    <a:pt x="627" y="0"/>
                  </a:lnTo>
                  <a:lnTo>
                    <a:pt x="0" y="223"/>
                  </a:lnTo>
                  <a:lnTo>
                    <a:pt x="156" y="66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12" name="ïṡḷíḍé">
              <a:extLst>
                <a:ext uri="{FF2B5EF4-FFF2-40B4-BE49-F238E27FC236}">
                  <a16:creationId xmlns:a16="http://schemas.microsoft.com/office/drawing/2014/main" id="{2EE00AED-F898-4188-A0F4-F61E38CFD8E6}"/>
                </a:ext>
              </a:extLst>
            </p:cNvPr>
            <p:cNvSpPr/>
            <p:nvPr/>
          </p:nvSpPr>
          <p:spPr bwMode="auto">
            <a:xfrm>
              <a:off x="7034213" y="3875088"/>
              <a:ext cx="784225" cy="1017588"/>
            </a:xfrm>
            <a:custGeom>
              <a:avLst/>
              <a:gdLst>
                <a:gd name="T0" fmla="*/ 187 w 494"/>
                <a:gd name="T1" fmla="*/ 641 h 641"/>
                <a:gd name="T2" fmla="*/ 494 w 494"/>
                <a:gd name="T3" fmla="*/ 532 h 641"/>
                <a:gd name="T4" fmla="*/ 307 w 494"/>
                <a:gd name="T5" fmla="*/ 0 h 641"/>
                <a:gd name="T6" fmla="*/ 0 w 494"/>
                <a:gd name="T7" fmla="*/ 109 h 641"/>
                <a:gd name="T8" fmla="*/ 187 w 494"/>
                <a:gd name="T9" fmla="*/ 641 h 641"/>
              </a:gdLst>
              <a:ahLst/>
              <a:cxnLst>
                <a:cxn ang="0">
                  <a:pos x="T0" y="T1"/>
                </a:cxn>
                <a:cxn ang="0">
                  <a:pos x="T2" y="T3"/>
                </a:cxn>
                <a:cxn ang="0">
                  <a:pos x="T4" y="T5"/>
                </a:cxn>
                <a:cxn ang="0">
                  <a:pos x="T6" y="T7"/>
                </a:cxn>
                <a:cxn ang="0">
                  <a:pos x="T8" y="T9"/>
                </a:cxn>
              </a:cxnLst>
              <a:rect l="0" t="0" r="r" b="b"/>
              <a:pathLst>
                <a:path w="494" h="641">
                  <a:moveTo>
                    <a:pt x="187" y="641"/>
                  </a:moveTo>
                  <a:lnTo>
                    <a:pt x="494" y="532"/>
                  </a:lnTo>
                  <a:lnTo>
                    <a:pt x="307" y="0"/>
                  </a:lnTo>
                  <a:lnTo>
                    <a:pt x="0" y="109"/>
                  </a:lnTo>
                  <a:lnTo>
                    <a:pt x="187" y="641"/>
                  </a:lnTo>
                  <a:close/>
                </a:path>
              </a:pathLst>
            </a:custGeom>
            <a:solidFill>
              <a:srgbClr val="E4F2F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13" name="íS1ídê">
              <a:extLst>
                <a:ext uri="{FF2B5EF4-FFF2-40B4-BE49-F238E27FC236}">
                  <a16:creationId xmlns:a16="http://schemas.microsoft.com/office/drawing/2014/main" id="{CA8FB1C3-63A6-4696-A928-790536CA8895}"/>
                </a:ext>
              </a:extLst>
            </p:cNvPr>
            <p:cNvSpPr/>
            <p:nvPr/>
          </p:nvSpPr>
          <p:spPr bwMode="auto">
            <a:xfrm>
              <a:off x="7318376" y="3543300"/>
              <a:ext cx="1357313" cy="1274763"/>
            </a:xfrm>
            <a:custGeom>
              <a:avLst/>
              <a:gdLst>
                <a:gd name="T0" fmla="*/ 855 w 855"/>
                <a:gd name="T1" fmla="*/ 571 h 803"/>
                <a:gd name="T2" fmla="*/ 202 w 855"/>
                <a:gd name="T3" fmla="*/ 803 h 803"/>
                <a:gd name="T4" fmla="*/ 0 w 855"/>
                <a:gd name="T5" fmla="*/ 232 h 803"/>
                <a:gd name="T6" fmla="*/ 651 w 855"/>
                <a:gd name="T7" fmla="*/ 0 h 803"/>
                <a:gd name="T8" fmla="*/ 855 w 855"/>
                <a:gd name="T9" fmla="*/ 571 h 803"/>
              </a:gdLst>
              <a:ahLst/>
              <a:cxnLst>
                <a:cxn ang="0">
                  <a:pos x="T0" y="T1"/>
                </a:cxn>
                <a:cxn ang="0">
                  <a:pos x="T2" y="T3"/>
                </a:cxn>
                <a:cxn ang="0">
                  <a:pos x="T4" y="T5"/>
                </a:cxn>
                <a:cxn ang="0">
                  <a:pos x="T6" y="T7"/>
                </a:cxn>
                <a:cxn ang="0">
                  <a:pos x="T8" y="T9"/>
                </a:cxn>
              </a:cxnLst>
              <a:rect l="0" t="0" r="r" b="b"/>
              <a:pathLst>
                <a:path w="855" h="803">
                  <a:moveTo>
                    <a:pt x="855" y="571"/>
                  </a:moveTo>
                  <a:lnTo>
                    <a:pt x="202" y="803"/>
                  </a:lnTo>
                  <a:lnTo>
                    <a:pt x="0" y="232"/>
                  </a:lnTo>
                  <a:lnTo>
                    <a:pt x="651" y="0"/>
                  </a:lnTo>
                  <a:lnTo>
                    <a:pt x="855" y="571"/>
                  </a:lnTo>
                  <a:close/>
                </a:path>
              </a:pathLst>
            </a:custGeom>
            <a:solidFill>
              <a:srgbClr val="3C698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14" name="isļíďe">
              <a:extLst>
                <a:ext uri="{FF2B5EF4-FFF2-40B4-BE49-F238E27FC236}">
                  <a16:creationId xmlns:a16="http://schemas.microsoft.com/office/drawing/2014/main" id="{4E5DE85E-641F-4418-B43D-5AF4E9ABAD05}"/>
                </a:ext>
              </a:extLst>
            </p:cNvPr>
            <p:cNvSpPr/>
            <p:nvPr/>
          </p:nvSpPr>
          <p:spPr bwMode="auto">
            <a:xfrm>
              <a:off x="7480301" y="3998913"/>
              <a:ext cx="1195388" cy="819150"/>
            </a:xfrm>
            <a:custGeom>
              <a:avLst/>
              <a:gdLst>
                <a:gd name="T0" fmla="*/ 753 w 753"/>
                <a:gd name="T1" fmla="*/ 284 h 516"/>
                <a:gd name="T2" fmla="*/ 100 w 753"/>
                <a:gd name="T3" fmla="*/ 516 h 516"/>
                <a:gd name="T4" fmla="*/ 0 w 753"/>
                <a:gd name="T5" fmla="*/ 229 h 516"/>
                <a:gd name="T6" fmla="*/ 651 w 753"/>
                <a:gd name="T7" fmla="*/ 0 h 516"/>
                <a:gd name="T8" fmla="*/ 753 w 753"/>
                <a:gd name="T9" fmla="*/ 284 h 516"/>
              </a:gdLst>
              <a:ahLst/>
              <a:cxnLst>
                <a:cxn ang="0">
                  <a:pos x="T0" y="T1"/>
                </a:cxn>
                <a:cxn ang="0">
                  <a:pos x="T2" y="T3"/>
                </a:cxn>
                <a:cxn ang="0">
                  <a:pos x="T4" y="T5"/>
                </a:cxn>
                <a:cxn ang="0">
                  <a:pos x="T6" y="T7"/>
                </a:cxn>
                <a:cxn ang="0">
                  <a:pos x="T8" y="T9"/>
                </a:cxn>
              </a:cxnLst>
              <a:rect l="0" t="0" r="r" b="b"/>
              <a:pathLst>
                <a:path w="753" h="516">
                  <a:moveTo>
                    <a:pt x="753" y="284"/>
                  </a:moveTo>
                  <a:lnTo>
                    <a:pt x="100" y="516"/>
                  </a:lnTo>
                  <a:lnTo>
                    <a:pt x="0" y="229"/>
                  </a:lnTo>
                  <a:lnTo>
                    <a:pt x="651" y="0"/>
                  </a:lnTo>
                  <a:lnTo>
                    <a:pt x="753" y="284"/>
                  </a:lnTo>
                  <a:close/>
                </a:path>
              </a:pathLst>
            </a:custGeom>
            <a:solidFill>
              <a:srgbClr val="365E7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15" name="íṡļïḓé">
              <a:extLst>
                <a:ext uri="{FF2B5EF4-FFF2-40B4-BE49-F238E27FC236}">
                  <a16:creationId xmlns:a16="http://schemas.microsoft.com/office/drawing/2014/main" id="{A5050E83-EE5D-4D20-A7B0-759390670216}"/>
                </a:ext>
              </a:extLst>
            </p:cNvPr>
            <p:cNvSpPr/>
            <p:nvPr/>
          </p:nvSpPr>
          <p:spPr bwMode="auto">
            <a:xfrm>
              <a:off x="5715001" y="4106863"/>
              <a:ext cx="1393825" cy="1365250"/>
            </a:xfrm>
            <a:custGeom>
              <a:avLst/>
              <a:gdLst>
                <a:gd name="T0" fmla="*/ 299 w 371"/>
                <a:gd name="T1" fmla="*/ 30 h 363"/>
                <a:gd name="T2" fmla="*/ 278 w 371"/>
                <a:gd name="T3" fmla="*/ 6 h 363"/>
                <a:gd name="T4" fmla="*/ 245 w 371"/>
                <a:gd name="T5" fmla="*/ 4 h 363"/>
                <a:gd name="T6" fmla="*/ 0 w 371"/>
                <a:gd name="T7" fmla="*/ 93 h 363"/>
                <a:gd name="T8" fmla="*/ 104 w 371"/>
                <a:gd name="T9" fmla="*/ 363 h 363"/>
                <a:gd name="T10" fmla="*/ 314 w 371"/>
                <a:gd name="T11" fmla="*/ 289 h 363"/>
                <a:gd name="T12" fmla="*/ 358 w 371"/>
                <a:gd name="T13" fmla="*/ 197 h 363"/>
                <a:gd name="T14" fmla="*/ 299 w 371"/>
                <a:gd name="T15" fmla="*/ 30 h 36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71" h="363">
                  <a:moveTo>
                    <a:pt x="299" y="30"/>
                  </a:moveTo>
                  <a:cubicBezTo>
                    <a:pt x="295" y="19"/>
                    <a:pt x="288" y="10"/>
                    <a:pt x="278" y="6"/>
                  </a:cubicBezTo>
                  <a:cubicBezTo>
                    <a:pt x="267" y="1"/>
                    <a:pt x="256" y="0"/>
                    <a:pt x="245" y="4"/>
                  </a:cubicBezTo>
                  <a:cubicBezTo>
                    <a:pt x="0" y="93"/>
                    <a:pt x="0" y="93"/>
                    <a:pt x="0" y="93"/>
                  </a:cubicBezTo>
                  <a:cubicBezTo>
                    <a:pt x="104" y="363"/>
                    <a:pt x="104" y="363"/>
                    <a:pt x="104" y="363"/>
                  </a:cubicBezTo>
                  <a:cubicBezTo>
                    <a:pt x="314" y="289"/>
                    <a:pt x="314" y="289"/>
                    <a:pt x="314" y="289"/>
                  </a:cubicBezTo>
                  <a:cubicBezTo>
                    <a:pt x="352" y="275"/>
                    <a:pt x="371" y="234"/>
                    <a:pt x="358" y="197"/>
                  </a:cubicBezTo>
                  <a:cubicBezTo>
                    <a:pt x="299" y="30"/>
                    <a:pt x="299" y="30"/>
                    <a:pt x="299" y="30"/>
                  </a:cubicBezTo>
                </a:path>
              </a:pathLst>
            </a:custGeom>
            <a:solidFill>
              <a:srgbClr val="FFA65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16" name="ísḷîḑê">
              <a:extLst>
                <a:ext uri="{FF2B5EF4-FFF2-40B4-BE49-F238E27FC236}">
                  <a16:creationId xmlns:a16="http://schemas.microsoft.com/office/drawing/2014/main" id="{92713057-C810-4F30-BB18-ABFDF84249AA}"/>
                </a:ext>
              </a:extLst>
            </p:cNvPr>
            <p:cNvSpPr/>
            <p:nvPr/>
          </p:nvSpPr>
          <p:spPr bwMode="auto">
            <a:xfrm>
              <a:off x="6048376" y="4686300"/>
              <a:ext cx="1060450" cy="785813"/>
            </a:xfrm>
            <a:custGeom>
              <a:avLst/>
              <a:gdLst>
                <a:gd name="T0" fmla="*/ 269 w 282"/>
                <a:gd name="T1" fmla="*/ 43 h 209"/>
                <a:gd name="T2" fmla="*/ 253 w 282"/>
                <a:gd name="T3" fmla="*/ 0 h 209"/>
                <a:gd name="T4" fmla="*/ 209 w 282"/>
                <a:gd name="T5" fmla="*/ 92 h 209"/>
                <a:gd name="T6" fmla="*/ 0 w 282"/>
                <a:gd name="T7" fmla="*/ 166 h 209"/>
                <a:gd name="T8" fmla="*/ 15 w 282"/>
                <a:gd name="T9" fmla="*/ 209 h 209"/>
                <a:gd name="T10" fmla="*/ 225 w 282"/>
                <a:gd name="T11" fmla="*/ 135 h 209"/>
                <a:gd name="T12" fmla="*/ 269 w 282"/>
                <a:gd name="T13" fmla="*/ 43 h 209"/>
              </a:gdLst>
              <a:ahLst/>
              <a:cxnLst>
                <a:cxn ang="0">
                  <a:pos x="T0" y="T1"/>
                </a:cxn>
                <a:cxn ang="0">
                  <a:pos x="T2" y="T3"/>
                </a:cxn>
                <a:cxn ang="0">
                  <a:pos x="T4" y="T5"/>
                </a:cxn>
                <a:cxn ang="0">
                  <a:pos x="T6" y="T7"/>
                </a:cxn>
                <a:cxn ang="0">
                  <a:pos x="T8" y="T9"/>
                </a:cxn>
                <a:cxn ang="0">
                  <a:pos x="T10" y="T11"/>
                </a:cxn>
                <a:cxn ang="0">
                  <a:pos x="T12" y="T13"/>
                </a:cxn>
              </a:cxnLst>
              <a:rect l="0" t="0" r="r" b="b"/>
              <a:pathLst>
                <a:path w="282" h="209">
                  <a:moveTo>
                    <a:pt x="269" y="43"/>
                  </a:moveTo>
                  <a:cubicBezTo>
                    <a:pt x="253" y="0"/>
                    <a:pt x="253" y="0"/>
                    <a:pt x="253" y="0"/>
                  </a:cubicBezTo>
                  <a:cubicBezTo>
                    <a:pt x="267" y="37"/>
                    <a:pt x="247" y="78"/>
                    <a:pt x="209" y="92"/>
                  </a:cubicBezTo>
                  <a:cubicBezTo>
                    <a:pt x="0" y="166"/>
                    <a:pt x="0" y="166"/>
                    <a:pt x="0" y="166"/>
                  </a:cubicBezTo>
                  <a:cubicBezTo>
                    <a:pt x="15" y="209"/>
                    <a:pt x="15" y="209"/>
                    <a:pt x="15" y="209"/>
                  </a:cubicBezTo>
                  <a:cubicBezTo>
                    <a:pt x="225" y="135"/>
                    <a:pt x="225" y="135"/>
                    <a:pt x="225" y="135"/>
                  </a:cubicBezTo>
                  <a:cubicBezTo>
                    <a:pt x="263" y="122"/>
                    <a:pt x="282" y="80"/>
                    <a:pt x="269" y="43"/>
                  </a:cubicBezTo>
                  <a:close/>
                </a:path>
              </a:pathLst>
            </a:custGeom>
            <a:solidFill>
              <a:srgbClr val="ED9A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17" name="iṧ1iḋé">
              <a:extLst>
                <a:ext uri="{FF2B5EF4-FFF2-40B4-BE49-F238E27FC236}">
                  <a16:creationId xmlns:a16="http://schemas.microsoft.com/office/drawing/2014/main" id="{1E4BC481-8E25-49E2-8EE0-A8647BBF1C48}"/>
                </a:ext>
              </a:extLst>
            </p:cNvPr>
            <p:cNvSpPr/>
            <p:nvPr/>
          </p:nvSpPr>
          <p:spPr bwMode="auto">
            <a:xfrm>
              <a:off x="5751513" y="4911725"/>
              <a:ext cx="793750" cy="631825"/>
            </a:xfrm>
            <a:custGeom>
              <a:avLst/>
              <a:gdLst>
                <a:gd name="T0" fmla="*/ 176 w 211"/>
                <a:gd name="T1" fmla="*/ 166 h 168"/>
                <a:gd name="T2" fmla="*/ 151 w 211"/>
                <a:gd name="T3" fmla="*/ 160 h 168"/>
                <a:gd name="T4" fmla="*/ 19 w 211"/>
                <a:gd name="T5" fmla="*/ 68 h 168"/>
                <a:gd name="T6" fmla="*/ 11 w 211"/>
                <a:gd name="T7" fmla="*/ 20 h 168"/>
                <a:gd name="T8" fmla="*/ 59 w 211"/>
                <a:gd name="T9" fmla="*/ 11 h 168"/>
                <a:gd name="T10" fmla="*/ 191 w 211"/>
                <a:gd name="T11" fmla="*/ 103 h 168"/>
                <a:gd name="T12" fmla="*/ 199 w 211"/>
                <a:gd name="T13" fmla="*/ 152 h 168"/>
                <a:gd name="T14" fmla="*/ 176 w 211"/>
                <a:gd name="T15" fmla="*/ 166 h 1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1" h="168">
                  <a:moveTo>
                    <a:pt x="176" y="166"/>
                  </a:moveTo>
                  <a:cubicBezTo>
                    <a:pt x="167" y="168"/>
                    <a:pt x="158" y="166"/>
                    <a:pt x="151" y="160"/>
                  </a:cubicBezTo>
                  <a:cubicBezTo>
                    <a:pt x="19" y="68"/>
                    <a:pt x="19" y="68"/>
                    <a:pt x="19" y="68"/>
                  </a:cubicBezTo>
                  <a:cubicBezTo>
                    <a:pt x="3" y="57"/>
                    <a:pt x="0" y="36"/>
                    <a:pt x="11" y="20"/>
                  </a:cubicBezTo>
                  <a:cubicBezTo>
                    <a:pt x="22" y="4"/>
                    <a:pt x="44" y="0"/>
                    <a:pt x="59" y="11"/>
                  </a:cubicBezTo>
                  <a:cubicBezTo>
                    <a:pt x="191" y="103"/>
                    <a:pt x="191" y="103"/>
                    <a:pt x="191" y="103"/>
                  </a:cubicBezTo>
                  <a:cubicBezTo>
                    <a:pt x="207" y="114"/>
                    <a:pt x="211" y="136"/>
                    <a:pt x="199" y="152"/>
                  </a:cubicBezTo>
                  <a:cubicBezTo>
                    <a:pt x="194" y="160"/>
                    <a:pt x="185" y="165"/>
                    <a:pt x="176" y="166"/>
                  </a:cubicBezTo>
                  <a:close/>
                </a:path>
              </a:pathLst>
            </a:custGeom>
            <a:solidFill>
              <a:srgbClr val="96502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18" name="î$liḋè">
              <a:extLst>
                <a:ext uri="{FF2B5EF4-FFF2-40B4-BE49-F238E27FC236}">
                  <a16:creationId xmlns:a16="http://schemas.microsoft.com/office/drawing/2014/main" id="{DE97400A-15A6-4FFF-9526-1311C24D1951}"/>
                </a:ext>
              </a:extLst>
            </p:cNvPr>
            <p:cNvSpPr/>
            <p:nvPr/>
          </p:nvSpPr>
          <p:spPr bwMode="auto">
            <a:xfrm>
              <a:off x="5751513" y="4941888"/>
              <a:ext cx="755650" cy="601663"/>
            </a:xfrm>
            <a:custGeom>
              <a:avLst/>
              <a:gdLst>
                <a:gd name="T0" fmla="*/ 192 w 201"/>
                <a:gd name="T1" fmla="*/ 144 h 160"/>
                <a:gd name="T2" fmla="*/ 166 w 201"/>
                <a:gd name="T3" fmla="*/ 138 h 160"/>
                <a:gd name="T4" fmla="*/ 35 w 201"/>
                <a:gd name="T5" fmla="*/ 46 h 160"/>
                <a:gd name="T6" fmla="*/ 24 w 201"/>
                <a:gd name="T7" fmla="*/ 0 h 160"/>
                <a:gd name="T8" fmla="*/ 11 w 201"/>
                <a:gd name="T9" fmla="*/ 12 h 160"/>
                <a:gd name="T10" fmla="*/ 19 w 201"/>
                <a:gd name="T11" fmla="*/ 60 h 160"/>
                <a:gd name="T12" fmla="*/ 151 w 201"/>
                <a:gd name="T13" fmla="*/ 152 h 160"/>
                <a:gd name="T14" fmla="*/ 176 w 201"/>
                <a:gd name="T15" fmla="*/ 158 h 160"/>
                <a:gd name="T16" fmla="*/ 199 w 201"/>
                <a:gd name="T17" fmla="*/ 144 h 160"/>
                <a:gd name="T18" fmla="*/ 201 w 201"/>
                <a:gd name="T19" fmla="*/ 141 h 160"/>
                <a:gd name="T20" fmla="*/ 192 w 201"/>
                <a:gd name="T21" fmla="*/ 144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1" h="160">
                  <a:moveTo>
                    <a:pt x="192" y="144"/>
                  </a:moveTo>
                  <a:cubicBezTo>
                    <a:pt x="183" y="145"/>
                    <a:pt x="174" y="143"/>
                    <a:pt x="166" y="138"/>
                  </a:cubicBezTo>
                  <a:cubicBezTo>
                    <a:pt x="35" y="46"/>
                    <a:pt x="35" y="46"/>
                    <a:pt x="35" y="46"/>
                  </a:cubicBezTo>
                  <a:cubicBezTo>
                    <a:pt x="20" y="36"/>
                    <a:pt x="16" y="16"/>
                    <a:pt x="24" y="0"/>
                  </a:cubicBezTo>
                  <a:cubicBezTo>
                    <a:pt x="19" y="3"/>
                    <a:pt x="14" y="6"/>
                    <a:pt x="11" y="12"/>
                  </a:cubicBezTo>
                  <a:cubicBezTo>
                    <a:pt x="0" y="28"/>
                    <a:pt x="3" y="49"/>
                    <a:pt x="19" y="60"/>
                  </a:cubicBezTo>
                  <a:cubicBezTo>
                    <a:pt x="151" y="152"/>
                    <a:pt x="151" y="152"/>
                    <a:pt x="151" y="152"/>
                  </a:cubicBezTo>
                  <a:cubicBezTo>
                    <a:pt x="158" y="158"/>
                    <a:pt x="167" y="160"/>
                    <a:pt x="176" y="158"/>
                  </a:cubicBezTo>
                  <a:cubicBezTo>
                    <a:pt x="185" y="157"/>
                    <a:pt x="194" y="152"/>
                    <a:pt x="199" y="144"/>
                  </a:cubicBezTo>
                  <a:cubicBezTo>
                    <a:pt x="200" y="143"/>
                    <a:pt x="201" y="142"/>
                    <a:pt x="201" y="141"/>
                  </a:cubicBezTo>
                  <a:cubicBezTo>
                    <a:pt x="198" y="142"/>
                    <a:pt x="195" y="143"/>
                    <a:pt x="192" y="144"/>
                  </a:cubicBezTo>
                  <a:close/>
                </a:path>
              </a:pathLst>
            </a:custGeom>
            <a:solidFill>
              <a:srgbClr val="8A492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19" name="ïṡļíḑe">
              <a:extLst>
                <a:ext uri="{FF2B5EF4-FFF2-40B4-BE49-F238E27FC236}">
                  <a16:creationId xmlns:a16="http://schemas.microsoft.com/office/drawing/2014/main" id="{6FDA8AC2-B3F7-4F91-8327-FD7931595243}"/>
                </a:ext>
              </a:extLst>
            </p:cNvPr>
            <p:cNvSpPr/>
            <p:nvPr/>
          </p:nvSpPr>
          <p:spPr bwMode="auto">
            <a:xfrm>
              <a:off x="6011863" y="4730750"/>
              <a:ext cx="792163" cy="628650"/>
            </a:xfrm>
            <a:custGeom>
              <a:avLst/>
              <a:gdLst>
                <a:gd name="T0" fmla="*/ 176 w 211"/>
                <a:gd name="T1" fmla="*/ 166 h 167"/>
                <a:gd name="T2" fmla="*/ 151 w 211"/>
                <a:gd name="T3" fmla="*/ 160 h 167"/>
                <a:gd name="T4" fmla="*/ 19 w 211"/>
                <a:gd name="T5" fmla="*/ 68 h 167"/>
                <a:gd name="T6" fmla="*/ 11 w 211"/>
                <a:gd name="T7" fmla="*/ 19 h 167"/>
                <a:gd name="T8" fmla="*/ 60 w 211"/>
                <a:gd name="T9" fmla="*/ 11 h 167"/>
                <a:gd name="T10" fmla="*/ 191 w 211"/>
                <a:gd name="T11" fmla="*/ 103 h 167"/>
                <a:gd name="T12" fmla="*/ 200 w 211"/>
                <a:gd name="T13" fmla="*/ 152 h 167"/>
                <a:gd name="T14" fmla="*/ 176 w 211"/>
                <a:gd name="T15" fmla="*/ 166 h 16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1" h="167">
                  <a:moveTo>
                    <a:pt x="176" y="166"/>
                  </a:moveTo>
                  <a:cubicBezTo>
                    <a:pt x="168" y="167"/>
                    <a:pt x="159" y="166"/>
                    <a:pt x="151" y="160"/>
                  </a:cubicBezTo>
                  <a:cubicBezTo>
                    <a:pt x="19" y="68"/>
                    <a:pt x="19" y="68"/>
                    <a:pt x="19" y="68"/>
                  </a:cubicBezTo>
                  <a:cubicBezTo>
                    <a:pt x="4" y="57"/>
                    <a:pt x="0" y="35"/>
                    <a:pt x="11" y="19"/>
                  </a:cubicBezTo>
                  <a:cubicBezTo>
                    <a:pt x="22" y="4"/>
                    <a:pt x="44" y="0"/>
                    <a:pt x="60" y="11"/>
                  </a:cubicBezTo>
                  <a:cubicBezTo>
                    <a:pt x="191" y="103"/>
                    <a:pt x="191" y="103"/>
                    <a:pt x="191" y="103"/>
                  </a:cubicBezTo>
                  <a:cubicBezTo>
                    <a:pt x="207" y="114"/>
                    <a:pt x="211" y="136"/>
                    <a:pt x="200" y="152"/>
                  </a:cubicBezTo>
                  <a:cubicBezTo>
                    <a:pt x="194" y="160"/>
                    <a:pt x="185" y="165"/>
                    <a:pt x="176" y="166"/>
                  </a:cubicBezTo>
                  <a:close/>
                </a:path>
              </a:pathLst>
            </a:custGeom>
            <a:solidFill>
              <a:srgbClr val="96502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20" name="ïṥ1íḓê">
              <a:extLst>
                <a:ext uri="{FF2B5EF4-FFF2-40B4-BE49-F238E27FC236}">
                  <a16:creationId xmlns:a16="http://schemas.microsoft.com/office/drawing/2014/main" id="{4E83A837-6B54-4E3A-9FC5-D4F8E673AECD}"/>
                </a:ext>
              </a:extLst>
            </p:cNvPr>
            <p:cNvSpPr/>
            <p:nvPr/>
          </p:nvSpPr>
          <p:spPr bwMode="auto">
            <a:xfrm>
              <a:off x="6011863" y="4773613"/>
              <a:ext cx="762000" cy="585788"/>
            </a:xfrm>
            <a:custGeom>
              <a:avLst/>
              <a:gdLst>
                <a:gd name="T0" fmla="*/ 188 w 203"/>
                <a:gd name="T1" fmla="*/ 141 h 156"/>
                <a:gd name="T2" fmla="*/ 163 w 203"/>
                <a:gd name="T3" fmla="*/ 135 h 156"/>
                <a:gd name="T4" fmla="*/ 32 w 203"/>
                <a:gd name="T5" fmla="*/ 43 h 156"/>
                <a:gd name="T6" fmla="*/ 20 w 203"/>
                <a:gd name="T7" fmla="*/ 0 h 156"/>
                <a:gd name="T8" fmla="*/ 11 w 203"/>
                <a:gd name="T9" fmla="*/ 8 h 156"/>
                <a:gd name="T10" fmla="*/ 19 w 203"/>
                <a:gd name="T11" fmla="*/ 57 h 156"/>
                <a:gd name="T12" fmla="*/ 151 w 203"/>
                <a:gd name="T13" fmla="*/ 149 h 156"/>
                <a:gd name="T14" fmla="*/ 176 w 203"/>
                <a:gd name="T15" fmla="*/ 155 h 156"/>
                <a:gd name="T16" fmla="*/ 200 w 203"/>
                <a:gd name="T17" fmla="*/ 141 h 156"/>
                <a:gd name="T18" fmla="*/ 203 w 203"/>
                <a:gd name="T19" fmla="*/ 135 h 156"/>
                <a:gd name="T20" fmla="*/ 188 w 203"/>
                <a:gd name="T21" fmla="*/ 141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3" h="156">
                  <a:moveTo>
                    <a:pt x="188" y="141"/>
                  </a:moveTo>
                  <a:cubicBezTo>
                    <a:pt x="180" y="142"/>
                    <a:pt x="171" y="140"/>
                    <a:pt x="163" y="135"/>
                  </a:cubicBezTo>
                  <a:cubicBezTo>
                    <a:pt x="32" y="43"/>
                    <a:pt x="32" y="43"/>
                    <a:pt x="32" y="43"/>
                  </a:cubicBezTo>
                  <a:cubicBezTo>
                    <a:pt x="17" y="33"/>
                    <a:pt x="13" y="15"/>
                    <a:pt x="20" y="0"/>
                  </a:cubicBezTo>
                  <a:cubicBezTo>
                    <a:pt x="16" y="2"/>
                    <a:pt x="13" y="5"/>
                    <a:pt x="11" y="8"/>
                  </a:cubicBezTo>
                  <a:cubicBezTo>
                    <a:pt x="0" y="24"/>
                    <a:pt x="4" y="46"/>
                    <a:pt x="19" y="57"/>
                  </a:cubicBezTo>
                  <a:cubicBezTo>
                    <a:pt x="151" y="149"/>
                    <a:pt x="151" y="149"/>
                    <a:pt x="151" y="149"/>
                  </a:cubicBezTo>
                  <a:cubicBezTo>
                    <a:pt x="159" y="155"/>
                    <a:pt x="168" y="156"/>
                    <a:pt x="176" y="155"/>
                  </a:cubicBezTo>
                  <a:cubicBezTo>
                    <a:pt x="185" y="154"/>
                    <a:pt x="194" y="149"/>
                    <a:pt x="200" y="141"/>
                  </a:cubicBezTo>
                  <a:cubicBezTo>
                    <a:pt x="201" y="139"/>
                    <a:pt x="202" y="137"/>
                    <a:pt x="203" y="135"/>
                  </a:cubicBezTo>
                  <a:cubicBezTo>
                    <a:pt x="198" y="138"/>
                    <a:pt x="193" y="140"/>
                    <a:pt x="188" y="141"/>
                  </a:cubicBezTo>
                  <a:close/>
                </a:path>
              </a:pathLst>
            </a:custGeom>
            <a:solidFill>
              <a:srgbClr val="8A492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21" name="íSļiďe">
              <a:extLst>
                <a:ext uri="{FF2B5EF4-FFF2-40B4-BE49-F238E27FC236}">
                  <a16:creationId xmlns:a16="http://schemas.microsoft.com/office/drawing/2014/main" id="{5F947F30-7AC6-490A-9C85-B726731597EC}"/>
                </a:ext>
              </a:extLst>
            </p:cNvPr>
            <p:cNvSpPr/>
            <p:nvPr/>
          </p:nvSpPr>
          <p:spPr bwMode="auto">
            <a:xfrm>
              <a:off x="5594351" y="5167313"/>
              <a:ext cx="714375" cy="571500"/>
            </a:xfrm>
            <a:custGeom>
              <a:avLst/>
              <a:gdLst>
                <a:gd name="T0" fmla="*/ 155 w 190"/>
                <a:gd name="T1" fmla="*/ 150 h 152"/>
                <a:gd name="T2" fmla="*/ 130 w 190"/>
                <a:gd name="T3" fmla="*/ 145 h 152"/>
                <a:gd name="T4" fmla="*/ 20 w 190"/>
                <a:gd name="T5" fmla="*/ 68 h 152"/>
                <a:gd name="T6" fmla="*/ 11 w 190"/>
                <a:gd name="T7" fmla="*/ 20 h 152"/>
                <a:gd name="T8" fmla="*/ 60 w 190"/>
                <a:gd name="T9" fmla="*/ 11 h 152"/>
                <a:gd name="T10" fmla="*/ 170 w 190"/>
                <a:gd name="T11" fmla="*/ 87 h 152"/>
                <a:gd name="T12" fmla="*/ 179 w 190"/>
                <a:gd name="T13" fmla="*/ 136 h 152"/>
                <a:gd name="T14" fmla="*/ 155 w 190"/>
                <a:gd name="T15" fmla="*/ 150 h 1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0" h="152">
                  <a:moveTo>
                    <a:pt x="155" y="150"/>
                  </a:moveTo>
                  <a:cubicBezTo>
                    <a:pt x="147" y="152"/>
                    <a:pt x="138" y="150"/>
                    <a:pt x="130" y="145"/>
                  </a:cubicBezTo>
                  <a:cubicBezTo>
                    <a:pt x="20" y="68"/>
                    <a:pt x="20" y="68"/>
                    <a:pt x="20" y="68"/>
                  </a:cubicBezTo>
                  <a:cubicBezTo>
                    <a:pt x="4" y="57"/>
                    <a:pt x="0" y="36"/>
                    <a:pt x="11" y="20"/>
                  </a:cubicBezTo>
                  <a:cubicBezTo>
                    <a:pt x="22" y="4"/>
                    <a:pt x="44" y="0"/>
                    <a:pt x="60" y="11"/>
                  </a:cubicBezTo>
                  <a:cubicBezTo>
                    <a:pt x="170" y="87"/>
                    <a:pt x="170" y="87"/>
                    <a:pt x="170" y="87"/>
                  </a:cubicBezTo>
                  <a:cubicBezTo>
                    <a:pt x="186" y="98"/>
                    <a:pt x="190" y="120"/>
                    <a:pt x="179" y="136"/>
                  </a:cubicBezTo>
                  <a:cubicBezTo>
                    <a:pt x="173" y="144"/>
                    <a:pt x="164" y="149"/>
                    <a:pt x="155" y="150"/>
                  </a:cubicBezTo>
                  <a:close/>
                </a:path>
              </a:pathLst>
            </a:custGeom>
            <a:solidFill>
              <a:srgbClr val="96502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22" name="ïŝļíḋè">
              <a:extLst>
                <a:ext uri="{FF2B5EF4-FFF2-40B4-BE49-F238E27FC236}">
                  <a16:creationId xmlns:a16="http://schemas.microsoft.com/office/drawing/2014/main" id="{06DFC9AF-C538-4E9E-BABA-2FF70CD45582}"/>
                </a:ext>
              </a:extLst>
            </p:cNvPr>
            <p:cNvSpPr/>
            <p:nvPr/>
          </p:nvSpPr>
          <p:spPr bwMode="auto">
            <a:xfrm>
              <a:off x="5594351" y="5213350"/>
              <a:ext cx="687388" cy="525463"/>
            </a:xfrm>
            <a:custGeom>
              <a:avLst/>
              <a:gdLst>
                <a:gd name="T0" fmla="*/ 166 w 183"/>
                <a:gd name="T1" fmla="*/ 122 h 140"/>
                <a:gd name="T2" fmla="*/ 141 w 183"/>
                <a:gd name="T3" fmla="*/ 117 h 140"/>
                <a:gd name="T4" fmla="*/ 31 w 183"/>
                <a:gd name="T5" fmla="*/ 40 h 140"/>
                <a:gd name="T6" fmla="*/ 18 w 183"/>
                <a:gd name="T7" fmla="*/ 0 h 140"/>
                <a:gd name="T8" fmla="*/ 11 w 183"/>
                <a:gd name="T9" fmla="*/ 8 h 140"/>
                <a:gd name="T10" fmla="*/ 20 w 183"/>
                <a:gd name="T11" fmla="*/ 56 h 140"/>
                <a:gd name="T12" fmla="*/ 130 w 183"/>
                <a:gd name="T13" fmla="*/ 133 h 140"/>
                <a:gd name="T14" fmla="*/ 155 w 183"/>
                <a:gd name="T15" fmla="*/ 138 h 140"/>
                <a:gd name="T16" fmla="*/ 179 w 183"/>
                <a:gd name="T17" fmla="*/ 124 h 140"/>
                <a:gd name="T18" fmla="*/ 183 w 183"/>
                <a:gd name="T19" fmla="*/ 115 h 140"/>
                <a:gd name="T20" fmla="*/ 166 w 183"/>
                <a:gd name="T21" fmla="*/ 122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3" h="140">
                  <a:moveTo>
                    <a:pt x="166" y="122"/>
                  </a:moveTo>
                  <a:cubicBezTo>
                    <a:pt x="158" y="124"/>
                    <a:pt x="149" y="122"/>
                    <a:pt x="141" y="117"/>
                  </a:cubicBezTo>
                  <a:cubicBezTo>
                    <a:pt x="31" y="40"/>
                    <a:pt x="31" y="40"/>
                    <a:pt x="31" y="40"/>
                  </a:cubicBezTo>
                  <a:cubicBezTo>
                    <a:pt x="18" y="31"/>
                    <a:pt x="13" y="15"/>
                    <a:pt x="18" y="0"/>
                  </a:cubicBezTo>
                  <a:cubicBezTo>
                    <a:pt x="15" y="2"/>
                    <a:pt x="13" y="5"/>
                    <a:pt x="11" y="8"/>
                  </a:cubicBezTo>
                  <a:cubicBezTo>
                    <a:pt x="0" y="24"/>
                    <a:pt x="4" y="45"/>
                    <a:pt x="20" y="56"/>
                  </a:cubicBezTo>
                  <a:cubicBezTo>
                    <a:pt x="130" y="133"/>
                    <a:pt x="130" y="133"/>
                    <a:pt x="130" y="133"/>
                  </a:cubicBezTo>
                  <a:cubicBezTo>
                    <a:pt x="138" y="138"/>
                    <a:pt x="147" y="140"/>
                    <a:pt x="155" y="138"/>
                  </a:cubicBezTo>
                  <a:cubicBezTo>
                    <a:pt x="164" y="137"/>
                    <a:pt x="173" y="132"/>
                    <a:pt x="179" y="124"/>
                  </a:cubicBezTo>
                  <a:cubicBezTo>
                    <a:pt x="181" y="121"/>
                    <a:pt x="182" y="118"/>
                    <a:pt x="183" y="115"/>
                  </a:cubicBezTo>
                  <a:cubicBezTo>
                    <a:pt x="178" y="119"/>
                    <a:pt x="172" y="122"/>
                    <a:pt x="166" y="122"/>
                  </a:cubicBezTo>
                  <a:close/>
                </a:path>
              </a:pathLst>
            </a:custGeom>
            <a:solidFill>
              <a:srgbClr val="8A492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23" name="ïşḻïḓé">
              <a:extLst>
                <a:ext uri="{FF2B5EF4-FFF2-40B4-BE49-F238E27FC236}">
                  <a16:creationId xmlns:a16="http://schemas.microsoft.com/office/drawing/2014/main" id="{5DFF4ACB-BFE6-4223-8733-82FC706BF9B2}"/>
                </a:ext>
              </a:extLst>
            </p:cNvPr>
            <p:cNvSpPr/>
            <p:nvPr/>
          </p:nvSpPr>
          <p:spPr bwMode="auto">
            <a:xfrm>
              <a:off x="5561013" y="5472113"/>
              <a:ext cx="495300" cy="412750"/>
            </a:xfrm>
            <a:custGeom>
              <a:avLst/>
              <a:gdLst>
                <a:gd name="T0" fmla="*/ 106 w 132"/>
                <a:gd name="T1" fmla="*/ 109 h 110"/>
                <a:gd name="T2" fmla="*/ 86 w 132"/>
                <a:gd name="T3" fmla="*/ 104 h 110"/>
                <a:gd name="T4" fmla="*/ 14 w 132"/>
                <a:gd name="T5" fmla="*/ 51 h 110"/>
                <a:gd name="T6" fmla="*/ 9 w 132"/>
                <a:gd name="T7" fmla="*/ 14 h 110"/>
                <a:gd name="T8" fmla="*/ 46 w 132"/>
                <a:gd name="T9" fmla="*/ 8 h 110"/>
                <a:gd name="T10" fmla="*/ 118 w 132"/>
                <a:gd name="T11" fmla="*/ 61 h 110"/>
                <a:gd name="T12" fmla="*/ 123 w 132"/>
                <a:gd name="T13" fmla="*/ 98 h 110"/>
                <a:gd name="T14" fmla="*/ 106 w 132"/>
                <a:gd name="T15" fmla="*/ 109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2" h="110">
                  <a:moveTo>
                    <a:pt x="106" y="109"/>
                  </a:moveTo>
                  <a:cubicBezTo>
                    <a:pt x="99" y="110"/>
                    <a:pt x="92" y="108"/>
                    <a:pt x="86" y="104"/>
                  </a:cubicBezTo>
                  <a:cubicBezTo>
                    <a:pt x="14" y="51"/>
                    <a:pt x="14" y="51"/>
                    <a:pt x="14" y="51"/>
                  </a:cubicBezTo>
                  <a:cubicBezTo>
                    <a:pt x="2" y="42"/>
                    <a:pt x="0" y="26"/>
                    <a:pt x="9" y="14"/>
                  </a:cubicBezTo>
                  <a:cubicBezTo>
                    <a:pt x="17" y="2"/>
                    <a:pt x="34" y="0"/>
                    <a:pt x="46" y="8"/>
                  </a:cubicBezTo>
                  <a:cubicBezTo>
                    <a:pt x="118" y="61"/>
                    <a:pt x="118" y="61"/>
                    <a:pt x="118" y="61"/>
                  </a:cubicBezTo>
                  <a:cubicBezTo>
                    <a:pt x="129" y="70"/>
                    <a:pt x="132" y="86"/>
                    <a:pt x="123" y="98"/>
                  </a:cubicBezTo>
                  <a:cubicBezTo>
                    <a:pt x="119" y="104"/>
                    <a:pt x="112" y="108"/>
                    <a:pt x="106" y="109"/>
                  </a:cubicBezTo>
                  <a:close/>
                </a:path>
              </a:pathLst>
            </a:custGeom>
            <a:solidFill>
              <a:srgbClr val="96502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24" name="ïṡ1idè">
              <a:extLst>
                <a:ext uri="{FF2B5EF4-FFF2-40B4-BE49-F238E27FC236}">
                  <a16:creationId xmlns:a16="http://schemas.microsoft.com/office/drawing/2014/main" id="{7D1C2E81-D19F-4E8F-88F0-2F187FA5909C}"/>
                </a:ext>
              </a:extLst>
            </p:cNvPr>
            <p:cNvSpPr/>
            <p:nvPr/>
          </p:nvSpPr>
          <p:spPr bwMode="auto">
            <a:xfrm>
              <a:off x="5561013" y="5491163"/>
              <a:ext cx="468313" cy="393700"/>
            </a:xfrm>
            <a:custGeom>
              <a:avLst/>
              <a:gdLst>
                <a:gd name="T0" fmla="*/ 118 w 125"/>
                <a:gd name="T1" fmla="*/ 93 h 105"/>
                <a:gd name="T2" fmla="*/ 99 w 125"/>
                <a:gd name="T3" fmla="*/ 88 h 105"/>
                <a:gd name="T4" fmla="*/ 27 w 125"/>
                <a:gd name="T5" fmla="*/ 35 h 105"/>
                <a:gd name="T6" fmla="*/ 20 w 125"/>
                <a:gd name="T7" fmla="*/ 0 h 105"/>
                <a:gd name="T8" fmla="*/ 9 w 125"/>
                <a:gd name="T9" fmla="*/ 9 h 105"/>
                <a:gd name="T10" fmla="*/ 14 w 125"/>
                <a:gd name="T11" fmla="*/ 46 h 105"/>
                <a:gd name="T12" fmla="*/ 86 w 125"/>
                <a:gd name="T13" fmla="*/ 99 h 105"/>
                <a:gd name="T14" fmla="*/ 106 w 125"/>
                <a:gd name="T15" fmla="*/ 104 h 105"/>
                <a:gd name="T16" fmla="*/ 123 w 125"/>
                <a:gd name="T17" fmla="*/ 93 h 105"/>
                <a:gd name="T18" fmla="*/ 125 w 125"/>
                <a:gd name="T19" fmla="*/ 91 h 105"/>
                <a:gd name="T20" fmla="*/ 118 w 125"/>
                <a:gd name="T21" fmla="*/ 93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5" h="105">
                  <a:moveTo>
                    <a:pt x="118" y="93"/>
                  </a:moveTo>
                  <a:cubicBezTo>
                    <a:pt x="112" y="94"/>
                    <a:pt x="105" y="92"/>
                    <a:pt x="99" y="88"/>
                  </a:cubicBezTo>
                  <a:cubicBezTo>
                    <a:pt x="27" y="35"/>
                    <a:pt x="27" y="35"/>
                    <a:pt x="27" y="35"/>
                  </a:cubicBezTo>
                  <a:cubicBezTo>
                    <a:pt x="16" y="27"/>
                    <a:pt x="13" y="12"/>
                    <a:pt x="20" y="0"/>
                  </a:cubicBezTo>
                  <a:cubicBezTo>
                    <a:pt x="15" y="2"/>
                    <a:pt x="12" y="5"/>
                    <a:pt x="9" y="9"/>
                  </a:cubicBezTo>
                  <a:cubicBezTo>
                    <a:pt x="0" y="21"/>
                    <a:pt x="2" y="37"/>
                    <a:pt x="14" y="46"/>
                  </a:cubicBezTo>
                  <a:cubicBezTo>
                    <a:pt x="86" y="99"/>
                    <a:pt x="86" y="99"/>
                    <a:pt x="86" y="99"/>
                  </a:cubicBezTo>
                  <a:cubicBezTo>
                    <a:pt x="92" y="103"/>
                    <a:pt x="99" y="105"/>
                    <a:pt x="106" y="104"/>
                  </a:cubicBezTo>
                  <a:cubicBezTo>
                    <a:pt x="112" y="103"/>
                    <a:pt x="119" y="99"/>
                    <a:pt x="123" y="93"/>
                  </a:cubicBezTo>
                  <a:cubicBezTo>
                    <a:pt x="124" y="92"/>
                    <a:pt x="124" y="92"/>
                    <a:pt x="125" y="91"/>
                  </a:cubicBezTo>
                  <a:cubicBezTo>
                    <a:pt x="123" y="92"/>
                    <a:pt x="121" y="92"/>
                    <a:pt x="118" y="93"/>
                  </a:cubicBezTo>
                  <a:close/>
                </a:path>
              </a:pathLst>
            </a:custGeom>
            <a:solidFill>
              <a:srgbClr val="8A492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25" name="iSļîḓê">
              <a:extLst>
                <a:ext uri="{FF2B5EF4-FFF2-40B4-BE49-F238E27FC236}">
                  <a16:creationId xmlns:a16="http://schemas.microsoft.com/office/drawing/2014/main" id="{A2811090-6B78-4FC8-8375-F0D8549E2BD6}"/>
                </a:ext>
              </a:extLst>
            </p:cNvPr>
            <p:cNvSpPr/>
            <p:nvPr/>
          </p:nvSpPr>
          <p:spPr bwMode="auto">
            <a:xfrm>
              <a:off x="4473576" y="4073525"/>
              <a:ext cx="1289050" cy="1157288"/>
            </a:xfrm>
            <a:custGeom>
              <a:avLst/>
              <a:gdLst>
                <a:gd name="T0" fmla="*/ 611 w 812"/>
                <a:gd name="T1" fmla="*/ 729 h 729"/>
                <a:gd name="T2" fmla="*/ 0 w 812"/>
                <a:gd name="T3" fmla="*/ 464 h 729"/>
                <a:gd name="T4" fmla="*/ 202 w 812"/>
                <a:gd name="T5" fmla="*/ 0 h 729"/>
                <a:gd name="T6" fmla="*/ 812 w 812"/>
                <a:gd name="T7" fmla="*/ 265 h 729"/>
                <a:gd name="T8" fmla="*/ 611 w 812"/>
                <a:gd name="T9" fmla="*/ 729 h 729"/>
              </a:gdLst>
              <a:ahLst/>
              <a:cxnLst>
                <a:cxn ang="0">
                  <a:pos x="T0" y="T1"/>
                </a:cxn>
                <a:cxn ang="0">
                  <a:pos x="T2" y="T3"/>
                </a:cxn>
                <a:cxn ang="0">
                  <a:pos x="T4" y="T5"/>
                </a:cxn>
                <a:cxn ang="0">
                  <a:pos x="T6" y="T7"/>
                </a:cxn>
                <a:cxn ang="0">
                  <a:pos x="T8" y="T9"/>
                </a:cxn>
              </a:cxnLst>
              <a:rect l="0" t="0" r="r" b="b"/>
              <a:pathLst>
                <a:path w="812" h="729">
                  <a:moveTo>
                    <a:pt x="611" y="729"/>
                  </a:moveTo>
                  <a:lnTo>
                    <a:pt x="0" y="464"/>
                  </a:lnTo>
                  <a:lnTo>
                    <a:pt x="202" y="0"/>
                  </a:lnTo>
                  <a:lnTo>
                    <a:pt x="812" y="265"/>
                  </a:lnTo>
                  <a:lnTo>
                    <a:pt x="611" y="729"/>
                  </a:lnTo>
                  <a:close/>
                </a:path>
              </a:pathLst>
            </a:custGeom>
            <a:solidFill>
              <a:srgbClr val="96502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26" name="ïṣ1iḑe">
              <a:extLst>
                <a:ext uri="{FF2B5EF4-FFF2-40B4-BE49-F238E27FC236}">
                  <a16:creationId xmlns:a16="http://schemas.microsoft.com/office/drawing/2014/main" id="{4F7FA8CC-6213-443D-A1F5-FB43D629BC55}"/>
                </a:ext>
              </a:extLst>
            </p:cNvPr>
            <p:cNvSpPr/>
            <p:nvPr/>
          </p:nvSpPr>
          <p:spPr bwMode="auto">
            <a:xfrm>
              <a:off x="4473576" y="4073525"/>
              <a:ext cx="1289050" cy="1157288"/>
            </a:xfrm>
            <a:custGeom>
              <a:avLst/>
              <a:gdLst>
                <a:gd name="T0" fmla="*/ 611 w 812"/>
                <a:gd name="T1" fmla="*/ 729 h 729"/>
                <a:gd name="T2" fmla="*/ 0 w 812"/>
                <a:gd name="T3" fmla="*/ 464 h 729"/>
                <a:gd name="T4" fmla="*/ 202 w 812"/>
                <a:gd name="T5" fmla="*/ 0 h 729"/>
                <a:gd name="T6" fmla="*/ 812 w 812"/>
                <a:gd name="T7" fmla="*/ 265 h 729"/>
                <a:gd name="T8" fmla="*/ 611 w 812"/>
                <a:gd name="T9" fmla="*/ 729 h 729"/>
              </a:gdLst>
              <a:ahLst/>
              <a:cxnLst>
                <a:cxn ang="0">
                  <a:pos x="T0" y="T1"/>
                </a:cxn>
                <a:cxn ang="0">
                  <a:pos x="T2" y="T3"/>
                </a:cxn>
                <a:cxn ang="0">
                  <a:pos x="T4" y="T5"/>
                </a:cxn>
                <a:cxn ang="0">
                  <a:pos x="T6" y="T7"/>
                </a:cxn>
                <a:cxn ang="0">
                  <a:pos x="T8" y="T9"/>
                </a:cxn>
              </a:cxnLst>
              <a:rect l="0" t="0" r="r" b="b"/>
              <a:pathLst>
                <a:path w="812" h="729">
                  <a:moveTo>
                    <a:pt x="611" y="729"/>
                  </a:moveTo>
                  <a:lnTo>
                    <a:pt x="0" y="464"/>
                  </a:lnTo>
                  <a:lnTo>
                    <a:pt x="202" y="0"/>
                  </a:lnTo>
                  <a:lnTo>
                    <a:pt x="812" y="265"/>
                  </a:lnTo>
                  <a:lnTo>
                    <a:pt x="611" y="72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27" name="iṣliḍé">
              <a:extLst>
                <a:ext uri="{FF2B5EF4-FFF2-40B4-BE49-F238E27FC236}">
                  <a16:creationId xmlns:a16="http://schemas.microsoft.com/office/drawing/2014/main" id="{E91BD1A8-E77E-48B0-86E3-9610AB5EAAEF}"/>
                </a:ext>
              </a:extLst>
            </p:cNvPr>
            <p:cNvSpPr/>
            <p:nvPr/>
          </p:nvSpPr>
          <p:spPr bwMode="auto">
            <a:xfrm>
              <a:off x="4473576" y="4652963"/>
              <a:ext cx="1038225" cy="577850"/>
            </a:xfrm>
            <a:custGeom>
              <a:avLst/>
              <a:gdLst>
                <a:gd name="T0" fmla="*/ 611 w 654"/>
                <a:gd name="T1" fmla="*/ 364 h 364"/>
                <a:gd name="T2" fmla="*/ 0 w 654"/>
                <a:gd name="T3" fmla="*/ 99 h 364"/>
                <a:gd name="T4" fmla="*/ 45 w 654"/>
                <a:gd name="T5" fmla="*/ 0 h 364"/>
                <a:gd name="T6" fmla="*/ 654 w 654"/>
                <a:gd name="T7" fmla="*/ 265 h 364"/>
                <a:gd name="T8" fmla="*/ 611 w 654"/>
                <a:gd name="T9" fmla="*/ 364 h 364"/>
              </a:gdLst>
              <a:ahLst/>
              <a:cxnLst>
                <a:cxn ang="0">
                  <a:pos x="T0" y="T1"/>
                </a:cxn>
                <a:cxn ang="0">
                  <a:pos x="T2" y="T3"/>
                </a:cxn>
                <a:cxn ang="0">
                  <a:pos x="T4" y="T5"/>
                </a:cxn>
                <a:cxn ang="0">
                  <a:pos x="T6" y="T7"/>
                </a:cxn>
                <a:cxn ang="0">
                  <a:pos x="T8" y="T9"/>
                </a:cxn>
              </a:cxnLst>
              <a:rect l="0" t="0" r="r" b="b"/>
              <a:pathLst>
                <a:path w="654" h="364">
                  <a:moveTo>
                    <a:pt x="611" y="364"/>
                  </a:moveTo>
                  <a:lnTo>
                    <a:pt x="0" y="99"/>
                  </a:lnTo>
                  <a:lnTo>
                    <a:pt x="45" y="0"/>
                  </a:lnTo>
                  <a:lnTo>
                    <a:pt x="654" y="265"/>
                  </a:lnTo>
                  <a:lnTo>
                    <a:pt x="611" y="364"/>
                  </a:lnTo>
                  <a:close/>
                </a:path>
              </a:pathLst>
            </a:custGeom>
            <a:solidFill>
              <a:srgbClr val="8A492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28" name="ïṩ1íḑé">
              <a:extLst>
                <a:ext uri="{FF2B5EF4-FFF2-40B4-BE49-F238E27FC236}">
                  <a16:creationId xmlns:a16="http://schemas.microsoft.com/office/drawing/2014/main" id="{C1B527EB-C632-4CE0-B1A8-AD72AB29369B}"/>
                </a:ext>
              </a:extLst>
            </p:cNvPr>
            <p:cNvSpPr/>
            <p:nvPr/>
          </p:nvSpPr>
          <p:spPr bwMode="auto">
            <a:xfrm>
              <a:off x="4360863" y="4017963"/>
              <a:ext cx="766763" cy="1011238"/>
            </a:xfrm>
            <a:custGeom>
              <a:avLst/>
              <a:gdLst>
                <a:gd name="T0" fmla="*/ 254 w 483"/>
                <a:gd name="T1" fmla="*/ 637 h 637"/>
                <a:gd name="T2" fmla="*/ 0 w 483"/>
                <a:gd name="T3" fmla="*/ 528 h 637"/>
                <a:gd name="T4" fmla="*/ 228 w 483"/>
                <a:gd name="T5" fmla="*/ 0 h 637"/>
                <a:gd name="T6" fmla="*/ 483 w 483"/>
                <a:gd name="T7" fmla="*/ 111 h 637"/>
                <a:gd name="T8" fmla="*/ 254 w 483"/>
                <a:gd name="T9" fmla="*/ 637 h 637"/>
              </a:gdLst>
              <a:ahLst/>
              <a:cxnLst>
                <a:cxn ang="0">
                  <a:pos x="T0" y="T1"/>
                </a:cxn>
                <a:cxn ang="0">
                  <a:pos x="T2" y="T3"/>
                </a:cxn>
                <a:cxn ang="0">
                  <a:pos x="T4" y="T5"/>
                </a:cxn>
                <a:cxn ang="0">
                  <a:pos x="T6" y="T7"/>
                </a:cxn>
                <a:cxn ang="0">
                  <a:pos x="T8" y="T9"/>
                </a:cxn>
              </a:cxnLst>
              <a:rect l="0" t="0" r="r" b="b"/>
              <a:pathLst>
                <a:path w="483" h="637">
                  <a:moveTo>
                    <a:pt x="254" y="637"/>
                  </a:moveTo>
                  <a:lnTo>
                    <a:pt x="0" y="528"/>
                  </a:lnTo>
                  <a:lnTo>
                    <a:pt x="228" y="0"/>
                  </a:lnTo>
                  <a:lnTo>
                    <a:pt x="483" y="111"/>
                  </a:lnTo>
                  <a:lnTo>
                    <a:pt x="254" y="637"/>
                  </a:lnTo>
                  <a:close/>
                </a:path>
              </a:pathLst>
            </a:custGeom>
            <a:solidFill>
              <a:srgbClr val="AFE6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29" name="işḻíḍè">
              <a:extLst>
                <a:ext uri="{FF2B5EF4-FFF2-40B4-BE49-F238E27FC236}">
                  <a16:creationId xmlns:a16="http://schemas.microsoft.com/office/drawing/2014/main" id="{1B9EF5AD-1B3E-4C9F-9B5D-D8A338BE4AEF}"/>
                </a:ext>
              </a:extLst>
            </p:cNvPr>
            <p:cNvSpPr/>
            <p:nvPr/>
          </p:nvSpPr>
          <p:spPr bwMode="auto">
            <a:xfrm>
              <a:off x="4360863" y="4595813"/>
              <a:ext cx="515938" cy="433388"/>
            </a:xfrm>
            <a:custGeom>
              <a:avLst/>
              <a:gdLst>
                <a:gd name="T0" fmla="*/ 254 w 325"/>
                <a:gd name="T1" fmla="*/ 273 h 273"/>
                <a:gd name="T2" fmla="*/ 0 w 325"/>
                <a:gd name="T3" fmla="*/ 164 h 273"/>
                <a:gd name="T4" fmla="*/ 69 w 325"/>
                <a:gd name="T5" fmla="*/ 0 h 273"/>
                <a:gd name="T6" fmla="*/ 325 w 325"/>
                <a:gd name="T7" fmla="*/ 112 h 273"/>
                <a:gd name="T8" fmla="*/ 254 w 325"/>
                <a:gd name="T9" fmla="*/ 273 h 273"/>
              </a:gdLst>
              <a:ahLst/>
              <a:cxnLst>
                <a:cxn ang="0">
                  <a:pos x="T0" y="T1"/>
                </a:cxn>
                <a:cxn ang="0">
                  <a:pos x="T2" y="T3"/>
                </a:cxn>
                <a:cxn ang="0">
                  <a:pos x="T4" y="T5"/>
                </a:cxn>
                <a:cxn ang="0">
                  <a:pos x="T6" y="T7"/>
                </a:cxn>
                <a:cxn ang="0">
                  <a:pos x="T8" y="T9"/>
                </a:cxn>
              </a:cxnLst>
              <a:rect l="0" t="0" r="r" b="b"/>
              <a:pathLst>
                <a:path w="325" h="273">
                  <a:moveTo>
                    <a:pt x="254" y="273"/>
                  </a:moveTo>
                  <a:lnTo>
                    <a:pt x="0" y="164"/>
                  </a:lnTo>
                  <a:lnTo>
                    <a:pt x="69" y="0"/>
                  </a:lnTo>
                  <a:lnTo>
                    <a:pt x="325" y="112"/>
                  </a:lnTo>
                  <a:lnTo>
                    <a:pt x="254" y="273"/>
                  </a:lnTo>
                  <a:close/>
                </a:path>
              </a:pathLst>
            </a:custGeom>
            <a:solidFill>
              <a:srgbClr val="73C8F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30" name="ïś1iďê">
              <a:extLst>
                <a:ext uri="{FF2B5EF4-FFF2-40B4-BE49-F238E27FC236}">
                  <a16:creationId xmlns:a16="http://schemas.microsoft.com/office/drawing/2014/main" id="{6EB0DA86-9E9F-4E50-98CA-318A235ADC54}"/>
                </a:ext>
              </a:extLst>
            </p:cNvPr>
            <p:cNvSpPr/>
            <p:nvPr/>
          </p:nvSpPr>
          <p:spPr bwMode="auto">
            <a:xfrm>
              <a:off x="3497263" y="3611563"/>
              <a:ext cx="1247775" cy="1333500"/>
            </a:xfrm>
            <a:custGeom>
              <a:avLst/>
              <a:gdLst>
                <a:gd name="T0" fmla="*/ 0 w 786"/>
                <a:gd name="T1" fmla="*/ 616 h 840"/>
                <a:gd name="T2" fmla="*/ 518 w 786"/>
                <a:gd name="T3" fmla="*/ 840 h 840"/>
                <a:gd name="T4" fmla="*/ 786 w 786"/>
                <a:gd name="T5" fmla="*/ 225 h 840"/>
                <a:gd name="T6" fmla="*/ 265 w 786"/>
                <a:gd name="T7" fmla="*/ 0 h 840"/>
                <a:gd name="T8" fmla="*/ 0 w 786"/>
                <a:gd name="T9" fmla="*/ 616 h 840"/>
              </a:gdLst>
              <a:ahLst/>
              <a:cxnLst>
                <a:cxn ang="0">
                  <a:pos x="T0" y="T1"/>
                </a:cxn>
                <a:cxn ang="0">
                  <a:pos x="T2" y="T3"/>
                </a:cxn>
                <a:cxn ang="0">
                  <a:pos x="T4" y="T5"/>
                </a:cxn>
                <a:cxn ang="0">
                  <a:pos x="T6" y="T7"/>
                </a:cxn>
                <a:cxn ang="0">
                  <a:pos x="T8" y="T9"/>
                </a:cxn>
              </a:cxnLst>
              <a:rect l="0" t="0" r="r" b="b"/>
              <a:pathLst>
                <a:path w="786" h="840">
                  <a:moveTo>
                    <a:pt x="0" y="616"/>
                  </a:moveTo>
                  <a:lnTo>
                    <a:pt x="518" y="840"/>
                  </a:lnTo>
                  <a:lnTo>
                    <a:pt x="786" y="225"/>
                  </a:lnTo>
                  <a:lnTo>
                    <a:pt x="265" y="0"/>
                  </a:lnTo>
                  <a:lnTo>
                    <a:pt x="0" y="616"/>
                  </a:lnTo>
                  <a:close/>
                </a:path>
              </a:pathLst>
            </a:custGeom>
            <a:solidFill>
              <a:srgbClr val="50555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31" name="îSḻîḑé">
              <a:extLst>
                <a:ext uri="{FF2B5EF4-FFF2-40B4-BE49-F238E27FC236}">
                  <a16:creationId xmlns:a16="http://schemas.microsoft.com/office/drawing/2014/main" id="{6B02C809-070C-49EC-ACE1-CD503C4AB952}"/>
                </a:ext>
              </a:extLst>
            </p:cNvPr>
            <p:cNvSpPr/>
            <p:nvPr/>
          </p:nvSpPr>
          <p:spPr bwMode="auto">
            <a:xfrm>
              <a:off x="3497263" y="4141788"/>
              <a:ext cx="1017588" cy="803275"/>
            </a:xfrm>
            <a:custGeom>
              <a:avLst/>
              <a:gdLst>
                <a:gd name="T0" fmla="*/ 0 w 641"/>
                <a:gd name="T1" fmla="*/ 282 h 506"/>
                <a:gd name="T2" fmla="*/ 518 w 641"/>
                <a:gd name="T3" fmla="*/ 506 h 506"/>
                <a:gd name="T4" fmla="*/ 641 w 641"/>
                <a:gd name="T5" fmla="*/ 225 h 506"/>
                <a:gd name="T6" fmla="*/ 121 w 641"/>
                <a:gd name="T7" fmla="*/ 0 h 506"/>
                <a:gd name="T8" fmla="*/ 0 w 641"/>
                <a:gd name="T9" fmla="*/ 282 h 506"/>
              </a:gdLst>
              <a:ahLst/>
              <a:cxnLst>
                <a:cxn ang="0">
                  <a:pos x="T0" y="T1"/>
                </a:cxn>
                <a:cxn ang="0">
                  <a:pos x="T2" y="T3"/>
                </a:cxn>
                <a:cxn ang="0">
                  <a:pos x="T4" y="T5"/>
                </a:cxn>
                <a:cxn ang="0">
                  <a:pos x="T6" y="T7"/>
                </a:cxn>
                <a:cxn ang="0">
                  <a:pos x="T8" y="T9"/>
                </a:cxn>
              </a:cxnLst>
              <a:rect l="0" t="0" r="r" b="b"/>
              <a:pathLst>
                <a:path w="641" h="506">
                  <a:moveTo>
                    <a:pt x="0" y="282"/>
                  </a:moveTo>
                  <a:lnTo>
                    <a:pt x="518" y="506"/>
                  </a:lnTo>
                  <a:lnTo>
                    <a:pt x="641" y="225"/>
                  </a:lnTo>
                  <a:lnTo>
                    <a:pt x="121" y="0"/>
                  </a:lnTo>
                  <a:lnTo>
                    <a:pt x="0" y="282"/>
                  </a:lnTo>
                  <a:close/>
                </a:path>
              </a:pathLst>
            </a:custGeom>
            <a:solidFill>
              <a:srgbClr val="42464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32" name="íṣľîḓe">
              <a:extLst>
                <a:ext uri="{FF2B5EF4-FFF2-40B4-BE49-F238E27FC236}">
                  <a16:creationId xmlns:a16="http://schemas.microsoft.com/office/drawing/2014/main" id="{8D220922-7C85-47C1-9F13-0A627DB71135}"/>
                </a:ext>
              </a:extLst>
            </p:cNvPr>
            <p:cNvSpPr/>
            <p:nvPr/>
          </p:nvSpPr>
          <p:spPr bwMode="auto">
            <a:xfrm>
              <a:off x="4970463" y="4287838"/>
              <a:ext cx="1492250" cy="1522413"/>
            </a:xfrm>
            <a:custGeom>
              <a:avLst/>
              <a:gdLst>
                <a:gd name="T0" fmla="*/ 132 w 397"/>
                <a:gd name="T1" fmla="*/ 24 h 405"/>
                <a:gd name="T2" fmla="*/ 196 w 397"/>
                <a:gd name="T3" fmla="*/ 15 h 405"/>
                <a:gd name="T4" fmla="*/ 397 w 397"/>
                <a:gd name="T5" fmla="*/ 171 h 405"/>
                <a:gd name="T6" fmla="*/ 225 w 397"/>
                <a:gd name="T7" fmla="*/ 405 h 405"/>
                <a:gd name="T8" fmla="*/ 39 w 397"/>
                <a:gd name="T9" fmla="*/ 269 h 405"/>
                <a:gd name="T10" fmla="*/ 23 w 397"/>
                <a:gd name="T11" fmla="*/ 168 h 405"/>
                <a:gd name="T12" fmla="*/ 132 w 397"/>
                <a:gd name="T13" fmla="*/ 24 h 405"/>
              </a:gdLst>
              <a:ahLst/>
              <a:cxnLst>
                <a:cxn ang="0">
                  <a:pos x="T0" y="T1"/>
                </a:cxn>
                <a:cxn ang="0">
                  <a:pos x="T2" y="T3"/>
                </a:cxn>
                <a:cxn ang="0">
                  <a:pos x="T4" y="T5"/>
                </a:cxn>
                <a:cxn ang="0">
                  <a:pos x="T6" y="T7"/>
                </a:cxn>
                <a:cxn ang="0">
                  <a:pos x="T8" y="T9"/>
                </a:cxn>
                <a:cxn ang="0">
                  <a:pos x="T10" y="T11"/>
                </a:cxn>
                <a:cxn ang="0">
                  <a:pos x="T12" y="T13"/>
                </a:cxn>
              </a:cxnLst>
              <a:rect l="0" t="0" r="r" b="b"/>
              <a:pathLst>
                <a:path w="397" h="405">
                  <a:moveTo>
                    <a:pt x="132" y="24"/>
                  </a:moveTo>
                  <a:cubicBezTo>
                    <a:pt x="147" y="4"/>
                    <a:pt x="176" y="0"/>
                    <a:pt x="196" y="15"/>
                  </a:cubicBezTo>
                  <a:cubicBezTo>
                    <a:pt x="397" y="171"/>
                    <a:pt x="397" y="171"/>
                    <a:pt x="397" y="171"/>
                  </a:cubicBezTo>
                  <a:cubicBezTo>
                    <a:pt x="225" y="405"/>
                    <a:pt x="225" y="405"/>
                    <a:pt x="225" y="405"/>
                  </a:cubicBezTo>
                  <a:cubicBezTo>
                    <a:pt x="39" y="269"/>
                    <a:pt x="39" y="269"/>
                    <a:pt x="39" y="269"/>
                  </a:cubicBezTo>
                  <a:cubicBezTo>
                    <a:pt x="7" y="245"/>
                    <a:pt x="0" y="200"/>
                    <a:pt x="23" y="168"/>
                  </a:cubicBezTo>
                  <a:cubicBezTo>
                    <a:pt x="132" y="24"/>
                    <a:pt x="132" y="24"/>
                    <a:pt x="132" y="24"/>
                  </a:cubicBezTo>
                </a:path>
              </a:pathLst>
            </a:custGeom>
            <a:solidFill>
              <a:srgbClr val="96502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33" name="íš1íḋé">
              <a:extLst>
                <a:ext uri="{FF2B5EF4-FFF2-40B4-BE49-F238E27FC236}">
                  <a16:creationId xmlns:a16="http://schemas.microsoft.com/office/drawing/2014/main" id="{DBD15FDB-1D63-4EFE-8E35-E4586FC5C9A5}"/>
                </a:ext>
              </a:extLst>
            </p:cNvPr>
            <p:cNvSpPr/>
            <p:nvPr/>
          </p:nvSpPr>
          <p:spPr bwMode="auto">
            <a:xfrm>
              <a:off x="4970463" y="4892675"/>
              <a:ext cx="882650" cy="917575"/>
            </a:xfrm>
            <a:custGeom>
              <a:avLst/>
              <a:gdLst>
                <a:gd name="T0" fmla="*/ 235 w 235"/>
                <a:gd name="T1" fmla="*/ 231 h 244"/>
                <a:gd name="T2" fmla="*/ 49 w 235"/>
                <a:gd name="T3" fmla="*/ 91 h 244"/>
                <a:gd name="T4" fmla="*/ 28 w 235"/>
                <a:gd name="T5" fmla="*/ 0 h 244"/>
                <a:gd name="T6" fmla="*/ 23 w 235"/>
                <a:gd name="T7" fmla="*/ 7 h 244"/>
                <a:gd name="T8" fmla="*/ 39 w 235"/>
                <a:gd name="T9" fmla="*/ 108 h 244"/>
                <a:gd name="T10" fmla="*/ 225 w 235"/>
                <a:gd name="T11" fmla="*/ 244 h 244"/>
                <a:gd name="T12" fmla="*/ 235 w 235"/>
                <a:gd name="T13" fmla="*/ 231 h 244"/>
              </a:gdLst>
              <a:ahLst/>
              <a:cxnLst>
                <a:cxn ang="0">
                  <a:pos x="T0" y="T1"/>
                </a:cxn>
                <a:cxn ang="0">
                  <a:pos x="T2" y="T3"/>
                </a:cxn>
                <a:cxn ang="0">
                  <a:pos x="T4" y="T5"/>
                </a:cxn>
                <a:cxn ang="0">
                  <a:pos x="T6" y="T7"/>
                </a:cxn>
                <a:cxn ang="0">
                  <a:pos x="T8" y="T9"/>
                </a:cxn>
                <a:cxn ang="0">
                  <a:pos x="T10" y="T11"/>
                </a:cxn>
                <a:cxn ang="0">
                  <a:pos x="T12" y="T13"/>
                </a:cxn>
              </a:cxnLst>
              <a:rect l="0" t="0" r="r" b="b"/>
              <a:pathLst>
                <a:path w="235" h="244">
                  <a:moveTo>
                    <a:pt x="235" y="231"/>
                  </a:moveTo>
                  <a:cubicBezTo>
                    <a:pt x="49" y="91"/>
                    <a:pt x="49" y="91"/>
                    <a:pt x="49" y="91"/>
                  </a:cubicBezTo>
                  <a:cubicBezTo>
                    <a:pt x="20" y="70"/>
                    <a:pt x="12" y="31"/>
                    <a:pt x="28" y="0"/>
                  </a:cubicBezTo>
                  <a:cubicBezTo>
                    <a:pt x="23" y="7"/>
                    <a:pt x="23" y="7"/>
                    <a:pt x="23" y="7"/>
                  </a:cubicBezTo>
                  <a:cubicBezTo>
                    <a:pt x="0" y="39"/>
                    <a:pt x="7" y="84"/>
                    <a:pt x="39" y="108"/>
                  </a:cubicBezTo>
                  <a:cubicBezTo>
                    <a:pt x="225" y="244"/>
                    <a:pt x="225" y="244"/>
                    <a:pt x="225" y="244"/>
                  </a:cubicBezTo>
                  <a:lnTo>
                    <a:pt x="235" y="231"/>
                  </a:lnTo>
                  <a:close/>
                </a:path>
              </a:pathLst>
            </a:custGeom>
            <a:solidFill>
              <a:srgbClr val="8A492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34" name="íṧľiḑê">
              <a:extLst>
                <a:ext uri="{FF2B5EF4-FFF2-40B4-BE49-F238E27FC236}">
                  <a16:creationId xmlns:a16="http://schemas.microsoft.com/office/drawing/2014/main" id="{ABD54731-0847-4A9A-93DE-6EADF2E98527}"/>
                </a:ext>
              </a:extLst>
            </p:cNvPr>
            <p:cNvSpPr/>
            <p:nvPr/>
          </p:nvSpPr>
          <p:spPr bwMode="auto">
            <a:xfrm>
              <a:off x="6029326" y="4092575"/>
              <a:ext cx="458788" cy="146050"/>
            </a:xfrm>
            <a:custGeom>
              <a:avLst/>
              <a:gdLst>
                <a:gd name="T0" fmla="*/ 52 w 122"/>
                <a:gd name="T1" fmla="*/ 0 h 39"/>
                <a:gd name="T2" fmla="*/ 0 w 122"/>
                <a:gd name="T3" fmla="*/ 12 h 39"/>
                <a:gd name="T4" fmla="*/ 76 w 122"/>
                <a:gd name="T5" fmla="*/ 39 h 39"/>
                <a:gd name="T6" fmla="*/ 122 w 122"/>
                <a:gd name="T7" fmla="*/ 22 h 39"/>
                <a:gd name="T8" fmla="*/ 52 w 122"/>
                <a:gd name="T9" fmla="*/ 0 h 39"/>
              </a:gdLst>
              <a:ahLst/>
              <a:cxnLst>
                <a:cxn ang="0">
                  <a:pos x="T0" y="T1"/>
                </a:cxn>
                <a:cxn ang="0">
                  <a:pos x="T2" y="T3"/>
                </a:cxn>
                <a:cxn ang="0">
                  <a:pos x="T4" y="T5"/>
                </a:cxn>
                <a:cxn ang="0">
                  <a:pos x="T6" y="T7"/>
                </a:cxn>
                <a:cxn ang="0">
                  <a:pos x="T8" y="T9"/>
                </a:cxn>
              </a:cxnLst>
              <a:rect l="0" t="0" r="r" b="b"/>
              <a:pathLst>
                <a:path w="122" h="39">
                  <a:moveTo>
                    <a:pt x="52" y="0"/>
                  </a:moveTo>
                  <a:cubicBezTo>
                    <a:pt x="34" y="0"/>
                    <a:pt x="16" y="4"/>
                    <a:pt x="0" y="12"/>
                  </a:cubicBezTo>
                  <a:cubicBezTo>
                    <a:pt x="76" y="39"/>
                    <a:pt x="76" y="39"/>
                    <a:pt x="76" y="39"/>
                  </a:cubicBezTo>
                  <a:cubicBezTo>
                    <a:pt x="122" y="22"/>
                    <a:pt x="122" y="22"/>
                    <a:pt x="122" y="22"/>
                  </a:cubicBezTo>
                  <a:cubicBezTo>
                    <a:pt x="102" y="8"/>
                    <a:pt x="77" y="0"/>
                    <a:pt x="5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35" name="iṡlîḍè">
              <a:extLst>
                <a:ext uri="{FF2B5EF4-FFF2-40B4-BE49-F238E27FC236}">
                  <a16:creationId xmlns:a16="http://schemas.microsoft.com/office/drawing/2014/main" id="{EB2F1587-5B04-4B84-AF84-4401307C701D}"/>
                </a:ext>
              </a:extLst>
            </p:cNvPr>
            <p:cNvSpPr/>
            <p:nvPr/>
          </p:nvSpPr>
          <p:spPr bwMode="auto">
            <a:xfrm>
              <a:off x="5707063" y="4137025"/>
              <a:ext cx="608013" cy="285750"/>
            </a:xfrm>
            <a:custGeom>
              <a:avLst/>
              <a:gdLst>
                <a:gd name="T0" fmla="*/ 86 w 162"/>
                <a:gd name="T1" fmla="*/ 0 h 76"/>
                <a:gd name="T2" fmla="*/ 72 w 162"/>
                <a:gd name="T3" fmla="*/ 8 h 76"/>
                <a:gd name="T4" fmla="*/ 61 w 162"/>
                <a:gd name="T5" fmla="*/ 16 h 76"/>
                <a:gd name="T6" fmla="*/ 60 w 162"/>
                <a:gd name="T7" fmla="*/ 16 h 76"/>
                <a:gd name="T8" fmla="*/ 0 w 162"/>
                <a:gd name="T9" fmla="*/ 55 h 76"/>
                <a:gd name="T10" fmla="*/ 27 w 162"/>
                <a:gd name="T11" fmla="*/ 76 h 76"/>
                <a:gd name="T12" fmla="*/ 162 w 162"/>
                <a:gd name="T13" fmla="*/ 27 h 76"/>
                <a:gd name="T14" fmla="*/ 86 w 162"/>
                <a:gd name="T15" fmla="*/ 0 h 7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2" h="76">
                  <a:moveTo>
                    <a:pt x="86" y="0"/>
                  </a:moveTo>
                  <a:cubicBezTo>
                    <a:pt x="81" y="2"/>
                    <a:pt x="76" y="5"/>
                    <a:pt x="72" y="8"/>
                  </a:cubicBezTo>
                  <a:cubicBezTo>
                    <a:pt x="61" y="16"/>
                    <a:pt x="61" y="16"/>
                    <a:pt x="61" y="16"/>
                  </a:cubicBezTo>
                  <a:cubicBezTo>
                    <a:pt x="60" y="16"/>
                    <a:pt x="60" y="16"/>
                    <a:pt x="60" y="16"/>
                  </a:cubicBezTo>
                  <a:cubicBezTo>
                    <a:pt x="0" y="55"/>
                    <a:pt x="0" y="55"/>
                    <a:pt x="0" y="55"/>
                  </a:cubicBezTo>
                  <a:cubicBezTo>
                    <a:pt x="27" y="76"/>
                    <a:pt x="27" y="76"/>
                    <a:pt x="27" y="76"/>
                  </a:cubicBezTo>
                  <a:cubicBezTo>
                    <a:pt x="162" y="27"/>
                    <a:pt x="162" y="27"/>
                    <a:pt x="162" y="27"/>
                  </a:cubicBezTo>
                  <a:cubicBezTo>
                    <a:pt x="86" y="0"/>
                    <a:pt x="86" y="0"/>
                    <a:pt x="86" y="0"/>
                  </a:cubicBezTo>
                </a:path>
              </a:pathLst>
            </a:custGeom>
            <a:solidFill>
              <a:srgbClr val="83422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36" name="işļíḍè">
              <a:extLst>
                <a:ext uri="{FF2B5EF4-FFF2-40B4-BE49-F238E27FC236}">
                  <a16:creationId xmlns:a16="http://schemas.microsoft.com/office/drawing/2014/main" id="{6E6BAAF8-241E-4F4F-842B-2DAE55C3C89F}"/>
                </a:ext>
              </a:extLst>
            </p:cNvPr>
            <p:cNvSpPr/>
            <p:nvPr/>
          </p:nvSpPr>
          <p:spPr bwMode="auto">
            <a:xfrm>
              <a:off x="5808663" y="4175125"/>
              <a:ext cx="1006475" cy="585788"/>
            </a:xfrm>
            <a:custGeom>
              <a:avLst/>
              <a:gdLst>
                <a:gd name="T0" fmla="*/ 181 w 268"/>
                <a:gd name="T1" fmla="*/ 0 h 156"/>
                <a:gd name="T2" fmla="*/ 135 w 268"/>
                <a:gd name="T3" fmla="*/ 17 h 156"/>
                <a:gd name="T4" fmla="*/ 0 w 268"/>
                <a:gd name="T5" fmla="*/ 66 h 156"/>
                <a:gd name="T6" fmla="*/ 32 w 268"/>
                <a:gd name="T7" fmla="*/ 91 h 156"/>
                <a:gd name="T8" fmla="*/ 33 w 268"/>
                <a:gd name="T9" fmla="*/ 90 h 156"/>
                <a:gd name="T10" fmla="*/ 46 w 268"/>
                <a:gd name="T11" fmla="*/ 86 h 156"/>
                <a:gd name="T12" fmla="*/ 65 w 268"/>
                <a:gd name="T13" fmla="*/ 97 h 156"/>
                <a:gd name="T14" fmla="*/ 68 w 268"/>
                <a:gd name="T15" fmla="*/ 101 h 156"/>
                <a:gd name="T16" fmla="*/ 170 w 268"/>
                <a:gd name="T17" fmla="*/ 156 h 156"/>
                <a:gd name="T18" fmla="*/ 239 w 268"/>
                <a:gd name="T19" fmla="*/ 135 h 156"/>
                <a:gd name="T20" fmla="*/ 268 w 268"/>
                <a:gd name="T21" fmla="*/ 116 h 156"/>
                <a:gd name="T22" fmla="*/ 211 w 268"/>
                <a:gd name="T23" fmla="*/ 31 h 156"/>
                <a:gd name="T24" fmla="*/ 181 w 268"/>
                <a:gd name="T25" fmla="*/ 0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8" h="156">
                  <a:moveTo>
                    <a:pt x="181" y="0"/>
                  </a:moveTo>
                  <a:cubicBezTo>
                    <a:pt x="135" y="17"/>
                    <a:pt x="135" y="17"/>
                    <a:pt x="135" y="17"/>
                  </a:cubicBezTo>
                  <a:cubicBezTo>
                    <a:pt x="0" y="66"/>
                    <a:pt x="0" y="66"/>
                    <a:pt x="0" y="66"/>
                  </a:cubicBezTo>
                  <a:cubicBezTo>
                    <a:pt x="32" y="91"/>
                    <a:pt x="32" y="91"/>
                    <a:pt x="32" y="91"/>
                  </a:cubicBezTo>
                  <a:cubicBezTo>
                    <a:pt x="33" y="90"/>
                    <a:pt x="33" y="90"/>
                    <a:pt x="33" y="90"/>
                  </a:cubicBezTo>
                  <a:cubicBezTo>
                    <a:pt x="37" y="88"/>
                    <a:pt x="41" y="86"/>
                    <a:pt x="46" y="86"/>
                  </a:cubicBezTo>
                  <a:cubicBezTo>
                    <a:pt x="53" y="86"/>
                    <a:pt x="61" y="90"/>
                    <a:pt x="65" y="97"/>
                  </a:cubicBezTo>
                  <a:cubicBezTo>
                    <a:pt x="68" y="101"/>
                    <a:pt x="68" y="101"/>
                    <a:pt x="68" y="101"/>
                  </a:cubicBezTo>
                  <a:cubicBezTo>
                    <a:pt x="92" y="137"/>
                    <a:pt x="131" y="156"/>
                    <a:pt x="170" y="156"/>
                  </a:cubicBezTo>
                  <a:cubicBezTo>
                    <a:pt x="194" y="156"/>
                    <a:pt x="218" y="149"/>
                    <a:pt x="239" y="135"/>
                  </a:cubicBezTo>
                  <a:cubicBezTo>
                    <a:pt x="268" y="116"/>
                    <a:pt x="268" y="116"/>
                    <a:pt x="268" y="116"/>
                  </a:cubicBezTo>
                  <a:cubicBezTo>
                    <a:pt x="211" y="31"/>
                    <a:pt x="211" y="31"/>
                    <a:pt x="211" y="31"/>
                  </a:cubicBezTo>
                  <a:cubicBezTo>
                    <a:pt x="203" y="19"/>
                    <a:pt x="192" y="8"/>
                    <a:pt x="181" y="0"/>
                  </a:cubicBezTo>
                </a:path>
              </a:pathLst>
            </a:custGeom>
            <a:solidFill>
              <a:srgbClr val="FF964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37" name="îṩḻídê">
              <a:extLst>
                <a:ext uri="{FF2B5EF4-FFF2-40B4-BE49-F238E27FC236}">
                  <a16:creationId xmlns:a16="http://schemas.microsoft.com/office/drawing/2014/main" id="{865DC740-C537-499E-B957-43E0A34AF825}"/>
                </a:ext>
              </a:extLst>
            </p:cNvPr>
            <p:cNvSpPr/>
            <p:nvPr/>
          </p:nvSpPr>
          <p:spPr bwMode="auto">
            <a:xfrm>
              <a:off x="5405438" y="4344988"/>
              <a:ext cx="523875" cy="368300"/>
            </a:xfrm>
            <a:custGeom>
              <a:avLst/>
              <a:gdLst>
                <a:gd name="T0" fmla="*/ 80 w 139"/>
                <a:gd name="T1" fmla="*/ 0 h 98"/>
                <a:gd name="T2" fmla="*/ 15 w 139"/>
                <a:gd name="T3" fmla="*/ 43 h 98"/>
                <a:gd name="T4" fmla="*/ 8 w 139"/>
                <a:gd name="T5" fmla="*/ 78 h 98"/>
                <a:gd name="T6" fmla="*/ 46 w 139"/>
                <a:gd name="T7" fmla="*/ 98 h 98"/>
                <a:gd name="T8" fmla="*/ 71 w 139"/>
                <a:gd name="T9" fmla="*/ 90 h 98"/>
                <a:gd name="T10" fmla="*/ 139 w 139"/>
                <a:gd name="T11" fmla="*/ 46 h 98"/>
                <a:gd name="T12" fmla="*/ 107 w 139"/>
                <a:gd name="T13" fmla="*/ 21 h 98"/>
                <a:gd name="T14" fmla="*/ 80 w 139"/>
                <a:gd name="T15" fmla="*/ 0 h 9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9" h="98">
                  <a:moveTo>
                    <a:pt x="80" y="0"/>
                  </a:moveTo>
                  <a:cubicBezTo>
                    <a:pt x="15" y="43"/>
                    <a:pt x="15" y="43"/>
                    <a:pt x="15" y="43"/>
                  </a:cubicBezTo>
                  <a:cubicBezTo>
                    <a:pt x="3" y="51"/>
                    <a:pt x="0" y="67"/>
                    <a:pt x="8" y="78"/>
                  </a:cubicBezTo>
                  <a:cubicBezTo>
                    <a:pt x="17" y="91"/>
                    <a:pt x="31" y="98"/>
                    <a:pt x="46" y="98"/>
                  </a:cubicBezTo>
                  <a:cubicBezTo>
                    <a:pt x="54" y="98"/>
                    <a:pt x="63" y="96"/>
                    <a:pt x="71" y="90"/>
                  </a:cubicBezTo>
                  <a:cubicBezTo>
                    <a:pt x="139" y="46"/>
                    <a:pt x="139" y="46"/>
                    <a:pt x="139" y="46"/>
                  </a:cubicBezTo>
                  <a:cubicBezTo>
                    <a:pt x="107" y="21"/>
                    <a:pt x="107" y="21"/>
                    <a:pt x="107" y="21"/>
                  </a:cubicBezTo>
                  <a:cubicBezTo>
                    <a:pt x="80" y="0"/>
                    <a:pt x="80" y="0"/>
                    <a:pt x="80" y="0"/>
                  </a:cubicBezTo>
                </a:path>
              </a:pathLst>
            </a:custGeom>
            <a:solidFill>
              <a:srgbClr val="83422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38" name="iṥlïďé">
              <a:extLst>
                <a:ext uri="{FF2B5EF4-FFF2-40B4-BE49-F238E27FC236}">
                  <a16:creationId xmlns:a16="http://schemas.microsoft.com/office/drawing/2014/main" id="{D389A84E-AA65-4A03-B348-97781773E268}"/>
                </a:ext>
              </a:extLst>
            </p:cNvPr>
            <p:cNvSpPr/>
            <p:nvPr/>
          </p:nvSpPr>
          <p:spPr bwMode="auto">
            <a:xfrm>
              <a:off x="5429251" y="4005263"/>
              <a:ext cx="1404938" cy="804863"/>
            </a:xfrm>
            <a:custGeom>
              <a:avLst/>
              <a:gdLst>
                <a:gd name="T0" fmla="*/ 7 w 374"/>
                <a:gd name="T1" fmla="*/ 156 h 214"/>
                <a:gd name="T2" fmla="*/ 15 w 374"/>
                <a:gd name="T3" fmla="*/ 122 h 214"/>
                <a:gd name="T4" fmla="*/ 143 w 374"/>
                <a:gd name="T5" fmla="*/ 43 h 214"/>
                <a:gd name="T6" fmla="*/ 143 w 374"/>
                <a:gd name="T7" fmla="*/ 42 h 214"/>
                <a:gd name="T8" fmla="*/ 155 w 374"/>
                <a:gd name="T9" fmla="*/ 35 h 214"/>
                <a:gd name="T10" fmla="*/ 319 w 374"/>
                <a:gd name="T11" fmla="*/ 72 h 214"/>
                <a:gd name="T12" fmla="*/ 374 w 374"/>
                <a:gd name="T13" fmla="*/ 159 h 214"/>
                <a:gd name="T14" fmla="*/ 345 w 374"/>
                <a:gd name="T15" fmla="*/ 177 h 214"/>
                <a:gd name="T16" fmla="*/ 175 w 374"/>
                <a:gd name="T17" fmla="*/ 139 h 214"/>
                <a:gd name="T18" fmla="*/ 172 w 374"/>
                <a:gd name="T19" fmla="*/ 135 h 214"/>
                <a:gd name="T20" fmla="*/ 140 w 374"/>
                <a:gd name="T21" fmla="*/ 127 h 214"/>
                <a:gd name="T22" fmla="*/ 70 w 374"/>
                <a:gd name="T23" fmla="*/ 171 h 214"/>
                <a:gd name="T24" fmla="*/ 7 w 374"/>
                <a:gd name="T25" fmla="*/ 156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74" h="214">
                  <a:moveTo>
                    <a:pt x="7" y="156"/>
                  </a:moveTo>
                  <a:cubicBezTo>
                    <a:pt x="0" y="145"/>
                    <a:pt x="3" y="129"/>
                    <a:pt x="15" y="122"/>
                  </a:cubicBezTo>
                  <a:cubicBezTo>
                    <a:pt x="143" y="43"/>
                    <a:pt x="143" y="43"/>
                    <a:pt x="143" y="43"/>
                  </a:cubicBezTo>
                  <a:cubicBezTo>
                    <a:pt x="143" y="42"/>
                    <a:pt x="143" y="42"/>
                    <a:pt x="143" y="42"/>
                  </a:cubicBezTo>
                  <a:cubicBezTo>
                    <a:pt x="155" y="35"/>
                    <a:pt x="155" y="35"/>
                    <a:pt x="155" y="35"/>
                  </a:cubicBezTo>
                  <a:cubicBezTo>
                    <a:pt x="210" y="0"/>
                    <a:pt x="284" y="17"/>
                    <a:pt x="319" y="72"/>
                  </a:cubicBezTo>
                  <a:cubicBezTo>
                    <a:pt x="374" y="159"/>
                    <a:pt x="374" y="159"/>
                    <a:pt x="374" y="159"/>
                  </a:cubicBezTo>
                  <a:cubicBezTo>
                    <a:pt x="345" y="177"/>
                    <a:pt x="345" y="177"/>
                    <a:pt x="345" y="177"/>
                  </a:cubicBezTo>
                  <a:cubicBezTo>
                    <a:pt x="287" y="214"/>
                    <a:pt x="211" y="196"/>
                    <a:pt x="175" y="139"/>
                  </a:cubicBezTo>
                  <a:cubicBezTo>
                    <a:pt x="172" y="135"/>
                    <a:pt x="172" y="135"/>
                    <a:pt x="172" y="135"/>
                  </a:cubicBezTo>
                  <a:cubicBezTo>
                    <a:pt x="165" y="124"/>
                    <a:pt x="151" y="120"/>
                    <a:pt x="140" y="127"/>
                  </a:cubicBezTo>
                  <a:cubicBezTo>
                    <a:pt x="70" y="171"/>
                    <a:pt x="70" y="171"/>
                    <a:pt x="70" y="171"/>
                  </a:cubicBezTo>
                  <a:cubicBezTo>
                    <a:pt x="49" y="184"/>
                    <a:pt x="21" y="178"/>
                    <a:pt x="7" y="156"/>
                  </a:cubicBezTo>
                  <a:close/>
                </a:path>
              </a:pathLst>
            </a:custGeom>
            <a:solidFill>
              <a:srgbClr val="FFA65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39" name="íṡ1îḓe">
              <a:extLst>
                <a:ext uri="{FF2B5EF4-FFF2-40B4-BE49-F238E27FC236}">
                  <a16:creationId xmlns:a16="http://schemas.microsoft.com/office/drawing/2014/main" id="{B4DC599E-AB72-4972-862E-B6F59E353633}"/>
                </a:ext>
              </a:extLst>
            </p:cNvPr>
            <p:cNvSpPr/>
            <p:nvPr/>
          </p:nvSpPr>
          <p:spPr bwMode="auto">
            <a:xfrm>
              <a:off x="5432426" y="4386263"/>
              <a:ext cx="206375" cy="184150"/>
            </a:xfrm>
            <a:custGeom>
              <a:avLst/>
              <a:gdLst>
                <a:gd name="T0" fmla="*/ 21 w 55"/>
                <a:gd name="T1" fmla="*/ 46 h 49"/>
                <a:gd name="T2" fmla="*/ 8 w 55"/>
                <a:gd name="T3" fmla="*/ 43 h 49"/>
                <a:gd name="T4" fmla="*/ 0 w 55"/>
                <a:gd name="T5" fmla="*/ 32 h 49"/>
                <a:gd name="T6" fmla="*/ 1 w 55"/>
                <a:gd name="T7" fmla="*/ 29 h 49"/>
                <a:gd name="T8" fmla="*/ 15 w 55"/>
                <a:gd name="T9" fmla="*/ 18 h 49"/>
                <a:gd name="T10" fmla="*/ 46 w 55"/>
                <a:gd name="T11" fmla="*/ 1 h 49"/>
                <a:gd name="T12" fmla="*/ 48 w 55"/>
                <a:gd name="T13" fmla="*/ 0 h 49"/>
                <a:gd name="T14" fmla="*/ 41 w 55"/>
                <a:gd name="T15" fmla="*/ 33 h 49"/>
                <a:gd name="T16" fmla="*/ 21 w 55"/>
                <a:gd name="T17" fmla="*/ 46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5" h="49">
                  <a:moveTo>
                    <a:pt x="21" y="46"/>
                  </a:moveTo>
                  <a:cubicBezTo>
                    <a:pt x="17" y="49"/>
                    <a:pt x="11" y="48"/>
                    <a:pt x="8" y="43"/>
                  </a:cubicBezTo>
                  <a:cubicBezTo>
                    <a:pt x="0" y="32"/>
                    <a:pt x="0" y="32"/>
                    <a:pt x="0" y="32"/>
                  </a:cubicBezTo>
                  <a:cubicBezTo>
                    <a:pt x="0" y="31"/>
                    <a:pt x="0" y="30"/>
                    <a:pt x="1" y="29"/>
                  </a:cubicBezTo>
                  <a:cubicBezTo>
                    <a:pt x="15" y="18"/>
                    <a:pt x="15" y="18"/>
                    <a:pt x="15" y="18"/>
                  </a:cubicBezTo>
                  <a:cubicBezTo>
                    <a:pt x="24" y="11"/>
                    <a:pt x="34" y="5"/>
                    <a:pt x="46" y="1"/>
                  </a:cubicBezTo>
                  <a:cubicBezTo>
                    <a:pt x="48" y="0"/>
                    <a:pt x="48" y="0"/>
                    <a:pt x="48" y="0"/>
                  </a:cubicBezTo>
                  <a:cubicBezTo>
                    <a:pt x="55" y="11"/>
                    <a:pt x="52" y="26"/>
                    <a:pt x="41" y="33"/>
                  </a:cubicBezTo>
                  <a:lnTo>
                    <a:pt x="21" y="46"/>
                  </a:lnTo>
                  <a:close/>
                </a:path>
              </a:pathLst>
            </a:custGeom>
            <a:solidFill>
              <a:srgbClr val="FFBA8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40" name="íṣļiḍe">
              <a:extLst>
                <a:ext uri="{FF2B5EF4-FFF2-40B4-BE49-F238E27FC236}">
                  <a16:creationId xmlns:a16="http://schemas.microsoft.com/office/drawing/2014/main" id="{A52C2BFD-FC51-49B4-8DD2-A1F988B3ED2B}"/>
                </a:ext>
              </a:extLst>
            </p:cNvPr>
            <p:cNvSpPr/>
            <p:nvPr/>
          </p:nvSpPr>
          <p:spPr bwMode="auto">
            <a:xfrm>
              <a:off x="5000626" y="5235575"/>
              <a:ext cx="346075" cy="334963"/>
            </a:xfrm>
            <a:custGeom>
              <a:avLst/>
              <a:gdLst>
                <a:gd name="T0" fmla="*/ 33 w 92"/>
                <a:gd name="T1" fmla="*/ 12 h 89"/>
                <a:gd name="T2" fmla="*/ 19 w 92"/>
                <a:gd name="T3" fmla="*/ 21 h 89"/>
                <a:gd name="T4" fmla="*/ 11 w 92"/>
                <a:gd name="T5" fmla="*/ 70 h 89"/>
                <a:gd name="T6" fmla="*/ 60 w 92"/>
                <a:gd name="T7" fmla="*/ 78 h 89"/>
                <a:gd name="T8" fmla="*/ 73 w 92"/>
                <a:gd name="T9" fmla="*/ 68 h 89"/>
                <a:gd name="T10" fmla="*/ 81 w 92"/>
                <a:gd name="T11" fmla="*/ 19 h 89"/>
                <a:gd name="T12" fmla="*/ 33 w 92"/>
                <a:gd name="T13" fmla="*/ 12 h 89"/>
              </a:gdLst>
              <a:ahLst/>
              <a:cxnLst>
                <a:cxn ang="0">
                  <a:pos x="T0" y="T1"/>
                </a:cxn>
                <a:cxn ang="0">
                  <a:pos x="T2" y="T3"/>
                </a:cxn>
                <a:cxn ang="0">
                  <a:pos x="T4" y="T5"/>
                </a:cxn>
                <a:cxn ang="0">
                  <a:pos x="T6" y="T7"/>
                </a:cxn>
                <a:cxn ang="0">
                  <a:pos x="T8" y="T9"/>
                </a:cxn>
                <a:cxn ang="0">
                  <a:pos x="T10" y="T11"/>
                </a:cxn>
                <a:cxn ang="0">
                  <a:pos x="T12" y="T13"/>
                </a:cxn>
              </a:cxnLst>
              <a:rect l="0" t="0" r="r" b="b"/>
              <a:pathLst>
                <a:path w="92" h="89">
                  <a:moveTo>
                    <a:pt x="33" y="12"/>
                  </a:moveTo>
                  <a:cubicBezTo>
                    <a:pt x="19" y="21"/>
                    <a:pt x="19" y="21"/>
                    <a:pt x="19" y="21"/>
                  </a:cubicBezTo>
                  <a:cubicBezTo>
                    <a:pt x="3" y="32"/>
                    <a:pt x="0" y="54"/>
                    <a:pt x="11" y="70"/>
                  </a:cubicBezTo>
                  <a:cubicBezTo>
                    <a:pt x="22" y="86"/>
                    <a:pt x="44" y="89"/>
                    <a:pt x="60" y="78"/>
                  </a:cubicBezTo>
                  <a:cubicBezTo>
                    <a:pt x="73" y="68"/>
                    <a:pt x="73" y="68"/>
                    <a:pt x="73" y="68"/>
                  </a:cubicBezTo>
                  <a:cubicBezTo>
                    <a:pt x="89" y="57"/>
                    <a:pt x="92" y="35"/>
                    <a:pt x="81" y="19"/>
                  </a:cubicBezTo>
                  <a:cubicBezTo>
                    <a:pt x="70" y="4"/>
                    <a:pt x="48" y="0"/>
                    <a:pt x="33" y="12"/>
                  </a:cubicBezTo>
                </a:path>
              </a:pathLst>
            </a:custGeom>
            <a:solidFill>
              <a:srgbClr val="FFA65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41" name="íṣ1iḍê">
              <a:extLst>
                <a:ext uri="{FF2B5EF4-FFF2-40B4-BE49-F238E27FC236}">
                  <a16:creationId xmlns:a16="http://schemas.microsoft.com/office/drawing/2014/main" id="{6BE2DBAC-58EE-4C4C-8B6F-2C08667C2315}"/>
                </a:ext>
              </a:extLst>
            </p:cNvPr>
            <p:cNvSpPr/>
            <p:nvPr/>
          </p:nvSpPr>
          <p:spPr bwMode="auto">
            <a:xfrm>
              <a:off x="4805363" y="5062538"/>
              <a:ext cx="349250" cy="334963"/>
            </a:xfrm>
            <a:custGeom>
              <a:avLst/>
              <a:gdLst>
                <a:gd name="T0" fmla="*/ 33 w 93"/>
                <a:gd name="T1" fmla="*/ 11 h 89"/>
                <a:gd name="T2" fmla="*/ 19 w 93"/>
                <a:gd name="T3" fmla="*/ 21 h 89"/>
                <a:gd name="T4" fmla="*/ 11 w 93"/>
                <a:gd name="T5" fmla="*/ 70 h 89"/>
                <a:gd name="T6" fmla="*/ 60 w 93"/>
                <a:gd name="T7" fmla="*/ 78 h 89"/>
                <a:gd name="T8" fmla="*/ 74 w 93"/>
                <a:gd name="T9" fmla="*/ 68 h 89"/>
                <a:gd name="T10" fmla="*/ 82 w 93"/>
                <a:gd name="T11" fmla="*/ 19 h 89"/>
                <a:gd name="T12" fmla="*/ 33 w 93"/>
                <a:gd name="T13" fmla="*/ 11 h 89"/>
              </a:gdLst>
              <a:ahLst/>
              <a:cxnLst>
                <a:cxn ang="0">
                  <a:pos x="T0" y="T1"/>
                </a:cxn>
                <a:cxn ang="0">
                  <a:pos x="T2" y="T3"/>
                </a:cxn>
                <a:cxn ang="0">
                  <a:pos x="T4" y="T5"/>
                </a:cxn>
                <a:cxn ang="0">
                  <a:pos x="T6" y="T7"/>
                </a:cxn>
                <a:cxn ang="0">
                  <a:pos x="T8" y="T9"/>
                </a:cxn>
                <a:cxn ang="0">
                  <a:pos x="T10" y="T11"/>
                </a:cxn>
                <a:cxn ang="0">
                  <a:pos x="T12" y="T13"/>
                </a:cxn>
              </a:cxnLst>
              <a:rect l="0" t="0" r="r" b="b"/>
              <a:pathLst>
                <a:path w="93" h="89">
                  <a:moveTo>
                    <a:pt x="33" y="11"/>
                  </a:moveTo>
                  <a:cubicBezTo>
                    <a:pt x="19" y="21"/>
                    <a:pt x="19" y="21"/>
                    <a:pt x="19" y="21"/>
                  </a:cubicBezTo>
                  <a:cubicBezTo>
                    <a:pt x="3" y="32"/>
                    <a:pt x="0" y="54"/>
                    <a:pt x="11" y="70"/>
                  </a:cubicBezTo>
                  <a:cubicBezTo>
                    <a:pt x="22" y="86"/>
                    <a:pt x="44" y="89"/>
                    <a:pt x="60" y="78"/>
                  </a:cubicBezTo>
                  <a:cubicBezTo>
                    <a:pt x="74" y="68"/>
                    <a:pt x="74" y="68"/>
                    <a:pt x="74" y="68"/>
                  </a:cubicBezTo>
                  <a:cubicBezTo>
                    <a:pt x="89" y="57"/>
                    <a:pt x="93" y="35"/>
                    <a:pt x="82" y="19"/>
                  </a:cubicBezTo>
                  <a:cubicBezTo>
                    <a:pt x="70" y="4"/>
                    <a:pt x="49" y="0"/>
                    <a:pt x="33" y="11"/>
                  </a:cubicBezTo>
                </a:path>
              </a:pathLst>
            </a:custGeom>
            <a:solidFill>
              <a:srgbClr val="FFA65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42" name="íšļïḓé">
              <a:extLst>
                <a:ext uri="{FF2B5EF4-FFF2-40B4-BE49-F238E27FC236}">
                  <a16:creationId xmlns:a16="http://schemas.microsoft.com/office/drawing/2014/main" id="{F4AD9E67-5282-400A-82B2-E91A498A7861}"/>
                </a:ext>
              </a:extLst>
            </p:cNvPr>
            <p:cNvSpPr/>
            <p:nvPr/>
          </p:nvSpPr>
          <p:spPr bwMode="auto">
            <a:xfrm>
              <a:off x="5176838" y="5427663"/>
              <a:ext cx="338138" cy="327025"/>
            </a:xfrm>
            <a:custGeom>
              <a:avLst/>
              <a:gdLst>
                <a:gd name="T0" fmla="*/ 30 w 90"/>
                <a:gd name="T1" fmla="*/ 11 h 87"/>
                <a:gd name="T2" fmla="*/ 19 w 90"/>
                <a:gd name="T3" fmla="*/ 19 h 87"/>
                <a:gd name="T4" fmla="*/ 11 w 90"/>
                <a:gd name="T5" fmla="*/ 68 h 87"/>
                <a:gd name="T6" fmla="*/ 60 w 90"/>
                <a:gd name="T7" fmla="*/ 76 h 87"/>
                <a:gd name="T8" fmla="*/ 71 w 90"/>
                <a:gd name="T9" fmla="*/ 68 h 87"/>
                <a:gd name="T10" fmla="*/ 79 w 90"/>
                <a:gd name="T11" fmla="*/ 19 h 87"/>
                <a:gd name="T12" fmla="*/ 30 w 90"/>
                <a:gd name="T13" fmla="*/ 11 h 87"/>
              </a:gdLst>
              <a:ahLst/>
              <a:cxnLst>
                <a:cxn ang="0">
                  <a:pos x="T0" y="T1"/>
                </a:cxn>
                <a:cxn ang="0">
                  <a:pos x="T2" y="T3"/>
                </a:cxn>
                <a:cxn ang="0">
                  <a:pos x="T4" y="T5"/>
                </a:cxn>
                <a:cxn ang="0">
                  <a:pos x="T6" y="T7"/>
                </a:cxn>
                <a:cxn ang="0">
                  <a:pos x="T8" y="T9"/>
                </a:cxn>
                <a:cxn ang="0">
                  <a:pos x="T10" y="T11"/>
                </a:cxn>
                <a:cxn ang="0">
                  <a:pos x="T12" y="T13"/>
                </a:cxn>
              </a:cxnLst>
              <a:rect l="0" t="0" r="r" b="b"/>
              <a:pathLst>
                <a:path w="90" h="87">
                  <a:moveTo>
                    <a:pt x="30" y="11"/>
                  </a:moveTo>
                  <a:cubicBezTo>
                    <a:pt x="19" y="19"/>
                    <a:pt x="19" y="19"/>
                    <a:pt x="19" y="19"/>
                  </a:cubicBezTo>
                  <a:cubicBezTo>
                    <a:pt x="4" y="30"/>
                    <a:pt x="0" y="52"/>
                    <a:pt x="11" y="68"/>
                  </a:cubicBezTo>
                  <a:cubicBezTo>
                    <a:pt x="23" y="83"/>
                    <a:pt x="44" y="87"/>
                    <a:pt x="60" y="76"/>
                  </a:cubicBezTo>
                  <a:cubicBezTo>
                    <a:pt x="71" y="68"/>
                    <a:pt x="71" y="68"/>
                    <a:pt x="71" y="68"/>
                  </a:cubicBezTo>
                  <a:cubicBezTo>
                    <a:pt x="86" y="57"/>
                    <a:pt x="90" y="35"/>
                    <a:pt x="79" y="19"/>
                  </a:cubicBezTo>
                  <a:cubicBezTo>
                    <a:pt x="67" y="4"/>
                    <a:pt x="46" y="0"/>
                    <a:pt x="30" y="11"/>
                  </a:cubicBezTo>
                </a:path>
              </a:pathLst>
            </a:custGeom>
            <a:solidFill>
              <a:srgbClr val="FFA65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43" name="îşḷíďê">
              <a:extLst>
                <a:ext uri="{FF2B5EF4-FFF2-40B4-BE49-F238E27FC236}">
                  <a16:creationId xmlns:a16="http://schemas.microsoft.com/office/drawing/2014/main" id="{8A3FC78F-A124-4716-9A3F-66DC9BE51176}"/>
                </a:ext>
              </a:extLst>
            </p:cNvPr>
            <p:cNvSpPr/>
            <p:nvPr/>
          </p:nvSpPr>
          <p:spPr bwMode="auto">
            <a:xfrm>
              <a:off x="5418138" y="5584825"/>
              <a:ext cx="266700" cy="252413"/>
            </a:xfrm>
            <a:custGeom>
              <a:avLst/>
              <a:gdLst>
                <a:gd name="T0" fmla="*/ 25 w 71"/>
                <a:gd name="T1" fmla="*/ 9 h 67"/>
                <a:gd name="T2" fmla="*/ 15 w 71"/>
                <a:gd name="T3" fmla="*/ 16 h 67"/>
                <a:gd name="T4" fmla="*/ 9 w 71"/>
                <a:gd name="T5" fmla="*/ 53 h 67"/>
                <a:gd name="T6" fmla="*/ 46 w 71"/>
                <a:gd name="T7" fmla="*/ 59 h 67"/>
                <a:gd name="T8" fmla="*/ 56 w 71"/>
                <a:gd name="T9" fmla="*/ 52 h 67"/>
                <a:gd name="T10" fmla="*/ 62 w 71"/>
                <a:gd name="T11" fmla="*/ 15 h 67"/>
                <a:gd name="T12" fmla="*/ 25 w 71"/>
                <a:gd name="T13" fmla="*/ 9 h 67"/>
              </a:gdLst>
              <a:ahLst/>
              <a:cxnLst>
                <a:cxn ang="0">
                  <a:pos x="T0" y="T1"/>
                </a:cxn>
                <a:cxn ang="0">
                  <a:pos x="T2" y="T3"/>
                </a:cxn>
                <a:cxn ang="0">
                  <a:pos x="T4" y="T5"/>
                </a:cxn>
                <a:cxn ang="0">
                  <a:pos x="T6" y="T7"/>
                </a:cxn>
                <a:cxn ang="0">
                  <a:pos x="T8" y="T9"/>
                </a:cxn>
                <a:cxn ang="0">
                  <a:pos x="T10" y="T11"/>
                </a:cxn>
                <a:cxn ang="0">
                  <a:pos x="T12" y="T13"/>
                </a:cxn>
              </a:cxnLst>
              <a:rect l="0" t="0" r="r" b="b"/>
              <a:pathLst>
                <a:path w="71" h="67">
                  <a:moveTo>
                    <a:pt x="25" y="9"/>
                  </a:moveTo>
                  <a:cubicBezTo>
                    <a:pt x="15" y="16"/>
                    <a:pt x="15" y="16"/>
                    <a:pt x="15" y="16"/>
                  </a:cubicBezTo>
                  <a:cubicBezTo>
                    <a:pt x="3" y="24"/>
                    <a:pt x="0" y="41"/>
                    <a:pt x="9" y="53"/>
                  </a:cubicBezTo>
                  <a:cubicBezTo>
                    <a:pt x="17" y="65"/>
                    <a:pt x="34" y="67"/>
                    <a:pt x="46" y="59"/>
                  </a:cubicBezTo>
                  <a:cubicBezTo>
                    <a:pt x="56" y="52"/>
                    <a:pt x="56" y="52"/>
                    <a:pt x="56" y="52"/>
                  </a:cubicBezTo>
                  <a:cubicBezTo>
                    <a:pt x="68" y="43"/>
                    <a:pt x="71" y="27"/>
                    <a:pt x="62" y="15"/>
                  </a:cubicBezTo>
                  <a:cubicBezTo>
                    <a:pt x="53" y="3"/>
                    <a:pt x="37" y="0"/>
                    <a:pt x="25" y="9"/>
                  </a:cubicBezTo>
                </a:path>
              </a:pathLst>
            </a:custGeom>
            <a:solidFill>
              <a:srgbClr val="FFA65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44" name="îśľîḍe">
              <a:extLst>
                <a:ext uri="{FF2B5EF4-FFF2-40B4-BE49-F238E27FC236}">
                  <a16:creationId xmlns:a16="http://schemas.microsoft.com/office/drawing/2014/main" id="{64E9AE3C-6883-4381-B08B-FAA5B99E516B}"/>
                </a:ext>
              </a:extLst>
            </p:cNvPr>
            <p:cNvSpPr/>
            <p:nvPr/>
          </p:nvSpPr>
          <p:spPr bwMode="auto">
            <a:xfrm>
              <a:off x="4797426" y="5197475"/>
              <a:ext cx="187325" cy="195263"/>
            </a:xfrm>
            <a:custGeom>
              <a:avLst/>
              <a:gdLst>
                <a:gd name="T0" fmla="*/ 43 w 50"/>
                <a:gd name="T1" fmla="*/ 46 h 52"/>
                <a:gd name="T2" fmla="*/ 13 w 50"/>
                <a:gd name="T3" fmla="*/ 37 h 52"/>
                <a:gd name="T4" fmla="*/ 7 w 50"/>
                <a:gd name="T5" fmla="*/ 7 h 52"/>
                <a:gd name="T6" fmla="*/ 25 w 50"/>
                <a:gd name="T7" fmla="*/ 26 h 52"/>
                <a:gd name="T8" fmla="*/ 43 w 50"/>
                <a:gd name="T9" fmla="*/ 46 h 52"/>
              </a:gdLst>
              <a:ahLst/>
              <a:cxnLst>
                <a:cxn ang="0">
                  <a:pos x="T0" y="T1"/>
                </a:cxn>
                <a:cxn ang="0">
                  <a:pos x="T2" y="T3"/>
                </a:cxn>
                <a:cxn ang="0">
                  <a:pos x="T4" y="T5"/>
                </a:cxn>
                <a:cxn ang="0">
                  <a:pos x="T6" y="T7"/>
                </a:cxn>
                <a:cxn ang="0">
                  <a:pos x="T8" y="T9"/>
                </a:cxn>
              </a:cxnLst>
              <a:rect l="0" t="0" r="r" b="b"/>
              <a:pathLst>
                <a:path w="50" h="52">
                  <a:moveTo>
                    <a:pt x="43" y="46"/>
                  </a:moveTo>
                  <a:cubicBezTo>
                    <a:pt x="36" y="52"/>
                    <a:pt x="23" y="48"/>
                    <a:pt x="13" y="37"/>
                  </a:cubicBezTo>
                  <a:cubicBezTo>
                    <a:pt x="3" y="26"/>
                    <a:pt x="0" y="13"/>
                    <a:pt x="7" y="7"/>
                  </a:cubicBezTo>
                  <a:cubicBezTo>
                    <a:pt x="14" y="0"/>
                    <a:pt x="15" y="15"/>
                    <a:pt x="25" y="26"/>
                  </a:cubicBezTo>
                  <a:cubicBezTo>
                    <a:pt x="35" y="37"/>
                    <a:pt x="50" y="40"/>
                    <a:pt x="43" y="46"/>
                  </a:cubicBezTo>
                  <a:close/>
                </a:path>
              </a:pathLst>
            </a:custGeom>
            <a:solidFill>
              <a:srgbClr val="FFBA8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45" name="íŝlídê">
              <a:extLst>
                <a:ext uri="{FF2B5EF4-FFF2-40B4-BE49-F238E27FC236}">
                  <a16:creationId xmlns:a16="http://schemas.microsoft.com/office/drawing/2014/main" id="{6D2565E9-D7D8-4D99-80CD-CA3F856DBC0A}"/>
                </a:ext>
              </a:extLst>
            </p:cNvPr>
            <p:cNvSpPr/>
            <p:nvPr/>
          </p:nvSpPr>
          <p:spPr bwMode="auto">
            <a:xfrm>
              <a:off x="4989513" y="5381625"/>
              <a:ext cx="184150" cy="195263"/>
            </a:xfrm>
            <a:custGeom>
              <a:avLst/>
              <a:gdLst>
                <a:gd name="T0" fmla="*/ 42 w 49"/>
                <a:gd name="T1" fmla="*/ 46 h 52"/>
                <a:gd name="T2" fmla="*/ 12 w 49"/>
                <a:gd name="T3" fmla="*/ 37 h 52"/>
                <a:gd name="T4" fmla="*/ 6 w 49"/>
                <a:gd name="T5" fmla="*/ 7 h 52"/>
                <a:gd name="T6" fmla="*/ 24 w 49"/>
                <a:gd name="T7" fmla="*/ 26 h 52"/>
                <a:gd name="T8" fmla="*/ 42 w 49"/>
                <a:gd name="T9" fmla="*/ 46 h 52"/>
              </a:gdLst>
              <a:ahLst/>
              <a:cxnLst>
                <a:cxn ang="0">
                  <a:pos x="T0" y="T1"/>
                </a:cxn>
                <a:cxn ang="0">
                  <a:pos x="T2" y="T3"/>
                </a:cxn>
                <a:cxn ang="0">
                  <a:pos x="T4" y="T5"/>
                </a:cxn>
                <a:cxn ang="0">
                  <a:pos x="T6" y="T7"/>
                </a:cxn>
                <a:cxn ang="0">
                  <a:pos x="T8" y="T9"/>
                </a:cxn>
              </a:cxnLst>
              <a:rect l="0" t="0" r="r" b="b"/>
              <a:pathLst>
                <a:path w="49" h="52">
                  <a:moveTo>
                    <a:pt x="42" y="46"/>
                  </a:moveTo>
                  <a:cubicBezTo>
                    <a:pt x="35" y="52"/>
                    <a:pt x="22" y="48"/>
                    <a:pt x="12" y="37"/>
                  </a:cubicBezTo>
                  <a:cubicBezTo>
                    <a:pt x="2" y="26"/>
                    <a:pt x="0" y="13"/>
                    <a:pt x="6" y="7"/>
                  </a:cubicBezTo>
                  <a:cubicBezTo>
                    <a:pt x="13" y="0"/>
                    <a:pt x="14" y="15"/>
                    <a:pt x="24" y="26"/>
                  </a:cubicBezTo>
                  <a:cubicBezTo>
                    <a:pt x="34" y="37"/>
                    <a:pt x="49" y="40"/>
                    <a:pt x="42" y="46"/>
                  </a:cubicBezTo>
                  <a:close/>
                </a:path>
              </a:pathLst>
            </a:custGeom>
            <a:solidFill>
              <a:srgbClr val="FFBA8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46" name="ïṣ1îdè">
              <a:extLst>
                <a:ext uri="{FF2B5EF4-FFF2-40B4-BE49-F238E27FC236}">
                  <a16:creationId xmlns:a16="http://schemas.microsoft.com/office/drawing/2014/main" id="{4478708C-04A4-4EC1-B656-E148F825BB62}"/>
                </a:ext>
              </a:extLst>
            </p:cNvPr>
            <p:cNvSpPr/>
            <p:nvPr/>
          </p:nvSpPr>
          <p:spPr bwMode="auto">
            <a:xfrm>
              <a:off x="5168901" y="5573713"/>
              <a:ext cx="184150" cy="195263"/>
            </a:xfrm>
            <a:custGeom>
              <a:avLst/>
              <a:gdLst>
                <a:gd name="T0" fmla="*/ 42 w 49"/>
                <a:gd name="T1" fmla="*/ 45 h 52"/>
                <a:gd name="T2" fmla="*/ 12 w 49"/>
                <a:gd name="T3" fmla="*/ 37 h 52"/>
                <a:gd name="T4" fmla="*/ 6 w 49"/>
                <a:gd name="T5" fmla="*/ 6 h 52"/>
                <a:gd name="T6" fmla="*/ 24 w 49"/>
                <a:gd name="T7" fmla="*/ 26 h 52"/>
                <a:gd name="T8" fmla="*/ 42 w 49"/>
                <a:gd name="T9" fmla="*/ 45 h 52"/>
              </a:gdLst>
              <a:ahLst/>
              <a:cxnLst>
                <a:cxn ang="0">
                  <a:pos x="T0" y="T1"/>
                </a:cxn>
                <a:cxn ang="0">
                  <a:pos x="T2" y="T3"/>
                </a:cxn>
                <a:cxn ang="0">
                  <a:pos x="T4" y="T5"/>
                </a:cxn>
                <a:cxn ang="0">
                  <a:pos x="T6" y="T7"/>
                </a:cxn>
                <a:cxn ang="0">
                  <a:pos x="T8" y="T9"/>
                </a:cxn>
              </a:cxnLst>
              <a:rect l="0" t="0" r="r" b="b"/>
              <a:pathLst>
                <a:path w="49" h="52">
                  <a:moveTo>
                    <a:pt x="42" y="45"/>
                  </a:moveTo>
                  <a:cubicBezTo>
                    <a:pt x="35" y="52"/>
                    <a:pt x="22" y="48"/>
                    <a:pt x="12" y="37"/>
                  </a:cubicBezTo>
                  <a:cubicBezTo>
                    <a:pt x="2" y="26"/>
                    <a:pt x="0" y="12"/>
                    <a:pt x="6" y="6"/>
                  </a:cubicBezTo>
                  <a:cubicBezTo>
                    <a:pt x="13" y="0"/>
                    <a:pt x="14" y="15"/>
                    <a:pt x="24" y="26"/>
                  </a:cubicBezTo>
                  <a:cubicBezTo>
                    <a:pt x="34" y="37"/>
                    <a:pt x="49" y="39"/>
                    <a:pt x="42" y="45"/>
                  </a:cubicBezTo>
                  <a:close/>
                </a:path>
              </a:pathLst>
            </a:custGeom>
            <a:solidFill>
              <a:srgbClr val="FFBA8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47" name="ï$líḍe">
              <a:extLst>
                <a:ext uri="{FF2B5EF4-FFF2-40B4-BE49-F238E27FC236}">
                  <a16:creationId xmlns:a16="http://schemas.microsoft.com/office/drawing/2014/main" id="{7CDB9EB5-A982-43A4-9E84-C7675A9E780B}"/>
                </a:ext>
              </a:extLst>
            </p:cNvPr>
            <p:cNvSpPr/>
            <p:nvPr/>
          </p:nvSpPr>
          <p:spPr bwMode="auto">
            <a:xfrm>
              <a:off x="5418138" y="5697538"/>
              <a:ext cx="130175" cy="134938"/>
            </a:xfrm>
            <a:custGeom>
              <a:avLst/>
              <a:gdLst>
                <a:gd name="T0" fmla="*/ 30 w 35"/>
                <a:gd name="T1" fmla="*/ 32 h 36"/>
                <a:gd name="T2" fmla="*/ 9 w 35"/>
                <a:gd name="T3" fmla="*/ 26 h 36"/>
                <a:gd name="T4" fmla="*/ 5 w 35"/>
                <a:gd name="T5" fmla="*/ 5 h 36"/>
                <a:gd name="T6" fmla="*/ 17 w 35"/>
                <a:gd name="T7" fmla="*/ 18 h 36"/>
                <a:gd name="T8" fmla="*/ 30 w 35"/>
                <a:gd name="T9" fmla="*/ 32 h 36"/>
              </a:gdLst>
              <a:ahLst/>
              <a:cxnLst>
                <a:cxn ang="0">
                  <a:pos x="T0" y="T1"/>
                </a:cxn>
                <a:cxn ang="0">
                  <a:pos x="T2" y="T3"/>
                </a:cxn>
                <a:cxn ang="0">
                  <a:pos x="T4" y="T5"/>
                </a:cxn>
                <a:cxn ang="0">
                  <a:pos x="T6" y="T7"/>
                </a:cxn>
                <a:cxn ang="0">
                  <a:pos x="T8" y="T9"/>
                </a:cxn>
              </a:cxnLst>
              <a:rect l="0" t="0" r="r" b="b"/>
              <a:pathLst>
                <a:path w="35" h="36">
                  <a:moveTo>
                    <a:pt x="30" y="32"/>
                  </a:moveTo>
                  <a:cubicBezTo>
                    <a:pt x="25" y="36"/>
                    <a:pt x="16" y="34"/>
                    <a:pt x="9" y="26"/>
                  </a:cubicBezTo>
                  <a:cubicBezTo>
                    <a:pt x="2" y="19"/>
                    <a:pt x="0" y="9"/>
                    <a:pt x="5" y="5"/>
                  </a:cubicBezTo>
                  <a:cubicBezTo>
                    <a:pt x="9" y="0"/>
                    <a:pt x="10" y="11"/>
                    <a:pt x="17" y="18"/>
                  </a:cubicBezTo>
                  <a:cubicBezTo>
                    <a:pt x="24" y="26"/>
                    <a:pt x="35" y="28"/>
                    <a:pt x="30" y="32"/>
                  </a:cubicBezTo>
                  <a:close/>
                </a:path>
              </a:pathLst>
            </a:custGeom>
            <a:solidFill>
              <a:srgbClr val="FFBA8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48" name="ïṥļíďê">
              <a:extLst>
                <a:ext uri="{FF2B5EF4-FFF2-40B4-BE49-F238E27FC236}">
                  <a16:creationId xmlns:a16="http://schemas.microsoft.com/office/drawing/2014/main" id="{FC09B01C-3F30-43A7-9121-408779402340}"/>
                </a:ext>
              </a:extLst>
            </p:cNvPr>
            <p:cNvSpPr/>
            <p:nvPr/>
          </p:nvSpPr>
          <p:spPr bwMode="auto">
            <a:xfrm>
              <a:off x="7686676" y="4532313"/>
              <a:ext cx="177800" cy="176213"/>
            </a:xfrm>
            <a:prstGeom prst="ellipse">
              <a:avLst/>
            </a:prstGeom>
            <a:solidFill>
              <a:srgbClr val="19466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49" name="íšḷîḑe">
              <a:extLst>
                <a:ext uri="{FF2B5EF4-FFF2-40B4-BE49-F238E27FC236}">
                  <a16:creationId xmlns:a16="http://schemas.microsoft.com/office/drawing/2014/main" id="{BBA2C14E-AAA5-411C-90AF-9438E003667B}"/>
                </a:ext>
              </a:extLst>
            </p:cNvPr>
            <p:cNvSpPr/>
            <p:nvPr/>
          </p:nvSpPr>
          <p:spPr bwMode="auto">
            <a:xfrm>
              <a:off x="7947026" y="4446588"/>
              <a:ext cx="179388" cy="176213"/>
            </a:xfrm>
            <a:prstGeom prst="ellipse">
              <a:avLst/>
            </a:prstGeom>
            <a:solidFill>
              <a:srgbClr val="19466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50" name="ïŝliḓé">
              <a:extLst>
                <a:ext uri="{FF2B5EF4-FFF2-40B4-BE49-F238E27FC236}">
                  <a16:creationId xmlns:a16="http://schemas.microsoft.com/office/drawing/2014/main" id="{9E8CD29B-1554-4566-AAE2-CB34B8CEC7ED}"/>
                </a:ext>
              </a:extLst>
            </p:cNvPr>
            <p:cNvSpPr/>
            <p:nvPr/>
          </p:nvSpPr>
          <p:spPr bwMode="auto">
            <a:xfrm>
              <a:off x="7686676" y="4510088"/>
              <a:ext cx="177800" cy="176213"/>
            </a:xfrm>
            <a:prstGeom prst="ellipse">
              <a:avLst/>
            </a:prstGeom>
            <a:solidFill>
              <a:srgbClr val="EBEBF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51" name="îšḷïďe">
              <a:extLst>
                <a:ext uri="{FF2B5EF4-FFF2-40B4-BE49-F238E27FC236}">
                  <a16:creationId xmlns:a16="http://schemas.microsoft.com/office/drawing/2014/main" id="{66280822-B016-4BDA-8746-06841911B24C}"/>
                </a:ext>
              </a:extLst>
            </p:cNvPr>
            <p:cNvSpPr/>
            <p:nvPr/>
          </p:nvSpPr>
          <p:spPr bwMode="auto">
            <a:xfrm>
              <a:off x="7947026" y="4419600"/>
              <a:ext cx="179388" cy="176213"/>
            </a:xfrm>
            <a:prstGeom prst="ellipse">
              <a:avLst/>
            </a:prstGeom>
            <a:solidFill>
              <a:srgbClr val="EBEBF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52" name="îšḻíḑé">
              <a:extLst>
                <a:ext uri="{FF2B5EF4-FFF2-40B4-BE49-F238E27FC236}">
                  <a16:creationId xmlns:a16="http://schemas.microsoft.com/office/drawing/2014/main" id="{133ADB6E-84A4-4B75-B0CC-96C5570E4476}"/>
                </a:ext>
              </a:extLst>
            </p:cNvPr>
            <p:cNvSpPr/>
            <p:nvPr/>
          </p:nvSpPr>
          <p:spPr bwMode="auto">
            <a:xfrm>
              <a:off x="7686676" y="4584700"/>
              <a:ext cx="177800" cy="101600"/>
            </a:xfrm>
            <a:custGeom>
              <a:avLst/>
              <a:gdLst>
                <a:gd name="T0" fmla="*/ 24 w 47"/>
                <a:gd name="T1" fmla="*/ 20 h 27"/>
                <a:gd name="T2" fmla="*/ 0 w 47"/>
                <a:gd name="T3" fmla="*/ 0 h 27"/>
                <a:gd name="T4" fmla="*/ 0 w 47"/>
                <a:gd name="T5" fmla="*/ 3 h 27"/>
                <a:gd name="T6" fmla="*/ 24 w 47"/>
                <a:gd name="T7" fmla="*/ 27 h 27"/>
                <a:gd name="T8" fmla="*/ 47 w 47"/>
                <a:gd name="T9" fmla="*/ 3 h 27"/>
                <a:gd name="T10" fmla="*/ 47 w 47"/>
                <a:gd name="T11" fmla="*/ 0 h 27"/>
                <a:gd name="T12" fmla="*/ 24 w 47"/>
                <a:gd name="T13" fmla="*/ 20 h 27"/>
              </a:gdLst>
              <a:ahLst/>
              <a:cxnLst>
                <a:cxn ang="0">
                  <a:pos x="T0" y="T1"/>
                </a:cxn>
                <a:cxn ang="0">
                  <a:pos x="T2" y="T3"/>
                </a:cxn>
                <a:cxn ang="0">
                  <a:pos x="T4" y="T5"/>
                </a:cxn>
                <a:cxn ang="0">
                  <a:pos x="T6" y="T7"/>
                </a:cxn>
                <a:cxn ang="0">
                  <a:pos x="T8" y="T9"/>
                </a:cxn>
                <a:cxn ang="0">
                  <a:pos x="T10" y="T11"/>
                </a:cxn>
                <a:cxn ang="0">
                  <a:pos x="T12" y="T13"/>
                </a:cxn>
              </a:cxnLst>
              <a:rect l="0" t="0" r="r" b="b"/>
              <a:pathLst>
                <a:path w="47" h="27">
                  <a:moveTo>
                    <a:pt x="24" y="20"/>
                  </a:moveTo>
                  <a:cubicBezTo>
                    <a:pt x="12" y="20"/>
                    <a:pt x="2" y="11"/>
                    <a:pt x="0" y="0"/>
                  </a:cubicBezTo>
                  <a:cubicBezTo>
                    <a:pt x="0" y="1"/>
                    <a:pt x="0" y="2"/>
                    <a:pt x="0" y="3"/>
                  </a:cubicBezTo>
                  <a:cubicBezTo>
                    <a:pt x="0" y="16"/>
                    <a:pt x="11" y="27"/>
                    <a:pt x="24" y="27"/>
                  </a:cubicBezTo>
                  <a:cubicBezTo>
                    <a:pt x="37" y="27"/>
                    <a:pt x="47" y="16"/>
                    <a:pt x="47" y="3"/>
                  </a:cubicBezTo>
                  <a:cubicBezTo>
                    <a:pt x="47" y="2"/>
                    <a:pt x="47" y="1"/>
                    <a:pt x="47" y="0"/>
                  </a:cubicBezTo>
                  <a:cubicBezTo>
                    <a:pt x="45" y="11"/>
                    <a:pt x="36" y="20"/>
                    <a:pt x="24" y="20"/>
                  </a:cubicBezTo>
                  <a:close/>
                </a:path>
              </a:pathLst>
            </a:custGeom>
            <a:solidFill>
              <a:srgbClr val="D2D2D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53" name="ï$ḻíḓê">
              <a:extLst>
                <a:ext uri="{FF2B5EF4-FFF2-40B4-BE49-F238E27FC236}">
                  <a16:creationId xmlns:a16="http://schemas.microsoft.com/office/drawing/2014/main" id="{1E01CCC2-CC06-45F4-888F-13434C5579D9}"/>
                </a:ext>
              </a:extLst>
            </p:cNvPr>
            <p:cNvSpPr/>
            <p:nvPr/>
          </p:nvSpPr>
          <p:spPr bwMode="auto">
            <a:xfrm>
              <a:off x="7947026" y="4494213"/>
              <a:ext cx="179388" cy="101600"/>
            </a:xfrm>
            <a:custGeom>
              <a:avLst/>
              <a:gdLst>
                <a:gd name="T0" fmla="*/ 24 w 48"/>
                <a:gd name="T1" fmla="*/ 21 h 27"/>
                <a:gd name="T2" fmla="*/ 1 w 48"/>
                <a:gd name="T3" fmla="*/ 0 h 27"/>
                <a:gd name="T4" fmla="*/ 0 w 48"/>
                <a:gd name="T5" fmla="*/ 4 h 27"/>
                <a:gd name="T6" fmla="*/ 24 w 48"/>
                <a:gd name="T7" fmla="*/ 27 h 27"/>
                <a:gd name="T8" fmla="*/ 48 w 48"/>
                <a:gd name="T9" fmla="*/ 4 h 27"/>
                <a:gd name="T10" fmla="*/ 47 w 48"/>
                <a:gd name="T11" fmla="*/ 0 h 27"/>
                <a:gd name="T12" fmla="*/ 24 w 48"/>
                <a:gd name="T13" fmla="*/ 21 h 27"/>
              </a:gdLst>
              <a:ahLst/>
              <a:cxnLst>
                <a:cxn ang="0">
                  <a:pos x="T0" y="T1"/>
                </a:cxn>
                <a:cxn ang="0">
                  <a:pos x="T2" y="T3"/>
                </a:cxn>
                <a:cxn ang="0">
                  <a:pos x="T4" y="T5"/>
                </a:cxn>
                <a:cxn ang="0">
                  <a:pos x="T6" y="T7"/>
                </a:cxn>
                <a:cxn ang="0">
                  <a:pos x="T8" y="T9"/>
                </a:cxn>
                <a:cxn ang="0">
                  <a:pos x="T10" y="T11"/>
                </a:cxn>
                <a:cxn ang="0">
                  <a:pos x="T12" y="T13"/>
                </a:cxn>
              </a:cxnLst>
              <a:rect l="0" t="0" r="r" b="b"/>
              <a:pathLst>
                <a:path w="48" h="27">
                  <a:moveTo>
                    <a:pt x="24" y="21"/>
                  </a:moveTo>
                  <a:cubicBezTo>
                    <a:pt x="12" y="21"/>
                    <a:pt x="2" y="12"/>
                    <a:pt x="1" y="0"/>
                  </a:cubicBezTo>
                  <a:cubicBezTo>
                    <a:pt x="1" y="1"/>
                    <a:pt x="0" y="2"/>
                    <a:pt x="0" y="4"/>
                  </a:cubicBezTo>
                  <a:cubicBezTo>
                    <a:pt x="0" y="17"/>
                    <a:pt x="11" y="27"/>
                    <a:pt x="24" y="27"/>
                  </a:cubicBezTo>
                  <a:cubicBezTo>
                    <a:pt x="37" y="27"/>
                    <a:pt x="48" y="17"/>
                    <a:pt x="48" y="4"/>
                  </a:cubicBezTo>
                  <a:cubicBezTo>
                    <a:pt x="48" y="2"/>
                    <a:pt x="48" y="1"/>
                    <a:pt x="47" y="0"/>
                  </a:cubicBezTo>
                  <a:cubicBezTo>
                    <a:pt x="46" y="12"/>
                    <a:pt x="36" y="21"/>
                    <a:pt x="24" y="21"/>
                  </a:cubicBezTo>
                  <a:close/>
                </a:path>
              </a:pathLst>
            </a:custGeom>
            <a:solidFill>
              <a:srgbClr val="D2D2D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54" name="íšḷídè">
              <a:extLst>
                <a:ext uri="{FF2B5EF4-FFF2-40B4-BE49-F238E27FC236}">
                  <a16:creationId xmlns:a16="http://schemas.microsoft.com/office/drawing/2014/main" id="{47F30729-54CC-4245-A6D9-527612DAA366}"/>
                </a:ext>
              </a:extLst>
            </p:cNvPr>
            <p:cNvSpPr/>
            <p:nvPr/>
          </p:nvSpPr>
          <p:spPr bwMode="auto">
            <a:xfrm>
              <a:off x="4102101" y="4595813"/>
              <a:ext cx="184150" cy="184150"/>
            </a:xfrm>
            <a:custGeom>
              <a:avLst/>
              <a:gdLst>
                <a:gd name="T0" fmla="*/ 1 w 49"/>
                <a:gd name="T1" fmla="*/ 23 h 49"/>
                <a:gd name="T2" fmla="*/ 23 w 49"/>
                <a:gd name="T3" fmla="*/ 48 h 49"/>
                <a:gd name="T4" fmla="*/ 48 w 49"/>
                <a:gd name="T5" fmla="*/ 26 h 49"/>
                <a:gd name="T6" fmla="*/ 26 w 49"/>
                <a:gd name="T7" fmla="*/ 1 h 49"/>
                <a:gd name="T8" fmla="*/ 1 w 49"/>
                <a:gd name="T9" fmla="*/ 23 h 49"/>
              </a:gdLst>
              <a:ahLst/>
              <a:cxnLst>
                <a:cxn ang="0">
                  <a:pos x="T0" y="T1"/>
                </a:cxn>
                <a:cxn ang="0">
                  <a:pos x="T2" y="T3"/>
                </a:cxn>
                <a:cxn ang="0">
                  <a:pos x="T4" y="T5"/>
                </a:cxn>
                <a:cxn ang="0">
                  <a:pos x="T6" y="T7"/>
                </a:cxn>
                <a:cxn ang="0">
                  <a:pos x="T8" y="T9"/>
                </a:cxn>
              </a:cxnLst>
              <a:rect l="0" t="0" r="r" b="b"/>
              <a:pathLst>
                <a:path w="49" h="49">
                  <a:moveTo>
                    <a:pt x="1" y="23"/>
                  </a:moveTo>
                  <a:cubicBezTo>
                    <a:pt x="0" y="36"/>
                    <a:pt x="10" y="47"/>
                    <a:pt x="23" y="48"/>
                  </a:cubicBezTo>
                  <a:cubicBezTo>
                    <a:pt x="36" y="49"/>
                    <a:pt x="48" y="39"/>
                    <a:pt x="48" y="26"/>
                  </a:cubicBezTo>
                  <a:cubicBezTo>
                    <a:pt x="49" y="13"/>
                    <a:pt x="39" y="1"/>
                    <a:pt x="26" y="1"/>
                  </a:cubicBezTo>
                  <a:cubicBezTo>
                    <a:pt x="13" y="0"/>
                    <a:pt x="2" y="10"/>
                    <a:pt x="1" y="23"/>
                  </a:cubicBezTo>
                  <a:close/>
                </a:path>
              </a:pathLst>
            </a:custGeom>
            <a:solidFill>
              <a:srgbClr val="373C4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55" name="i$1iďè">
              <a:extLst>
                <a:ext uri="{FF2B5EF4-FFF2-40B4-BE49-F238E27FC236}">
                  <a16:creationId xmlns:a16="http://schemas.microsoft.com/office/drawing/2014/main" id="{5AC08335-66E1-4F84-89A7-31887ED6533B}"/>
                </a:ext>
              </a:extLst>
            </p:cNvPr>
            <p:cNvSpPr/>
            <p:nvPr/>
          </p:nvSpPr>
          <p:spPr bwMode="auto">
            <a:xfrm>
              <a:off x="3849688" y="4491038"/>
              <a:ext cx="184150" cy="180975"/>
            </a:xfrm>
            <a:custGeom>
              <a:avLst/>
              <a:gdLst>
                <a:gd name="T0" fmla="*/ 1 w 49"/>
                <a:gd name="T1" fmla="*/ 22 h 48"/>
                <a:gd name="T2" fmla="*/ 23 w 49"/>
                <a:gd name="T3" fmla="*/ 48 h 48"/>
                <a:gd name="T4" fmla="*/ 48 w 49"/>
                <a:gd name="T5" fmla="*/ 26 h 48"/>
                <a:gd name="T6" fmla="*/ 26 w 49"/>
                <a:gd name="T7" fmla="*/ 0 h 48"/>
                <a:gd name="T8" fmla="*/ 1 w 49"/>
                <a:gd name="T9" fmla="*/ 22 h 48"/>
              </a:gdLst>
              <a:ahLst/>
              <a:cxnLst>
                <a:cxn ang="0">
                  <a:pos x="T0" y="T1"/>
                </a:cxn>
                <a:cxn ang="0">
                  <a:pos x="T2" y="T3"/>
                </a:cxn>
                <a:cxn ang="0">
                  <a:pos x="T4" y="T5"/>
                </a:cxn>
                <a:cxn ang="0">
                  <a:pos x="T6" y="T7"/>
                </a:cxn>
                <a:cxn ang="0">
                  <a:pos x="T8" y="T9"/>
                </a:cxn>
              </a:cxnLst>
              <a:rect l="0" t="0" r="r" b="b"/>
              <a:pathLst>
                <a:path w="49" h="48">
                  <a:moveTo>
                    <a:pt x="1" y="22"/>
                  </a:moveTo>
                  <a:cubicBezTo>
                    <a:pt x="0" y="36"/>
                    <a:pt x="10" y="47"/>
                    <a:pt x="23" y="48"/>
                  </a:cubicBezTo>
                  <a:cubicBezTo>
                    <a:pt x="36" y="48"/>
                    <a:pt x="47" y="39"/>
                    <a:pt x="48" y="26"/>
                  </a:cubicBezTo>
                  <a:cubicBezTo>
                    <a:pt x="49" y="13"/>
                    <a:pt x="39" y="1"/>
                    <a:pt x="26" y="0"/>
                  </a:cubicBezTo>
                  <a:cubicBezTo>
                    <a:pt x="13" y="0"/>
                    <a:pt x="1" y="9"/>
                    <a:pt x="1" y="22"/>
                  </a:cubicBezTo>
                  <a:close/>
                </a:path>
              </a:pathLst>
            </a:custGeom>
            <a:solidFill>
              <a:srgbClr val="373C4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56" name="išľíḓé">
              <a:extLst>
                <a:ext uri="{FF2B5EF4-FFF2-40B4-BE49-F238E27FC236}">
                  <a16:creationId xmlns:a16="http://schemas.microsoft.com/office/drawing/2014/main" id="{7795100F-294C-46EC-A712-B5C31C86585B}"/>
                </a:ext>
              </a:extLst>
            </p:cNvPr>
            <p:cNvSpPr/>
            <p:nvPr/>
          </p:nvSpPr>
          <p:spPr bwMode="auto">
            <a:xfrm>
              <a:off x="4105276" y="4570413"/>
              <a:ext cx="184150" cy="184150"/>
            </a:xfrm>
            <a:custGeom>
              <a:avLst/>
              <a:gdLst>
                <a:gd name="T0" fmla="*/ 48 w 49"/>
                <a:gd name="T1" fmla="*/ 26 h 49"/>
                <a:gd name="T2" fmla="*/ 26 w 49"/>
                <a:gd name="T3" fmla="*/ 1 h 49"/>
                <a:gd name="T4" fmla="*/ 1 w 49"/>
                <a:gd name="T5" fmla="*/ 23 h 49"/>
                <a:gd name="T6" fmla="*/ 23 w 49"/>
                <a:gd name="T7" fmla="*/ 48 h 49"/>
                <a:gd name="T8" fmla="*/ 48 w 49"/>
                <a:gd name="T9" fmla="*/ 26 h 49"/>
              </a:gdLst>
              <a:ahLst/>
              <a:cxnLst>
                <a:cxn ang="0">
                  <a:pos x="T0" y="T1"/>
                </a:cxn>
                <a:cxn ang="0">
                  <a:pos x="T2" y="T3"/>
                </a:cxn>
                <a:cxn ang="0">
                  <a:pos x="T4" y="T5"/>
                </a:cxn>
                <a:cxn ang="0">
                  <a:pos x="T6" y="T7"/>
                </a:cxn>
                <a:cxn ang="0">
                  <a:pos x="T8" y="T9"/>
                </a:cxn>
              </a:cxnLst>
              <a:rect l="0" t="0" r="r" b="b"/>
              <a:pathLst>
                <a:path w="49" h="49">
                  <a:moveTo>
                    <a:pt x="48" y="26"/>
                  </a:moveTo>
                  <a:cubicBezTo>
                    <a:pt x="49" y="13"/>
                    <a:pt x="39" y="2"/>
                    <a:pt x="26" y="1"/>
                  </a:cubicBezTo>
                  <a:cubicBezTo>
                    <a:pt x="13" y="0"/>
                    <a:pt x="2" y="10"/>
                    <a:pt x="1" y="23"/>
                  </a:cubicBezTo>
                  <a:cubicBezTo>
                    <a:pt x="0" y="36"/>
                    <a:pt x="10" y="47"/>
                    <a:pt x="23" y="48"/>
                  </a:cubicBezTo>
                  <a:cubicBezTo>
                    <a:pt x="36" y="49"/>
                    <a:pt x="47" y="39"/>
                    <a:pt x="48" y="26"/>
                  </a:cubicBezTo>
                  <a:close/>
                </a:path>
              </a:pathLst>
            </a:custGeom>
            <a:solidFill>
              <a:srgbClr val="EBEBF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57" name="í$ļîḓe">
              <a:extLst>
                <a:ext uri="{FF2B5EF4-FFF2-40B4-BE49-F238E27FC236}">
                  <a16:creationId xmlns:a16="http://schemas.microsoft.com/office/drawing/2014/main" id="{4DA928FD-2AF6-4B4E-8902-BBB8CDC0E406}"/>
                </a:ext>
              </a:extLst>
            </p:cNvPr>
            <p:cNvSpPr/>
            <p:nvPr/>
          </p:nvSpPr>
          <p:spPr bwMode="auto">
            <a:xfrm>
              <a:off x="3849688" y="4464050"/>
              <a:ext cx="184150" cy="184150"/>
            </a:xfrm>
            <a:custGeom>
              <a:avLst/>
              <a:gdLst>
                <a:gd name="T0" fmla="*/ 48 w 49"/>
                <a:gd name="T1" fmla="*/ 26 h 49"/>
                <a:gd name="T2" fmla="*/ 26 w 49"/>
                <a:gd name="T3" fmla="*/ 1 h 49"/>
                <a:gd name="T4" fmla="*/ 1 w 49"/>
                <a:gd name="T5" fmla="*/ 23 h 49"/>
                <a:gd name="T6" fmla="*/ 23 w 49"/>
                <a:gd name="T7" fmla="*/ 48 h 49"/>
                <a:gd name="T8" fmla="*/ 48 w 49"/>
                <a:gd name="T9" fmla="*/ 26 h 49"/>
              </a:gdLst>
              <a:ahLst/>
              <a:cxnLst>
                <a:cxn ang="0">
                  <a:pos x="T0" y="T1"/>
                </a:cxn>
                <a:cxn ang="0">
                  <a:pos x="T2" y="T3"/>
                </a:cxn>
                <a:cxn ang="0">
                  <a:pos x="T4" y="T5"/>
                </a:cxn>
                <a:cxn ang="0">
                  <a:pos x="T6" y="T7"/>
                </a:cxn>
                <a:cxn ang="0">
                  <a:pos x="T8" y="T9"/>
                </a:cxn>
              </a:cxnLst>
              <a:rect l="0" t="0" r="r" b="b"/>
              <a:pathLst>
                <a:path w="49" h="49">
                  <a:moveTo>
                    <a:pt x="48" y="26"/>
                  </a:moveTo>
                  <a:cubicBezTo>
                    <a:pt x="49" y="13"/>
                    <a:pt x="39" y="2"/>
                    <a:pt x="26" y="1"/>
                  </a:cubicBezTo>
                  <a:cubicBezTo>
                    <a:pt x="13" y="0"/>
                    <a:pt x="2" y="10"/>
                    <a:pt x="1" y="23"/>
                  </a:cubicBezTo>
                  <a:cubicBezTo>
                    <a:pt x="0" y="36"/>
                    <a:pt x="10" y="47"/>
                    <a:pt x="23" y="48"/>
                  </a:cubicBezTo>
                  <a:cubicBezTo>
                    <a:pt x="36" y="49"/>
                    <a:pt x="47" y="39"/>
                    <a:pt x="48" y="26"/>
                  </a:cubicBezTo>
                  <a:close/>
                </a:path>
              </a:pathLst>
            </a:custGeom>
            <a:solidFill>
              <a:srgbClr val="EBEBF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58" name="ïSliḓè">
              <a:extLst>
                <a:ext uri="{FF2B5EF4-FFF2-40B4-BE49-F238E27FC236}">
                  <a16:creationId xmlns:a16="http://schemas.microsoft.com/office/drawing/2014/main" id="{DD0FFE80-1B82-48CF-899D-F42F663360A2}"/>
                </a:ext>
              </a:extLst>
            </p:cNvPr>
            <p:cNvSpPr/>
            <p:nvPr/>
          </p:nvSpPr>
          <p:spPr bwMode="auto">
            <a:xfrm>
              <a:off x="4105276" y="4645025"/>
              <a:ext cx="180975" cy="109538"/>
            </a:xfrm>
            <a:custGeom>
              <a:avLst/>
              <a:gdLst>
                <a:gd name="T0" fmla="*/ 23 w 48"/>
                <a:gd name="T1" fmla="*/ 22 h 29"/>
                <a:gd name="T2" fmla="*/ 48 w 48"/>
                <a:gd name="T3" fmla="*/ 3 h 29"/>
                <a:gd name="T4" fmla="*/ 48 w 48"/>
                <a:gd name="T5" fmla="*/ 6 h 29"/>
                <a:gd name="T6" fmla="*/ 23 w 48"/>
                <a:gd name="T7" fmla="*/ 28 h 29"/>
                <a:gd name="T8" fmla="*/ 1 w 48"/>
                <a:gd name="T9" fmla="*/ 3 h 29"/>
                <a:gd name="T10" fmla="*/ 1 w 48"/>
                <a:gd name="T11" fmla="*/ 0 h 29"/>
                <a:gd name="T12" fmla="*/ 23 w 48"/>
                <a:gd name="T13" fmla="*/ 22 h 29"/>
              </a:gdLst>
              <a:ahLst/>
              <a:cxnLst>
                <a:cxn ang="0">
                  <a:pos x="T0" y="T1"/>
                </a:cxn>
                <a:cxn ang="0">
                  <a:pos x="T2" y="T3"/>
                </a:cxn>
                <a:cxn ang="0">
                  <a:pos x="T4" y="T5"/>
                </a:cxn>
                <a:cxn ang="0">
                  <a:pos x="T6" y="T7"/>
                </a:cxn>
                <a:cxn ang="0">
                  <a:pos x="T8" y="T9"/>
                </a:cxn>
                <a:cxn ang="0">
                  <a:pos x="T10" y="T11"/>
                </a:cxn>
                <a:cxn ang="0">
                  <a:pos x="T12" y="T13"/>
                </a:cxn>
              </a:cxnLst>
              <a:rect l="0" t="0" r="r" b="b"/>
              <a:pathLst>
                <a:path w="48" h="29">
                  <a:moveTo>
                    <a:pt x="23" y="22"/>
                  </a:moveTo>
                  <a:cubicBezTo>
                    <a:pt x="35" y="22"/>
                    <a:pt x="45" y="14"/>
                    <a:pt x="48" y="3"/>
                  </a:cubicBezTo>
                  <a:cubicBezTo>
                    <a:pt x="48" y="4"/>
                    <a:pt x="48" y="5"/>
                    <a:pt x="48" y="6"/>
                  </a:cubicBezTo>
                  <a:cubicBezTo>
                    <a:pt x="47" y="19"/>
                    <a:pt x="36" y="29"/>
                    <a:pt x="23" y="28"/>
                  </a:cubicBezTo>
                  <a:cubicBezTo>
                    <a:pt x="10" y="27"/>
                    <a:pt x="0" y="16"/>
                    <a:pt x="1" y="3"/>
                  </a:cubicBezTo>
                  <a:cubicBezTo>
                    <a:pt x="1" y="2"/>
                    <a:pt x="1" y="1"/>
                    <a:pt x="1" y="0"/>
                  </a:cubicBezTo>
                  <a:cubicBezTo>
                    <a:pt x="2" y="11"/>
                    <a:pt x="11" y="21"/>
                    <a:pt x="23" y="22"/>
                  </a:cubicBezTo>
                  <a:close/>
                </a:path>
              </a:pathLst>
            </a:custGeom>
            <a:solidFill>
              <a:srgbClr val="D2D2D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59" name="iṩ1íḑê">
              <a:extLst>
                <a:ext uri="{FF2B5EF4-FFF2-40B4-BE49-F238E27FC236}">
                  <a16:creationId xmlns:a16="http://schemas.microsoft.com/office/drawing/2014/main" id="{59ECB243-B11D-436D-B876-FA984278A906}"/>
                </a:ext>
              </a:extLst>
            </p:cNvPr>
            <p:cNvSpPr/>
            <p:nvPr/>
          </p:nvSpPr>
          <p:spPr bwMode="auto">
            <a:xfrm>
              <a:off x="3849688" y="4540250"/>
              <a:ext cx="180975" cy="107950"/>
            </a:xfrm>
            <a:custGeom>
              <a:avLst/>
              <a:gdLst>
                <a:gd name="T0" fmla="*/ 23 w 48"/>
                <a:gd name="T1" fmla="*/ 21 h 29"/>
                <a:gd name="T2" fmla="*/ 48 w 48"/>
                <a:gd name="T3" fmla="*/ 3 h 29"/>
                <a:gd name="T4" fmla="*/ 48 w 48"/>
                <a:gd name="T5" fmla="*/ 6 h 29"/>
                <a:gd name="T6" fmla="*/ 23 w 48"/>
                <a:gd name="T7" fmla="*/ 28 h 29"/>
                <a:gd name="T8" fmla="*/ 1 w 48"/>
                <a:gd name="T9" fmla="*/ 3 h 29"/>
                <a:gd name="T10" fmla="*/ 1 w 48"/>
                <a:gd name="T11" fmla="*/ 0 h 29"/>
                <a:gd name="T12" fmla="*/ 23 w 48"/>
                <a:gd name="T13" fmla="*/ 21 h 29"/>
              </a:gdLst>
              <a:ahLst/>
              <a:cxnLst>
                <a:cxn ang="0">
                  <a:pos x="T0" y="T1"/>
                </a:cxn>
                <a:cxn ang="0">
                  <a:pos x="T2" y="T3"/>
                </a:cxn>
                <a:cxn ang="0">
                  <a:pos x="T4" y="T5"/>
                </a:cxn>
                <a:cxn ang="0">
                  <a:pos x="T6" y="T7"/>
                </a:cxn>
                <a:cxn ang="0">
                  <a:pos x="T8" y="T9"/>
                </a:cxn>
                <a:cxn ang="0">
                  <a:pos x="T10" y="T11"/>
                </a:cxn>
                <a:cxn ang="0">
                  <a:pos x="T12" y="T13"/>
                </a:cxn>
              </a:cxnLst>
              <a:rect l="0" t="0" r="r" b="b"/>
              <a:pathLst>
                <a:path w="48" h="29">
                  <a:moveTo>
                    <a:pt x="23" y="21"/>
                  </a:moveTo>
                  <a:cubicBezTo>
                    <a:pt x="35" y="22"/>
                    <a:pt x="46" y="14"/>
                    <a:pt x="48" y="3"/>
                  </a:cubicBezTo>
                  <a:cubicBezTo>
                    <a:pt x="48" y="4"/>
                    <a:pt x="48" y="5"/>
                    <a:pt x="48" y="6"/>
                  </a:cubicBezTo>
                  <a:cubicBezTo>
                    <a:pt x="47" y="19"/>
                    <a:pt x="36" y="29"/>
                    <a:pt x="23" y="28"/>
                  </a:cubicBezTo>
                  <a:cubicBezTo>
                    <a:pt x="10" y="27"/>
                    <a:pt x="0" y="16"/>
                    <a:pt x="1" y="3"/>
                  </a:cubicBezTo>
                  <a:cubicBezTo>
                    <a:pt x="1" y="2"/>
                    <a:pt x="1" y="1"/>
                    <a:pt x="1" y="0"/>
                  </a:cubicBezTo>
                  <a:cubicBezTo>
                    <a:pt x="2" y="11"/>
                    <a:pt x="12" y="21"/>
                    <a:pt x="23" y="21"/>
                  </a:cubicBezTo>
                  <a:close/>
                </a:path>
              </a:pathLst>
            </a:custGeom>
            <a:solidFill>
              <a:srgbClr val="D2D2D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60" name="ï$ḷíḓê">
              <a:extLst>
                <a:ext uri="{FF2B5EF4-FFF2-40B4-BE49-F238E27FC236}">
                  <a16:creationId xmlns:a16="http://schemas.microsoft.com/office/drawing/2014/main" id="{20125C70-411A-4E52-9144-006A86106B12}"/>
                </a:ext>
              </a:extLst>
            </p:cNvPr>
            <p:cNvSpPr/>
            <p:nvPr/>
          </p:nvSpPr>
          <p:spPr bwMode="auto">
            <a:xfrm>
              <a:off x="3910013" y="4546600"/>
              <a:ext cx="19050" cy="19050"/>
            </a:xfrm>
            <a:prstGeom prst="ellipse">
              <a:avLst/>
            </a:prstGeom>
            <a:solidFill>
              <a:srgbClr val="373C4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61" name="iṣḻîḋê">
              <a:extLst>
                <a:ext uri="{FF2B5EF4-FFF2-40B4-BE49-F238E27FC236}">
                  <a16:creationId xmlns:a16="http://schemas.microsoft.com/office/drawing/2014/main" id="{7C2BCCCB-207A-478B-998D-64769B493D9B}"/>
                </a:ext>
              </a:extLst>
            </p:cNvPr>
            <p:cNvSpPr/>
            <p:nvPr/>
          </p:nvSpPr>
          <p:spPr bwMode="auto">
            <a:xfrm>
              <a:off x="3956051" y="4546600"/>
              <a:ext cx="19050" cy="19050"/>
            </a:xfrm>
            <a:prstGeom prst="ellipse">
              <a:avLst/>
            </a:prstGeom>
            <a:solidFill>
              <a:srgbClr val="373C4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62" name="íśľíďè">
              <a:extLst>
                <a:ext uri="{FF2B5EF4-FFF2-40B4-BE49-F238E27FC236}">
                  <a16:creationId xmlns:a16="http://schemas.microsoft.com/office/drawing/2014/main" id="{04ED77A4-0991-409D-B0E9-80CA9B9DBD9E}"/>
                </a:ext>
              </a:extLst>
            </p:cNvPr>
            <p:cNvSpPr/>
            <p:nvPr/>
          </p:nvSpPr>
          <p:spPr bwMode="auto">
            <a:xfrm>
              <a:off x="4165601" y="4652963"/>
              <a:ext cx="19050" cy="19050"/>
            </a:xfrm>
            <a:prstGeom prst="ellipse">
              <a:avLst/>
            </a:prstGeom>
            <a:solidFill>
              <a:srgbClr val="373C4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63" name="iş1îḑe">
              <a:extLst>
                <a:ext uri="{FF2B5EF4-FFF2-40B4-BE49-F238E27FC236}">
                  <a16:creationId xmlns:a16="http://schemas.microsoft.com/office/drawing/2014/main" id="{26574667-E235-4B5F-9498-54A85E0EAB76}"/>
                </a:ext>
              </a:extLst>
            </p:cNvPr>
            <p:cNvSpPr/>
            <p:nvPr/>
          </p:nvSpPr>
          <p:spPr bwMode="auto">
            <a:xfrm>
              <a:off x="4211638" y="4652963"/>
              <a:ext cx="17463" cy="19050"/>
            </a:xfrm>
            <a:prstGeom prst="ellipse">
              <a:avLst/>
            </a:prstGeom>
            <a:solidFill>
              <a:srgbClr val="373C4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64" name="iSľîḓé">
              <a:extLst>
                <a:ext uri="{FF2B5EF4-FFF2-40B4-BE49-F238E27FC236}">
                  <a16:creationId xmlns:a16="http://schemas.microsoft.com/office/drawing/2014/main" id="{B3C2EB51-FEC1-44E5-B85F-DBD795DF7C4A}"/>
                </a:ext>
              </a:extLst>
            </p:cNvPr>
            <p:cNvSpPr/>
            <p:nvPr/>
          </p:nvSpPr>
          <p:spPr bwMode="auto">
            <a:xfrm>
              <a:off x="7754938" y="4576763"/>
              <a:ext cx="11113" cy="12700"/>
            </a:xfrm>
            <a:prstGeom prst="ellipse">
              <a:avLst/>
            </a:prstGeom>
            <a:solidFill>
              <a:srgbClr val="365E7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65" name="iŝlîḑè">
              <a:extLst>
                <a:ext uri="{FF2B5EF4-FFF2-40B4-BE49-F238E27FC236}">
                  <a16:creationId xmlns:a16="http://schemas.microsoft.com/office/drawing/2014/main" id="{3186C320-EEBD-40E6-B761-296011379FE8}"/>
                </a:ext>
              </a:extLst>
            </p:cNvPr>
            <p:cNvSpPr/>
            <p:nvPr/>
          </p:nvSpPr>
          <p:spPr bwMode="auto">
            <a:xfrm>
              <a:off x="7751763" y="4573588"/>
              <a:ext cx="22225" cy="19050"/>
            </a:xfrm>
            <a:custGeom>
              <a:avLst/>
              <a:gdLst>
                <a:gd name="T0" fmla="*/ 4 w 6"/>
                <a:gd name="T1" fmla="*/ 3 h 5"/>
                <a:gd name="T2" fmla="*/ 3 w 6"/>
                <a:gd name="T3" fmla="*/ 3 h 5"/>
                <a:gd name="T4" fmla="*/ 3 w 6"/>
                <a:gd name="T5" fmla="*/ 3 h 5"/>
                <a:gd name="T6" fmla="*/ 3 w 6"/>
                <a:gd name="T7" fmla="*/ 3 h 5"/>
                <a:gd name="T8" fmla="*/ 3 w 6"/>
                <a:gd name="T9" fmla="*/ 2 h 5"/>
                <a:gd name="T10" fmla="*/ 3 w 6"/>
                <a:gd name="T11" fmla="*/ 3 h 5"/>
                <a:gd name="T12" fmla="*/ 4 w 6"/>
                <a:gd name="T13" fmla="*/ 3 h 5"/>
                <a:gd name="T14" fmla="*/ 6 w 6"/>
                <a:gd name="T15" fmla="*/ 3 h 5"/>
                <a:gd name="T16" fmla="*/ 3 w 6"/>
                <a:gd name="T17" fmla="*/ 0 h 5"/>
                <a:gd name="T18" fmla="*/ 0 w 6"/>
                <a:gd name="T19" fmla="*/ 3 h 5"/>
                <a:gd name="T20" fmla="*/ 3 w 6"/>
                <a:gd name="T21" fmla="*/ 5 h 5"/>
                <a:gd name="T22" fmla="*/ 6 w 6"/>
                <a:gd name="T23" fmla="*/ 3 h 5"/>
                <a:gd name="T24" fmla="*/ 4 w 6"/>
                <a:gd name="T25"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5">
                  <a:moveTo>
                    <a:pt x="4" y="3"/>
                  </a:moveTo>
                  <a:cubicBezTo>
                    <a:pt x="3" y="3"/>
                    <a:pt x="3" y="3"/>
                    <a:pt x="3" y="3"/>
                  </a:cubicBezTo>
                  <a:cubicBezTo>
                    <a:pt x="3" y="3"/>
                    <a:pt x="3" y="3"/>
                    <a:pt x="3" y="3"/>
                  </a:cubicBezTo>
                  <a:cubicBezTo>
                    <a:pt x="3" y="3"/>
                    <a:pt x="3" y="3"/>
                    <a:pt x="3" y="3"/>
                  </a:cubicBezTo>
                  <a:cubicBezTo>
                    <a:pt x="3" y="2"/>
                    <a:pt x="3" y="2"/>
                    <a:pt x="3" y="2"/>
                  </a:cubicBezTo>
                  <a:cubicBezTo>
                    <a:pt x="3" y="3"/>
                    <a:pt x="3" y="3"/>
                    <a:pt x="3" y="3"/>
                  </a:cubicBezTo>
                  <a:cubicBezTo>
                    <a:pt x="4" y="3"/>
                    <a:pt x="4" y="3"/>
                    <a:pt x="4" y="3"/>
                  </a:cubicBezTo>
                  <a:cubicBezTo>
                    <a:pt x="6" y="3"/>
                    <a:pt x="6" y="3"/>
                    <a:pt x="6" y="3"/>
                  </a:cubicBezTo>
                  <a:cubicBezTo>
                    <a:pt x="6" y="1"/>
                    <a:pt x="4" y="0"/>
                    <a:pt x="3" y="0"/>
                  </a:cubicBezTo>
                  <a:cubicBezTo>
                    <a:pt x="1" y="0"/>
                    <a:pt x="0" y="1"/>
                    <a:pt x="0" y="3"/>
                  </a:cubicBezTo>
                  <a:cubicBezTo>
                    <a:pt x="0" y="4"/>
                    <a:pt x="1" y="5"/>
                    <a:pt x="3" y="5"/>
                  </a:cubicBezTo>
                  <a:cubicBezTo>
                    <a:pt x="4" y="5"/>
                    <a:pt x="6" y="4"/>
                    <a:pt x="6" y="3"/>
                  </a:cubicBezTo>
                  <a:lnTo>
                    <a:pt x="4" y="3"/>
                  </a:lnTo>
                  <a:close/>
                </a:path>
              </a:pathLst>
            </a:custGeom>
            <a:solidFill>
              <a:srgbClr val="375E7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66" name="ïşľïḍe">
              <a:extLst>
                <a:ext uri="{FF2B5EF4-FFF2-40B4-BE49-F238E27FC236}">
                  <a16:creationId xmlns:a16="http://schemas.microsoft.com/office/drawing/2014/main" id="{D8DB065A-6C65-4468-9871-4A92D788F247}"/>
                </a:ext>
              </a:extLst>
            </p:cNvPr>
            <p:cNvSpPr/>
            <p:nvPr/>
          </p:nvSpPr>
          <p:spPr bwMode="auto">
            <a:xfrm>
              <a:off x="7785101" y="4576763"/>
              <a:ext cx="11113" cy="12700"/>
            </a:xfrm>
            <a:prstGeom prst="ellipse">
              <a:avLst/>
            </a:prstGeom>
            <a:solidFill>
              <a:srgbClr val="365E7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67" name="isḷíḓé">
              <a:extLst>
                <a:ext uri="{FF2B5EF4-FFF2-40B4-BE49-F238E27FC236}">
                  <a16:creationId xmlns:a16="http://schemas.microsoft.com/office/drawing/2014/main" id="{9AA5B1AB-9FE4-4477-AC25-06B1CFF36324}"/>
                </a:ext>
              </a:extLst>
            </p:cNvPr>
            <p:cNvSpPr/>
            <p:nvPr/>
          </p:nvSpPr>
          <p:spPr bwMode="auto">
            <a:xfrm>
              <a:off x="7781926" y="4573588"/>
              <a:ext cx="17463" cy="19050"/>
            </a:xfrm>
            <a:custGeom>
              <a:avLst/>
              <a:gdLst>
                <a:gd name="T0" fmla="*/ 4 w 5"/>
                <a:gd name="T1" fmla="*/ 3 h 5"/>
                <a:gd name="T2" fmla="*/ 3 w 5"/>
                <a:gd name="T3" fmla="*/ 3 h 5"/>
                <a:gd name="T4" fmla="*/ 3 w 5"/>
                <a:gd name="T5" fmla="*/ 3 h 5"/>
                <a:gd name="T6" fmla="*/ 2 w 5"/>
                <a:gd name="T7" fmla="*/ 3 h 5"/>
                <a:gd name="T8" fmla="*/ 3 w 5"/>
                <a:gd name="T9" fmla="*/ 2 h 5"/>
                <a:gd name="T10" fmla="*/ 3 w 5"/>
                <a:gd name="T11" fmla="*/ 3 h 5"/>
                <a:gd name="T12" fmla="*/ 4 w 5"/>
                <a:gd name="T13" fmla="*/ 3 h 5"/>
                <a:gd name="T14" fmla="*/ 5 w 5"/>
                <a:gd name="T15" fmla="*/ 3 h 5"/>
                <a:gd name="T16" fmla="*/ 3 w 5"/>
                <a:gd name="T17" fmla="*/ 0 h 5"/>
                <a:gd name="T18" fmla="*/ 0 w 5"/>
                <a:gd name="T19" fmla="*/ 3 h 5"/>
                <a:gd name="T20" fmla="*/ 3 w 5"/>
                <a:gd name="T21" fmla="*/ 5 h 5"/>
                <a:gd name="T22" fmla="*/ 5 w 5"/>
                <a:gd name="T23" fmla="*/ 3 h 5"/>
                <a:gd name="T24" fmla="*/ 4 w 5"/>
                <a:gd name="T25"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 h="5">
                  <a:moveTo>
                    <a:pt x="4" y="3"/>
                  </a:moveTo>
                  <a:cubicBezTo>
                    <a:pt x="3" y="3"/>
                    <a:pt x="3" y="3"/>
                    <a:pt x="3" y="3"/>
                  </a:cubicBezTo>
                  <a:cubicBezTo>
                    <a:pt x="3" y="3"/>
                    <a:pt x="3" y="3"/>
                    <a:pt x="3" y="3"/>
                  </a:cubicBezTo>
                  <a:cubicBezTo>
                    <a:pt x="2" y="3"/>
                    <a:pt x="2" y="3"/>
                    <a:pt x="2" y="3"/>
                  </a:cubicBezTo>
                  <a:cubicBezTo>
                    <a:pt x="3" y="2"/>
                    <a:pt x="3" y="2"/>
                    <a:pt x="3" y="2"/>
                  </a:cubicBezTo>
                  <a:cubicBezTo>
                    <a:pt x="3" y="3"/>
                    <a:pt x="3" y="3"/>
                    <a:pt x="3" y="3"/>
                  </a:cubicBezTo>
                  <a:cubicBezTo>
                    <a:pt x="4" y="3"/>
                    <a:pt x="4" y="3"/>
                    <a:pt x="4" y="3"/>
                  </a:cubicBezTo>
                  <a:cubicBezTo>
                    <a:pt x="5" y="3"/>
                    <a:pt x="5" y="3"/>
                    <a:pt x="5" y="3"/>
                  </a:cubicBezTo>
                  <a:cubicBezTo>
                    <a:pt x="5" y="1"/>
                    <a:pt x="4" y="0"/>
                    <a:pt x="3" y="0"/>
                  </a:cubicBezTo>
                  <a:cubicBezTo>
                    <a:pt x="1" y="0"/>
                    <a:pt x="0" y="1"/>
                    <a:pt x="0" y="3"/>
                  </a:cubicBezTo>
                  <a:cubicBezTo>
                    <a:pt x="0" y="4"/>
                    <a:pt x="1" y="5"/>
                    <a:pt x="3" y="5"/>
                  </a:cubicBezTo>
                  <a:cubicBezTo>
                    <a:pt x="4" y="5"/>
                    <a:pt x="5" y="4"/>
                    <a:pt x="5" y="3"/>
                  </a:cubicBezTo>
                  <a:lnTo>
                    <a:pt x="4" y="3"/>
                  </a:lnTo>
                  <a:close/>
                </a:path>
              </a:pathLst>
            </a:custGeom>
            <a:solidFill>
              <a:srgbClr val="375E7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68" name="ïṧľîḋé">
              <a:extLst>
                <a:ext uri="{FF2B5EF4-FFF2-40B4-BE49-F238E27FC236}">
                  <a16:creationId xmlns:a16="http://schemas.microsoft.com/office/drawing/2014/main" id="{4A13F11D-8B85-4953-9B60-E67F7F3106AA}"/>
                </a:ext>
              </a:extLst>
            </p:cNvPr>
            <p:cNvSpPr/>
            <p:nvPr/>
          </p:nvSpPr>
          <p:spPr bwMode="auto">
            <a:xfrm>
              <a:off x="7754938" y="4603750"/>
              <a:ext cx="11113" cy="11113"/>
            </a:xfrm>
            <a:prstGeom prst="ellipse">
              <a:avLst/>
            </a:prstGeom>
            <a:solidFill>
              <a:srgbClr val="365E7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69" name="î$ļîḍê">
              <a:extLst>
                <a:ext uri="{FF2B5EF4-FFF2-40B4-BE49-F238E27FC236}">
                  <a16:creationId xmlns:a16="http://schemas.microsoft.com/office/drawing/2014/main" id="{97A81AEF-3360-4A1C-B7F4-202FBB3EB891}"/>
                </a:ext>
              </a:extLst>
            </p:cNvPr>
            <p:cNvSpPr/>
            <p:nvPr/>
          </p:nvSpPr>
          <p:spPr bwMode="auto">
            <a:xfrm>
              <a:off x="7751763" y="4600575"/>
              <a:ext cx="22225" cy="22225"/>
            </a:xfrm>
            <a:custGeom>
              <a:avLst/>
              <a:gdLst>
                <a:gd name="T0" fmla="*/ 4 w 6"/>
                <a:gd name="T1" fmla="*/ 3 h 6"/>
                <a:gd name="T2" fmla="*/ 3 w 6"/>
                <a:gd name="T3" fmla="*/ 3 h 6"/>
                <a:gd name="T4" fmla="*/ 3 w 6"/>
                <a:gd name="T5" fmla="*/ 3 h 6"/>
                <a:gd name="T6" fmla="*/ 3 w 6"/>
                <a:gd name="T7" fmla="*/ 3 h 6"/>
                <a:gd name="T8" fmla="*/ 3 w 6"/>
                <a:gd name="T9" fmla="*/ 3 h 6"/>
                <a:gd name="T10" fmla="*/ 3 w 6"/>
                <a:gd name="T11" fmla="*/ 3 h 6"/>
                <a:gd name="T12" fmla="*/ 4 w 6"/>
                <a:gd name="T13" fmla="*/ 3 h 6"/>
                <a:gd name="T14" fmla="*/ 6 w 6"/>
                <a:gd name="T15" fmla="*/ 3 h 6"/>
                <a:gd name="T16" fmla="*/ 3 w 6"/>
                <a:gd name="T17" fmla="*/ 0 h 6"/>
                <a:gd name="T18" fmla="*/ 0 w 6"/>
                <a:gd name="T19" fmla="*/ 3 h 6"/>
                <a:gd name="T20" fmla="*/ 3 w 6"/>
                <a:gd name="T21" fmla="*/ 6 h 6"/>
                <a:gd name="T22" fmla="*/ 6 w 6"/>
                <a:gd name="T23" fmla="*/ 3 h 6"/>
                <a:gd name="T24" fmla="*/ 4 w 6"/>
                <a:gd name="T25"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6">
                  <a:moveTo>
                    <a:pt x="4" y="3"/>
                  </a:moveTo>
                  <a:cubicBezTo>
                    <a:pt x="3" y="3"/>
                    <a:pt x="3" y="3"/>
                    <a:pt x="3" y="3"/>
                  </a:cubicBezTo>
                  <a:cubicBezTo>
                    <a:pt x="3" y="3"/>
                    <a:pt x="3" y="3"/>
                    <a:pt x="3" y="3"/>
                  </a:cubicBezTo>
                  <a:cubicBezTo>
                    <a:pt x="3" y="3"/>
                    <a:pt x="3" y="3"/>
                    <a:pt x="3" y="3"/>
                  </a:cubicBezTo>
                  <a:cubicBezTo>
                    <a:pt x="3" y="3"/>
                    <a:pt x="3" y="3"/>
                    <a:pt x="3" y="3"/>
                  </a:cubicBezTo>
                  <a:cubicBezTo>
                    <a:pt x="3" y="3"/>
                    <a:pt x="3" y="3"/>
                    <a:pt x="3" y="3"/>
                  </a:cubicBezTo>
                  <a:cubicBezTo>
                    <a:pt x="4" y="3"/>
                    <a:pt x="4" y="3"/>
                    <a:pt x="4" y="3"/>
                  </a:cubicBezTo>
                  <a:cubicBezTo>
                    <a:pt x="6" y="3"/>
                    <a:pt x="6" y="3"/>
                    <a:pt x="6" y="3"/>
                  </a:cubicBezTo>
                  <a:cubicBezTo>
                    <a:pt x="6" y="1"/>
                    <a:pt x="4" y="0"/>
                    <a:pt x="3" y="0"/>
                  </a:cubicBezTo>
                  <a:cubicBezTo>
                    <a:pt x="1" y="0"/>
                    <a:pt x="0" y="1"/>
                    <a:pt x="0" y="3"/>
                  </a:cubicBezTo>
                  <a:cubicBezTo>
                    <a:pt x="0" y="4"/>
                    <a:pt x="1" y="6"/>
                    <a:pt x="3" y="6"/>
                  </a:cubicBezTo>
                  <a:cubicBezTo>
                    <a:pt x="4" y="6"/>
                    <a:pt x="6" y="4"/>
                    <a:pt x="6" y="3"/>
                  </a:cubicBezTo>
                  <a:lnTo>
                    <a:pt x="4" y="3"/>
                  </a:lnTo>
                  <a:close/>
                </a:path>
              </a:pathLst>
            </a:custGeom>
            <a:solidFill>
              <a:srgbClr val="375E7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70" name="íśḷíḍè">
              <a:extLst>
                <a:ext uri="{FF2B5EF4-FFF2-40B4-BE49-F238E27FC236}">
                  <a16:creationId xmlns:a16="http://schemas.microsoft.com/office/drawing/2014/main" id="{31B130A1-788E-4AC2-AC89-025443FEE600}"/>
                </a:ext>
              </a:extLst>
            </p:cNvPr>
            <p:cNvSpPr/>
            <p:nvPr/>
          </p:nvSpPr>
          <p:spPr bwMode="auto">
            <a:xfrm>
              <a:off x="7785101" y="4603750"/>
              <a:ext cx="11113" cy="11113"/>
            </a:xfrm>
            <a:prstGeom prst="ellipse">
              <a:avLst/>
            </a:prstGeom>
            <a:solidFill>
              <a:srgbClr val="365E7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71" name="íŝḷïḑe">
              <a:extLst>
                <a:ext uri="{FF2B5EF4-FFF2-40B4-BE49-F238E27FC236}">
                  <a16:creationId xmlns:a16="http://schemas.microsoft.com/office/drawing/2014/main" id="{3EF7E918-B9B6-4EFE-A304-C221286E5C26}"/>
                </a:ext>
              </a:extLst>
            </p:cNvPr>
            <p:cNvSpPr/>
            <p:nvPr/>
          </p:nvSpPr>
          <p:spPr bwMode="auto">
            <a:xfrm>
              <a:off x="7781926" y="4600575"/>
              <a:ext cx="17463" cy="22225"/>
            </a:xfrm>
            <a:custGeom>
              <a:avLst/>
              <a:gdLst>
                <a:gd name="T0" fmla="*/ 4 w 5"/>
                <a:gd name="T1" fmla="*/ 3 h 6"/>
                <a:gd name="T2" fmla="*/ 3 w 5"/>
                <a:gd name="T3" fmla="*/ 3 h 6"/>
                <a:gd name="T4" fmla="*/ 3 w 5"/>
                <a:gd name="T5" fmla="*/ 3 h 6"/>
                <a:gd name="T6" fmla="*/ 2 w 5"/>
                <a:gd name="T7" fmla="*/ 3 h 6"/>
                <a:gd name="T8" fmla="*/ 3 w 5"/>
                <a:gd name="T9" fmla="*/ 3 h 6"/>
                <a:gd name="T10" fmla="*/ 3 w 5"/>
                <a:gd name="T11" fmla="*/ 3 h 6"/>
                <a:gd name="T12" fmla="*/ 4 w 5"/>
                <a:gd name="T13" fmla="*/ 3 h 6"/>
                <a:gd name="T14" fmla="*/ 5 w 5"/>
                <a:gd name="T15" fmla="*/ 3 h 6"/>
                <a:gd name="T16" fmla="*/ 3 w 5"/>
                <a:gd name="T17" fmla="*/ 0 h 6"/>
                <a:gd name="T18" fmla="*/ 0 w 5"/>
                <a:gd name="T19" fmla="*/ 3 h 6"/>
                <a:gd name="T20" fmla="*/ 3 w 5"/>
                <a:gd name="T21" fmla="*/ 6 h 6"/>
                <a:gd name="T22" fmla="*/ 5 w 5"/>
                <a:gd name="T23" fmla="*/ 3 h 6"/>
                <a:gd name="T24" fmla="*/ 4 w 5"/>
                <a:gd name="T25"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 h="6">
                  <a:moveTo>
                    <a:pt x="4" y="3"/>
                  </a:moveTo>
                  <a:cubicBezTo>
                    <a:pt x="3" y="3"/>
                    <a:pt x="3" y="3"/>
                    <a:pt x="3" y="3"/>
                  </a:cubicBezTo>
                  <a:cubicBezTo>
                    <a:pt x="3" y="3"/>
                    <a:pt x="3" y="3"/>
                    <a:pt x="3" y="3"/>
                  </a:cubicBezTo>
                  <a:cubicBezTo>
                    <a:pt x="2" y="3"/>
                    <a:pt x="2" y="3"/>
                    <a:pt x="2" y="3"/>
                  </a:cubicBezTo>
                  <a:cubicBezTo>
                    <a:pt x="3" y="3"/>
                    <a:pt x="3" y="3"/>
                    <a:pt x="3" y="3"/>
                  </a:cubicBezTo>
                  <a:cubicBezTo>
                    <a:pt x="3" y="3"/>
                    <a:pt x="3" y="3"/>
                    <a:pt x="3" y="3"/>
                  </a:cubicBezTo>
                  <a:cubicBezTo>
                    <a:pt x="4" y="3"/>
                    <a:pt x="4" y="3"/>
                    <a:pt x="4" y="3"/>
                  </a:cubicBezTo>
                  <a:cubicBezTo>
                    <a:pt x="5" y="3"/>
                    <a:pt x="5" y="3"/>
                    <a:pt x="5" y="3"/>
                  </a:cubicBezTo>
                  <a:cubicBezTo>
                    <a:pt x="5" y="1"/>
                    <a:pt x="4" y="0"/>
                    <a:pt x="3" y="0"/>
                  </a:cubicBezTo>
                  <a:cubicBezTo>
                    <a:pt x="1" y="0"/>
                    <a:pt x="0" y="1"/>
                    <a:pt x="0" y="3"/>
                  </a:cubicBezTo>
                  <a:cubicBezTo>
                    <a:pt x="0" y="4"/>
                    <a:pt x="1" y="6"/>
                    <a:pt x="3" y="6"/>
                  </a:cubicBezTo>
                  <a:cubicBezTo>
                    <a:pt x="4" y="6"/>
                    <a:pt x="5" y="4"/>
                    <a:pt x="5" y="3"/>
                  </a:cubicBezTo>
                  <a:lnTo>
                    <a:pt x="4" y="3"/>
                  </a:lnTo>
                  <a:close/>
                </a:path>
              </a:pathLst>
            </a:custGeom>
            <a:solidFill>
              <a:srgbClr val="375E7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72" name="iṡľiḍè">
              <a:extLst>
                <a:ext uri="{FF2B5EF4-FFF2-40B4-BE49-F238E27FC236}">
                  <a16:creationId xmlns:a16="http://schemas.microsoft.com/office/drawing/2014/main" id="{68F43FA1-BA1E-47C1-95D7-CBA3604344D6}"/>
                </a:ext>
              </a:extLst>
            </p:cNvPr>
            <p:cNvSpPr/>
            <p:nvPr/>
          </p:nvSpPr>
          <p:spPr bwMode="auto">
            <a:xfrm>
              <a:off x="8018463" y="4487863"/>
              <a:ext cx="11113" cy="11113"/>
            </a:xfrm>
            <a:prstGeom prst="ellipse">
              <a:avLst/>
            </a:prstGeom>
            <a:solidFill>
              <a:srgbClr val="365E7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73" name="íṣlïďe">
              <a:extLst>
                <a:ext uri="{FF2B5EF4-FFF2-40B4-BE49-F238E27FC236}">
                  <a16:creationId xmlns:a16="http://schemas.microsoft.com/office/drawing/2014/main" id="{012771A4-E8DC-408A-844E-401290E69744}"/>
                </a:ext>
              </a:extLst>
            </p:cNvPr>
            <p:cNvSpPr/>
            <p:nvPr/>
          </p:nvSpPr>
          <p:spPr bwMode="auto">
            <a:xfrm>
              <a:off x="8010526" y="4483100"/>
              <a:ext cx="22225" cy="22225"/>
            </a:xfrm>
            <a:custGeom>
              <a:avLst/>
              <a:gdLst>
                <a:gd name="T0" fmla="*/ 5 w 6"/>
                <a:gd name="T1" fmla="*/ 3 h 6"/>
                <a:gd name="T2" fmla="*/ 3 w 6"/>
                <a:gd name="T3" fmla="*/ 3 h 6"/>
                <a:gd name="T4" fmla="*/ 3 w 6"/>
                <a:gd name="T5" fmla="*/ 3 h 6"/>
                <a:gd name="T6" fmla="*/ 3 w 6"/>
                <a:gd name="T7" fmla="*/ 3 h 6"/>
                <a:gd name="T8" fmla="*/ 3 w 6"/>
                <a:gd name="T9" fmla="*/ 3 h 6"/>
                <a:gd name="T10" fmla="*/ 3 w 6"/>
                <a:gd name="T11" fmla="*/ 3 h 6"/>
                <a:gd name="T12" fmla="*/ 5 w 6"/>
                <a:gd name="T13" fmla="*/ 3 h 6"/>
                <a:gd name="T14" fmla="*/ 6 w 6"/>
                <a:gd name="T15" fmla="*/ 3 h 6"/>
                <a:gd name="T16" fmla="*/ 3 w 6"/>
                <a:gd name="T17" fmla="*/ 0 h 6"/>
                <a:gd name="T18" fmla="*/ 0 w 6"/>
                <a:gd name="T19" fmla="*/ 3 h 6"/>
                <a:gd name="T20" fmla="*/ 3 w 6"/>
                <a:gd name="T21" fmla="*/ 6 h 6"/>
                <a:gd name="T22" fmla="*/ 6 w 6"/>
                <a:gd name="T23" fmla="*/ 3 h 6"/>
                <a:gd name="T24" fmla="*/ 5 w 6"/>
                <a:gd name="T25"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6">
                  <a:moveTo>
                    <a:pt x="5" y="3"/>
                  </a:moveTo>
                  <a:cubicBezTo>
                    <a:pt x="3" y="3"/>
                    <a:pt x="3" y="3"/>
                    <a:pt x="3" y="3"/>
                  </a:cubicBezTo>
                  <a:cubicBezTo>
                    <a:pt x="3" y="3"/>
                    <a:pt x="3" y="3"/>
                    <a:pt x="3" y="3"/>
                  </a:cubicBezTo>
                  <a:cubicBezTo>
                    <a:pt x="3" y="3"/>
                    <a:pt x="3" y="3"/>
                    <a:pt x="3" y="3"/>
                  </a:cubicBezTo>
                  <a:cubicBezTo>
                    <a:pt x="3" y="3"/>
                    <a:pt x="3" y="3"/>
                    <a:pt x="3" y="3"/>
                  </a:cubicBezTo>
                  <a:cubicBezTo>
                    <a:pt x="3" y="3"/>
                    <a:pt x="3" y="3"/>
                    <a:pt x="3" y="3"/>
                  </a:cubicBezTo>
                  <a:cubicBezTo>
                    <a:pt x="5" y="3"/>
                    <a:pt x="5" y="3"/>
                    <a:pt x="5" y="3"/>
                  </a:cubicBezTo>
                  <a:cubicBezTo>
                    <a:pt x="6" y="3"/>
                    <a:pt x="6" y="3"/>
                    <a:pt x="6" y="3"/>
                  </a:cubicBezTo>
                  <a:cubicBezTo>
                    <a:pt x="6" y="1"/>
                    <a:pt x="5" y="0"/>
                    <a:pt x="3" y="0"/>
                  </a:cubicBezTo>
                  <a:cubicBezTo>
                    <a:pt x="2" y="0"/>
                    <a:pt x="0" y="1"/>
                    <a:pt x="0" y="3"/>
                  </a:cubicBezTo>
                  <a:cubicBezTo>
                    <a:pt x="0" y="4"/>
                    <a:pt x="2" y="6"/>
                    <a:pt x="3" y="6"/>
                  </a:cubicBezTo>
                  <a:cubicBezTo>
                    <a:pt x="5" y="6"/>
                    <a:pt x="6" y="4"/>
                    <a:pt x="6" y="3"/>
                  </a:cubicBezTo>
                  <a:lnTo>
                    <a:pt x="5" y="3"/>
                  </a:lnTo>
                  <a:close/>
                </a:path>
              </a:pathLst>
            </a:custGeom>
            <a:solidFill>
              <a:srgbClr val="375E7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74" name="iŝľîďè">
              <a:extLst>
                <a:ext uri="{FF2B5EF4-FFF2-40B4-BE49-F238E27FC236}">
                  <a16:creationId xmlns:a16="http://schemas.microsoft.com/office/drawing/2014/main" id="{557E40D8-6540-4E52-9737-FED4F07F343C}"/>
                </a:ext>
              </a:extLst>
            </p:cNvPr>
            <p:cNvSpPr/>
            <p:nvPr/>
          </p:nvSpPr>
          <p:spPr bwMode="auto">
            <a:xfrm>
              <a:off x="8048626" y="4487863"/>
              <a:ext cx="11113" cy="11113"/>
            </a:xfrm>
            <a:prstGeom prst="ellipse">
              <a:avLst/>
            </a:prstGeom>
            <a:solidFill>
              <a:srgbClr val="365E7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75" name="ïsļîḑe">
              <a:extLst>
                <a:ext uri="{FF2B5EF4-FFF2-40B4-BE49-F238E27FC236}">
                  <a16:creationId xmlns:a16="http://schemas.microsoft.com/office/drawing/2014/main" id="{1DD1AD7B-8498-4445-AA2E-26F4E081A766}"/>
                </a:ext>
              </a:extLst>
            </p:cNvPr>
            <p:cNvSpPr/>
            <p:nvPr/>
          </p:nvSpPr>
          <p:spPr bwMode="auto">
            <a:xfrm>
              <a:off x="8040688" y="4483100"/>
              <a:ext cx="22225" cy="22225"/>
            </a:xfrm>
            <a:custGeom>
              <a:avLst/>
              <a:gdLst>
                <a:gd name="T0" fmla="*/ 5 w 6"/>
                <a:gd name="T1" fmla="*/ 3 h 6"/>
                <a:gd name="T2" fmla="*/ 3 w 6"/>
                <a:gd name="T3" fmla="*/ 3 h 6"/>
                <a:gd name="T4" fmla="*/ 3 w 6"/>
                <a:gd name="T5" fmla="*/ 3 h 6"/>
                <a:gd name="T6" fmla="*/ 3 w 6"/>
                <a:gd name="T7" fmla="*/ 3 h 6"/>
                <a:gd name="T8" fmla="*/ 3 w 6"/>
                <a:gd name="T9" fmla="*/ 3 h 6"/>
                <a:gd name="T10" fmla="*/ 3 w 6"/>
                <a:gd name="T11" fmla="*/ 3 h 6"/>
                <a:gd name="T12" fmla="*/ 5 w 6"/>
                <a:gd name="T13" fmla="*/ 3 h 6"/>
                <a:gd name="T14" fmla="*/ 6 w 6"/>
                <a:gd name="T15" fmla="*/ 3 h 6"/>
                <a:gd name="T16" fmla="*/ 3 w 6"/>
                <a:gd name="T17" fmla="*/ 0 h 6"/>
                <a:gd name="T18" fmla="*/ 0 w 6"/>
                <a:gd name="T19" fmla="*/ 3 h 6"/>
                <a:gd name="T20" fmla="*/ 3 w 6"/>
                <a:gd name="T21" fmla="*/ 6 h 6"/>
                <a:gd name="T22" fmla="*/ 6 w 6"/>
                <a:gd name="T23" fmla="*/ 3 h 6"/>
                <a:gd name="T24" fmla="*/ 5 w 6"/>
                <a:gd name="T25"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6">
                  <a:moveTo>
                    <a:pt x="5" y="3"/>
                  </a:moveTo>
                  <a:cubicBezTo>
                    <a:pt x="3" y="3"/>
                    <a:pt x="3" y="3"/>
                    <a:pt x="3" y="3"/>
                  </a:cubicBezTo>
                  <a:cubicBezTo>
                    <a:pt x="3" y="3"/>
                    <a:pt x="3" y="3"/>
                    <a:pt x="3" y="3"/>
                  </a:cubicBezTo>
                  <a:cubicBezTo>
                    <a:pt x="3" y="3"/>
                    <a:pt x="3" y="3"/>
                    <a:pt x="3" y="3"/>
                  </a:cubicBezTo>
                  <a:cubicBezTo>
                    <a:pt x="3" y="3"/>
                    <a:pt x="3" y="3"/>
                    <a:pt x="3" y="3"/>
                  </a:cubicBezTo>
                  <a:cubicBezTo>
                    <a:pt x="3" y="3"/>
                    <a:pt x="3" y="3"/>
                    <a:pt x="3" y="3"/>
                  </a:cubicBezTo>
                  <a:cubicBezTo>
                    <a:pt x="5" y="3"/>
                    <a:pt x="5" y="3"/>
                    <a:pt x="5" y="3"/>
                  </a:cubicBezTo>
                  <a:cubicBezTo>
                    <a:pt x="6" y="3"/>
                    <a:pt x="6" y="3"/>
                    <a:pt x="6" y="3"/>
                  </a:cubicBezTo>
                  <a:cubicBezTo>
                    <a:pt x="6" y="1"/>
                    <a:pt x="5" y="0"/>
                    <a:pt x="3" y="0"/>
                  </a:cubicBezTo>
                  <a:cubicBezTo>
                    <a:pt x="2" y="0"/>
                    <a:pt x="0" y="1"/>
                    <a:pt x="0" y="3"/>
                  </a:cubicBezTo>
                  <a:cubicBezTo>
                    <a:pt x="0" y="4"/>
                    <a:pt x="2" y="6"/>
                    <a:pt x="3" y="6"/>
                  </a:cubicBezTo>
                  <a:cubicBezTo>
                    <a:pt x="5" y="6"/>
                    <a:pt x="6" y="4"/>
                    <a:pt x="6" y="3"/>
                  </a:cubicBezTo>
                  <a:lnTo>
                    <a:pt x="5" y="3"/>
                  </a:lnTo>
                  <a:close/>
                </a:path>
              </a:pathLst>
            </a:custGeom>
            <a:solidFill>
              <a:srgbClr val="375E7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76" name="íşḷíďe">
              <a:extLst>
                <a:ext uri="{FF2B5EF4-FFF2-40B4-BE49-F238E27FC236}">
                  <a16:creationId xmlns:a16="http://schemas.microsoft.com/office/drawing/2014/main" id="{5442A19D-678F-42D6-9FD0-3015FF82B14B}"/>
                </a:ext>
              </a:extLst>
            </p:cNvPr>
            <p:cNvSpPr/>
            <p:nvPr/>
          </p:nvSpPr>
          <p:spPr bwMode="auto">
            <a:xfrm>
              <a:off x="8018463" y="4518025"/>
              <a:ext cx="11113" cy="11113"/>
            </a:xfrm>
            <a:prstGeom prst="ellipse">
              <a:avLst/>
            </a:prstGeom>
            <a:solidFill>
              <a:srgbClr val="365E7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77" name="ïšlíḍê">
              <a:extLst>
                <a:ext uri="{FF2B5EF4-FFF2-40B4-BE49-F238E27FC236}">
                  <a16:creationId xmlns:a16="http://schemas.microsoft.com/office/drawing/2014/main" id="{FB5FAF7F-108D-43E9-A871-6953D90E8C30}"/>
                </a:ext>
              </a:extLst>
            </p:cNvPr>
            <p:cNvSpPr/>
            <p:nvPr/>
          </p:nvSpPr>
          <p:spPr bwMode="auto">
            <a:xfrm>
              <a:off x="8010526" y="4510088"/>
              <a:ext cx="22225" cy="22225"/>
            </a:xfrm>
            <a:custGeom>
              <a:avLst/>
              <a:gdLst>
                <a:gd name="T0" fmla="*/ 5 w 6"/>
                <a:gd name="T1" fmla="*/ 3 h 6"/>
                <a:gd name="T2" fmla="*/ 3 w 6"/>
                <a:gd name="T3" fmla="*/ 3 h 6"/>
                <a:gd name="T4" fmla="*/ 3 w 6"/>
                <a:gd name="T5" fmla="*/ 3 h 6"/>
                <a:gd name="T6" fmla="*/ 3 w 6"/>
                <a:gd name="T7" fmla="*/ 3 h 6"/>
                <a:gd name="T8" fmla="*/ 3 w 6"/>
                <a:gd name="T9" fmla="*/ 3 h 6"/>
                <a:gd name="T10" fmla="*/ 3 w 6"/>
                <a:gd name="T11" fmla="*/ 3 h 6"/>
                <a:gd name="T12" fmla="*/ 5 w 6"/>
                <a:gd name="T13" fmla="*/ 3 h 6"/>
                <a:gd name="T14" fmla="*/ 6 w 6"/>
                <a:gd name="T15" fmla="*/ 3 h 6"/>
                <a:gd name="T16" fmla="*/ 3 w 6"/>
                <a:gd name="T17" fmla="*/ 0 h 6"/>
                <a:gd name="T18" fmla="*/ 0 w 6"/>
                <a:gd name="T19" fmla="*/ 3 h 6"/>
                <a:gd name="T20" fmla="*/ 3 w 6"/>
                <a:gd name="T21" fmla="*/ 6 h 6"/>
                <a:gd name="T22" fmla="*/ 6 w 6"/>
                <a:gd name="T23" fmla="*/ 3 h 6"/>
                <a:gd name="T24" fmla="*/ 5 w 6"/>
                <a:gd name="T25"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6">
                  <a:moveTo>
                    <a:pt x="5" y="3"/>
                  </a:moveTo>
                  <a:cubicBezTo>
                    <a:pt x="3" y="3"/>
                    <a:pt x="3" y="3"/>
                    <a:pt x="3" y="3"/>
                  </a:cubicBezTo>
                  <a:cubicBezTo>
                    <a:pt x="3" y="3"/>
                    <a:pt x="3" y="3"/>
                    <a:pt x="3" y="3"/>
                  </a:cubicBezTo>
                  <a:cubicBezTo>
                    <a:pt x="3" y="3"/>
                    <a:pt x="3" y="3"/>
                    <a:pt x="3" y="3"/>
                  </a:cubicBezTo>
                  <a:cubicBezTo>
                    <a:pt x="3" y="3"/>
                    <a:pt x="3" y="3"/>
                    <a:pt x="3" y="3"/>
                  </a:cubicBezTo>
                  <a:cubicBezTo>
                    <a:pt x="3" y="3"/>
                    <a:pt x="3" y="3"/>
                    <a:pt x="3" y="3"/>
                  </a:cubicBezTo>
                  <a:cubicBezTo>
                    <a:pt x="5" y="3"/>
                    <a:pt x="5" y="3"/>
                    <a:pt x="5" y="3"/>
                  </a:cubicBezTo>
                  <a:cubicBezTo>
                    <a:pt x="6" y="3"/>
                    <a:pt x="6" y="3"/>
                    <a:pt x="6" y="3"/>
                  </a:cubicBezTo>
                  <a:cubicBezTo>
                    <a:pt x="6" y="2"/>
                    <a:pt x="5" y="0"/>
                    <a:pt x="3" y="0"/>
                  </a:cubicBezTo>
                  <a:cubicBezTo>
                    <a:pt x="2" y="0"/>
                    <a:pt x="0" y="2"/>
                    <a:pt x="0" y="3"/>
                  </a:cubicBezTo>
                  <a:cubicBezTo>
                    <a:pt x="0" y="5"/>
                    <a:pt x="2" y="6"/>
                    <a:pt x="3" y="6"/>
                  </a:cubicBezTo>
                  <a:cubicBezTo>
                    <a:pt x="5" y="6"/>
                    <a:pt x="6" y="5"/>
                    <a:pt x="6" y="3"/>
                  </a:cubicBezTo>
                  <a:lnTo>
                    <a:pt x="5" y="3"/>
                  </a:lnTo>
                  <a:close/>
                </a:path>
              </a:pathLst>
            </a:custGeom>
            <a:solidFill>
              <a:srgbClr val="375E7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78" name="iṣḷiḍé">
              <a:extLst>
                <a:ext uri="{FF2B5EF4-FFF2-40B4-BE49-F238E27FC236}">
                  <a16:creationId xmlns:a16="http://schemas.microsoft.com/office/drawing/2014/main" id="{3722AACD-73D5-415E-B250-716E018C542A}"/>
                </a:ext>
              </a:extLst>
            </p:cNvPr>
            <p:cNvSpPr/>
            <p:nvPr/>
          </p:nvSpPr>
          <p:spPr bwMode="auto">
            <a:xfrm>
              <a:off x="8048626" y="4518025"/>
              <a:ext cx="11113" cy="11113"/>
            </a:xfrm>
            <a:prstGeom prst="ellipse">
              <a:avLst/>
            </a:prstGeom>
            <a:solidFill>
              <a:srgbClr val="365E7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79" name="íṩľïdê">
              <a:extLst>
                <a:ext uri="{FF2B5EF4-FFF2-40B4-BE49-F238E27FC236}">
                  <a16:creationId xmlns:a16="http://schemas.microsoft.com/office/drawing/2014/main" id="{DACC0B5A-9BEF-45DF-B4B1-458C009FBE06}"/>
                </a:ext>
              </a:extLst>
            </p:cNvPr>
            <p:cNvSpPr/>
            <p:nvPr/>
          </p:nvSpPr>
          <p:spPr bwMode="auto">
            <a:xfrm>
              <a:off x="8040688" y="4510088"/>
              <a:ext cx="22225" cy="22225"/>
            </a:xfrm>
            <a:custGeom>
              <a:avLst/>
              <a:gdLst>
                <a:gd name="T0" fmla="*/ 5 w 6"/>
                <a:gd name="T1" fmla="*/ 3 h 6"/>
                <a:gd name="T2" fmla="*/ 3 w 6"/>
                <a:gd name="T3" fmla="*/ 3 h 6"/>
                <a:gd name="T4" fmla="*/ 3 w 6"/>
                <a:gd name="T5" fmla="*/ 3 h 6"/>
                <a:gd name="T6" fmla="*/ 3 w 6"/>
                <a:gd name="T7" fmla="*/ 3 h 6"/>
                <a:gd name="T8" fmla="*/ 3 w 6"/>
                <a:gd name="T9" fmla="*/ 3 h 6"/>
                <a:gd name="T10" fmla="*/ 3 w 6"/>
                <a:gd name="T11" fmla="*/ 3 h 6"/>
                <a:gd name="T12" fmla="*/ 5 w 6"/>
                <a:gd name="T13" fmla="*/ 3 h 6"/>
                <a:gd name="T14" fmla="*/ 6 w 6"/>
                <a:gd name="T15" fmla="*/ 3 h 6"/>
                <a:gd name="T16" fmla="*/ 3 w 6"/>
                <a:gd name="T17" fmla="*/ 0 h 6"/>
                <a:gd name="T18" fmla="*/ 0 w 6"/>
                <a:gd name="T19" fmla="*/ 3 h 6"/>
                <a:gd name="T20" fmla="*/ 3 w 6"/>
                <a:gd name="T21" fmla="*/ 6 h 6"/>
                <a:gd name="T22" fmla="*/ 6 w 6"/>
                <a:gd name="T23" fmla="*/ 3 h 6"/>
                <a:gd name="T24" fmla="*/ 5 w 6"/>
                <a:gd name="T25"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6">
                  <a:moveTo>
                    <a:pt x="5" y="3"/>
                  </a:moveTo>
                  <a:cubicBezTo>
                    <a:pt x="3" y="3"/>
                    <a:pt x="3" y="3"/>
                    <a:pt x="3" y="3"/>
                  </a:cubicBezTo>
                  <a:cubicBezTo>
                    <a:pt x="3" y="3"/>
                    <a:pt x="3" y="3"/>
                    <a:pt x="3" y="3"/>
                  </a:cubicBezTo>
                  <a:cubicBezTo>
                    <a:pt x="3" y="3"/>
                    <a:pt x="3" y="3"/>
                    <a:pt x="3" y="3"/>
                  </a:cubicBezTo>
                  <a:cubicBezTo>
                    <a:pt x="3" y="3"/>
                    <a:pt x="3" y="3"/>
                    <a:pt x="3" y="3"/>
                  </a:cubicBezTo>
                  <a:cubicBezTo>
                    <a:pt x="3" y="3"/>
                    <a:pt x="3" y="3"/>
                    <a:pt x="3" y="3"/>
                  </a:cubicBezTo>
                  <a:cubicBezTo>
                    <a:pt x="5" y="3"/>
                    <a:pt x="5" y="3"/>
                    <a:pt x="5" y="3"/>
                  </a:cubicBezTo>
                  <a:cubicBezTo>
                    <a:pt x="6" y="3"/>
                    <a:pt x="6" y="3"/>
                    <a:pt x="6" y="3"/>
                  </a:cubicBezTo>
                  <a:cubicBezTo>
                    <a:pt x="6" y="2"/>
                    <a:pt x="5" y="0"/>
                    <a:pt x="3" y="0"/>
                  </a:cubicBezTo>
                  <a:cubicBezTo>
                    <a:pt x="1" y="0"/>
                    <a:pt x="0" y="2"/>
                    <a:pt x="0" y="3"/>
                  </a:cubicBezTo>
                  <a:cubicBezTo>
                    <a:pt x="0" y="5"/>
                    <a:pt x="1" y="6"/>
                    <a:pt x="3" y="6"/>
                  </a:cubicBezTo>
                  <a:cubicBezTo>
                    <a:pt x="5" y="6"/>
                    <a:pt x="6" y="5"/>
                    <a:pt x="6" y="3"/>
                  </a:cubicBezTo>
                  <a:lnTo>
                    <a:pt x="5" y="3"/>
                  </a:lnTo>
                  <a:close/>
                </a:path>
              </a:pathLst>
            </a:custGeom>
            <a:solidFill>
              <a:srgbClr val="375E7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80" name="ïṧḻídè">
              <a:extLst>
                <a:ext uri="{FF2B5EF4-FFF2-40B4-BE49-F238E27FC236}">
                  <a16:creationId xmlns:a16="http://schemas.microsoft.com/office/drawing/2014/main" id="{6A4E437B-AC5D-4182-94A5-080E959822B2}"/>
                </a:ext>
              </a:extLst>
            </p:cNvPr>
            <p:cNvSpPr/>
            <p:nvPr/>
          </p:nvSpPr>
          <p:spPr bwMode="auto">
            <a:xfrm>
              <a:off x="7037388" y="2073275"/>
              <a:ext cx="863600" cy="755650"/>
            </a:xfrm>
            <a:custGeom>
              <a:avLst/>
              <a:gdLst>
                <a:gd name="T0" fmla="*/ 219 w 230"/>
                <a:gd name="T1" fmla="*/ 96 h 201"/>
                <a:gd name="T2" fmla="*/ 200 w 230"/>
                <a:gd name="T3" fmla="*/ 96 h 201"/>
                <a:gd name="T4" fmla="*/ 100 w 230"/>
                <a:gd name="T5" fmla="*/ 0 h 201"/>
                <a:gd name="T6" fmla="*/ 0 w 230"/>
                <a:gd name="T7" fmla="*/ 101 h 201"/>
                <a:gd name="T8" fmla="*/ 100 w 230"/>
                <a:gd name="T9" fmla="*/ 201 h 201"/>
                <a:gd name="T10" fmla="*/ 200 w 230"/>
                <a:gd name="T11" fmla="*/ 106 h 201"/>
                <a:gd name="T12" fmla="*/ 230 w 230"/>
                <a:gd name="T13" fmla="*/ 106 h 201"/>
                <a:gd name="T14" fmla="*/ 219 w 230"/>
                <a:gd name="T15" fmla="*/ 96 h 2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0" h="201">
                  <a:moveTo>
                    <a:pt x="219" y="96"/>
                  </a:moveTo>
                  <a:cubicBezTo>
                    <a:pt x="200" y="96"/>
                    <a:pt x="200" y="96"/>
                    <a:pt x="200" y="96"/>
                  </a:cubicBezTo>
                  <a:cubicBezTo>
                    <a:pt x="198" y="43"/>
                    <a:pt x="154" y="0"/>
                    <a:pt x="100" y="0"/>
                  </a:cubicBezTo>
                  <a:cubicBezTo>
                    <a:pt x="45" y="0"/>
                    <a:pt x="0" y="45"/>
                    <a:pt x="0" y="101"/>
                  </a:cubicBezTo>
                  <a:cubicBezTo>
                    <a:pt x="0" y="156"/>
                    <a:pt x="45" y="201"/>
                    <a:pt x="100" y="201"/>
                  </a:cubicBezTo>
                  <a:cubicBezTo>
                    <a:pt x="154" y="201"/>
                    <a:pt x="198" y="159"/>
                    <a:pt x="200" y="106"/>
                  </a:cubicBezTo>
                  <a:cubicBezTo>
                    <a:pt x="230" y="106"/>
                    <a:pt x="230" y="106"/>
                    <a:pt x="230" y="106"/>
                  </a:cubicBezTo>
                  <a:lnTo>
                    <a:pt x="219" y="96"/>
                  </a:lnTo>
                  <a:close/>
                </a:path>
              </a:pathLst>
            </a:custGeom>
            <a:solidFill>
              <a:srgbClr val="6A9EA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81" name="íṡḻíḓè">
              <a:extLst>
                <a:ext uri="{FF2B5EF4-FFF2-40B4-BE49-F238E27FC236}">
                  <a16:creationId xmlns:a16="http://schemas.microsoft.com/office/drawing/2014/main" id="{FF6E95BA-4421-4D92-B661-E0EDF5A15BF4}"/>
                </a:ext>
              </a:extLst>
            </p:cNvPr>
            <p:cNvSpPr/>
            <p:nvPr/>
          </p:nvSpPr>
          <p:spPr bwMode="auto">
            <a:xfrm>
              <a:off x="7004051" y="2039938"/>
              <a:ext cx="706438" cy="70643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82" name="ïşļíde">
              <a:extLst>
                <a:ext uri="{FF2B5EF4-FFF2-40B4-BE49-F238E27FC236}">
                  <a16:creationId xmlns:a16="http://schemas.microsoft.com/office/drawing/2014/main" id="{6A716D26-913A-4589-90B5-C6952A28B9B5}"/>
                </a:ext>
              </a:extLst>
            </p:cNvPr>
            <p:cNvSpPr/>
            <p:nvPr/>
          </p:nvSpPr>
          <p:spPr bwMode="auto">
            <a:xfrm>
              <a:off x="6977063" y="2012950"/>
              <a:ext cx="755650" cy="755650"/>
            </a:xfrm>
            <a:custGeom>
              <a:avLst/>
              <a:gdLst>
                <a:gd name="T0" fmla="*/ 101 w 201"/>
                <a:gd name="T1" fmla="*/ 14 h 201"/>
                <a:gd name="T2" fmla="*/ 188 w 201"/>
                <a:gd name="T3" fmla="*/ 101 h 201"/>
                <a:gd name="T4" fmla="*/ 101 w 201"/>
                <a:gd name="T5" fmla="*/ 188 h 201"/>
                <a:gd name="T6" fmla="*/ 13 w 201"/>
                <a:gd name="T7" fmla="*/ 101 h 201"/>
                <a:gd name="T8" fmla="*/ 101 w 201"/>
                <a:gd name="T9" fmla="*/ 14 h 201"/>
                <a:gd name="T10" fmla="*/ 101 w 201"/>
                <a:gd name="T11" fmla="*/ 0 h 201"/>
                <a:gd name="T12" fmla="*/ 0 w 201"/>
                <a:gd name="T13" fmla="*/ 101 h 201"/>
                <a:gd name="T14" fmla="*/ 101 w 201"/>
                <a:gd name="T15" fmla="*/ 201 h 201"/>
                <a:gd name="T16" fmla="*/ 201 w 201"/>
                <a:gd name="T17" fmla="*/ 101 h 201"/>
                <a:gd name="T18" fmla="*/ 101 w 201"/>
                <a:gd name="T19" fmla="*/ 0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1" h="201">
                  <a:moveTo>
                    <a:pt x="101" y="14"/>
                  </a:moveTo>
                  <a:cubicBezTo>
                    <a:pt x="149" y="14"/>
                    <a:pt x="188" y="53"/>
                    <a:pt x="188" y="101"/>
                  </a:cubicBezTo>
                  <a:cubicBezTo>
                    <a:pt x="188" y="149"/>
                    <a:pt x="149" y="188"/>
                    <a:pt x="101" y="188"/>
                  </a:cubicBezTo>
                  <a:cubicBezTo>
                    <a:pt x="53" y="188"/>
                    <a:pt x="13" y="149"/>
                    <a:pt x="13" y="101"/>
                  </a:cubicBezTo>
                  <a:cubicBezTo>
                    <a:pt x="13" y="53"/>
                    <a:pt x="53" y="14"/>
                    <a:pt x="101" y="14"/>
                  </a:cubicBezTo>
                  <a:moveTo>
                    <a:pt x="101" y="0"/>
                  </a:moveTo>
                  <a:cubicBezTo>
                    <a:pt x="45" y="0"/>
                    <a:pt x="0" y="45"/>
                    <a:pt x="0" y="101"/>
                  </a:cubicBezTo>
                  <a:cubicBezTo>
                    <a:pt x="0" y="156"/>
                    <a:pt x="45" y="201"/>
                    <a:pt x="101" y="201"/>
                  </a:cubicBezTo>
                  <a:cubicBezTo>
                    <a:pt x="156" y="201"/>
                    <a:pt x="201" y="156"/>
                    <a:pt x="201" y="101"/>
                  </a:cubicBezTo>
                  <a:cubicBezTo>
                    <a:pt x="201" y="45"/>
                    <a:pt x="156" y="0"/>
                    <a:pt x="101" y="0"/>
                  </a:cubicBezTo>
                  <a:close/>
                </a:path>
              </a:pathLst>
            </a:custGeom>
            <a:solidFill>
              <a:srgbClr val="FA870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83" name="ïŝlîḑe">
              <a:extLst>
                <a:ext uri="{FF2B5EF4-FFF2-40B4-BE49-F238E27FC236}">
                  <a16:creationId xmlns:a16="http://schemas.microsoft.com/office/drawing/2014/main" id="{74DA158F-734C-42CE-915D-2A8AD0372419}"/>
                </a:ext>
              </a:extLst>
            </p:cNvPr>
            <p:cNvSpPr/>
            <p:nvPr/>
          </p:nvSpPr>
          <p:spPr bwMode="auto">
            <a:xfrm>
              <a:off x="7100888" y="2138363"/>
              <a:ext cx="508000" cy="506413"/>
            </a:xfrm>
            <a:prstGeom prst="ellipse">
              <a:avLst/>
            </a:prstGeom>
            <a:solidFill>
              <a:srgbClr val="FA870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84" name="îṣḷïḋe">
              <a:extLst>
                <a:ext uri="{FF2B5EF4-FFF2-40B4-BE49-F238E27FC236}">
                  <a16:creationId xmlns:a16="http://schemas.microsoft.com/office/drawing/2014/main" id="{2F43E405-8CEA-45C6-ACE8-E67A7754AF99}"/>
                </a:ext>
              </a:extLst>
            </p:cNvPr>
            <p:cNvSpPr/>
            <p:nvPr/>
          </p:nvSpPr>
          <p:spPr bwMode="auto">
            <a:xfrm>
              <a:off x="7221538" y="2257425"/>
              <a:ext cx="269875" cy="271463"/>
            </a:xfrm>
            <a:prstGeom prst="ellipse">
              <a:avLst/>
            </a:prstGeom>
            <a:solidFill>
              <a:srgbClr val="FA690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85" name="ïṥḷïḍe">
              <a:extLst>
                <a:ext uri="{FF2B5EF4-FFF2-40B4-BE49-F238E27FC236}">
                  <a16:creationId xmlns:a16="http://schemas.microsoft.com/office/drawing/2014/main" id="{0E2511F4-E0BD-422E-B40B-2D2AD6DFC531}"/>
                </a:ext>
              </a:extLst>
            </p:cNvPr>
            <p:cNvSpPr/>
            <p:nvPr/>
          </p:nvSpPr>
          <p:spPr bwMode="auto">
            <a:xfrm>
              <a:off x="7356476" y="2374900"/>
              <a:ext cx="895350" cy="36513"/>
            </a:xfrm>
            <a:prstGeom prst="rect">
              <a:avLst/>
            </a:prstGeom>
            <a:solidFill>
              <a:srgbClr val="3C698C"/>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286" name="iṩḷîďe">
              <a:extLst>
                <a:ext uri="{FF2B5EF4-FFF2-40B4-BE49-F238E27FC236}">
                  <a16:creationId xmlns:a16="http://schemas.microsoft.com/office/drawing/2014/main" id="{1753E73C-D4D3-4205-A755-1FBD4198F05F}"/>
                </a:ext>
              </a:extLst>
            </p:cNvPr>
            <p:cNvSpPr/>
            <p:nvPr/>
          </p:nvSpPr>
          <p:spPr bwMode="auto">
            <a:xfrm>
              <a:off x="7356476" y="2374900"/>
              <a:ext cx="895350" cy="36513"/>
            </a:xfrm>
            <a:custGeom>
              <a:avLst/>
              <a:gdLst>
                <a:gd name="T0" fmla="*/ 0 w 564"/>
                <a:gd name="T1" fmla="*/ 23 h 23"/>
                <a:gd name="T2" fmla="*/ 564 w 564"/>
                <a:gd name="T3" fmla="*/ 23 h 23"/>
                <a:gd name="T4" fmla="*/ 564 w 564"/>
                <a:gd name="T5" fmla="*/ 0 h 23"/>
                <a:gd name="T6" fmla="*/ 0 w 564"/>
                <a:gd name="T7" fmla="*/ 0 h 23"/>
              </a:gdLst>
              <a:ahLst/>
              <a:cxnLst>
                <a:cxn ang="0">
                  <a:pos x="T0" y="T1"/>
                </a:cxn>
                <a:cxn ang="0">
                  <a:pos x="T2" y="T3"/>
                </a:cxn>
                <a:cxn ang="0">
                  <a:pos x="T4" y="T5"/>
                </a:cxn>
                <a:cxn ang="0">
                  <a:pos x="T6" y="T7"/>
                </a:cxn>
              </a:cxnLst>
              <a:rect l="0" t="0" r="r" b="b"/>
              <a:pathLst>
                <a:path w="564" h="23">
                  <a:moveTo>
                    <a:pt x="0" y="23"/>
                  </a:moveTo>
                  <a:lnTo>
                    <a:pt x="564" y="23"/>
                  </a:lnTo>
                  <a:lnTo>
                    <a:pt x="564"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87" name="ïšḻíḍè">
              <a:extLst>
                <a:ext uri="{FF2B5EF4-FFF2-40B4-BE49-F238E27FC236}">
                  <a16:creationId xmlns:a16="http://schemas.microsoft.com/office/drawing/2014/main" id="{532ECEFA-75F2-4643-9F7F-6F40B8212E32}"/>
                </a:ext>
              </a:extLst>
            </p:cNvPr>
            <p:cNvSpPr/>
            <p:nvPr/>
          </p:nvSpPr>
          <p:spPr bwMode="auto">
            <a:xfrm>
              <a:off x="8054976" y="2314575"/>
              <a:ext cx="285750" cy="79375"/>
            </a:xfrm>
            <a:custGeom>
              <a:avLst/>
              <a:gdLst>
                <a:gd name="T0" fmla="*/ 180 w 180"/>
                <a:gd name="T1" fmla="*/ 0 h 50"/>
                <a:gd name="T2" fmla="*/ 55 w 180"/>
                <a:gd name="T3" fmla="*/ 0 h 50"/>
                <a:gd name="T4" fmla="*/ 0 w 180"/>
                <a:gd name="T5" fmla="*/ 50 h 50"/>
                <a:gd name="T6" fmla="*/ 124 w 180"/>
                <a:gd name="T7" fmla="*/ 50 h 50"/>
                <a:gd name="T8" fmla="*/ 180 w 180"/>
                <a:gd name="T9" fmla="*/ 0 h 50"/>
              </a:gdLst>
              <a:ahLst/>
              <a:cxnLst>
                <a:cxn ang="0">
                  <a:pos x="T0" y="T1"/>
                </a:cxn>
                <a:cxn ang="0">
                  <a:pos x="T2" y="T3"/>
                </a:cxn>
                <a:cxn ang="0">
                  <a:pos x="T4" y="T5"/>
                </a:cxn>
                <a:cxn ang="0">
                  <a:pos x="T6" y="T7"/>
                </a:cxn>
                <a:cxn ang="0">
                  <a:pos x="T8" y="T9"/>
                </a:cxn>
              </a:cxnLst>
              <a:rect l="0" t="0" r="r" b="b"/>
              <a:pathLst>
                <a:path w="180" h="50">
                  <a:moveTo>
                    <a:pt x="180" y="0"/>
                  </a:moveTo>
                  <a:lnTo>
                    <a:pt x="55" y="0"/>
                  </a:lnTo>
                  <a:lnTo>
                    <a:pt x="0" y="50"/>
                  </a:lnTo>
                  <a:lnTo>
                    <a:pt x="124" y="50"/>
                  </a:lnTo>
                  <a:lnTo>
                    <a:pt x="180" y="0"/>
                  </a:lnTo>
                  <a:close/>
                </a:path>
              </a:pathLst>
            </a:custGeom>
            <a:solidFill>
              <a:srgbClr val="FA870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88" name="i$ľídè">
              <a:extLst>
                <a:ext uri="{FF2B5EF4-FFF2-40B4-BE49-F238E27FC236}">
                  <a16:creationId xmlns:a16="http://schemas.microsoft.com/office/drawing/2014/main" id="{D5202A41-DDA5-4E3A-B401-F31747852D14}"/>
                </a:ext>
              </a:extLst>
            </p:cNvPr>
            <p:cNvSpPr/>
            <p:nvPr/>
          </p:nvSpPr>
          <p:spPr bwMode="auto">
            <a:xfrm>
              <a:off x="8054976" y="2393950"/>
              <a:ext cx="285750" cy="77788"/>
            </a:xfrm>
            <a:custGeom>
              <a:avLst/>
              <a:gdLst>
                <a:gd name="T0" fmla="*/ 180 w 180"/>
                <a:gd name="T1" fmla="*/ 49 h 49"/>
                <a:gd name="T2" fmla="*/ 55 w 180"/>
                <a:gd name="T3" fmla="*/ 49 h 49"/>
                <a:gd name="T4" fmla="*/ 0 w 180"/>
                <a:gd name="T5" fmla="*/ 0 h 49"/>
                <a:gd name="T6" fmla="*/ 124 w 180"/>
                <a:gd name="T7" fmla="*/ 0 h 49"/>
                <a:gd name="T8" fmla="*/ 180 w 180"/>
                <a:gd name="T9" fmla="*/ 49 h 49"/>
              </a:gdLst>
              <a:ahLst/>
              <a:cxnLst>
                <a:cxn ang="0">
                  <a:pos x="T0" y="T1"/>
                </a:cxn>
                <a:cxn ang="0">
                  <a:pos x="T2" y="T3"/>
                </a:cxn>
                <a:cxn ang="0">
                  <a:pos x="T4" y="T5"/>
                </a:cxn>
                <a:cxn ang="0">
                  <a:pos x="T6" y="T7"/>
                </a:cxn>
                <a:cxn ang="0">
                  <a:pos x="T8" y="T9"/>
                </a:cxn>
              </a:cxnLst>
              <a:rect l="0" t="0" r="r" b="b"/>
              <a:pathLst>
                <a:path w="180" h="49">
                  <a:moveTo>
                    <a:pt x="180" y="49"/>
                  </a:moveTo>
                  <a:lnTo>
                    <a:pt x="55" y="49"/>
                  </a:lnTo>
                  <a:lnTo>
                    <a:pt x="0" y="0"/>
                  </a:lnTo>
                  <a:lnTo>
                    <a:pt x="124" y="0"/>
                  </a:lnTo>
                  <a:lnTo>
                    <a:pt x="180" y="49"/>
                  </a:lnTo>
                  <a:close/>
                </a:path>
              </a:pathLst>
            </a:custGeom>
            <a:solidFill>
              <a:srgbClr val="FA690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89" name="îślîďé">
              <a:extLst>
                <a:ext uri="{FF2B5EF4-FFF2-40B4-BE49-F238E27FC236}">
                  <a16:creationId xmlns:a16="http://schemas.microsoft.com/office/drawing/2014/main" id="{0329A09C-2705-4541-93C1-DABE72BFF9C1}"/>
                </a:ext>
              </a:extLst>
            </p:cNvPr>
            <p:cNvSpPr/>
            <p:nvPr/>
          </p:nvSpPr>
          <p:spPr bwMode="auto">
            <a:xfrm>
              <a:off x="4324351" y="2649538"/>
              <a:ext cx="469900" cy="673100"/>
            </a:xfrm>
            <a:custGeom>
              <a:avLst/>
              <a:gdLst>
                <a:gd name="T0" fmla="*/ 0 w 125"/>
                <a:gd name="T1" fmla="*/ 0 h 179"/>
                <a:gd name="T2" fmla="*/ 0 w 125"/>
                <a:gd name="T3" fmla="*/ 179 h 179"/>
                <a:gd name="T4" fmla="*/ 72 w 125"/>
                <a:gd name="T5" fmla="*/ 163 h 179"/>
                <a:gd name="T6" fmla="*/ 110 w 125"/>
                <a:gd name="T7" fmla="*/ 163 h 179"/>
                <a:gd name="T8" fmla="*/ 110 w 125"/>
                <a:gd name="T9" fmla="*/ 132 h 179"/>
                <a:gd name="T10" fmla="*/ 125 w 125"/>
                <a:gd name="T11" fmla="*/ 89 h 179"/>
                <a:gd name="T12" fmla="*/ 0 w 125"/>
                <a:gd name="T13" fmla="*/ 0 h 179"/>
              </a:gdLst>
              <a:ahLst/>
              <a:cxnLst>
                <a:cxn ang="0">
                  <a:pos x="T0" y="T1"/>
                </a:cxn>
                <a:cxn ang="0">
                  <a:pos x="T2" y="T3"/>
                </a:cxn>
                <a:cxn ang="0">
                  <a:pos x="T4" y="T5"/>
                </a:cxn>
                <a:cxn ang="0">
                  <a:pos x="T6" y="T7"/>
                </a:cxn>
                <a:cxn ang="0">
                  <a:pos x="T8" y="T9"/>
                </a:cxn>
                <a:cxn ang="0">
                  <a:pos x="T10" y="T11"/>
                </a:cxn>
                <a:cxn ang="0">
                  <a:pos x="T12" y="T13"/>
                </a:cxn>
              </a:cxnLst>
              <a:rect l="0" t="0" r="r" b="b"/>
              <a:pathLst>
                <a:path w="125" h="179">
                  <a:moveTo>
                    <a:pt x="0" y="0"/>
                  </a:moveTo>
                  <a:cubicBezTo>
                    <a:pt x="0" y="179"/>
                    <a:pt x="0" y="179"/>
                    <a:pt x="0" y="179"/>
                  </a:cubicBezTo>
                  <a:cubicBezTo>
                    <a:pt x="27" y="179"/>
                    <a:pt x="51" y="173"/>
                    <a:pt x="72" y="163"/>
                  </a:cubicBezTo>
                  <a:cubicBezTo>
                    <a:pt x="110" y="163"/>
                    <a:pt x="110" y="163"/>
                    <a:pt x="110" y="163"/>
                  </a:cubicBezTo>
                  <a:cubicBezTo>
                    <a:pt x="110" y="132"/>
                    <a:pt x="110" y="132"/>
                    <a:pt x="110" y="132"/>
                  </a:cubicBezTo>
                  <a:cubicBezTo>
                    <a:pt x="119" y="119"/>
                    <a:pt x="125" y="105"/>
                    <a:pt x="125" y="89"/>
                  </a:cubicBezTo>
                  <a:cubicBezTo>
                    <a:pt x="125" y="40"/>
                    <a:pt x="69" y="1"/>
                    <a:pt x="0" y="0"/>
                  </a:cubicBezTo>
                  <a:close/>
                </a:path>
              </a:pathLst>
            </a:custGeom>
            <a:solidFill>
              <a:srgbClr val="6A9EA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90" name="îṣlïḑe">
              <a:extLst>
                <a:ext uri="{FF2B5EF4-FFF2-40B4-BE49-F238E27FC236}">
                  <a16:creationId xmlns:a16="http://schemas.microsoft.com/office/drawing/2014/main" id="{59BB6D34-49A1-41E1-9A0E-8C621AE9A220}"/>
                </a:ext>
              </a:extLst>
            </p:cNvPr>
            <p:cNvSpPr/>
            <p:nvPr/>
          </p:nvSpPr>
          <p:spPr bwMode="auto">
            <a:xfrm>
              <a:off x="3846513" y="2559050"/>
              <a:ext cx="954088" cy="676275"/>
            </a:xfrm>
            <a:custGeom>
              <a:avLst/>
              <a:gdLst>
                <a:gd name="T0" fmla="*/ 239 w 254"/>
                <a:gd name="T1" fmla="*/ 132 h 180"/>
                <a:gd name="T2" fmla="*/ 254 w 254"/>
                <a:gd name="T3" fmla="*/ 90 h 180"/>
                <a:gd name="T4" fmla="*/ 127 w 254"/>
                <a:gd name="T5" fmla="*/ 0 h 180"/>
                <a:gd name="T6" fmla="*/ 0 w 254"/>
                <a:gd name="T7" fmla="*/ 90 h 180"/>
                <a:gd name="T8" fmla="*/ 127 w 254"/>
                <a:gd name="T9" fmla="*/ 180 h 180"/>
                <a:gd name="T10" fmla="*/ 200 w 254"/>
                <a:gd name="T11" fmla="*/ 163 h 180"/>
                <a:gd name="T12" fmla="*/ 239 w 254"/>
                <a:gd name="T13" fmla="*/ 163 h 180"/>
                <a:gd name="T14" fmla="*/ 239 w 254"/>
                <a:gd name="T15" fmla="*/ 132 h 1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4" h="180">
                  <a:moveTo>
                    <a:pt x="239" y="132"/>
                  </a:moveTo>
                  <a:cubicBezTo>
                    <a:pt x="248" y="119"/>
                    <a:pt x="254" y="105"/>
                    <a:pt x="254" y="90"/>
                  </a:cubicBezTo>
                  <a:cubicBezTo>
                    <a:pt x="254" y="40"/>
                    <a:pt x="197" y="0"/>
                    <a:pt x="127" y="0"/>
                  </a:cubicBezTo>
                  <a:cubicBezTo>
                    <a:pt x="57" y="0"/>
                    <a:pt x="0" y="40"/>
                    <a:pt x="0" y="90"/>
                  </a:cubicBezTo>
                  <a:cubicBezTo>
                    <a:pt x="0" y="139"/>
                    <a:pt x="57" y="180"/>
                    <a:pt x="127" y="180"/>
                  </a:cubicBezTo>
                  <a:cubicBezTo>
                    <a:pt x="154" y="180"/>
                    <a:pt x="180" y="173"/>
                    <a:pt x="200" y="163"/>
                  </a:cubicBezTo>
                  <a:cubicBezTo>
                    <a:pt x="239" y="163"/>
                    <a:pt x="239" y="163"/>
                    <a:pt x="239" y="163"/>
                  </a:cubicBezTo>
                  <a:lnTo>
                    <a:pt x="239" y="132"/>
                  </a:lnTo>
                  <a:close/>
                </a:path>
              </a:pathLst>
            </a:custGeom>
            <a:solidFill>
              <a:srgbClr val="FA870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91" name="îšľídé">
              <a:extLst>
                <a:ext uri="{FF2B5EF4-FFF2-40B4-BE49-F238E27FC236}">
                  <a16:creationId xmlns:a16="http://schemas.microsoft.com/office/drawing/2014/main" id="{E63B5932-DEC8-45ED-8578-B6D504C840EE}"/>
                </a:ext>
              </a:extLst>
            </p:cNvPr>
            <p:cNvSpPr/>
            <p:nvPr/>
          </p:nvSpPr>
          <p:spPr bwMode="auto">
            <a:xfrm>
              <a:off x="4146551" y="2855913"/>
              <a:ext cx="79375" cy="7937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92" name="íSḷiḑé">
              <a:extLst>
                <a:ext uri="{FF2B5EF4-FFF2-40B4-BE49-F238E27FC236}">
                  <a16:creationId xmlns:a16="http://schemas.microsoft.com/office/drawing/2014/main" id="{9CEFA359-805C-4786-9532-0B6CC991089B}"/>
                </a:ext>
              </a:extLst>
            </p:cNvPr>
            <p:cNvSpPr/>
            <p:nvPr/>
          </p:nvSpPr>
          <p:spPr bwMode="auto">
            <a:xfrm>
              <a:off x="4297363" y="2855913"/>
              <a:ext cx="79375" cy="7937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93" name="í$líḓê">
              <a:extLst>
                <a:ext uri="{FF2B5EF4-FFF2-40B4-BE49-F238E27FC236}">
                  <a16:creationId xmlns:a16="http://schemas.microsoft.com/office/drawing/2014/main" id="{CD0A83CD-F58F-476F-A02E-2FE778716DEC}"/>
                </a:ext>
              </a:extLst>
            </p:cNvPr>
            <p:cNvSpPr/>
            <p:nvPr/>
          </p:nvSpPr>
          <p:spPr bwMode="auto">
            <a:xfrm>
              <a:off x="4448176" y="2855913"/>
              <a:ext cx="79375" cy="7937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94" name="îṡľíḍe">
              <a:extLst>
                <a:ext uri="{FF2B5EF4-FFF2-40B4-BE49-F238E27FC236}">
                  <a16:creationId xmlns:a16="http://schemas.microsoft.com/office/drawing/2014/main" id="{F11B7056-EEA0-475C-9ACD-56E13815FCF1}"/>
                </a:ext>
              </a:extLst>
            </p:cNvPr>
            <p:cNvSpPr/>
            <p:nvPr/>
          </p:nvSpPr>
          <p:spPr bwMode="auto">
            <a:xfrm>
              <a:off x="3736976" y="5246688"/>
              <a:ext cx="981075" cy="4889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295" name="iṡļiďè">
              <a:extLst>
                <a:ext uri="{FF2B5EF4-FFF2-40B4-BE49-F238E27FC236}">
                  <a16:creationId xmlns:a16="http://schemas.microsoft.com/office/drawing/2014/main" id="{23096A8A-23E0-4C74-81F2-C8171B5D3E02}"/>
                </a:ext>
              </a:extLst>
            </p:cNvPr>
            <p:cNvSpPr/>
            <p:nvPr/>
          </p:nvSpPr>
          <p:spPr bwMode="auto">
            <a:xfrm>
              <a:off x="3736976" y="5246688"/>
              <a:ext cx="981075" cy="488950"/>
            </a:xfrm>
            <a:custGeom>
              <a:avLst/>
              <a:gdLst>
                <a:gd name="T0" fmla="*/ 587 w 618"/>
                <a:gd name="T1" fmla="*/ 33 h 308"/>
                <a:gd name="T2" fmla="*/ 587 w 618"/>
                <a:gd name="T3" fmla="*/ 277 h 308"/>
                <a:gd name="T4" fmla="*/ 31 w 618"/>
                <a:gd name="T5" fmla="*/ 277 h 308"/>
                <a:gd name="T6" fmla="*/ 31 w 618"/>
                <a:gd name="T7" fmla="*/ 33 h 308"/>
                <a:gd name="T8" fmla="*/ 587 w 618"/>
                <a:gd name="T9" fmla="*/ 33 h 308"/>
                <a:gd name="T10" fmla="*/ 618 w 618"/>
                <a:gd name="T11" fmla="*/ 0 h 308"/>
                <a:gd name="T12" fmla="*/ 0 w 618"/>
                <a:gd name="T13" fmla="*/ 0 h 308"/>
                <a:gd name="T14" fmla="*/ 0 w 618"/>
                <a:gd name="T15" fmla="*/ 308 h 308"/>
                <a:gd name="T16" fmla="*/ 618 w 618"/>
                <a:gd name="T17" fmla="*/ 308 h 308"/>
                <a:gd name="T18" fmla="*/ 618 w 618"/>
                <a:gd name="T19" fmla="*/ 0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8" h="308">
                  <a:moveTo>
                    <a:pt x="587" y="33"/>
                  </a:moveTo>
                  <a:lnTo>
                    <a:pt x="587" y="277"/>
                  </a:lnTo>
                  <a:lnTo>
                    <a:pt x="31" y="277"/>
                  </a:lnTo>
                  <a:lnTo>
                    <a:pt x="31" y="33"/>
                  </a:lnTo>
                  <a:lnTo>
                    <a:pt x="587" y="33"/>
                  </a:lnTo>
                  <a:close/>
                  <a:moveTo>
                    <a:pt x="618" y="0"/>
                  </a:moveTo>
                  <a:lnTo>
                    <a:pt x="0" y="0"/>
                  </a:lnTo>
                  <a:lnTo>
                    <a:pt x="0" y="308"/>
                  </a:lnTo>
                  <a:lnTo>
                    <a:pt x="618" y="308"/>
                  </a:lnTo>
                  <a:lnTo>
                    <a:pt x="618" y="0"/>
                  </a:lnTo>
                  <a:close/>
                </a:path>
              </a:pathLst>
            </a:custGeom>
            <a:solidFill>
              <a:srgbClr val="FA870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96" name="ï$lîḑé">
              <a:extLst>
                <a:ext uri="{FF2B5EF4-FFF2-40B4-BE49-F238E27FC236}">
                  <a16:creationId xmlns:a16="http://schemas.microsoft.com/office/drawing/2014/main" id="{6AF974D9-58EB-4CFC-B3B6-DE6FAB6117FF}"/>
                </a:ext>
              </a:extLst>
            </p:cNvPr>
            <p:cNvSpPr/>
            <p:nvPr/>
          </p:nvSpPr>
          <p:spPr bwMode="auto">
            <a:xfrm>
              <a:off x="3736976" y="5246688"/>
              <a:ext cx="981075" cy="488950"/>
            </a:xfrm>
            <a:custGeom>
              <a:avLst/>
              <a:gdLst>
                <a:gd name="T0" fmla="*/ 587 w 618"/>
                <a:gd name="T1" fmla="*/ 33 h 308"/>
                <a:gd name="T2" fmla="*/ 587 w 618"/>
                <a:gd name="T3" fmla="*/ 277 h 308"/>
                <a:gd name="T4" fmla="*/ 31 w 618"/>
                <a:gd name="T5" fmla="*/ 277 h 308"/>
                <a:gd name="T6" fmla="*/ 31 w 618"/>
                <a:gd name="T7" fmla="*/ 33 h 308"/>
                <a:gd name="T8" fmla="*/ 587 w 618"/>
                <a:gd name="T9" fmla="*/ 33 h 308"/>
                <a:gd name="T10" fmla="*/ 618 w 618"/>
                <a:gd name="T11" fmla="*/ 0 h 308"/>
                <a:gd name="T12" fmla="*/ 0 w 618"/>
                <a:gd name="T13" fmla="*/ 0 h 308"/>
                <a:gd name="T14" fmla="*/ 0 w 618"/>
                <a:gd name="T15" fmla="*/ 308 h 308"/>
                <a:gd name="T16" fmla="*/ 618 w 618"/>
                <a:gd name="T17" fmla="*/ 308 h 308"/>
                <a:gd name="T18" fmla="*/ 618 w 618"/>
                <a:gd name="T19" fmla="*/ 0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8" h="308">
                  <a:moveTo>
                    <a:pt x="587" y="33"/>
                  </a:moveTo>
                  <a:lnTo>
                    <a:pt x="587" y="277"/>
                  </a:lnTo>
                  <a:lnTo>
                    <a:pt x="31" y="277"/>
                  </a:lnTo>
                  <a:lnTo>
                    <a:pt x="31" y="33"/>
                  </a:lnTo>
                  <a:lnTo>
                    <a:pt x="587" y="33"/>
                  </a:lnTo>
                  <a:moveTo>
                    <a:pt x="618" y="0"/>
                  </a:moveTo>
                  <a:lnTo>
                    <a:pt x="0" y="0"/>
                  </a:lnTo>
                  <a:lnTo>
                    <a:pt x="0" y="308"/>
                  </a:lnTo>
                  <a:lnTo>
                    <a:pt x="618" y="308"/>
                  </a:lnTo>
                  <a:lnTo>
                    <a:pt x="6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97" name="ïŝ1îdê">
              <a:extLst>
                <a:ext uri="{FF2B5EF4-FFF2-40B4-BE49-F238E27FC236}">
                  <a16:creationId xmlns:a16="http://schemas.microsoft.com/office/drawing/2014/main" id="{A779D9EA-5981-4472-B37E-A6135E52567A}"/>
                </a:ext>
              </a:extLst>
            </p:cNvPr>
            <p:cNvSpPr/>
            <p:nvPr/>
          </p:nvSpPr>
          <p:spPr bwMode="auto">
            <a:xfrm>
              <a:off x="3736976" y="5246688"/>
              <a:ext cx="90488" cy="90488"/>
            </a:xfrm>
            <a:custGeom>
              <a:avLst/>
              <a:gdLst>
                <a:gd name="T0" fmla="*/ 0 w 24"/>
                <a:gd name="T1" fmla="*/ 24 h 24"/>
                <a:gd name="T2" fmla="*/ 24 w 24"/>
                <a:gd name="T3" fmla="*/ 0 h 24"/>
                <a:gd name="T4" fmla="*/ 0 w 24"/>
                <a:gd name="T5" fmla="*/ 0 h 24"/>
                <a:gd name="T6" fmla="*/ 0 w 24"/>
                <a:gd name="T7" fmla="*/ 24 h 24"/>
              </a:gdLst>
              <a:ahLst/>
              <a:cxnLst>
                <a:cxn ang="0">
                  <a:pos x="T0" y="T1"/>
                </a:cxn>
                <a:cxn ang="0">
                  <a:pos x="T2" y="T3"/>
                </a:cxn>
                <a:cxn ang="0">
                  <a:pos x="T4" y="T5"/>
                </a:cxn>
                <a:cxn ang="0">
                  <a:pos x="T6" y="T7"/>
                </a:cxn>
              </a:cxnLst>
              <a:rect l="0" t="0" r="r" b="b"/>
              <a:pathLst>
                <a:path w="24" h="24">
                  <a:moveTo>
                    <a:pt x="0" y="24"/>
                  </a:moveTo>
                  <a:cubicBezTo>
                    <a:pt x="13" y="24"/>
                    <a:pt x="24" y="14"/>
                    <a:pt x="24" y="0"/>
                  </a:cubicBezTo>
                  <a:cubicBezTo>
                    <a:pt x="0" y="0"/>
                    <a:pt x="0" y="0"/>
                    <a:pt x="0" y="0"/>
                  </a:cubicBezTo>
                  <a:lnTo>
                    <a:pt x="0" y="24"/>
                  </a:lnTo>
                  <a:close/>
                </a:path>
              </a:pathLst>
            </a:custGeom>
            <a:solidFill>
              <a:srgbClr val="FA870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98" name="îṥḷíḍé">
              <a:extLst>
                <a:ext uri="{FF2B5EF4-FFF2-40B4-BE49-F238E27FC236}">
                  <a16:creationId xmlns:a16="http://schemas.microsoft.com/office/drawing/2014/main" id="{D32FC251-AE3B-48A9-B6EC-17F9EF377A8F}"/>
                </a:ext>
              </a:extLst>
            </p:cNvPr>
            <p:cNvSpPr/>
            <p:nvPr/>
          </p:nvSpPr>
          <p:spPr bwMode="auto">
            <a:xfrm>
              <a:off x="4627563" y="5246688"/>
              <a:ext cx="90488" cy="90488"/>
            </a:xfrm>
            <a:custGeom>
              <a:avLst/>
              <a:gdLst>
                <a:gd name="T0" fmla="*/ 0 w 24"/>
                <a:gd name="T1" fmla="*/ 0 h 24"/>
                <a:gd name="T2" fmla="*/ 24 w 24"/>
                <a:gd name="T3" fmla="*/ 24 h 24"/>
                <a:gd name="T4" fmla="*/ 24 w 24"/>
                <a:gd name="T5" fmla="*/ 0 h 24"/>
                <a:gd name="T6" fmla="*/ 0 w 24"/>
                <a:gd name="T7" fmla="*/ 0 h 24"/>
              </a:gdLst>
              <a:ahLst/>
              <a:cxnLst>
                <a:cxn ang="0">
                  <a:pos x="T0" y="T1"/>
                </a:cxn>
                <a:cxn ang="0">
                  <a:pos x="T2" y="T3"/>
                </a:cxn>
                <a:cxn ang="0">
                  <a:pos x="T4" y="T5"/>
                </a:cxn>
                <a:cxn ang="0">
                  <a:pos x="T6" y="T7"/>
                </a:cxn>
              </a:cxnLst>
              <a:rect l="0" t="0" r="r" b="b"/>
              <a:pathLst>
                <a:path w="24" h="24">
                  <a:moveTo>
                    <a:pt x="0" y="0"/>
                  </a:moveTo>
                  <a:cubicBezTo>
                    <a:pt x="0" y="14"/>
                    <a:pt x="11" y="24"/>
                    <a:pt x="24" y="24"/>
                  </a:cubicBezTo>
                  <a:cubicBezTo>
                    <a:pt x="24" y="0"/>
                    <a:pt x="24" y="0"/>
                    <a:pt x="24" y="0"/>
                  </a:cubicBezTo>
                  <a:lnTo>
                    <a:pt x="0" y="0"/>
                  </a:lnTo>
                  <a:close/>
                </a:path>
              </a:pathLst>
            </a:custGeom>
            <a:solidFill>
              <a:srgbClr val="FA870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99" name="íṩḻide">
              <a:extLst>
                <a:ext uri="{FF2B5EF4-FFF2-40B4-BE49-F238E27FC236}">
                  <a16:creationId xmlns:a16="http://schemas.microsoft.com/office/drawing/2014/main" id="{94EC9CEC-2386-4E78-AFA4-0B0FE5FB3F68}"/>
                </a:ext>
              </a:extLst>
            </p:cNvPr>
            <p:cNvSpPr/>
            <p:nvPr/>
          </p:nvSpPr>
          <p:spPr bwMode="auto">
            <a:xfrm>
              <a:off x="3736976" y="5645150"/>
              <a:ext cx="90488" cy="90488"/>
            </a:xfrm>
            <a:custGeom>
              <a:avLst/>
              <a:gdLst>
                <a:gd name="T0" fmla="*/ 0 w 24"/>
                <a:gd name="T1" fmla="*/ 0 h 24"/>
                <a:gd name="T2" fmla="*/ 0 w 24"/>
                <a:gd name="T3" fmla="*/ 24 h 24"/>
                <a:gd name="T4" fmla="*/ 24 w 24"/>
                <a:gd name="T5" fmla="*/ 24 h 24"/>
                <a:gd name="T6" fmla="*/ 0 w 24"/>
                <a:gd name="T7" fmla="*/ 0 h 24"/>
              </a:gdLst>
              <a:ahLst/>
              <a:cxnLst>
                <a:cxn ang="0">
                  <a:pos x="T0" y="T1"/>
                </a:cxn>
                <a:cxn ang="0">
                  <a:pos x="T2" y="T3"/>
                </a:cxn>
                <a:cxn ang="0">
                  <a:pos x="T4" y="T5"/>
                </a:cxn>
                <a:cxn ang="0">
                  <a:pos x="T6" y="T7"/>
                </a:cxn>
              </a:cxnLst>
              <a:rect l="0" t="0" r="r" b="b"/>
              <a:pathLst>
                <a:path w="24" h="24">
                  <a:moveTo>
                    <a:pt x="0" y="0"/>
                  </a:moveTo>
                  <a:cubicBezTo>
                    <a:pt x="0" y="24"/>
                    <a:pt x="0" y="24"/>
                    <a:pt x="0" y="24"/>
                  </a:cubicBezTo>
                  <a:cubicBezTo>
                    <a:pt x="24" y="24"/>
                    <a:pt x="24" y="24"/>
                    <a:pt x="24" y="24"/>
                  </a:cubicBezTo>
                  <a:cubicBezTo>
                    <a:pt x="24" y="11"/>
                    <a:pt x="13" y="0"/>
                    <a:pt x="0" y="0"/>
                  </a:cubicBezTo>
                  <a:close/>
                </a:path>
              </a:pathLst>
            </a:custGeom>
            <a:solidFill>
              <a:srgbClr val="FA870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00" name="îśļíḍê">
              <a:extLst>
                <a:ext uri="{FF2B5EF4-FFF2-40B4-BE49-F238E27FC236}">
                  <a16:creationId xmlns:a16="http://schemas.microsoft.com/office/drawing/2014/main" id="{0D0A821A-7DEF-4B5E-BEB0-06F0EE8DBF0E}"/>
                </a:ext>
              </a:extLst>
            </p:cNvPr>
            <p:cNvSpPr/>
            <p:nvPr/>
          </p:nvSpPr>
          <p:spPr bwMode="auto">
            <a:xfrm>
              <a:off x="4627563" y="5645150"/>
              <a:ext cx="90488" cy="90488"/>
            </a:xfrm>
            <a:custGeom>
              <a:avLst/>
              <a:gdLst>
                <a:gd name="T0" fmla="*/ 24 w 24"/>
                <a:gd name="T1" fmla="*/ 0 h 24"/>
                <a:gd name="T2" fmla="*/ 0 w 24"/>
                <a:gd name="T3" fmla="*/ 24 h 24"/>
                <a:gd name="T4" fmla="*/ 24 w 24"/>
                <a:gd name="T5" fmla="*/ 24 h 24"/>
                <a:gd name="T6" fmla="*/ 24 w 24"/>
                <a:gd name="T7" fmla="*/ 0 h 24"/>
              </a:gdLst>
              <a:ahLst/>
              <a:cxnLst>
                <a:cxn ang="0">
                  <a:pos x="T0" y="T1"/>
                </a:cxn>
                <a:cxn ang="0">
                  <a:pos x="T2" y="T3"/>
                </a:cxn>
                <a:cxn ang="0">
                  <a:pos x="T4" y="T5"/>
                </a:cxn>
                <a:cxn ang="0">
                  <a:pos x="T6" y="T7"/>
                </a:cxn>
              </a:cxnLst>
              <a:rect l="0" t="0" r="r" b="b"/>
              <a:pathLst>
                <a:path w="24" h="24">
                  <a:moveTo>
                    <a:pt x="24" y="0"/>
                  </a:moveTo>
                  <a:cubicBezTo>
                    <a:pt x="11" y="0"/>
                    <a:pt x="0" y="11"/>
                    <a:pt x="0" y="24"/>
                  </a:cubicBezTo>
                  <a:cubicBezTo>
                    <a:pt x="24" y="24"/>
                    <a:pt x="24" y="24"/>
                    <a:pt x="24" y="24"/>
                  </a:cubicBezTo>
                  <a:lnTo>
                    <a:pt x="24" y="0"/>
                  </a:lnTo>
                  <a:close/>
                </a:path>
              </a:pathLst>
            </a:custGeom>
            <a:solidFill>
              <a:srgbClr val="FA870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01" name="is1ídè">
              <a:extLst>
                <a:ext uri="{FF2B5EF4-FFF2-40B4-BE49-F238E27FC236}">
                  <a16:creationId xmlns:a16="http://schemas.microsoft.com/office/drawing/2014/main" id="{FE7D933E-6BFB-4277-8768-17AFF25B57A7}"/>
                </a:ext>
              </a:extLst>
            </p:cNvPr>
            <p:cNvSpPr/>
            <p:nvPr/>
          </p:nvSpPr>
          <p:spPr bwMode="auto">
            <a:xfrm>
              <a:off x="4087813" y="5321300"/>
              <a:ext cx="280988" cy="338138"/>
            </a:xfrm>
            <a:prstGeom prst="ellipse">
              <a:avLst/>
            </a:prstGeom>
            <a:solidFill>
              <a:srgbClr val="FA870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02" name="íṥļîḍe">
              <a:extLst>
                <a:ext uri="{FF2B5EF4-FFF2-40B4-BE49-F238E27FC236}">
                  <a16:creationId xmlns:a16="http://schemas.microsoft.com/office/drawing/2014/main" id="{0CC7C8F3-3550-48BF-AFC4-691E2060E0FA}"/>
                </a:ext>
              </a:extLst>
            </p:cNvPr>
            <p:cNvSpPr/>
            <p:nvPr/>
          </p:nvSpPr>
          <p:spPr bwMode="auto">
            <a:xfrm>
              <a:off x="3805238" y="5438775"/>
              <a:ext cx="233363" cy="36513"/>
            </a:xfrm>
            <a:prstGeom prst="rect">
              <a:avLst/>
            </a:prstGeom>
            <a:solidFill>
              <a:srgbClr val="FA870A"/>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303" name="ïşlîḓê">
              <a:extLst>
                <a:ext uri="{FF2B5EF4-FFF2-40B4-BE49-F238E27FC236}">
                  <a16:creationId xmlns:a16="http://schemas.microsoft.com/office/drawing/2014/main" id="{52DC03A7-0492-4F88-862E-F88EDF9F4D42}"/>
                </a:ext>
              </a:extLst>
            </p:cNvPr>
            <p:cNvSpPr/>
            <p:nvPr/>
          </p:nvSpPr>
          <p:spPr bwMode="auto">
            <a:xfrm>
              <a:off x="3805238" y="5510213"/>
              <a:ext cx="233363" cy="33338"/>
            </a:xfrm>
            <a:prstGeom prst="rect">
              <a:avLst/>
            </a:prstGeom>
            <a:solidFill>
              <a:srgbClr val="FA870A"/>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304" name="íṥḻïďé">
              <a:extLst>
                <a:ext uri="{FF2B5EF4-FFF2-40B4-BE49-F238E27FC236}">
                  <a16:creationId xmlns:a16="http://schemas.microsoft.com/office/drawing/2014/main" id="{6C248F83-B2D3-466C-A17F-71DAFC0D478F}"/>
                </a:ext>
              </a:extLst>
            </p:cNvPr>
            <p:cNvSpPr/>
            <p:nvPr/>
          </p:nvSpPr>
          <p:spPr bwMode="auto">
            <a:xfrm>
              <a:off x="4406901" y="5438775"/>
              <a:ext cx="233363" cy="36513"/>
            </a:xfrm>
            <a:prstGeom prst="rect">
              <a:avLst/>
            </a:prstGeom>
            <a:solidFill>
              <a:srgbClr val="FA870A"/>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305" name="îŝ1iďè">
              <a:extLst>
                <a:ext uri="{FF2B5EF4-FFF2-40B4-BE49-F238E27FC236}">
                  <a16:creationId xmlns:a16="http://schemas.microsoft.com/office/drawing/2014/main" id="{DF43FBC1-62F3-454D-A1F7-FA8861330688}"/>
                </a:ext>
              </a:extLst>
            </p:cNvPr>
            <p:cNvSpPr/>
            <p:nvPr/>
          </p:nvSpPr>
          <p:spPr bwMode="auto">
            <a:xfrm>
              <a:off x="4406901" y="5510213"/>
              <a:ext cx="233363" cy="33338"/>
            </a:xfrm>
            <a:prstGeom prst="rect">
              <a:avLst/>
            </a:prstGeom>
            <a:solidFill>
              <a:srgbClr val="FA870A"/>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306" name="iṥľíḓê">
              <a:extLst>
                <a:ext uri="{FF2B5EF4-FFF2-40B4-BE49-F238E27FC236}">
                  <a16:creationId xmlns:a16="http://schemas.microsoft.com/office/drawing/2014/main" id="{9D47C7A2-C8C9-4265-830B-49E2AA7E4086}"/>
                </a:ext>
              </a:extLst>
            </p:cNvPr>
            <p:cNvSpPr/>
            <p:nvPr/>
          </p:nvSpPr>
          <p:spPr bwMode="auto">
            <a:xfrm>
              <a:off x="5327651" y="1709738"/>
              <a:ext cx="720725" cy="1096963"/>
            </a:xfrm>
            <a:custGeom>
              <a:avLst/>
              <a:gdLst>
                <a:gd name="T0" fmla="*/ 192 w 192"/>
                <a:gd name="T1" fmla="*/ 96 h 292"/>
                <a:gd name="T2" fmla="*/ 96 w 192"/>
                <a:gd name="T3" fmla="*/ 0 h 292"/>
                <a:gd name="T4" fmla="*/ 0 w 192"/>
                <a:gd name="T5" fmla="*/ 96 h 292"/>
                <a:gd name="T6" fmla="*/ 61 w 192"/>
                <a:gd name="T7" fmla="*/ 186 h 292"/>
                <a:gd name="T8" fmla="*/ 61 w 192"/>
                <a:gd name="T9" fmla="*/ 292 h 292"/>
                <a:gd name="T10" fmla="*/ 96 w 192"/>
                <a:gd name="T11" fmla="*/ 273 h 292"/>
                <a:gd name="T12" fmla="*/ 131 w 192"/>
                <a:gd name="T13" fmla="*/ 292 h 292"/>
                <a:gd name="T14" fmla="*/ 131 w 192"/>
                <a:gd name="T15" fmla="*/ 186 h 292"/>
                <a:gd name="T16" fmla="*/ 192 w 192"/>
                <a:gd name="T17" fmla="*/ 96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2" h="292">
                  <a:moveTo>
                    <a:pt x="192" y="96"/>
                  </a:moveTo>
                  <a:cubicBezTo>
                    <a:pt x="192" y="43"/>
                    <a:pt x="149" y="0"/>
                    <a:pt x="96" y="0"/>
                  </a:cubicBezTo>
                  <a:cubicBezTo>
                    <a:pt x="43" y="0"/>
                    <a:pt x="0" y="43"/>
                    <a:pt x="0" y="96"/>
                  </a:cubicBezTo>
                  <a:cubicBezTo>
                    <a:pt x="0" y="137"/>
                    <a:pt x="25" y="172"/>
                    <a:pt x="61" y="186"/>
                  </a:cubicBezTo>
                  <a:cubicBezTo>
                    <a:pt x="61" y="292"/>
                    <a:pt x="61" y="292"/>
                    <a:pt x="61" y="292"/>
                  </a:cubicBezTo>
                  <a:cubicBezTo>
                    <a:pt x="96" y="273"/>
                    <a:pt x="96" y="273"/>
                    <a:pt x="96" y="273"/>
                  </a:cubicBezTo>
                  <a:cubicBezTo>
                    <a:pt x="131" y="292"/>
                    <a:pt x="131" y="292"/>
                    <a:pt x="131" y="292"/>
                  </a:cubicBezTo>
                  <a:cubicBezTo>
                    <a:pt x="131" y="186"/>
                    <a:pt x="131" y="186"/>
                    <a:pt x="131" y="186"/>
                  </a:cubicBezTo>
                  <a:cubicBezTo>
                    <a:pt x="167" y="172"/>
                    <a:pt x="192" y="137"/>
                    <a:pt x="192" y="96"/>
                  </a:cubicBezTo>
                  <a:close/>
                </a:path>
              </a:pathLst>
            </a:custGeom>
            <a:solidFill>
              <a:srgbClr val="6A9EA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07" name="ï$ľidê">
              <a:extLst>
                <a:ext uri="{FF2B5EF4-FFF2-40B4-BE49-F238E27FC236}">
                  <a16:creationId xmlns:a16="http://schemas.microsoft.com/office/drawing/2014/main" id="{4CFF8D15-CFA6-4567-81E5-4D9F10C0E3B9}"/>
                </a:ext>
              </a:extLst>
            </p:cNvPr>
            <p:cNvSpPr/>
            <p:nvPr/>
          </p:nvSpPr>
          <p:spPr bwMode="auto">
            <a:xfrm>
              <a:off x="5484813" y="2224088"/>
              <a:ext cx="266700" cy="527050"/>
            </a:xfrm>
            <a:custGeom>
              <a:avLst/>
              <a:gdLst>
                <a:gd name="T0" fmla="*/ 168 w 168"/>
                <a:gd name="T1" fmla="*/ 332 h 332"/>
                <a:gd name="T2" fmla="*/ 83 w 168"/>
                <a:gd name="T3" fmla="*/ 287 h 332"/>
                <a:gd name="T4" fmla="*/ 0 w 168"/>
                <a:gd name="T5" fmla="*/ 332 h 332"/>
                <a:gd name="T6" fmla="*/ 0 w 168"/>
                <a:gd name="T7" fmla="*/ 0 h 332"/>
                <a:gd name="T8" fmla="*/ 168 w 168"/>
                <a:gd name="T9" fmla="*/ 0 h 332"/>
                <a:gd name="T10" fmla="*/ 168 w 168"/>
                <a:gd name="T11" fmla="*/ 332 h 332"/>
              </a:gdLst>
              <a:ahLst/>
              <a:cxnLst>
                <a:cxn ang="0">
                  <a:pos x="T0" y="T1"/>
                </a:cxn>
                <a:cxn ang="0">
                  <a:pos x="T2" y="T3"/>
                </a:cxn>
                <a:cxn ang="0">
                  <a:pos x="T4" y="T5"/>
                </a:cxn>
                <a:cxn ang="0">
                  <a:pos x="T6" y="T7"/>
                </a:cxn>
                <a:cxn ang="0">
                  <a:pos x="T8" y="T9"/>
                </a:cxn>
                <a:cxn ang="0">
                  <a:pos x="T10" y="T11"/>
                </a:cxn>
              </a:cxnLst>
              <a:rect l="0" t="0" r="r" b="b"/>
              <a:pathLst>
                <a:path w="168" h="332">
                  <a:moveTo>
                    <a:pt x="168" y="332"/>
                  </a:moveTo>
                  <a:lnTo>
                    <a:pt x="83" y="287"/>
                  </a:lnTo>
                  <a:lnTo>
                    <a:pt x="0" y="332"/>
                  </a:lnTo>
                  <a:lnTo>
                    <a:pt x="0" y="0"/>
                  </a:lnTo>
                  <a:lnTo>
                    <a:pt x="168" y="0"/>
                  </a:lnTo>
                  <a:lnTo>
                    <a:pt x="168" y="332"/>
                  </a:lnTo>
                  <a:close/>
                </a:path>
              </a:pathLst>
            </a:custGeom>
            <a:solidFill>
              <a:srgbClr val="FA870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08" name="iṧ1ïḋe">
              <a:extLst>
                <a:ext uri="{FF2B5EF4-FFF2-40B4-BE49-F238E27FC236}">
                  <a16:creationId xmlns:a16="http://schemas.microsoft.com/office/drawing/2014/main" id="{0DCA0723-6274-43FE-B00F-68FCAC1CBA29}"/>
                </a:ext>
              </a:extLst>
            </p:cNvPr>
            <p:cNvSpPr/>
            <p:nvPr/>
          </p:nvSpPr>
          <p:spPr bwMode="auto">
            <a:xfrm>
              <a:off x="5484813" y="2224088"/>
              <a:ext cx="266700" cy="527050"/>
            </a:xfrm>
            <a:custGeom>
              <a:avLst/>
              <a:gdLst>
                <a:gd name="T0" fmla="*/ 168 w 168"/>
                <a:gd name="T1" fmla="*/ 332 h 332"/>
                <a:gd name="T2" fmla="*/ 83 w 168"/>
                <a:gd name="T3" fmla="*/ 287 h 332"/>
                <a:gd name="T4" fmla="*/ 0 w 168"/>
                <a:gd name="T5" fmla="*/ 332 h 332"/>
                <a:gd name="T6" fmla="*/ 0 w 168"/>
                <a:gd name="T7" fmla="*/ 0 h 332"/>
                <a:gd name="T8" fmla="*/ 168 w 168"/>
                <a:gd name="T9" fmla="*/ 0 h 332"/>
                <a:gd name="T10" fmla="*/ 168 w 168"/>
                <a:gd name="T11" fmla="*/ 332 h 332"/>
              </a:gdLst>
              <a:ahLst/>
              <a:cxnLst>
                <a:cxn ang="0">
                  <a:pos x="T0" y="T1"/>
                </a:cxn>
                <a:cxn ang="0">
                  <a:pos x="T2" y="T3"/>
                </a:cxn>
                <a:cxn ang="0">
                  <a:pos x="T4" y="T5"/>
                </a:cxn>
                <a:cxn ang="0">
                  <a:pos x="T6" y="T7"/>
                </a:cxn>
                <a:cxn ang="0">
                  <a:pos x="T8" y="T9"/>
                </a:cxn>
                <a:cxn ang="0">
                  <a:pos x="T10" y="T11"/>
                </a:cxn>
              </a:cxnLst>
              <a:rect l="0" t="0" r="r" b="b"/>
              <a:pathLst>
                <a:path w="168" h="332">
                  <a:moveTo>
                    <a:pt x="168" y="332"/>
                  </a:moveTo>
                  <a:lnTo>
                    <a:pt x="83" y="287"/>
                  </a:lnTo>
                  <a:lnTo>
                    <a:pt x="0" y="332"/>
                  </a:lnTo>
                  <a:lnTo>
                    <a:pt x="0" y="0"/>
                  </a:lnTo>
                  <a:lnTo>
                    <a:pt x="168" y="0"/>
                  </a:lnTo>
                  <a:lnTo>
                    <a:pt x="168" y="332"/>
                  </a:lnTo>
                  <a:close/>
                </a:path>
              </a:pathLst>
            </a:custGeom>
            <a:solidFill>
              <a:srgbClr val="FA870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09" name="ï$ļîďê">
              <a:extLst>
                <a:ext uri="{FF2B5EF4-FFF2-40B4-BE49-F238E27FC236}">
                  <a16:creationId xmlns:a16="http://schemas.microsoft.com/office/drawing/2014/main" id="{275B183B-1580-4B96-AE09-950EF83DB4D7}"/>
                </a:ext>
              </a:extLst>
            </p:cNvPr>
            <p:cNvSpPr/>
            <p:nvPr/>
          </p:nvSpPr>
          <p:spPr bwMode="auto">
            <a:xfrm>
              <a:off x="5319713" y="1716088"/>
              <a:ext cx="596900" cy="59848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10" name="ïslîďè">
              <a:extLst>
                <a:ext uri="{FF2B5EF4-FFF2-40B4-BE49-F238E27FC236}">
                  <a16:creationId xmlns:a16="http://schemas.microsoft.com/office/drawing/2014/main" id="{2C30176D-21A2-4EA7-AF46-57F8287655E1}"/>
                </a:ext>
              </a:extLst>
            </p:cNvPr>
            <p:cNvSpPr/>
            <p:nvPr/>
          </p:nvSpPr>
          <p:spPr bwMode="auto">
            <a:xfrm>
              <a:off x="5256213" y="1652588"/>
              <a:ext cx="725488" cy="72548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11" name="íśļiḍê">
              <a:extLst>
                <a:ext uri="{FF2B5EF4-FFF2-40B4-BE49-F238E27FC236}">
                  <a16:creationId xmlns:a16="http://schemas.microsoft.com/office/drawing/2014/main" id="{DC3DAD1A-1E19-46A8-920A-C0B5D0B2D877}"/>
                </a:ext>
              </a:extLst>
            </p:cNvPr>
            <p:cNvSpPr/>
            <p:nvPr/>
          </p:nvSpPr>
          <p:spPr bwMode="auto">
            <a:xfrm>
              <a:off x="5319713" y="1716088"/>
              <a:ext cx="596900" cy="598488"/>
            </a:xfrm>
            <a:custGeom>
              <a:avLst/>
              <a:gdLst>
                <a:gd name="T0" fmla="*/ 79 w 159"/>
                <a:gd name="T1" fmla="*/ 12 h 159"/>
                <a:gd name="T2" fmla="*/ 147 w 159"/>
                <a:gd name="T3" fmla="*/ 79 h 159"/>
                <a:gd name="T4" fmla="*/ 79 w 159"/>
                <a:gd name="T5" fmla="*/ 147 h 159"/>
                <a:gd name="T6" fmla="*/ 12 w 159"/>
                <a:gd name="T7" fmla="*/ 79 h 159"/>
                <a:gd name="T8" fmla="*/ 79 w 159"/>
                <a:gd name="T9" fmla="*/ 12 h 159"/>
                <a:gd name="T10" fmla="*/ 79 w 159"/>
                <a:gd name="T11" fmla="*/ 0 h 159"/>
                <a:gd name="T12" fmla="*/ 0 w 159"/>
                <a:gd name="T13" fmla="*/ 79 h 159"/>
                <a:gd name="T14" fmla="*/ 79 w 159"/>
                <a:gd name="T15" fmla="*/ 159 h 159"/>
                <a:gd name="T16" fmla="*/ 159 w 159"/>
                <a:gd name="T17" fmla="*/ 79 h 159"/>
                <a:gd name="T18" fmla="*/ 79 w 159"/>
                <a:gd name="T19" fmla="*/ 0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9" h="159">
                  <a:moveTo>
                    <a:pt x="79" y="12"/>
                  </a:moveTo>
                  <a:cubicBezTo>
                    <a:pt x="117" y="12"/>
                    <a:pt x="147" y="42"/>
                    <a:pt x="147" y="79"/>
                  </a:cubicBezTo>
                  <a:cubicBezTo>
                    <a:pt x="147" y="117"/>
                    <a:pt x="117" y="147"/>
                    <a:pt x="79" y="147"/>
                  </a:cubicBezTo>
                  <a:cubicBezTo>
                    <a:pt x="42" y="147"/>
                    <a:pt x="12" y="117"/>
                    <a:pt x="12" y="79"/>
                  </a:cubicBezTo>
                  <a:cubicBezTo>
                    <a:pt x="12" y="42"/>
                    <a:pt x="42" y="12"/>
                    <a:pt x="79" y="12"/>
                  </a:cubicBezTo>
                  <a:moveTo>
                    <a:pt x="79" y="0"/>
                  </a:moveTo>
                  <a:cubicBezTo>
                    <a:pt x="36" y="0"/>
                    <a:pt x="0" y="36"/>
                    <a:pt x="0" y="79"/>
                  </a:cubicBezTo>
                  <a:cubicBezTo>
                    <a:pt x="0" y="123"/>
                    <a:pt x="36" y="159"/>
                    <a:pt x="79" y="159"/>
                  </a:cubicBezTo>
                  <a:cubicBezTo>
                    <a:pt x="123" y="159"/>
                    <a:pt x="159" y="123"/>
                    <a:pt x="159" y="79"/>
                  </a:cubicBezTo>
                  <a:cubicBezTo>
                    <a:pt x="159" y="36"/>
                    <a:pt x="123" y="0"/>
                    <a:pt x="79" y="0"/>
                  </a:cubicBezTo>
                  <a:close/>
                </a:path>
              </a:pathLst>
            </a:custGeom>
            <a:solidFill>
              <a:srgbClr val="FA870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12" name="îṣlíḓè">
              <a:extLst>
                <a:ext uri="{FF2B5EF4-FFF2-40B4-BE49-F238E27FC236}">
                  <a16:creationId xmlns:a16="http://schemas.microsoft.com/office/drawing/2014/main" id="{2872BDEA-F99B-4019-9A4A-AC9546CDB149}"/>
                </a:ext>
              </a:extLst>
            </p:cNvPr>
            <p:cNvSpPr/>
            <p:nvPr/>
          </p:nvSpPr>
          <p:spPr bwMode="auto">
            <a:xfrm>
              <a:off x="5454651" y="1863725"/>
              <a:ext cx="327025" cy="311150"/>
            </a:xfrm>
            <a:custGeom>
              <a:avLst/>
              <a:gdLst>
                <a:gd name="T0" fmla="*/ 102 w 206"/>
                <a:gd name="T1" fmla="*/ 0 h 196"/>
                <a:gd name="T2" fmla="*/ 138 w 206"/>
                <a:gd name="T3" fmla="*/ 61 h 196"/>
                <a:gd name="T4" fmla="*/ 206 w 206"/>
                <a:gd name="T5" fmla="*/ 76 h 196"/>
                <a:gd name="T6" fmla="*/ 156 w 206"/>
                <a:gd name="T7" fmla="*/ 125 h 196"/>
                <a:gd name="T8" fmla="*/ 166 w 206"/>
                <a:gd name="T9" fmla="*/ 196 h 196"/>
                <a:gd name="T10" fmla="*/ 102 w 206"/>
                <a:gd name="T11" fmla="*/ 166 h 196"/>
                <a:gd name="T12" fmla="*/ 40 w 206"/>
                <a:gd name="T13" fmla="*/ 196 h 196"/>
                <a:gd name="T14" fmla="*/ 48 w 206"/>
                <a:gd name="T15" fmla="*/ 125 h 196"/>
                <a:gd name="T16" fmla="*/ 0 w 206"/>
                <a:gd name="T17" fmla="*/ 76 h 196"/>
                <a:gd name="T18" fmla="*/ 69 w 206"/>
                <a:gd name="T19" fmla="*/ 61 h 196"/>
                <a:gd name="T20" fmla="*/ 102 w 206"/>
                <a:gd name="T21" fmla="*/ 0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6" h="196">
                  <a:moveTo>
                    <a:pt x="102" y="0"/>
                  </a:moveTo>
                  <a:lnTo>
                    <a:pt x="138" y="61"/>
                  </a:lnTo>
                  <a:lnTo>
                    <a:pt x="206" y="76"/>
                  </a:lnTo>
                  <a:lnTo>
                    <a:pt x="156" y="125"/>
                  </a:lnTo>
                  <a:lnTo>
                    <a:pt x="166" y="196"/>
                  </a:lnTo>
                  <a:lnTo>
                    <a:pt x="102" y="166"/>
                  </a:lnTo>
                  <a:lnTo>
                    <a:pt x="40" y="196"/>
                  </a:lnTo>
                  <a:lnTo>
                    <a:pt x="48" y="125"/>
                  </a:lnTo>
                  <a:lnTo>
                    <a:pt x="0" y="76"/>
                  </a:lnTo>
                  <a:lnTo>
                    <a:pt x="69" y="61"/>
                  </a:lnTo>
                  <a:lnTo>
                    <a:pt x="102" y="0"/>
                  </a:lnTo>
                  <a:close/>
                </a:path>
              </a:pathLst>
            </a:custGeom>
            <a:solidFill>
              <a:srgbClr val="EBEBF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13" name="í$ľïḓe">
              <a:extLst>
                <a:ext uri="{FF2B5EF4-FFF2-40B4-BE49-F238E27FC236}">
                  <a16:creationId xmlns:a16="http://schemas.microsoft.com/office/drawing/2014/main" id="{66456931-539C-41E7-8E73-136ECDB47E98}"/>
                </a:ext>
              </a:extLst>
            </p:cNvPr>
            <p:cNvSpPr/>
            <p:nvPr/>
          </p:nvSpPr>
          <p:spPr bwMode="auto">
            <a:xfrm>
              <a:off x="5454651" y="1841500"/>
              <a:ext cx="327025" cy="311150"/>
            </a:xfrm>
            <a:custGeom>
              <a:avLst/>
              <a:gdLst>
                <a:gd name="T0" fmla="*/ 102 w 206"/>
                <a:gd name="T1" fmla="*/ 0 h 196"/>
                <a:gd name="T2" fmla="*/ 138 w 206"/>
                <a:gd name="T3" fmla="*/ 61 h 196"/>
                <a:gd name="T4" fmla="*/ 206 w 206"/>
                <a:gd name="T5" fmla="*/ 75 h 196"/>
                <a:gd name="T6" fmla="*/ 156 w 206"/>
                <a:gd name="T7" fmla="*/ 125 h 196"/>
                <a:gd name="T8" fmla="*/ 166 w 206"/>
                <a:gd name="T9" fmla="*/ 196 h 196"/>
                <a:gd name="T10" fmla="*/ 102 w 206"/>
                <a:gd name="T11" fmla="*/ 165 h 196"/>
                <a:gd name="T12" fmla="*/ 40 w 206"/>
                <a:gd name="T13" fmla="*/ 196 h 196"/>
                <a:gd name="T14" fmla="*/ 48 w 206"/>
                <a:gd name="T15" fmla="*/ 125 h 196"/>
                <a:gd name="T16" fmla="*/ 0 w 206"/>
                <a:gd name="T17" fmla="*/ 75 h 196"/>
                <a:gd name="T18" fmla="*/ 69 w 206"/>
                <a:gd name="T19" fmla="*/ 61 h 196"/>
                <a:gd name="T20" fmla="*/ 102 w 206"/>
                <a:gd name="T21" fmla="*/ 0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6" h="196">
                  <a:moveTo>
                    <a:pt x="102" y="0"/>
                  </a:moveTo>
                  <a:lnTo>
                    <a:pt x="138" y="61"/>
                  </a:lnTo>
                  <a:lnTo>
                    <a:pt x="206" y="75"/>
                  </a:lnTo>
                  <a:lnTo>
                    <a:pt x="156" y="125"/>
                  </a:lnTo>
                  <a:lnTo>
                    <a:pt x="166" y="196"/>
                  </a:lnTo>
                  <a:lnTo>
                    <a:pt x="102" y="165"/>
                  </a:lnTo>
                  <a:lnTo>
                    <a:pt x="40" y="196"/>
                  </a:lnTo>
                  <a:lnTo>
                    <a:pt x="48" y="125"/>
                  </a:lnTo>
                  <a:lnTo>
                    <a:pt x="0" y="75"/>
                  </a:lnTo>
                  <a:lnTo>
                    <a:pt x="69" y="61"/>
                  </a:lnTo>
                  <a:lnTo>
                    <a:pt x="102" y="0"/>
                  </a:lnTo>
                  <a:close/>
                </a:path>
              </a:pathLst>
            </a:custGeom>
            <a:solidFill>
              <a:srgbClr val="FA870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14" name="îŝľïḋé">
              <a:extLst>
                <a:ext uri="{FF2B5EF4-FFF2-40B4-BE49-F238E27FC236}">
                  <a16:creationId xmlns:a16="http://schemas.microsoft.com/office/drawing/2014/main" id="{07117ED4-5590-423C-B50A-91B64A8DF3CB}"/>
                </a:ext>
              </a:extLst>
            </p:cNvPr>
            <p:cNvSpPr/>
            <p:nvPr/>
          </p:nvSpPr>
          <p:spPr bwMode="auto">
            <a:xfrm>
              <a:off x="7496176" y="4870450"/>
              <a:ext cx="747713" cy="747713"/>
            </a:xfrm>
            <a:custGeom>
              <a:avLst/>
              <a:gdLst>
                <a:gd name="T0" fmla="*/ 374 w 471"/>
                <a:gd name="T1" fmla="*/ 0 h 471"/>
                <a:gd name="T2" fmla="*/ 471 w 471"/>
                <a:gd name="T3" fmla="*/ 100 h 471"/>
                <a:gd name="T4" fmla="*/ 99 w 471"/>
                <a:gd name="T5" fmla="*/ 471 h 471"/>
                <a:gd name="T6" fmla="*/ 0 w 471"/>
                <a:gd name="T7" fmla="*/ 374 h 471"/>
                <a:gd name="T8" fmla="*/ 374 w 471"/>
                <a:gd name="T9" fmla="*/ 0 h 471"/>
              </a:gdLst>
              <a:ahLst/>
              <a:cxnLst>
                <a:cxn ang="0">
                  <a:pos x="T0" y="T1"/>
                </a:cxn>
                <a:cxn ang="0">
                  <a:pos x="T2" y="T3"/>
                </a:cxn>
                <a:cxn ang="0">
                  <a:pos x="T4" y="T5"/>
                </a:cxn>
                <a:cxn ang="0">
                  <a:pos x="T6" y="T7"/>
                </a:cxn>
                <a:cxn ang="0">
                  <a:pos x="T8" y="T9"/>
                </a:cxn>
              </a:cxnLst>
              <a:rect l="0" t="0" r="r" b="b"/>
              <a:pathLst>
                <a:path w="471" h="471">
                  <a:moveTo>
                    <a:pt x="374" y="0"/>
                  </a:moveTo>
                  <a:lnTo>
                    <a:pt x="471" y="100"/>
                  </a:lnTo>
                  <a:lnTo>
                    <a:pt x="99" y="471"/>
                  </a:lnTo>
                  <a:lnTo>
                    <a:pt x="0" y="374"/>
                  </a:lnTo>
                  <a:lnTo>
                    <a:pt x="374" y="0"/>
                  </a:lnTo>
                  <a:close/>
                </a:path>
              </a:pathLst>
            </a:custGeom>
            <a:solidFill>
              <a:srgbClr val="FA870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15" name="ïṩļîḍé">
              <a:extLst>
                <a:ext uri="{FF2B5EF4-FFF2-40B4-BE49-F238E27FC236}">
                  <a16:creationId xmlns:a16="http://schemas.microsoft.com/office/drawing/2014/main" id="{23DF1BFD-93CC-4E0D-93A7-0626BABA0E73}"/>
                </a:ext>
              </a:extLst>
            </p:cNvPr>
            <p:cNvSpPr/>
            <p:nvPr/>
          </p:nvSpPr>
          <p:spPr bwMode="auto">
            <a:xfrm>
              <a:off x="7496176" y="4870450"/>
              <a:ext cx="747713" cy="747713"/>
            </a:xfrm>
            <a:custGeom>
              <a:avLst/>
              <a:gdLst>
                <a:gd name="T0" fmla="*/ 374 w 471"/>
                <a:gd name="T1" fmla="*/ 0 h 471"/>
                <a:gd name="T2" fmla="*/ 471 w 471"/>
                <a:gd name="T3" fmla="*/ 100 h 471"/>
                <a:gd name="T4" fmla="*/ 99 w 471"/>
                <a:gd name="T5" fmla="*/ 471 h 471"/>
                <a:gd name="T6" fmla="*/ 0 w 471"/>
                <a:gd name="T7" fmla="*/ 374 h 471"/>
                <a:gd name="T8" fmla="*/ 374 w 471"/>
                <a:gd name="T9" fmla="*/ 0 h 471"/>
              </a:gdLst>
              <a:ahLst/>
              <a:cxnLst>
                <a:cxn ang="0">
                  <a:pos x="T0" y="T1"/>
                </a:cxn>
                <a:cxn ang="0">
                  <a:pos x="T2" y="T3"/>
                </a:cxn>
                <a:cxn ang="0">
                  <a:pos x="T4" y="T5"/>
                </a:cxn>
                <a:cxn ang="0">
                  <a:pos x="T6" y="T7"/>
                </a:cxn>
                <a:cxn ang="0">
                  <a:pos x="T8" y="T9"/>
                </a:cxn>
              </a:cxnLst>
              <a:rect l="0" t="0" r="r" b="b"/>
              <a:pathLst>
                <a:path w="471" h="471">
                  <a:moveTo>
                    <a:pt x="374" y="0"/>
                  </a:moveTo>
                  <a:lnTo>
                    <a:pt x="471" y="100"/>
                  </a:lnTo>
                  <a:lnTo>
                    <a:pt x="99" y="471"/>
                  </a:lnTo>
                  <a:lnTo>
                    <a:pt x="0" y="374"/>
                  </a:lnTo>
                  <a:lnTo>
                    <a:pt x="37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16" name="îśliḓê">
              <a:extLst>
                <a:ext uri="{FF2B5EF4-FFF2-40B4-BE49-F238E27FC236}">
                  <a16:creationId xmlns:a16="http://schemas.microsoft.com/office/drawing/2014/main" id="{80C1BD40-A6C8-4965-AC5F-D08B8721C9FA}"/>
                </a:ext>
              </a:extLst>
            </p:cNvPr>
            <p:cNvSpPr/>
            <p:nvPr/>
          </p:nvSpPr>
          <p:spPr bwMode="auto">
            <a:xfrm>
              <a:off x="7496176" y="4919663"/>
              <a:ext cx="701675" cy="654050"/>
            </a:xfrm>
            <a:custGeom>
              <a:avLst/>
              <a:gdLst>
                <a:gd name="T0" fmla="*/ 402 w 442"/>
                <a:gd name="T1" fmla="*/ 0 h 412"/>
                <a:gd name="T2" fmla="*/ 31 w 442"/>
                <a:gd name="T3" fmla="*/ 372 h 412"/>
                <a:gd name="T4" fmla="*/ 0 w 442"/>
                <a:gd name="T5" fmla="*/ 343 h 412"/>
                <a:gd name="T6" fmla="*/ 68 w 442"/>
                <a:gd name="T7" fmla="*/ 412 h 412"/>
                <a:gd name="T8" fmla="*/ 442 w 442"/>
                <a:gd name="T9" fmla="*/ 38 h 412"/>
                <a:gd name="T10" fmla="*/ 402 w 442"/>
                <a:gd name="T11" fmla="*/ 0 h 412"/>
              </a:gdLst>
              <a:ahLst/>
              <a:cxnLst>
                <a:cxn ang="0">
                  <a:pos x="T0" y="T1"/>
                </a:cxn>
                <a:cxn ang="0">
                  <a:pos x="T2" y="T3"/>
                </a:cxn>
                <a:cxn ang="0">
                  <a:pos x="T4" y="T5"/>
                </a:cxn>
                <a:cxn ang="0">
                  <a:pos x="T6" y="T7"/>
                </a:cxn>
                <a:cxn ang="0">
                  <a:pos x="T8" y="T9"/>
                </a:cxn>
                <a:cxn ang="0">
                  <a:pos x="T10" y="T11"/>
                </a:cxn>
              </a:cxnLst>
              <a:rect l="0" t="0" r="r" b="b"/>
              <a:pathLst>
                <a:path w="442" h="412">
                  <a:moveTo>
                    <a:pt x="402" y="0"/>
                  </a:moveTo>
                  <a:lnTo>
                    <a:pt x="31" y="372"/>
                  </a:lnTo>
                  <a:lnTo>
                    <a:pt x="0" y="343"/>
                  </a:lnTo>
                  <a:lnTo>
                    <a:pt x="68" y="412"/>
                  </a:lnTo>
                  <a:lnTo>
                    <a:pt x="442" y="38"/>
                  </a:lnTo>
                  <a:lnTo>
                    <a:pt x="402" y="0"/>
                  </a:lnTo>
                  <a:close/>
                </a:path>
              </a:pathLst>
            </a:custGeom>
            <a:solidFill>
              <a:srgbClr val="E87D0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17" name="íşlidé">
              <a:extLst>
                <a:ext uri="{FF2B5EF4-FFF2-40B4-BE49-F238E27FC236}">
                  <a16:creationId xmlns:a16="http://schemas.microsoft.com/office/drawing/2014/main" id="{1BFC10BA-7E40-4379-A333-9B0606AF285B}"/>
                </a:ext>
              </a:extLst>
            </p:cNvPr>
            <p:cNvSpPr/>
            <p:nvPr/>
          </p:nvSpPr>
          <p:spPr bwMode="auto">
            <a:xfrm>
              <a:off x="7496176" y="4919663"/>
              <a:ext cx="701675" cy="654050"/>
            </a:xfrm>
            <a:custGeom>
              <a:avLst/>
              <a:gdLst>
                <a:gd name="T0" fmla="*/ 402 w 442"/>
                <a:gd name="T1" fmla="*/ 0 h 412"/>
                <a:gd name="T2" fmla="*/ 31 w 442"/>
                <a:gd name="T3" fmla="*/ 372 h 412"/>
                <a:gd name="T4" fmla="*/ 0 w 442"/>
                <a:gd name="T5" fmla="*/ 343 h 412"/>
                <a:gd name="T6" fmla="*/ 68 w 442"/>
                <a:gd name="T7" fmla="*/ 412 h 412"/>
                <a:gd name="T8" fmla="*/ 442 w 442"/>
                <a:gd name="T9" fmla="*/ 38 h 412"/>
                <a:gd name="T10" fmla="*/ 402 w 442"/>
                <a:gd name="T11" fmla="*/ 0 h 412"/>
              </a:gdLst>
              <a:ahLst/>
              <a:cxnLst>
                <a:cxn ang="0">
                  <a:pos x="T0" y="T1"/>
                </a:cxn>
                <a:cxn ang="0">
                  <a:pos x="T2" y="T3"/>
                </a:cxn>
                <a:cxn ang="0">
                  <a:pos x="T4" y="T5"/>
                </a:cxn>
                <a:cxn ang="0">
                  <a:pos x="T6" y="T7"/>
                </a:cxn>
                <a:cxn ang="0">
                  <a:pos x="T8" y="T9"/>
                </a:cxn>
                <a:cxn ang="0">
                  <a:pos x="T10" y="T11"/>
                </a:cxn>
              </a:cxnLst>
              <a:rect l="0" t="0" r="r" b="b"/>
              <a:pathLst>
                <a:path w="442" h="412">
                  <a:moveTo>
                    <a:pt x="402" y="0"/>
                  </a:moveTo>
                  <a:lnTo>
                    <a:pt x="31" y="372"/>
                  </a:lnTo>
                  <a:lnTo>
                    <a:pt x="0" y="343"/>
                  </a:lnTo>
                  <a:lnTo>
                    <a:pt x="68" y="412"/>
                  </a:lnTo>
                  <a:lnTo>
                    <a:pt x="442" y="38"/>
                  </a:lnTo>
                  <a:lnTo>
                    <a:pt x="40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18" name="ïŝļiḋê">
              <a:extLst>
                <a:ext uri="{FF2B5EF4-FFF2-40B4-BE49-F238E27FC236}">
                  <a16:creationId xmlns:a16="http://schemas.microsoft.com/office/drawing/2014/main" id="{01DCA18B-8850-4ED0-8BE0-099DBB7F149B}"/>
                </a:ext>
              </a:extLst>
            </p:cNvPr>
            <p:cNvSpPr/>
            <p:nvPr/>
          </p:nvSpPr>
          <p:spPr bwMode="auto">
            <a:xfrm>
              <a:off x="8089901" y="4870450"/>
              <a:ext cx="44450" cy="49213"/>
            </a:xfrm>
            <a:custGeom>
              <a:avLst/>
              <a:gdLst>
                <a:gd name="T0" fmla="*/ 0 w 28"/>
                <a:gd name="T1" fmla="*/ 0 h 31"/>
                <a:gd name="T2" fmla="*/ 28 w 28"/>
                <a:gd name="T3" fmla="*/ 31 h 31"/>
                <a:gd name="T4" fmla="*/ 28 w 28"/>
                <a:gd name="T5" fmla="*/ 31 h 31"/>
                <a:gd name="T6" fmla="*/ 0 w 28"/>
                <a:gd name="T7" fmla="*/ 0 h 31"/>
              </a:gdLst>
              <a:ahLst/>
              <a:cxnLst>
                <a:cxn ang="0">
                  <a:pos x="T0" y="T1"/>
                </a:cxn>
                <a:cxn ang="0">
                  <a:pos x="T2" y="T3"/>
                </a:cxn>
                <a:cxn ang="0">
                  <a:pos x="T4" y="T5"/>
                </a:cxn>
                <a:cxn ang="0">
                  <a:pos x="T6" y="T7"/>
                </a:cxn>
              </a:cxnLst>
              <a:rect l="0" t="0" r="r" b="b"/>
              <a:pathLst>
                <a:path w="28" h="31">
                  <a:moveTo>
                    <a:pt x="0" y="0"/>
                  </a:moveTo>
                  <a:lnTo>
                    <a:pt x="28" y="31"/>
                  </a:lnTo>
                  <a:lnTo>
                    <a:pt x="28" y="31"/>
                  </a:lnTo>
                  <a:lnTo>
                    <a:pt x="0" y="0"/>
                  </a:lnTo>
                  <a:close/>
                </a:path>
              </a:pathLst>
            </a:custGeom>
            <a:solidFill>
              <a:srgbClr val="E87D0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19" name="íšľide">
              <a:extLst>
                <a:ext uri="{FF2B5EF4-FFF2-40B4-BE49-F238E27FC236}">
                  <a16:creationId xmlns:a16="http://schemas.microsoft.com/office/drawing/2014/main" id="{10CCCD36-8B9A-4C33-9E93-2313F75BA4AB}"/>
                </a:ext>
              </a:extLst>
            </p:cNvPr>
            <p:cNvSpPr/>
            <p:nvPr/>
          </p:nvSpPr>
          <p:spPr bwMode="auto">
            <a:xfrm>
              <a:off x="8089901" y="4870450"/>
              <a:ext cx="44450" cy="49213"/>
            </a:xfrm>
            <a:custGeom>
              <a:avLst/>
              <a:gdLst>
                <a:gd name="T0" fmla="*/ 0 w 28"/>
                <a:gd name="T1" fmla="*/ 0 h 31"/>
                <a:gd name="T2" fmla="*/ 28 w 28"/>
                <a:gd name="T3" fmla="*/ 31 h 31"/>
                <a:gd name="T4" fmla="*/ 28 w 28"/>
                <a:gd name="T5" fmla="*/ 31 h 31"/>
                <a:gd name="T6" fmla="*/ 0 w 28"/>
                <a:gd name="T7" fmla="*/ 0 h 31"/>
              </a:gdLst>
              <a:ahLst/>
              <a:cxnLst>
                <a:cxn ang="0">
                  <a:pos x="T0" y="T1"/>
                </a:cxn>
                <a:cxn ang="0">
                  <a:pos x="T2" y="T3"/>
                </a:cxn>
                <a:cxn ang="0">
                  <a:pos x="T4" y="T5"/>
                </a:cxn>
                <a:cxn ang="0">
                  <a:pos x="T6" y="T7"/>
                </a:cxn>
              </a:cxnLst>
              <a:rect l="0" t="0" r="r" b="b"/>
              <a:pathLst>
                <a:path w="28" h="31">
                  <a:moveTo>
                    <a:pt x="0" y="0"/>
                  </a:moveTo>
                  <a:lnTo>
                    <a:pt x="28" y="31"/>
                  </a:lnTo>
                  <a:lnTo>
                    <a:pt x="28" y="31"/>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20" name="ïṩ1ïḍe">
              <a:extLst>
                <a:ext uri="{FF2B5EF4-FFF2-40B4-BE49-F238E27FC236}">
                  <a16:creationId xmlns:a16="http://schemas.microsoft.com/office/drawing/2014/main" id="{73F5BC81-483A-444A-A63B-E2E3A5EDB61F}"/>
                </a:ext>
              </a:extLst>
            </p:cNvPr>
            <p:cNvSpPr/>
            <p:nvPr/>
          </p:nvSpPr>
          <p:spPr bwMode="auto">
            <a:xfrm>
              <a:off x="7496176" y="4870450"/>
              <a:ext cx="638175" cy="639763"/>
            </a:xfrm>
            <a:custGeom>
              <a:avLst/>
              <a:gdLst>
                <a:gd name="T0" fmla="*/ 374 w 402"/>
                <a:gd name="T1" fmla="*/ 0 h 403"/>
                <a:gd name="T2" fmla="*/ 0 w 402"/>
                <a:gd name="T3" fmla="*/ 374 h 403"/>
                <a:gd name="T4" fmla="*/ 31 w 402"/>
                <a:gd name="T5" fmla="*/ 403 h 403"/>
                <a:gd name="T6" fmla="*/ 402 w 402"/>
                <a:gd name="T7" fmla="*/ 31 h 403"/>
                <a:gd name="T8" fmla="*/ 374 w 402"/>
                <a:gd name="T9" fmla="*/ 0 h 403"/>
              </a:gdLst>
              <a:ahLst/>
              <a:cxnLst>
                <a:cxn ang="0">
                  <a:pos x="T0" y="T1"/>
                </a:cxn>
                <a:cxn ang="0">
                  <a:pos x="T2" y="T3"/>
                </a:cxn>
                <a:cxn ang="0">
                  <a:pos x="T4" y="T5"/>
                </a:cxn>
                <a:cxn ang="0">
                  <a:pos x="T6" y="T7"/>
                </a:cxn>
                <a:cxn ang="0">
                  <a:pos x="T8" y="T9"/>
                </a:cxn>
              </a:cxnLst>
              <a:rect l="0" t="0" r="r" b="b"/>
              <a:pathLst>
                <a:path w="402" h="403">
                  <a:moveTo>
                    <a:pt x="374" y="0"/>
                  </a:moveTo>
                  <a:lnTo>
                    <a:pt x="0" y="374"/>
                  </a:lnTo>
                  <a:lnTo>
                    <a:pt x="31" y="403"/>
                  </a:lnTo>
                  <a:lnTo>
                    <a:pt x="402" y="31"/>
                  </a:lnTo>
                  <a:lnTo>
                    <a:pt x="374" y="0"/>
                  </a:lnTo>
                  <a:close/>
                </a:path>
              </a:pathLst>
            </a:custGeom>
            <a:solidFill>
              <a:srgbClr val="D8740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21" name="í$lîḑè">
              <a:extLst>
                <a:ext uri="{FF2B5EF4-FFF2-40B4-BE49-F238E27FC236}">
                  <a16:creationId xmlns:a16="http://schemas.microsoft.com/office/drawing/2014/main" id="{838B696B-949C-4DC9-AA3D-0D4C09707996}"/>
                </a:ext>
              </a:extLst>
            </p:cNvPr>
            <p:cNvSpPr/>
            <p:nvPr/>
          </p:nvSpPr>
          <p:spPr bwMode="auto">
            <a:xfrm>
              <a:off x="7496176" y="4870450"/>
              <a:ext cx="638175" cy="639763"/>
            </a:xfrm>
            <a:custGeom>
              <a:avLst/>
              <a:gdLst>
                <a:gd name="T0" fmla="*/ 374 w 402"/>
                <a:gd name="T1" fmla="*/ 0 h 403"/>
                <a:gd name="T2" fmla="*/ 0 w 402"/>
                <a:gd name="T3" fmla="*/ 374 h 403"/>
                <a:gd name="T4" fmla="*/ 31 w 402"/>
                <a:gd name="T5" fmla="*/ 403 h 403"/>
                <a:gd name="T6" fmla="*/ 402 w 402"/>
                <a:gd name="T7" fmla="*/ 31 h 403"/>
                <a:gd name="T8" fmla="*/ 374 w 402"/>
                <a:gd name="T9" fmla="*/ 0 h 403"/>
              </a:gdLst>
              <a:ahLst/>
              <a:cxnLst>
                <a:cxn ang="0">
                  <a:pos x="T0" y="T1"/>
                </a:cxn>
                <a:cxn ang="0">
                  <a:pos x="T2" y="T3"/>
                </a:cxn>
                <a:cxn ang="0">
                  <a:pos x="T4" y="T5"/>
                </a:cxn>
                <a:cxn ang="0">
                  <a:pos x="T6" y="T7"/>
                </a:cxn>
                <a:cxn ang="0">
                  <a:pos x="T8" y="T9"/>
                </a:cxn>
              </a:cxnLst>
              <a:rect l="0" t="0" r="r" b="b"/>
              <a:pathLst>
                <a:path w="402" h="403">
                  <a:moveTo>
                    <a:pt x="374" y="0"/>
                  </a:moveTo>
                  <a:lnTo>
                    <a:pt x="0" y="374"/>
                  </a:lnTo>
                  <a:lnTo>
                    <a:pt x="31" y="403"/>
                  </a:lnTo>
                  <a:lnTo>
                    <a:pt x="402" y="31"/>
                  </a:lnTo>
                  <a:lnTo>
                    <a:pt x="37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22" name="iṩľîḓé">
              <a:extLst>
                <a:ext uri="{FF2B5EF4-FFF2-40B4-BE49-F238E27FC236}">
                  <a16:creationId xmlns:a16="http://schemas.microsoft.com/office/drawing/2014/main" id="{9C14E2B2-4462-4995-93C8-E13404AA0801}"/>
                </a:ext>
              </a:extLst>
            </p:cNvPr>
            <p:cNvSpPr/>
            <p:nvPr/>
          </p:nvSpPr>
          <p:spPr bwMode="auto">
            <a:xfrm>
              <a:off x="7389813" y="5464175"/>
              <a:ext cx="263525" cy="263525"/>
            </a:xfrm>
            <a:custGeom>
              <a:avLst/>
              <a:gdLst>
                <a:gd name="T0" fmla="*/ 0 w 166"/>
                <a:gd name="T1" fmla="*/ 166 h 166"/>
                <a:gd name="T2" fmla="*/ 166 w 166"/>
                <a:gd name="T3" fmla="*/ 97 h 166"/>
                <a:gd name="T4" fmla="*/ 67 w 166"/>
                <a:gd name="T5" fmla="*/ 0 h 166"/>
                <a:gd name="T6" fmla="*/ 0 w 166"/>
                <a:gd name="T7" fmla="*/ 166 h 166"/>
              </a:gdLst>
              <a:ahLst/>
              <a:cxnLst>
                <a:cxn ang="0">
                  <a:pos x="T0" y="T1"/>
                </a:cxn>
                <a:cxn ang="0">
                  <a:pos x="T2" y="T3"/>
                </a:cxn>
                <a:cxn ang="0">
                  <a:pos x="T4" y="T5"/>
                </a:cxn>
                <a:cxn ang="0">
                  <a:pos x="T6" y="T7"/>
                </a:cxn>
              </a:cxnLst>
              <a:rect l="0" t="0" r="r" b="b"/>
              <a:pathLst>
                <a:path w="166" h="166">
                  <a:moveTo>
                    <a:pt x="0" y="166"/>
                  </a:moveTo>
                  <a:lnTo>
                    <a:pt x="166" y="97"/>
                  </a:lnTo>
                  <a:lnTo>
                    <a:pt x="67" y="0"/>
                  </a:lnTo>
                  <a:lnTo>
                    <a:pt x="0" y="166"/>
                  </a:lnTo>
                  <a:close/>
                </a:path>
              </a:pathLst>
            </a:custGeom>
            <a:solidFill>
              <a:srgbClr val="E4F2F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23" name="ïśļîdé">
              <a:extLst>
                <a:ext uri="{FF2B5EF4-FFF2-40B4-BE49-F238E27FC236}">
                  <a16:creationId xmlns:a16="http://schemas.microsoft.com/office/drawing/2014/main" id="{996DEF1C-988C-4835-AA98-6EDD174E0973}"/>
                </a:ext>
              </a:extLst>
            </p:cNvPr>
            <p:cNvSpPr/>
            <p:nvPr/>
          </p:nvSpPr>
          <p:spPr bwMode="auto">
            <a:xfrm>
              <a:off x="7389813" y="5626100"/>
              <a:ext cx="101600" cy="101600"/>
            </a:xfrm>
            <a:custGeom>
              <a:avLst/>
              <a:gdLst>
                <a:gd name="T0" fmla="*/ 26 w 64"/>
                <a:gd name="T1" fmla="*/ 0 h 64"/>
                <a:gd name="T2" fmla="*/ 0 w 64"/>
                <a:gd name="T3" fmla="*/ 64 h 64"/>
                <a:gd name="T4" fmla="*/ 64 w 64"/>
                <a:gd name="T5" fmla="*/ 38 h 64"/>
                <a:gd name="T6" fmla="*/ 26 w 64"/>
                <a:gd name="T7" fmla="*/ 0 h 64"/>
              </a:gdLst>
              <a:ahLst/>
              <a:cxnLst>
                <a:cxn ang="0">
                  <a:pos x="T0" y="T1"/>
                </a:cxn>
                <a:cxn ang="0">
                  <a:pos x="T2" y="T3"/>
                </a:cxn>
                <a:cxn ang="0">
                  <a:pos x="T4" y="T5"/>
                </a:cxn>
                <a:cxn ang="0">
                  <a:pos x="T6" y="T7"/>
                </a:cxn>
              </a:cxnLst>
              <a:rect l="0" t="0" r="r" b="b"/>
              <a:pathLst>
                <a:path w="64" h="64">
                  <a:moveTo>
                    <a:pt x="26" y="0"/>
                  </a:moveTo>
                  <a:lnTo>
                    <a:pt x="0" y="64"/>
                  </a:lnTo>
                  <a:lnTo>
                    <a:pt x="64" y="38"/>
                  </a:lnTo>
                  <a:lnTo>
                    <a:pt x="26" y="0"/>
                  </a:lnTo>
                  <a:close/>
                </a:path>
              </a:pathLst>
            </a:custGeom>
            <a:solidFill>
              <a:srgbClr val="365E7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24" name="iṣlîdè">
              <a:extLst>
                <a:ext uri="{FF2B5EF4-FFF2-40B4-BE49-F238E27FC236}">
                  <a16:creationId xmlns:a16="http://schemas.microsoft.com/office/drawing/2014/main" id="{05AC8F46-06F6-4164-872A-BADA185BD483}"/>
                </a:ext>
              </a:extLst>
            </p:cNvPr>
            <p:cNvSpPr/>
            <p:nvPr/>
          </p:nvSpPr>
          <p:spPr>
            <a:xfrm>
              <a:off x="5336958" y="2958585"/>
              <a:ext cx="1467068" cy="369332"/>
            </a:xfrm>
            <a:prstGeom prst="rect">
              <a:avLst/>
            </a:prstGeom>
          </p:spPr>
          <p:txBody>
            <a:bodyPr wrap="none">
              <a:normAutofit fontScale="70000" lnSpcReduction="20000"/>
            </a:bodyPr>
            <a:lstStyle/>
            <a:p>
              <a:r>
                <a:rPr lang="en-US" altLang="zh-CN">
                  <a:solidFill>
                    <a:srgbClr val="A5C8CD"/>
                  </a:solidFill>
                </a:rPr>
                <a:t>CONTRACT</a:t>
              </a:r>
              <a:endParaRPr lang="zh-CN" altLang="en-US" dirty="0">
                <a:solidFill>
                  <a:srgbClr val="A5C8CD"/>
                </a:solidFill>
              </a:endParaRPr>
            </a:p>
          </p:txBody>
        </p:sp>
      </p:grpSp>
      <p:sp>
        <p:nvSpPr>
          <p:cNvPr id="2" name="标题 1">
            <a:extLst>
              <a:ext uri="{FF2B5EF4-FFF2-40B4-BE49-F238E27FC236}">
                <a16:creationId xmlns:a16="http://schemas.microsoft.com/office/drawing/2014/main" id="{C1E35B64-B1DB-4A7C-829A-4E4365E79871}"/>
              </a:ext>
            </a:extLst>
          </p:cNvPr>
          <p:cNvSpPr>
            <a:spLocks noGrp="1"/>
          </p:cNvSpPr>
          <p:nvPr>
            <p:ph type="title"/>
          </p:nvPr>
        </p:nvSpPr>
        <p:spPr/>
        <p:txBody>
          <a:bodyPr/>
          <a:lstStyle/>
          <a:p>
            <a:r>
              <a:rPr lang="en-US" altLang="zh-CN" dirty="0"/>
              <a:t>UML</a:t>
            </a:r>
            <a:r>
              <a:rPr lang="zh-CN" altLang="en-US" dirty="0"/>
              <a:t>协作图</a:t>
            </a:r>
          </a:p>
        </p:txBody>
      </p:sp>
      <p:sp>
        <p:nvSpPr>
          <p:cNvPr id="4" name="灯片编号占位符 3">
            <a:extLst>
              <a:ext uri="{FF2B5EF4-FFF2-40B4-BE49-F238E27FC236}">
                <a16:creationId xmlns:a16="http://schemas.microsoft.com/office/drawing/2014/main" id="{1CD73F73-DE87-4FAA-BC73-34B1717818DF}"/>
              </a:ext>
            </a:extLst>
          </p:cNvPr>
          <p:cNvSpPr>
            <a:spLocks noGrp="1"/>
          </p:cNvSpPr>
          <p:nvPr>
            <p:ph type="sldNum" sz="quarter" idx="12"/>
          </p:nvPr>
        </p:nvSpPr>
        <p:spPr/>
        <p:txBody>
          <a:bodyPr/>
          <a:lstStyle/>
          <a:p>
            <a:fld id="{5DD3DB80-B894-403A-B48E-6FDC1A72010E}" type="slidenum">
              <a:rPr lang="zh-CN" altLang="en-US" smtClean="0"/>
              <a:pPr/>
              <a:t>24</a:t>
            </a:fld>
            <a:endParaRPr lang="zh-CN" altLang="en-US"/>
          </a:p>
        </p:txBody>
      </p:sp>
      <p:grpSp>
        <p:nvGrpSpPr>
          <p:cNvPr id="5" name="183472"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a16="http://schemas.microsoft.com/office/drawing/2014/main" id="{A13558B8-9D1D-485F-A9B2-AEB572654507}"/>
              </a:ext>
            </a:extLst>
          </p:cNvPr>
          <p:cNvGrpSpPr>
            <a:grpSpLocks noChangeAspect="1"/>
          </p:cNvGrpSpPr>
          <p:nvPr/>
        </p:nvGrpSpPr>
        <p:grpSpPr>
          <a:xfrm>
            <a:off x="2121826" y="1282893"/>
            <a:ext cx="9398663" cy="3970310"/>
            <a:chOff x="2121826" y="1282893"/>
            <a:chExt cx="9398663" cy="3970310"/>
          </a:xfrm>
        </p:grpSpPr>
        <p:sp>
          <p:nvSpPr>
            <p:cNvPr id="27" name="iŝḻïḓé">
              <a:extLst>
                <a:ext uri="{FF2B5EF4-FFF2-40B4-BE49-F238E27FC236}">
                  <a16:creationId xmlns:a16="http://schemas.microsoft.com/office/drawing/2014/main" id="{CE0929BD-FC0F-42FA-A91F-FBDEEE1ED95C}"/>
                </a:ext>
              </a:extLst>
            </p:cNvPr>
            <p:cNvSpPr/>
            <p:nvPr/>
          </p:nvSpPr>
          <p:spPr bwMode="auto">
            <a:xfrm>
              <a:off x="2121826" y="4021271"/>
              <a:ext cx="973957" cy="907281"/>
            </a:xfrm>
            <a:custGeom>
              <a:avLst/>
              <a:gdLst/>
              <a:ahLst/>
              <a:cxnLst>
                <a:cxn ang="0">
                  <a:pos x="102" y="0"/>
                </a:cxn>
                <a:cxn ang="0">
                  <a:pos x="0" y="95"/>
                </a:cxn>
                <a:cxn ang="0">
                  <a:pos x="0" y="95"/>
                </a:cxn>
                <a:cxn ang="0">
                  <a:pos x="102" y="0"/>
                </a:cxn>
                <a:cxn ang="0">
                  <a:pos x="102" y="0"/>
                </a:cxn>
              </a:cxnLst>
              <a:rect l="0" t="0" r="r" b="b"/>
              <a:pathLst>
                <a:path w="102" h="95">
                  <a:moveTo>
                    <a:pt x="102" y="0"/>
                  </a:moveTo>
                  <a:cubicBezTo>
                    <a:pt x="90" y="49"/>
                    <a:pt x="50" y="87"/>
                    <a:pt x="0" y="95"/>
                  </a:cubicBezTo>
                  <a:cubicBezTo>
                    <a:pt x="0" y="95"/>
                    <a:pt x="0" y="95"/>
                    <a:pt x="0" y="95"/>
                  </a:cubicBezTo>
                  <a:cubicBezTo>
                    <a:pt x="50" y="87"/>
                    <a:pt x="90" y="49"/>
                    <a:pt x="102" y="0"/>
                  </a:cubicBezTo>
                  <a:cubicBezTo>
                    <a:pt x="102" y="0"/>
                    <a:pt x="102" y="0"/>
                    <a:pt x="102" y="0"/>
                  </a:cubicBezTo>
                </a:path>
              </a:pathLst>
            </a:custGeom>
            <a:solidFill>
              <a:srgbClr val="BB3A3A"/>
            </a:solidFill>
            <a:ln w="9525">
              <a:noFill/>
              <a:round/>
              <a:headEnd/>
              <a:tailEnd/>
            </a:ln>
          </p:spPr>
          <p:txBody>
            <a:bodyPr vert="horz" wrap="square" lIns="91440" tIns="45720" rIns="91440" bIns="45720" numCol="1" anchor="t" anchorCtr="0" compatLnSpc="1">
              <a:prstTxWarp prst="textNoShape">
                <a:avLst/>
              </a:prstTxWarp>
              <a:normAutofit/>
            </a:bodyPr>
            <a:lstStyle/>
            <a:p>
              <a:endParaRPr lang="zh-CN" altLang="en-US"/>
            </a:p>
          </p:txBody>
        </p:sp>
        <p:sp>
          <p:nvSpPr>
            <p:cNvPr id="7" name="ïṡḷiḓê">
              <a:extLst>
                <a:ext uri="{FF2B5EF4-FFF2-40B4-BE49-F238E27FC236}">
                  <a16:creationId xmlns:a16="http://schemas.microsoft.com/office/drawing/2014/main" id="{6982B370-286D-4E2A-861D-47EA735A5DD1}"/>
                </a:ext>
              </a:extLst>
            </p:cNvPr>
            <p:cNvSpPr txBox="1"/>
            <p:nvPr/>
          </p:nvSpPr>
          <p:spPr>
            <a:xfrm>
              <a:off x="3079054" y="1282893"/>
              <a:ext cx="8441434" cy="595087"/>
            </a:xfrm>
            <a:prstGeom prst="rect">
              <a:avLst/>
            </a:prstGeom>
            <a:noFill/>
            <a:ln>
              <a:noFill/>
            </a:ln>
          </p:spPr>
          <p:txBody>
            <a:bodyPr wrap="square" lIns="90000" tIns="46800" rIns="90000" bIns="46800" anchor="b" anchorCtr="0">
              <a:normAutofit/>
            </a:bodyPr>
            <a:lstStyle/>
            <a:p>
              <a:pPr algn="ctr">
                <a:buSzPct val="25000"/>
              </a:pPr>
              <a:r>
                <a:rPr lang="zh-CN" altLang="en-US" sz="2000" b="1" dirty="0"/>
                <a:t>协作图概要</a:t>
              </a:r>
              <a:endParaRPr lang="en-US" sz="2000" b="1" dirty="0"/>
            </a:p>
          </p:txBody>
        </p:sp>
        <p:sp>
          <p:nvSpPr>
            <p:cNvPr id="8" name="ïṣḷîḓe">
              <a:extLst>
                <a:ext uri="{FF2B5EF4-FFF2-40B4-BE49-F238E27FC236}">
                  <a16:creationId xmlns:a16="http://schemas.microsoft.com/office/drawing/2014/main" id="{650ED840-7AFA-4729-9CEC-9ACD8BF6E6D5}"/>
                </a:ext>
              </a:extLst>
            </p:cNvPr>
            <p:cNvSpPr txBox="1"/>
            <p:nvPr/>
          </p:nvSpPr>
          <p:spPr>
            <a:xfrm>
              <a:off x="3079053" y="1877980"/>
              <a:ext cx="8441436" cy="787280"/>
            </a:xfrm>
            <a:prstGeom prst="rect">
              <a:avLst/>
            </a:prstGeom>
            <a:noFill/>
            <a:ln>
              <a:noFill/>
            </a:ln>
          </p:spPr>
          <p:txBody>
            <a:bodyPr wrap="square" lIns="90000" tIns="46800" rIns="90000" bIns="46800" anchor="t" anchorCtr="0">
              <a:normAutofit/>
            </a:bodyPr>
            <a:lstStyle/>
            <a:p>
              <a:pPr algn="ctr">
                <a:lnSpc>
                  <a:spcPct val="150000"/>
                </a:lnSpc>
                <a:buSzPct val="25000"/>
              </a:pPr>
              <a:r>
                <a:rPr lang="zh-CN" altLang="en-US" sz="1200" i="0" dirty="0">
                  <a:effectLst/>
                  <a:latin typeface="-apple-system"/>
                </a:rPr>
                <a:t> </a:t>
              </a:r>
              <a:r>
                <a:rPr lang="zh-CN" altLang="en-US" sz="1200" i="0" u="none" strike="noStrike" dirty="0">
                  <a:effectLst/>
                  <a:latin typeface="-apple-system"/>
                </a:rPr>
                <a:t>协作图</a:t>
              </a:r>
              <a:r>
                <a:rPr lang="zh-CN" altLang="en-US" sz="1200" i="0" dirty="0">
                  <a:effectLst/>
                  <a:latin typeface="-apple-system"/>
                </a:rPr>
                <a:t>又称通信图，以图或网格格式描述对象交互，其中对象可以置于图中任何位置</a:t>
              </a:r>
              <a:endParaRPr lang="en-US" sz="1200" dirty="0"/>
            </a:p>
          </p:txBody>
        </p:sp>
        <p:cxnSp>
          <p:nvCxnSpPr>
            <p:cNvPr id="9" name="直接连接符 8">
              <a:extLst>
                <a:ext uri="{FF2B5EF4-FFF2-40B4-BE49-F238E27FC236}">
                  <a16:creationId xmlns:a16="http://schemas.microsoft.com/office/drawing/2014/main" id="{1BA83826-3D02-4BE2-AB9A-059CE9664B05}"/>
                </a:ext>
              </a:extLst>
            </p:cNvPr>
            <p:cNvCxnSpPr>
              <a:cxnSpLocks/>
            </p:cNvCxnSpPr>
            <p:nvPr/>
          </p:nvCxnSpPr>
          <p:spPr>
            <a:xfrm>
              <a:off x="2904477" y="2865984"/>
              <a:ext cx="861601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nvGrpSpPr>
            <p:cNvPr id="10" name="íšļiḍé">
              <a:extLst>
                <a:ext uri="{FF2B5EF4-FFF2-40B4-BE49-F238E27FC236}">
                  <a16:creationId xmlns:a16="http://schemas.microsoft.com/office/drawing/2014/main" id="{3445083A-93A8-4596-9554-D302B7E2ECE5}"/>
                </a:ext>
              </a:extLst>
            </p:cNvPr>
            <p:cNvGrpSpPr/>
            <p:nvPr/>
          </p:nvGrpSpPr>
          <p:grpSpPr>
            <a:xfrm>
              <a:off x="3576795" y="3600247"/>
              <a:ext cx="2328027" cy="1442069"/>
              <a:chOff x="4236071" y="3580166"/>
              <a:chExt cx="2328027" cy="1442069"/>
            </a:xfrm>
          </p:grpSpPr>
          <p:sp>
            <p:nvSpPr>
              <p:cNvPr id="21" name="íṧlîḍe">
                <a:extLst>
                  <a:ext uri="{FF2B5EF4-FFF2-40B4-BE49-F238E27FC236}">
                    <a16:creationId xmlns:a16="http://schemas.microsoft.com/office/drawing/2014/main" id="{D55337DE-D953-4540-AA5D-50A4333EB440}"/>
                  </a:ext>
                </a:extLst>
              </p:cNvPr>
              <p:cNvSpPr/>
              <p:nvPr/>
            </p:nvSpPr>
            <p:spPr bwMode="auto">
              <a:xfrm>
                <a:off x="4958704" y="3580166"/>
                <a:ext cx="708563" cy="538239"/>
              </a:xfrm>
              <a:custGeom>
                <a:avLst/>
                <a:gdLst>
                  <a:gd name="T0" fmla="*/ 2664 w 2711"/>
                  <a:gd name="T1" fmla="*/ 1581 h 2062"/>
                  <a:gd name="T2" fmla="*/ 909 w 2711"/>
                  <a:gd name="T3" fmla="*/ 1581 h 2062"/>
                  <a:gd name="T4" fmla="*/ 861 w 2711"/>
                  <a:gd name="T5" fmla="*/ 1534 h 2062"/>
                  <a:gd name="T6" fmla="*/ 861 w 2711"/>
                  <a:gd name="T7" fmla="*/ 434 h 2062"/>
                  <a:gd name="T8" fmla="*/ 909 w 2711"/>
                  <a:gd name="T9" fmla="*/ 386 h 2062"/>
                  <a:gd name="T10" fmla="*/ 2664 w 2711"/>
                  <a:gd name="T11" fmla="*/ 386 h 2062"/>
                  <a:gd name="T12" fmla="*/ 2711 w 2711"/>
                  <a:gd name="T13" fmla="*/ 434 h 2062"/>
                  <a:gd name="T14" fmla="*/ 2711 w 2711"/>
                  <a:gd name="T15" fmla="*/ 1534 h 2062"/>
                  <a:gd name="T16" fmla="*/ 2664 w 2711"/>
                  <a:gd name="T17" fmla="*/ 1581 h 2062"/>
                  <a:gd name="T18" fmla="*/ 2177 w 2711"/>
                  <a:gd name="T19" fmla="*/ 1928 h 2062"/>
                  <a:gd name="T20" fmla="*/ 2000 w 2711"/>
                  <a:gd name="T21" fmla="*/ 1928 h 2062"/>
                  <a:gd name="T22" fmla="*/ 2000 w 2711"/>
                  <a:gd name="T23" fmla="*/ 1715 h 2062"/>
                  <a:gd name="T24" fmla="*/ 1573 w 2711"/>
                  <a:gd name="T25" fmla="*/ 1715 h 2062"/>
                  <a:gd name="T26" fmla="*/ 1573 w 2711"/>
                  <a:gd name="T27" fmla="*/ 1928 h 2062"/>
                  <a:gd name="T28" fmla="*/ 1395 w 2711"/>
                  <a:gd name="T29" fmla="*/ 1928 h 2062"/>
                  <a:gd name="T30" fmla="*/ 1329 w 2711"/>
                  <a:gd name="T31" fmla="*/ 1995 h 2062"/>
                  <a:gd name="T32" fmla="*/ 1395 w 2711"/>
                  <a:gd name="T33" fmla="*/ 2062 h 2062"/>
                  <a:gd name="T34" fmla="*/ 1640 w 2711"/>
                  <a:gd name="T35" fmla="*/ 2062 h 2062"/>
                  <a:gd name="T36" fmla="*/ 1933 w 2711"/>
                  <a:gd name="T37" fmla="*/ 2062 h 2062"/>
                  <a:gd name="T38" fmla="*/ 2177 w 2711"/>
                  <a:gd name="T39" fmla="*/ 2062 h 2062"/>
                  <a:gd name="T40" fmla="*/ 2244 w 2711"/>
                  <a:gd name="T41" fmla="*/ 1995 h 2062"/>
                  <a:gd name="T42" fmla="*/ 2177 w 2711"/>
                  <a:gd name="T43" fmla="*/ 1928 h 2062"/>
                  <a:gd name="T44" fmla="*/ 1065 w 2711"/>
                  <a:gd name="T45" fmla="*/ 253 h 2062"/>
                  <a:gd name="T46" fmla="*/ 909 w 2711"/>
                  <a:gd name="T47" fmla="*/ 253 h 2062"/>
                  <a:gd name="T48" fmla="*/ 880 w 2711"/>
                  <a:gd name="T49" fmla="*/ 255 h 2062"/>
                  <a:gd name="T50" fmla="*/ 863 w 2711"/>
                  <a:gd name="T51" fmla="*/ 253 h 2062"/>
                  <a:gd name="T52" fmla="*/ 201 w 2711"/>
                  <a:gd name="T53" fmla="*/ 253 h 2062"/>
                  <a:gd name="T54" fmla="*/ 135 w 2711"/>
                  <a:gd name="T55" fmla="*/ 320 h 2062"/>
                  <a:gd name="T56" fmla="*/ 201 w 2711"/>
                  <a:gd name="T57" fmla="*/ 386 h 2062"/>
                  <a:gd name="T58" fmla="*/ 735 w 2711"/>
                  <a:gd name="T59" fmla="*/ 386 h 2062"/>
                  <a:gd name="T60" fmla="*/ 728 w 2711"/>
                  <a:gd name="T61" fmla="*/ 434 h 2062"/>
                  <a:gd name="T62" fmla="*/ 728 w 2711"/>
                  <a:gd name="T63" fmla="*/ 558 h 2062"/>
                  <a:gd name="T64" fmla="*/ 201 w 2711"/>
                  <a:gd name="T65" fmla="*/ 558 h 2062"/>
                  <a:gd name="T66" fmla="*/ 135 w 2711"/>
                  <a:gd name="T67" fmla="*/ 624 h 2062"/>
                  <a:gd name="T68" fmla="*/ 201 w 2711"/>
                  <a:gd name="T69" fmla="*/ 691 h 2062"/>
                  <a:gd name="T70" fmla="*/ 728 w 2711"/>
                  <a:gd name="T71" fmla="*/ 691 h 2062"/>
                  <a:gd name="T72" fmla="*/ 728 w 2711"/>
                  <a:gd name="T73" fmla="*/ 863 h 2062"/>
                  <a:gd name="T74" fmla="*/ 201 w 2711"/>
                  <a:gd name="T75" fmla="*/ 863 h 2062"/>
                  <a:gd name="T76" fmla="*/ 135 w 2711"/>
                  <a:gd name="T77" fmla="*/ 929 h 2062"/>
                  <a:gd name="T78" fmla="*/ 201 w 2711"/>
                  <a:gd name="T79" fmla="*/ 996 h 2062"/>
                  <a:gd name="T80" fmla="*/ 728 w 2711"/>
                  <a:gd name="T81" fmla="*/ 996 h 2062"/>
                  <a:gd name="T82" fmla="*/ 728 w 2711"/>
                  <a:gd name="T83" fmla="*/ 1534 h 2062"/>
                  <a:gd name="T84" fmla="*/ 909 w 2711"/>
                  <a:gd name="T85" fmla="*/ 1715 h 2062"/>
                  <a:gd name="T86" fmla="*/ 1065 w 2711"/>
                  <a:gd name="T87" fmla="*/ 1715 h 2062"/>
                  <a:gd name="T88" fmla="*/ 1065 w 2711"/>
                  <a:gd name="T89" fmla="*/ 1995 h 2062"/>
                  <a:gd name="T90" fmla="*/ 998 w 2711"/>
                  <a:gd name="T91" fmla="*/ 2062 h 2062"/>
                  <a:gd name="T92" fmla="*/ 67 w 2711"/>
                  <a:gd name="T93" fmla="*/ 2062 h 2062"/>
                  <a:gd name="T94" fmla="*/ 0 w 2711"/>
                  <a:gd name="T95" fmla="*/ 1995 h 2062"/>
                  <a:gd name="T96" fmla="*/ 0 w 2711"/>
                  <a:gd name="T97" fmla="*/ 66 h 2062"/>
                  <a:gd name="T98" fmla="*/ 67 w 2711"/>
                  <a:gd name="T99" fmla="*/ 0 h 2062"/>
                  <a:gd name="T100" fmla="*/ 998 w 2711"/>
                  <a:gd name="T101" fmla="*/ 0 h 2062"/>
                  <a:gd name="T102" fmla="*/ 1065 w 2711"/>
                  <a:gd name="T103" fmla="*/ 66 h 2062"/>
                  <a:gd name="T104" fmla="*/ 1065 w 2711"/>
                  <a:gd name="T105" fmla="*/ 253 h 2062"/>
                  <a:gd name="T106" fmla="*/ 430 w 2711"/>
                  <a:gd name="T107" fmla="*/ 1569 h 2062"/>
                  <a:gd name="T108" fmla="*/ 532 w 2711"/>
                  <a:gd name="T109" fmla="*/ 1672 h 2062"/>
                  <a:gd name="T110" fmla="*/ 635 w 2711"/>
                  <a:gd name="T111" fmla="*/ 1569 h 2062"/>
                  <a:gd name="T112" fmla="*/ 532 w 2711"/>
                  <a:gd name="T113" fmla="*/ 1466 h 2062"/>
                  <a:gd name="T114" fmla="*/ 430 w 2711"/>
                  <a:gd name="T115" fmla="*/ 1569 h 20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711" h="2062">
                    <a:moveTo>
                      <a:pt x="2664" y="1581"/>
                    </a:moveTo>
                    <a:lnTo>
                      <a:pt x="909" y="1581"/>
                    </a:lnTo>
                    <a:cubicBezTo>
                      <a:pt x="883" y="1581"/>
                      <a:pt x="861" y="1560"/>
                      <a:pt x="861" y="1534"/>
                    </a:cubicBezTo>
                    <a:lnTo>
                      <a:pt x="861" y="434"/>
                    </a:lnTo>
                    <a:cubicBezTo>
                      <a:pt x="861" y="407"/>
                      <a:pt x="883" y="386"/>
                      <a:pt x="909" y="386"/>
                    </a:cubicBezTo>
                    <a:lnTo>
                      <a:pt x="2664" y="386"/>
                    </a:lnTo>
                    <a:cubicBezTo>
                      <a:pt x="2690" y="386"/>
                      <a:pt x="2711" y="408"/>
                      <a:pt x="2711" y="434"/>
                    </a:cubicBezTo>
                    <a:lnTo>
                      <a:pt x="2711" y="1534"/>
                    </a:lnTo>
                    <a:cubicBezTo>
                      <a:pt x="2711" y="1560"/>
                      <a:pt x="2690" y="1581"/>
                      <a:pt x="2664" y="1581"/>
                    </a:cubicBezTo>
                    <a:close/>
                    <a:moveTo>
                      <a:pt x="2177" y="1928"/>
                    </a:moveTo>
                    <a:lnTo>
                      <a:pt x="2000" y="1928"/>
                    </a:lnTo>
                    <a:lnTo>
                      <a:pt x="2000" y="1715"/>
                    </a:lnTo>
                    <a:lnTo>
                      <a:pt x="1573" y="1715"/>
                    </a:lnTo>
                    <a:lnTo>
                      <a:pt x="1573" y="1928"/>
                    </a:lnTo>
                    <a:lnTo>
                      <a:pt x="1395" y="1928"/>
                    </a:lnTo>
                    <a:cubicBezTo>
                      <a:pt x="1358" y="1928"/>
                      <a:pt x="1329" y="1958"/>
                      <a:pt x="1329" y="1995"/>
                    </a:cubicBezTo>
                    <a:cubicBezTo>
                      <a:pt x="1329" y="2032"/>
                      <a:pt x="1358" y="2062"/>
                      <a:pt x="1395" y="2062"/>
                    </a:cubicBezTo>
                    <a:lnTo>
                      <a:pt x="1640" y="2062"/>
                    </a:lnTo>
                    <a:lnTo>
                      <a:pt x="1933" y="2062"/>
                    </a:lnTo>
                    <a:lnTo>
                      <a:pt x="2177" y="2062"/>
                    </a:lnTo>
                    <a:cubicBezTo>
                      <a:pt x="2214" y="2062"/>
                      <a:pt x="2244" y="2032"/>
                      <a:pt x="2244" y="1995"/>
                    </a:cubicBezTo>
                    <a:cubicBezTo>
                      <a:pt x="2244" y="1958"/>
                      <a:pt x="2214" y="1928"/>
                      <a:pt x="2177" y="1928"/>
                    </a:cubicBezTo>
                    <a:close/>
                    <a:moveTo>
                      <a:pt x="1065" y="253"/>
                    </a:moveTo>
                    <a:lnTo>
                      <a:pt x="909" y="253"/>
                    </a:lnTo>
                    <a:cubicBezTo>
                      <a:pt x="899" y="253"/>
                      <a:pt x="890" y="254"/>
                      <a:pt x="880" y="255"/>
                    </a:cubicBezTo>
                    <a:cubicBezTo>
                      <a:pt x="875" y="254"/>
                      <a:pt x="869" y="253"/>
                      <a:pt x="863" y="253"/>
                    </a:cubicBezTo>
                    <a:lnTo>
                      <a:pt x="201" y="253"/>
                    </a:lnTo>
                    <a:cubicBezTo>
                      <a:pt x="164" y="253"/>
                      <a:pt x="135" y="283"/>
                      <a:pt x="135" y="320"/>
                    </a:cubicBezTo>
                    <a:cubicBezTo>
                      <a:pt x="135" y="356"/>
                      <a:pt x="164" y="386"/>
                      <a:pt x="201" y="386"/>
                    </a:cubicBezTo>
                    <a:lnTo>
                      <a:pt x="735" y="386"/>
                    </a:lnTo>
                    <a:cubicBezTo>
                      <a:pt x="730" y="401"/>
                      <a:pt x="728" y="417"/>
                      <a:pt x="728" y="434"/>
                    </a:cubicBezTo>
                    <a:lnTo>
                      <a:pt x="728" y="558"/>
                    </a:lnTo>
                    <a:lnTo>
                      <a:pt x="201" y="558"/>
                    </a:lnTo>
                    <a:cubicBezTo>
                      <a:pt x="164" y="558"/>
                      <a:pt x="135" y="588"/>
                      <a:pt x="135" y="624"/>
                    </a:cubicBezTo>
                    <a:cubicBezTo>
                      <a:pt x="135" y="661"/>
                      <a:pt x="164" y="691"/>
                      <a:pt x="201" y="691"/>
                    </a:cubicBezTo>
                    <a:lnTo>
                      <a:pt x="728" y="691"/>
                    </a:lnTo>
                    <a:lnTo>
                      <a:pt x="728" y="863"/>
                    </a:lnTo>
                    <a:lnTo>
                      <a:pt x="201" y="863"/>
                    </a:lnTo>
                    <a:cubicBezTo>
                      <a:pt x="164" y="863"/>
                      <a:pt x="135" y="893"/>
                      <a:pt x="135" y="929"/>
                    </a:cubicBezTo>
                    <a:cubicBezTo>
                      <a:pt x="135" y="966"/>
                      <a:pt x="164" y="996"/>
                      <a:pt x="201" y="996"/>
                    </a:cubicBezTo>
                    <a:lnTo>
                      <a:pt x="728" y="996"/>
                    </a:lnTo>
                    <a:lnTo>
                      <a:pt x="728" y="1534"/>
                    </a:lnTo>
                    <a:cubicBezTo>
                      <a:pt x="728" y="1633"/>
                      <a:pt x="809" y="1715"/>
                      <a:pt x="909" y="1715"/>
                    </a:cubicBezTo>
                    <a:lnTo>
                      <a:pt x="1065" y="1715"/>
                    </a:lnTo>
                    <a:lnTo>
                      <a:pt x="1065" y="1995"/>
                    </a:lnTo>
                    <a:cubicBezTo>
                      <a:pt x="1065" y="2032"/>
                      <a:pt x="1035" y="2062"/>
                      <a:pt x="998" y="2062"/>
                    </a:cubicBezTo>
                    <a:lnTo>
                      <a:pt x="67" y="2062"/>
                    </a:lnTo>
                    <a:cubicBezTo>
                      <a:pt x="30" y="2062"/>
                      <a:pt x="0" y="2032"/>
                      <a:pt x="0" y="1995"/>
                    </a:cubicBezTo>
                    <a:lnTo>
                      <a:pt x="0" y="66"/>
                    </a:lnTo>
                    <a:cubicBezTo>
                      <a:pt x="0" y="29"/>
                      <a:pt x="30" y="0"/>
                      <a:pt x="67" y="0"/>
                    </a:cubicBezTo>
                    <a:lnTo>
                      <a:pt x="998" y="0"/>
                    </a:lnTo>
                    <a:cubicBezTo>
                      <a:pt x="1035" y="0"/>
                      <a:pt x="1065" y="29"/>
                      <a:pt x="1065" y="66"/>
                    </a:cubicBezTo>
                    <a:lnTo>
                      <a:pt x="1065" y="253"/>
                    </a:lnTo>
                    <a:close/>
                    <a:moveTo>
                      <a:pt x="430" y="1569"/>
                    </a:moveTo>
                    <a:cubicBezTo>
                      <a:pt x="430" y="1626"/>
                      <a:pt x="476" y="1672"/>
                      <a:pt x="532" y="1672"/>
                    </a:cubicBezTo>
                    <a:cubicBezTo>
                      <a:pt x="589" y="1672"/>
                      <a:pt x="635" y="1626"/>
                      <a:pt x="635" y="1569"/>
                    </a:cubicBezTo>
                    <a:cubicBezTo>
                      <a:pt x="635" y="1512"/>
                      <a:pt x="589" y="1466"/>
                      <a:pt x="532" y="1466"/>
                    </a:cubicBezTo>
                    <a:cubicBezTo>
                      <a:pt x="476" y="1466"/>
                      <a:pt x="430" y="1512"/>
                      <a:pt x="430" y="1569"/>
                    </a:cubicBezTo>
                    <a:close/>
                  </a:path>
                </a:pathLst>
              </a:custGeom>
              <a:solidFill>
                <a:schemeClr val="accent1">
                  <a:lumMod val="40000"/>
                  <a:lumOff val="60000"/>
                </a:schemeClr>
              </a:solidFill>
              <a:ln w="9525">
                <a:noFill/>
                <a:round/>
                <a:headEnd/>
                <a:tailEnd/>
              </a:ln>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endParaRPr dirty="0"/>
              </a:p>
            </p:txBody>
          </p:sp>
          <p:sp>
            <p:nvSpPr>
              <p:cNvPr id="22" name="îş1idé">
                <a:extLst>
                  <a:ext uri="{FF2B5EF4-FFF2-40B4-BE49-F238E27FC236}">
                    <a16:creationId xmlns:a16="http://schemas.microsoft.com/office/drawing/2014/main" id="{17DAC962-691D-4662-A12F-7048BE7D2084}"/>
                  </a:ext>
                </a:extLst>
              </p:cNvPr>
              <p:cNvSpPr txBox="1"/>
              <p:nvPr/>
            </p:nvSpPr>
            <p:spPr>
              <a:xfrm>
                <a:off x="4236071" y="4344141"/>
                <a:ext cx="2328027" cy="678094"/>
              </a:xfrm>
              <a:prstGeom prst="rect">
                <a:avLst/>
              </a:prstGeom>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l">
                  <a:buFont typeface="Arial" panose="020B0604020202020204" pitchFamily="34" charset="0"/>
                  <a:buChar char="•"/>
                </a:pPr>
                <a:r>
                  <a:rPr lang="zh-CN" altLang="en-US" sz="1200" b="0" i="0" dirty="0">
                    <a:solidFill>
                      <a:srgbClr val="0D0016"/>
                    </a:solidFill>
                    <a:effectLst/>
                    <a:latin typeface="-apple-system"/>
                  </a:rPr>
                  <a:t>协作图用于描述相互协作的对象间的交互关系和链接关系</a:t>
                </a:r>
                <a:r>
                  <a:rPr lang="en-US" altLang="zh-CN" sz="1200" b="0" i="0" dirty="0">
                    <a:solidFill>
                      <a:srgbClr val="0D0016"/>
                    </a:solidFill>
                    <a:effectLst/>
                    <a:latin typeface="-apple-system"/>
                  </a:rPr>
                  <a:t>(</a:t>
                </a:r>
                <a:r>
                  <a:rPr lang="zh-CN" altLang="en-US" sz="1200" b="0" i="0" dirty="0">
                    <a:solidFill>
                      <a:srgbClr val="0D0016"/>
                    </a:solidFill>
                    <a:effectLst/>
                    <a:latin typeface="-apple-system"/>
                  </a:rPr>
                  <a:t>链接是关联的实例</a:t>
                </a:r>
                <a:r>
                  <a:rPr lang="en-US" altLang="zh-CN" sz="1200" b="0" i="0" dirty="0">
                    <a:solidFill>
                      <a:srgbClr val="0D0016"/>
                    </a:solidFill>
                    <a:effectLst/>
                    <a:latin typeface="-apple-system"/>
                  </a:rPr>
                  <a:t>)</a:t>
                </a:r>
                <a:endParaRPr lang="zh-CN" altLang="en-US" sz="1200" b="0" i="0" dirty="0">
                  <a:solidFill>
                    <a:srgbClr val="333333"/>
                  </a:solidFill>
                  <a:effectLst/>
                  <a:latin typeface="-apple-system"/>
                </a:endParaRPr>
              </a:p>
            </p:txBody>
          </p:sp>
        </p:grpSp>
        <p:grpSp>
          <p:nvGrpSpPr>
            <p:cNvPr id="12" name="iS1iḋè">
              <a:extLst>
                <a:ext uri="{FF2B5EF4-FFF2-40B4-BE49-F238E27FC236}">
                  <a16:creationId xmlns:a16="http://schemas.microsoft.com/office/drawing/2014/main" id="{787C7075-EE89-4657-BFD4-776087DE84C0}"/>
                </a:ext>
              </a:extLst>
            </p:cNvPr>
            <p:cNvGrpSpPr/>
            <p:nvPr/>
          </p:nvGrpSpPr>
          <p:grpSpPr>
            <a:xfrm>
              <a:off x="9183456" y="3563818"/>
              <a:ext cx="2328027" cy="1468625"/>
              <a:chOff x="4141555" y="3507306"/>
              <a:chExt cx="2328027" cy="1468625"/>
            </a:xfrm>
          </p:grpSpPr>
          <p:sp>
            <p:nvSpPr>
              <p:cNvPr id="15" name="ïŝľïḋê">
                <a:extLst>
                  <a:ext uri="{FF2B5EF4-FFF2-40B4-BE49-F238E27FC236}">
                    <a16:creationId xmlns:a16="http://schemas.microsoft.com/office/drawing/2014/main" id="{B3862B97-B0C0-4AC8-9161-A5879FD5FDC9}"/>
                  </a:ext>
                </a:extLst>
              </p:cNvPr>
              <p:cNvSpPr/>
              <p:nvPr/>
            </p:nvSpPr>
            <p:spPr bwMode="auto">
              <a:xfrm>
                <a:off x="4958704" y="3507306"/>
                <a:ext cx="708563" cy="683960"/>
              </a:xfrm>
              <a:custGeom>
                <a:avLst/>
                <a:gdLst>
                  <a:gd name="connsiteX0" fmla="*/ 147225 w 603618"/>
                  <a:gd name="connsiteY0" fmla="*/ 418175 h 582659"/>
                  <a:gd name="connsiteX1" fmla="*/ 129666 w 603618"/>
                  <a:gd name="connsiteY1" fmla="*/ 424618 h 582659"/>
                  <a:gd name="connsiteX2" fmla="*/ 159231 w 603618"/>
                  <a:gd name="connsiteY2" fmla="*/ 444246 h 582659"/>
                  <a:gd name="connsiteX3" fmla="*/ 147225 w 603618"/>
                  <a:gd name="connsiteY3" fmla="*/ 418175 h 582659"/>
                  <a:gd name="connsiteX4" fmla="*/ 235619 w 603618"/>
                  <a:gd name="connsiteY4" fmla="*/ 400345 h 582659"/>
                  <a:gd name="connsiteX5" fmla="*/ 196149 w 603618"/>
                  <a:gd name="connsiteY5" fmla="*/ 405440 h 582659"/>
                  <a:gd name="connsiteX6" fmla="*/ 235619 w 603618"/>
                  <a:gd name="connsiteY6" fmla="*/ 461476 h 582659"/>
                  <a:gd name="connsiteX7" fmla="*/ 453241 w 603618"/>
                  <a:gd name="connsiteY7" fmla="*/ 335186 h 582659"/>
                  <a:gd name="connsiteX8" fmla="*/ 453241 w 603618"/>
                  <a:gd name="connsiteY8" fmla="*/ 501720 h 582659"/>
                  <a:gd name="connsiteX9" fmla="*/ 410469 w 603618"/>
                  <a:gd name="connsiteY9" fmla="*/ 458889 h 582659"/>
                  <a:gd name="connsiteX10" fmla="*/ 379853 w 603618"/>
                  <a:gd name="connsiteY10" fmla="*/ 363192 h 582659"/>
                  <a:gd name="connsiteX11" fmla="*/ 453242 w 603618"/>
                  <a:gd name="connsiteY11" fmla="*/ 304902 h 582659"/>
                  <a:gd name="connsiteX12" fmla="*/ 444688 w 603618"/>
                  <a:gd name="connsiteY12" fmla="*/ 306400 h 582659"/>
                  <a:gd name="connsiteX13" fmla="*/ 364853 w 603618"/>
                  <a:gd name="connsiteY13" fmla="*/ 336813 h 582659"/>
                  <a:gd name="connsiteX14" fmla="*/ 349547 w 603618"/>
                  <a:gd name="connsiteY14" fmla="*/ 361682 h 582659"/>
                  <a:gd name="connsiteX15" fmla="*/ 453242 w 603618"/>
                  <a:gd name="connsiteY15" fmla="*/ 531722 h 582659"/>
                  <a:gd name="connsiteX16" fmla="*/ 556936 w 603618"/>
                  <a:gd name="connsiteY16" fmla="*/ 361682 h 582659"/>
                  <a:gd name="connsiteX17" fmla="*/ 541630 w 603618"/>
                  <a:gd name="connsiteY17" fmla="*/ 336813 h 582659"/>
                  <a:gd name="connsiteX18" fmla="*/ 461795 w 603618"/>
                  <a:gd name="connsiteY18" fmla="*/ 306400 h 582659"/>
                  <a:gd name="connsiteX19" fmla="*/ 453242 w 603618"/>
                  <a:gd name="connsiteY19" fmla="*/ 304902 h 582659"/>
                  <a:gd name="connsiteX20" fmla="*/ 170186 w 603618"/>
                  <a:gd name="connsiteY20" fmla="*/ 285126 h 582659"/>
                  <a:gd name="connsiteX21" fmla="*/ 180542 w 603618"/>
                  <a:gd name="connsiteY21" fmla="*/ 357794 h 582659"/>
                  <a:gd name="connsiteX22" fmla="*/ 235619 w 603618"/>
                  <a:gd name="connsiteY22" fmla="*/ 350452 h 582659"/>
                  <a:gd name="connsiteX23" fmla="*/ 235619 w 603618"/>
                  <a:gd name="connsiteY23" fmla="*/ 285126 h 582659"/>
                  <a:gd name="connsiteX24" fmla="*/ 51476 w 603618"/>
                  <a:gd name="connsiteY24" fmla="*/ 285126 h 582659"/>
                  <a:gd name="connsiteX25" fmla="*/ 92297 w 603618"/>
                  <a:gd name="connsiteY25" fmla="*/ 386261 h 582659"/>
                  <a:gd name="connsiteX26" fmla="*/ 132217 w 603618"/>
                  <a:gd name="connsiteY26" fmla="*/ 370679 h 582659"/>
                  <a:gd name="connsiteX27" fmla="*/ 120211 w 603618"/>
                  <a:gd name="connsiteY27" fmla="*/ 285126 h 582659"/>
                  <a:gd name="connsiteX28" fmla="*/ 453242 w 603618"/>
                  <a:gd name="connsiteY28" fmla="*/ 253965 h 582659"/>
                  <a:gd name="connsiteX29" fmla="*/ 465697 w 603618"/>
                  <a:gd name="connsiteY29" fmla="*/ 256362 h 582659"/>
                  <a:gd name="connsiteX30" fmla="*/ 581247 w 603618"/>
                  <a:gd name="connsiteY30" fmla="*/ 300407 h 582659"/>
                  <a:gd name="connsiteX31" fmla="*/ 603456 w 603618"/>
                  <a:gd name="connsiteY31" fmla="*/ 336363 h 582659"/>
                  <a:gd name="connsiteX32" fmla="*/ 453242 w 603618"/>
                  <a:gd name="connsiteY32" fmla="*/ 582659 h 582659"/>
                  <a:gd name="connsiteX33" fmla="*/ 303027 w 603618"/>
                  <a:gd name="connsiteY33" fmla="*/ 336363 h 582659"/>
                  <a:gd name="connsiteX34" fmla="*/ 325236 w 603618"/>
                  <a:gd name="connsiteY34" fmla="*/ 300407 h 582659"/>
                  <a:gd name="connsiteX35" fmla="*/ 440786 w 603618"/>
                  <a:gd name="connsiteY35" fmla="*/ 256362 h 582659"/>
                  <a:gd name="connsiteX36" fmla="*/ 453242 w 603618"/>
                  <a:gd name="connsiteY36" fmla="*/ 253965 h 582659"/>
                  <a:gd name="connsiteX37" fmla="*/ 338422 w 603618"/>
                  <a:gd name="connsiteY37" fmla="*/ 162865 h 582659"/>
                  <a:gd name="connsiteX38" fmla="*/ 285595 w 603618"/>
                  <a:gd name="connsiteY38" fmla="*/ 169607 h 582659"/>
                  <a:gd name="connsiteX39" fmla="*/ 285595 w 603618"/>
                  <a:gd name="connsiteY39" fmla="*/ 235083 h 582659"/>
                  <a:gd name="connsiteX40" fmla="*/ 348627 w 603618"/>
                  <a:gd name="connsiteY40" fmla="*/ 235083 h 582659"/>
                  <a:gd name="connsiteX41" fmla="*/ 338422 w 603618"/>
                  <a:gd name="connsiteY41" fmla="*/ 162865 h 582659"/>
                  <a:gd name="connsiteX42" fmla="*/ 180542 w 603618"/>
                  <a:gd name="connsiteY42" fmla="*/ 162415 h 582659"/>
                  <a:gd name="connsiteX43" fmla="*/ 170186 w 603618"/>
                  <a:gd name="connsiteY43" fmla="*/ 235083 h 582659"/>
                  <a:gd name="connsiteX44" fmla="*/ 235619 w 603618"/>
                  <a:gd name="connsiteY44" fmla="*/ 235083 h 582659"/>
                  <a:gd name="connsiteX45" fmla="*/ 235619 w 603618"/>
                  <a:gd name="connsiteY45" fmla="*/ 169607 h 582659"/>
                  <a:gd name="connsiteX46" fmla="*/ 180542 w 603618"/>
                  <a:gd name="connsiteY46" fmla="*/ 162415 h 582659"/>
                  <a:gd name="connsiteX47" fmla="*/ 92297 w 603618"/>
                  <a:gd name="connsiteY47" fmla="*/ 133948 h 582659"/>
                  <a:gd name="connsiteX48" fmla="*/ 51476 w 603618"/>
                  <a:gd name="connsiteY48" fmla="*/ 235083 h 582659"/>
                  <a:gd name="connsiteX49" fmla="*/ 120211 w 603618"/>
                  <a:gd name="connsiteY49" fmla="*/ 235083 h 582659"/>
                  <a:gd name="connsiteX50" fmla="*/ 132217 w 603618"/>
                  <a:gd name="connsiteY50" fmla="*/ 149530 h 582659"/>
                  <a:gd name="connsiteX51" fmla="*/ 92297 w 603618"/>
                  <a:gd name="connsiteY51" fmla="*/ 133948 h 582659"/>
                  <a:gd name="connsiteX52" fmla="*/ 159231 w 603618"/>
                  <a:gd name="connsiteY52" fmla="*/ 75814 h 582659"/>
                  <a:gd name="connsiteX53" fmla="*/ 129666 w 603618"/>
                  <a:gd name="connsiteY53" fmla="*/ 95591 h 582659"/>
                  <a:gd name="connsiteX54" fmla="*/ 147225 w 603618"/>
                  <a:gd name="connsiteY54" fmla="*/ 102034 h 582659"/>
                  <a:gd name="connsiteX55" fmla="*/ 159231 w 603618"/>
                  <a:gd name="connsiteY55" fmla="*/ 75814 h 582659"/>
                  <a:gd name="connsiteX56" fmla="*/ 358682 w 603618"/>
                  <a:gd name="connsiteY56" fmla="*/ 74165 h 582659"/>
                  <a:gd name="connsiteX57" fmla="*/ 371888 w 603618"/>
                  <a:gd name="connsiteY57" fmla="*/ 102783 h 582659"/>
                  <a:gd name="connsiteX58" fmla="*/ 391548 w 603618"/>
                  <a:gd name="connsiteY58" fmla="*/ 95591 h 582659"/>
                  <a:gd name="connsiteX59" fmla="*/ 358682 w 603618"/>
                  <a:gd name="connsiteY59" fmla="*/ 74165 h 582659"/>
                  <a:gd name="connsiteX60" fmla="*/ 285595 w 603618"/>
                  <a:gd name="connsiteY60" fmla="*/ 60381 h 582659"/>
                  <a:gd name="connsiteX61" fmla="*/ 285595 w 603618"/>
                  <a:gd name="connsiteY61" fmla="*/ 119864 h 582659"/>
                  <a:gd name="connsiteX62" fmla="*/ 322964 w 603618"/>
                  <a:gd name="connsiteY62" fmla="*/ 115219 h 582659"/>
                  <a:gd name="connsiteX63" fmla="*/ 285595 w 603618"/>
                  <a:gd name="connsiteY63" fmla="*/ 60381 h 582659"/>
                  <a:gd name="connsiteX64" fmla="*/ 235619 w 603618"/>
                  <a:gd name="connsiteY64" fmla="*/ 58583 h 582659"/>
                  <a:gd name="connsiteX65" fmla="*/ 196149 w 603618"/>
                  <a:gd name="connsiteY65" fmla="*/ 114769 h 582659"/>
                  <a:gd name="connsiteX66" fmla="*/ 235619 w 603618"/>
                  <a:gd name="connsiteY66" fmla="*/ 119864 h 582659"/>
                  <a:gd name="connsiteX67" fmla="*/ 259482 w 603618"/>
                  <a:gd name="connsiteY67" fmla="*/ 0 h 582659"/>
                  <a:gd name="connsiteX68" fmla="*/ 260532 w 603618"/>
                  <a:gd name="connsiteY68" fmla="*/ 0 h 582659"/>
                  <a:gd name="connsiteX69" fmla="*/ 520914 w 603618"/>
                  <a:gd name="connsiteY69" fmla="*/ 247369 h 582659"/>
                  <a:gd name="connsiteX70" fmla="*/ 475741 w 603618"/>
                  <a:gd name="connsiteY70" fmla="*/ 230138 h 582659"/>
                  <a:gd name="connsiteX71" fmla="*/ 468688 w 603618"/>
                  <a:gd name="connsiteY71" fmla="*/ 228041 h 582659"/>
                  <a:gd name="connsiteX72" fmla="*/ 428917 w 603618"/>
                  <a:gd name="connsiteY72" fmla="*/ 133948 h 582659"/>
                  <a:gd name="connsiteX73" fmla="*/ 386746 w 603618"/>
                  <a:gd name="connsiteY73" fmla="*/ 150279 h 582659"/>
                  <a:gd name="connsiteX74" fmla="*/ 398752 w 603618"/>
                  <a:gd name="connsiteY74" fmla="*/ 235083 h 582659"/>
                  <a:gd name="connsiteX75" fmla="*/ 417812 w 603618"/>
                  <a:gd name="connsiteY75" fmla="*/ 235083 h 582659"/>
                  <a:gd name="connsiteX76" fmla="*/ 315310 w 603618"/>
                  <a:gd name="connsiteY76" fmla="*/ 274188 h 582659"/>
                  <a:gd name="connsiteX77" fmla="*/ 297001 w 603618"/>
                  <a:gd name="connsiteY77" fmla="*/ 285126 h 582659"/>
                  <a:gd name="connsiteX78" fmla="*/ 285595 w 603618"/>
                  <a:gd name="connsiteY78" fmla="*/ 285126 h 582659"/>
                  <a:gd name="connsiteX79" fmla="*/ 285595 w 603618"/>
                  <a:gd name="connsiteY79" fmla="*/ 297861 h 582659"/>
                  <a:gd name="connsiteX80" fmla="*/ 275089 w 603618"/>
                  <a:gd name="connsiteY80" fmla="*/ 339065 h 582659"/>
                  <a:gd name="connsiteX81" fmla="*/ 285895 w 603618"/>
                  <a:gd name="connsiteY81" fmla="*/ 400345 h 582659"/>
                  <a:gd name="connsiteX82" fmla="*/ 285595 w 603618"/>
                  <a:gd name="connsiteY82" fmla="*/ 400345 h 582659"/>
                  <a:gd name="connsiteX83" fmla="*/ 285595 w 603618"/>
                  <a:gd name="connsiteY83" fmla="*/ 459828 h 582659"/>
                  <a:gd name="connsiteX84" fmla="*/ 299552 w 603618"/>
                  <a:gd name="connsiteY84" fmla="*/ 445594 h 582659"/>
                  <a:gd name="connsiteX85" fmla="*/ 328516 w 603618"/>
                  <a:gd name="connsiteY85" fmla="*/ 511219 h 582659"/>
                  <a:gd name="connsiteX86" fmla="*/ 259482 w 603618"/>
                  <a:gd name="connsiteY86" fmla="*/ 520209 h 582659"/>
                  <a:gd name="connsiteX87" fmla="*/ 0 w 603618"/>
                  <a:gd name="connsiteY87" fmla="*/ 260104 h 582659"/>
                  <a:gd name="connsiteX88" fmla="*/ 259482 w 603618"/>
                  <a:gd name="connsiteY88" fmla="*/ 0 h 582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603618" h="582659">
                    <a:moveTo>
                      <a:pt x="147225" y="418175"/>
                    </a:moveTo>
                    <a:cubicBezTo>
                      <a:pt x="141372" y="420123"/>
                      <a:pt x="135519" y="422221"/>
                      <a:pt x="129666" y="424618"/>
                    </a:cubicBezTo>
                    <a:cubicBezTo>
                      <a:pt x="138970" y="431959"/>
                      <a:pt x="148875" y="438552"/>
                      <a:pt x="159231" y="444246"/>
                    </a:cubicBezTo>
                    <a:cubicBezTo>
                      <a:pt x="155179" y="436604"/>
                      <a:pt x="151277" y="428364"/>
                      <a:pt x="147225" y="418175"/>
                    </a:cubicBezTo>
                    <a:close/>
                    <a:moveTo>
                      <a:pt x="235619" y="400345"/>
                    </a:moveTo>
                    <a:cubicBezTo>
                      <a:pt x="222413" y="401244"/>
                      <a:pt x="209206" y="402893"/>
                      <a:pt x="196149" y="405440"/>
                    </a:cubicBezTo>
                    <a:cubicBezTo>
                      <a:pt x="204704" y="425367"/>
                      <a:pt x="217910" y="448740"/>
                      <a:pt x="235619" y="461476"/>
                    </a:cubicBezTo>
                    <a:close/>
                    <a:moveTo>
                      <a:pt x="453241" y="335186"/>
                    </a:moveTo>
                    <a:lnTo>
                      <a:pt x="453241" y="501720"/>
                    </a:lnTo>
                    <a:cubicBezTo>
                      <a:pt x="444386" y="501720"/>
                      <a:pt x="427728" y="490488"/>
                      <a:pt x="410469" y="458889"/>
                    </a:cubicBezTo>
                    <a:cubicBezTo>
                      <a:pt x="395161" y="431033"/>
                      <a:pt x="383605" y="394791"/>
                      <a:pt x="379853" y="363192"/>
                    </a:cubicBezTo>
                    <a:close/>
                    <a:moveTo>
                      <a:pt x="453242" y="304902"/>
                    </a:moveTo>
                    <a:cubicBezTo>
                      <a:pt x="450390" y="304902"/>
                      <a:pt x="447389" y="305351"/>
                      <a:pt x="444688" y="306400"/>
                    </a:cubicBezTo>
                    <a:lnTo>
                      <a:pt x="364853" y="336813"/>
                    </a:lnTo>
                    <a:cubicBezTo>
                      <a:pt x="354799" y="340708"/>
                      <a:pt x="348496" y="350896"/>
                      <a:pt x="349547" y="361682"/>
                    </a:cubicBezTo>
                    <a:cubicBezTo>
                      <a:pt x="356450" y="432395"/>
                      <a:pt x="400119" y="531722"/>
                      <a:pt x="453242" y="531722"/>
                    </a:cubicBezTo>
                    <a:cubicBezTo>
                      <a:pt x="506364" y="531722"/>
                      <a:pt x="550033" y="432395"/>
                      <a:pt x="556936" y="361682"/>
                    </a:cubicBezTo>
                    <a:cubicBezTo>
                      <a:pt x="558137" y="350896"/>
                      <a:pt x="551834" y="340708"/>
                      <a:pt x="541630" y="336813"/>
                    </a:cubicBezTo>
                    <a:lnTo>
                      <a:pt x="461795" y="306400"/>
                    </a:lnTo>
                    <a:cubicBezTo>
                      <a:pt x="459094" y="305351"/>
                      <a:pt x="456093" y="304902"/>
                      <a:pt x="453242" y="304902"/>
                    </a:cubicBezTo>
                    <a:close/>
                    <a:moveTo>
                      <a:pt x="170186" y="285126"/>
                    </a:moveTo>
                    <a:cubicBezTo>
                      <a:pt x="171687" y="310597"/>
                      <a:pt x="175139" y="335169"/>
                      <a:pt x="180542" y="357794"/>
                    </a:cubicBezTo>
                    <a:cubicBezTo>
                      <a:pt x="198701" y="354048"/>
                      <a:pt x="217160" y="351651"/>
                      <a:pt x="235619" y="350452"/>
                    </a:cubicBezTo>
                    <a:lnTo>
                      <a:pt x="235619" y="285126"/>
                    </a:lnTo>
                    <a:close/>
                    <a:moveTo>
                      <a:pt x="51476" y="285126"/>
                    </a:moveTo>
                    <a:cubicBezTo>
                      <a:pt x="55978" y="322733"/>
                      <a:pt x="70536" y="357344"/>
                      <a:pt x="92297" y="386261"/>
                    </a:cubicBezTo>
                    <a:cubicBezTo>
                      <a:pt x="105353" y="380268"/>
                      <a:pt x="118560" y="375174"/>
                      <a:pt x="132217" y="370679"/>
                    </a:cubicBezTo>
                    <a:cubicBezTo>
                      <a:pt x="125764" y="343860"/>
                      <a:pt x="121562" y="314942"/>
                      <a:pt x="120211" y="285126"/>
                    </a:cubicBezTo>
                    <a:close/>
                    <a:moveTo>
                      <a:pt x="453242" y="253965"/>
                    </a:moveTo>
                    <a:cubicBezTo>
                      <a:pt x="457443" y="253965"/>
                      <a:pt x="461645" y="254714"/>
                      <a:pt x="465697" y="256362"/>
                    </a:cubicBezTo>
                    <a:lnTo>
                      <a:pt x="581247" y="300407"/>
                    </a:lnTo>
                    <a:cubicBezTo>
                      <a:pt x="595953" y="305951"/>
                      <a:pt x="604957" y="320782"/>
                      <a:pt x="603456" y="336363"/>
                    </a:cubicBezTo>
                    <a:cubicBezTo>
                      <a:pt x="593402" y="438687"/>
                      <a:pt x="530075" y="582659"/>
                      <a:pt x="453242" y="582659"/>
                    </a:cubicBezTo>
                    <a:cubicBezTo>
                      <a:pt x="376408" y="582659"/>
                      <a:pt x="313081" y="438687"/>
                      <a:pt x="303027" y="336363"/>
                    </a:cubicBezTo>
                    <a:cubicBezTo>
                      <a:pt x="301526" y="320782"/>
                      <a:pt x="310530" y="305951"/>
                      <a:pt x="325236" y="300407"/>
                    </a:cubicBezTo>
                    <a:lnTo>
                      <a:pt x="440786" y="256362"/>
                    </a:lnTo>
                    <a:cubicBezTo>
                      <a:pt x="444838" y="254714"/>
                      <a:pt x="449040" y="253965"/>
                      <a:pt x="453242" y="253965"/>
                    </a:cubicBezTo>
                    <a:close/>
                    <a:moveTo>
                      <a:pt x="338422" y="162865"/>
                    </a:moveTo>
                    <a:cubicBezTo>
                      <a:pt x="321013" y="166311"/>
                      <a:pt x="303304" y="168558"/>
                      <a:pt x="285595" y="169607"/>
                    </a:cubicBezTo>
                    <a:lnTo>
                      <a:pt x="285595" y="235083"/>
                    </a:lnTo>
                    <a:lnTo>
                      <a:pt x="348627" y="235083"/>
                    </a:lnTo>
                    <a:cubicBezTo>
                      <a:pt x="347276" y="209761"/>
                      <a:pt x="343824" y="185339"/>
                      <a:pt x="338422" y="162865"/>
                    </a:cubicBezTo>
                    <a:close/>
                    <a:moveTo>
                      <a:pt x="180542" y="162415"/>
                    </a:moveTo>
                    <a:cubicBezTo>
                      <a:pt x="175139" y="185040"/>
                      <a:pt x="171687" y="209612"/>
                      <a:pt x="170186" y="235083"/>
                    </a:cubicBezTo>
                    <a:lnTo>
                      <a:pt x="235619" y="235083"/>
                    </a:lnTo>
                    <a:lnTo>
                      <a:pt x="235619" y="169607"/>
                    </a:lnTo>
                    <a:cubicBezTo>
                      <a:pt x="217160" y="168558"/>
                      <a:pt x="198701" y="166161"/>
                      <a:pt x="180542" y="162415"/>
                    </a:cubicBezTo>
                    <a:close/>
                    <a:moveTo>
                      <a:pt x="92297" y="133948"/>
                    </a:moveTo>
                    <a:cubicBezTo>
                      <a:pt x="70536" y="162865"/>
                      <a:pt x="55978" y="197475"/>
                      <a:pt x="51476" y="235083"/>
                    </a:cubicBezTo>
                    <a:lnTo>
                      <a:pt x="120211" y="235083"/>
                    </a:lnTo>
                    <a:cubicBezTo>
                      <a:pt x="121562" y="205117"/>
                      <a:pt x="125764" y="176349"/>
                      <a:pt x="132217" y="149530"/>
                    </a:cubicBezTo>
                    <a:cubicBezTo>
                      <a:pt x="118560" y="145035"/>
                      <a:pt x="105353" y="139791"/>
                      <a:pt x="92297" y="133948"/>
                    </a:cubicBezTo>
                    <a:close/>
                    <a:moveTo>
                      <a:pt x="159231" y="75814"/>
                    </a:moveTo>
                    <a:cubicBezTo>
                      <a:pt x="148875" y="81657"/>
                      <a:pt x="138970" y="88249"/>
                      <a:pt x="129666" y="95591"/>
                    </a:cubicBezTo>
                    <a:cubicBezTo>
                      <a:pt x="135519" y="97839"/>
                      <a:pt x="141372" y="100086"/>
                      <a:pt x="147225" y="102034"/>
                    </a:cubicBezTo>
                    <a:cubicBezTo>
                      <a:pt x="151277" y="91845"/>
                      <a:pt x="155179" y="83605"/>
                      <a:pt x="159231" y="75814"/>
                    </a:cubicBezTo>
                    <a:close/>
                    <a:moveTo>
                      <a:pt x="358682" y="74165"/>
                    </a:moveTo>
                    <a:cubicBezTo>
                      <a:pt x="363184" y="82556"/>
                      <a:pt x="367386" y="91546"/>
                      <a:pt x="371888" y="102783"/>
                    </a:cubicBezTo>
                    <a:cubicBezTo>
                      <a:pt x="378492" y="100536"/>
                      <a:pt x="385095" y="98138"/>
                      <a:pt x="391548" y="95591"/>
                    </a:cubicBezTo>
                    <a:cubicBezTo>
                      <a:pt x="381343" y="87500"/>
                      <a:pt x="370238" y="80309"/>
                      <a:pt x="358682" y="74165"/>
                    </a:cubicBezTo>
                    <a:close/>
                    <a:moveTo>
                      <a:pt x="285595" y="60381"/>
                    </a:moveTo>
                    <a:lnTo>
                      <a:pt x="285595" y="119864"/>
                    </a:lnTo>
                    <a:cubicBezTo>
                      <a:pt x="298051" y="118965"/>
                      <a:pt x="310507" y="117466"/>
                      <a:pt x="322964" y="115219"/>
                    </a:cubicBezTo>
                    <a:cubicBezTo>
                      <a:pt x="314559" y="95741"/>
                      <a:pt x="302253" y="73566"/>
                      <a:pt x="285595" y="60381"/>
                    </a:cubicBezTo>
                    <a:close/>
                    <a:moveTo>
                      <a:pt x="235619" y="58583"/>
                    </a:moveTo>
                    <a:cubicBezTo>
                      <a:pt x="217910" y="71469"/>
                      <a:pt x="204704" y="94692"/>
                      <a:pt x="196149" y="114769"/>
                    </a:cubicBezTo>
                    <a:cubicBezTo>
                      <a:pt x="209206" y="117167"/>
                      <a:pt x="222413" y="118965"/>
                      <a:pt x="235619" y="119864"/>
                    </a:cubicBezTo>
                    <a:close/>
                    <a:moveTo>
                      <a:pt x="259482" y="0"/>
                    </a:moveTo>
                    <a:lnTo>
                      <a:pt x="260532" y="0"/>
                    </a:lnTo>
                    <a:cubicBezTo>
                      <a:pt x="399953" y="0"/>
                      <a:pt x="514161" y="109825"/>
                      <a:pt x="520914" y="247369"/>
                    </a:cubicBezTo>
                    <a:lnTo>
                      <a:pt x="475741" y="230138"/>
                    </a:lnTo>
                    <a:cubicBezTo>
                      <a:pt x="473340" y="229239"/>
                      <a:pt x="471089" y="228640"/>
                      <a:pt x="468688" y="228041"/>
                    </a:cubicBezTo>
                    <a:cubicBezTo>
                      <a:pt x="463285" y="193130"/>
                      <a:pt x="449328" y="160917"/>
                      <a:pt x="428917" y="133948"/>
                    </a:cubicBezTo>
                    <a:cubicBezTo>
                      <a:pt x="415260" y="140240"/>
                      <a:pt x="401153" y="145634"/>
                      <a:pt x="386746" y="150279"/>
                    </a:cubicBezTo>
                    <a:cubicBezTo>
                      <a:pt x="393199" y="176799"/>
                      <a:pt x="397251" y="205416"/>
                      <a:pt x="398752" y="235083"/>
                    </a:cubicBezTo>
                    <a:lnTo>
                      <a:pt x="417812" y="235083"/>
                    </a:lnTo>
                    <a:lnTo>
                      <a:pt x="315310" y="274188"/>
                    </a:lnTo>
                    <a:cubicBezTo>
                      <a:pt x="308556" y="276885"/>
                      <a:pt x="302403" y="280481"/>
                      <a:pt x="297001" y="285126"/>
                    </a:cubicBezTo>
                    <a:lnTo>
                      <a:pt x="285595" y="285126"/>
                    </a:lnTo>
                    <a:lnTo>
                      <a:pt x="285595" y="297861"/>
                    </a:lnTo>
                    <a:cubicBezTo>
                      <a:pt x="277641" y="309698"/>
                      <a:pt x="273589" y="324231"/>
                      <a:pt x="275089" y="339065"/>
                    </a:cubicBezTo>
                    <a:cubicBezTo>
                      <a:pt x="277040" y="358992"/>
                      <a:pt x="280792" y="379669"/>
                      <a:pt x="285895" y="400345"/>
                    </a:cubicBezTo>
                    <a:cubicBezTo>
                      <a:pt x="285745" y="400345"/>
                      <a:pt x="285745" y="400345"/>
                      <a:pt x="285595" y="400345"/>
                    </a:cubicBezTo>
                    <a:lnTo>
                      <a:pt x="285595" y="459828"/>
                    </a:lnTo>
                    <a:cubicBezTo>
                      <a:pt x="290397" y="456082"/>
                      <a:pt x="295050" y="451288"/>
                      <a:pt x="299552" y="445594"/>
                    </a:cubicBezTo>
                    <a:cubicBezTo>
                      <a:pt x="307656" y="468818"/>
                      <a:pt x="317411" y="491142"/>
                      <a:pt x="328516" y="511219"/>
                    </a:cubicBezTo>
                    <a:cubicBezTo>
                      <a:pt x="305405" y="517512"/>
                      <a:pt x="282893" y="520209"/>
                      <a:pt x="259482" y="520209"/>
                    </a:cubicBezTo>
                    <a:cubicBezTo>
                      <a:pt x="118260" y="520209"/>
                      <a:pt x="0" y="404541"/>
                      <a:pt x="0" y="260104"/>
                    </a:cubicBezTo>
                    <a:cubicBezTo>
                      <a:pt x="0" y="115519"/>
                      <a:pt x="118560" y="0"/>
                      <a:pt x="259482" y="0"/>
                    </a:cubicBezTo>
                    <a:close/>
                  </a:path>
                </a:pathLst>
              </a:custGeom>
              <a:solidFill>
                <a:schemeClr val="accent2">
                  <a:lumMod val="40000"/>
                  <a:lumOff val="60000"/>
                </a:schemeClr>
              </a:solidFill>
              <a:ln w="9525">
                <a:noFill/>
                <a:round/>
                <a:headEnd/>
                <a:tailEnd/>
              </a:ln>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endParaRPr/>
              </a:p>
            </p:txBody>
          </p:sp>
          <p:sp>
            <p:nvSpPr>
              <p:cNvPr id="16" name="îṧliḍê">
                <a:extLst>
                  <a:ext uri="{FF2B5EF4-FFF2-40B4-BE49-F238E27FC236}">
                    <a16:creationId xmlns:a16="http://schemas.microsoft.com/office/drawing/2014/main" id="{D93C77BC-9FBF-459D-A14D-B2EC75A48C2D}"/>
                  </a:ext>
                </a:extLst>
              </p:cNvPr>
              <p:cNvSpPr txBox="1"/>
              <p:nvPr/>
            </p:nvSpPr>
            <p:spPr>
              <a:xfrm>
                <a:off x="4141555" y="4297837"/>
                <a:ext cx="2328027" cy="678094"/>
              </a:xfrm>
              <a:prstGeom prst="rect">
                <a:avLst/>
              </a:prstGeom>
            </p:spPr>
            <p:txBody>
              <a:bodyPr wrap="square" lIns="91440" tIns="45720" rIns="91440" bIns="45720" anchor="t" anchorCtr="0">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lnSpc>
                    <a:spcPct val="120000"/>
                  </a:lnSpc>
                </a:pPr>
                <a:r>
                  <a:rPr lang="zh-CN" altLang="en-US" sz="1100" dirty="0">
                    <a:latin typeface="+mn-ea"/>
                  </a:rPr>
                  <a:t>协作图则着重表现交互对象的静态链接关系。</a:t>
                </a:r>
                <a:endParaRPr lang="en-US" altLang="zh-CN" sz="1100" dirty="0">
                  <a:latin typeface="+mn-ea"/>
                </a:endParaRPr>
              </a:p>
            </p:txBody>
          </p:sp>
        </p:grpSp>
        <p:cxnSp>
          <p:nvCxnSpPr>
            <p:cNvPr id="13" name="直接连接符 12">
              <a:extLst>
                <a:ext uri="{FF2B5EF4-FFF2-40B4-BE49-F238E27FC236}">
                  <a16:creationId xmlns:a16="http://schemas.microsoft.com/office/drawing/2014/main" id="{5BE3A93B-7E01-4C5F-B648-74BBB46100D1}"/>
                </a:ext>
              </a:extLst>
            </p:cNvPr>
            <p:cNvCxnSpPr/>
            <p:nvPr/>
          </p:nvCxnSpPr>
          <p:spPr>
            <a:xfrm>
              <a:off x="6032500" y="4336576"/>
              <a:ext cx="0" cy="916627"/>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4" name="直接连接符 13">
              <a:extLst>
                <a:ext uri="{FF2B5EF4-FFF2-40B4-BE49-F238E27FC236}">
                  <a16:creationId xmlns:a16="http://schemas.microsoft.com/office/drawing/2014/main" id="{EC0AB88D-6B23-4D72-8BC7-5975BE9833FE}"/>
                </a:ext>
              </a:extLst>
            </p:cNvPr>
            <p:cNvCxnSpPr/>
            <p:nvPr/>
          </p:nvCxnSpPr>
          <p:spPr>
            <a:xfrm>
              <a:off x="8928100" y="4336576"/>
              <a:ext cx="0" cy="916627"/>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62" name="e-book_21821">
            <a:extLst>
              <a:ext uri="{FF2B5EF4-FFF2-40B4-BE49-F238E27FC236}">
                <a16:creationId xmlns:a16="http://schemas.microsoft.com/office/drawing/2014/main" id="{EBB4F16B-6FE4-4B85-8056-B746F020F0E3}"/>
              </a:ext>
            </a:extLst>
          </p:cNvPr>
          <p:cNvSpPr/>
          <p:nvPr/>
        </p:nvSpPr>
        <p:spPr>
          <a:xfrm>
            <a:off x="7191575" y="3557973"/>
            <a:ext cx="609685" cy="521433"/>
          </a:xfrm>
          <a:custGeom>
            <a:avLst/>
            <a:gdLst>
              <a:gd name="T0" fmla="*/ 902 w 934"/>
              <a:gd name="T1" fmla="*/ 146 h 800"/>
              <a:gd name="T2" fmla="*/ 843 w 934"/>
              <a:gd name="T3" fmla="*/ 76 h 800"/>
              <a:gd name="T4" fmla="*/ 318 w 934"/>
              <a:gd name="T5" fmla="*/ 146 h 800"/>
              <a:gd name="T6" fmla="*/ 193 w 934"/>
              <a:gd name="T7" fmla="*/ 0 h 800"/>
              <a:gd name="T8" fmla="*/ 32 w 934"/>
              <a:gd name="T9" fmla="*/ 146 h 800"/>
              <a:gd name="T10" fmla="*/ 0 w 934"/>
              <a:gd name="T11" fmla="*/ 202 h 800"/>
              <a:gd name="T12" fmla="*/ 934 w 934"/>
              <a:gd name="T13" fmla="*/ 800 h 800"/>
              <a:gd name="T14" fmla="*/ 902 w 934"/>
              <a:gd name="T15" fmla="*/ 202 h 800"/>
              <a:gd name="T16" fmla="*/ 63 w 934"/>
              <a:gd name="T17" fmla="*/ 177 h 800"/>
              <a:gd name="T18" fmla="*/ 193 w 934"/>
              <a:gd name="T19" fmla="*/ 202 h 800"/>
              <a:gd name="T20" fmla="*/ 90 w 934"/>
              <a:gd name="T21" fmla="*/ 440 h 800"/>
              <a:gd name="T22" fmla="*/ 421 w 934"/>
              <a:gd name="T23" fmla="*/ 440 h 800"/>
              <a:gd name="T24" fmla="*/ 318 w 934"/>
              <a:gd name="T25" fmla="*/ 202 h 800"/>
              <a:gd name="T26" fmla="*/ 452 w 934"/>
              <a:gd name="T27" fmla="*/ 177 h 800"/>
              <a:gd name="T28" fmla="*/ 452 w 934"/>
              <a:gd name="T29" fmla="*/ 746 h 800"/>
              <a:gd name="T30" fmla="*/ 63 w 934"/>
              <a:gd name="T31" fmla="*/ 202 h 800"/>
              <a:gd name="T32" fmla="*/ 812 w 934"/>
              <a:gd name="T33" fmla="*/ 114 h 800"/>
              <a:gd name="T34" fmla="*/ 812 w 934"/>
              <a:gd name="T35" fmla="*/ 162 h 800"/>
              <a:gd name="T36" fmla="*/ 812 w 934"/>
              <a:gd name="T37" fmla="*/ 202 h 800"/>
              <a:gd name="T38" fmla="*/ 483 w 934"/>
              <a:gd name="T39" fmla="*/ 743 h 800"/>
              <a:gd name="T40" fmla="*/ 483 w 934"/>
              <a:gd name="T41" fmla="*/ 177 h 800"/>
              <a:gd name="T42" fmla="*/ 553 w 934"/>
              <a:gd name="T43" fmla="*/ 162 h 800"/>
              <a:gd name="T44" fmla="*/ 871 w 934"/>
              <a:gd name="T45" fmla="*/ 202 h 800"/>
              <a:gd name="T46" fmla="*/ 636 w 934"/>
              <a:gd name="T47" fmla="*/ 746 h 800"/>
              <a:gd name="T48" fmla="*/ 843 w 934"/>
              <a:gd name="T49" fmla="*/ 202 h 800"/>
              <a:gd name="T50" fmla="*/ 871 w 934"/>
              <a:gd name="T51" fmla="*/ 177 h 800"/>
              <a:gd name="T52" fmla="*/ 527 w 934"/>
              <a:gd name="T53" fmla="*/ 602 h 800"/>
              <a:gd name="T54" fmla="*/ 766 w 934"/>
              <a:gd name="T55" fmla="*/ 505 h 800"/>
              <a:gd name="T56" fmla="*/ 527 w 934"/>
              <a:gd name="T57" fmla="*/ 602 h 800"/>
              <a:gd name="T58" fmla="*/ 516 w 934"/>
              <a:gd name="T59" fmla="*/ 656 h 800"/>
              <a:gd name="T60" fmla="*/ 771 w 934"/>
              <a:gd name="T61" fmla="*/ 619 h 800"/>
              <a:gd name="T62" fmla="*/ 531 w 934"/>
              <a:gd name="T63" fmla="*/ 282 h 800"/>
              <a:gd name="T64" fmla="*/ 701 w 934"/>
              <a:gd name="T65" fmla="*/ 202 h 800"/>
              <a:gd name="T66" fmla="*/ 767 w 934"/>
              <a:gd name="T67" fmla="*/ 202 h 800"/>
              <a:gd name="T68" fmla="*/ 531 w 934"/>
              <a:gd name="T69" fmla="*/ 282 h 800"/>
              <a:gd name="T70" fmla="*/ 522 w 934"/>
              <a:gd name="T71" fmla="*/ 331 h 800"/>
              <a:gd name="T72" fmla="*/ 771 w 934"/>
              <a:gd name="T73" fmla="*/ 294 h 800"/>
              <a:gd name="T74" fmla="*/ 530 w 934"/>
              <a:gd name="T75" fmla="*/ 441 h 800"/>
              <a:gd name="T76" fmla="*/ 763 w 934"/>
              <a:gd name="T77" fmla="*/ 344 h 800"/>
              <a:gd name="T78" fmla="*/ 530 w 934"/>
              <a:gd name="T79" fmla="*/ 441 h 800"/>
              <a:gd name="T80" fmla="*/ 522 w 934"/>
              <a:gd name="T81" fmla="*/ 490 h 800"/>
              <a:gd name="T82" fmla="*/ 771 w 934"/>
              <a:gd name="T83" fmla="*/ 453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934" h="800">
                <a:moveTo>
                  <a:pt x="902" y="202"/>
                </a:moveTo>
                <a:lnTo>
                  <a:pt x="902" y="146"/>
                </a:lnTo>
                <a:lnTo>
                  <a:pt x="843" y="146"/>
                </a:lnTo>
                <a:lnTo>
                  <a:pt x="843" y="76"/>
                </a:lnTo>
                <a:lnTo>
                  <a:pt x="466" y="146"/>
                </a:lnTo>
                <a:lnTo>
                  <a:pt x="318" y="146"/>
                </a:lnTo>
                <a:lnTo>
                  <a:pt x="318" y="0"/>
                </a:lnTo>
                <a:lnTo>
                  <a:pt x="193" y="0"/>
                </a:lnTo>
                <a:lnTo>
                  <a:pt x="193" y="146"/>
                </a:lnTo>
                <a:lnTo>
                  <a:pt x="32" y="146"/>
                </a:lnTo>
                <a:lnTo>
                  <a:pt x="32" y="202"/>
                </a:lnTo>
                <a:lnTo>
                  <a:pt x="0" y="202"/>
                </a:lnTo>
                <a:lnTo>
                  <a:pt x="0" y="800"/>
                </a:lnTo>
                <a:lnTo>
                  <a:pt x="934" y="800"/>
                </a:lnTo>
                <a:lnTo>
                  <a:pt x="934" y="202"/>
                </a:lnTo>
                <a:lnTo>
                  <a:pt x="902" y="202"/>
                </a:lnTo>
                <a:close/>
                <a:moveTo>
                  <a:pt x="63" y="202"/>
                </a:moveTo>
                <a:lnTo>
                  <a:pt x="63" y="177"/>
                </a:lnTo>
                <a:lnTo>
                  <a:pt x="193" y="177"/>
                </a:lnTo>
                <a:lnTo>
                  <a:pt x="193" y="202"/>
                </a:lnTo>
                <a:lnTo>
                  <a:pt x="193" y="440"/>
                </a:lnTo>
                <a:lnTo>
                  <a:pt x="90" y="440"/>
                </a:lnTo>
                <a:lnTo>
                  <a:pt x="255" y="605"/>
                </a:lnTo>
                <a:lnTo>
                  <a:pt x="421" y="440"/>
                </a:lnTo>
                <a:lnTo>
                  <a:pt x="318" y="440"/>
                </a:lnTo>
                <a:lnTo>
                  <a:pt x="318" y="202"/>
                </a:lnTo>
                <a:lnTo>
                  <a:pt x="318" y="177"/>
                </a:lnTo>
                <a:lnTo>
                  <a:pt x="452" y="177"/>
                </a:lnTo>
                <a:lnTo>
                  <a:pt x="452" y="202"/>
                </a:lnTo>
                <a:lnTo>
                  <a:pt x="452" y="746"/>
                </a:lnTo>
                <a:lnTo>
                  <a:pt x="63" y="746"/>
                </a:lnTo>
                <a:lnTo>
                  <a:pt x="63" y="202"/>
                </a:lnTo>
                <a:close/>
                <a:moveTo>
                  <a:pt x="636" y="146"/>
                </a:moveTo>
                <a:lnTo>
                  <a:pt x="812" y="114"/>
                </a:lnTo>
                <a:lnTo>
                  <a:pt x="812" y="146"/>
                </a:lnTo>
                <a:lnTo>
                  <a:pt x="812" y="162"/>
                </a:lnTo>
                <a:lnTo>
                  <a:pt x="812" y="177"/>
                </a:lnTo>
                <a:lnTo>
                  <a:pt x="812" y="202"/>
                </a:lnTo>
                <a:lnTo>
                  <a:pt x="812" y="681"/>
                </a:lnTo>
                <a:lnTo>
                  <a:pt x="483" y="743"/>
                </a:lnTo>
                <a:lnTo>
                  <a:pt x="483" y="202"/>
                </a:lnTo>
                <a:lnTo>
                  <a:pt x="483" y="177"/>
                </a:lnTo>
                <a:lnTo>
                  <a:pt x="483" y="175"/>
                </a:lnTo>
                <a:lnTo>
                  <a:pt x="553" y="162"/>
                </a:lnTo>
                <a:lnTo>
                  <a:pt x="636" y="146"/>
                </a:lnTo>
                <a:close/>
                <a:moveTo>
                  <a:pt x="871" y="202"/>
                </a:moveTo>
                <a:lnTo>
                  <a:pt x="871" y="746"/>
                </a:lnTo>
                <a:lnTo>
                  <a:pt x="636" y="746"/>
                </a:lnTo>
                <a:lnTo>
                  <a:pt x="843" y="707"/>
                </a:lnTo>
                <a:lnTo>
                  <a:pt x="843" y="202"/>
                </a:lnTo>
                <a:lnTo>
                  <a:pt x="843" y="177"/>
                </a:lnTo>
                <a:lnTo>
                  <a:pt x="871" y="177"/>
                </a:lnTo>
                <a:lnTo>
                  <a:pt x="871" y="202"/>
                </a:lnTo>
                <a:close/>
                <a:moveTo>
                  <a:pt x="527" y="602"/>
                </a:moveTo>
                <a:lnTo>
                  <a:pt x="519" y="572"/>
                </a:lnTo>
                <a:lnTo>
                  <a:pt x="766" y="505"/>
                </a:lnTo>
                <a:lnTo>
                  <a:pt x="774" y="535"/>
                </a:lnTo>
                <a:lnTo>
                  <a:pt x="527" y="602"/>
                </a:lnTo>
                <a:close/>
                <a:moveTo>
                  <a:pt x="525" y="686"/>
                </a:moveTo>
                <a:lnTo>
                  <a:pt x="516" y="656"/>
                </a:lnTo>
                <a:lnTo>
                  <a:pt x="763" y="589"/>
                </a:lnTo>
                <a:lnTo>
                  <a:pt x="771" y="619"/>
                </a:lnTo>
                <a:lnTo>
                  <a:pt x="525" y="686"/>
                </a:lnTo>
                <a:close/>
                <a:moveTo>
                  <a:pt x="531" y="282"/>
                </a:moveTo>
                <a:lnTo>
                  <a:pt x="522" y="252"/>
                </a:lnTo>
                <a:lnTo>
                  <a:pt x="701" y="202"/>
                </a:lnTo>
                <a:lnTo>
                  <a:pt x="763" y="185"/>
                </a:lnTo>
                <a:lnTo>
                  <a:pt x="767" y="202"/>
                </a:lnTo>
                <a:lnTo>
                  <a:pt x="771" y="215"/>
                </a:lnTo>
                <a:lnTo>
                  <a:pt x="531" y="282"/>
                </a:lnTo>
                <a:close/>
                <a:moveTo>
                  <a:pt x="531" y="361"/>
                </a:moveTo>
                <a:lnTo>
                  <a:pt x="522" y="331"/>
                </a:lnTo>
                <a:lnTo>
                  <a:pt x="763" y="264"/>
                </a:lnTo>
                <a:lnTo>
                  <a:pt x="771" y="294"/>
                </a:lnTo>
                <a:lnTo>
                  <a:pt x="531" y="361"/>
                </a:lnTo>
                <a:close/>
                <a:moveTo>
                  <a:pt x="530" y="441"/>
                </a:moveTo>
                <a:lnTo>
                  <a:pt x="522" y="411"/>
                </a:lnTo>
                <a:lnTo>
                  <a:pt x="763" y="344"/>
                </a:lnTo>
                <a:lnTo>
                  <a:pt x="771" y="374"/>
                </a:lnTo>
                <a:lnTo>
                  <a:pt x="530" y="441"/>
                </a:lnTo>
                <a:close/>
                <a:moveTo>
                  <a:pt x="530" y="520"/>
                </a:moveTo>
                <a:lnTo>
                  <a:pt x="522" y="490"/>
                </a:lnTo>
                <a:lnTo>
                  <a:pt x="763" y="423"/>
                </a:lnTo>
                <a:lnTo>
                  <a:pt x="771" y="453"/>
                </a:lnTo>
                <a:lnTo>
                  <a:pt x="530" y="52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63" name="组合 62">
            <a:extLst>
              <a:ext uri="{FF2B5EF4-FFF2-40B4-BE49-F238E27FC236}">
                <a16:creationId xmlns:a16="http://schemas.microsoft.com/office/drawing/2014/main" id="{75A8FE5E-D06C-4F5D-B55F-34FF5CBB774C}"/>
              </a:ext>
            </a:extLst>
          </p:cNvPr>
          <p:cNvGrpSpPr/>
          <p:nvPr/>
        </p:nvGrpSpPr>
        <p:grpSpPr>
          <a:xfrm>
            <a:off x="10440193" y="68734"/>
            <a:ext cx="1080294" cy="1067017"/>
            <a:chOff x="4239419" y="1802606"/>
            <a:chExt cx="3713163" cy="3938588"/>
          </a:xfrm>
        </p:grpSpPr>
        <p:sp>
          <p:nvSpPr>
            <p:cNvPr id="64" name="Freeform 5">
              <a:extLst>
                <a:ext uri="{FF2B5EF4-FFF2-40B4-BE49-F238E27FC236}">
                  <a16:creationId xmlns:a16="http://schemas.microsoft.com/office/drawing/2014/main" id="{49498571-439B-47FE-B0EB-2CC41645BFE0}"/>
                </a:ext>
              </a:extLst>
            </p:cNvPr>
            <p:cNvSpPr>
              <a:spLocks/>
            </p:cNvSpPr>
            <p:nvPr/>
          </p:nvSpPr>
          <p:spPr bwMode="auto">
            <a:xfrm>
              <a:off x="4888706" y="1837531"/>
              <a:ext cx="3008313" cy="3455988"/>
            </a:xfrm>
            <a:custGeom>
              <a:avLst/>
              <a:gdLst>
                <a:gd name="T0" fmla="*/ 1061 w 1706"/>
                <a:gd name="T1" fmla="*/ 1952 h 1960"/>
                <a:gd name="T2" fmla="*/ 32 w 1706"/>
                <a:gd name="T3" fmla="*/ 1539 h 1960"/>
                <a:gd name="T4" fmla="*/ 9 w 1706"/>
                <a:gd name="T5" fmla="*/ 1485 h 1960"/>
                <a:gd name="T6" fmla="*/ 592 w 1706"/>
                <a:gd name="T7" fmla="*/ 32 h 1960"/>
                <a:gd name="T8" fmla="*/ 646 w 1706"/>
                <a:gd name="T9" fmla="*/ 9 h 1960"/>
                <a:gd name="T10" fmla="*/ 1674 w 1706"/>
                <a:gd name="T11" fmla="*/ 421 h 1960"/>
                <a:gd name="T12" fmla="*/ 1698 w 1706"/>
                <a:gd name="T13" fmla="*/ 475 h 1960"/>
                <a:gd name="T14" fmla="*/ 1115 w 1706"/>
                <a:gd name="T15" fmla="*/ 1929 h 1960"/>
                <a:gd name="T16" fmla="*/ 1061 w 1706"/>
                <a:gd name="T17" fmla="*/ 1952 h 19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06" h="1960">
                  <a:moveTo>
                    <a:pt x="1061" y="1952"/>
                  </a:moveTo>
                  <a:cubicBezTo>
                    <a:pt x="32" y="1539"/>
                    <a:pt x="32" y="1539"/>
                    <a:pt x="32" y="1539"/>
                  </a:cubicBezTo>
                  <a:cubicBezTo>
                    <a:pt x="11" y="1531"/>
                    <a:pt x="0" y="1507"/>
                    <a:pt x="9" y="1485"/>
                  </a:cubicBezTo>
                  <a:cubicBezTo>
                    <a:pt x="592" y="32"/>
                    <a:pt x="592" y="32"/>
                    <a:pt x="592" y="32"/>
                  </a:cubicBezTo>
                  <a:cubicBezTo>
                    <a:pt x="601" y="11"/>
                    <a:pt x="625" y="0"/>
                    <a:pt x="646" y="9"/>
                  </a:cubicBezTo>
                  <a:cubicBezTo>
                    <a:pt x="1674" y="421"/>
                    <a:pt x="1674" y="421"/>
                    <a:pt x="1674" y="421"/>
                  </a:cubicBezTo>
                  <a:cubicBezTo>
                    <a:pt x="1696" y="430"/>
                    <a:pt x="1706" y="454"/>
                    <a:pt x="1698" y="475"/>
                  </a:cubicBezTo>
                  <a:cubicBezTo>
                    <a:pt x="1115" y="1929"/>
                    <a:pt x="1115" y="1929"/>
                    <a:pt x="1115" y="1929"/>
                  </a:cubicBezTo>
                  <a:cubicBezTo>
                    <a:pt x="1106" y="1950"/>
                    <a:pt x="1082" y="1960"/>
                    <a:pt x="1061" y="1952"/>
                  </a:cubicBezTo>
                  <a:close/>
                </a:path>
              </a:pathLst>
            </a:custGeom>
            <a:solidFill>
              <a:srgbClr val="424242">
                <a:alpha val="20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65" name="Freeform 6">
              <a:extLst>
                <a:ext uri="{FF2B5EF4-FFF2-40B4-BE49-F238E27FC236}">
                  <a16:creationId xmlns:a16="http://schemas.microsoft.com/office/drawing/2014/main" id="{1F17D37F-C5F1-4F88-B706-FEA6968230A4}"/>
                </a:ext>
              </a:extLst>
            </p:cNvPr>
            <p:cNvSpPr>
              <a:spLocks/>
            </p:cNvSpPr>
            <p:nvPr/>
          </p:nvSpPr>
          <p:spPr bwMode="auto">
            <a:xfrm>
              <a:off x="4944269" y="1802606"/>
              <a:ext cx="3008313" cy="3455988"/>
            </a:xfrm>
            <a:custGeom>
              <a:avLst/>
              <a:gdLst>
                <a:gd name="T0" fmla="*/ 1061 w 1706"/>
                <a:gd name="T1" fmla="*/ 1952 h 1960"/>
                <a:gd name="T2" fmla="*/ 32 w 1706"/>
                <a:gd name="T3" fmla="*/ 1539 h 1960"/>
                <a:gd name="T4" fmla="*/ 9 w 1706"/>
                <a:gd name="T5" fmla="*/ 1485 h 1960"/>
                <a:gd name="T6" fmla="*/ 592 w 1706"/>
                <a:gd name="T7" fmla="*/ 32 h 1960"/>
                <a:gd name="T8" fmla="*/ 646 w 1706"/>
                <a:gd name="T9" fmla="*/ 9 h 1960"/>
                <a:gd name="T10" fmla="*/ 1674 w 1706"/>
                <a:gd name="T11" fmla="*/ 421 h 1960"/>
                <a:gd name="T12" fmla="*/ 1698 w 1706"/>
                <a:gd name="T13" fmla="*/ 475 h 1960"/>
                <a:gd name="T14" fmla="*/ 1115 w 1706"/>
                <a:gd name="T15" fmla="*/ 1929 h 1960"/>
                <a:gd name="T16" fmla="*/ 1061 w 1706"/>
                <a:gd name="T17" fmla="*/ 1952 h 19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06" h="1960">
                  <a:moveTo>
                    <a:pt x="1061" y="1952"/>
                  </a:moveTo>
                  <a:cubicBezTo>
                    <a:pt x="32" y="1539"/>
                    <a:pt x="32" y="1539"/>
                    <a:pt x="32" y="1539"/>
                  </a:cubicBezTo>
                  <a:cubicBezTo>
                    <a:pt x="11" y="1531"/>
                    <a:pt x="0" y="1507"/>
                    <a:pt x="9" y="1485"/>
                  </a:cubicBezTo>
                  <a:cubicBezTo>
                    <a:pt x="592" y="32"/>
                    <a:pt x="592" y="32"/>
                    <a:pt x="592" y="32"/>
                  </a:cubicBezTo>
                  <a:cubicBezTo>
                    <a:pt x="601" y="11"/>
                    <a:pt x="625" y="0"/>
                    <a:pt x="646" y="9"/>
                  </a:cubicBezTo>
                  <a:cubicBezTo>
                    <a:pt x="1674" y="421"/>
                    <a:pt x="1674" y="421"/>
                    <a:pt x="1674" y="421"/>
                  </a:cubicBezTo>
                  <a:cubicBezTo>
                    <a:pt x="1696" y="430"/>
                    <a:pt x="1706" y="454"/>
                    <a:pt x="1698" y="475"/>
                  </a:cubicBezTo>
                  <a:cubicBezTo>
                    <a:pt x="1115" y="1929"/>
                    <a:pt x="1115" y="1929"/>
                    <a:pt x="1115" y="1929"/>
                  </a:cubicBezTo>
                  <a:cubicBezTo>
                    <a:pt x="1106" y="1950"/>
                    <a:pt x="1082" y="1960"/>
                    <a:pt x="1061" y="1952"/>
                  </a:cubicBezTo>
                  <a:close/>
                </a:path>
              </a:pathLst>
            </a:custGeom>
            <a:solidFill>
              <a:srgbClr val="E4E4E4"/>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66" name="Freeform 7">
              <a:extLst>
                <a:ext uri="{FF2B5EF4-FFF2-40B4-BE49-F238E27FC236}">
                  <a16:creationId xmlns:a16="http://schemas.microsoft.com/office/drawing/2014/main" id="{DC5C9A6C-881D-4A37-B893-837B67C49988}"/>
                </a:ext>
              </a:extLst>
            </p:cNvPr>
            <p:cNvSpPr>
              <a:spLocks/>
            </p:cNvSpPr>
            <p:nvPr/>
          </p:nvSpPr>
          <p:spPr bwMode="auto">
            <a:xfrm>
              <a:off x="4944269" y="1802606"/>
              <a:ext cx="1427163" cy="2827338"/>
            </a:xfrm>
            <a:custGeom>
              <a:avLst/>
              <a:gdLst>
                <a:gd name="T0" fmla="*/ 194 w 809"/>
                <a:gd name="T1" fmla="*/ 1604 h 1604"/>
                <a:gd name="T2" fmla="*/ 32 w 809"/>
                <a:gd name="T3" fmla="*/ 1539 h 1604"/>
                <a:gd name="T4" fmla="*/ 9 w 809"/>
                <a:gd name="T5" fmla="*/ 1486 h 1604"/>
                <a:gd name="T6" fmla="*/ 592 w 809"/>
                <a:gd name="T7" fmla="*/ 32 h 1604"/>
                <a:gd name="T8" fmla="*/ 646 w 809"/>
                <a:gd name="T9" fmla="*/ 9 h 1604"/>
                <a:gd name="T10" fmla="*/ 809 w 809"/>
                <a:gd name="T11" fmla="*/ 74 h 1604"/>
                <a:gd name="T12" fmla="*/ 195 w 809"/>
                <a:gd name="T13" fmla="*/ 1604 h 1604"/>
                <a:gd name="T14" fmla="*/ 194 w 809"/>
                <a:gd name="T15" fmla="*/ 1604 h 16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9" h="1604">
                  <a:moveTo>
                    <a:pt x="194" y="1604"/>
                  </a:moveTo>
                  <a:cubicBezTo>
                    <a:pt x="32" y="1539"/>
                    <a:pt x="32" y="1539"/>
                    <a:pt x="32" y="1539"/>
                  </a:cubicBezTo>
                  <a:cubicBezTo>
                    <a:pt x="11" y="1531"/>
                    <a:pt x="0" y="1507"/>
                    <a:pt x="9" y="1486"/>
                  </a:cubicBezTo>
                  <a:cubicBezTo>
                    <a:pt x="592" y="32"/>
                    <a:pt x="592" y="32"/>
                    <a:pt x="592" y="32"/>
                  </a:cubicBezTo>
                  <a:cubicBezTo>
                    <a:pt x="601" y="10"/>
                    <a:pt x="625" y="0"/>
                    <a:pt x="646" y="9"/>
                  </a:cubicBezTo>
                  <a:cubicBezTo>
                    <a:pt x="809" y="74"/>
                    <a:pt x="809" y="74"/>
                    <a:pt x="809" y="74"/>
                  </a:cubicBezTo>
                  <a:cubicBezTo>
                    <a:pt x="195" y="1604"/>
                    <a:pt x="195" y="1604"/>
                    <a:pt x="195" y="1604"/>
                  </a:cubicBezTo>
                  <a:cubicBezTo>
                    <a:pt x="195" y="1604"/>
                    <a:pt x="194" y="1604"/>
                    <a:pt x="194" y="1604"/>
                  </a:cubicBezTo>
                  <a:close/>
                </a:path>
              </a:pathLst>
            </a:custGeom>
            <a:solidFill>
              <a:srgbClr val="C1C0BF"/>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67" name="Freeform 8">
              <a:extLst>
                <a:ext uri="{FF2B5EF4-FFF2-40B4-BE49-F238E27FC236}">
                  <a16:creationId xmlns:a16="http://schemas.microsoft.com/office/drawing/2014/main" id="{462462C9-43FD-42F2-BE45-A82CFC1F277E}"/>
                </a:ext>
              </a:extLst>
            </p:cNvPr>
            <p:cNvSpPr>
              <a:spLocks/>
            </p:cNvSpPr>
            <p:nvPr/>
          </p:nvSpPr>
          <p:spPr bwMode="auto">
            <a:xfrm>
              <a:off x="4291806" y="1967706"/>
              <a:ext cx="1431925" cy="2081213"/>
            </a:xfrm>
            <a:custGeom>
              <a:avLst/>
              <a:gdLst>
                <a:gd name="T0" fmla="*/ 775 w 812"/>
                <a:gd name="T1" fmla="*/ 1108 h 1180"/>
                <a:gd name="T2" fmla="*/ 163 w 812"/>
                <a:gd name="T3" fmla="*/ 1178 h 1180"/>
                <a:gd name="T4" fmla="*/ 120 w 812"/>
                <a:gd name="T5" fmla="*/ 1144 h 1180"/>
                <a:gd name="T6" fmla="*/ 2 w 812"/>
                <a:gd name="T7" fmla="*/ 115 h 1180"/>
                <a:gd name="T8" fmla="*/ 36 w 812"/>
                <a:gd name="T9" fmla="*/ 72 h 1180"/>
                <a:gd name="T10" fmla="*/ 649 w 812"/>
                <a:gd name="T11" fmla="*/ 2 h 1180"/>
                <a:gd name="T12" fmla="*/ 692 w 812"/>
                <a:gd name="T13" fmla="*/ 36 h 1180"/>
                <a:gd name="T14" fmla="*/ 809 w 812"/>
                <a:gd name="T15" fmla="*/ 1065 h 1180"/>
                <a:gd name="T16" fmla="*/ 775 w 812"/>
                <a:gd name="T17" fmla="*/ 1108 h 1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2" h="1180">
                  <a:moveTo>
                    <a:pt x="775" y="1108"/>
                  </a:moveTo>
                  <a:cubicBezTo>
                    <a:pt x="163" y="1178"/>
                    <a:pt x="163" y="1178"/>
                    <a:pt x="163" y="1178"/>
                  </a:cubicBezTo>
                  <a:cubicBezTo>
                    <a:pt x="141" y="1180"/>
                    <a:pt x="122" y="1165"/>
                    <a:pt x="120" y="1144"/>
                  </a:cubicBezTo>
                  <a:cubicBezTo>
                    <a:pt x="2" y="115"/>
                    <a:pt x="2" y="115"/>
                    <a:pt x="2" y="115"/>
                  </a:cubicBezTo>
                  <a:cubicBezTo>
                    <a:pt x="0" y="94"/>
                    <a:pt x="15" y="75"/>
                    <a:pt x="36" y="72"/>
                  </a:cubicBezTo>
                  <a:cubicBezTo>
                    <a:pt x="649" y="2"/>
                    <a:pt x="649" y="2"/>
                    <a:pt x="649" y="2"/>
                  </a:cubicBezTo>
                  <a:cubicBezTo>
                    <a:pt x="670" y="0"/>
                    <a:pt x="689" y="15"/>
                    <a:pt x="692" y="36"/>
                  </a:cubicBezTo>
                  <a:cubicBezTo>
                    <a:pt x="809" y="1065"/>
                    <a:pt x="809" y="1065"/>
                    <a:pt x="809" y="1065"/>
                  </a:cubicBezTo>
                  <a:cubicBezTo>
                    <a:pt x="812" y="1086"/>
                    <a:pt x="796" y="1105"/>
                    <a:pt x="775" y="1108"/>
                  </a:cubicBezTo>
                  <a:close/>
                </a:path>
              </a:pathLst>
            </a:custGeom>
            <a:solidFill>
              <a:srgbClr val="424242">
                <a:alpha val="20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68" name="Freeform 9">
              <a:extLst>
                <a:ext uri="{FF2B5EF4-FFF2-40B4-BE49-F238E27FC236}">
                  <a16:creationId xmlns:a16="http://schemas.microsoft.com/office/drawing/2014/main" id="{D29C2FFF-4C93-46D2-BC0F-B5133C6F9D27}"/>
                </a:ext>
              </a:extLst>
            </p:cNvPr>
            <p:cNvSpPr>
              <a:spLocks/>
            </p:cNvSpPr>
            <p:nvPr/>
          </p:nvSpPr>
          <p:spPr bwMode="auto">
            <a:xfrm>
              <a:off x="4334669" y="1918494"/>
              <a:ext cx="1431925" cy="2081213"/>
            </a:xfrm>
            <a:custGeom>
              <a:avLst/>
              <a:gdLst>
                <a:gd name="T0" fmla="*/ 775 w 812"/>
                <a:gd name="T1" fmla="*/ 1108 h 1180"/>
                <a:gd name="T2" fmla="*/ 163 w 812"/>
                <a:gd name="T3" fmla="*/ 1178 h 1180"/>
                <a:gd name="T4" fmla="*/ 120 w 812"/>
                <a:gd name="T5" fmla="*/ 1144 h 1180"/>
                <a:gd name="T6" fmla="*/ 2 w 812"/>
                <a:gd name="T7" fmla="*/ 115 h 1180"/>
                <a:gd name="T8" fmla="*/ 36 w 812"/>
                <a:gd name="T9" fmla="*/ 72 h 1180"/>
                <a:gd name="T10" fmla="*/ 649 w 812"/>
                <a:gd name="T11" fmla="*/ 2 h 1180"/>
                <a:gd name="T12" fmla="*/ 692 w 812"/>
                <a:gd name="T13" fmla="*/ 36 h 1180"/>
                <a:gd name="T14" fmla="*/ 809 w 812"/>
                <a:gd name="T15" fmla="*/ 1065 h 1180"/>
                <a:gd name="T16" fmla="*/ 775 w 812"/>
                <a:gd name="T17" fmla="*/ 1108 h 1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2" h="1180">
                  <a:moveTo>
                    <a:pt x="775" y="1108"/>
                  </a:moveTo>
                  <a:cubicBezTo>
                    <a:pt x="163" y="1178"/>
                    <a:pt x="163" y="1178"/>
                    <a:pt x="163" y="1178"/>
                  </a:cubicBezTo>
                  <a:cubicBezTo>
                    <a:pt x="141" y="1180"/>
                    <a:pt x="122" y="1165"/>
                    <a:pt x="120" y="1144"/>
                  </a:cubicBezTo>
                  <a:cubicBezTo>
                    <a:pt x="2" y="115"/>
                    <a:pt x="2" y="115"/>
                    <a:pt x="2" y="115"/>
                  </a:cubicBezTo>
                  <a:cubicBezTo>
                    <a:pt x="0" y="94"/>
                    <a:pt x="15" y="75"/>
                    <a:pt x="36" y="72"/>
                  </a:cubicBezTo>
                  <a:cubicBezTo>
                    <a:pt x="649" y="2"/>
                    <a:pt x="649" y="2"/>
                    <a:pt x="649" y="2"/>
                  </a:cubicBezTo>
                  <a:cubicBezTo>
                    <a:pt x="670" y="0"/>
                    <a:pt x="689" y="15"/>
                    <a:pt x="692" y="36"/>
                  </a:cubicBezTo>
                  <a:cubicBezTo>
                    <a:pt x="809" y="1065"/>
                    <a:pt x="809" y="1065"/>
                    <a:pt x="809" y="1065"/>
                  </a:cubicBezTo>
                  <a:cubicBezTo>
                    <a:pt x="812" y="1086"/>
                    <a:pt x="796" y="1105"/>
                    <a:pt x="775" y="1108"/>
                  </a:cubicBezTo>
                  <a:close/>
                </a:path>
              </a:pathLst>
            </a:custGeom>
            <a:solidFill>
              <a:srgbClr val="1B4771"/>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69" name="Freeform 10">
              <a:extLst>
                <a:ext uri="{FF2B5EF4-FFF2-40B4-BE49-F238E27FC236}">
                  <a16:creationId xmlns:a16="http://schemas.microsoft.com/office/drawing/2014/main" id="{CC7863A1-3314-46BE-BAE2-3024A039FF3C}"/>
                </a:ext>
              </a:extLst>
            </p:cNvPr>
            <p:cNvSpPr>
              <a:spLocks/>
            </p:cNvSpPr>
            <p:nvPr/>
          </p:nvSpPr>
          <p:spPr bwMode="auto">
            <a:xfrm>
              <a:off x="4415631" y="1918494"/>
              <a:ext cx="1350963" cy="2071688"/>
            </a:xfrm>
            <a:custGeom>
              <a:avLst/>
              <a:gdLst>
                <a:gd name="T0" fmla="*/ 730 w 766"/>
                <a:gd name="T1" fmla="*/ 1108 h 1175"/>
                <a:gd name="T2" fmla="*/ 162 w 766"/>
                <a:gd name="T3" fmla="*/ 1173 h 1175"/>
                <a:gd name="T4" fmla="*/ 120 w 766"/>
                <a:gd name="T5" fmla="*/ 1140 h 1175"/>
                <a:gd name="T6" fmla="*/ 2 w 766"/>
                <a:gd name="T7" fmla="*/ 109 h 1175"/>
                <a:gd name="T8" fmla="*/ 35 w 766"/>
                <a:gd name="T9" fmla="*/ 67 h 1175"/>
                <a:gd name="T10" fmla="*/ 604 w 766"/>
                <a:gd name="T11" fmla="*/ 2 h 1175"/>
                <a:gd name="T12" fmla="*/ 646 w 766"/>
                <a:gd name="T13" fmla="*/ 35 h 1175"/>
                <a:gd name="T14" fmla="*/ 763 w 766"/>
                <a:gd name="T15" fmla="*/ 1066 h 1175"/>
                <a:gd name="T16" fmla="*/ 730 w 766"/>
                <a:gd name="T17" fmla="*/ 1108 h 1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6" h="1175">
                  <a:moveTo>
                    <a:pt x="730" y="1108"/>
                  </a:moveTo>
                  <a:cubicBezTo>
                    <a:pt x="162" y="1173"/>
                    <a:pt x="162" y="1173"/>
                    <a:pt x="162" y="1173"/>
                  </a:cubicBezTo>
                  <a:cubicBezTo>
                    <a:pt x="141" y="1175"/>
                    <a:pt x="122" y="1160"/>
                    <a:pt x="120" y="1140"/>
                  </a:cubicBezTo>
                  <a:cubicBezTo>
                    <a:pt x="2" y="109"/>
                    <a:pt x="2" y="109"/>
                    <a:pt x="2" y="109"/>
                  </a:cubicBezTo>
                  <a:cubicBezTo>
                    <a:pt x="0" y="88"/>
                    <a:pt x="15" y="69"/>
                    <a:pt x="35" y="67"/>
                  </a:cubicBezTo>
                  <a:cubicBezTo>
                    <a:pt x="604" y="2"/>
                    <a:pt x="604" y="2"/>
                    <a:pt x="604" y="2"/>
                  </a:cubicBezTo>
                  <a:cubicBezTo>
                    <a:pt x="625" y="0"/>
                    <a:pt x="643" y="14"/>
                    <a:pt x="646" y="35"/>
                  </a:cubicBezTo>
                  <a:cubicBezTo>
                    <a:pt x="763" y="1066"/>
                    <a:pt x="763" y="1066"/>
                    <a:pt x="763" y="1066"/>
                  </a:cubicBezTo>
                  <a:cubicBezTo>
                    <a:pt x="766" y="1087"/>
                    <a:pt x="751" y="1105"/>
                    <a:pt x="730" y="1108"/>
                  </a:cubicBezTo>
                  <a:close/>
                </a:path>
              </a:pathLst>
            </a:custGeom>
            <a:solidFill>
              <a:srgbClr val="417DBB"/>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70" name="Freeform 11">
              <a:extLst>
                <a:ext uri="{FF2B5EF4-FFF2-40B4-BE49-F238E27FC236}">
                  <a16:creationId xmlns:a16="http://schemas.microsoft.com/office/drawing/2014/main" id="{DCAD23A9-ADF5-43B2-9015-30B672BE72B0}"/>
                </a:ext>
              </a:extLst>
            </p:cNvPr>
            <p:cNvSpPr>
              <a:spLocks/>
            </p:cNvSpPr>
            <p:nvPr/>
          </p:nvSpPr>
          <p:spPr bwMode="auto">
            <a:xfrm>
              <a:off x="4415631" y="1918494"/>
              <a:ext cx="1209675" cy="819150"/>
            </a:xfrm>
            <a:custGeom>
              <a:avLst/>
              <a:gdLst>
                <a:gd name="T0" fmla="*/ 686 w 686"/>
                <a:gd name="T1" fmla="*/ 391 h 465"/>
                <a:gd name="T2" fmla="*/ 646 w 686"/>
                <a:gd name="T3" fmla="*/ 35 h 465"/>
                <a:gd name="T4" fmla="*/ 604 w 686"/>
                <a:gd name="T5" fmla="*/ 2 h 465"/>
                <a:gd name="T6" fmla="*/ 35 w 686"/>
                <a:gd name="T7" fmla="*/ 67 h 465"/>
                <a:gd name="T8" fmla="*/ 2 w 686"/>
                <a:gd name="T9" fmla="*/ 109 h 465"/>
                <a:gd name="T10" fmla="*/ 43 w 686"/>
                <a:gd name="T11" fmla="*/ 465 h 465"/>
                <a:gd name="T12" fmla="*/ 686 w 686"/>
                <a:gd name="T13" fmla="*/ 391 h 465"/>
              </a:gdLst>
              <a:ahLst/>
              <a:cxnLst>
                <a:cxn ang="0">
                  <a:pos x="T0" y="T1"/>
                </a:cxn>
                <a:cxn ang="0">
                  <a:pos x="T2" y="T3"/>
                </a:cxn>
                <a:cxn ang="0">
                  <a:pos x="T4" y="T5"/>
                </a:cxn>
                <a:cxn ang="0">
                  <a:pos x="T6" y="T7"/>
                </a:cxn>
                <a:cxn ang="0">
                  <a:pos x="T8" y="T9"/>
                </a:cxn>
                <a:cxn ang="0">
                  <a:pos x="T10" y="T11"/>
                </a:cxn>
                <a:cxn ang="0">
                  <a:pos x="T12" y="T13"/>
                </a:cxn>
              </a:cxnLst>
              <a:rect l="0" t="0" r="r" b="b"/>
              <a:pathLst>
                <a:path w="686" h="465">
                  <a:moveTo>
                    <a:pt x="686" y="391"/>
                  </a:moveTo>
                  <a:cubicBezTo>
                    <a:pt x="646" y="35"/>
                    <a:pt x="646" y="35"/>
                    <a:pt x="646" y="35"/>
                  </a:cubicBezTo>
                  <a:cubicBezTo>
                    <a:pt x="643" y="14"/>
                    <a:pt x="625" y="0"/>
                    <a:pt x="604" y="2"/>
                  </a:cubicBezTo>
                  <a:cubicBezTo>
                    <a:pt x="35" y="67"/>
                    <a:pt x="35" y="67"/>
                    <a:pt x="35" y="67"/>
                  </a:cubicBezTo>
                  <a:cubicBezTo>
                    <a:pt x="15" y="69"/>
                    <a:pt x="0" y="88"/>
                    <a:pt x="2" y="109"/>
                  </a:cubicBezTo>
                  <a:cubicBezTo>
                    <a:pt x="43" y="465"/>
                    <a:pt x="43" y="465"/>
                    <a:pt x="43" y="465"/>
                  </a:cubicBezTo>
                  <a:lnTo>
                    <a:pt x="686" y="391"/>
                  </a:lnTo>
                  <a:close/>
                </a:path>
              </a:pathLst>
            </a:custGeom>
            <a:solidFill>
              <a:srgbClr val="336290"/>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71" name="Freeform 12">
              <a:extLst>
                <a:ext uri="{FF2B5EF4-FFF2-40B4-BE49-F238E27FC236}">
                  <a16:creationId xmlns:a16="http://schemas.microsoft.com/office/drawing/2014/main" id="{968A4EE0-983F-4E70-8B9C-5E004F41BC86}"/>
                </a:ext>
              </a:extLst>
            </p:cNvPr>
            <p:cNvSpPr>
              <a:spLocks/>
            </p:cNvSpPr>
            <p:nvPr/>
          </p:nvSpPr>
          <p:spPr bwMode="auto">
            <a:xfrm>
              <a:off x="4542631" y="2067719"/>
              <a:ext cx="957263" cy="555625"/>
            </a:xfrm>
            <a:custGeom>
              <a:avLst/>
              <a:gdLst>
                <a:gd name="T0" fmla="*/ 527 w 543"/>
                <a:gd name="T1" fmla="*/ 259 h 315"/>
                <a:gd name="T2" fmla="*/ 46 w 543"/>
                <a:gd name="T3" fmla="*/ 314 h 315"/>
                <a:gd name="T4" fmla="*/ 27 w 543"/>
                <a:gd name="T5" fmla="*/ 299 h 315"/>
                <a:gd name="T6" fmla="*/ 1 w 543"/>
                <a:gd name="T7" fmla="*/ 75 h 315"/>
                <a:gd name="T8" fmla="*/ 16 w 543"/>
                <a:gd name="T9" fmla="*/ 56 h 315"/>
                <a:gd name="T10" fmla="*/ 498 w 543"/>
                <a:gd name="T11" fmla="*/ 1 h 315"/>
                <a:gd name="T12" fmla="*/ 516 w 543"/>
                <a:gd name="T13" fmla="*/ 16 h 315"/>
                <a:gd name="T14" fmla="*/ 542 w 543"/>
                <a:gd name="T15" fmla="*/ 241 h 315"/>
                <a:gd name="T16" fmla="*/ 527 w 543"/>
                <a:gd name="T17" fmla="*/ 259 h 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3" h="315">
                  <a:moveTo>
                    <a:pt x="527" y="259"/>
                  </a:moveTo>
                  <a:cubicBezTo>
                    <a:pt x="46" y="314"/>
                    <a:pt x="46" y="314"/>
                    <a:pt x="46" y="314"/>
                  </a:cubicBezTo>
                  <a:cubicBezTo>
                    <a:pt x="36" y="315"/>
                    <a:pt x="28" y="309"/>
                    <a:pt x="27" y="299"/>
                  </a:cubicBezTo>
                  <a:cubicBezTo>
                    <a:pt x="1" y="75"/>
                    <a:pt x="1" y="75"/>
                    <a:pt x="1" y="75"/>
                  </a:cubicBezTo>
                  <a:cubicBezTo>
                    <a:pt x="0" y="66"/>
                    <a:pt x="7" y="57"/>
                    <a:pt x="16" y="56"/>
                  </a:cubicBezTo>
                  <a:cubicBezTo>
                    <a:pt x="498" y="1"/>
                    <a:pt x="498" y="1"/>
                    <a:pt x="498" y="1"/>
                  </a:cubicBezTo>
                  <a:cubicBezTo>
                    <a:pt x="507" y="0"/>
                    <a:pt x="515" y="7"/>
                    <a:pt x="516" y="16"/>
                  </a:cubicBezTo>
                  <a:cubicBezTo>
                    <a:pt x="542" y="241"/>
                    <a:pt x="542" y="241"/>
                    <a:pt x="542" y="241"/>
                  </a:cubicBezTo>
                  <a:cubicBezTo>
                    <a:pt x="543" y="250"/>
                    <a:pt x="536" y="258"/>
                    <a:pt x="527" y="259"/>
                  </a:cubicBezTo>
                  <a:close/>
                </a:path>
              </a:pathLst>
            </a:custGeom>
            <a:solidFill>
              <a:srgbClr val="01B1E9"/>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72" name="Freeform 13">
              <a:extLst>
                <a:ext uri="{FF2B5EF4-FFF2-40B4-BE49-F238E27FC236}">
                  <a16:creationId xmlns:a16="http://schemas.microsoft.com/office/drawing/2014/main" id="{3829E434-1537-4F0E-B23F-623F97883E29}"/>
                </a:ext>
              </a:extLst>
            </p:cNvPr>
            <p:cNvSpPr>
              <a:spLocks/>
            </p:cNvSpPr>
            <p:nvPr/>
          </p:nvSpPr>
          <p:spPr bwMode="auto">
            <a:xfrm>
              <a:off x="5409406" y="2971006"/>
              <a:ext cx="217488" cy="320675"/>
            </a:xfrm>
            <a:custGeom>
              <a:avLst/>
              <a:gdLst>
                <a:gd name="T0" fmla="*/ 95 w 123"/>
                <a:gd name="T1" fmla="*/ 174 h 182"/>
                <a:gd name="T2" fmla="*/ 47 w 123"/>
                <a:gd name="T3" fmla="*/ 180 h 182"/>
                <a:gd name="T4" fmla="*/ 15 w 123"/>
                <a:gd name="T5" fmla="*/ 154 h 182"/>
                <a:gd name="T6" fmla="*/ 2 w 123"/>
                <a:gd name="T7" fmla="*/ 40 h 182"/>
                <a:gd name="T8" fmla="*/ 28 w 123"/>
                <a:gd name="T9" fmla="*/ 7 h 182"/>
                <a:gd name="T10" fmla="*/ 75 w 123"/>
                <a:gd name="T11" fmla="*/ 2 h 182"/>
                <a:gd name="T12" fmla="*/ 108 w 123"/>
                <a:gd name="T13" fmla="*/ 28 h 182"/>
                <a:gd name="T14" fmla="*/ 121 w 123"/>
                <a:gd name="T15" fmla="*/ 142 h 182"/>
                <a:gd name="T16" fmla="*/ 95 w 123"/>
                <a:gd name="T17" fmla="*/ 174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182">
                  <a:moveTo>
                    <a:pt x="95" y="174"/>
                  </a:moveTo>
                  <a:cubicBezTo>
                    <a:pt x="47" y="180"/>
                    <a:pt x="47" y="180"/>
                    <a:pt x="47" y="180"/>
                  </a:cubicBezTo>
                  <a:cubicBezTo>
                    <a:pt x="31" y="182"/>
                    <a:pt x="16" y="170"/>
                    <a:pt x="15" y="154"/>
                  </a:cubicBezTo>
                  <a:cubicBezTo>
                    <a:pt x="2" y="40"/>
                    <a:pt x="2" y="40"/>
                    <a:pt x="2" y="40"/>
                  </a:cubicBezTo>
                  <a:cubicBezTo>
                    <a:pt x="0" y="24"/>
                    <a:pt x="11" y="9"/>
                    <a:pt x="28" y="7"/>
                  </a:cubicBezTo>
                  <a:cubicBezTo>
                    <a:pt x="75" y="2"/>
                    <a:pt x="75" y="2"/>
                    <a:pt x="75" y="2"/>
                  </a:cubicBezTo>
                  <a:cubicBezTo>
                    <a:pt x="91" y="0"/>
                    <a:pt x="106" y="11"/>
                    <a:pt x="108" y="28"/>
                  </a:cubicBezTo>
                  <a:cubicBezTo>
                    <a:pt x="121" y="142"/>
                    <a:pt x="121" y="142"/>
                    <a:pt x="121" y="142"/>
                  </a:cubicBezTo>
                  <a:cubicBezTo>
                    <a:pt x="123" y="158"/>
                    <a:pt x="111" y="172"/>
                    <a:pt x="95" y="174"/>
                  </a:cubicBezTo>
                  <a:close/>
                </a:path>
              </a:pathLst>
            </a:custGeom>
            <a:solidFill>
              <a:srgbClr val="06AEED"/>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73" name="Freeform 14">
              <a:extLst>
                <a:ext uri="{FF2B5EF4-FFF2-40B4-BE49-F238E27FC236}">
                  <a16:creationId xmlns:a16="http://schemas.microsoft.com/office/drawing/2014/main" id="{CBF98C65-653A-4E3F-9BBC-1DB11A538DFB}"/>
                </a:ext>
              </a:extLst>
            </p:cNvPr>
            <p:cNvSpPr>
              <a:spLocks/>
            </p:cNvSpPr>
            <p:nvPr/>
          </p:nvSpPr>
          <p:spPr bwMode="auto">
            <a:xfrm>
              <a:off x="5447506" y="3309144"/>
              <a:ext cx="200025" cy="168275"/>
            </a:xfrm>
            <a:custGeom>
              <a:avLst/>
              <a:gdLst>
                <a:gd name="T0" fmla="*/ 85 w 114"/>
                <a:gd name="T1" fmla="*/ 1 h 95"/>
                <a:gd name="T2" fmla="*/ 20 w 114"/>
                <a:gd name="T3" fmla="*/ 8 h 95"/>
                <a:gd name="T4" fmla="*/ 2 w 114"/>
                <a:gd name="T5" fmla="*/ 31 h 95"/>
                <a:gd name="T6" fmla="*/ 7 w 114"/>
                <a:gd name="T7" fmla="*/ 75 h 95"/>
                <a:gd name="T8" fmla="*/ 30 w 114"/>
                <a:gd name="T9" fmla="*/ 93 h 95"/>
                <a:gd name="T10" fmla="*/ 94 w 114"/>
                <a:gd name="T11" fmla="*/ 86 h 95"/>
                <a:gd name="T12" fmla="*/ 113 w 114"/>
                <a:gd name="T13" fmla="*/ 63 h 95"/>
                <a:gd name="T14" fmla="*/ 108 w 114"/>
                <a:gd name="T15" fmla="*/ 19 h 95"/>
                <a:gd name="T16" fmla="*/ 85 w 114"/>
                <a:gd name="T17" fmla="*/ 1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4" h="95">
                  <a:moveTo>
                    <a:pt x="85" y="1"/>
                  </a:moveTo>
                  <a:cubicBezTo>
                    <a:pt x="20" y="8"/>
                    <a:pt x="20" y="8"/>
                    <a:pt x="20" y="8"/>
                  </a:cubicBezTo>
                  <a:cubicBezTo>
                    <a:pt x="8" y="10"/>
                    <a:pt x="0" y="20"/>
                    <a:pt x="2" y="31"/>
                  </a:cubicBezTo>
                  <a:cubicBezTo>
                    <a:pt x="7" y="75"/>
                    <a:pt x="7" y="75"/>
                    <a:pt x="7" y="75"/>
                  </a:cubicBezTo>
                  <a:cubicBezTo>
                    <a:pt x="8" y="86"/>
                    <a:pt x="18" y="95"/>
                    <a:pt x="30" y="93"/>
                  </a:cubicBezTo>
                  <a:cubicBezTo>
                    <a:pt x="94" y="86"/>
                    <a:pt x="94" y="86"/>
                    <a:pt x="94" y="86"/>
                  </a:cubicBezTo>
                  <a:cubicBezTo>
                    <a:pt x="106" y="85"/>
                    <a:pt x="114" y="74"/>
                    <a:pt x="113" y="63"/>
                  </a:cubicBezTo>
                  <a:cubicBezTo>
                    <a:pt x="108" y="19"/>
                    <a:pt x="108" y="19"/>
                    <a:pt x="108" y="19"/>
                  </a:cubicBezTo>
                  <a:cubicBezTo>
                    <a:pt x="106" y="8"/>
                    <a:pt x="96" y="0"/>
                    <a:pt x="85" y="1"/>
                  </a:cubicBezTo>
                  <a:close/>
                </a:path>
              </a:pathLst>
            </a:custGeom>
            <a:solidFill>
              <a:srgbClr val="06AEED"/>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74" name="Freeform 15">
              <a:extLst>
                <a:ext uri="{FF2B5EF4-FFF2-40B4-BE49-F238E27FC236}">
                  <a16:creationId xmlns:a16="http://schemas.microsoft.com/office/drawing/2014/main" id="{733B60C6-AAEE-4FC5-B0FF-7E19B8C3EEE0}"/>
                </a:ext>
              </a:extLst>
            </p:cNvPr>
            <p:cNvSpPr>
              <a:spLocks/>
            </p:cNvSpPr>
            <p:nvPr/>
          </p:nvSpPr>
          <p:spPr bwMode="auto">
            <a:xfrm>
              <a:off x="5469731" y="3505994"/>
              <a:ext cx="201613" cy="166688"/>
            </a:xfrm>
            <a:custGeom>
              <a:avLst/>
              <a:gdLst>
                <a:gd name="T0" fmla="*/ 84 w 114"/>
                <a:gd name="T1" fmla="*/ 1 h 95"/>
                <a:gd name="T2" fmla="*/ 20 w 114"/>
                <a:gd name="T3" fmla="*/ 8 h 95"/>
                <a:gd name="T4" fmla="*/ 1 w 114"/>
                <a:gd name="T5" fmla="*/ 31 h 95"/>
                <a:gd name="T6" fmla="*/ 6 w 114"/>
                <a:gd name="T7" fmla="*/ 75 h 95"/>
                <a:gd name="T8" fmla="*/ 29 w 114"/>
                <a:gd name="T9" fmla="*/ 93 h 95"/>
                <a:gd name="T10" fmla="*/ 94 w 114"/>
                <a:gd name="T11" fmla="*/ 86 h 95"/>
                <a:gd name="T12" fmla="*/ 112 w 114"/>
                <a:gd name="T13" fmla="*/ 63 h 95"/>
                <a:gd name="T14" fmla="*/ 107 w 114"/>
                <a:gd name="T15" fmla="*/ 19 h 95"/>
                <a:gd name="T16" fmla="*/ 84 w 114"/>
                <a:gd name="T17" fmla="*/ 1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4" h="95">
                  <a:moveTo>
                    <a:pt x="84" y="1"/>
                  </a:moveTo>
                  <a:cubicBezTo>
                    <a:pt x="20" y="8"/>
                    <a:pt x="20" y="8"/>
                    <a:pt x="20" y="8"/>
                  </a:cubicBezTo>
                  <a:cubicBezTo>
                    <a:pt x="8" y="10"/>
                    <a:pt x="0" y="20"/>
                    <a:pt x="1" y="31"/>
                  </a:cubicBezTo>
                  <a:cubicBezTo>
                    <a:pt x="6" y="75"/>
                    <a:pt x="6" y="75"/>
                    <a:pt x="6" y="75"/>
                  </a:cubicBezTo>
                  <a:cubicBezTo>
                    <a:pt x="8" y="86"/>
                    <a:pt x="18" y="95"/>
                    <a:pt x="29" y="93"/>
                  </a:cubicBezTo>
                  <a:cubicBezTo>
                    <a:pt x="94" y="86"/>
                    <a:pt x="94" y="86"/>
                    <a:pt x="94" y="86"/>
                  </a:cubicBezTo>
                  <a:cubicBezTo>
                    <a:pt x="106" y="85"/>
                    <a:pt x="114" y="74"/>
                    <a:pt x="112" y="63"/>
                  </a:cubicBezTo>
                  <a:cubicBezTo>
                    <a:pt x="107" y="19"/>
                    <a:pt x="107" y="19"/>
                    <a:pt x="107" y="19"/>
                  </a:cubicBezTo>
                  <a:cubicBezTo>
                    <a:pt x="106" y="8"/>
                    <a:pt x="96" y="0"/>
                    <a:pt x="84" y="1"/>
                  </a:cubicBezTo>
                  <a:close/>
                </a:path>
              </a:pathLst>
            </a:custGeom>
            <a:solidFill>
              <a:srgbClr val="06AEED"/>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75" name="Freeform 16">
              <a:extLst>
                <a:ext uri="{FF2B5EF4-FFF2-40B4-BE49-F238E27FC236}">
                  <a16:creationId xmlns:a16="http://schemas.microsoft.com/office/drawing/2014/main" id="{DF7BC5A5-1F61-4D0F-A4E3-ABA96BD6BE2B}"/>
                </a:ext>
              </a:extLst>
            </p:cNvPr>
            <p:cNvSpPr>
              <a:spLocks/>
            </p:cNvSpPr>
            <p:nvPr/>
          </p:nvSpPr>
          <p:spPr bwMode="auto">
            <a:xfrm>
              <a:off x="4669631" y="3053556"/>
              <a:ext cx="196850" cy="133350"/>
            </a:xfrm>
            <a:custGeom>
              <a:avLst/>
              <a:gdLst>
                <a:gd name="T0" fmla="*/ 95 w 112"/>
                <a:gd name="T1" fmla="*/ 66 h 75"/>
                <a:gd name="T2" fmla="*/ 25 w 112"/>
                <a:gd name="T3" fmla="*/ 74 h 75"/>
                <a:gd name="T4" fmla="*/ 5 w 112"/>
                <a:gd name="T5" fmla="*/ 58 h 75"/>
                <a:gd name="T6" fmla="*/ 2 w 112"/>
                <a:gd name="T7" fmla="*/ 29 h 75"/>
                <a:gd name="T8" fmla="*/ 17 w 112"/>
                <a:gd name="T9" fmla="*/ 9 h 75"/>
                <a:gd name="T10" fmla="*/ 88 w 112"/>
                <a:gd name="T11" fmla="*/ 1 h 75"/>
                <a:gd name="T12" fmla="*/ 108 w 112"/>
                <a:gd name="T13" fmla="*/ 17 h 75"/>
                <a:gd name="T14" fmla="*/ 111 w 112"/>
                <a:gd name="T15" fmla="*/ 46 h 75"/>
                <a:gd name="T16" fmla="*/ 95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5" y="66"/>
                  </a:moveTo>
                  <a:cubicBezTo>
                    <a:pt x="25" y="74"/>
                    <a:pt x="25" y="74"/>
                    <a:pt x="25" y="74"/>
                  </a:cubicBezTo>
                  <a:cubicBezTo>
                    <a:pt x="15" y="75"/>
                    <a:pt x="6" y="68"/>
                    <a:pt x="5" y="58"/>
                  </a:cubicBezTo>
                  <a:cubicBezTo>
                    <a:pt x="2" y="29"/>
                    <a:pt x="2" y="29"/>
                    <a:pt x="2" y="29"/>
                  </a:cubicBezTo>
                  <a:cubicBezTo>
                    <a:pt x="0" y="19"/>
                    <a:pt x="7" y="10"/>
                    <a:pt x="17" y="9"/>
                  </a:cubicBezTo>
                  <a:cubicBezTo>
                    <a:pt x="88" y="1"/>
                    <a:pt x="88" y="1"/>
                    <a:pt x="88" y="1"/>
                  </a:cubicBezTo>
                  <a:cubicBezTo>
                    <a:pt x="98" y="0"/>
                    <a:pt x="107" y="7"/>
                    <a:pt x="108" y="17"/>
                  </a:cubicBezTo>
                  <a:cubicBezTo>
                    <a:pt x="111" y="46"/>
                    <a:pt x="111" y="46"/>
                    <a:pt x="111" y="46"/>
                  </a:cubicBezTo>
                  <a:cubicBezTo>
                    <a:pt x="112" y="56"/>
                    <a:pt x="105" y="65"/>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76" name="Freeform 17">
              <a:extLst>
                <a:ext uri="{FF2B5EF4-FFF2-40B4-BE49-F238E27FC236}">
                  <a16:creationId xmlns:a16="http://schemas.microsoft.com/office/drawing/2014/main" id="{D1032C1D-EE1F-45AD-9B96-7E9E440B1765}"/>
                </a:ext>
              </a:extLst>
            </p:cNvPr>
            <p:cNvSpPr>
              <a:spLocks/>
            </p:cNvSpPr>
            <p:nvPr/>
          </p:nvSpPr>
          <p:spPr bwMode="auto">
            <a:xfrm>
              <a:off x="4923631" y="3024981"/>
              <a:ext cx="196850" cy="133350"/>
            </a:xfrm>
            <a:custGeom>
              <a:avLst/>
              <a:gdLst>
                <a:gd name="T0" fmla="*/ 95 w 112"/>
                <a:gd name="T1" fmla="*/ 66 h 75"/>
                <a:gd name="T2" fmla="*/ 24 w 112"/>
                <a:gd name="T3" fmla="*/ 74 h 75"/>
                <a:gd name="T4" fmla="*/ 4 w 112"/>
                <a:gd name="T5" fmla="*/ 58 h 75"/>
                <a:gd name="T6" fmla="*/ 1 w 112"/>
                <a:gd name="T7" fmla="*/ 29 h 75"/>
                <a:gd name="T8" fmla="*/ 16 w 112"/>
                <a:gd name="T9" fmla="*/ 9 h 75"/>
                <a:gd name="T10" fmla="*/ 87 w 112"/>
                <a:gd name="T11" fmla="*/ 1 h 75"/>
                <a:gd name="T12" fmla="*/ 107 w 112"/>
                <a:gd name="T13" fmla="*/ 16 h 75"/>
                <a:gd name="T14" fmla="*/ 110 w 112"/>
                <a:gd name="T15" fmla="*/ 46 h 75"/>
                <a:gd name="T16" fmla="*/ 95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5" y="66"/>
                  </a:moveTo>
                  <a:cubicBezTo>
                    <a:pt x="24" y="74"/>
                    <a:pt x="24" y="74"/>
                    <a:pt x="24" y="74"/>
                  </a:cubicBezTo>
                  <a:cubicBezTo>
                    <a:pt x="14" y="75"/>
                    <a:pt x="5" y="68"/>
                    <a:pt x="4" y="58"/>
                  </a:cubicBezTo>
                  <a:cubicBezTo>
                    <a:pt x="1" y="29"/>
                    <a:pt x="1" y="29"/>
                    <a:pt x="1" y="29"/>
                  </a:cubicBezTo>
                  <a:cubicBezTo>
                    <a:pt x="0" y="19"/>
                    <a:pt x="7" y="10"/>
                    <a:pt x="16" y="9"/>
                  </a:cubicBezTo>
                  <a:cubicBezTo>
                    <a:pt x="87" y="1"/>
                    <a:pt x="87" y="1"/>
                    <a:pt x="87" y="1"/>
                  </a:cubicBezTo>
                  <a:cubicBezTo>
                    <a:pt x="97" y="0"/>
                    <a:pt x="106" y="7"/>
                    <a:pt x="107" y="16"/>
                  </a:cubicBezTo>
                  <a:cubicBezTo>
                    <a:pt x="110" y="46"/>
                    <a:pt x="110" y="46"/>
                    <a:pt x="110" y="46"/>
                  </a:cubicBezTo>
                  <a:cubicBezTo>
                    <a:pt x="112" y="56"/>
                    <a:pt x="104" y="64"/>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77" name="Freeform 18">
              <a:extLst>
                <a:ext uri="{FF2B5EF4-FFF2-40B4-BE49-F238E27FC236}">
                  <a16:creationId xmlns:a16="http://schemas.microsoft.com/office/drawing/2014/main" id="{38D996C4-0EF4-43FF-B91A-A928A1B41B7F}"/>
                </a:ext>
              </a:extLst>
            </p:cNvPr>
            <p:cNvSpPr>
              <a:spLocks/>
            </p:cNvSpPr>
            <p:nvPr/>
          </p:nvSpPr>
          <p:spPr bwMode="auto">
            <a:xfrm>
              <a:off x="5176044" y="2996406"/>
              <a:ext cx="196850" cy="131763"/>
            </a:xfrm>
            <a:custGeom>
              <a:avLst/>
              <a:gdLst>
                <a:gd name="T0" fmla="*/ 95 w 112"/>
                <a:gd name="T1" fmla="*/ 66 h 75"/>
                <a:gd name="T2" fmla="*/ 24 w 112"/>
                <a:gd name="T3" fmla="*/ 74 h 75"/>
                <a:gd name="T4" fmla="*/ 4 w 112"/>
                <a:gd name="T5" fmla="*/ 59 h 75"/>
                <a:gd name="T6" fmla="*/ 1 w 112"/>
                <a:gd name="T7" fmla="*/ 29 h 75"/>
                <a:gd name="T8" fmla="*/ 17 w 112"/>
                <a:gd name="T9" fmla="*/ 10 h 75"/>
                <a:gd name="T10" fmla="*/ 88 w 112"/>
                <a:gd name="T11" fmla="*/ 1 h 75"/>
                <a:gd name="T12" fmla="*/ 107 w 112"/>
                <a:gd name="T13" fmla="*/ 17 h 75"/>
                <a:gd name="T14" fmla="*/ 111 w 112"/>
                <a:gd name="T15" fmla="*/ 47 h 75"/>
                <a:gd name="T16" fmla="*/ 95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5" y="66"/>
                  </a:moveTo>
                  <a:cubicBezTo>
                    <a:pt x="24" y="74"/>
                    <a:pt x="24" y="74"/>
                    <a:pt x="24" y="74"/>
                  </a:cubicBezTo>
                  <a:cubicBezTo>
                    <a:pt x="14" y="75"/>
                    <a:pt x="6" y="68"/>
                    <a:pt x="4" y="59"/>
                  </a:cubicBezTo>
                  <a:cubicBezTo>
                    <a:pt x="1" y="29"/>
                    <a:pt x="1" y="29"/>
                    <a:pt x="1" y="29"/>
                  </a:cubicBezTo>
                  <a:cubicBezTo>
                    <a:pt x="0" y="19"/>
                    <a:pt x="7" y="11"/>
                    <a:pt x="17" y="10"/>
                  </a:cubicBezTo>
                  <a:cubicBezTo>
                    <a:pt x="88" y="1"/>
                    <a:pt x="88" y="1"/>
                    <a:pt x="88" y="1"/>
                  </a:cubicBezTo>
                  <a:cubicBezTo>
                    <a:pt x="97" y="0"/>
                    <a:pt x="106" y="7"/>
                    <a:pt x="107" y="17"/>
                  </a:cubicBezTo>
                  <a:cubicBezTo>
                    <a:pt x="111" y="47"/>
                    <a:pt x="111" y="47"/>
                    <a:pt x="111" y="47"/>
                  </a:cubicBezTo>
                  <a:cubicBezTo>
                    <a:pt x="112" y="56"/>
                    <a:pt x="105" y="65"/>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78" name="Freeform 19">
              <a:extLst>
                <a:ext uri="{FF2B5EF4-FFF2-40B4-BE49-F238E27FC236}">
                  <a16:creationId xmlns:a16="http://schemas.microsoft.com/office/drawing/2014/main" id="{DC972C3F-7422-437F-9FE7-EC4B64D0E80E}"/>
                </a:ext>
              </a:extLst>
            </p:cNvPr>
            <p:cNvSpPr>
              <a:spLocks/>
            </p:cNvSpPr>
            <p:nvPr/>
          </p:nvSpPr>
          <p:spPr bwMode="auto">
            <a:xfrm>
              <a:off x="4691856" y="3242469"/>
              <a:ext cx="196850" cy="131763"/>
            </a:xfrm>
            <a:custGeom>
              <a:avLst/>
              <a:gdLst>
                <a:gd name="T0" fmla="*/ 95 w 111"/>
                <a:gd name="T1" fmla="*/ 66 h 75"/>
                <a:gd name="T2" fmla="*/ 24 w 111"/>
                <a:gd name="T3" fmla="*/ 74 h 75"/>
                <a:gd name="T4" fmla="*/ 4 w 111"/>
                <a:gd name="T5" fmla="*/ 59 h 75"/>
                <a:gd name="T6" fmla="*/ 1 w 111"/>
                <a:gd name="T7" fmla="*/ 29 h 75"/>
                <a:gd name="T8" fmla="*/ 16 w 111"/>
                <a:gd name="T9" fmla="*/ 10 h 75"/>
                <a:gd name="T10" fmla="*/ 87 w 111"/>
                <a:gd name="T11" fmla="*/ 2 h 75"/>
                <a:gd name="T12" fmla="*/ 107 w 111"/>
                <a:gd name="T13" fmla="*/ 17 h 75"/>
                <a:gd name="T14" fmla="*/ 110 w 111"/>
                <a:gd name="T15" fmla="*/ 47 h 75"/>
                <a:gd name="T16" fmla="*/ 95 w 111"/>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1" h="75">
                  <a:moveTo>
                    <a:pt x="95" y="66"/>
                  </a:moveTo>
                  <a:cubicBezTo>
                    <a:pt x="24" y="74"/>
                    <a:pt x="24" y="74"/>
                    <a:pt x="24" y="74"/>
                  </a:cubicBezTo>
                  <a:cubicBezTo>
                    <a:pt x="14" y="75"/>
                    <a:pt x="5" y="68"/>
                    <a:pt x="4" y="59"/>
                  </a:cubicBezTo>
                  <a:cubicBezTo>
                    <a:pt x="1" y="29"/>
                    <a:pt x="1" y="29"/>
                    <a:pt x="1" y="29"/>
                  </a:cubicBezTo>
                  <a:cubicBezTo>
                    <a:pt x="0" y="20"/>
                    <a:pt x="7" y="11"/>
                    <a:pt x="16" y="10"/>
                  </a:cubicBezTo>
                  <a:cubicBezTo>
                    <a:pt x="87" y="2"/>
                    <a:pt x="87" y="2"/>
                    <a:pt x="87" y="2"/>
                  </a:cubicBezTo>
                  <a:cubicBezTo>
                    <a:pt x="97" y="0"/>
                    <a:pt x="106" y="7"/>
                    <a:pt x="107" y="17"/>
                  </a:cubicBezTo>
                  <a:cubicBezTo>
                    <a:pt x="110" y="47"/>
                    <a:pt x="110" y="47"/>
                    <a:pt x="110" y="47"/>
                  </a:cubicBezTo>
                  <a:cubicBezTo>
                    <a:pt x="111" y="56"/>
                    <a:pt x="104" y="65"/>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79" name="Freeform 20">
              <a:extLst>
                <a:ext uri="{FF2B5EF4-FFF2-40B4-BE49-F238E27FC236}">
                  <a16:creationId xmlns:a16="http://schemas.microsoft.com/office/drawing/2014/main" id="{A5B153AB-E6E8-40BC-8CEE-E57642214184}"/>
                </a:ext>
              </a:extLst>
            </p:cNvPr>
            <p:cNvSpPr>
              <a:spLocks/>
            </p:cNvSpPr>
            <p:nvPr/>
          </p:nvSpPr>
          <p:spPr bwMode="auto">
            <a:xfrm>
              <a:off x="4944269" y="3213894"/>
              <a:ext cx="198438" cy="133350"/>
            </a:xfrm>
            <a:custGeom>
              <a:avLst/>
              <a:gdLst>
                <a:gd name="T0" fmla="*/ 95 w 112"/>
                <a:gd name="T1" fmla="*/ 66 h 75"/>
                <a:gd name="T2" fmla="*/ 24 w 112"/>
                <a:gd name="T3" fmla="*/ 74 h 75"/>
                <a:gd name="T4" fmla="*/ 4 w 112"/>
                <a:gd name="T5" fmla="*/ 58 h 75"/>
                <a:gd name="T6" fmla="*/ 1 w 112"/>
                <a:gd name="T7" fmla="*/ 29 h 75"/>
                <a:gd name="T8" fmla="*/ 17 w 112"/>
                <a:gd name="T9" fmla="*/ 9 h 75"/>
                <a:gd name="T10" fmla="*/ 88 w 112"/>
                <a:gd name="T11" fmla="*/ 1 h 75"/>
                <a:gd name="T12" fmla="*/ 107 w 112"/>
                <a:gd name="T13" fmla="*/ 17 h 75"/>
                <a:gd name="T14" fmla="*/ 111 w 112"/>
                <a:gd name="T15" fmla="*/ 46 h 75"/>
                <a:gd name="T16" fmla="*/ 95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5" y="66"/>
                  </a:moveTo>
                  <a:cubicBezTo>
                    <a:pt x="24" y="74"/>
                    <a:pt x="24" y="74"/>
                    <a:pt x="24" y="74"/>
                  </a:cubicBezTo>
                  <a:cubicBezTo>
                    <a:pt x="14" y="75"/>
                    <a:pt x="6" y="68"/>
                    <a:pt x="4" y="58"/>
                  </a:cubicBezTo>
                  <a:cubicBezTo>
                    <a:pt x="1" y="29"/>
                    <a:pt x="1" y="29"/>
                    <a:pt x="1" y="29"/>
                  </a:cubicBezTo>
                  <a:cubicBezTo>
                    <a:pt x="0" y="19"/>
                    <a:pt x="7" y="10"/>
                    <a:pt x="17" y="9"/>
                  </a:cubicBezTo>
                  <a:cubicBezTo>
                    <a:pt x="88" y="1"/>
                    <a:pt x="88" y="1"/>
                    <a:pt x="88" y="1"/>
                  </a:cubicBezTo>
                  <a:cubicBezTo>
                    <a:pt x="97" y="0"/>
                    <a:pt x="106" y="7"/>
                    <a:pt x="107" y="17"/>
                  </a:cubicBezTo>
                  <a:cubicBezTo>
                    <a:pt x="111" y="46"/>
                    <a:pt x="111" y="46"/>
                    <a:pt x="111" y="46"/>
                  </a:cubicBezTo>
                  <a:cubicBezTo>
                    <a:pt x="112" y="56"/>
                    <a:pt x="105" y="65"/>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80" name="Freeform 21">
              <a:extLst>
                <a:ext uri="{FF2B5EF4-FFF2-40B4-BE49-F238E27FC236}">
                  <a16:creationId xmlns:a16="http://schemas.microsoft.com/office/drawing/2014/main" id="{32AE14FE-D424-4997-9AF8-216334D54983}"/>
                </a:ext>
              </a:extLst>
            </p:cNvPr>
            <p:cNvSpPr>
              <a:spLocks/>
            </p:cNvSpPr>
            <p:nvPr/>
          </p:nvSpPr>
          <p:spPr bwMode="auto">
            <a:xfrm>
              <a:off x="5196681" y="3186906"/>
              <a:ext cx="196850" cy="131763"/>
            </a:xfrm>
            <a:custGeom>
              <a:avLst/>
              <a:gdLst>
                <a:gd name="T0" fmla="*/ 95 w 112"/>
                <a:gd name="T1" fmla="*/ 66 h 75"/>
                <a:gd name="T2" fmla="*/ 24 w 112"/>
                <a:gd name="T3" fmla="*/ 74 h 75"/>
                <a:gd name="T4" fmla="*/ 5 w 112"/>
                <a:gd name="T5" fmla="*/ 58 h 75"/>
                <a:gd name="T6" fmla="*/ 1 w 112"/>
                <a:gd name="T7" fmla="*/ 29 h 75"/>
                <a:gd name="T8" fmla="*/ 17 w 112"/>
                <a:gd name="T9" fmla="*/ 9 h 75"/>
                <a:gd name="T10" fmla="*/ 88 w 112"/>
                <a:gd name="T11" fmla="*/ 1 h 75"/>
                <a:gd name="T12" fmla="*/ 108 w 112"/>
                <a:gd name="T13" fmla="*/ 16 h 75"/>
                <a:gd name="T14" fmla="*/ 111 w 112"/>
                <a:gd name="T15" fmla="*/ 46 h 75"/>
                <a:gd name="T16" fmla="*/ 95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5" y="66"/>
                  </a:moveTo>
                  <a:cubicBezTo>
                    <a:pt x="24" y="74"/>
                    <a:pt x="24" y="74"/>
                    <a:pt x="24" y="74"/>
                  </a:cubicBezTo>
                  <a:cubicBezTo>
                    <a:pt x="15" y="75"/>
                    <a:pt x="6" y="68"/>
                    <a:pt x="5" y="58"/>
                  </a:cubicBezTo>
                  <a:cubicBezTo>
                    <a:pt x="1" y="29"/>
                    <a:pt x="1" y="29"/>
                    <a:pt x="1" y="29"/>
                  </a:cubicBezTo>
                  <a:cubicBezTo>
                    <a:pt x="0" y="19"/>
                    <a:pt x="7" y="10"/>
                    <a:pt x="17" y="9"/>
                  </a:cubicBezTo>
                  <a:cubicBezTo>
                    <a:pt x="88" y="1"/>
                    <a:pt x="88" y="1"/>
                    <a:pt x="88" y="1"/>
                  </a:cubicBezTo>
                  <a:cubicBezTo>
                    <a:pt x="98" y="0"/>
                    <a:pt x="106" y="7"/>
                    <a:pt x="108" y="16"/>
                  </a:cubicBezTo>
                  <a:cubicBezTo>
                    <a:pt x="111" y="46"/>
                    <a:pt x="111" y="46"/>
                    <a:pt x="111" y="46"/>
                  </a:cubicBezTo>
                  <a:cubicBezTo>
                    <a:pt x="112" y="56"/>
                    <a:pt x="105" y="64"/>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81" name="Freeform 22">
              <a:extLst>
                <a:ext uri="{FF2B5EF4-FFF2-40B4-BE49-F238E27FC236}">
                  <a16:creationId xmlns:a16="http://schemas.microsoft.com/office/drawing/2014/main" id="{DBD8BC6C-F9D7-4A3F-830E-03E6C53C977A}"/>
                </a:ext>
              </a:extLst>
            </p:cNvPr>
            <p:cNvSpPr>
              <a:spLocks/>
            </p:cNvSpPr>
            <p:nvPr/>
          </p:nvSpPr>
          <p:spPr bwMode="auto">
            <a:xfrm>
              <a:off x="4714081" y="3432969"/>
              <a:ext cx="196850" cy="131763"/>
            </a:xfrm>
            <a:custGeom>
              <a:avLst/>
              <a:gdLst>
                <a:gd name="T0" fmla="*/ 95 w 112"/>
                <a:gd name="T1" fmla="*/ 66 h 75"/>
                <a:gd name="T2" fmla="*/ 24 w 112"/>
                <a:gd name="T3" fmla="*/ 74 h 75"/>
                <a:gd name="T4" fmla="*/ 4 w 112"/>
                <a:gd name="T5" fmla="*/ 58 h 75"/>
                <a:gd name="T6" fmla="*/ 1 w 112"/>
                <a:gd name="T7" fmla="*/ 29 h 75"/>
                <a:gd name="T8" fmla="*/ 17 w 112"/>
                <a:gd name="T9" fmla="*/ 9 h 75"/>
                <a:gd name="T10" fmla="*/ 88 w 112"/>
                <a:gd name="T11" fmla="*/ 1 h 75"/>
                <a:gd name="T12" fmla="*/ 107 w 112"/>
                <a:gd name="T13" fmla="*/ 17 h 75"/>
                <a:gd name="T14" fmla="*/ 111 w 112"/>
                <a:gd name="T15" fmla="*/ 46 h 75"/>
                <a:gd name="T16" fmla="*/ 95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5" y="66"/>
                  </a:moveTo>
                  <a:cubicBezTo>
                    <a:pt x="24" y="74"/>
                    <a:pt x="24" y="74"/>
                    <a:pt x="24" y="74"/>
                  </a:cubicBezTo>
                  <a:cubicBezTo>
                    <a:pt x="14" y="75"/>
                    <a:pt x="6" y="68"/>
                    <a:pt x="4" y="58"/>
                  </a:cubicBezTo>
                  <a:cubicBezTo>
                    <a:pt x="1" y="29"/>
                    <a:pt x="1" y="29"/>
                    <a:pt x="1" y="29"/>
                  </a:cubicBezTo>
                  <a:cubicBezTo>
                    <a:pt x="0" y="19"/>
                    <a:pt x="7" y="10"/>
                    <a:pt x="17" y="9"/>
                  </a:cubicBezTo>
                  <a:cubicBezTo>
                    <a:pt x="88" y="1"/>
                    <a:pt x="88" y="1"/>
                    <a:pt x="88" y="1"/>
                  </a:cubicBezTo>
                  <a:cubicBezTo>
                    <a:pt x="97" y="0"/>
                    <a:pt x="106" y="7"/>
                    <a:pt x="107" y="17"/>
                  </a:cubicBezTo>
                  <a:cubicBezTo>
                    <a:pt x="111" y="46"/>
                    <a:pt x="111" y="46"/>
                    <a:pt x="111" y="46"/>
                  </a:cubicBezTo>
                  <a:cubicBezTo>
                    <a:pt x="112" y="56"/>
                    <a:pt x="105" y="65"/>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82" name="Freeform 23">
              <a:extLst>
                <a:ext uri="{FF2B5EF4-FFF2-40B4-BE49-F238E27FC236}">
                  <a16:creationId xmlns:a16="http://schemas.microsoft.com/office/drawing/2014/main" id="{7DF401F6-7B70-4F0D-8229-6695C5B02026}"/>
                </a:ext>
              </a:extLst>
            </p:cNvPr>
            <p:cNvSpPr>
              <a:spLocks/>
            </p:cNvSpPr>
            <p:nvPr/>
          </p:nvSpPr>
          <p:spPr bwMode="auto">
            <a:xfrm>
              <a:off x="4966494" y="3402806"/>
              <a:ext cx="196850" cy="131763"/>
            </a:xfrm>
            <a:custGeom>
              <a:avLst/>
              <a:gdLst>
                <a:gd name="T0" fmla="*/ 95 w 112"/>
                <a:gd name="T1" fmla="*/ 66 h 75"/>
                <a:gd name="T2" fmla="*/ 24 w 112"/>
                <a:gd name="T3" fmla="*/ 74 h 75"/>
                <a:gd name="T4" fmla="*/ 5 w 112"/>
                <a:gd name="T5" fmla="*/ 59 h 75"/>
                <a:gd name="T6" fmla="*/ 1 w 112"/>
                <a:gd name="T7" fmla="*/ 29 h 75"/>
                <a:gd name="T8" fmla="*/ 17 w 112"/>
                <a:gd name="T9" fmla="*/ 10 h 75"/>
                <a:gd name="T10" fmla="*/ 88 w 112"/>
                <a:gd name="T11" fmla="*/ 2 h 75"/>
                <a:gd name="T12" fmla="*/ 108 w 112"/>
                <a:gd name="T13" fmla="*/ 17 h 75"/>
                <a:gd name="T14" fmla="*/ 111 w 112"/>
                <a:gd name="T15" fmla="*/ 47 h 75"/>
                <a:gd name="T16" fmla="*/ 95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5" y="66"/>
                  </a:moveTo>
                  <a:cubicBezTo>
                    <a:pt x="24" y="74"/>
                    <a:pt x="24" y="74"/>
                    <a:pt x="24" y="74"/>
                  </a:cubicBezTo>
                  <a:cubicBezTo>
                    <a:pt x="15" y="75"/>
                    <a:pt x="6" y="68"/>
                    <a:pt x="5" y="59"/>
                  </a:cubicBezTo>
                  <a:cubicBezTo>
                    <a:pt x="1" y="29"/>
                    <a:pt x="1" y="29"/>
                    <a:pt x="1" y="29"/>
                  </a:cubicBezTo>
                  <a:cubicBezTo>
                    <a:pt x="0" y="20"/>
                    <a:pt x="7" y="11"/>
                    <a:pt x="17" y="10"/>
                  </a:cubicBezTo>
                  <a:cubicBezTo>
                    <a:pt x="88" y="2"/>
                    <a:pt x="88" y="2"/>
                    <a:pt x="88" y="2"/>
                  </a:cubicBezTo>
                  <a:cubicBezTo>
                    <a:pt x="98" y="0"/>
                    <a:pt x="106" y="7"/>
                    <a:pt x="108" y="17"/>
                  </a:cubicBezTo>
                  <a:cubicBezTo>
                    <a:pt x="111" y="47"/>
                    <a:pt x="111" y="47"/>
                    <a:pt x="111" y="47"/>
                  </a:cubicBezTo>
                  <a:cubicBezTo>
                    <a:pt x="112" y="56"/>
                    <a:pt x="105" y="65"/>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83" name="Freeform 24">
              <a:extLst>
                <a:ext uri="{FF2B5EF4-FFF2-40B4-BE49-F238E27FC236}">
                  <a16:creationId xmlns:a16="http://schemas.microsoft.com/office/drawing/2014/main" id="{F36D0758-9814-4FC8-880D-2FECB06177B8}"/>
                </a:ext>
              </a:extLst>
            </p:cNvPr>
            <p:cNvSpPr>
              <a:spLocks/>
            </p:cNvSpPr>
            <p:nvPr/>
          </p:nvSpPr>
          <p:spPr bwMode="auto">
            <a:xfrm>
              <a:off x="5220494" y="3374231"/>
              <a:ext cx="195263" cy="133350"/>
            </a:xfrm>
            <a:custGeom>
              <a:avLst/>
              <a:gdLst>
                <a:gd name="T0" fmla="*/ 95 w 111"/>
                <a:gd name="T1" fmla="*/ 66 h 75"/>
                <a:gd name="T2" fmla="*/ 24 w 111"/>
                <a:gd name="T3" fmla="*/ 74 h 75"/>
                <a:gd name="T4" fmla="*/ 4 w 111"/>
                <a:gd name="T5" fmla="*/ 58 h 75"/>
                <a:gd name="T6" fmla="*/ 1 w 111"/>
                <a:gd name="T7" fmla="*/ 29 h 75"/>
                <a:gd name="T8" fmla="*/ 16 w 111"/>
                <a:gd name="T9" fmla="*/ 9 h 75"/>
                <a:gd name="T10" fmla="*/ 87 w 111"/>
                <a:gd name="T11" fmla="*/ 1 h 75"/>
                <a:gd name="T12" fmla="*/ 107 w 111"/>
                <a:gd name="T13" fmla="*/ 17 h 75"/>
                <a:gd name="T14" fmla="*/ 110 w 111"/>
                <a:gd name="T15" fmla="*/ 46 h 75"/>
                <a:gd name="T16" fmla="*/ 95 w 111"/>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1" h="75">
                  <a:moveTo>
                    <a:pt x="95" y="66"/>
                  </a:moveTo>
                  <a:cubicBezTo>
                    <a:pt x="24" y="74"/>
                    <a:pt x="24" y="74"/>
                    <a:pt x="24" y="74"/>
                  </a:cubicBezTo>
                  <a:cubicBezTo>
                    <a:pt x="14" y="75"/>
                    <a:pt x="5" y="68"/>
                    <a:pt x="4" y="58"/>
                  </a:cubicBezTo>
                  <a:cubicBezTo>
                    <a:pt x="1" y="29"/>
                    <a:pt x="1" y="29"/>
                    <a:pt x="1" y="29"/>
                  </a:cubicBezTo>
                  <a:cubicBezTo>
                    <a:pt x="0" y="19"/>
                    <a:pt x="7" y="10"/>
                    <a:pt x="16" y="9"/>
                  </a:cubicBezTo>
                  <a:cubicBezTo>
                    <a:pt x="87" y="1"/>
                    <a:pt x="87" y="1"/>
                    <a:pt x="87" y="1"/>
                  </a:cubicBezTo>
                  <a:cubicBezTo>
                    <a:pt x="97" y="0"/>
                    <a:pt x="106" y="7"/>
                    <a:pt x="107" y="17"/>
                  </a:cubicBezTo>
                  <a:cubicBezTo>
                    <a:pt x="110" y="46"/>
                    <a:pt x="110" y="46"/>
                    <a:pt x="110" y="46"/>
                  </a:cubicBezTo>
                  <a:cubicBezTo>
                    <a:pt x="111" y="56"/>
                    <a:pt x="104" y="65"/>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84" name="Freeform 25">
              <a:extLst>
                <a:ext uri="{FF2B5EF4-FFF2-40B4-BE49-F238E27FC236}">
                  <a16:creationId xmlns:a16="http://schemas.microsoft.com/office/drawing/2014/main" id="{5670EFE0-D64F-488D-B7D9-58866893B5A5}"/>
                </a:ext>
              </a:extLst>
            </p:cNvPr>
            <p:cNvSpPr>
              <a:spLocks/>
            </p:cNvSpPr>
            <p:nvPr/>
          </p:nvSpPr>
          <p:spPr bwMode="auto">
            <a:xfrm>
              <a:off x="4734719" y="3621881"/>
              <a:ext cx="196850" cy="131763"/>
            </a:xfrm>
            <a:custGeom>
              <a:avLst/>
              <a:gdLst>
                <a:gd name="T0" fmla="*/ 95 w 112"/>
                <a:gd name="T1" fmla="*/ 66 h 75"/>
                <a:gd name="T2" fmla="*/ 24 w 112"/>
                <a:gd name="T3" fmla="*/ 74 h 75"/>
                <a:gd name="T4" fmla="*/ 5 w 112"/>
                <a:gd name="T5" fmla="*/ 58 h 75"/>
                <a:gd name="T6" fmla="*/ 1 w 112"/>
                <a:gd name="T7" fmla="*/ 29 h 75"/>
                <a:gd name="T8" fmla="*/ 17 w 112"/>
                <a:gd name="T9" fmla="*/ 9 h 75"/>
                <a:gd name="T10" fmla="*/ 88 w 112"/>
                <a:gd name="T11" fmla="*/ 1 h 75"/>
                <a:gd name="T12" fmla="*/ 108 w 112"/>
                <a:gd name="T13" fmla="*/ 17 h 75"/>
                <a:gd name="T14" fmla="*/ 111 w 112"/>
                <a:gd name="T15" fmla="*/ 46 h 75"/>
                <a:gd name="T16" fmla="*/ 95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5" y="66"/>
                  </a:moveTo>
                  <a:cubicBezTo>
                    <a:pt x="24" y="74"/>
                    <a:pt x="24" y="74"/>
                    <a:pt x="24" y="74"/>
                  </a:cubicBezTo>
                  <a:cubicBezTo>
                    <a:pt x="15" y="75"/>
                    <a:pt x="6" y="68"/>
                    <a:pt x="5" y="58"/>
                  </a:cubicBezTo>
                  <a:cubicBezTo>
                    <a:pt x="1" y="29"/>
                    <a:pt x="1" y="29"/>
                    <a:pt x="1" y="29"/>
                  </a:cubicBezTo>
                  <a:cubicBezTo>
                    <a:pt x="0" y="19"/>
                    <a:pt x="7" y="10"/>
                    <a:pt x="17" y="9"/>
                  </a:cubicBezTo>
                  <a:cubicBezTo>
                    <a:pt x="88" y="1"/>
                    <a:pt x="88" y="1"/>
                    <a:pt x="88" y="1"/>
                  </a:cubicBezTo>
                  <a:cubicBezTo>
                    <a:pt x="98" y="0"/>
                    <a:pt x="106" y="7"/>
                    <a:pt x="108" y="17"/>
                  </a:cubicBezTo>
                  <a:cubicBezTo>
                    <a:pt x="111" y="46"/>
                    <a:pt x="111" y="46"/>
                    <a:pt x="111" y="46"/>
                  </a:cubicBezTo>
                  <a:cubicBezTo>
                    <a:pt x="112" y="56"/>
                    <a:pt x="105" y="65"/>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85" name="Freeform 26">
              <a:extLst>
                <a:ext uri="{FF2B5EF4-FFF2-40B4-BE49-F238E27FC236}">
                  <a16:creationId xmlns:a16="http://schemas.microsoft.com/office/drawing/2014/main" id="{829A05B5-C429-410F-B578-BAF65FCF4915}"/>
                </a:ext>
              </a:extLst>
            </p:cNvPr>
            <p:cNvSpPr>
              <a:spLocks/>
            </p:cNvSpPr>
            <p:nvPr/>
          </p:nvSpPr>
          <p:spPr bwMode="auto">
            <a:xfrm>
              <a:off x="4987131" y="3593306"/>
              <a:ext cx="196850" cy="131763"/>
            </a:xfrm>
            <a:custGeom>
              <a:avLst/>
              <a:gdLst>
                <a:gd name="T0" fmla="*/ 96 w 112"/>
                <a:gd name="T1" fmla="*/ 66 h 75"/>
                <a:gd name="T2" fmla="*/ 25 w 112"/>
                <a:gd name="T3" fmla="*/ 74 h 75"/>
                <a:gd name="T4" fmla="*/ 5 w 112"/>
                <a:gd name="T5" fmla="*/ 58 h 75"/>
                <a:gd name="T6" fmla="*/ 2 w 112"/>
                <a:gd name="T7" fmla="*/ 29 h 75"/>
                <a:gd name="T8" fmla="*/ 17 w 112"/>
                <a:gd name="T9" fmla="*/ 9 h 75"/>
                <a:gd name="T10" fmla="*/ 88 w 112"/>
                <a:gd name="T11" fmla="*/ 1 h 75"/>
                <a:gd name="T12" fmla="*/ 108 w 112"/>
                <a:gd name="T13" fmla="*/ 16 h 75"/>
                <a:gd name="T14" fmla="*/ 111 w 112"/>
                <a:gd name="T15" fmla="*/ 46 h 75"/>
                <a:gd name="T16" fmla="*/ 96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6" y="66"/>
                  </a:moveTo>
                  <a:cubicBezTo>
                    <a:pt x="25" y="74"/>
                    <a:pt x="25" y="74"/>
                    <a:pt x="25" y="74"/>
                  </a:cubicBezTo>
                  <a:cubicBezTo>
                    <a:pt x="15" y="75"/>
                    <a:pt x="6" y="68"/>
                    <a:pt x="5" y="58"/>
                  </a:cubicBezTo>
                  <a:cubicBezTo>
                    <a:pt x="2" y="29"/>
                    <a:pt x="2" y="29"/>
                    <a:pt x="2" y="29"/>
                  </a:cubicBezTo>
                  <a:cubicBezTo>
                    <a:pt x="0" y="19"/>
                    <a:pt x="7" y="10"/>
                    <a:pt x="17" y="9"/>
                  </a:cubicBezTo>
                  <a:cubicBezTo>
                    <a:pt x="88" y="1"/>
                    <a:pt x="88" y="1"/>
                    <a:pt x="88" y="1"/>
                  </a:cubicBezTo>
                  <a:cubicBezTo>
                    <a:pt x="98" y="0"/>
                    <a:pt x="107" y="7"/>
                    <a:pt x="108" y="16"/>
                  </a:cubicBezTo>
                  <a:cubicBezTo>
                    <a:pt x="111" y="46"/>
                    <a:pt x="111" y="46"/>
                    <a:pt x="111" y="46"/>
                  </a:cubicBezTo>
                  <a:cubicBezTo>
                    <a:pt x="112" y="56"/>
                    <a:pt x="105" y="64"/>
                    <a:pt x="96"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86" name="Freeform 27">
              <a:extLst>
                <a:ext uri="{FF2B5EF4-FFF2-40B4-BE49-F238E27FC236}">
                  <a16:creationId xmlns:a16="http://schemas.microsoft.com/office/drawing/2014/main" id="{373F1C6A-644A-401D-BC3E-7469ED12A724}"/>
                </a:ext>
              </a:extLst>
            </p:cNvPr>
            <p:cNvSpPr>
              <a:spLocks/>
            </p:cNvSpPr>
            <p:nvPr/>
          </p:nvSpPr>
          <p:spPr bwMode="auto">
            <a:xfrm>
              <a:off x="5241131" y="3563144"/>
              <a:ext cx="196850" cy="133350"/>
            </a:xfrm>
            <a:custGeom>
              <a:avLst/>
              <a:gdLst>
                <a:gd name="T0" fmla="*/ 95 w 112"/>
                <a:gd name="T1" fmla="*/ 66 h 75"/>
                <a:gd name="T2" fmla="*/ 24 w 112"/>
                <a:gd name="T3" fmla="*/ 74 h 75"/>
                <a:gd name="T4" fmla="*/ 4 w 112"/>
                <a:gd name="T5" fmla="*/ 59 h 75"/>
                <a:gd name="T6" fmla="*/ 1 w 112"/>
                <a:gd name="T7" fmla="*/ 29 h 75"/>
                <a:gd name="T8" fmla="*/ 17 w 112"/>
                <a:gd name="T9" fmla="*/ 10 h 75"/>
                <a:gd name="T10" fmla="*/ 87 w 112"/>
                <a:gd name="T11" fmla="*/ 1 h 75"/>
                <a:gd name="T12" fmla="*/ 107 w 112"/>
                <a:gd name="T13" fmla="*/ 17 h 75"/>
                <a:gd name="T14" fmla="*/ 110 w 112"/>
                <a:gd name="T15" fmla="*/ 47 h 75"/>
                <a:gd name="T16" fmla="*/ 95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5" y="66"/>
                  </a:moveTo>
                  <a:cubicBezTo>
                    <a:pt x="24" y="74"/>
                    <a:pt x="24" y="74"/>
                    <a:pt x="24" y="74"/>
                  </a:cubicBezTo>
                  <a:cubicBezTo>
                    <a:pt x="14" y="75"/>
                    <a:pt x="5" y="68"/>
                    <a:pt x="4" y="59"/>
                  </a:cubicBezTo>
                  <a:cubicBezTo>
                    <a:pt x="1" y="29"/>
                    <a:pt x="1" y="29"/>
                    <a:pt x="1" y="29"/>
                  </a:cubicBezTo>
                  <a:cubicBezTo>
                    <a:pt x="0" y="20"/>
                    <a:pt x="7" y="11"/>
                    <a:pt x="17" y="10"/>
                  </a:cubicBezTo>
                  <a:cubicBezTo>
                    <a:pt x="87" y="1"/>
                    <a:pt x="87" y="1"/>
                    <a:pt x="87" y="1"/>
                  </a:cubicBezTo>
                  <a:cubicBezTo>
                    <a:pt x="97" y="0"/>
                    <a:pt x="106" y="7"/>
                    <a:pt x="107" y="17"/>
                  </a:cubicBezTo>
                  <a:cubicBezTo>
                    <a:pt x="110" y="47"/>
                    <a:pt x="110" y="47"/>
                    <a:pt x="110" y="47"/>
                  </a:cubicBezTo>
                  <a:cubicBezTo>
                    <a:pt x="112" y="56"/>
                    <a:pt x="105" y="65"/>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87" name="Freeform 28">
              <a:extLst>
                <a:ext uri="{FF2B5EF4-FFF2-40B4-BE49-F238E27FC236}">
                  <a16:creationId xmlns:a16="http://schemas.microsoft.com/office/drawing/2014/main" id="{7AC46396-CE16-47F5-96C0-987541CF761D}"/>
                </a:ext>
              </a:extLst>
            </p:cNvPr>
            <p:cNvSpPr>
              <a:spLocks/>
            </p:cNvSpPr>
            <p:nvPr/>
          </p:nvSpPr>
          <p:spPr bwMode="auto">
            <a:xfrm>
              <a:off x="5865019" y="3144044"/>
              <a:ext cx="652463" cy="684213"/>
            </a:xfrm>
            <a:custGeom>
              <a:avLst/>
              <a:gdLst>
                <a:gd name="T0" fmla="*/ 363 w 370"/>
                <a:gd name="T1" fmla="*/ 265 h 388"/>
                <a:gd name="T2" fmla="*/ 355 w 370"/>
                <a:gd name="T3" fmla="*/ 256 h 388"/>
                <a:gd name="T4" fmla="*/ 355 w 370"/>
                <a:gd name="T5" fmla="*/ 256 h 388"/>
                <a:gd name="T6" fmla="*/ 148 w 370"/>
                <a:gd name="T7" fmla="*/ 21 h 388"/>
                <a:gd name="T8" fmla="*/ 137 w 370"/>
                <a:gd name="T9" fmla="*/ 9 h 388"/>
                <a:gd name="T10" fmla="*/ 110 w 370"/>
                <a:gd name="T11" fmla="*/ 7 h 388"/>
                <a:gd name="T12" fmla="*/ 12 w 370"/>
                <a:gd name="T13" fmla="*/ 93 h 388"/>
                <a:gd name="T14" fmla="*/ 12 w 370"/>
                <a:gd name="T15" fmla="*/ 93 h 388"/>
                <a:gd name="T16" fmla="*/ 10 w 370"/>
                <a:gd name="T17" fmla="*/ 95 h 388"/>
                <a:gd name="T18" fmla="*/ 8 w 370"/>
                <a:gd name="T19" fmla="*/ 125 h 388"/>
                <a:gd name="T20" fmla="*/ 18 w 370"/>
                <a:gd name="T21" fmla="*/ 136 h 388"/>
                <a:gd name="T22" fmla="*/ 18 w 370"/>
                <a:gd name="T23" fmla="*/ 136 h 388"/>
                <a:gd name="T24" fmla="*/ 224 w 370"/>
                <a:gd name="T25" fmla="*/ 371 h 388"/>
                <a:gd name="T26" fmla="*/ 224 w 370"/>
                <a:gd name="T27" fmla="*/ 371 h 388"/>
                <a:gd name="T28" fmla="*/ 231 w 370"/>
                <a:gd name="T29" fmla="*/ 379 h 388"/>
                <a:gd name="T30" fmla="*/ 261 w 370"/>
                <a:gd name="T31" fmla="*/ 380 h 388"/>
                <a:gd name="T32" fmla="*/ 263 w 370"/>
                <a:gd name="T33" fmla="*/ 379 h 388"/>
                <a:gd name="T34" fmla="*/ 263 w 370"/>
                <a:gd name="T35" fmla="*/ 379 h 388"/>
                <a:gd name="T36" fmla="*/ 361 w 370"/>
                <a:gd name="T37" fmla="*/ 292 h 388"/>
                <a:gd name="T38" fmla="*/ 363 w 370"/>
                <a:gd name="T39" fmla="*/ 265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70" h="388">
                  <a:moveTo>
                    <a:pt x="363" y="265"/>
                  </a:moveTo>
                  <a:cubicBezTo>
                    <a:pt x="355" y="256"/>
                    <a:pt x="355" y="256"/>
                    <a:pt x="355" y="256"/>
                  </a:cubicBezTo>
                  <a:cubicBezTo>
                    <a:pt x="355" y="256"/>
                    <a:pt x="355" y="256"/>
                    <a:pt x="355" y="256"/>
                  </a:cubicBezTo>
                  <a:cubicBezTo>
                    <a:pt x="148" y="21"/>
                    <a:pt x="148" y="21"/>
                    <a:pt x="148" y="21"/>
                  </a:cubicBezTo>
                  <a:cubicBezTo>
                    <a:pt x="137" y="9"/>
                    <a:pt x="137" y="9"/>
                    <a:pt x="137" y="9"/>
                  </a:cubicBezTo>
                  <a:cubicBezTo>
                    <a:pt x="130" y="1"/>
                    <a:pt x="118" y="0"/>
                    <a:pt x="110" y="7"/>
                  </a:cubicBezTo>
                  <a:cubicBezTo>
                    <a:pt x="12" y="93"/>
                    <a:pt x="12" y="93"/>
                    <a:pt x="12" y="93"/>
                  </a:cubicBezTo>
                  <a:cubicBezTo>
                    <a:pt x="12" y="93"/>
                    <a:pt x="12" y="93"/>
                    <a:pt x="12" y="93"/>
                  </a:cubicBezTo>
                  <a:cubicBezTo>
                    <a:pt x="10" y="95"/>
                    <a:pt x="10" y="95"/>
                    <a:pt x="10" y="95"/>
                  </a:cubicBezTo>
                  <a:cubicBezTo>
                    <a:pt x="1" y="103"/>
                    <a:pt x="0" y="116"/>
                    <a:pt x="8" y="125"/>
                  </a:cubicBezTo>
                  <a:cubicBezTo>
                    <a:pt x="18" y="136"/>
                    <a:pt x="18" y="136"/>
                    <a:pt x="18" y="136"/>
                  </a:cubicBezTo>
                  <a:cubicBezTo>
                    <a:pt x="18" y="136"/>
                    <a:pt x="18" y="136"/>
                    <a:pt x="18" y="136"/>
                  </a:cubicBezTo>
                  <a:cubicBezTo>
                    <a:pt x="224" y="371"/>
                    <a:pt x="224" y="371"/>
                    <a:pt x="224" y="371"/>
                  </a:cubicBezTo>
                  <a:cubicBezTo>
                    <a:pt x="224" y="371"/>
                    <a:pt x="224" y="371"/>
                    <a:pt x="224" y="371"/>
                  </a:cubicBezTo>
                  <a:cubicBezTo>
                    <a:pt x="231" y="379"/>
                    <a:pt x="231" y="379"/>
                    <a:pt x="231" y="379"/>
                  </a:cubicBezTo>
                  <a:cubicBezTo>
                    <a:pt x="239" y="387"/>
                    <a:pt x="252" y="388"/>
                    <a:pt x="261" y="380"/>
                  </a:cubicBezTo>
                  <a:cubicBezTo>
                    <a:pt x="263" y="379"/>
                    <a:pt x="263" y="379"/>
                    <a:pt x="263" y="379"/>
                  </a:cubicBezTo>
                  <a:cubicBezTo>
                    <a:pt x="263" y="379"/>
                    <a:pt x="263" y="379"/>
                    <a:pt x="263" y="379"/>
                  </a:cubicBezTo>
                  <a:cubicBezTo>
                    <a:pt x="361" y="292"/>
                    <a:pt x="361" y="292"/>
                    <a:pt x="361" y="292"/>
                  </a:cubicBezTo>
                  <a:cubicBezTo>
                    <a:pt x="369" y="285"/>
                    <a:pt x="370" y="273"/>
                    <a:pt x="363" y="265"/>
                  </a:cubicBezTo>
                  <a:close/>
                </a:path>
              </a:pathLst>
            </a:custGeom>
            <a:solidFill>
              <a:srgbClr val="424242">
                <a:alpha val="20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88" name="Freeform 29">
              <a:extLst>
                <a:ext uri="{FF2B5EF4-FFF2-40B4-BE49-F238E27FC236}">
                  <a16:creationId xmlns:a16="http://schemas.microsoft.com/office/drawing/2014/main" id="{56A6A981-3811-43D7-ADF1-598DCFE769F1}"/>
                </a:ext>
              </a:extLst>
            </p:cNvPr>
            <p:cNvSpPr>
              <a:spLocks/>
            </p:cNvSpPr>
            <p:nvPr/>
          </p:nvSpPr>
          <p:spPr bwMode="auto">
            <a:xfrm>
              <a:off x="5879306" y="3101181"/>
              <a:ext cx="650875" cy="684213"/>
            </a:xfrm>
            <a:custGeom>
              <a:avLst/>
              <a:gdLst>
                <a:gd name="T0" fmla="*/ 360 w 369"/>
                <a:gd name="T1" fmla="*/ 293 h 388"/>
                <a:gd name="T2" fmla="*/ 261 w 369"/>
                <a:gd name="T3" fmla="*/ 380 h 388"/>
                <a:gd name="T4" fmla="*/ 231 w 369"/>
                <a:gd name="T5" fmla="*/ 379 h 388"/>
                <a:gd name="T6" fmla="*/ 8 w 369"/>
                <a:gd name="T7" fmla="*/ 125 h 388"/>
                <a:gd name="T8" fmla="*/ 10 w 369"/>
                <a:gd name="T9" fmla="*/ 95 h 388"/>
                <a:gd name="T10" fmla="*/ 109 w 369"/>
                <a:gd name="T11" fmla="*/ 8 h 388"/>
                <a:gd name="T12" fmla="*/ 138 w 369"/>
                <a:gd name="T13" fmla="*/ 10 h 388"/>
                <a:gd name="T14" fmla="*/ 361 w 369"/>
                <a:gd name="T15" fmla="*/ 264 h 388"/>
                <a:gd name="T16" fmla="*/ 360 w 369"/>
                <a:gd name="T17" fmla="*/ 293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9" h="388">
                  <a:moveTo>
                    <a:pt x="360" y="293"/>
                  </a:moveTo>
                  <a:cubicBezTo>
                    <a:pt x="261" y="380"/>
                    <a:pt x="261" y="380"/>
                    <a:pt x="261" y="380"/>
                  </a:cubicBezTo>
                  <a:cubicBezTo>
                    <a:pt x="252" y="388"/>
                    <a:pt x="239" y="387"/>
                    <a:pt x="231" y="379"/>
                  </a:cubicBezTo>
                  <a:cubicBezTo>
                    <a:pt x="8" y="125"/>
                    <a:pt x="8" y="125"/>
                    <a:pt x="8" y="125"/>
                  </a:cubicBezTo>
                  <a:cubicBezTo>
                    <a:pt x="0" y="116"/>
                    <a:pt x="1" y="103"/>
                    <a:pt x="10" y="95"/>
                  </a:cubicBezTo>
                  <a:cubicBezTo>
                    <a:pt x="109" y="8"/>
                    <a:pt x="109" y="8"/>
                    <a:pt x="109" y="8"/>
                  </a:cubicBezTo>
                  <a:cubicBezTo>
                    <a:pt x="117" y="0"/>
                    <a:pt x="131" y="1"/>
                    <a:pt x="138" y="10"/>
                  </a:cubicBezTo>
                  <a:cubicBezTo>
                    <a:pt x="361" y="264"/>
                    <a:pt x="361" y="264"/>
                    <a:pt x="361" y="264"/>
                  </a:cubicBezTo>
                  <a:cubicBezTo>
                    <a:pt x="369" y="272"/>
                    <a:pt x="368" y="286"/>
                    <a:pt x="360" y="293"/>
                  </a:cubicBezTo>
                  <a:close/>
                </a:path>
              </a:pathLst>
            </a:custGeom>
            <a:solidFill>
              <a:srgbClr val="376790"/>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89" name="Freeform 30">
              <a:extLst>
                <a:ext uri="{FF2B5EF4-FFF2-40B4-BE49-F238E27FC236}">
                  <a16:creationId xmlns:a16="http://schemas.microsoft.com/office/drawing/2014/main" id="{6864E0CE-B21D-4CCC-BB88-6BC15FF897E8}"/>
                </a:ext>
              </a:extLst>
            </p:cNvPr>
            <p:cNvSpPr>
              <a:spLocks/>
            </p:cNvSpPr>
            <p:nvPr/>
          </p:nvSpPr>
          <p:spPr bwMode="auto">
            <a:xfrm>
              <a:off x="5911056" y="3139281"/>
              <a:ext cx="593725" cy="615950"/>
            </a:xfrm>
            <a:custGeom>
              <a:avLst/>
              <a:gdLst>
                <a:gd name="T0" fmla="*/ 374 w 374"/>
                <a:gd name="T1" fmla="*/ 261 h 388"/>
                <a:gd name="T2" fmla="*/ 229 w 374"/>
                <a:gd name="T3" fmla="*/ 388 h 388"/>
                <a:gd name="T4" fmla="*/ 0 w 374"/>
                <a:gd name="T5" fmla="*/ 127 h 388"/>
                <a:gd name="T6" fmla="*/ 144 w 374"/>
                <a:gd name="T7" fmla="*/ 0 h 388"/>
                <a:gd name="T8" fmla="*/ 374 w 374"/>
                <a:gd name="T9" fmla="*/ 261 h 388"/>
              </a:gdLst>
              <a:ahLst/>
              <a:cxnLst>
                <a:cxn ang="0">
                  <a:pos x="T0" y="T1"/>
                </a:cxn>
                <a:cxn ang="0">
                  <a:pos x="T2" y="T3"/>
                </a:cxn>
                <a:cxn ang="0">
                  <a:pos x="T4" y="T5"/>
                </a:cxn>
                <a:cxn ang="0">
                  <a:pos x="T6" y="T7"/>
                </a:cxn>
                <a:cxn ang="0">
                  <a:pos x="T8" y="T9"/>
                </a:cxn>
              </a:cxnLst>
              <a:rect l="0" t="0" r="r" b="b"/>
              <a:pathLst>
                <a:path w="374" h="388">
                  <a:moveTo>
                    <a:pt x="374" y="261"/>
                  </a:moveTo>
                  <a:lnTo>
                    <a:pt x="229" y="388"/>
                  </a:lnTo>
                  <a:lnTo>
                    <a:pt x="0" y="127"/>
                  </a:lnTo>
                  <a:lnTo>
                    <a:pt x="144" y="0"/>
                  </a:lnTo>
                  <a:lnTo>
                    <a:pt x="374" y="261"/>
                  </a:lnTo>
                  <a:close/>
                </a:path>
              </a:pathLst>
            </a:custGeom>
            <a:solidFill>
              <a:srgbClr val="353B61"/>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90" name="Freeform 31">
              <a:extLst>
                <a:ext uri="{FF2B5EF4-FFF2-40B4-BE49-F238E27FC236}">
                  <a16:creationId xmlns:a16="http://schemas.microsoft.com/office/drawing/2014/main" id="{1B57800A-65CA-4F15-B87D-D4B27A1896BE}"/>
                </a:ext>
              </a:extLst>
            </p:cNvPr>
            <p:cNvSpPr>
              <a:spLocks/>
            </p:cNvSpPr>
            <p:nvPr/>
          </p:nvSpPr>
          <p:spPr bwMode="auto">
            <a:xfrm>
              <a:off x="5911056" y="3139281"/>
              <a:ext cx="495300" cy="504825"/>
            </a:xfrm>
            <a:custGeom>
              <a:avLst/>
              <a:gdLst>
                <a:gd name="T0" fmla="*/ 312 w 312"/>
                <a:gd name="T1" fmla="*/ 191 h 318"/>
                <a:gd name="T2" fmla="*/ 168 w 312"/>
                <a:gd name="T3" fmla="*/ 318 h 318"/>
                <a:gd name="T4" fmla="*/ 0 w 312"/>
                <a:gd name="T5" fmla="*/ 127 h 318"/>
                <a:gd name="T6" fmla="*/ 144 w 312"/>
                <a:gd name="T7" fmla="*/ 0 h 318"/>
                <a:gd name="T8" fmla="*/ 312 w 312"/>
                <a:gd name="T9" fmla="*/ 191 h 318"/>
              </a:gdLst>
              <a:ahLst/>
              <a:cxnLst>
                <a:cxn ang="0">
                  <a:pos x="T0" y="T1"/>
                </a:cxn>
                <a:cxn ang="0">
                  <a:pos x="T2" y="T3"/>
                </a:cxn>
                <a:cxn ang="0">
                  <a:pos x="T4" y="T5"/>
                </a:cxn>
                <a:cxn ang="0">
                  <a:pos x="T6" y="T7"/>
                </a:cxn>
                <a:cxn ang="0">
                  <a:pos x="T8" y="T9"/>
                </a:cxn>
              </a:cxnLst>
              <a:rect l="0" t="0" r="r" b="b"/>
              <a:pathLst>
                <a:path w="312" h="318">
                  <a:moveTo>
                    <a:pt x="312" y="191"/>
                  </a:moveTo>
                  <a:lnTo>
                    <a:pt x="168" y="318"/>
                  </a:lnTo>
                  <a:lnTo>
                    <a:pt x="0" y="127"/>
                  </a:lnTo>
                  <a:lnTo>
                    <a:pt x="144" y="0"/>
                  </a:lnTo>
                  <a:lnTo>
                    <a:pt x="312" y="191"/>
                  </a:lnTo>
                  <a:close/>
                </a:path>
              </a:pathLst>
            </a:custGeom>
            <a:solidFill>
              <a:srgbClr val="92406C"/>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91" name="Freeform 32">
              <a:extLst>
                <a:ext uri="{FF2B5EF4-FFF2-40B4-BE49-F238E27FC236}">
                  <a16:creationId xmlns:a16="http://schemas.microsoft.com/office/drawing/2014/main" id="{F5956D7F-7C57-4B17-886E-E9B3E8B9EAA4}"/>
                </a:ext>
              </a:extLst>
            </p:cNvPr>
            <p:cNvSpPr>
              <a:spLocks/>
            </p:cNvSpPr>
            <p:nvPr/>
          </p:nvSpPr>
          <p:spPr bwMode="auto">
            <a:xfrm>
              <a:off x="5899944" y="3101181"/>
              <a:ext cx="631825" cy="668338"/>
            </a:xfrm>
            <a:custGeom>
              <a:avLst/>
              <a:gdLst>
                <a:gd name="T0" fmla="*/ 349 w 358"/>
                <a:gd name="T1" fmla="*/ 292 h 379"/>
                <a:gd name="T2" fmla="*/ 251 w 358"/>
                <a:gd name="T3" fmla="*/ 379 h 379"/>
                <a:gd name="T4" fmla="*/ 0 w 358"/>
                <a:gd name="T5" fmla="*/ 93 h 379"/>
                <a:gd name="T6" fmla="*/ 98 w 358"/>
                <a:gd name="T7" fmla="*/ 7 h 379"/>
                <a:gd name="T8" fmla="*/ 125 w 358"/>
                <a:gd name="T9" fmla="*/ 9 h 379"/>
                <a:gd name="T10" fmla="*/ 351 w 358"/>
                <a:gd name="T11" fmla="*/ 265 h 379"/>
                <a:gd name="T12" fmla="*/ 349 w 358"/>
                <a:gd name="T13" fmla="*/ 292 h 379"/>
              </a:gdLst>
              <a:ahLst/>
              <a:cxnLst>
                <a:cxn ang="0">
                  <a:pos x="T0" y="T1"/>
                </a:cxn>
                <a:cxn ang="0">
                  <a:pos x="T2" y="T3"/>
                </a:cxn>
                <a:cxn ang="0">
                  <a:pos x="T4" y="T5"/>
                </a:cxn>
                <a:cxn ang="0">
                  <a:pos x="T6" y="T7"/>
                </a:cxn>
                <a:cxn ang="0">
                  <a:pos x="T8" y="T9"/>
                </a:cxn>
                <a:cxn ang="0">
                  <a:pos x="T10" y="T11"/>
                </a:cxn>
                <a:cxn ang="0">
                  <a:pos x="T12" y="T13"/>
                </a:cxn>
              </a:cxnLst>
              <a:rect l="0" t="0" r="r" b="b"/>
              <a:pathLst>
                <a:path w="358" h="379">
                  <a:moveTo>
                    <a:pt x="349" y="292"/>
                  </a:moveTo>
                  <a:cubicBezTo>
                    <a:pt x="251" y="379"/>
                    <a:pt x="251" y="379"/>
                    <a:pt x="251" y="379"/>
                  </a:cubicBezTo>
                  <a:cubicBezTo>
                    <a:pt x="0" y="93"/>
                    <a:pt x="0" y="93"/>
                    <a:pt x="0" y="93"/>
                  </a:cubicBezTo>
                  <a:cubicBezTo>
                    <a:pt x="98" y="7"/>
                    <a:pt x="98" y="7"/>
                    <a:pt x="98" y="7"/>
                  </a:cubicBezTo>
                  <a:cubicBezTo>
                    <a:pt x="106" y="0"/>
                    <a:pt x="118" y="1"/>
                    <a:pt x="125" y="9"/>
                  </a:cubicBezTo>
                  <a:cubicBezTo>
                    <a:pt x="351" y="265"/>
                    <a:pt x="351" y="265"/>
                    <a:pt x="351" y="265"/>
                  </a:cubicBezTo>
                  <a:cubicBezTo>
                    <a:pt x="358" y="273"/>
                    <a:pt x="357" y="285"/>
                    <a:pt x="349" y="292"/>
                  </a:cubicBezTo>
                  <a:close/>
                </a:path>
              </a:pathLst>
            </a:custGeom>
            <a:noFill/>
            <a:ln w="6350" cap="flat">
              <a:solidFill>
                <a:srgbClr val="1E1D1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92" name="Freeform 33">
              <a:extLst>
                <a:ext uri="{FF2B5EF4-FFF2-40B4-BE49-F238E27FC236}">
                  <a16:creationId xmlns:a16="http://schemas.microsoft.com/office/drawing/2014/main" id="{B4FB8746-B3DD-4C5A-B4AD-533B4FD4C76A}"/>
                </a:ext>
              </a:extLst>
            </p:cNvPr>
            <p:cNvSpPr>
              <a:spLocks/>
            </p:cNvSpPr>
            <p:nvPr/>
          </p:nvSpPr>
          <p:spPr bwMode="auto">
            <a:xfrm>
              <a:off x="5899944" y="3101181"/>
              <a:ext cx="239713" cy="212725"/>
            </a:xfrm>
            <a:custGeom>
              <a:avLst/>
              <a:gdLst>
                <a:gd name="T0" fmla="*/ 136 w 136"/>
                <a:gd name="T1" fmla="*/ 21 h 120"/>
                <a:gd name="T2" fmla="*/ 24 w 136"/>
                <a:gd name="T3" fmla="*/ 120 h 120"/>
                <a:gd name="T4" fmla="*/ 0 w 136"/>
                <a:gd name="T5" fmla="*/ 93 h 120"/>
                <a:gd name="T6" fmla="*/ 98 w 136"/>
                <a:gd name="T7" fmla="*/ 7 h 120"/>
                <a:gd name="T8" fmla="*/ 125 w 136"/>
                <a:gd name="T9" fmla="*/ 9 h 120"/>
                <a:gd name="T10" fmla="*/ 136 w 136"/>
                <a:gd name="T11" fmla="*/ 21 h 120"/>
              </a:gdLst>
              <a:ahLst/>
              <a:cxnLst>
                <a:cxn ang="0">
                  <a:pos x="T0" y="T1"/>
                </a:cxn>
                <a:cxn ang="0">
                  <a:pos x="T2" y="T3"/>
                </a:cxn>
                <a:cxn ang="0">
                  <a:pos x="T4" y="T5"/>
                </a:cxn>
                <a:cxn ang="0">
                  <a:pos x="T6" y="T7"/>
                </a:cxn>
                <a:cxn ang="0">
                  <a:pos x="T8" y="T9"/>
                </a:cxn>
                <a:cxn ang="0">
                  <a:pos x="T10" y="T11"/>
                </a:cxn>
              </a:cxnLst>
              <a:rect l="0" t="0" r="r" b="b"/>
              <a:pathLst>
                <a:path w="136" h="120">
                  <a:moveTo>
                    <a:pt x="136" y="21"/>
                  </a:moveTo>
                  <a:cubicBezTo>
                    <a:pt x="24" y="120"/>
                    <a:pt x="24" y="120"/>
                    <a:pt x="24" y="120"/>
                  </a:cubicBezTo>
                  <a:cubicBezTo>
                    <a:pt x="0" y="93"/>
                    <a:pt x="0" y="93"/>
                    <a:pt x="0" y="93"/>
                  </a:cubicBezTo>
                  <a:cubicBezTo>
                    <a:pt x="98" y="7"/>
                    <a:pt x="98" y="7"/>
                    <a:pt x="98" y="7"/>
                  </a:cubicBezTo>
                  <a:cubicBezTo>
                    <a:pt x="106" y="0"/>
                    <a:pt x="118" y="1"/>
                    <a:pt x="125" y="9"/>
                  </a:cubicBezTo>
                  <a:lnTo>
                    <a:pt x="136" y="21"/>
                  </a:lnTo>
                  <a:close/>
                </a:path>
              </a:pathLst>
            </a:custGeom>
            <a:solidFill>
              <a:srgbClr val="D0598C"/>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93" name="Freeform 34">
              <a:extLst>
                <a:ext uri="{FF2B5EF4-FFF2-40B4-BE49-F238E27FC236}">
                  <a16:creationId xmlns:a16="http://schemas.microsoft.com/office/drawing/2014/main" id="{F81788D2-49B8-4323-8861-4201F95F9943}"/>
                </a:ext>
              </a:extLst>
            </p:cNvPr>
            <p:cNvSpPr>
              <a:spLocks/>
            </p:cNvSpPr>
            <p:nvPr/>
          </p:nvSpPr>
          <p:spPr bwMode="auto">
            <a:xfrm>
              <a:off x="5942806" y="3139281"/>
              <a:ext cx="463550" cy="477838"/>
            </a:xfrm>
            <a:custGeom>
              <a:avLst/>
              <a:gdLst>
                <a:gd name="T0" fmla="*/ 124 w 292"/>
                <a:gd name="T1" fmla="*/ 0 h 301"/>
                <a:gd name="T2" fmla="*/ 0 w 292"/>
                <a:gd name="T3" fmla="*/ 110 h 301"/>
                <a:gd name="T4" fmla="*/ 168 w 292"/>
                <a:gd name="T5" fmla="*/ 301 h 301"/>
                <a:gd name="T6" fmla="*/ 292 w 292"/>
                <a:gd name="T7" fmla="*/ 191 h 301"/>
                <a:gd name="T8" fmla="*/ 124 w 292"/>
                <a:gd name="T9" fmla="*/ 0 h 301"/>
              </a:gdLst>
              <a:ahLst/>
              <a:cxnLst>
                <a:cxn ang="0">
                  <a:pos x="T0" y="T1"/>
                </a:cxn>
                <a:cxn ang="0">
                  <a:pos x="T2" y="T3"/>
                </a:cxn>
                <a:cxn ang="0">
                  <a:pos x="T4" y="T5"/>
                </a:cxn>
                <a:cxn ang="0">
                  <a:pos x="T6" y="T7"/>
                </a:cxn>
                <a:cxn ang="0">
                  <a:pos x="T8" y="T9"/>
                </a:cxn>
              </a:cxnLst>
              <a:rect l="0" t="0" r="r" b="b"/>
              <a:pathLst>
                <a:path w="292" h="301">
                  <a:moveTo>
                    <a:pt x="124" y="0"/>
                  </a:moveTo>
                  <a:lnTo>
                    <a:pt x="0" y="110"/>
                  </a:lnTo>
                  <a:lnTo>
                    <a:pt x="168" y="301"/>
                  </a:lnTo>
                  <a:lnTo>
                    <a:pt x="292" y="191"/>
                  </a:lnTo>
                  <a:lnTo>
                    <a:pt x="124" y="0"/>
                  </a:lnTo>
                  <a:close/>
                </a:path>
              </a:pathLst>
            </a:custGeom>
            <a:solidFill>
              <a:srgbClr val="D86D91"/>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94" name="Freeform 35">
              <a:extLst>
                <a:ext uri="{FF2B5EF4-FFF2-40B4-BE49-F238E27FC236}">
                  <a16:creationId xmlns:a16="http://schemas.microsoft.com/office/drawing/2014/main" id="{CA58A489-DB31-457D-AA16-E4337FD7B472}"/>
                </a:ext>
              </a:extLst>
            </p:cNvPr>
            <p:cNvSpPr>
              <a:spLocks/>
            </p:cNvSpPr>
            <p:nvPr/>
          </p:nvSpPr>
          <p:spPr bwMode="auto">
            <a:xfrm>
              <a:off x="6209506" y="3442494"/>
              <a:ext cx="295275" cy="285750"/>
            </a:xfrm>
            <a:custGeom>
              <a:avLst/>
              <a:gdLst>
                <a:gd name="T0" fmla="*/ 186 w 186"/>
                <a:gd name="T1" fmla="*/ 70 h 180"/>
                <a:gd name="T2" fmla="*/ 61 w 186"/>
                <a:gd name="T3" fmla="*/ 180 h 180"/>
                <a:gd name="T4" fmla="*/ 0 w 186"/>
                <a:gd name="T5" fmla="*/ 110 h 180"/>
                <a:gd name="T6" fmla="*/ 124 w 186"/>
                <a:gd name="T7" fmla="*/ 0 h 180"/>
                <a:gd name="T8" fmla="*/ 186 w 186"/>
                <a:gd name="T9" fmla="*/ 70 h 180"/>
              </a:gdLst>
              <a:ahLst/>
              <a:cxnLst>
                <a:cxn ang="0">
                  <a:pos x="T0" y="T1"/>
                </a:cxn>
                <a:cxn ang="0">
                  <a:pos x="T2" y="T3"/>
                </a:cxn>
                <a:cxn ang="0">
                  <a:pos x="T4" y="T5"/>
                </a:cxn>
                <a:cxn ang="0">
                  <a:pos x="T6" y="T7"/>
                </a:cxn>
                <a:cxn ang="0">
                  <a:pos x="T8" y="T9"/>
                </a:cxn>
              </a:cxnLst>
              <a:rect l="0" t="0" r="r" b="b"/>
              <a:pathLst>
                <a:path w="186" h="180">
                  <a:moveTo>
                    <a:pt x="186" y="70"/>
                  </a:moveTo>
                  <a:lnTo>
                    <a:pt x="61" y="180"/>
                  </a:lnTo>
                  <a:lnTo>
                    <a:pt x="0" y="110"/>
                  </a:lnTo>
                  <a:lnTo>
                    <a:pt x="124" y="0"/>
                  </a:lnTo>
                  <a:lnTo>
                    <a:pt x="186" y="70"/>
                  </a:lnTo>
                  <a:close/>
                </a:path>
              </a:pathLst>
            </a:custGeom>
            <a:solidFill>
              <a:srgbClr val="437BBF"/>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95" name="Freeform 36">
              <a:extLst>
                <a:ext uri="{FF2B5EF4-FFF2-40B4-BE49-F238E27FC236}">
                  <a16:creationId xmlns:a16="http://schemas.microsoft.com/office/drawing/2014/main" id="{49566EAC-941E-4175-AD9D-4752B6A39AEB}"/>
                </a:ext>
              </a:extLst>
            </p:cNvPr>
            <p:cNvSpPr>
              <a:spLocks noEditPoints="1"/>
            </p:cNvSpPr>
            <p:nvPr/>
          </p:nvSpPr>
          <p:spPr bwMode="auto">
            <a:xfrm>
              <a:off x="4239419" y="4534694"/>
              <a:ext cx="3562350" cy="585788"/>
            </a:xfrm>
            <a:custGeom>
              <a:avLst/>
              <a:gdLst>
                <a:gd name="T0" fmla="*/ 1970 w 2020"/>
                <a:gd name="T1" fmla="*/ 0 h 332"/>
                <a:gd name="T2" fmla="*/ 0 w 2020"/>
                <a:gd name="T3" fmla="*/ 0 h 332"/>
                <a:gd name="T4" fmla="*/ 0 w 2020"/>
                <a:gd name="T5" fmla="*/ 332 h 332"/>
                <a:gd name="T6" fmla="*/ 1970 w 2020"/>
                <a:gd name="T7" fmla="*/ 332 h 332"/>
                <a:gd name="T8" fmla="*/ 2020 w 2020"/>
                <a:gd name="T9" fmla="*/ 166 h 332"/>
                <a:gd name="T10" fmla="*/ 1970 w 2020"/>
                <a:gd name="T11" fmla="*/ 0 h 332"/>
                <a:gd name="T12" fmla="*/ 1879 w 2020"/>
                <a:gd name="T13" fmla="*/ 226 h 332"/>
                <a:gd name="T14" fmla="*/ 1819 w 2020"/>
                <a:gd name="T15" fmla="*/ 166 h 332"/>
                <a:gd name="T16" fmla="*/ 1879 w 2020"/>
                <a:gd name="T17" fmla="*/ 106 h 332"/>
                <a:gd name="T18" fmla="*/ 1939 w 2020"/>
                <a:gd name="T19" fmla="*/ 166 h 332"/>
                <a:gd name="T20" fmla="*/ 1879 w 2020"/>
                <a:gd name="T21" fmla="*/ 226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20" h="332">
                  <a:moveTo>
                    <a:pt x="1970" y="0"/>
                  </a:moveTo>
                  <a:cubicBezTo>
                    <a:pt x="0" y="0"/>
                    <a:pt x="0" y="0"/>
                    <a:pt x="0" y="0"/>
                  </a:cubicBezTo>
                  <a:cubicBezTo>
                    <a:pt x="0" y="332"/>
                    <a:pt x="0" y="332"/>
                    <a:pt x="0" y="332"/>
                  </a:cubicBezTo>
                  <a:cubicBezTo>
                    <a:pt x="1970" y="332"/>
                    <a:pt x="1970" y="332"/>
                    <a:pt x="1970" y="332"/>
                  </a:cubicBezTo>
                  <a:cubicBezTo>
                    <a:pt x="1997" y="332"/>
                    <a:pt x="2020" y="258"/>
                    <a:pt x="2020" y="166"/>
                  </a:cubicBezTo>
                  <a:cubicBezTo>
                    <a:pt x="2020" y="75"/>
                    <a:pt x="1997" y="0"/>
                    <a:pt x="1970" y="0"/>
                  </a:cubicBezTo>
                  <a:close/>
                  <a:moveTo>
                    <a:pt x="1879" y="226"/>
                  </a:moveTo>
                  <a:cubicBezTo>
                    <a:pt x="1846" y="226"/>
                    <a:pt x="1819" y="199"/>
                    <a:pt x="1819" y="166"/>
                  </a:cubicBezTo>
                  <a:cubicBezTo>
                    <a:pt x="1819" y="133"/>
                    <a:pt x="1846" y="106"/>
                    <a:pt x="1879" y="106"/>
                  </a:cubicBezTo>
                  <a:cubicBezTo>
                    <a:pt x="1912" y="106"/>
                    <a:pt x="1939" y="133"/>
                    <a:pt x="1939" y="166"/>
                  </a:cubicBezTo>
                  <a:cubicBezTo>
                    <a:pt x="1939" y="199"/>
                    <a:pt x="1912" y="226"/>
                    <a:pt x="1879" y="226"/>
                  </a:cubicBezTo>
                  <a:close/>
                </a:path>
              </a:pathLst>
            </a:custGeom>
            <a:solidFill>
              <a:srgbClr val="424242">
                <a:alpha val="20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96" name="Freeform 37">
              <a:extLst>
                <a:ext uri="{FF2B5EF4-FFF2-40B4-BE49-F238E27FC236}">
                  <a16:creationId xmlns:a16="http://schemas.microsoft.com/office/drawing/2014/main" id="{6B1F44A6-C845-40A0-9CA2-3CE8716C0C35}"/>
                </a:ext>
              </a:extLst>
            </p:cNvPr>
            <p:cNvSpPr>
              <a:spLocks noEditPoints="1"/>
            </p:cNvSpPr>
            <p:nvPr/>
          </p:nvSpPr>
          <p:spPr bwMode="auto">
            <a:xfrm>
              <a:off x="4274344" y="4479131"/>
              <a:ext cx="3562350" cy="585788"/>
            </a:xfrm>
            <a:custGeom>
              <a:avLst/>
              <a:gdLst>
                <a:gd name="T0" fmla="*/ 1970 w 2020"/>
                <a:gd name="T1" fmla="*/ 0 h 332"/>
                <a:gd name="T2" fmla="*/ 0 w 2020"/>
                <a:gd name="T3" fmla="*/ 0 h 332"/>
                <a:gd name="T4" fmla="*/ 0 w 2020"/>
                <a:gd name="T5" fmla="*/ 332 h 332"/>
                <a:gd name="T6" fmla="*/ 1970 w 2020"/>
                <a:gd name="T7" fmla="*/ 332 h 332"/>
                <a:gd name="T8" fmla="*/ 2020 w 2020"/>
                <a:gd name="T9" fmla="*/ 166 h 332"/>
                <a:gd name="T10" fmla="*/ 1970 w 2020"/>
                <a:gd name="T11" fmla="*/ 0 h 332"/>
                <a:gd name="T12" fmla="*/ 1879 w 2020"/>
                <a:gd name="T13" fmla="*/ 226 h 332"/>
                <a:gd name="T14" fmla="*/ 1819 w 2020"/>
                <a:gd name="T15" fmla="*/ 166 h 332"/>
                <a:gd name="T16" fmla="*/ 1879 w 2020"/>
                <a:gd name="T17" fmla="*/ 106 h 332"/>
                <a:gd name="T18" fmla="*/ 1939 w 2020"/>
                <a:gd name="T19" fmla="*/ 166 h 332"/>
                <a:gd name="T20" fmla="*/ 1879 w 2020"/>
                <a:gd name="T21" fmla="*/ 226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20" h="332">
                  <a:moveTo>
                    <a:pt x="1970" y="0"/>
                  </a:moveTo>
                  <a:cubicBezTo>
                    <a:pt x="0" y="0"/>
                    <a:pt x="0" y="0"/>
                    <a:pt x="0" y="0"/>
                  </a:cubicBezTo>
                  <a:cubicBezTo>
                    <a:pt x="0" y="332"/>
                    <a:pt x="0" y="332"/>
                    <a:pt x="0" y="332"/>
                  </a:cubicBezTo>
                  <a:cubicBezTo>
                    <a:pt x="1970" y="332"/>
                    <a:pt x="1970" y="332"/>
                    <a:pt x="1970" y="332"/>
                  </a:cubicBezTo>
                  <a:cubicBezTo>
                    <a:pt x="1997" y="332"/>
                    <a:pt x="2020" y="258"/>
                    <a:pt x="2020" y="166"/>
                  </a:cubicBezTo>
                  <a:cubicBezTo>
                    <a:pt x="2020" y="75"/>
                    <a:pt x="1997" y="0"/>
                    <a:pt x="1970" y="0"/>
                  </a:cubicBezTo>
                  <a:close/>
                  <a:moveTo>
                    <a:pt x="1879" y="226"/>
                  </a:moveTo>
                  <a:cubicBezTo>
                    <a:pt x="1846" y="226"/>
                    <a:pt x="1819" y="199"/>
                    <a:pt x="1819" y="166"/>
                  </a:cubicBezTo>
                  <a:cubicBezTo>
                    <a:pt x="1819" y="133"/>
                    <a:pt x="1846" y="106"/>
                    <a:pt x="1879" y="106"/>
                  </a:cubicBezTo>
                  <a:cubicBezTo>
                    <a:pt x="1912" y="106"/>
                    <a:pt x="1939" y="133"/>
                    <a:pt x="1939" y="166"/>
                  </a:cubicBezTo>
                  <a:cubicBezTo>
                    <a:pt x="1939" y="199"/>
                    <a:pt x="1912" y="226"/>
                    <a:pt x="1879" y="226"/>
                  </a:cubicBezTo>
                  <a:close/>
                </a:path>
              </a:pathLst>
            </a:custGeom>
            <a:solidFill>
              <a:srgbClr val="00B3E7"/>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97" name="Freeform 38">
              <a:extLst>
                <a:ext uri="{FF2B5EF4-FFF2-40B4-BE49-F238E27FC236}">
                  <a16:creationId xmlns:a16="http://schemas.microsoft.com/office/drawing/2014/main" id="{E486D492-7E22-41C3-B698-65C56A1190FD}"/>
                </a:ext>
              </a:extLst>
            </p:cNvPr>
            <p:cNvSpPr>
              <a:spLocks/>
            </p:cNvSpPr>
            <p:nvPr/>
          </p:nvSpPr>
          <p:spPr bwMode="auto">
            <a:xfrm>
              <a:off x="4274344" y="4771231"/>
              <a:ext cx="3562350" cy="293688"/>
            </a:xfrm>
            <a:custGeom>
              <a:avLst/>
              <a:gdLst>
                <a:gd name="T0" fmla="*/ 1939 w 2020"/>
                <a:gd name="T1" fmla="*/ 0 h 166"/>
                <a:gd name="T2" fmla="*/ 1879 w 2020"/>
                <a:gd name="T3" fmla="*/ 60 h 166"/>
                <a:gd name="T4" fmla="*/ 1819 w 2020"/>
                <a:gd name="T5" fmla="*/ 0 h 166"/>
                <a:gd name="T6" fmla="*/ 0 w 2020"/>
                <a:gd name="T7" fmla="*/ 0 h 166"/>
                <a:gd name="T8" fmla="*/ 0 w 2020"/>
                <a:gd name="T9" fmla="*/ 166 h 166"/>
                <a:gd name="T10" fmla="*/ 1970 w 2020"/>
                <a:gd name="T11" fmla="*/ 166 h 166"/>
                <a:gd name="T12" fmla="*/ 2020 w 2020"/>
                <a:gd name="T13" fmla="*/ 0 h 166"/>
                <a:gd name="T14" fmla="*/ 1939 w 2020"/>
                <a:gd name="T15" fmla="*/ 0 h 1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20" h="166">
                  <a:moveTo>
                    <a:pt x="1939" y="0"/>
                  </a:moveTo>
                  <a:cubicBezTo>
                    <a:pt x="1939" y="33"/>
                    <a:pt x="1912" y="60"/>
                    <a:pt x="1879" y="60"/>
                  </a:cubicBezTo>
                  <a:cubicBezTo>
                    <a:pt x="1846" y="60"/>
                    <a:pt x="1819" y="33"/>
                    <a:pt x="1819" y="0"/>
                  </a:cubicBezTo>
                  <a:cubicBezTo>
                    <a:pt x="0" y="0"/>
                    <a:pt x="0" y="0"/>
                    <a:pt x="0" y="0"/>
                  </a:cubicBezTo>
                  <a:cubicBezTo>
                    <a:pt x="0" y="166"/>
                    <a:pt x="0" y="166"/>
                    <a:pt x="0" y="166"/>
                  </a:cubicBezTo>
                  <a:cubicBezTo>
                    <a:pt x="1970" y="166"/>
                    <a:pt x="1970" y="166"/>
                    <a:pt x="1970" y="166"/>
                  </a:cubicBezTo>
                  <a:cubicBezTo>
                    <a:pt x="1997" y="166"/>
                    <a:pt x="2020" y="92"/>
                    <a:pt x="2020" y="0"/>
                  </a:cubicBezTo>
                  <a:lnTo>
                    <a:pt x="1939" y="0"/>
                  </a:lnTo>
                  <a:close/>
                </a:path>
              </a:pathLst>
            </a:custGeom>
            <a:solidFill>
              <a:srgbClr val="316296"/>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98" name="Freeform 39">
              <a:extLst>
                <a:ext uri="{FF2B5EF4-FFF2-40B4-BE49-F238E27FC236}">
                  <a16:creationId xmlns:a16="http://schemas.microsoft.com/office/drawing/2014/main" id="{08C5A58C-A871-46FA-96FB-2787AB226773}"/>
                </a:ext>
              </a:extLst>
            </p:cNvPr>
            <p:cNvSpPr>
              <a:spLocks/>
            </p:cNvSpPr>
            <p:nvPr/>
          </p:nvSpPr>
          <p:spPr bwMode="auto">
            <a:xfrm>
              <a:off x="4506119" y="4152106"/>
              <a:ext cx="1322388" cy="1589088"/>
            </a:xfrm>
            <a:custGeom>
              <a:avLst/>
              <a:gdLst>
                <a:gd name="T0" fmla="*/ 141 w 750"/>
                <a:gd name="T1" fmla="*/ 87 h 901"/>
                <a:gd name="T2" fmla="*/ 35 w 750"/>
                <a:gd name="T3" fmla="*/ 20 h 901"/>
                <a:gd name="T4" fmla="*/ 35 w 750"/>
                <a:gd name="T5" fmla="*/ 20 h 901"/>
                <a:gd name="T6" fmla="*/ 6 w 750"/>
                <a:gd name="T7" fmla="*/ 1 h 901"/>
                <a:gd name="T8" fmla="*/ 2 w 750"/>
                <a:gd name="T9" fmla="*/ 5 h 901"/>
                <a:gd name="T10" fmla="*/ 62 w 750"/>
                <a:gd name="T11" fmla="*/ 151 h 901"/>
                <a:gd name="T12" fmla="*/ 671 w 750"/>
                <a:gd name="T13" fmla="*/ 901 h 901"/>
                <a:gd name="T14" fmla="*/ 750 w 750"/>
                <a:gd name="T15" fmla="*/ 837 h 901"/>
                <a:gd name="T16" fmla="*/ 141 w 750"/>
                <a:gd name="T17" fmla="*/ 87 h 9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0" h="901">
                  <a:moveTo>
                    <a:pt x="141" y="87"/>
                  </a:moveTo>
                  <a:cubicBezTo>
                    <a:pt x="35" y="20"/>
                    <a:pt x="35" y="20"/>
                    <a:pt x="35" y="20"/>
                  </a:cubicBezTo>
                  <a:cubicBezTo>
                    <a:pt x="35" y="20"/>
                    <a:pt x="35" y="20"/>
                    <a:pt x="35" y="20"/>
                  </a:cubicBezTo>
                  <a:cubicBezTo>
                    <a:pt x="6" y="1"/>
                    <a:pt x="6" y="1"/>
                    <a:pt x="6" y="1"/>
                  </a:cubicBezTo>
                  <a:cubicBezTo>
                    <a:pt x="4" y="0"/>
                    <a:pt x="0" y="2"/>
                    <a:pt x="2" y="5"/>
                  </a:cubicBezTo>
                  <a:cubicBezTo>
                    <a:pt x="62" y="151"/>
                    <a:pt x="62" y="151"/>
                    <a:pt x="62" y="151"/>
                  </a:cubicBezTo>
                  <a:cubicBezTo>
                    <a:pt x="671" y="901"/>
                    <a:pt x="671" y="901"/>
                    <a:pt x="671" y="901"/>
                  </a:cubicBezTo>
                  <a:cubicBezTo>
                    <a:pt x="750" y="837"/>
                    <a:pt x="750" y="837"/>
                    <a:pt x="750" y="837"/>
                  </a:cubicBezTo>
                  <a:lnTo>
                    <a:pt x="141" y="87"/>
                  </a:lnTo>
                  <a:close/>
                </a:path>
              </a:pathLst>
            </a:custGeom>
            <a:solidFill>
              <a:srgbClr val="424242">
                <a:alpha val="20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99" name="Freeform 40">
              <a:extLst>
                <a:ext uri="{FF2B5EF4-FFF2-40B4-BE49-F238E27FC236}">
                  <a16:creationId xmlns:a16="http://schemas.microsoft.com/office/drawing/2014/main" id="{1F564433-2FE1-4F6D-9F25-CC167FF79846}"/>
                </a:ext>
              </a:extLst>
            </p:cNvPr>
            <p:cNvSpPr>
              <a:spLocks/>
            </p:cNvSpPr>
            <p:nvPr/>
          </p:nvSpPr>
          <p:spPr bwMode="auto">
            <a:xfrm>
              <a:off x="4615656" y="4256881"/>
              <a:ext cx="1212850" cy="1435100"/>
            </a:xfrm>
            <a:custGeom>
              <a:avLst/>
              <a:gdLst>
                <a:gd name="T0" fmla="*/ 764 w 764"/>
                <a:gd name="T1" fmla="*/ 833 h 904"/>
                <a:gd name="T2" fmla="*/ 676 w 764"/>
                <a:gd name="T3" fmla="*/ 904 h 904"/>
                <a:gd name="T4" fmla="*/ 0 w 764"/>
                <a:gd name="T5" fmla="*/ 71 h 904"/>
                <a:gd name="T6" fmla="*/ 87 w 764"/>
                <a:gd name="T7" fmla="*/ 0 h 904"/>
                <a:gd name="T8" fmla="*/ 764 w 764"/>
                <a:gd name="T9" fmla="*/ 833 h 904"/>
              </a:gdLst>
              <a:ahLst/>
              <a:cxnLst>
                <a:cxn ang="0">
                  <a:pos x="T0" y="T1"/>
                </a:cxn>
                <a:cxn ang="0">
                  <a:pos x="T2" y="T3"/>
                </a:cxn>
                <a:cxn ang="0">
                  <a:pos x="T4" y="T5"/>
                </a:cxn>
                <a:cxn ang="0">
                  <a:pos x="T6" y="T7"/>
                </a:cxn>
                <a:cxn ang="0">
                  <a:pos x="T8" y="T9"/>
                </a:cxn>
              </a:cxnLst>
              <a:rect l="0" t="0" r="r" b="b"/>
              <a:pathLst>
                <a:path w="764" h="904">
                  <a:moveTo>
                    <a:pt x="764" y="833"/>
                  </a:moveTo>
                  <a:lnTo>
                    <a:pt x="676" y="904"/>
                  </a:lnTo>
                  <a:lnTo>
                    <a:pt x="0" y="71"/>
                  </a:lnTo>
                  <a:lnTo>
                    <a:pt x="87" y="0"/>
                  </a:lnTo>
                  <a:lnTo>
                    <a:pt x="764" y="833"/>
                  </a:lnTo>
                  <a:close/>
                </a:path>
              </a:pathLst>
            </a:custGeom>
            <a:solidFill>
              <a:srgbClr val="3D5D91"/>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00" name="Freeform 41">
              <a:extLst>
                <a:ext uri="{FF2B5EF4-FFF2-40B4-BE49-F238E27FC236}">
                  <a16:creationId xmlns:a16="http://schemas.microsoft.com/office/drawing/2014/main" id="{E4001DB8-CB17-4A5B-A72B-1D4CFD94FC3E}"/>
                </a:ext>
              </a:extLst>
            </p:cNvPr>
            <p:cNvSpPr>
              <a:spLocks/>
            </p:cNvSpPr>
            <p:nvPr/>
          </p:nvSpPr>
          <p:spPr bwMode="auto">
            <a:xfrm>
              <a:off x="4656931" y="4291806"/>
              <a:ext cx="1127125" cy="1365250"/>
            </a:xfrm>
            <a:custGeom>
              <a:avLst/>
              <a:gdLst>
                <a:gd name="T0" fmla="*/ 710 w 710"/>
                <a:gd name="T1" fmla="*/ 833 h 860"/>
                <a:gd name="T2" fmla="*/ 677 w 710"/>
                <a:gd name="T3" fmla="*/ 860 h 860"/>
                <a:gd name="T4" fmla="*/ 0 w 710"/>
                <a:gd name="T5" fmla="*/ 27 h 860"/>
                <a:gd name="T6" fmla="*/ 34 w 710"/>
                <a:gd name="T7" fmla="*/ 0 h 860"/>
                <a:gd name="T8" fmla="*/ 710 w 710"/>
                <a:gd name="T9" fmla="*/ 833 h 860"/>
              </a:gdLst>
              <a:ahLst/>
              <a:cxnLst>
                <a:cxn ang="0">
                  <a:pos x="T0" y="T1"/>
                </a:cxn>
                <a:cxn ang="0">
                  <a:pos x="T2" y="T3"/>
                </a:cxn>
                <a:cxn ang="0">
                  <a:pos x="T4" y="T5"/>
                </a:cxn>
                <a:cxn ang="0">
                  <a:pos x="T6" y="T7"/>
                </a:cxn>
                <a:cxn ang="0">
                  <a:pos x="T8" y="T9"/>
                </a:cxn>
              </a:cxnLst>
              <a:rect l="0" t="0" r="r" b="b"/>
              <a:pathLst>
                <a:path w="710" h="860">
                  <a:moveTo>
                    <a:pt x="710" y="833"/>
                  </a:moveTo>
                  <a:lnTo>
                    <a:pt x="677" y="860"/>
                  </a:lnTo>
                  <a:lnTo>
                    <a:pt x="0" y="27"/>
                  </a:lnTo>
                  <a:lnTo>
                    <a:pt x="34" y="0"/>
                  </a:lnTo>
                  <a:lnTo>
                    <a:pt x="710" y="833"/>
                  </a:lnTo>
                  <a:close/>
                </a:path>
              </a:pathLst>
            </a:custGeom>
            <a:solidFill>
              <a:srgbClr val="00B3E7"/>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01" name="Freeform 42">
              <a:extLst>
                <a:ext uri="{FF2B5EF4-FFF2-40B4-BE49-F238E27FC236}">
                  <a16:creationId xmlns:a16="http://schemas.microsoft.com/office/drawing/2014/main" id="{22DCBAC0-C25A-4759-9586-BED7106269DC}"/>
                </a:ext>
              </a:extLst>
            </p:cNvPr>
            <p:cNvSpPr>
              <a:spLocks/>
            </p:cNvSpPr>
            <p:nvPr/>
          </p:nvSpPr>
          <p:spPr bwMode="auto">
            <a:xfrm>
              <a:off x="4506119" y="4102894"/>
              <a:ext cx="247650" cy="266700"/>
            </a:xfrm>
            <a:custGeom>
              <a:avLst/>
              <a:gdLst>
                <a:gd name="T0" fmla="*/ 2 w 141"/>
                <a:gd name="T1" fmla="*/ 5 h 151"/>
                <a:gd name="T2" fmla="*/ 62 w 141"/>
                <a:gd name="T3" fmla="*/ 151 h 151"/>
                <a:gd name="T4" fmla="*/ 141 w 141"/>
                <a:gd name="T5" fmla="*/ 87 h 151"/>
                <a:gd name="T6" fmla="*/ 6 w 141"/>
                <a:gd name="T7" fmla="*/ 1 h 151"/>
                <a:gd name="T8" fmla="*/ 2 w 141"/>
                <a:gd name="T9" fmla="*/ 5 h 151"/>
              </a:gdLst>
              <a:ahLst/>
              <a:cxnLst>
                <a:cxn ang="0">
                  <a:pos x="T0" y="T1"/>
                </a:cxn>
                <a:cxn ang="0">
                  <a:pos x="T2" y="T3"/>
                </a:cxn>
                <a:cxn ang="0">
                  <a:pos x="T4" y="T5"/>
                </a:cxn>
                <a:cxn ang="0">
                  <a:pos x="T6" y="T7"/>
                </a:cxn>
                <a:cxn ang="0">
                  <a:pos x="T8" y="T9"/>
                </a:cxn>
              </a:cxnLst>
              <a:rect l="0" t="0" r="r" b="b"/>
              <a:pathLst>
                <a:path w="141" h="151">
                  <a:moveTo>
                    <a:pt x="2" y="5"/>
                  </a:moveTo>
                  <a:cubicBezTo>
                    <a:pt x="62" y="151"/>
                    <a:pt x="62" y="151"/>
                    <a:pt x="62" y="151"/>
                  </a:cubicBezTo>
                  <a:cubicBezTo>
                    <a:pt x="141" y="87"/>
                    <a:pt x="141" y="87"/>
                    <a:pt x="141" y="87"/>
                  </a:cubicBezTo>
                  <a:cubicBezTo>
                    <a:pt x="6" y="1"/>
                    <a:pt x="6" y="1"/>
                    <a:pt x="6" y="1"/>
                  </a:cubicBezTo>
                  <a:cubicBezTo>
                    <a:pt x="4" y="0"/>
                    <a:pt x="0" y="2"/>
                    <a:pt x="2" y="5"/>
                  </a:cubicBezTo>
                  <a:close/>
                </a:path>
              </a:pathLst>
            </a:custGeom>
            <a:solidFill>
              <a:srgbClr val="D37187"/>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02" name="Freeform 43">
              <a:extLst>
                <a:ext uri="{FF2B5EF4-FFF2-40B4-BE49-F238E27FC236}">
                  <a16:creationId xmlns:a16="http://schemas.microsoft.com/office/drawing/2014/main" id="{1E50C827-9D70-4CB1-B4E3-6EC819A25410}"/>
                </a:ext>
              </a:extLst>
            </p:cNvPr>
            <p:cNvSpPr>
              <a:spLocks/>
            </p:cNvSpPr>
            <p:nvPr/>
          </p:nvSpPr>
          <p:spPr bwMode="auto">
            <a:xfrm>
              <a:off x="4506119" y="4102894"/>
              <a:ext cx="61913" cy="66675"/>
            </a:xfrm>
            <a:custGeom>
              <a:avLst/>
              <a:gdLst>
                <a:gd name="T0" fmla="*/ 35 w 35"/>
                <a:gd name="T1" fmla="*/ 20 h 38"/>
                <a:gd name="T2" fmla="*/ 6 w 35"/>
                <a:gd name="T3" fmla="*/ 1 h 38"/>
                <a:gd name="T4" fmla="*/ 2 w 35"/>
                <a:gd name="T5" fmla="*/ 5 h 38"/>
                <a:gd name="T6" fmla="*/ 15 w 35"/>
                <a:gd name="T7" fmla="*/ 38 h 38"/>
                <a:gd name="T8" fmla="*/ 35 w 35"/>
                <a:gd name="T9" fmla="*/ 20 h 38"/>
              </a:gdLst>
              <a:ahLst/>
              <a:cxnLst>
                <a:cxn ang="0">
                  <a:pos x="T0" y="T1"/>
                </a:cxn>
                <a:cxn ang="0">
                  <a:pos x="T2" y="T3"/>
                </a:cxn>
                <a:cxn ang="0">
                  <a:pos x="T4" y="T5"/>
                </a:cxn>
                <a:cxn ang="0">
                  <a:pos x="T6" y="T7"/>
                </a:cxn>
                <a:cxn ang="0">
                  <a:pos x="T8" y="T9"/>
                </a:cxn>
              </a:cxnLst>
              <a:rect l="0" t="0" r="r" b="b"/>
              <a:pathLst>
                <a:path w="35" h="38">
                  <a:moveTo>
                    <a:pt x="35" y="20"/>
                  </a:moveTo>
                  <a:cubicBezTo>
                    <a:pt x="6" y="1"/>
                    <a:pt x="6" y="1"/>
                    <a:pt x="6" y="1"/>
                  </a:cubicBezTo>
                  <a:cubicBezTo>
                    <a:pt x="4" y="0"/>
                    <a:pt x="0" y="2"/>
                    <a:pt x="2" y="5"/>
                  </a:cubicBezTo>
                  <a:cubicBezTo>
                    <a:pt x="15" y="38"/>
                    <a:pt x="15" y="38"/>
                    <a:pt x="15" y="38"/>
                  </a:cubicBezTo>
                  <a:lnTo>
                    <a:pt x="35" y="20"/>
                  </a:lnTo>
                  <a:close/>
                </a:path>
              </a:pathLst>
            </a:custGeom>
            <a:solidFill>
              <a:srgbClr val="3D5D91"/>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03" name="Freeform 44">
              <a:extLst>
                <a:ext uri="{FF2B5EF4-FFF2-40B4-BE49-F238E27FC236}">
                  <a16:creationId xmlns:a16="http://schemas.microsoft.com/office/drawing/2014/main" id="{D8F0EA15-5FF0-42C9-89EE-75E75518CA9C}"/>
                </a:ext>
              </a:extLst>
            </p:cNvPr>
            <p:cNvSpPr>
              <a:spLocks/>
            </p:cNvSpPr>
            <p:nvPr/>
          </p:nvSpPr>
          <p:spPr bwMode="auto">
            <a:xfrm>
              <a:off x="6315869" y="3950494"/>
              <a:ext cx="604838" cy="1592263"/>
            </a:xfrm>
            <a:custGeom>
              <a:avLst/>
              <a:gdLst>
                <a:gd name="T0" fmla="*/ 285 w 343"/>
                <a:gd name="T1" fmla="*/ 14 h 903"/>
                <a:gd name="T2" fmla="*/ 252 w 343"/>
                <a:gd name="T3" fmla="*/ 129 h 903"/>
                <a:gd name="T4" fmla="*/ 292 w 343"/>
                <a:gd name="T5" fmla="*/ 141 h 903"/>
                <a:gd name="T6" fmla="*/ 330 w 343"/>
                <a:gd name="T7" fmla="*/ 221 h 903"/>
                <a:gd name="T8" fmla="*/ 75 w 343"/>
                <a:gd name="T9" fmla="*/ 865 h 903"/>
                <a:gd name="T10" fmla="*/ 16 w 343"/>
                <a:gd name="T11" fmla="*/ 900 h 903"/>
                <a:gd name="T12" fmla="*/ 0 w 343"/>
                <a:gd name="T13" fmla="*/ 898 h 903"/>
                <a:gd name="T14" fmla="*/ 224 w 343"/>
                <a:gd name="T15" fmla="*/ 0 h 903"/>
                <a:gd name="T16" fmla="*/ 285 w 343"/>
                <a:gd name="T17" fmla="*/ 14 h 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3" h="903">
                  <a:moveTo>
                    <a:pt x="285" y="14"/>
                  </a:moveTo>
                  <a:cubicBezTo>
                    <a:pt x="252" y="129"/>
                    <a:pt x="252" y="129"/>
                    <a:pt x="252" y="129"/>
                  </a:cubicBezTo>
                  <a:cubicBezTo>
                    <a:pt x="292" y="141"/>
                    <a:pt x="292" y="141"/>
                    <a:pt x="292" y="141"/>
                  </a:cubicBezTo>
                  <a:cubicBezTo>
                    <a:pt x="326" y="152"/>
                    <a:pt x="343" y="188"/>
                    <a:pt x="330" y="221"/>
                  </a:cubicBezTo>
                  <a:cubicBezTo>
                    <a:pt x="75" y="865"/>
                    <a:pt x="75" y="865"/>
                    <a:pt x="75" y="865"/>
                  </a:cubicBezTo>
                  <a:cubicBezTo>
                    <a:pt x="65" y="889"/>
                    <a:pt x="41" y="903"/>
                    <a:pt x="16" y="900"/>
                  </a:cubicBezTo>
                  <a:cubicBezTo>
                    <a:pt x="0" y="898"/>
                    <a:pt x="0" y="898"/>
                    <a:pt x="0" y="898"/>
                  </a:cubicBezTo>
                  <a:cubicBezTo>
                    <a:pt x="224" y="0"/>
                    <a:pt x="224" y="0"/>
                    <a:pt x="224" y="0"/>
                  </a:cubicBezTo>
                  <a:lnTo>
                    <a:pt x="285" y="14"/>
                  </a:lnTo>
                  <a:close/>
                </a:path>
              </a:pathLst>
            </a:custGeom>
            <a:solidFill>
              <a:srgbClr val="424242">
                <a:alpha val="20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04" name="Freeform 45">
              <a:extLst>
                <a:ext uri="{FF2B5EF4-FFF2-40B4-BE49-F238E27FC236}">
                  <a16:creationId xmlns:a16="http://schemas.microsoft.com/office/drawing/2014/main" id="{77EA6594-E603-4A5A-841E-EA66DFAC6383}"/>
                </a:ext>
              </a:extLst>
            </p:cNvPr>
            <p:cNvSpPr>
              <a:spLocks noEditPoints="1"/>
            </p:cNvSpPr>
            <p:nvPr/>
          </p:nvSpPr>
          <p:spPr bwMode="auto">
            <a:xfrm>
              <a:off x="6611144" y="3237706"/>
              <a:ext cx="538163" cy="747713"/>
            </a:xfrm>
            <a:custGeom>
              <a:avLst/>
              <a:gdLst>
                <a:gd name="T0" fmla="*/ 305 w 305"/>
                <a:gd name="T1" fmla="*/ 153 h 424"/>
                <a:gd name="T2" fmla="*/ 152 w 305"/>
                <a:gd name="T3" fmla="*/ 0 h 424"/>
                <a:gd name="T4" fmla="*/ 0 w 305"/>
                <a:gd name="T5" fmla="*/ 153 h 424"/>
                <a:gd name="T6" fmla="*/ 74 w 305"/>
                <a:gd name="T7" fmla="*/ 284 h 424"/>
                <a:gd name="T8" fmla="*/ 50 w 305"/>
                <a:gd name="T9" fmla="*/ 395 h 424"/>
                <a:gd name="T10" fmla="*/ 50 w 305"/>
                <a:gd name="T11" fmla="*/ 395 h 424"/>
                <a:gd name="T12" fmla="*/ 50 w 305"/>
                <a:gd name="T13" fmla="*/ 395 h 424"/>
                <a:gd name="T14" fmla="*/ 88 w 305"/>
                <a:gd name="T15" fmla="*/ 419 h 424"/>
                <a:gd name="T16" fmla="*/ 132 w 305"/>
                <a:gd name="T17" fmla="*/ 413 h 424"/>
                <a:gd name="T18" fmla="*/ 132 w 305"/>
                <a:gd name="T19" fmla="*/ 413 h 424"/>
                <a:gd name="T20" fmla="*/ 132 w 305"/>
                <a:gd name="T21" fmla="*/ 413 h 424"/>
                <a:gd name="T22" fmla="*/ 156 w 305"/>
                <a:gd name="T23" fmla="*/ 305 h 424"/>
                <a:gd name="T24" fmla="*/ 305 w 305"/>
                <a:gd name="T25" fmla="*/ 153 h 424"/>
                <a:gd name="T26" fmla="*/ 152 w 305"/>
                <a:gd name="T27" fmla="*/ 229 h 424"/>
                <a:gd name="T28" fmla="*/ 76 w 305"/>
                <a:gd name="T29" fmla="*/ 153 h 424"/>
                <a:gd name="T30" fmla="*/ 152 w 305"/>
                <a:gd name="T31" fmla="*/ 77 h 424"/>
                <a:gd name="T32" fmla="*/ 228 w 305"/>
                <a:gd name="T33" fmla="*/ 153 h 424"/>
                <a:gd name="T34" fmla="*/ 152 w 305"/>
                <a:gd name="T35" fmla="*/ 229 h 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5" h="424">
                  <a:moveTo>
                    <a:pt x="305" y="153"/>
                  </a:moveTo>
                  <a:cubicBezTo>
                    <a:pt x="305" y="68"/>
                    <a:pt x="237" y="0"/>
                    <a:pt x="152" y="0"/>
                  </a:cubicBezTo>
                  <a:cubicBezTo>
                    <a:pt x="68" y="0"/>
                    <a:pt x="0" y="68"/>
                    <a:pt x="0" y="153"/>
                  </a:cubicBezTo>
                  <a:cubicBezTo>
                    <a:pt x="0" y="208"/>
                    <a:pt x="30" y="257"/>
                    <a:pt x="74" y="284"/>
                  </a:cubicBezTo>
                  <a:cubicBezTo>
                    <a:pt x="50" y="395"/>
                    <a:pt x="50" y="395"/>
                    <a:pt x="50" y="395"/>
                  </a:cubicBezTo>
                  <a:cubicBezTo>
                    <a:pt x="50" y="395"/>
                    <a:pt x="50" y="395"/>
                    <a:pt x="50" y="395"/>
                  </a:cubicBezTo>
                  <a:cubicBezTo>
                    <a:pt x="50" y="395"/>
                    <a:pt x="50" y="395"/>
                    <a:pt x="50" y="395"/>
                  </a:cubicBezTo>
                  <a:cubicBezTo>
                    <a:pt x="48" y="403"/>
                    <a:pt x="65" y="414"/>
                    <a:pt x="88" y="419"/>
                  </a:cubicBezTo>
                  <a:cubicBezTo>
                    <a:pt x="111" y="424"/>
                    <a:pt x="131" y="421"/>
                    <a:pt x="132" y="413"/>
                  </a:cubicBezTo>
                  <a:cubicBezTo>
                    <a:pt x="132" y="413"/>
                    <a:pt x="132" y="413"/>
                    <a:pt x="132" y="413"/>
                  </a:cubicBezTo>
                  <a:cubicBezTo>
                    <a:pt x="132" y="413"/>
                    <a:pt x="132" y="413"/>
                    <a:pt x="132" y="413"/>
                  </a:cubicBezTo>
                  <a:cubicBezTo>
                    <a:pt x="156" y="305"/>
                    <a:pt x="156" y="305"/>
                    <a:pt x="156" y="305"/>
                  </a:cubicBezTo>
                  <a:cubicBezTo>
                    <a:pt x="239" y="303"/>
                    <a:pt x="305" y="235"/>
                    <a:pt x="305" y="153"/>
                  </a:cubicBezTo>
                  <a:close/>
                  <a:moveTo>
                    <a:pt x="152" y="229"/>
                  </a:moveTo>
                  <a:cubicBezTo>
                    <a:pt x="110" y="229"/>
                    <a:pt x="76" y="195"/>
                    <a:pt x="76" y="153"/>
                  </a:cubicBezTo>
                  <a:cubicBezTo>
                    <a:pt x="76" y="111"/>
                    <a:pt x="110" y="77"/>
                    <a:pt x="152" y="77"/>
                  </a:cubicBezTo>
                  <a:cubicBezTo>
                    <a:pt x="194" y="77"/>
                    <a:pt x="228" y="111"/>
                    <a:pt x="228" y="153"/>
                  </a:cubicBezTo>
                  <a:cubicBezTo>
                    <a:pt x="228" y="195"/>
                    <a:pt x="194" y="229"/>
                    <a:pt x="152" y="229"/>
                  </a:cubicBezTo>
                  <a:close/>
                </a:path>
              </a:pathLst>
            </a:custGeom>
            <a:solidFill>
              <a:srgbClr val="424242">
                <a:alpha val="20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05" name="Freeform 46">
              <a:extLst>
                <a:ext uri="{FF2B5EF4-FFF2-40B4-BE49-F238E27FC236}">
                  <a16:creationId xmlns:a16="http://schemas.microsoft.com/office/drawing/2014/main" id="{8F0B6B25-A18E-4C42-8E05-83A37DFB0800}"/>
                </a:ext>
              </a:extLst>
            </p:cNvPr>
            <p:cNvSpPr>
              <a:spLocks/>
            </p:cNvSpPr>
            <p:nvPr/>
          </p:nvSpPr>
          <p:spPr bwMode="auto">
            <a:xfrm>
              <a:off x="5634831" y="4144169"/>
              <a:ext cx="1497013" cy="842963"/>
            </a:xfrm>
            <a:custGeom>
              <a:avLst/>
              <a:gdLst>
                <a:gd name="T0" fmla="*/ 823 w 849"/>
                <a:gd name="T1" fmla="*/ 22 h 478"/>
                <a:gd name="T2" fmla="*/ 717 w 849"/>
                <a:gd name="T3" fmla="*/ 77 h 478"/>
                <a:gd name="T4" fmla="*/ 697 w 849"/>
                <a:gd name="T5" fmla="*/ 40 h 478"/>
                <a:gd name="T6" fmla="*/ 611 w 849"/>
                <a:gd name="T7" fmla="*/ 19 h 478"/>
                <a:gd name="T8" fmla="*/ 31 w 849"/>
                <a:gd name="T9" fmla="*/ 398 h 478"/>
                <a:gd name="T10" fmla="*/ 9 w 849"/>
                <a:gd name="T11" fmla="*/ 463 h 478"/>
                <a:gd name="T12" fmla="*/ 14 w 849"/>
                <a:gd name="T13" fmla="*/ 478 h 478"/>
                <a:gd name="T14" fmla="*/ 849 w 849"/>
                <a:gd name="T15" fmla="*/ 79 h 478"/>
                <a:gd name="T16" fmla="*/ 823 w 849"/>
                <a:gd name="T17" fmla="*/ 22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9" h="478">
                  <a:moveTo>
                    <a:pt x="823" y="22"/>
                  </a:moveTo>
                  <a:cubicBezTo>
                    <a:pt x="717" y="77"/>
                    <a:pt x="717" y="77"/>
                    <a:pt x="717" y="77"/>
                  </a:cubicBezTo>
                  <a:cubicBezTo>
                    <a:pt x="697" y="40"/>
                    <a:pt x="697" y="40"/>
                    <a:pt x="697" y="40"/>
                  </a:cubicBezTo>
                  <a:cubicBezTo>
                    <a:pt x="680" y="10"/>
                    <a:pt x="641" y="0"/>
                    <a:pt x="611" y="19"/>
                  </a:cubicBezTo>
                  <a:cubicBezTo>
                    <a:pt x="31" y="398"/>
                    <a:pt x="31" y="398"/>
                    <a:pt x="31" y="398"/>
                  </a:cubicBezTo>
                  <a:cubicBezTo>
                    <a:pt x="10" y="412"/>
                    <a:pt x="0" y="438"/>
                    <a:pt x="9" y="463"/>
                  </a:cubicBezTo>
                  <a:cubicBezTo>
                    <a:pt x="14" y="478"/>
                    <a:pt x="14" y="478"/>
                    <a:pt x="14" y="478"/>
                  </a:cubicBezTo>
                  <a:cubicBezTo>
                    <a:pt x="849" y="79"/>
                    <a:pt x="849" y="79"/>
                    <a:pt x="849" y="79"/>
                  </a:cubicBezTo>
                  <a:lnTo>
                    <a:pt x="823" y="22"/>
                  </a:lnTo>
                  <a:close/>
                </a:path>
              </a:pathLst>
            </a:custGeom>
            <a:solidFill>
              <a:srgbClr val="4242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06" name="Oval 47">
              <a:extLst>
                <a:ext uri="{FF2B5EF4-FFF2-40B4-BE49-F238E27FC236}">
                  <a16:creationId xmlns:a16="http://schemas.microsoft.com/office/drawing/2014/main" id="{2160CCCC-85FF-452F-AC1D-A8597035BE3B}"/>
                </a:ext>
              </a:extLst>
            </p:cNvPr>
            <p:cNvSpPr>
              <a:spLocks noChangeArrowheads="1"/>
            </p:cNvSpPr>
            <p:nvPr/>
          </p:nvSpPr>
          <p:spPr bwMode="auto">
            <a:xfrm>
              <a:off x="6711156" y="4255294"/>
              <a:ext cx="119063" cy="119063"/>
            </a:xfrm>
            <a:prstGeom prst="ellipse">
              <a:avLst/>
            </a:prstGeom>
            <a:solidFill>
              <a:srgbClr val="4242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07" name="Freeform 48">
              <a:extLst>
                <a:ext uri="{FF2B5EF4-FFF2-40B4-BE49-F238E27FC236}">
                  <a16:creationId xmlns:a16="http://schemas.microsoft.com/office/drawing/2014/main" id="{B6B82289-1B9C-4B0A-BEB0-047CCADCCB39}"/>
                </a:ext>
              </a:extLst>
            </p:cNvPr>
            <p:cNvSpPr>
              <a:spLocks noEditPoints="1"/>
            </p:cNvSpPr>
            <p:nvPr/>
          </p:nvSpPr>
          <p:spPr bwMode="auto">
            <a:xfrm>
              <a:off x="7079456" y="3734594"/>
              <a:ext cx="762000" cy="603250"/>
            </a:xfrm>
            <a:custGeom>
              <a:avLst/>
              <a:gdLst>
                <a:gd name="T0" fmla="*/ 356 w 432"/>
                <a:gd name="T1" fmla="*/ 291 h 342"/>
                <a:gd name="T2" fmla="*/ 380 w 432"/>
                <a:gd name="T3" fmla="*/ 76 h 342"/>
                <a:gd name="T4" fmla="*/ 166 w 432"/>
                <a:gd name="T5" fmla="*/ 52 h 342"/>
                <a:gd name="T6" fmla="*/ 110 w 432"/>
                <a:gd name="T7" fmla="*/ 192 h 342"/>
                <a:gd name="T8" fmla="*/ 8 w 432"/>
                <a:gd name="T9" fmla="*/ 241 h 342"/>
                <a:gd name="T10" fmla="*/ 8 w 432"/>
                <a:gd name="T11" fmla="*/ 241 h 342"/>
                <a:gd name="T12" fmla="*/ 7 w 432"/>
                <a:gd name="T13" fmla="*/ 242 h 342"/>
                <a:gd name="T14" fmla="*/ 12 w 432"/>
                <a:gd name="T15" fmla="*/ 286 h 342"/>
                <a:gd name="T16" fmla="*/ 44 w 432"/>
                <a:gd name="T17" fmla="*/ 318 h 342"/>
                <a:gd name="T18" fmla="*/ 45 w 432"/>
                <a:gd name="T19" fmla="*/ 317 h 342"/>
                <a:gd name="T20" fmla="*/ 45 w 432"/>
                <a:gd name="T21" fmla="*/ 317 h 342"/>
                <a:gd name="T22" fmla="*/ 144 w 432"/>
                <a:gd name="T23" fmla="*/ 269 h 342"/>
                <a:gd name="T24" fmla="*/ 356 w 432"/>
                <a:gd name="T25" fmla="*/ 291 h 342"/>
                <a:gd name="T26" fmla="*/ 201 w 432"/>
                <a:gd name="T27" fmla="*/ 219 h 342"/>
                <a:gd name="T28" fmla="*/ 213 w 432"/>
                <a:gd name="T29" fmla="*/ 112 h 342"/>
                <a:gd name="T30" fmla="*/ 320 w 432"/>
                <a:gd name="T31" fmla="*/ 124 h 342"/>
                <a:gd name="T32" fmla="*/ 308 w 432"/>
                <a:gd name="T33" fmla="*/ 231 h 342"/>
                <a:gd name="T34" fmla="*/ 201 w 432"/>
                <a:gd name="T35" fmla="*/ 21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32" h="342">
                  <a:moveTo>
                    <a:pt x="356" y="291"/>
                  </a:moveTo>
                  <a:cubicBezTo>
                    <a:pt x="421" y="238"/>
                    <a:pt x="432" y="142"/>
                    <a:pt x="380" y="76"/>
                  </a:cubicBezTo>
                  <a:cubicBezTo>
                    <a:pt x="328" y="11"/>
                    <a:pt x="232" y="0"/>
                    <a:pt x="166" y="52"/>
                  </a:cubicBezTo>
                  <a:cubicBezTo>
                    <a:pt x="122" y="87"/>
                    <a:pt x="103" y="140"/>
                    <a:pt x="110" y="192"/>
                  </a:cubicBezTo>
                  <a:cubicBezTo>
                    <a:pt x="8" y="241"/>
                    <a:pt x="8" y="241"/>
                    <a:pt x="8" y="241"/>
                  </a:cubicBezTo>
                  <a:cubicBezTo>
                    <a:pt x="8" y="241"/>
                    <a:pt x="8" y="241"/>
                    <a:pt x="8" y="241"/>
                  </a:cubicBezTo>
                  <a:cubicBezTo>
                    <a:pt x="8" y="242"/>
                    <a:pt x="7" y="242"/>
                    <a:pt x="7" y="242"/>
                  </a:cubicBezTo>
                  <a:cubicBezTo>
                    <a:pt x="0" y="245"/>
                    <a:pt x="2" y="265"/>
                    <a:pt x="12" y="286"/>
                  </a:cubicBezTo>
                  <a:cubicBezTo>
                    <a:pt x="22" y="307"/>
                    <a:pt x="37" y="321"/>
                    <a:pt x="44" y="318"/>
                  </a:cubicBezTo>
                  <a:cubicBezTo>
                    <a:pt x="45" y="318"/>
                    <a:pt x="45" y="317"/>
                    <a:pt x="45" y="317"/>
                  </a:cubicBezTo>
                  <a:cubicBezTo>
                    <a:pt x="45" y="317"/>
                    <a:pt x="45" y="317"/>
                    <a:pt x="45" y="317"/>
                  </a:cubicBezTo>
                  <a:cubicBezTo>
                    <a:pt x="144" y="269"/>
                    <a:pt x="144" y="269"/>
                    <a:pt x="144" y="269"/>
                  </a:cubicBezTo>
                  <a:cubicBezTo>
                    <a:pt x="197" y="332"/>
                    <a:pt x="291" y="342"/>
                    <a:pt x="356" y="291"/>
                  </a:cubicBezTo>
                  <a:close/>
                  <a:moveTo>
                    <a:pt x="201" y="219"/>
                  </a:moveTo>
                  <a:cubicBezTo>
                    <a:pt x="175" y="186"/>
                    <a:pt x="181" y="138"/>
                    <a:pt x="213" y="112"/>
                  </a:cubicBezTo>
                  <a:cubicBezTo>
                    <a:pt x="246" y="86"/>
                    <a:pt x="294" y="91"/>
                    <a:pt x="320" y="124"/>
                  </a:cubicBezTo>
                  <a:cubicBezTo>
                    <a:pt x="346" y="157"/>
                    <a:pt x="341" y="205"/>
                    <a:pt x="308" y="231"/>
                  </a:cubicBezTo>
                  <a:cubicBezTo>
                    <a:pt x="275" y="257"/>
                    <a:pt x="227" y="251"/>
                    <a:pt x="201" y="219"/>
                  </a:cubicBezTo>
                  <a:close/>
                </a:path>
              </a:pathLst>
            </a:custGeom>
            <a:solidFill>
              <a:srgbClr val="424242">
                <a:alpha val="20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08" name="Freeform 49">
              <a:extLst>
                <a:ext uri="{FF2B5EF4-FFF2-40B4-BE49-F238E27FC236}">
                  <a16:creationId xmlns:a16="http://schemas.microsoft.com/office/drawing/2014/main" id="{82C39DEA-0D6D-432B-8FCD-3938F2CC944A}"/>
                </a:ext>
              </a:extLst>
            </p:cNvPr>
            <p:cNvSpPr>
              <a:spLocks/>
            </p:cNvSpPr>
            <p:nvPr/>
          </p:nvSpPr>
          <p:spPr bwMode="auto">
            <a:xfrm>
              <a:off x="6352381" y="3913981"/>
              <a:ext cx="604838" cy="1592263"/>
            </a:xfrm>
            <a:custGeom>
              <a:avLst/>
              <a:gdLst>
                <a:gd name="T0" fmla="*/ 285 w 343"/>
                <a:gd name="T1" fmla="*/ 14 h 903"/>
                <a:gd name="T2" fmla="*/ 252 w 343"/>
                <a:gd name="T3" fmla="*/ 129 h 903"/>
                <a:gd name="T4" fmla="*/ 292 w 343"/>
                <a:gd name="T5" fmla="*/ 141 h 903"/>
                <a:gd name="T6" fmla="*/ 330 w 343"/>
                <a:gd name="T7" fmla="*/ 221 h 903"/>
                <a:gd name="T8" fmla="*/ 75 w 343"/>
                <a:gd name="T9" fmla="*/ 865 h 903"/>
                <a:gd name="T10" fmla="*/ 16 w 343"/>
                <a:gd name="T11" fmla="*/ 900 h 903"/>
                <a:gd name="T12" fmla="*/ 0 w 343"/>
                <a:gd name="T13" fmla="*/ 898 h 903"/>
                <a:gd name="T14" fmla="*/ 224 w 343"/>
                <a:gd name="T15" fmla="*/ 0 h 903"/>
                <a:gd name="T16" fmla="*/ 285 w 343"/>
                <a:gd name="T17" fmla="*/ 14 h 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3" h="903">
                  <a:moveTo>
                    <a:pt x="285" y="14"/>
                  </a:moveTo>
                  <a:cubicBezTo>
                    <a:pt x="252" y="129"/>
                    <a:pt x="252" y="129"/>
                    <a:pt x="252" y="129"/>
                  </a:cubicBezTo>
                  <a:cubicBezTo>
                    <a:pt x="292" y="141"/>
                    <a:pt x="292" y="141"/>
                    <a:pt x="292" y="141"/>
                  </a:cubicBezTo>
                  <a:cubicBezTo>
                    <a:pt x="326" y="152"/>
                    <a:pt x="343" y="188"/>
                    <a:pt x="330" y="221"/>
                  </a:cubicBezTo>
                  <a:cubicBezTo>
                    <a:pt x="75" y="865"/>
                    <a:pt x="75" y="865"/>
                    <a:pt x="75" y="865"/>
                  </a:cubicBezTo>
                  <a:cubicBezTo>
                    <a:pt x="65" y="889"/>
                    <a:pt x="41" y="903"/>
                    <a:pt x="16" y="900"/>
                  </a:cubicBezTo>
                  <a:cubicBezTo>
                    <a:pt x="0" y="898"/>
                    <a:pt x="0" y="898"/>
                    <a:pt x="0" y="898"/>
                  </a:cubicBezTo>
                  <a:cubicBezTo>
                    <a:pt x="224" y="0"/>
                    <a:pt x="224" y="0"/>
                    <a:pt x="224" y="0"/>
                  </a:cubicBezTo>
                  <a:lnTo>
                    <a:pt x="285" y="14"/>
                  </a:lnTo>
                  <a:close/>
                </a:path>
              </a:pathLst>
            </a:custGeom>
            <a:solidFill>
              <a:srgbClr val="ACA5A5"/>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09" name="Freeform 50">
              <a:extLst>
                <a:ext uri="{FF2B5EF4-FFF2-40B4-BE49-F238E27FC236}">
                  <a16:creationId xmlns:a16="http://schemas.microsoft.com/office/drawing/2014/main" id="{DFEBE25D-F8F2-46B7-99AD-2AF09812DBF2}"/>
                </a:ext>
              </a:extLst>
            </p:cNvPr>
            <p:cNvSpPr>
              <a:spLocks noEditPoints="1"/>
            </p:cNvSpPr>
            <p:nvPr/>
          </p:nvSpPr>
          <p:spPr bwMode="auto">
            <a:xfrm>
              <a:off x="6646069" y="3202781"/>
              <a:ext cx="538163" cy="747713"/>
            </a:xfrm>
            <a:custGeom>
              <a:avLst/>
              <a:gdLst>
                <a:gd name="T0" fmla="*/ 305 w 305"/>
                <a:gd name="T1" fmla="*/ 153 h 424"/>
                <a:gd name="T2" fmla="*/ 152 w 305"/>
                <a:gd name="T3" fmla="*/ 0 h 424"/>
                <a:gd name="T4" fmla="*/ 0 w 305"/>
                <a:gd name="T5" fmla="*/ 153 h 424"/>
                <a:gd name="T6" fmla="*/ 74 w 305"/>
                <a:gd name="T7" fmla="*/ 284 h 424"/>
                <a:gd name="T8" fmla="*/ 50 w 305"/>
                <a:gd name="T9" fmla="*/ 395 h 424"/>
                <a:gd name="T10" fmla="*/ 50 w 305"/>
                <a:gd name="T11" fmla="*/ 395 h 424"/>
                <a:gd name="T12" fmla="*/ 50 w 305"/>
                <a:gd name="T13" fmla="*/ 395 h 424"/>
                <a:gd name="T14" fmla="*/ 88 w 305"/>
                <a:gd name="T15" fmla="*/ 419 h 424"/>
                <a:gd name="T16" fmla="*/ 132 w 305"/>
                <a:gd name="T17" fmla="*/ 413 h 424"/>
                <a:gd name="T18" fmla="*/ 132 w 305"/>
                <a:gd name="T19" fmla="*/ 413 h 424"/>
                <a:gd name="T20" fmla="*/ 132 w 305"/>
                <a:gd name="T21" fmla="*/ 413 h 424"/>
                <a:gd name="T22" fmla="*/ 156 w 305"/>
                <a:gd name="T23" fmla="*/ 305 h 424"/>
                <a:gd name="T24" fmla="*/ 305 w 305"/>
                <a:gd name="T25" fmla="*/ 153 h 424"/>
                <a:gd name="T26" fmla="*/ 152 w 305"/>
                <a:gd name="T27" fmla="*/ 229 h 424"/>
                <a:gd name="T28" fmla="*/ 76 w 305"/>
                <a:gd name="T29" fmla="*/ 153 h 424"/>
                <a:gd name="T30" fmla="*/ 152 w 305"/>
                <a:gd name="T31" fmla="*/ 77 h 424"/>
                <a:gd name="T32" fmla="*/ 228 w 305"/>
                <a:gd name="T33" fmla="*/ 153 h 424"/>
                <a:gd name="T34" fmla="*/ 152 w 305"/>
                <a:gd name="T35" fmla="*/ 229 h 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5" h="424">
                  <a:moveTo>
                    <a:pt x="305" y="153"/>
                  </a:moveTo>
                  <a:cubicBezTo>
                    <a:pt x="305" y="68"/>
                    <a:pt x="237" y="0"/>
                    <a:pt x="152" y="0"/>
                  </a:cubicBezTo>
                  <a:cubicBezTo>
                    <a:pt x="68" y="0"/>
                    <a:pt x="0" y="68"/>
                    <a:pt x="0" y="153"/>
                  </a:cubicBezTo>
                  <a:cubicBezTo>
                    <a:pt x="0" y="208"/>
                    <a:pt x="30" y="257"/>
                    <a:pt x="74" y="284"/>
                  </a:cubicBezTo>
                  <a:cubicBezTo>
                    <a:pt x="50" y="395"/>
                    <a:pt x="50" y="395"/>
                    <a:pt x="50" y="395"/>
                  </a:cubicBezTo>
                  <a:cubicBezTo>
                    <a:pt x="50" y="395"/>
                    <a:pt x="50" y="395"/>
                    <a:pt x="50" y="395"/>
                  </a:cubicBezTo>
                  <a:cubicBezTo>
                    <a:pt x="50" y="395"/>
                    <a:pt x="50" y="395"/>
                    <a:pt x="50" y="395"/>
                  </a:cubicBezTo>
                  <a:cubicBezTo>
                    <a:pt x="48" y="403"/>
                    <a:pt x="65" y="414"/>
                    <a:pt x="88" y="419"/>
                  </a:cubicBezTo>
                  <a:cubicBezTo>
                    <a:pt x="111" y="424"/>
                    <a:pt x="131" y="421"/>
                    <a:pt x="132" y="413"/>
                  </a:cubicBezTo>
                  <a:cubicBezTo>
                    <a:pt x="132" y="413"/>
                    <a:pt x="132" y="413"/>
                    <a:pt x="132" y="413"/>
                  </a:cubicBezTo>
                  <a:cubicBezTo>
                    <a:pt x="132" y="413"/>
                    <a:pt x="132" y="413"/>
                    <a:pt x="132" y="413"/>
                  </a:cubicBezTo>
                  <a:cubicBezTo>
                    <a:pt x="156" y="305"/>
                    <a:pt x="156" y="305"/>
                    <a:pt x="156" y="305"/>
                  </a:cubicBezTo>
                  <a:cubicBezTo>
                    <a:pt x="239" y="303"/>
                    <a:pt x="305" y="235"/>
                    <a:pt x="305" y="153"/>
                  </a:cubicBezTo>
                  <a:close/>
                  <a:moveTo>
                    <a:pt x="152" y="229"/>
                  </a:moveTo>
                  <a:cubicBezTo>
                    <a:pt x="110" y="229"/>
                    <a:pt x="76" y="195"/>
                    <a:pt x="76" y="153"/>
                  </a:cubicBezTo>
                  <a:cubicBezTo>
                    <a:pt x="76" y="111"/>
                    <a:pt x="110" y="77"/>
                    <a:pt x="152" y="77"/>
                  </a:cubicBezTo>
                  <a:cubicBezTo>
                    <a:pt x="194" y="77"/>
                    <a:pt x="228" y="111"/>
                    <a:pt x="228" y="153"/>
                  </a:cubicBezTo>
                  <a:cubicBezTo>
                    <a:pt x="228" y="195"/>
                    <a:pt x="194" y="229"/>
                    <a:pt x="152" y="229"/>
                  </a:cubicBezTo>
                  <a:close/>
                </a:path>
              </a:pathLst>
            </a:custGeom>
            <a:solidFill>
              <a:srgbClr val="194A76"/>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10" name="Freeform 51">
              <a:extLst>
                <a:ext uri="{FF2B5EF4-FFF2-40B4-BE49-F238E27FC236}">
                  <a16:creationId xmlns:a16="http://schemas.microsoft.com/office/drawing/2014/main" id="{62E24295-36BA-40C9-B1E9-D5221AFDFF4E}"/>
                </a:ext>
              </a:extLst>
            </p:cNvPr>
            <p:cNvSpPr>
              <a:spLocks/>
            </p:cNvSpPr>
            <p:nvPr/>
          </p:nvSpPr>
          <p:spPr bwMode="auto">
            <a:xfrm>
              <a:off x="5669756" y="4107656"/>
              <a:ext cx="1497013" cy="842963"/>
            </a:xfrm>
            <a:custGeom>
              <a:avLst/>
              <a:gdLst>
                <a:gd name="T0" fmla="*/ 823 w 849"/>
                <a:gd name="T1" fmla="*/ 22 h 478"/>
                <a:gd name="T2" fmla="*/ 717 w 849"/>
                <a:gd name="T3" fmla="*/ 77 h 478"/>
                <a:gd name="T4" fmla="*/ 697 w 849"/>
                <a:gd name="T5" fmla="*/ 40 h 478"/>
                <a:gd name="T6" fmla="*/ 611 w 849"/>
                <a:gd name="T7" fmla="*/ 19 h 478"/>
                <a:gd name="T8" fmla="*/ 31 w 849"/>
                <a:gd name="T9" fmla="*/ 398 h 478"/>
                <a:gd name="T10" fmla="*/ 9 w 849"/>
                <a:gd name="T11" fmla="*/ 463 h 478"/>
                <a:gd name="T12" fmla="*/ 14 w 849"/>
                <a:gd name="T13" fmla="*/ 478 h 478"/>
                <a:gd name="T14" fmla="*/ 849 w 849"/>
                <a:gd name="T15" fmla="*/ 79 h 478"/>
                <a:gd name="T16" fmla="*/ 823 w 849"/>
                <a:gd name="T17" fmla="*/ 22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9" h="478">
                  <a:moveTo>
                    <a:pt x="823" y="22"/>
                  </a:moveTo>
                  <a:cubicBezTo>
                    <a:pt x="717" y="77"/>
                    <a:pt x="717" y="77"/>
                    <a:pt x="717" y="77"/>
                  </a:cubicBezTo>
                  <a:cubicBezTo>
                    <a:pt x="697" y="40"/>
                    <a:pt x="697" y="40"/>
                    <a:pt x="697" y="40"/>
                  </a:cubicBezTo>
                  <a:cubicBezTo>
                    <a:pt x="680" y="10"/>
                    <a:pt x="641" y="0"/>
                    <a:pt x="611" y="19"/>
                  </a:cubicBezTo>
                  <a:cubicBezTo>
                    <a:pt x="31" y="398"/>
                    <a:pt x="31" y="398"/>
                    <a:pt x="31" y="398"/>
                  </a:cubicBezTo>
                  <a:cubicBezTo>
                    <a:pt x="10" y="412"/>
                    <a:pt x="0" y="438"/>
                    <a:pt x="9" y="463"/>
                  </a:cubicBezTo>
                  <a:cubicBezTo>
                    <a:pt x="14" y="478"/>
                    <a:pt x="14" y="478"/>
                    <a:pt x="14" y="478"/>
                  </a:cubicBezTo>
                  <a:cubicBezTo>
                    <a:pt x="849" y="79"/>
                    <a:pt x="849" y="79"/>
                    <a:pt x="849" y="79"/>
                  </a:cubicBezTo>
                  <a:lnTo>
                    <a:pt x="823" y="22"/>
                  </a:lnTo>
                  <a:close/>
                </a:path>
              </a:pathLst>
            </a:custGeom>
            <a:solidFill>
              <a:srgbClr val="DDD0D5"/>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11" name="Oval 52">
              <a:extLst>
                <a:ext uri="{FF2B5EF4-FFF2-40B4-BE49-F238E27FC236}">
                  <a16:creationId xmlns:a16="http://schemas.microsoft.com/office/drawing/2014/main" id="{3F72A68C-D8FA-4BD9-9E39-8302240C7B85}"/>
                </a:ext>
              </a:extLst>
            </p:cNvPr>
            <p:cNvSpPr>
              <a:spLocks noChangeArrowheads="1"/>
            </p:cNvSpPr>
            <p:nvPr/>
          </p:nvSpPr>
          <p:spPr bwMode="auto">
            <a:xfrm>
              <a:off x="6746081" y="4218781"/>
              <a:ext cx="119063" cy="120650"/>
            </a:xfrm>
            <a:prstGeom prst="ellipse">
              <a:avLst/>
            </a:prstGeom>
            <a:solidFill>
              <a:srgbClr val="AC9FA9"/>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12" name="Freeform 53">
              <a:extLst>
                <a:ext uri="{FF2B5EF4-FFF2-40B4-BE49-F238E27FC236}">
                  <a16:creationId xmlns:a16="http://schemas.microsoft.com/office/drawing/2014/main" id="{F635E47D-E07B-4ACD-9C2B-415EE158AC56}"/>
                </a:ext>
              </a:extLst>
            </p:cNvPr>
            <p:cNvSpPr>
              <a:spLocks noEditPoints="1"/>
            </p:cNvSpPr>
            <p:nvPr/>
          </p:nvSpPr>
          <p:spPr bwMode="auto">
            <a:xfrm>
              <a:off x="7115969" y="3699669"/>
              <a:ext cx="760413" cy="603250"/>
            </a:xfrm>
            <a:custGeom>
              <a:avLst/>
              <a:gdLst>
                <a:gd name="T0" fmla="*/ 356 w 432"/>
                <a:gd name="T1" fmla="*/ 291 h 342"/>
                <a:gd name="T2" fmla="*/ 380 w 432"/>
                <a:gd name="T3" fmla="*/ 76 h 342"/>
                <a:gd name="T4" fmla="*/ 166 w 432"/>
                <a:gd name="T5" fmla="*/ 52 h 342"/>
                <a:gd name="T6" fmla="*/ 110 w 432"/>
                <a:gd name="T7" fmla="*/ 192 h 342"/>
                <a:gd name="T8" fmla="*/ 8 w 432"/>
                <a:gd name="T9" fmla="*/ 241 h 342"/>
                <a:gd name="T10" fmla="*/ 8 w 432"/>
                <a:gd name="T11" fmla="*/ 241 h 342"/>
                <a:gd name="T12" fmla="*/ 7 w 432"/>
                <a:gd name="T13" fmla="*/ 242 h 342"/>
                <a:gd name="T14" fmla="*/ 12 w 432"/>
                <a:gd name="T15" fmla="*/ 286 h 342"/>
                <a:gd name="T16" fmla="*/ 44 w 432"/>
                <a:gd name="T17" fmla="*/ 318 h 342"/>
                <a:gd name="T18" fmla="*/ 45 w 432"/>
                <a:gd name="T19" fmla="*/ 317 h 342"/>
                <a:gd name="T20" fmla="*/ 45 w 432"/>
                <a:gd name="T21" fmla="*/ 317 h 342"/>
                <a:gd name="T22" fmla="*/ 144 w 432"/>
                <a:gd name="T23" fmla="*/ 269 h 342"/>
                <a:gd name="T24" fmla="*/ 356 w 432"/>
                <a:gd name="T25" fmla="*/ 291 h 342"/>
                <a:gd name="T26" fmla="*/ 201 w 432"/>
                <a:gd name="T27" fmla="*/ 219 h 342"/>
                <a:gd name="T28" fmla="*/ 213 w 432"/>
                <a:gd name="T29" fmla="*/ 112 h 342"/>
                <a:gd name="T30" fmla="*/ 320 w 432"/>
                <a:gd name="T31" fmla="*/ 124 h 342"/>
                <a:gd name="T32" fmla="*/ 308 w 432"/>
                <a:gd name="T33" fmla="*/ 231 h 342"/>
                <a:gd name="T34" fmla="*/ 201 w 432"/>
                <a:gd name="T35" fmla="*/ 21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32" h="342">
                  <a:moveTo>
                    <a:pt x="356" y="291"/>
                  </a:moveTo>
                  <a:cubicBezTo>
                    <a:pt x="421" y="238"/>
                    <a:pt x="432" y="142"/>
                    <a:pt x="380" y="76"/>
                  </a:cubicBezTo>
                  <a:cubicBezTo>
                    <a:pt x="328" y="11"/>
                    <a:pt x="232" y="0"/>
                    <a:pt x="166" y="52"/>
                  </a:cubicBezTo>
                  <a:cubicBezTo>
                    <a:pt x="122" y="87"/>
                    <a:pt x="103" y="140"/>
                    <a:pt x="110" y="192"/>
                  </a:cubicBezTo>
                  <a:cubicBezTo>
                    <a:pt x="8" y="241"/>
                    <a:pt x="8" y="241"/>
                    <a:pt x="8" y="241"/>
                  </a:cubicBezTo>
                  <a:cubicBezTo>
                    <a:pt x="8" y="241"/>
                    <a:pt x="8" y="241"/>
                    <a:pt x="8" y="241"/>
                  </a:cubicBezTo>
                  <a:cubicBezTo>
                    <a:pt x="8" y="242"/>
                    <a:pt x="7" y="242"/>
                    <a:pt x="7" y="242"/>
                  </a:cubicBezTo>
                  <a:cubicBezTo>
                    <a:pt x="0" y="245"/>
                    <a:pt x="2" y="265"/>
                    <a:pt x="12" y="286"/>
                  </a:cubicBezTo>
                  <a:cubicBezTo>
                    <a:pt x="22" y="307"/>
                    <a:pt x="37" y="321"/>
                    <a:pt x="44" y="318"/>
                  </a:cubicBezTo>
                  <a:cubicBezTo>
                    <a:pt x="45" y="318"/>
                    <a:pt x="45" y="317"/>
                    <a:pt x="45" y="317"/>
                  </a:cubicBezTo>
                  <a:cubicBezTo>
                    <a:pt x="45" y="317"/>
                    <a:pt x="45" y="317"/>
                    <a:pt x="45" y="317"/>
                  </a:cubicBezTo>
                  <a:cubicBezTo>
                    <a:pt x="144" y="269"/>
                    <a:pt x="144" y="269"/>
                    <a:pt x="144" y="269"/>
                  </a:cubicBezTo>
                  <a:cubicBezTo>
                    <a:pt x="197" y="332"/>
                    <a:pt x="291" y="342"/>
                    <a:pt x="356" y="291"/>
                  </a:cubicBezTo>
                  <a:close/>
                  <a:moveTo>
                    <a:pt x="201" y="219"/>
                  </a:moveTo>
                  <a:cubicBezTo>
                    <a:pt x="175" y="186"/>
                    <a:pt x="181" y="138"/>
                    <a:pt x="213" y="112"/>
                  </a:cubicBezTo>
                  <a:cubicBezTo>
                    <a:pt x="246" y="86"/>
                    <a:pt x="294" y="91"/>
                    <a:pt x="320" y="124"/>
                  </a:cubicBezTo>
                  <a:cubicBezTo>
                    <a:pt x="346" y="157"/>
                    <a:pt x="341" y="205"/>
                    <a:pt x="308" y="231"/>
                  </a:cubicBezTo>
                  <a:cubicBezTo>
                    <a:pt x="275" y="257"/>
                    <a:pt x="227" y="251"/>
                    <a:pt x="201" y="219"/>
                  </a:cubicBezTo>
                  <a:close/>
                </a:path>
              </a:pathLst>
            </a:custGeom>
            <a:solidFill>
              <a:srgbClr val="3461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grpSp>
    </p:spTree>
    <p:custDataLst>
      <p:tags r:id="rId1"/>
    </p:custDataLst>
    <p:extLst>
      <p:ext uri="{BB962C8B-B14F-4D97-AF65-F5344CB8AC3E}">
        <p14:creationId xmlns:p14="http://schemas.microsoft.com/office/powerpoint/2010/main" val="2611619135"/>
      </p:ext>
    </p:extLst>
  </p:cSld>
  <p:clrMapOvr>
    <a:masterClrMapping/>
  </p:clrMapOvr>
  <mc:AlternateContent xmlns:mc="http://schemas.openxmlformats.org/markup-compatibility/2006">
    <mc:Choice xmlns:p14="http://schemas.microsoft.com/office/powerpoint/2010/main" Requires="p14">
      <p:transition spd="slow" p14:dur="1250">
        <p:blinds dir="vert"/>
      </p:transition>
    </mc:Choice>
    <mc:Fallback>
      <p:transition spd="slow">
        <p:blinds dir="vert"/>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灯片编号占位符 2">
            <a:extLst>
              <a:ext uri="{FF2B5EF4-FFF2-40B4-BE49-F238E27FC236}">
                <a16:creationId xmlns:a16="http://schemas.microsoft.com/office/drawing/2014/main" id="{EA2AA6D5-0B7A-44E6-883B-F34937903832}"/>
              </a:ext>
            </a:extLst>
          </p:cNvPr>
          <p:cNvSpPr>
            <a:spLocks noGrp="1"/>
          </p:cNvSpPr>
          <p:nvPr>
            <p:ph type="sldNum" sz="quarter" idx="12"/>
          </p:nvPr>
        </p:nvSpPr>
        <p:spPr/>
        <p:txBody>
          <a:bodyPr/>
          <a:lstStyle/>
          <a:p>
            <a:fld id="{5DD3DB80-B894-403A-B48E-6FDC1A72010E}" type="slidenum">
              <a:rPr lang="zh-CN" altLang="en-US" smtClean="0"/>
              <a:pPr/>
              <a:t>25</a:t>
            </a:fld>
            <a:endParaRPr lang="zh-CN" altLang="en-US"/>
          </a:p>
        </p:txBody>
      </p:sp>
      <p:sp>
        <p:nvSpPr>
          <p:cNvPr id="4" name="标题 3">
            <a:extLst>
              <a:ext uri="{FF2B5EF4-FFF2-40B4-BE49-F238E27FC236}">
                <a16:creationId xmlns:a16="http://schemas.microsoft.com/office/drawing/2014/main" id="{149FEAAA-5E94-4C77-885D-4826706B8173}"/>
              </a:ext>
            </a:extLst>
          </p:cNvPr>
          <p:cNvSpPr>
            <a:spLocks noGrp="1"/>
          </p:cNvSpPr>
          <p:nvPr>
            <p:ph type="title"/>
          </p:nvPr>
        </p:nvSpPr>
        <p:spPr/>
        <p:txBody>
          <a:bodyPr/>
          <a:lstStyle/>
          <a:p>
            <a:r>
              <a:rPr lang="en-US" altLang="zh-CN" dirty="0"/>
              <a:t>UML</a:t>
            </a:r>
            <a:r>
              <a:rPr lang="zh-CN" altLang="en-US" dirty="0"/>
              <a:t>协作图</a:t>
            </a:r>
          </a:p>
        </p:txBody>
      </p:sp>
      <p:graphicFrame>
        <p:nvGraphicFramePr>
          <p:cNvPr id="6" name="表格 6">
            <a:extLst>
              <a:ext uri="{FF2B5EF4-FFF2-40B4-BE49-F238E27FC236}">
                <a16:creationId xmlns:a16="http://schemas.microsoft.com/office/drawing/2014/main" id="{16CE1B14-35C5-4864-8720-2AC3B91B07BF}"/>
              </a:ext>
            </a:extLst>
          </p:cNvPr>
          <p:cNvGraphicFramePr>
            <a:graphicFrameLocks noGrp="1"/>
          </p:cNvGraphicFramePr>
          <p:nvPr>
            <p:extLst>
              <p:ext uri="{D42A27DB-BD31-4B8C-83A1-F6EECF244321}">
                <p14:modId xmlns:p14="http://schemas.microsoft.com/office/powerpoint/2010/main" val="4221426341"/>
              </p:ext>
            </p:extLst>
          </p:nvPr>
        </p:nvGraphicFramePr>
        <p:xfrm>
          <a:off x="669924" y="1574800"/>
          <a:ext cx="10623717" cy="3952240"/>
        </p:xfrm>
        <a:graphic>
          <a:graphicData uri="http://schemas.openxmlformats.org/drawingml/2006/table">
            <a:tbl>
              <a:tblPr firstRow="1" bandRow="1">
                <a:tableStyleId>{5C22544A-7EE6-4342-B048-85BDC9FD1C3A}</a:tableStyleId>
              </a:tblPr>
              <a:tblGrid>
                <a:gridCol w="3541239">
                  <a:extLst>
                    <a:ext uri="{9D8B030D-6E8A-4147-A177-3AD203B41FA5}">
                      <a16:colId xmlns:a16="http://schemas.microsoft.com/office/drawing/2014/main" val="1743903644"/>
                    </a:ext>
                  </a:extLst>
                </a:gridCol>
                <a:gridCol w="3541239">
                  <a:extLst>
                    <a:ext uri="{9D8B030D-6E8A-4147-A177-3AD203B41FA5}">
                      <a16:colId xmlns:a16="http://schemas.microsoft.com/office/drawing/2014/main" val="1929983294"/>
                    </a:ext>
                  </a:extLst>
                </a:gridCol>
                <a:gridCol w="3541239">
                  <a:extLst>
                    <a:ext uri="{9D8B030D-6E8A-4147-A177-3AD203B41FA5}">
                      <a16:colId xmlns:a16="http://schemas.microsoft.com/office/drawing/2014/main" val="1370003135"/>
                    </a:ext>
                  </a:extLst>
                </a:gridCol>
              </a:tblGrid>
              <a:tr h="782320">
                <a:tc>
                  <a:txBody>
                    <a:bodyPr/>
                    <a:lstStyle/>
                    <a:p>
                      <a:pPr algn="l"/>
                      <a:r>
                        <a:rPr lang="zh-CN" altLang="en-US" dirty="0">
                          <a:latin typeface="+mn-ea"/>
                          <a:ea typeface="+mn-ea"/>
                        </a:rPr>
                        <a:t>元素</a:t>
                      </a:r>
                    </a:p>
                  </a:txBody>
                  <a:tcPr/>
                </a:tc>
                <a:tc>
                  <a:txBody>
                    <a:bodyPr/>
                    <a:lstStyle/>
                    <a:p>
                      <a:pPr algn="l"/>
                      <a:r>
                        <a:rPr lang="zh-CN" altLang="en-US" dirty="0">
                          <a:latin typeface="+mn-ea"/>
                          <a:ea typeface="+mn-ea"/>
                        </a:rPr>
                        <a:t>解释</a:t>
                      </a:r>
                    </a:p>
                  </a:txBody>
                  <a:tcPr/>
                </a:tc>
                <a:tc>
                  <a:txBody>
                    <a:bodyPr/>
                    <a:lstStyle/>
                    <a:p>
                      <a:pPr algn="l"/>
                      <a:r>
                        <a:rPr lang="zh-CN" altLang="en-US" dirty="0">
                          <a:latin typeface="+mn-ea"/>
                          <a:ea typeface="+mn-ea"/>
                        </a:rPr>
                        <a:t>图</a:t>
                      </a:r>
                    </a:p>
                  </a:txBody>
                  <a:tcPr/>
                </a:tc>
                <a:extLst>
                  <a:ext uri="{0D108BD9-81ED-4DB2-BD59-A6C34878D82A}">
                    <a16:rowId xmlns:a16="http://schemas.microsoft.com/office/drawing/2014/main" val="1527412966"/>
                  </a:ext>
                </a:extLst>
              </a:tr>
              <a:tr h="782320">
                <a:tc>
                  <a:txBody>
                    <a:bodyPr/>
                    <a:lstStyle/>
                    <a:p>
                      <a:pPr algn="l"/>
                      <a:r>
                        <a:rPr lang="zh-CN" altLang="en-US" dirty="0">
                          <a:latin typeface="+mn-ea"/>
                          <a:ea typeface="+mn-ea"/>
                        </a:rPr>
                        <a:t>对象</a:t>
                      </a:r>
                    </a:p>
                  </a:txBody>
                  <a:tcPr/>
                </a:tc>
                <a:tc>
                  <a:txBody>
                    <a:bodyPr/>
                    <a:lstStyle/>
                    <a:p>
                      <a:pPr algn="l"/>
                      <a:r>
                        <a:rPr lang="zh-CN" altLang="en-US" sz="1200" b="0" i="0" kern="1200" dirty="0">
                          <a:solidFill>
                            <a:schemeClr val="dk1"/>
                          </a:solidFill>
                          <a:effectLst/>
                          <a:latin typeface="+mn-ea"/>
                          <a:ea typeface="+mn-ea"/>
                          <a:cs typeface="+mn-cs"/>
                        </a:rPr>
                        <a:t>对象是类的实例，负责发送和接收消息，与顺序图中的符号相同，冒号前为对象名，冒号后为类名。</a:t>
                      </a:r>
                      <a:endParaRPr lang="zh-CN" altLang="en-US" sz="1200" dirty="0">
                        <a:latin typeface="+mn-ea"/>
                        <a:ea typeface="+mn-ea"/>
                      </a:endParaRPr>
                    </a:p>
                  </a:txBody>
                  <a:tcPr/>
                </a:tc>
                <a:tc>
                  <a:txBody>
                    <a:bodyPr/>
                    <a:lstStyle/>
                    <a:p>
                      <a:pPr algn="l"/>
                      <a:endParaRPr lang="zh-CN" altLang="en-US" sz="1200" dirty="0">
                        <a:latin typeface="+mn-ea"/>
                        <a:ea typeface="+mn-ea"/>
                      </a:endParaRPr>
                    </a:p>
                  </a:txBody>
                  <a:tcPr/>
                </a:tc>
                <a:extLst>
                  <a:ext uri="{0D108BD9-81ED-4DB2-BD59-A6C34878D82A}">
                    <a16:rowId xmlns:a16="http://schemas.microsoft.com/office/drawing/2014/main" val="2399140136"/>
                  </a:ext>
                </a:extLst>
              </a:tr>
              <a:tr h="782320">
                <a:tc>
                  <a:txBody>
                    <a:bodyPr/>
                    <a:lstStyle/>
                    <a:p>
                      <a:pPr algn="l"/>
                      <a:r>
                        <a:rPr lang="zh-CN" altLang="en-US" dirty="0">
                          <a:latin typeface="+mn-ea"/>
                          <a:ea typeface="+mn-ea"/>
                        </a:rPr>
                        <a:t>参与者</a:t>
                      </a:r>
                    </a:p>
                  </a:txBody>
                  <a:tcPr/>
                </a:tc>
                <a:tc>
                  <a:txBody>
                    <a:bodyPr/>
                    <a:lstStyle/>
                    <a:p>
                      <a:pPr algn="l"/>
                      <a:r>
                        <a:rPr lang="zh-CN" altLang="en-US" sz="1200" b="0" i="0" kern="1200" dirty="0">
                          <a:solidFill>
                            <a:schemeClr val="dk1"/>
                          </a:solidFill>
                          <a:effectLst/>
                          <a:latin typeface="+mn-ea"/>
                          <a:ea typeface="+mn-ea"/>
                          <a:cs typeface="+mn-cs"/>
                        </a:rPr>
                        <a:t>发出主动操作的对象，负责发送初始消息，启动一个操作</a:t>
                      </a:r>
                      <a:endParaRPr lang="zh-CN" altLang="en-US" sz="1200" dirty="0">
                        <a:latin typeface="+mn-ea"/>
                        <a:ea typeface="+mn-ea"/>
                      </a:endParaRPr>
                    </a:p>
                  </a:txBody>
                  <a:tcPr/>
                </a:tc>
                <a:tc>
                  <a:txBody>
                    <a:bodyPr/>
                    <a:lstStyle/>
                    <a:p>
                      <a:pPr algn="l"/>
                      <a:endParaRPr lang="zh-CN" altLang="en-US" sz="1200" dirty="0">
                        <a:latin typeface="+mn-ea"/>
                        <a:ea typeface="+mn-ea"/>
                      </a:endParaRPr>
                    </a:p>
                  </a:txBody>
                  <a:tcPr/>
                </a:tc>
                <a:extLst>
                  <a:ext uri="{0D108BD9-81ED-4DB2-BD59-A6C34878D82A}">
                    <a16:rowId xmlns:a16="http://schemas.microsoft.com/office/drawing/2014/main" val="1121039898"/>
                  </a:ext>
                </a:extLst>
              </a:tr>
              <a:tr h="782320">
                <a:tc>
                  <a:txBody>
                    <a:bodyPr/>
                    <a:lstStyle/>
                    <a:p>
                      <a:pPr algn="l"/>
                      <a:r>
                        <a:rPr lang="zh-CN" altLang="en-US" dirty="0">
                          <a:latin typeface="+mn-ea"/>
                          <a:ea typeface="+mn-ea"/>
                        </a:rPr>
                        <a:t>链接</a:t>
                      </a:r>
                    </a:p>
                  </a:txBody>
                  <a:tcPr/>
                </a:tc>
                <a:tc>
                  <a:txBody>
                    <a:bodyPr/>
                    <a:lstStyle/>
                    <a:p>
                      <a:pPr algn="l"/>
                      <a:r>
                        <a:rPr lang="zh-CN" altLang="en-US" sz="1200" b="0" i="0" kern="1200" dirty="0">
                          <a:solidFill>
                            <a:schemeClr val="dk1"/>
                          </a:solidFill>
                          <a:effectLst/>
                          <a:latin typeface="+mn-ea"/>
                          <a:ea typeface="+mn-ea"/>
                          <a:cs typeface="+mn-cs"/>
                        </a:rPr>
                        <a:t>用线条来表示链接，链接表示两个对象共享一个消息，位于对象之间或参与者与对象之间</a:t>
                      </a:r>
                      <a:endParaRPr lang="zh-CN" altLang="en-US" sz="1200" dirty="0">
                        <a:latin typeface="+mn-ea"/>
                        <a:ea typeface="+mn-ea"/>
                      </a:endParaRPr>
                    </a:p>
                  </a:txBody>
                  <a:tcPr/>
                </a:tc>
                <a:tc>
                  <a:txBody>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lang="zh-CN" altLang="en-US" sz="1200" dirty="0"/>
                    </a:p>
                    <a:p>
                      <a:pPr algn="l"/>
                      <a:endParaRPr lang="zh-CN" altLang="en-US" sz="1200" dirty="0">
                        <a:latin typeface="+mn-ea"/>
                        <a:ea typeface="+mn-ea"/>
                      </a:endParaRPr>
                    </a:p>
                  </a:txBody>
                  <a:tcPr/>
                </a:tc>
                <a:extLst>
                  <a:ext uri="{0D108BD9-81ED-4DB2-BD59-A6C34878D82A}">
                    <a16:rowId xmlns:a16="http://schemas.microsoft.com/office/drawing/2014/main" val="1411251032"/>
                  </a:ext>
                </a:extLst>
              </a:tr>
              <a:tr h="782320">
                <a:tc>
                  <a:txBody>
                    <a:bodyPr/>
                    <a:lstStyle/>
                    <a:p>
                      <a:pPr algn="l"/>
                      <a:r>
                        <a:rPr lang="zh-CN" altLang="en-US" dirty="0">
                          <a:latin typeface="+mn-ea"/>
                          <a:ea typeface="+mn-ea"/>
                        </a:rPr>
                        <a:t>消息</a:t>
                      </a:r>
                    </a:p>
                  </a:txBody>
                  <a:tcPr/>
                </a:tc>
                <a:tc>
                  <a:txBody>
                    <a:bodyPr/>
                    <a:lstStyle/>
                    <a:p>
                      <a:pPr algn="l"/>
                      <a:r>
                        <a:rPr lang="zh-CN" altLang="en-US" sz="1200" b="0" i="0" kern="1200" dirty="0">
                          <a:solidFill>
                            <a:schemeClr val="dk1"/>
                          </a:solidFill>
                          <a:effectLst/>
                          <a:latin typeface="+mn-ea"/>
                          <a:ea typeface="+mn-ea"/>
                          <a:cs typeface="+mn-cs"/>
                        </a:rPr>
                        <a:t>箭头指示消息的流向，从消息的发出者指向接收者。标签对消息作说明，其中，顺序号指出消息的发生顺序，并且指明了消息的嵌套关系</a:t>
                      </a:r>
                      <a:r>
                        <a:rPr lang="en-US" altLang="zh-CN" sz="1200" b="0" i="0" kern="1200" dirty="0">
                          <a:solidFill>
                            <a:schemeClr val="dk1"/>
                          </a:solidFill>
                          <a:effectLst/>
                          <a:latin typeface="+mn-ea"/>
                          <a:ea typeface="+mn-ea"/>
                          <a:cs typeface="+mn-cs"/>
                        </a:rPr>
                        <a:t>;</a:t>
                      </a:r>
                      <a:r>
                        <a:rPr lang="zh-CN" altLang="en-US" sz="1200" b="0" i="0" kern="1200" dirty="0">
                          <a:solidFill>
                            <a:schemeClr val="dk1"/>
                          </a:solidFill>
                          <a:effectLst/>
                          <a:latin typeface="+mn-ea"/>
                          <a:ea typeface="+mn-ea"/>
                          <a:cs typeface="+mn-cs"/>
                        </a:rPr>
                        <a:t>冒号后面是消息的名字。</a:t>
                      </a:r>
                      <a:endParaRPr lang="zh-CN" altLang="en-US" sz="1200" dirty="0">
                        <a:latin typeface="+mn-ea"/>
                        <a:ea typeface="+mn-ea"/>
                      </a:endParaRPr>
                    </a:p>
                  </a:txBody>
                  <a:tcPr/>
                </a:tc>
                <a:tc>
                  <a:txBody>
                    <a:bodyPr/>
                    <a:lstStyle/>
                    <a:p>
                      <a:pPr algn="l"/>
                      <a:endParaRPr lang="zh-CN" altLang="en-US" sz="1200" dirty="0">
                        <a:latin typeface="+mn-ea"/>
                        <a:ea typeface="+mn-ea"/>
                      </a:endParaRPr>
                    </a:p>
                  </a:txBody>
                  <a:tcPr/>
                </a:tc>
                <a:extLst>
                  <a:ext uri="{0D108BD9-81ED-4DB2-BD59-A6C34878D82A}">
                    <a16:rowId xmlns:a16="http://schemas.microsoft.com/office/drawing/2014/main" val="1563275532"/>
                  </a:ext>
                </a:extLst>
              </a:tr>
            </a:tbl>
          </a:graphicData>
        </a:graphic>
      </p:graphicFrame>
      <p:pic>
        <p:nvPicPr>
          <p:cNvPr id="7" name="Picture 2">
            <a:extLst>
              <a:ext uri="{FF2B5EF4-FFF2-40B4-BE49-F238E27FC236}">
                <a16:creationId xmlns:a16="http://schemas.microsoft.com/office/drawing/2014/main" id="{F01E4CD9-C470-451C-AFBE-DE483F9A7499}"/>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9037255" y="3144483"/>
            <a:ext cx="886921" cy="725305"/>
          </a:xfrm>
          <a:prstGeom prst="rect">
            <a:avLst/>
          </a:prstGeom>
          <a:noFill/>
          <a:extLst>
            <a:ext uri="{909E8E84-426E-40DD-AFC4-6F175D3DCCD1}">
              <a14:hiddenFill xmlns:a14="http://schemas.microsoft.com/office/drawing/2010/main">
                <a:solidFill>
                  <a:srgbClr val="FFFFFF"/>
                </a:solidFill>
              </a14:hiddenFill>
            </a:ext>
          </a:extLst>
        </p:spPr>
      </p:pic>
      <p:pic>
        <p:nvPicPr>
          <p:cNvPr id="9" name="图片 8">
            <a:extLst>
              <a:ext uri="{FF2B5EF4-FFF2-40B4-BE49-F238E27FC236}">
                <a16:creationId xmlns:a16="http://schemas.microsoft.com/office/drawing/2014/main" id="{1B5BDC43-FB34-4C46-887C-5F1E8C5AFBC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352003" y="4053236"/>
            <a:ext cx="2257425" cy="457200"/>
          </a:xfrm>
          <a:prstGeom prst="rect">
            <a:avLst/>
          </a:prstGeom>
        </p:spPr>
      </p:pic>
      <p:pic>
        <p:nvPicPr>
          <p:cNvPr id="19458" name="Picture 2">
            <a:extLst>
              <a:ext uri="{FF2B5EF4-FFF2-40B4-BE49-F238E27FC236}">
                <a16:creationId xmlns:a16="http://schemas.microsoft.com/office/drawing/2014/main" id="{9D82D3E3-4E5E-4CBA-B41B-F03D091BD6A6}"/>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859983" y="4848837"/>
            <a:ext cx="3241464" cy="375022"/>
          </a:xfrm>
          <a:prstGeom prst="rect">
            <a:avLst/>
          </a:prstGeom>
          <a:noFill/>
          <a:extLst>
            <a:ext uri="{909E8E84-426E-40DD-AFC4-6F175D3DCCD1}">
              <a14:hiddenFill xmlns:a14="http://schemas.microsoft.com/office/drawing/2010/main">
                <a:solidFill>
                  <a:srgbClr val="FFFFFF"/>
                </a:solidFill>
              </a14:hiddenFill>
            </a:ext>
          </a:extLst>
        </p:spPr>
      </p:pic>
      <p:pic>
        <p:nvPicPr>
          <p:cNvPr id="19460" name="Picture 4">
            <a:extLst>
              <a:ext uri="{FF2B5EF4-FFF2-40B4-BE49-F238E27FC236}">
                <a16:creationId xmlns:a16="http://schemas.microsoft.com/office/drawing/2014/main" id="{25F0AA46-091C-43C9-84C3-90782DFC15F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404390" y="2380935"/>
            <a:ext cx="2152650" cy="6286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80779291"/>
      </p:ext>
    </p:extLst>
  </p:cSld>
  <p:clrMapOvr>
    <a:masterClrMapping/>
  </p:clrMapOvr>
  <mc:AlternateContent xmlns:mc="http://schemas.openxmlformats.org/markup-compatibility/2006">
    <mc:Choice xmlns:p14="http://schemas.microsoft.com/office/powerpoint/2010/main" Requires="p14">
      <p:transition spd="slow" p14:dur="1250">
        <p:blinds dir="vert"/>
      </p:transition>
    </mc:Choice>
    <mc:Fallback>
      <p:transition spd="slow">
        <p:blinds dir="vert"/>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a:xfrm>
            <a:off x="7803909" y="2171807"/>
            <a:ext cx="5002454" cy="895350"/>
          </a:xfrm>
        </p:spPr>
        <p:txBody>
          <a:bodyPr>
            <a:normAutofit/>
          </a:bodyPr>
          <a:lstStyle/>
          <a:p>
            <a:r>
              <a:rPr lang="zh-CN" altLang="en-US" sz="4400" dirty="0"/>
              <a:t>部署图</a:t>
            </a:r>
          </a:p>
        </p:txBody>
      </p:sp>
      <p:sp>
        <p:nvSpPr>
          <p:cNvPr id="6" name="文本占位符 5"/>
          <p:cNvSpPr>
            <a:spLocks noGrp="1"/>
          </p:cNvSpPr>
          <p:nvPr>
            <p:ph type="body" idx="1"/>
          </p:nvPr>
        </p:nvSpPr>
        <p:spPr/>
        <p:txBody>
          <a:bodyPr>
            <a:normAutofit/>
          </a:bodyPr>
          <a:lstStyle/>
          <a:p>
            <a:pPr lvl="0"/>
            <a:r>
              <a:rPr lang="zh-CN" altLang="en-US" sz="1400" b="0" i="0" dirty="0">
                <a:solidFill>
                  <a:srgbClr val="4D4D4D"/>
                </a:solidFill>
                <a:effectLst/>
                <a:latin typeface="-apple-system"/>
              </a:rPr>
              <a:t> </a:t>
            </a:r>
            <a:r>
              <a:rPr lang="zh-CN" altLang="en-US" sz="1400" b="0" i="0" dirty="0">
                <a:solidFill>
                  <a:srgbClr val="0D0016"/>
                </a:solidFill>
                <a:effectLst/>
                <a:latin typeface="-apple-system"/>
              </a:rPr>
              <a:t>部署图描述处理器、硬件设备和软件构件在运行时的架构</a:t>
            </a:r>
            <a:r>
              <a:rPr lang="en-US" altLang="zh-CN" sz="1400" b="0" i="0" dirty="0">
                <a:solidFill>
                  <a:srgbClr val="0D0016"/>
                </a:solidFill>
                <a:effectLst/>
                <a:latin typeface="-apple-system"/>
              </a:rPr>
              <a:t>,</a:t>
            </a:r>
            <a:r>
              <a:rPr lang="zh-CN" altLang="en-US" sz="1400" b="0" i="0" dirty="0">
                <a:solidFill>
                  <a:srgbClr val="0D0016"/>
                </a:solidFill>
                <a:effectLst/>
                <a:latin typeface="-apple-system"/>
              </a:rPr>
              <a:t>它显示系统硬件的物理拓扑结构及在此结构上执行的软件</a:t>
            </a:r>
            <a:endParaRPr lang="zh-CN" altLang="en-US" sz="1400" dirty="0"/>
          </a:p>
        </p:txBody>
      </p:sp>
      <p:sp>
        <p:nvSpPr>
          <p:cNvPr id="9" name="文本框 8">
            <a:extLst>
              <a:ext uri="{FF2B5EF4-FFF2-40B4-BE49-F238E27FC236}">
                <a16:creationId xmlns:a16="http://schemas.microsoft.com/office/drawing/2014/main" id="{04F69230-F3A6-4586-9371-A858F4763E9F}"/>
              </a:ext>
            </a:extLst>
          </p:cNvPr>
          <p:cNvSpPr txBox="1"/>
          <p:nvPr/>
        </p:nvSpPr>
        <p:spPr>
          <a:xfrm>
            <a:off x="6632714" y="2171808"/>
            <a:ext cx="1171195" cy="895349"/>
          </a:xfrm>
          <a:prstGeom prst="rect">
            <a:avLst/>
          </a:prstGeom>
          <a:noFill/>
          <a:ln w="117475">
            <a:noFill/>
          </a:ln>
        </p:spPr>
        <p:txBody>
          <a:bodyPr wrap="none" rtlCol="0">
            <a:prstTxWarp prst="textPlain">
              <a:avLst/>
            </a:prstTxWarp>
            <a:spAutoFit/>
          </a:bodyPr>
          <a:lstStyle/>
          <a:p>
            <a:r>
              <a:rPr lang="en-US" altLang="zh-CN" spc="100" dirty="0">
                <a:solidFill>
                  <a:schemeClr val="accent1"/>
                </a:solidFill>
                <a:latin typeface="Impact" panose="020B0806030902050204" pitchFamily="34" charset="0"/>
                <a:cs typeface="Arial" panose="020B0604020202020204" pitchFamily="34" charset="0"/>
              </a:rPr>
              <a:t>/1-6</a:t>
            </a:r>
            <a:endParaRPr lang="zh-CN" altLang="en-US" spc="100" dirty="0">
              <a:solidFill>
                <a:schemeClr val="accent1"/>
              </a:solidFill>
              <a:latin typeface="Impact" panose="020B0806030902050204" pitchFamily="34" charset="0"/>
              <a:cs typeface="Arial" panose="020B0604020202020204" pitchFamily="34" charset="0"/>
            </a:endParaRPr>
          </a:p>
        </p:txBody>
      </p:sp>
    </p:spTree>
    <p:custDataLst>
      <p:tags r:id="rId1"/>
    </p:custDataLst>
    <p:extLst>
      <p:ext uri="{BB962C8B-B14F-4D97-AF65-F5344CB8AC3E}">
        <p14:creationId xmlns:p14="http://schemas.microsoft.com/office/powerpoint/2010/main" val="3988475881"/>
      </p:ext>
    </p:extLst>
  </p:cSld>
  <p:clrMapOvr>
    <a:masterClrMapping/>
  </p:clrMapOvr>
  <p:transition spd="slow">
    <p:cover/>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54" name="组合 153">
            <a:extLst>
              <a:ext uri="{FF2B5EF4-FFF2-40B4-BE49-F238E27FC236}">
                <a16:creationId xmlns:a16="http://schemas.microsoft.com/office/drawing/2014/main" id="{22EF364B-9832-4E6A-A05E-A2721D1BDF78}"/>
              </a:ext>
            </a:extLst>
          </p:cNvPr>
          <p:cNvGrpSpPr/>
          <p:nvPr/>
        </p:nvGrpSpPr>
        <p:grpSpPr>
          <a:xfrm>
            <a:off x="250574" y="1561380"/>
            <a:ext cx="3582581" cy="3691822"/>
            <a:chOff x="4574738" y="1905000"/>
            <a:chExt cx="3039350" cy="3400426"/>
          </a:xfrm>
        </p:grpSpPr>
        <p:sp>
          <p:nvSpPr>
            <p:cNvPr id="155" name="Freeform 5">
              <a:extLst>
                <a:ext uri="{FF2B5EF4-FFF2-40B4-BE49-F238E27FC236}">
                  <a16:creationId xmlns:a16="http://schemas.microsoft.com/office/drawing/2014/main" id="{9CDA78F6-7977-46E0-9E54-3D15E3FE3574}"/>
                </a:ext>
              </a:extLst>
            </p:cNvPr>
            <p:cNvSpPr>
              <a:spLocks/>
            </p:cNvSpPr>
            <p:nvPr/>
          </p:nvSpPr>
          <p:spPr bwMode="auto">
            <a:xfrm>
              <a:off x="7317866" y="4257253"/>
              <a:ext cx="54337" cy="63101"/>
            </a:xfrm>
            <a:custGeom>
              <a:avLst/>
              <a:gdLst>
                <a:gd name="T0" fmla="*/ 1 w 13"/>
                <a:gd name="T1" fmla="*/ 15 h 15"/>
                <a:gd name="T2" fmla="*/ 0 w 13"/>
                <a:gd name="T3" fmla="*/ 15 h 15"/>
                <a:gd name="T4" fmla="*/ 0 w 13"/>
                <a:gd name="T5" fmla="*/ 14 h 15"/>
                <a:gd name="T6" fmla="*/ 0 w 13"/>
                <a:gd name="T7" fmla="*/ 12 h 15"/>
                <a:gd name="T8" fmla="*/ 1 w 13"/>
                <a:gd name="T9" fmla="*/ 12 h 15"/>
                <a:gd name="T10" fmla="*/ 9 w 13"/>
                <a:gd name="T11" fmla="*/ 10 h 15"/>
                <a:gd name="T12" fmla="*/ 7 w 13"/>
                <a:gd name="T13" fmla="*/ 2 h 15"/>
                <a:gd name="T14" fmla="*/ 7 w 13"/>
                <a:gd name="T15" fmla="*/ 1 h 15"/>
                <a:gd name="T16" fmla="*/ 8 w 13"/>
                <a:gd name="T17" fmla="*/ 0 h 15"/>
                <a:gd name="T18" fmla="*/ 9 w 13"/>
                <a:gd name="T19" fmla="*/ 0 h 15"/>
                <a:gd name="T20" fmla="*/ 9 w 13"/>
                <a:gd name="T21" fmla="*/ 0 h 15"/>
                <a:gd name="T22" fmla="*/ 10 w 13"/>
                <a:gd name="T23" fmla="*/ 1 h 15"/>
                <a:gd name="T24" fmla="*/ 10 w 13"/>
                <a:gd name="T25" fmla="*/ 1 h 15"/>
                <a:gd name="T26" fmla="*/ 13 w 13"/>
                <a:gd name="T27" fmla="*/ 12 h 15"/>
                <a:gd name="T28" fmla="*/ 2 w 13"/>
                <a:gd name="T29" fmla="*/ 15 h 15"/>
                <a:gd name="T30" fmla="*/ 1 w 13"/>
                <a:gd name="T31"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 h="15">
                  <a:moveTo>
                    <a:pt x="1" y="15"/>
                  </a:moveTo>
                  <a:cubicBezTo>
                    <a:pt x="1" y="15"/>
                    <a:pt x="1" y="15"/>
                    <a:pt x="0" y="15"/>
                  </a:cubicBezTo>
                  <a:cubicBezTo>
                    <a:pt x="0" y="14"/>
                    <a:pt x="0" y="14"/>
                    <a:pt x="0" y="14"/>
                  </a:cubicBezTo>
                  <a:cubicBezTo>
                    <a:pt x="0" y="13"/>
                    <a:pt x="0" y="13"/>
                    <a:pt x="0" y="12"/>
                  </a:cubicBezTo>
                  <a:cubicBezTo>
                    <a:pt x="0" y="12"/>
                    <a:pt x="1" y="12"/>
                    <a:pt x="1" y="12"/>
                  </a:cubicBezTo>
                  <a:cubicBezTo>
                    <a:pt x="9" y="10"/>
                    <a:pt x="9" y="10"/>
                    <a:pt x="9" y="10"/>
                  </a:cubicBezTo>
                  <a:cubicBezTo>
                    <a:pt x="7" y="2"/>
                    <a:pt x="7" y="2"/>
                    <a:pt x="7" y="2"/>
                  </a:cubicBezTo>
                  <a:cubicBezTo>
                    <a:pt x="7" y="2"/>
                    <a:pt x="7" y="1"/>
                    <a:pt x="7" y="1"/>
                  </a:cubicBezTo>
                  <a:cubicBezTo>
                    <a:pt x="7" y="1"/>
                    <a:pt x="8" y="0"/>
                    <a:pt x="8" y="0"/>
                  </a:cubicBezTo>
                  <a:cubicBezTo>
                    <a:pt x="8" y="0"/>
                    <a:pt x="9" y="0"/>
                    <a:pt x="9" y="0"/>
                  </a:cubicBezTo>
                  <a:cubicBezTo>
                    <a:pt x="9" y="0"/>
                    <a:pt x="9" y="0"/>
                    <a:pt x="9" y="0"/>
                  </a:cubicBezTo>
                  <a:cubicBezTo>
                    <a:pt x="10" y="0"/>
                    <a:pt x="10" y="1"/>
                    <a:pt x="10" y="1"/>
                  </a:cubicBezTo>
                  <a:cubicBezTo>
                    <a:pt x="10" y="1"/>
                    <a:pt x="10" y="1"/>
                    <a:pt x="10" y="1"/>
                  </a:cubicBezTo>
                  <a:cubicBezTo>
                    <a:pt x="13" y="12"/>
                    <a:pt x="13" y="12"/>
                    <a:pt x="13" y="12"/>
                  </a:cubicBezTo>
                  <a:cubicBezTo>
                    <a:pt x="2" y="15"/>
                    <a:pt x="2" y="15"/>
                    <a:pt x="2" y="15"/>
                  </a:cubicBezTo>
                  <a:cubicBezTo>
                    <a:pt x="2" y="15"/>
                    <a:pt x="1" y="15"/>
                    <a:pt x="1" y="15"/>
                  </a:cubicBezTo>
                  <a:close/>
                </a:path>
              </a:pathLst>
            </a:custGeom>
            <a:solidFill>
              <a:srgbClr val="1105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56" name="Freeform 6">
              <a:extLst>
                <a:ext uri="{FF2B5EF4-FFF2-40B4-BE49-F238E27FC236}">
                  <a16:creationId xmlns:a16="http://schemas.microsoft.com/office/drawing/2014/main" id="{4D25BF14-BAF6-4CCF-B2B8-E4305F778334}"/>
                </a:ext>
              </a:extLst>
            </p:cNvPr>
            <p:cNvSpPr>
              <a:spLocks/>
            </p:cNvSpPr>
            <p:nvPr/>
          </p:nvSpPr>
          <p:spPr bwMode="auto">
            <a:xfrm>
              <a:off x="6523848" y="4458826"/>
              <a:ext cx="63101" cy="52584"/>
            </a:xfrm>
            <a:custGeom>
              <a:avLst/>
              <a:gdLst>
                <a:gd name="T0" fmla="*/ 3 w 15"/>
                <a:gd name="T1" fmla="*/ 13 h 13"/>
                <a:gd name="T2" fmla="*/ 0 w 15"/>
                <a:gd name="T3" fmla="*/ 3 h 13"/>
                <a:gd name="T4" fmla="*/ 0 w 15"/>
                <a:gd name="T5" fmla="*/ 2 h 13"/>
                <a:gd name="T6" fmla="*/ 0 w 15"/>
                <a:gd name="T7" fmla="*/ 1 h 13"/>
                <a:gd name="T8" fmla="*/ 1 w 15"/>
                <a:gd name="T9" fmla="*/ 1 h 13"/>
                <a:gd name="T10" fmla="*/ 1 w 15"/>
                <a:gd name="T11" fmla="*/ 1 h 13"/>
                <a:gd name="T12" fmla="*/ 2 w 15"/>
                <a:gd name="T13" fmla="*/ 1 h 13"/>
                <a:gd name="T14" fmla="*/ 2 w 15"/>
                <a:gd name="T15" fmla="*/ 1 h 13"/>
                <a:gd name="T16" fmla="*/ 3 w 15"/>
                <a:gd name="T17" fmla="*/ 1 h 13"/>
                <a:gd name="T18" fmla="*/ 3 w 15"/>
                <a:gd name="T19" fmla="*/ 2 h 13"/>
                <a:gd name="T20" fmla="*/ 5 w 15"/>
                <a:gd name="T21" fmla="*/ 9 h 13"/>
                <a:gd name="T22" fmla="*/ 13 w 15"/>
                <a:gd name="T23" fmla="*/ 8 h 13"/>
                <a:gd name="T24" fmla="*/ 14 w 15"/>
                <a:gd name="T25" fmla="*/ 8 h 13"/>
                <a:gd name="T26" fmla="*/ 15 w 15"/>
                <a:gd name="T27" fmla="*/ 9 h 13"/>
                <a:gd name="T28" fmla="*/ 14 w 15"/>
                <a:gd name="T29" fmla="*/ 10 h 13"/>
                <a:gd name="T30" fmla="*/ 13 w 15"/>
                <a:gd name="T31" fmla="*/ 11 h 13"/>
                <a:gd name="T32" fmla="*/ 3 w 15"/>
                <a:gd name="T33"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 h="13">
                  <a:moveTo>
                    <a:pt x="3" y="13"/>
                  </a:moveTo>
                  <a:cubicBezTo>
                    <a:pt x="0" y="3"/>
                    <a:pt x="0" y="3"/>
                    <a:pt x="0" y="3"/>
                  </a:cubicBezTo>
                  <a:cubicBezTo>
                    <a:pt x="0" y="2"/>
                    <a:pt x="0" y="2"/>
                    <a:pt x="0" y="2"/>
                  </a:cubicBezTo>
                  <a:cubicBezTo>
                    <a:pt x="0" y="2"/>
                    <a:pt x="0" y="1"/>
                    <a:pt x="0" y="1"/>
                  </a:cubicBezTo>
                  <a:cubicBezTo>
                    <a:pt x="0" y="1"/>
                    <a:pt x="0" y="1"/>
                    <a:pt x="1" y="1"/>
                  </a:cubicBezTo>
                  <a:cubicBezTo>
                    <a:pt x="1" y="1"/>
                    <a:pt x="1" y="1"/>
                    <a:pt x="1" y="1"/>
                  </a:cubicBezTo>
                  <a:cubicBezTo>
                    <a:pt x="1" y="1"/>
                    <a:pt x="2" y="0"/>
                    <a:pt x="2" y="1"/>
                  </a:cubicBezTo>
                  <a:cubicBezTo>
                    <a:pt x="2" y="1"/>
                    <a:pt x="2" y="1"/>
                    <a:pt x="2" y="1"/>
                  </a:cubicBezTo>
                  <a:cubicBezTo>
                    <a:pt x="2" y="1"/>
                    <a:pt x="3" y="1"/>
                    <a:pt x="3" y="1"/>
                  </a:cubicBezTo>
                  <a:cubicBezTo>
                    <a:pt x="3" y="1"/>
                    <a:pt x="3" y="2"/>
                    <a:pt x="3" y="2"/>
                  </a:cubicBezTo>
                  <a:cubicBezTo>
                    <a:pt x="5" y="9"/>
                    <a:pt x="5" y="9"/>
                    <a:pt x="5" y="9"/>
                  </a:cubicBezTo>
                  <a:cubicBezTo>
                    <a:pt x="13" y="8"/>
                    <a:pt x="13" y="8"/>
                    <a:pt x="13" y="8"/>
                  </a:cubicBezTo>
                  <a:cubicBezTo>
                    <a:pt x="13" y="7"/>
                    <a:pt x="14" y="8"/>
                    <a:pt x="14" y="8"/>
                  </a:cubicBezTo>
                  <a:cubicBezTo>
                    <a:pt x="14" y="8"/>
                    <a:pt x="15" y="8"/>
                    <a:pt x="15" y="9"/>
                  </a:cubicBezTo>
                  <a:cubicBezTo>
                    <a:pt x="15" y="9"/>
                    <a:pt x="15" y="10"/>
                    <a:pt x="14" y="10"/>
                  </a:cubicBezTo>
                  <a:cubicBezTo>
                    <a:pt x="14" y="10"/>
                    <a:pt x="14" y="11"/>
                    <a:pt x="13" y="11"/>
                  </a:cubicBezTo>
                  <a:lnTo>
                    <a:pt x="3" y="13"/>
                  </a:lnTo>
                  <a:close/>
                </a:path>
              </a:pathLst>
            </a:custGeom>
            <a:solidFill>
              <a:srgbClr val="1105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57" name="Freeform 7">
              <a:extLst>
                <a:ext uri="{FF2B5EF4-FFF2-40B4-BE49-F238E27FC236}">
                  <a16:creationId xmlns:a16="http://schemas.microsoft.com/office/drawing/2014/main" id="{A226DC6B-97F7-49AA-8BE5-F7B9F49581FC}"/>
                </a:ext>
              </a:extLst>
            </p:cNvPr>
            <p:cNvSpPr>
              <a:spLocks noEditPoints="1"/>
            </p:cNvSpPr>
            <p:nvPr/>
          </p:nvSpPr>
          <p:spPr bwMode="auto">
            <a:xfrm>
              <a:off x="6411669" y="3999593"/>
              <a:ext cx="108673" cy="396132"/>
            </a:xfrm>
            <a:custGeom>
              <a:avLst/>
              <a:gdLst>
                <a:gd name="T0" fmla="*/ 24 w 26"/>
                <a:gd name="T1" fmla="*/ 95 h 95"/>
                <a:gd name="T2" fmla="*/ 23 w 26"/>
                <a:gd name="T3" fmla="*/ 95 h 95"/>
                <a:gd name="T4" fmla="*/ 22 w 26"/>
                <a:gd name="T5" fmla="*/ 94 h 95"/>
                <a:gd name="T6" fmla="*/ 18 w 26"/>
                <a:gd name="T7" fmla="*/ 76 h 95"/>
                <a:gd name="T8" fmla="*/ 18 w 26"/>
                <a:gd name="T9" fmla="*/ 75 h 95"/>
                <a:gd name="T10" fmla="*/ 18 w 26"/>
                <a:gd name="T11" fmla="*/ 75 h 95"/>
                <a:gd name="T12" fmla="*/ 18 w 26"/>
                <a:gd name="T13" fmla="*/ 74 h 95"/>
                <a:gd name="T14" fmla="*/ 19 w 26"/>
                <a:gd name="T15" fmla="*/ 74 h 95"/>
                <a:gd name="T16" fmla="*/ 20 w 26"/>
                <a:gd name="T17" fmla="*/ 74 h 95"/>
                <a:gd name="T18" fmla="*/ 20 w 26"/>
                <a:gd name="T19" fmla="*/ 74 h 95"/>
                <a:gd name="T20" fmla="*/ 21 w 26"/>
                <a:gd name="T21" fmla="*/ 74 h 95"/>
                <a:gd name="T22" fmla="*/ 21 w 26"/>
                <a:gd name="T23" fmla="*/ 75 h 95"/>
                <a:gd name="T24" fmla="*/ 26 w 26"/>
                <a:gd name="T25" fmla="*/ 93 h 95"/>
                <a:gd name="T26" fmla="*/ 26 w 26"/>
                <a:gd name="T27" fmla="*/ 94 h 95"/>
                <a:gd name="T28" fmla="*/ 25 w 26"/>
                <a:gd name="T29" fmla="*/ 95 h 95"/>
                <a:gd name="T30" fmla="*/ 25 w 26"/>
                <a:gd name="T31" fmla="*/ 95 h 95"/>
                <a:gd name="T32" fmla="*/ 24 w 26"/>
                <a:gd name="T33" fmla="*/ 95 h 95"/>
                <a:gd name="T34" fmla="*/ 24 w 26"/>
                <a:gd name="T35" fmla="*/ 95 h 95"/>
                <a:gd name="T36" fmla="*/ 15 w 26"/>
                <a:gd name="T37" fmla="*/ 59 h 95"/>
                <a:gd name="T38" fmla="*/ 14 w 26"/>
                <a:gd name="T39" fmla="*/ 58 h 95"/>
                <a:gd name="T40" fmla="*/ 13 w 26"/>
                <a:gd name="T41" fmla="*/ 57 h 95"/>
                <a:gd name="T42" fmla="*/ 9 w 26"/>
                <a:gd name="T43" fmla="*/ 39 h 95"/>
                <a:gd name="T44" fmla="*/ 9 w 26"/>
                <a:gd name="T45" fmla="*/ 38 h 95"/>
                <a:gd name="T46" fmla="*/ 9 w 26"/>
                <a:gd name="T47" fmla="*/ 38 h 95"/>
                <a:gd name="T48" fmla="*/ 9 w 26"/>
                <a:gd name="T49" fmla="*/ 37 h 95"/>
                <a:gd name="T50" fmla="*/ 10 w 26"/>
                <a:gd name="T51" fmla="*/ 37 h 95"/>
                <a:gd name="T52" fmla="*/ 11 w 26"/>
                <a:gd name="T53" fmla="*/ 37 h 95"/>
                <a:gd name="T54" fmla="*/ 11 w 26"/>
                <a:gd name="T55" fmla="*/ 37 h 95"/>
                <a:gd name="T56" fmla="*/ 12 w 26"/>
                <a:gd name="T57" fmla="*/ 38 h 95"/>
                <a:gd name="T58" fmla="*/ 12 w 26"/>
                <a:gd name="T59" fmla="*/ 38 h 95"/>
                <a:gd name="T60" fmla="*/ 16 w 26"/>
                <a:gd name="T61" fmla="*/ 57 h 95"/>
                <a:gd name="T62" fmla="*/ 16 w 26"/>
                <a:gd name="T63" fmla="*/ 58 h 95"/>
                <a:gd name="T64" fmla="*/ 15 w 26"/>
                <a:gd name="T65" fmla="*/ 59 h 95"/>
                <a:gd name="T66" fmla="*/ 15 w 26"/>
                <a:gd name="T67" fmla="*/ 59 h 95"/>
                <a:gd name="T68" fmla="*/ 5 w 26"/>
                <a:gd name="T69" fmla="*/ 22 h 95"/>
                <a:gd name="T70" fmla="*/ 5 w 26"/>
                <a:gd name="T71" fmla="*/ 21 h 95"/>
                <a:gd name="T72" fmla="*/ 4 w 26"/>
                <a:gd name="T73" fmla="*/ 21 h 95"/>
                <a:gd name="T74" fmla="*/ 0 w 26"/>
                <a:gd name="T75" fmla="*/ 2 h 95"/>
                <a:gd name="T76" fmla="*/ 0 w 26"/>
                <a:gd name="T77" fmla="*/ 2 h 95"/>
                <a:gd name="T78" fmla="*/ 0 w 26"/>
                <a:gd name="T79" fmla="*/ 1 h 95"/>
                <a:gd name="T80" fmla="*/ 0 w 26"/>
                <a:gd name="T81" fmla="*/ 1 h 95"/>
                <a:gd name="T82" fmla="*/ 1 w 26"/>
                <a:gd name="T83" fmla="*/ 0 h 95"/>
                <a:gd name="T84" fmla="*/ 2 w 26"/>
                <a:gd name="T85" fmla="*/ 0 h 95"/>
                <a:gd name="T86" fmla="*/ 2 w 26"/>
                <a:gd name="T87" fmla="*/ 0 h 95"/>
                <a:gd name="T88" fmla="*/ 3 w 26"/>
                <a:gd name="T89" fmla="*/ 1 h 95"/>
                <a:gd name="T90" fmla="*/ 3 w 26"/>
                <a:gd name="T91" fmla="*/ 1 h 95"/>
                <a:gd name="T92" fmla="*/ 7 w 26"/>
                <a:gd name="T93" fmla="*/ 20 h 95"/>
                <a:gd name="T94" fmla="*/ 7 w 26"/>
                <a:gd name="T95" fmla="*/ 21 h 95"/>
                <a:gd name="T96" fmla="*/ 6 w 26"/>
                <a:gd name="T97" fmla="*/ 22 h 95"/>
                <a:gd name="T98" fmla="*/ 6 w 26"/>
                <a:gd name="T99" fmla="*/ 22 h 95"/>
                <a:gd name="T100" fmla="*/ 5 w 26"/>
                <a:gd name="T101" fmla="*/ 22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6" h="95">
                  <a:moveTo>
                    <a:pt x="24" y="95"/>
                  </a:moveTo>
                  <a:cubicBezTo>
                    <a:pt x="23" y="95"/>
                    <a:pt x="23" y="95"/>
                    <a:pt x="23" y="95"/>
                  </a:cubicBezTo>
                  <a:cubicBezTo>
                    <a:pt x="23" y="95"/>
                    <a:pt x="22" y="94"/>
                    <a:pt x="22" y="94"/>
                  </a:cubicBezTo>
                  <a:cubicBezTo>
                    <a:pt x="18" y="76"/>
                    <a:pt x="18" y="76"/>
                    <a:pt x="18" y="76"/>
                  </a:cubicBezTo>
                  <a:cubicBezTo>
                    <a:pt x="18" y="76"/>
                    <a:pt x="18" y="75"/>
                    <a:pt x="18" y="75"/>
                  </a:cubicBezTo>
                  <a:cubicBezTo>
                    <a:pt x="18" y="75"/>
                    <a:pt x="18" y="75"/>
                    <a:pt x="18" y="75"/>
                  </a:cubicBezTo>
                  <a:cubicBezTo>
                    <a:pt x="18" y="74"/>
                    <a:pt x="18" y="74"/>
                    <a:pt x="18" y="74"/>
                  </a:cubicBezTo>
                  <a:cubicBezTo>
                    <a:pt x="19" y="74"/>
                    <a:pt x="19" y="74"/>
                    <a:pt x="19" y="74"/>
                  </a:cubicBezTo>
                  <a:cubicBezTo>
                    <a:pt x="19" y="74"/>
                    <a:pt x="19" y="74"/>
                    <a:pt x="20" y="74"/>
                  </a:cubicBezTo>
                  <a:cubicBezTo>
                    <a:pt x="20" y="74"/>
                    <a:pt x="20" y="74"/>
                    <a:pt x="20" y="74"/>
                  </a:cubicBezTo>
                  <a:cubicBezTo>
                    <a:pt x="20" y="74"/>
                    <a:pt x="21" y="74"/>
                    <a:pt x="21" y="74"/>
                  </a:cubicBezTo>
                  <a:cubicBezTo>
                    <a:pt x="21" y="75"/>
                    <a:pt x="21" y="75"/>
                    <a:pt x="21" y="75"/>
                  </a:cubicBezTo>
                  <a:cubicBezTo>
                    <a:pt x="26" y="93"/>
                    <a:pt x="26" y="93"/>
                    <a:pt x="26" y="93"/>
                  </a:cubicBezTo>
                  <a:cubicBezTo>
                    <a:pt x="26" y="94"/>
                    <a:pt x="26" y="94"/>
                    <a:pt x="26" y="94"/>
                  </a:cubicBezTo>
                  <a:cubicBezTo>
                    <a:pt x="26" y="94"/>
                    <a:pt x="25" y="94"/>
                    <a:pt x="25" y="95"/>
                  </a:cubicBezTo>
                  <a:cubicBezTo>
                    <a:pt x="25" y="95"/>
                    <a:pt x="25" y="95"/>
                    <a:pt x="25" y="95"/>
                  </a:cubicBezTo>
                  <a:cubicBezTo>
                    <a:pt x="25" y="95"/>
                    <a:pt x="25" y="95"/>
                    <a:pt x="24" y="95"/>
                  </a:cubicBezTo>
                  <a:cubicBezTo>
                    <a:pt x="24" y="95"/>
                    <a:pt x="24" y="95"/>
                    <a:pt x="24" y="95"/>
                  </a:cubicBezTo>
                  <a:close/>
                  <a:moveTo>
                    <a:pt x="15" y="59"/>
                  </a:moveTo>
                  <a:cubicBezTo>
                    <a:pt x="14" y="59"/>
                    <a:pt x="14" y="58"/>
                    <a:pt x="14" y="58"/>
                  </a:cubicBezTo>
                  <a:cubicBezTo>
                    <a:pt x="14" y="58"/>
                    <a:pt x="13" y="58"/>
                    <a:pt x="13" y="57"/>
                  </a:cubicBezTo>
                  <a:cubicBezTo>
                    <a:pt x="9" y="39"/>
                    <a:pt x="9" y="39"/>
                    <a:pt x="9" y="39"/>
                  </a:cubicBezTo>
                  <a:cubicBezTo>
                    <a:pt x="9" y="39"/>
                    <a:pt x="9" y="39"/>
                    <a:pt x="9" y="38"/>
                  </a:cubicBezTo>
                  <a:cubicBezTo>
                    <a:pt x="9" y="38"/>
                    <a:pt x="9" y="38"/>
                    <a:pt x="9" y="38"/>
                  </a:cubicBezTo>
                  <a:cubicBezTo>
                    <a:pt x="9" y="37"/>
                    <a:pt x="9" y="37"/>
                    <a:pt x="9" y="37"/>
                  </a:cubicBezTo>
                  <a:cubicBezTo>
                    <a:pt x="9" y="37"/>
                    <a:pt x="10" y="37"/>
                    <a:pt x="10" y="37"/>
                  </a:cubicBezTo>
                  <a:cubicBezTo>
                    <a:pt x="10" y="37"/>
                    <a:pt x="10" y="37"/>
                    <a:pt x="11" y="37"/>
                  </a:cubicBezTo>
                  <a:cubicBezTo>
                    <a:pt x="11" y="37"/>
                    <a:pt x="11" y="37"/>
                    <a:pt x="11" y="37"/>
                  </a:cubicBezTo>
                  <a:cubicBezTo>
                    <a:pt x="11" y="37"/>
                    <a:pt x="12" y="37"/>
                    <a:pt x="12" y="38"/>
                  </a:cubicBezTo>
                  <a:cubicBezTo>
                    <a:pt x="12" y="38"/>
                    <a:pt x="12" y="38"/>
                    <a:pt x="12" y="38"/>
                  </a:cubicBezTo>
                  <a:cubicBezTo>
                    <a:pt x="16" y="57"/>
                    <a:pt x="16" y="57"/>
                    <a:pt x="16" y="57"/>
                  </a:cubicBezTo>
                  <a:cubicBezTo>
                    <a:pt x="17" y="57"/>
                    <a:pt x="16" y="57"/>
                    <a:pt x="16" y="58"/>
                  </a:cubicBezTo>
                  <a:cubicBezTo>
                    <a:pt x="16" y="58"/>
                    <a:pt x="16" y="58"/>
                    <a:pt x="15" y="59"/>
                  </a:cubicBezTo>
                  <a:cubicBezTo>
                    <a:pt x="15" y="59"/>
                    <a:pt x="15" y="59"/>
                    <a:pt x="15" y="59"/>
                  </a:cubicBezTo>
                  <a:close/>
                  <a:moveTo>
                    <a:pt x="5" y="22"/>
                  </a:moveTo>
                  <a:cubicBezTo>
                    <a:pt x="5" y="22"/>
                    <a:pt x="5" y="22"/>
                    <a:pt x="5" y="21"/>
                  </a:cubicBezTo>
                  <a:cubicBezTo>
                    <a:pt x="4" y="21"/>
                    <a:pt x="4" y="21"/>
                    <a:pt x="4" y="21"/>
                  </a:cubicBezTo>
                  <a:cubicBezTo>
                    <a:pt x="0" y="2"/>
                    <a:pt x="0" y="2"/>
                    <a:pt x="0" y="2"/>
                  </a:cubicBezTo>
                  <a:cubicBezTo>
                    <a:pt x="0" y="2"/>
                    <a:pt x="0" y="2"/>
                    <a:pt x="0" y="2"/>
                  </a:cubicBezTo>
                  <a:cubicBezTo>
                    <a:pt x="0" y="1"/>
                    <a:pt x="0" y="1"/>
                    <a:pt x="0" y="1"/>
                  </a:cubicBezTo>
                  <a:cubicBezTo>
                    <a:pt x="0" y="1"/>
                    <a:pt x="0" y="1"/>
                    <a:pt x="0" y="1"/>
                  </a:cubicBezTo>
                  <a:cubicBezTo>
                    <a:pt x="0" y="0"/>
                    <a:pt x="1" y="0"/>
                    <a:pt x="1" y="0"/>
                  </a:cubicBezTo>
                  <a:cubicBezTo>
                    <a:pt x="1" y="0"/>
                    <a:pt x="1" y="0"/>
                    <a:pt x="2" y="0"/>
                  </a:cubicBezTo>
                  <a:cubicBezTo>
                    <a:pt x="2" y="0"/>
                    <a:pt x="2" y="0"/>
                    <a:pt x="2" y="0"/>
                  </a:cubicBezTo>
                  <a:cubicBezTo>
                    <a:pt x="2" y="1"/>
                    <a:pt x="2" y="1"/>
                    <a:pt x="3" y="1"/>
                  </a:cubicBezTo>
                  <a:cubicBezTo>
                    <a:pt x="3" y="1"/>
                    <a:pt x="3" y="1"/>
                    <a:pt x="3" y="1"/>
                  </a:cubicBezTo>
                  <a:cubicBezTo>
                    <a:pt x="7" y="20"/>
                    <a:pt x="7" y="20"/>
                    <a:pt x="7" y="20"/>
                  </a:cubicBezTo>
                  <a:cubicBezTo>
                    <a:pt x="7" y="20"/>
                    <a:pt x="7" y="21"/>
                    <a:pt x="7" y="21"/>
                  </a:cubicBezTo>
                  <a:cubicBezTo>
                    <a:pt x="7" y="21"/>
                    <a:pt x="7" y="22"/>
                    <a:pt x="6" y="22"/>
                  </a:cubicBezTo>
                  <a:cubicBezTo>
                    <a:pt x="6" y="22"/>
                    <a:pt x="6" y="22"/>
                    <a:pt x="6" y="22"/>
                  </a:cubicBezTo>
                  <a:lnTo>
                    <a:pt x="5" y="22"/>
                  </a:lnTo>
                  <a:close/>
                </a:path>
              </a:pathLst>
            </a:custGeom>
            <a:solidFill>
              <a:srgbClr val="1105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58" name="Freeform 8">
              <a:extLst>
                <a:ext uri="{FF2B5EF4-FFF2-40B4-BE49-F238E27FC236}">
                  <a16:creationId xmlns:a16="http://schemas.microsoft.com/office/drawing/2014/main" id="{9345F57C-C783-4963-9F9C-A2776FEFB981}"/>
                </a:ext>
              </a:extLst>
            </p:cNvPr>
            <p:cNvSpPr>
              <a:spLocks/>
            </p:cNvSpPr>
            <p:nvPr/>
          </p:nvSpPr>
          <p:spPr bwMode="auto">
            <a:xfrm>
              <a:off x="6378367" y="3873391"/>
              <a:ext cx="54337" cy="63101"/>
            </a:xfrm>
            <a:custGeom>
              <a:avLst/>
              <a:gdLst>
                <a:gd name="T0" fmla="*/ 4 w 13"/>
                <a:gd name="T1" fmla="*/ 15 h 15"/>
                <a:gd name="T2" fmla="*/ 4 w 13"/>
                <a:gd name="T3" fmla="*/ 15 h 15"/>
                <a:gd name="T4" fmla="*/ 3 w 13"/>
                <a:gd name="T5" fmla="*/ 14 h 15"/>
                <a:gd name="T6" fmla="*/ 0 w 13"/>
                <a:gd name="T7" fmla="*/ 3 h 15"/>
                <a:gd name="T8" fmla="*/ 11 w 13"/>
                <a:gd name="T9" fmla="*/ 0 h 15"/>
                <a:gd name="T10" fmla="*/ 13 w 13"/>
                <a:gd name="T11" fmla="*/ 1 h 15"/>
                <a:gd name="T12" fmla="*/ 13 w 13"/>
                <a:gd name="T13" fmla="*/ 2 h 15"/>
                <a:gd name="T14" fmla="*/ 13 w 13"/>
                <a:gd name="T15" fmla="*/ 3 h 15"/>
                <a:gd name="T16" fmla="*/ 12 w 13"/>
                <a:gd name="T17" fmla="*/ 3 h 15"/>
                <a:gd name="T18" fmla="*/ 4 w 13"/>
                <a:gd name="T19" fmla="*/ 5 h 15"/>
                <a:gd name="T20" fmla="*/ 6 w 13"/>
                <a:gd name="T21" fmla="*/ 13 h 15"/>
                <a:gd name="T22" fmla="*/ 6 w 13"/>
                <a:gd name="T23" fmla="*/ 14 h 15"/>
                <a:gd name="T24" fmla="*/ 6 w 13"/>
                <a:gd name="T25" fmla="*/ 14 h 15"/>
                <a:gd name="T26" fmla="*/ 6 w 13"/>
                <a:gd name="T27" fmla="*/ 15 h 15"/>
                <a:gd name="T28" fmla="*/ 5 w 13"/>
                <a:gd name="T29" fmla="*/ 15 h 15"/>
                <a:gd name="T30" fmla="*/ 4 w 13"/>
                <a:gd name="T31"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 h="15">
                  <a:moveTo>
                    <a:pt x="4" y="15"/>
                  </a:moveTo>
                  <a:cubicBezTo>
                    <a:pt x="4" y="15"/>
                    <a:pt x="4" y="15"/>
                    <a:pt x="4" y="15"/>
                  </a:cubicBezTo>
                  <a:cubicBezTo>
                    <a:pt x="3" y="14"/>
                    <a:pt x="3" y="14"/>
                    <a:pt x="3" y="14"/>
                  </a:cubicBezTo>
                  <a:cubicBezTo>
                    <a:pt x="0" y="3"/>
                    <a:pt x="0" y="3"/>
                    <a:pt x="0" y="3"/>
                  </a:cubicBezTo>
                  <a:cubicBezTo>
                    <a:pt x="11" y="0"/>
                    <a:pt x="11" y="0"/>
                    <a:pt x="11" y="0"/>
                  </a:cubicBezTo>
                  <a:cubicBezTo>
                    <a:pt x="12" y="0"/>
                    <a:pt x="12" y="0"/>
                    <a:pt x="13" y="1"/>
                  </a:cubicBezTo>
                  <a:cubicBezTo>
                    <a:pt x="13" y="1"/>
                    <a:pt x="13" y="1"/>
                    <a:pt x="13" y="2"/>
                  </a:cubicBezTo>
                  <a:cubicBezTo>
                    <a:pt x="13" y="2"/>
                    <a:pt x="13" y="2"/>
                    <a:pt x="13" y="3"/>
                  </a:cubicBezTo>
                  <a:cubicBezTo>
                    <a:pt x="13" y="3"/>
                    <a:pt x="13" y="3"/>
                    <a:pt x="12" y="3"/>
                  </a:cubicBezTo>
                  <a:cubicBezTo>
                    <a:pt x="4" y="5"/>
                    <a:pt x="4" y="5"/>
                    <a:pt x="4" y="5"/>
                  </a:cubicBezTo>
                  <a:cubicBezTo>
                    <a:pt x="6" y="13"/>
                    <a:pt x="6" y="13"/>
                    <a:pt x="6" y="13"/>
                  </a:cubicBezTo>
                  <a:cubicBezTo>
                    <a:pt x="6" y="13"/>
                    <a:pt x="6" y="13"/>
                    <a:pt x="6" y="14"/>
                  </a:cubicBezTo>
                  <a:cubicBezTo>
                    <a:pt x="6" y="14"/>
                    <a:pt x="6" y="14"/>
                    <a:pt x="6" y="14"/>
                  </a:cubicBezTo>
                  <a:cubicBezTo>
                    <a:pt x="6" y="14"/>
                    <a:pt x="6" y="15"/>
                    <a:pt x="6" y="15"/>
                  </a:cubicBezTo>
                  <a:cubicBezTo>
                    <a:pt x="6" y="15"/>
                    <a:pt x="5" y="15"/>
                    <a:pt x="5" y="15"/>
                  </a:cubicBezTo>
                  <a:cubicBezTo>
                    <a:pt x="5" y="15"/>
                    <a:pt x="5" y="15"/>
                    <a:pt x="4" y="15"/>
                  </a:cubicBezTo>
                  <a:close/>
                </a:path>
              </a:pathLst>
            </a:custGeom>
            <a:solidFill>
              <a:srgbClr val="1105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59" name="Freeform 9">
              <a:extLst>
                <a:ext uri="{FF2B5EF4-FFF2-40B4-BE49-F238E27FC236}">
                  <a16:creationId xmlns:a16="http://schemas.microsoft.com/office/drawing/2014/main" id="{57953186-1BD5-4ABD-9F9C-CD7B93BAABEA}"/>
                </a:ext>
              </a:extLst>
            </p:cNvPr>
            <p:cNvSpPr>
              <a:spLocks/>
            </p:cNvSpPr>
            <p:nvPr/>
          </p:nvSpPr>
          <p:spPr bwMode="auto">
            <a:xfrm>
              <a:off x="5547541" y="3564899"/>
              <a:ext cx="57843" cy="54337"/>
            </a:xfrm>
            <a:custGeom>
              <a:avLst/>
              <a:gdLst>
                <a:gd name="T0" fmla="*/ 1 w 14"/>
                <a:gd name="T1" fmla="*/ 11 h 13"/>
                <a:gd name="T2" fmla="*/ 0 w 14"/>
                <a:gd name="T3" fmla="*/ 10 h 13"/>
                <a:gd name="T4" fmla="*/ 0 w 14"/>
                <a:gd name="T5" fmla="*/ 9 h 13"/>
                <a:gd name="T6" fmla="*/ 1 w 14"/>
                <a:gd name="T7" fmla="*/ 8 h 13"/>
                <a:gd name="T8" fmla="*/ 2 w 14"/>
                <a:gd name="T9" fmla="*/ 8 h 13"/>
                <a:gd name="T10" fmla="*/ 10 w 14"/>
                <a:gd name="T11" fmla="*/ 9 h 13"/>
                <a:gd name="T12" fmla="*/ 11 w 14"/>
                <a:gd name="T13" fmla="*/ 1 h 13"/>
                <a:gd name="T14" fmla="*/ 12 w 14"/>
                <a:gd name="T15" fmla="*/ 0 h 13"/>
                <a:gd name="T16" fmla="*/ 13 w 14"/>
                <a:gd name="T17" fmla="*/ 0 h 13"/>
                <a:gd name="T18" fmla="*/ 14 w 14"/>
                <a:gd name="T19" fmla="*/ 1 h 13"/>
                <a:gd name="T20" fmla="*/ 14 w 14"/>
                <a:gd name="T21" fmla="*/ 2 h 13"/>
                <a:gd name="T22" fmla="*/ 12 w 14"/>
                <a:gd name="T23" fmla="*/ 13 h 13"/>
                <a:gd name="T24" fmla="*/ 1 w 14"/>
                <a:gd name="T25" fmla="*/ 11 h 13"/>
                <a:gd name="T26" fmla="*/ 1 w 14"/>
                <a:gd name="T27" fmla="*/ 11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 h="13">
                  <a:moveTo>
                    <a:pt x="1" y="11"/>
                  </a:moveTo>
                  <a:cubicBezTo>
                    <a:pt x="0" y="11"/>
                    <a:pt x="0" y="10"/>
                    <a:pt x="0" y="10"/>
                  </a:cubicBezTo>
                  <a:cubicBezTo>
                    <a:pt x="0" y="9"/>
                    <a:pt x="0" y="9"/>
                    <a:pt x="0" y="9"/>
                  </a:cubicBezTo>
                  <a:cubicBezTo>
                    <a:pt x="0" y="8"/>
                    <a:pt x="0" y="8"/>
                    <a:pt x="1" y="8"/>
                  </a:cubicBezTo>
                  <a:cubicBezTo>
                    <a:pt x="1" y="8"/>
                    <a:pt x="1" y="8"/>
                    <a:pt x="2" y="8"/>
                  </a:cubicBezTo>
                  <a:cubicBezTo>
                    <a:pt x="10" y="9"/>
                    <a:pt x="10" y="9"/>
                    <a:pt x="10" y="9"/>
                  </a:cubicBezTo>
                  <a:cubicBezTo>
                    <a:pt x="11" y="1"/>
                    <a:pt x="11" y="1"/>
                    <a:pt x="11" y="1"/>
                  </a:cubicBezTo>
                  <a:cubicBezTo>
                    <a:pt x="11" y="1"/>
                    <a:pt x="11" y="1"/>
                    <a:pt x="12" y="0"/>
                  </a:cubicBezTo>
                  <a:cubicBezTo>
                    <a:pt x="12" y="0"/>
                    <a:pt x="12" y="0"/>
                    <a:pt x="13" y="0"/>
                  </a:cubicBezTo>
                  <a:cubicBezTo>
                    <a:pt x="13" y="0"/>
                    <a:pt x="14" y="0"/>
                    <a:pt x="14" y="1"/>
                  </a:cubicBezTo>
                  <a:cubicBezTo>
                    <a:pt x="14" y="1"/>
                    <a:pt x="14" y="1"/>
                    <a:pt x="14" y="2"/>
                  </a:cubicBezTo>
                  <a:cubicBezTo>
                    <a:pt x="12" y="13"/>
                    <a:pt x="12" y="13"/>
                    <a:pt x="12" y="13"/>
                  </a:cubicBezTo>
                  <a:cubicBezTo>
                    <a:pt x="1" y="11"/>
                    <a:pt x="1" y="11"/>
                    <a:pt x="1" y="11"/>
                  </a:cubicBezTo>
                  <a:cubicBezTo>
                    <a:pt x="1" y="11"/>
                    <a:pt x="1" y="11"/>
                    <a:pt x="1" y="11"/>
                  </a:cubicBezTo>
                  <a:close/>
                </a:path>
              </a:pathLst>
            </a:custGeom>
            <a:solidFill>
              <a:srgbClr val="1105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60" name="Freeform 10">
              <a:extLst>
                <a:ext uri="{FF2B5EF4-FFF2-40B4-BE49-F238E27FC236}">
                  <a16:creationId xmlns:a16="http://schemas.microsoft.com/office/drawing/2014/main" id="{4E15293F-01DE-41ED-A107-C28A386095BC}"/>
                </a:ext>
              </a:extLst>
            </p:cNvPr>
            <p:cNvSpPr>
              <a:spLocks noEditPoints="1"/>
            </p:cNvSpPr>
            <p:nvPr/>
          </p:nvSpPr>
          <p:spPr bwMode="auto">
            <a:xfrm>
              <a:off x="6653555" y="4323860"/>
              <a:ext cx="592445" cy="159505"/>
            </a:xfrm>
            <a:custGeom>
              <a:avLst/>
              <a:gdLst>
                <a:gd name="T0" fmla="*/ 2 w 142"/>
                <a:gd name="T1" fmla="*/ 38 h 38"/>
                <a:gd name="T2" fmla="*/ 1 w 142"/>
                <a:gd name="T3" fmla="*/ 37 h 38"/>
                <a:gd name="T4" fmla="*/ 0 w 142"/>
                <a:gd name="T5" fmla="*/ 37 h 38"/>
                <a:gd name="T6" fmla="*/ 0 w 142"/>
                <a:gd name="T7" fmla="*/ 36 h 38"/>
                <a:gd name="T8" fmla="*/ 1 w 142"/>
                <a:gd name="T9" fmla="*/ 35 h 38"/>
                <a:gd name="T10" fmla="*/ 1 w 142"/>
                <a:gd name="T11" fmla="*/ 35 h 38"/>
                <a:gd name="T12" fmla="*/ 2 w 142"/>
                <a:gd name="T13" fmla="*/ 35 h 38"/>
                <a:gd name="T14" fmla="*/ 21 w 142"/>
                <a:gd name="T15" fmla="*/ 30 h 38"/>
                <a:gd name="T16" fmla="*/ 23 w 142"/>
                <a:gd name="T17" fmla="*/ 30 h 38"/>
                <a:gd name="T18" fmla="*/ 23 w 142"/>
                <a:gd name="T19" fmla="*/ 31 h 38"/>
                <a:gd name="T20" fmla="*/ 23 w 142"/>
                <a:gd name="T21" fmla="*/ 32 h 38"/>
                <a:gd name="T22" fmla="*/ 22 w 142"/>
                <a:gd name="T23" fmla="*/ 33 h 38"/>
                <a:gd name="T24" fmla="*/ 2 w 142"/>
                <a:gd name="T25" fmla="*/ 38 h 38"/>
                <a:gd name="T26" fmla="*/ 2 w 142"/>
                <a:gd name="T27" fmla="*/ 38 h 38"/>
                <a:gd name="T28" fmla="*/ 41 w 142"/>
                <a:gd name="T29" fmla="*/ 28 h 38"/>
                <a:gd name="T30" fmla="*/ 40 w 142"/>
                <a:gd name="T31" fmla="*/ 28 h 38"/>
                <a:gd name="T32" fmla="*/ 40 w 142"/>
                <a:gd name="T33" fmla="*/ 27 h 38"/>
                <a:gd name="T34" fmla="*/ 40 w 142"/>
                <a:gd name="T35" fmla="*/ 25 h 38"/>
                <a:gd name="T36" fmla="*/ 41 w 142"/>
                <a:gd name="T37" fmla="*/ 25 h 38"/>
                <a:gd name="T38" fmla="*/ 61 w 142"/>
                <a:gd name="T39" fmla="*/ 20 h 38"/>
                <a:gd name="T40" fmla="*/ 62 w 142"/>
                <a:gd name="T41" fmla="*/ 20 h 38"/>
                <a:gd name="T42" fmla="*/ 62 w 142"/>
                <a:gd name="T43" fmla="*/ 20 h 38"/>
                <a:gd name="T44" fmla="*/ 63 w 142"/>
                <a:gd name="T45" fmla="*/ 21 h 38"/>
                <a:gd name="T46" fmla="*/ 63 w 142"/>
                <a:gd name="T47" fmla="*/ 21 h 38"/>
                <a:gd name="T48" fmla="*/ 63 w 142"/>
                <a:gd name="T49" fmla="*/ 22 h 38"/>
                <a:gd name="T50" fmla="*/ 63 w 142"/>
                <a:gd name="T51" fmla="*/ 22 h 38"/>
                <a:gd name="T52" fmla="*/ 62 w 142"/>
                <a:gd name="T53" fmla="*/ 23 h 38"/>
                <a:gd name="T54" fmla="*/ 62 w 142"/>
                <a:gd name="T55" fmla="*/ 23 h 38"/>
                <a:gd name="T56" fmla="*/ 42 w 142"/>
                <a:gd name="T57" fmla="*/ 28 h 38"/>
                <a:gd name="T58" fmla="*/ 41 w 142"/>
                <a:gd name="T59" fmla="*/ 28 h 38"/>
                <a:gd name="T60" fmla="*/ 81 w 142"/>
                <a:gd name="T61" fmla="*/ 18 h 38"/>
                <a:gd name="T62" fmla="*/ 80 w 142"/>
                <a:gd name="T63" fmla="*/ 18 h 38"/>
                <a:gd name="T64" fmla="*/ 80 w 142"/>
                <a:gd name="T65" fmla="*/ 17 h 38"/>
                <a:gd name="T66" fmla="*/ 80 w 142"/>
                <a:gd name="T67" fmla="*/ 16 h 38"/>
                <a:gd name="T68" fmla="*/ 81 w 142"/>
                <a:gd name="T69" fmla="*/ 15 h 38"/>
                <a:gd name="T70" fmla="*/ 101 w 142"/>
                <a:gd name="T71" fmla="*/ 10 h 38"/>
                <a:gd name="T72" fmla="*/ 101 w 142"/>
                <a:gd name="T73" fmla="*/ 10 h 38"/>
                <a:gd name="T74" fmla="*/ 102 w 142"/>
                <a:gd name="T75" fmla="*/ 10 h 38"/>
                <a:gd name="T76" fmla="*/ 103 w 142"/>
                <a:gd name="T77" fmla="*/ 11 h 38"/>
                <a:gd name="T78" fmla="*/ 103 w 142"/>
                <a:gd name="T79" fmla="*/ 11 h 38"/>
                <a:gd name="T80" fmla="*/ 103 w 142"/>
                <a:gd name="T81" fmla="*/ 12 h 38"/>
                <a:gd name="T82" fmla="*/ 103 w 142"/>
                <a:gd name="T83" fmla="*/ 13 h 38"/>
                <a:gd name="T84" fmla="*/ 102 w 142"/>
                <a:gd name="T85" fmla="*/ 13 h 38"/>
                <a:gd name="T86" fmla="*/ 102 w 142"/>
                <a:gd name="T87" fmla="*/ 13 h 38"/>
                <a:gd name="T88" fmla="*/ 82 w 142"/>
                <a:gd name="T89" fmla="*/ 18 h 38"/>
                <a:gd name="T90" fmla="*/ 81 w 142"/>
                <a:gd name="T91" fmla="*/ 18 h 38"/>
                <a:gd name="T92" fmla="*/ 121 w 142"/>
                <a:gd name="T93" fmla="*/ 9 h 38"/>
                <a:gd name="T94" fmla="*/ 120 w 142"/>
                <a:gd name="T95" fmla="*/ 8 h 38"/>
                <a:gd name="T96" fmla="*/ 119 w 142"/>
                <a:gd name="T97" fmla="*/ 7 h 38"/>
                <a:gd name="T98" fmla="*/ 119 w 142"/>
                <a:gd name="T99" fmla="*/ 7 h 38"/>
                <a:gd name="T100" fmla="*/ 120 w 142"/>
                <a:gd name="T101" fmla="*/ 6 h 38"/>
                <a:gd name="T102" fmla="*/ 120 w 142"/>
                <a:gd name="T103" fmla="*/ 6 h 38"/>
                <a:gd name="T104" fmla="*/ 121 w 142"/>
                <a:gd name="T105" fmla="*/ 5 h 38"/>
                <a:gd name="T106" fmla="*/ 140 w 142"/>
                <a:gd name="T107" fmla="*/ 1 h 38"/>
                <a:gd name="T108" fmla="*/ 142 w 142"/>
                <a:gd name="T109" fmla="*/ 1 h 38"/>
                <a:gd name="T110" fmla="*/ 142 w 142"/>
                <a:gd name="T111" fmla="*/ 2 h 38"/>
                <a:gd name="T112" fmla="*/ 142 w 142"/>
                <a:gd name="T113" fmla="*/ 3 h 38"/>
                <a:gd name="T114" fmla="*/ 141 w 142"/>
                <a:gd name="T115" fmla="*/ 4 h 38"/>
                <a:gd name="T116" fmla="*/ 121 w 142"/>
                <a:gd name="T117" fmla="*/ 9 h 38"/>
                <a:gd name="T118" fmla="*/ 121 w 142"/>
                <a:gd name="T119" fmla="*/ 9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42" h="38">
                  <a:moveTo>
                    <a:pt x="2" y="38"/>
                  </a:moveTo>
                  <a:cubicBezTo>
                    <a:pt x="1" y="38"/>
                    <a:pt x="1" y="38"/>
                    <a:pt x="1" y="37"/>
                  </a:cubicBezTo>
                  <a:cubicBezTo>
                    <a:pt x="1" y="37"/>
                    <a:pt x="0" y="37"/>
                    <a:pt x="0" y="37"/>
                  </a:cubicBezTo>
                  <a:cubicBezTo>
                    <a:pt x="0" y="36"/>
                    <a:pt x="0" y="36"/>
                    <a:pt x="0" y="36"/>
                  </a:cubicBezTo>
                  <a:cubicBezTo>
                    <a:pt x="0" y="36"/>
                    <a:pt x="0" y="36"/>
                    <a:pt x="1" y="35"/>
                  </a:cubicBezTo>
                  <a:cubicBezTo>
                    <a:pt x="1" y="35"/>
                    <a:pt x="1" y="35"/>
                    <a:pt x="1" y="35"/>
                  </a:cubicBezTo>
                  <a:cubicBezTo>
                    <a:pt x="1" y="35"/>
                    <a:pt x="1" y="35"/>
                    <a:pt x="2" y="35"/>
                  </a:cubicBezTo>
                  <a:cubicBezTo>
                    <a:pt x="21" y="30"/>
                    <a:pt x="21" y="30"/>
                    <a:pt x="21" y="30"/>
                  </a:cubicBezTo>
                  <a:cubicBezTo>
                    <a:pt x="22" y="30"/>
                    <a:pt x="22" y="30"/>
                    <a:pt x="23" y="30"/>
                  </a:cubicBezTo>
                  <a:cubicBezTo>
                    <a:pt x="23" y="30"/>
                    <a:pt x="23" y="31"/>
                    <a:pt x="23" y="31"/>
                  </a:cubicBezTo>
                  <a:cubicBezTo>
                    <a:pt x="23" y="31"/>
                    <a:pt x="23" y="32"/>
                    <a:pt x="23" y="32"/>
                  </a:cubicBezTo>
                  <a:cubicBezTo>
                    <a:pt x="23" y="33"/>
                    <a:pt x="23" y="33"/>
                    <a:pt x="22" y="33"/>
                  </a:cubicBezTo>
                  <a:cubicBezTo>
                    <a:pt x="2" y="38"/>
                    <a:pt x="2" y="38"/>
                    <a:pt x="2" y="38"/>
                  </a:cubicBezTo>
                  <a:cubicBezTo>
                    <a:pt x="2" y="38"/>
                    <a:pt x="2" y="38"/>
                    <a:pt x="2" y="38"/>
                  </a:cubicBezTo>
                  <a:close/>
                  <a:moveTo>
                    <a:pt x="41" y="28"/>
                  </a:moveTo>
                  <a:cubicBezTo>
                    <a:pt x="41" y="28"/>
                    <a:pt x="41" y="28"/>
                    <a:pt x="40" y="28"/>
                  </a:cubicBezTo>
                  <a:cubicBezTo>
                    <a:pt x="40" y="27"/>
                    <a:pt x="40" y="27"/>
                    <a:pt x="40" y="27"/>
                  </a:cubicBezTo>
                  <a:cubicBezTo>
                    <a:pt x="40" y="26"/>
                    <a:pt x="40" y="26"/>
                    <a:pt x="40" y="25"/>
                  </a:cubicBezTo>
                  <a:cubicBezTo>
                    <a:pt x="41" y="25"/>
                    <a:pt x="41" y="25"/>
                    <a:pt x="41" y="25"/>
                  </a:cubicBezTo>
                  <a:cubicBezTo>
                    <a:pt x="61" y="20"/>
                    <a:pt x="61" y="20"/>
                    <a:pt x="61" y="20"/>
                  </a:cubicBezTo>
                  <a:cubicBezTo>
                    <a:pt x="61" y="20"/>
                    <a:pt x="62" y="20"/>
                    <a:pt x="62" y="20"/>
                  </a:cubicBezTo>
                  <a:cubicBezTo>
                    <a:pt x="62" y="20"/>
                    <a:pt x="62" y="20"/>
                    <a:pt x="62" y="20"/>
                  </a:cubicBezTo>
                  <a:cubicBezTo>
                    <a:pt x="63" y="20"/>
                    <a:pt x="63" y="21"/>
                    <a:pt x="63" y="21"/>
                  </a:cubicBezTo>
                  <a:cubicBezTo>
                    <a:pt x="63" y="21"/>
                    <a:pt x="63" y="21"/>
                    <a:pt x="63" y="21"/>
                  </a:cubicBezTo>
                  <a:cubicBezTo>
                    <a:pt x="63" y="21"/>
                    <a:pt x="63" y="22"/>
                    <a:pt x="63" y="22"/>
                  </a:cubicBezTo>
                  <a:cubicBezTo>
                    <a:pt x="63" y="22"/>
                    <a:pt x="63" y="22"/>
                    <a:pt x="63" y="22"/>
                  </a:cubicBezTo>
                  <a:cubicBezTo>
                    <a:pt x="63" y="23"/>
                    <a:pt x="63" y="23"/>
                    <a:pt x="62" y="23"/>
                  </a:cubicBezTo>
                  <a:cubicBezTo>
                    <a:pt x="62" y="23"/>
                    <a:pt x="62" y="23"/>
                    <a:pt x="62" y="23"/>
                  </a:cubicBezTo>
                  <a:cubicBezTo>
                    <a:pt x="42" y="28"/>
                    <a:pt x="42" y="28"/>
                    <a:pt x="42" y="28"/>
                  </a:cubicBezTo>
                  <a:cubicBezTo>
                    <a:pt x="42" y="28"/>
                    <a:pt x="42" y="28"/>
                    <a:pt x="41" y="28"/>
                  </a:cubicBezTo>
                  <a:close/>
                  <a:moveTo>
                    <a:pt x="81" y="18"/>
                  </a:moveTo>
                  <a:cubicBezTo>
                    <a:pt x="81" y="18"/>
                    <a:pt x="80" y="18"/>
                    <a:pt x="80" y="18"/>
                  </a:cubicBezTo>
                  <a:cubicBezTo>
                    <a:pt x="80" y="18"/>
                    <a:pt x="80" y="17"/>
                    <a:pt x="80" y="17"/>
                  </a:cubicBezTo>
                  <a:cubicBezTo>
                    <a:pt x="80" y="16"/>
                    <a:pt x="80" y="16"/>
                    <a:pt x="80" y="16"/>
                  </a:cubicBezTo>
                  <a:cubicBezTo>
                    <a:pt x="80" y="15"/>
                    <a:pt x="81" y="15"/>
                    <a:pt x="81" y="15"/>
                  </a:cubicBezTo>
                  <a:cubicBezTo>
                    <a:pt x="101" y="10"/>
                    <a:pt x="101" y="10"/>
                    <a:pt x="101" y="10"/>
                  </a:cubicBezTo>
                  <a:cubicBezTo>
                    <a:pt x="101" y="10"/>
                    <a:pt x="101" y="10"/>
                    <a:pt x="101" y="10"/>
                  </a:cubicBezTo>
                  <a:cubicBezTo>
                    <a:pt x="102" y="10"/>
                    <a:pt x="102" y="10"/>
                    <a:pt x="102" y="10"/>
                  </a:cubicBezTo>
                  <a:cubicBezTo>
                    <a:pt x="102" y="11"/>
                    <a:pt x="103" y="11"/>
                    <a:pt x="103" y="11"/>
                  </a:cubicBezTo>
                  <a:cubicBezTo>
                    <a:pt x="103" y="11"/>
                    <a:pt x="103" y="11"/>
                    <a:pt x="103" y="11"/>
                  </a:cubicBezTo>
                  <a:cubicBezTo>
                    <a:pt x="103" y="12"/>
                    <a:pt x="103" y="12"/>
                    <a:pt x="103" y="12"/>
                  </a:cubicBezTo>
                  <a:cubicBezTo>
                    <a:pt x="103" y="12"/>
                    <a:pt x="103" y="13"/>
                    <a:pt x="103" y="13"/>
                  </a:cubicBezTo>
                  <a:cubicBezTo>
                    <a:pt x="103" y="13"/>
                    <a:pt x="102" y="13"/>
                    <a:pt x="102" y="13"/>
                  </a:cubicBezTo>
                  <a:cubicBezTo>
                    <a:pt x="102" y="13"/>
                    <a:pt x="102" y="13"/>
                    <a:pt x="102" y="13"/>
                  </a:cubicBezTo>
                  <a:cubicBezTo>
                    <a:pt x="82" y="18"/>
                    <a:pt x="82" y="18"/>
                    <a:pt x="82" y="18"/>
                  </a:cubicBezTo>
                  <a:cubicBezTo>
                    <a:pt x="81" y="18"/>
                    <a:pt x="81" y="18"/>
                    <a:pt x="81" y="18"/>
                  </a:cubicBezTo>
                  <a:close/>
                  <a:moveTo>
                    <a:pt x="121" y="9"/>
                  </a:moveTo>
                  <a:cubicBezTo>
                    <a:pt x="120" y="9"/>
                    <a:pt x="120" y="8"/>
                    <a:pt x="120" y="8"/>
                  </a:cubicBezTo>
                  <a:cubicBezTo>
                    <a:pt x="120" y="8"/>
                    <a:pt x="119" y="8"/>
                    <a:pt x="119" y="7"/>
                  </a:cubicBezTo>
                  <a:cubicBezTo>
                    <a:pt x="119" y="7"/>
                    <a:pt x="119" y="7"/>
                    <a:pt x="119" y="7"/>
                  </a:cubicBezTo>
                  <a:cubicBezTo>
                    <a:pt x="119" y="7"/>
                    <a:pt x="119" y="6"/>
                    <a:pt x="120" y="6"/>
                  </a:cubicBezTo>
                  <a:cubicBezTo>
                    <a:pt x="120" y="6"/>
                    <a:pt x="120" y="6"/>
                    <a:pt x="120" y="6"/>
                  </a:cubicBezTo>
                  <a:cubicBezTo>
                    <a:pt x="120" y="6"/>
                    <a:pt x="120" y="6"/>
                    <a:pt x="121" y="5"/>
                  </a:cubicBezTo>
                  <a:cubicBezTo>
                    <a:pt x="140" y="1"/>
                    <a:pt x="140" y="1"/>
                    <a:pt x="140" y="1"/>
                  </a:cubicBezTo>
                  <a:cubicBezTo>
                    <a:pt x="141" y="0"/>
                    <a:pt x="141" y="1"/>
                    <a:pt x="142" y="1"/>
                  </a:cubicBezTo>
                  <a:cubicBezTo>
                    <a:pt x="142" y="1"/>
                    <a:pt x="142" y="1"/>
                    <a:pt x="142" y="2"/>
                  </a:cubicBezTo>
                  <a:cubicBezTo>
                    <a:pt x="142" y="2"/>
                    <a:pt x="142" y="3"/>
                    <a:pt x="142" y="3"/>
                  </a:cubicBezTo>
                  <a:cubicBezTo>
                    <a:pt x="142" y="3"/>
                    <a:pt x="142" y="4"/>
                    <a:pt x="141" y="4"/>
                  </a:cubicBezTo>
                  <a:cubicBezTo>
                    <a:pt x="121" y="9"/>
                    <a:pt x="121" y="9"/>
                    <a:pt x="121" y="9"/>
                  </a:cubicBezTo>
                  <a:cubicBezTo>
                    <a:pt x="121" y="9"/>
                    <a:pt x="121" y="9"/>
                    <a:pt x="121" y="9"/>
                  </a:cubicBezTo>
                  <a:close/>
                </a:path>
              </a:pathLst>
            </a:custGeom>
            <a:solidFill>
              <a:srgbClr val="1105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61" name="Freeform 11">
              <a:extLst>
                <a:ext uri="{FF2B5EF4-FFF2-40B4-BE49-F238E27FC236}">
                  <a16:creationId xmlns:a16="http://schemas.microsoft.com/office/drawing/2014/main" id="{5E070B0B-6F9C-4ACE-9492-D189566BC071}"/>
                </a:ext>
              </a:extLst>
            </p:cNvPr>
            <p:cNvSpPr>
              <a:spLocks noEditPoints="1"/>
            </p:cNvSpPr>
            <p:nvPr/>
          </p:nvSpPr>
          <p:spPr bwMode="auto">
            <a:xfrm>
              <a:off x="6502815" y="3712134"/>
              <a:ext cx="592445" cy="157752"/>
            </a:xfrm>
            <a:custGeom>
              <a:avLst/>
              <a:gdLst>
                <a:gd name="T0" fmla="*/ 1 w 142"/>
                <a:gd name="T1" fmla="*/ 38 h 38"/>
                <a:gd name="T2" fmla="*/ 0 w 142"/>
                <a:gd name="T3" fmla="*/ 37 h 38"/>
                <a:gd name="T4" fmla="*/ 0 w 142"/>
                <a:gd name="T5" fmla="*/ 36 h 38"/>
                <a:gd name="T6" fmla="*/ 0 w 142"/>
                <a:gd name="T7" fmla="*/ 35 h 38"/>
                <a:gd name="T8" fmla="*/ 1 w 142"/>
                <a:gd name="T9" fmla="*/ 34 h 38"/>
                <a:gd name="T10" fmla="*/ 21 w 142"/>
                <a:gd name="T11" fmla="*/ 30 h 38"/>
                <a:gd name="T12" fmla="*/ 22 w 142"/>
                <a:gd name="T13" fmla="*/ 30 h 38"/>
                <a:gd name="T14" fmla="*/ 22 w 142"/>
                <a:gd name="T15" fmla="*/ 30 h 38"/>
                <a:gd name="T16" fmla="*/ 23 w 142"/>
                <a:gd name="T17" fmla="*/ 30 h 38"/>
                <a:gd name="T18" fmla="*/ 23 w 142"/>
                <a:gd name="T19" fmla="*/ 31 h 38"/>
                <a:gd name="T20" fmla="*/ 23 w 142"/>
                <a:gd name="T21" fmla="*/ 31 h 38"/>
                <a:gd name="T22" fmla="*/ 23 w 142"/>
                <a:gd name="T23" fmla="*/ 32 h 38"/>
                <a:gd name="T24" fmla="*/ 22 w 142"/>
                <a:gd name="T25" fmla="*/ 32 h 38"/>
                <a:gd name="T26" fmla="*/ 22 w 142"/>
                <a:gd name="T27" fmla="*/ 33 h 38"/>
                <a:gd name="T28" fmla="*/ 2 w 142"/>
                <a:gd name="T29" fmla="*/ 38 h 38"/>
                <a:gd name="T30" fmla="*/ 1 w 142"/>
                <a:gd name="T31" fmla="*/ 38 h 38"/>
                <a:gd name="T32" fmla="*/ 41 w 142"/>
                <a:gd name="T33" fmla="*/ 28 h 38"/>
                <a:gd name="T34" fmla="*/ 40 w 142"/>
                <a:gd name="T35" fmla="*/ 27 h 38"/>
                <a:gd name="T36" fmla="*/ 40 w 142"/>
                <a:gd name="T37" fmla="*/ 26 h 38"/>
                <a:gd name="T38" fmla="*/ 40 w 142"/>
                <a:gd name="T39" fmla="*/ 25 h 38"/>
                <a:gd name="T40" fmla="*/ 41 w 142"/>
                <a:gd name="T41" fmla="*/ 25 h 38"/>
                <a:gd name="T42" fmla="*/ 61 w 142"/>
                <a:gd name="T43" fmla="*/ 20 h 38"/>
                <a:gd name="T44" fmla="*/ 62 w 142"/>
                <a:gd name="T45" fmla="*/ 20 h 38"/>
                <a:gd name="T46" fmla="*/ 63 w 142"/>
                <a:gd name="T47" fmla="*/ 21 h 38"/>
                <a:gd name="T48" fmla="*/ 62 w 142"/>
                <a:gd name="T49" fmla="*/ 22 h 38"/>
                <a:gd name="T50" fmla="*/ 62 w 142"/>
                <a:gd name="T51" fmla="*/ 23 h 38"/>
                <a:gd name="T52" fmla="*/ 42 w 142"/>
                <a:gd name="T53" fmla="*/ 28 h 38"/>
                <a:gd name="T54" fmla="*/ 41 w 142"/>
                <a:gd name="T55" fmla="*/ 28 h 38"/>
                <a:gd name="T56" fmla="*/ 81 w 142"/>
                <a:gd name="T57" fmla="*/ 18 h 38"/>
                <a:gd name="T58" fmla="*/ 80 w 142"/>
                <a:gd name="T59" fmla="*/ 18 h 38"/>
                <a:gd name="T60" fmla="*/ 79 w 142"/>
                <a:gd name="T61" fmla="*/ 17 h 38"/>
                <a:gd name="T62" fmla="*/ 80 w 142"/>
                <a:gd name="T63" fmla="*/ 16 h 38"/>
                <a:gd name="T64" fmla="*/ 81 w 142"/>
                <a:gd name="T65" fmla="*/ 15 h 38"/>
                <a:gd name="T66" fmla="*/ 101 w 142"/>
                <a:gd name="T67" fmla="*/ 10 h 38"/>
                <a:gd name="T68" fmla="*/ 101 w 142"/>
                <a:gd name="T69" fmla="*/ 10 h 38"/>
                <a:gd name="T70" fmla="*/ 102 w 142"/>
                <a:gd name="T71" fmla="*/ 10 h 38"/>
                <a:gd name="T72" fmla="*/ 102 w 142"/>
                <a:gd name="T73" fmla="*/ 11 h 38"/>
                <a:gd name="T74" fmla="*/ 102 w 142"/>
                <a:gd name="T75" fmla="*/ 11 h 38"/>
                <a:gd name="T76" fmla="*/ 102 w 142"/>
                <a:gd name="T77" fmla="*/ 13 h 38"/>
                <a:gd name="T78" fmla="*/ 101 w 142"/>
                <a:gd name="T79" fmla="*/ 13 h 38"/>
                <a:gd name="T80" fmla="*/ 81 w 142"/>
                <a:gd name="T81" fmla="*/ 18 h 38"/>
                <a:gd name="T82" fmla="*/ 81 w 142"/>
                <a:gd name="T83" fmla="*/ 18 h 38"/>
                <a:gd name="T84" fmla="*/ 120 w 142"/>
                <a:gd name="T85" fmla="*/ 8 h 38"/>
                <a:gd name="T86" fmla="*/ 120 w 142"/>
                <a:gd name="T87" fmla="*/ 8 h 38"/>
                <a:gd name="T88" fmla="*/ 119 w 142"/>
                <a:gd name="T89" fmla="*/ 7 h 38"/>
                <a:gd name="T90" fmla="*/ 119 w 142"/>
                <a:gd name="T91" fmla="*/ 6 h 38"/>
                <a:gd name="T92" fmla="*/ 120 w 142"/>
                <a:gd name="T93" fmla="*/ 5 h 38"/>
                <a:gd name="T94" fmla="*/ 140 w 142"/>
                <a:gd name="T95" fmla="*/ 0 h 38"/>
                <a:gd name="T96" fmla="*/ 141 w 142"/>
                <a:gd name="T97" fmla="*/ 1 h 38"/>
                <a:gd name="T98" fmla="*/ 142 w 142"/>
                <a:gd name="T99" fmla="*/ 2 h 38"/>
                <a:gd name="T100" fmla="*/ 142 w 142"/>
                <a:gd name="T101" fmla="*/ 2 h 38"/>
                <a:gd name="T102" fmla="*/ 142 w 142"/>
                <a:gd name="T103" fmla="*/ 3 h 38"/>
                <a:gd name="T104" fmla="*/ 141 w 142"/>
                <a:gd name="T105" fmla="*/ 3 h 38"/>
                <a:gd name="T106" fmla="*/ 141 w 142"/>
                <a:gd name="T107" fmla="*/ 4 h 38"/>
                <a:gd name="T108" fmla="*/ 121 w 142"/>
                <a:gd name="T109" fmla="*/ 8 h 38"/>
                <a:gd name="T110" fmla="*/ 120 w 142"/>
                <a:gd name="T111" fmla="*/ 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42" h="38">
                  <a:moveTo>
                    <a:pt x="1" y="38"/>
                  </a:moveTo>
                  <a:cubicBezTo>
                    <a:pt x="1" y="38"/>
                    <a:pt x="1" y="37"/>
                    <a:pt x="0" y="37"/>
                  </a:cubicBezTo>
                  <a:cubicBezTo>
                    <a:pt x="0" y="37"/>
                    <a:pt x="0" y="36"/>
                    <a:pt x="0" y="36"/>
                  </a:cubicBezTo>
                  <a:cubicBezTo>
                    <a:pt x="0" y="36"/>
                    <a:pt x="0" y="35"/>
                    <a:pt x="0" y="35"/>
                  </a:cubicBezTo>
                  <a:cubicBezTo>
                    <a:pt x="1" y="35"/>
                    <a:pt x="1" y="35"/>
                    <a:pt x="1" y="34"/>
                  </a:cubicBezTo>
                  <a:cubicBezTo>
                    <a:pt x="21" y="30"/>
                    <a:pt x="21" y="30"/>
                    <a:pt x="21" y="30"/>
                  </a:cubicBezTo>
                  <a:cubicBezTo>
                    <a:pt x="21" y="30"/>
                    <a:pt x="22" y="30"/>
                    <a:pt x="22" y="30"/>
                  </a:cubicBezTo>
                  <a:cubicBezTo>
                    <a:pt x="22" y="30"/>
                    <a:pt x="22" y="30"/>
                    <a:pt x="22" y="30"/>
                  </a:cubicBezTo>
                  <a:cubicBezTo>
                    <a:pt x="22" y="30"/>
                    <a:pt x="23" y="30"/>
                    <a:pt x="23" y="30"/>
                  </a:cubicBezTo>
                  <a:cubicBezTo>
                    <a:pt x="23" y="30"/>
                    <a:pt x="23" y="31"/>
                    <a:pt x="23" y="31"/>
                  </a:cubicBezTo>
                  <a:cubicBezTo>
                    <a:pt x="23" y="31"/>
                    <a:pt x="23" y="31"/>
                    <a:pt x="23" y="31"/>
                  </a:cubicBezTo>
                  <a:cubicBezTo>
                    <a:pt x="23" y="32"/>
                    <a:pt x="23" y="32"/>
                    <a:pt x="23" y="32"/>
                  </a:cubicBezTo>
                  <a:cubicBezTo>
                    <a:pt x="23" y="32"/>
                    <a:pt x="23" y="32"/>
                    <a:pt x="22" y="32"/>
                  </a:cubicBezTo>
                  <a:cubicBezTo>
                    <a:pt x="22" y="33"/>
                    <a:pt x="22" y="33"/>
                    <a:pt x="22" y="33"/>
                  </a:cubicBezTo>
                  <a:cubicBezTo>
                    <a:pt x="2" y="38"/>
                    <a:pt x="2" y="38"/>
                    <a:pt x="2" y="38"/>
                  </a:cubicBezTo>
                  <a:cubicBezTo>
                    <a:pt x="2" y="38"/>
                    <a:pt x="2" y="38"/>
                    <a:pt x="1" y="38"/>
                  </a:cubicBezTo>
                  <a:close/>
                  <a:moveTo>
                    <a:pt x="41" y="28"/>
                  </a:moveTo>
                  <a:cubicBezTo>
                    <a:pt x="41" y="28"/>
                    <a:pt x="40" y="28"/>
                    <a:pt x="40" y="27"/>
                  </a:cubicBezTo>
                  <a:cubicBezTo>
                    <a:pt x="40" y="27"/>
                    <a:pt x="40" y="27"/>
                    <a:pt x="40" y="26"/>
                  </a:cubicBezTo>
                  <a:cubicBezTo>
                    <a:pt x="40" y="26"/>
                    <a:pt x="40" y="26"/>
                    <a:pt x="40" y="25"/>
                  </a:cubicBezTo>
                  <a:cubicBezTo>
                    <a:pt x="40" y="25"/>
                    <a:pt x="41" y="25"/>
                    <a:pt x="41" y="25"/>
                  </a:cubicBezTo>
                  <a:cubicBezTo>
                    <a:pt x="61" y="20"/>
                    <a:pt x="61" y="20"/>
                    <a:pt x="61" y="20"/>
                  </a:cubicBezTo>
                  <a:cubicBezTo>
                    <a:pt x="61" y="20"/>
                    <a:pt x="62" y="20"/>
                    <a:pt x="62" y="20"/>
                  </a:cubicBezTo>
                  <a:cubicBezTo>
                    <a:pt x="62" y="20"/>
                    <a:pt x="62" y="21"/>
                    <a:pt x="63" y="21"/>
                  </a:cubicBezTo>
                  <a:cubicBezTo>
                    <a:pt x="63" y="22"/>
                    <a:pt x="63" y="22"/>
                    <a:pt x="62" y="22"/>
                  </a:cubicBezTo>
                  <a:cubicBezTo>
                    <a:pt x="62" y="23"/>
                    <a:pt x="62" y="23"/>
                    <a:pt x="62" y="23"/>
                  </a:cubicBezTo>
                  <a:cubicBezTo>
                    <a:pt x="42" y="28"/>
                    <a:pt x="42" y="28"/>
                    <a:pt x="42" y="28"/>
                  </a:cubicBezTo>
                  <a:cubicBezTo>
                    <a:pt x="41" y="28"/>
                    <a:pt x="41" y="28"/>
                    <a:pt x="41" y="28"/>
                  </a:cubicBezTo>
                  <a:close/>
                  <a:moveTo>
                    <a:pt x="81" y="18"/>
                  </a:moveTo>
                  <a:cubicBezTo>
                    <a:pt x="80" y="18"/>
                    <a:pt x="80" y="18"/>
                    <a:pt x="80" y="18"/>
                  </a:cubicBezTo>
                  <a:cubicBezTo>
                    <a:pt x="80" y="17"/>
                    <a:pt x="79" y="17"/>
                    <a:pt x="79" y="17"/>
                  </a:cubicBezTo>
                  <a:cubicBezTo>
                    <a:pt x="79" y="16"/>
                    <a:pt x="80" y="16"/>
                    <a:pt x="80" y="16"/>
                  </a:cubicBezTo>
                  <a:cubicBezTo>
                    <a:pt x="80" y="15"/>
                    <a:pt x="80" y="15"/>
                    <a:pt x="81" y="15"/>
                  </a:cubicBezTo>
                  <a:cubicBezTo>
                    <a:pt x="101" y="10"/>
                    <a:pt x="101" y="10"/>
                    <a:pt x="101" y="10"/>
                  </a:cubicBezTo>
                  <a:cubicBezTo>
                    <a:pt x="101" y="10"/>
                    <a:pt x="101" y="10"/>
                    <a:pt x="101" y="10"/>
                  </a:cubicBezTo>
                  <a:cubicBezTo>
                    <a:pt x="101" y="10"/>
                    <a:pt x="102" y="10"/>
                    <a:pt x="102" y="10"/>
                  </a:cubicBezTo>
                  <a:cubicBezTo>
                    <a:pt x="102" y="10"/>
                    <a:pt x="102" y="11"/>
                    <a:pt x="102" y="11"/>
                  </a:cubicBezTo>
                  <a:cubicBezTo>
                    <a:pt x="102" y="11"/>
                    <a:pt x="102" y="11"/>
                    <a:pt x="102" y="11"/>
                  </a:cubicBezTo>
                  <a:cubicBezTo>
                    <a:pt x="103" y="12"/>
                    <a:pt x="103" y="12"/>
                    <a:pt x="102" y="13"/>
                  </a:cubicBezTo>
                  <a:cubicBezTo>
                    <a:pt x="102" y="13"/>
                    <a:pt x="102" y="13"/>
                    <a:pt x="101" y="13"/>
                  </a:cubicBezTo>
                  <a:cubicBezTo>
                    <a:pt x="81" y="18"/>
                    <a:pt x="81" y="18"/>
                    <a:pt x="81" y="18"/>
                  </a:cubicBezTo>
                  <a:cubicBezTo>
                    <a:pt x="81" y="18"/>
                    <a:pt x="81" y="18"/>
                    <a:pt x="81" y="18"/>
                  </a:cubicBezTo>
                  <a:close/>
                  <a:moveTo>
                    <a:pt x="120" y="8"/>
                  </a:moveTo>
                  <a:cubicBezTo>
                    <a:pt x="120" y="8"/>
                    <a:pt x="120" y="8"/>
                    <a:pt x="120" y="8"/>
                  </a:cubicBezTo>
                  <a:cubicBezTo>
                    <a:pt x="119" y="8"/>
                    <a:pt x="119" y="8"/>
                    <a:pt x="119" y="7"/>
                  </a:cubicBezTo>
                  <a:cubicBezTo>
                    <a:pt x="119" y="7"/>
                    <a:pt x="119" y="6"/>
                    <a:pt x="119" y="6"/>
                  </a:cubicBezTo>
                  <a:cubicBezTo>
                    <a:pt x="119" y="6"/>
                    <a:pt x="120" y="5"/>
                    <a:pt x="120" y="5"/>
                  </a:cubicBezTo>
                  <a:cubicBezTo>
                    <a:pt x="140" y="0"/>
                    <a:pt x="140" y="0"/>
                    <a:pt x="140" y="0"/>
                  </a:cubicBezTo>
                  <a:cubicBezTo>
                    <a:pt x="140" y="0"/>
                    <a:pt x="141" y="0"/>
                    <a:pt x="141" y="1"/>
                  </a:cubicBezTo>
                  <a:cubicBezTo>
                    <a:pt x="142" y="1"/>
                    <a:pt x="142" y="1"/>
                    <a:pt x="142" y="2"/>
                  </a:cubicBezTo>
                  <a:cubicBezTo>
                    <a:pt x="142" y="2"/>
                    <a:pt x="142" y="2"/>
                    <a:pt x="142" y="2"/>
                  </a:cubicBezTo>
                  <a:cubicBezTo>
                    <a:pt x="142" y="2"/>
                    <a:pt x="142" y="3"/>
                    <a:pt x="142" y="3"/>
                  </a:cubicBezTo>
                  <a:cubicBezTo>
                    <a:pt x="142" y="3"/>
                    <a:pt x="142" y="3"/>
                    <a:pt x="141" y="3"/>
                  </a:cubicBezTo>
                  <a:cubicBezTo>
                    <a:pt x="141" y="3"/>
                    <a:pt x="141" y="4"/>
                    <a:pt x="141" y="4"/>
                  </a:cubicBezTo>
                  <a:cubicBezTo>
                    <a:pt x="121" y="8"/>
                    <a:pt x="121" y="8"/>
                    <a:pt x="121" y="8"/>
                  </a:cubicBezTo>
                  <a:cubicBezTo>
                    <a:pt x="121" y="8"/>
                    <a:pt x="121" y="8"/>
                    <a:pt x="120" y="8"/>
                  </a:cubicBezTo>
                  <a:close/>
                </a:path>
              </a:pathLst>
            </a:custGeom>
            <a:solidFill>
              <a:srgbClr val="1105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62" name="Freeform 12">
              <a:extLst>
                <a:ext uri="{FF2B5EF4-FFF2-40B4-BE49-F238E27FC236}">
                  <a16:creationId xmlns:a16="http://schemas.microsoft.com/office/drawing/2014/main" id="{C0074194-3668-4860-82D7-332DB9E59D29}"/>
                </a:ext>
              </a:extLst>
            </p:cNvPr>
            <p:cNvSpPr>
              <a:spLocks/>
            </p:cNvSpPr>
            <p:nvPr/>
          </p:nvSpPr>
          <p:spPr bwMode="auto">
            <a:xfrm>
              <a:off x="7167125" y="3682336"/>
              <a:ext cx="63101" cy="54337"/>
            </a:xfrm>
            <a:custGeom>
              <a:avLst/>
              <a:gdLst>
                <a:gd name="T0" fmla="*/ 13 w 15"/>
                <a:gd name="T1" fmla="*/ 13 h 13"/>
                <a:gd name="T2" fmla="*/ 12 w 15"/>
                <a:gd name="T3" fmla="*/ 12 h 13"/>
                <a:gd name="T4" fmla="*/ 11 w 15"/>
                <a:gd name="T5" fmla="*/ 12 h 13"/>
                <a:gd name="T6" fmla="*/ 9 w 15"/>
                <a:gd name="T7" fmla="*/ 4 h 13"/>
                <a:gd name="T8" fmla="*/ 2 w 15"/>
                <a:gd name="T9" fmla="*/ 6 h 13"/>
                <a:gd name="T10" fmla="*/ 1 w 15"/>
                <a:gd name="T11" fmla="*/ 6 h 13"/>
                <a:gd name="T12" fmla="*/ 0 w 15"/>
                <a:gd name="T13" fmla="*/ 6 h 13"/>
                <a:gd name="T14" fmla="*/ 0 w 15"/>
                <a:gd name="T15" fmla="*/ 5 h 13"/>
                <a:gd name="T16" fmla="*/ 0 w 15"/>
                <a:gd name="T17" fmla="*/ 5 h 13"/>
                <a:gd name="T18" fmla="*/ 0 w 15"/>
                <a:gd name="T19" fmla="*/ 3 h 13"/>
                <a:gd name="T20" fmla="*/ 1 w 15"/>
                <a:gd name="T21" fmla="*/ 3 h 13"/>
                <a:gd name="T22" fmla="*/ 12 w 15"/>
                <a:gd name="T23" fmla="*/ 0 h 13"/>
                <a:gd name="T24" fmla="*/ 15 w 15"/>
                <a:gd name="T25" fmla="*/ 11 h 13"/>
                <a:gd name="T26" fmla="*/ 15 w 15"/>
                <a:gd name="T27" fmla="*/ 11 h 13"/>
                <a:gd name="T28" fmla="*/ 14 w 15"/>
                <a:gd name="T29" fmla="*/ 12 h 13"/>
                <a:gd name="T30" fmla="*/ 14 w 15"/>
                <a:gd name="T31" fmla="*/ 12 h 13"/>
                <a:gd name="T32" fmla="*/ 13 w 15"/>
                <a:gd name="T33" fmla="*/ 13 h 13"/>
                <a:gd name="T34" fmla="*/ 13 w 15"/>
                <a:gd name="T35"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 h="13">
                  <a:moveTo>
                    <a:pt x="13" y="13"/>
                  </a:moveTo>
                  <a:cubicBezTo>
                    <a:pt x="12" y="13"/>
                    <a:pt x="12" y="13"/>
                    <a:pt x="12" y="12"/>
                  </a:cubicBezTo>
                  <a:cubicBezTo>
                    <a:pt x="12" y="12"/>
                    <a:pt x="11" y="12"/>
                    <a:pt x="11" y="12"/>
                  </a:cubicBezTo>
                  <a:cubicBezTo>
                    <a:pt x="9" y="4"/>
                    <a:pt x="9" y="4"/>
                    <a:pt x="9" y="4"/>
                  </a:cubicBezTo>
                  <a:cubicBezTo>
                    <a:pt x="2" y="6"/>
                    <a:pt x="2" y="6"/>
                    <a:pt x="2" y="6"/>
                  </a:cubicBezTo>
                  <a:cubicBezTo>
                    <a:pt x="1" y="6"/>
                    <a:pt x="1" y="6"/>
                    <a:pt x="1" y="6"/>
                  </a:cubicBezTo>
                  <a:cubicBezTo>
                    <a:pt x="1" y="6"/>
                    <a:pt x="1" y="6"/>
                    <a:pt x="0" y="6"/>
                  </a:cubicBezTo>
                  <a:cubicBezTo>
                    <a:pt x="0" y="5"/>
                    <a:pt x="0" y="5"/>
                    <a:pt x="0" y="5"/>
                  </a:cubicBezTo>
                  <a:cubicBezTo>
                    <a:pt x="0" y="5"/>
                    <a:pt x="0" y="5"/>
                    <a:pt x="0" y="5"/>
                  </a:cubicBezTo>
                  <a:cubicBezTo>
                    <a:pt x="0" y="4"/>
                    <a:pt x="0" y="4"/>
                    <a:pt x="0" y="3"/>
                  </a:cubicBezTo>
                  <a:cubicBezTo>
                    <a:pt x="0" y="3"/>
                    <a:pt x="0" y="3"/>
                    <a:pt x="1" y="3"/>
                  </a:cubicBezTo>
                  <a:cubicBezTo>
                    <a:pt x="12" y="0"/>
                    <a:pt x="12" y="0"/>
                    <a:pt x="12" y="0"/>
                  </a:cubicBezTo>
                  <a:cubicBezTo>
                    <a:pt x="15" y="11"/>
                    <a:pt x="15" y="11"/>
                    <a:pt x="15" y="11"/>
                  </a:cubicBezTo>
                  <a:cubicBezTo>
                    <a:pt x="15" y="11"/>
                    <a:pt x="15" y="11"/>
                    <a:pt x="15" y="11"/>
                  </a:cubicBezTo>
                  <a:cubicBezTo>
                    <a:pt x="15" y="12"/>
                    <a:pt x="14" y="12"/>
                    <a:pt x="14" y="12"/>
                  </a:cubicBezTo>
                  <a:cubicBezTo>
                    <a:pt x="14" y="12"/>
                    <a:pt x="14" y="12"/>
                    <a:pt x="14" y="12"/>
                  </a:cubicBezTo>
                  <a:cubicBezTo>
                    <a:pt x="14" y="13"/>
                    <a:pt x="13" y="13"/>
                    <a:pt x="13" y="13"/>
                  </a:cubicBezTo>
                  <a:cubicBezTo>
                    <a:pt x="13" y="13"/>
                    <a:pt x="13" y="13"/>
                    <a:pt x="13" y="13"/>
                  </a:cubicBezTo>
                  <a:close/>
                </a:path>
              </a:pathLst>
            </a:custGeom>
            <a:solidFill>
              <a:srgbClr val="1105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63" name="Freeform 13">
              <a:extLst>
                <a:ext uri="{FF2B5EF4-FFF2-40B4-BE49-F238E27FC236}">
                  <a16:creationId xmlns:a16="http://schemas.microsoft.com/office/drawing/2014/main" id="{9CD2317C-D682-4A78-A911-99ACEBC41774}"/>
                </a:ext>
              </a:extLst>
            </p:cNvPr>
            <p:cNvSpPr>
              <a:spLocks noEditPoints="1"/>
            </p:cNvSpPr>
            <p:nvPr/>
          </p:nvSpPr>
          <p:spPr bwMode="auto">
            <a:xfrm>
              <a:off x="7233732" y="3799774"/>
              <a:ext cx="108673" cy="396132"/>
            </a:xfrm>
            <a:custGeom>
              <a:avLst/>
              <a:gdLst>
                <a:gd name="T0" fmla="*/ 24 w 26"/>
                <a:gd name="T1" fmla="*/ 95 h 95"/>
                <a:gd name="T2" fmla="*/ 23 w 26"/>
                <a:gd name="T3" fmla="*/ 95 h 95"/>
                <a:gd name="T4" fmla="*/ 22 w 26"/>
                <a:gd name="T5" fmla="*/ 94 h 95"/>
                <a:gd name="T6" fmla="*/ 18 w 26"/>
                <a:gd name="T7" fmla="*/ 75 h 95"/>
                <a:gd name="T8" fmla="*/ 18 w 26"/>
                <a:gd name="T9" fmla="*/ 75 h 95"/>
                <a:gd name="T10" fmla="*/ 18 w 26"/>
                <a:gd name="T11" fmla="*/ 74 h 95"/>
                <a:gd name="T12" fmla="*/ 19 w 26"/>
                <a:gd name="T13" fmla="*/ 74 h 95"/>
                <a:gd name="T14" fmla="*/ 19 w 26"/>
                <a:gd name="T15" fmla="*/ 73 h 95"/>
                <a:gd name="T16" fmla="*/ 20 w 26"/>
                <a:gd name="T17" fmla="*/ 73 h 95"/>
                <a:gd name="T18" fmla="*/ 20 w 26"/>
                <a:gd name="T19" fmla="*/ 74 h 95"/>
                <a:gd name="T20" fmla="*/ 21 w 26"/>
                <a:gd name="T21" fmla="*/ 74 h 95"/>
                <a:gd name="T22" fmla="*/ 21 w 26"/>
                <a:gd name="T23" fmla="*/ 75 h 95"/>
                <a:gd name="T24" fmla="*/ 26 w 26"/>
                <a:gd name="T25" fmla="*/ 93 h 95"/>
                <a:gd name="T26" fmla="*/ 26 w 26"/>
                <a:gd name="T27" fmla="*/ 94 h 95"/>
                <a:gd name="T28" fmla="*/ 25 w 26"/>
                <a:gd name="T29" fmla="*/ 94 h 95"/>
                <a:gd name="T30" fmla="*/ 25 w 26"/>
                <a:gd name="T31" fmla="*/ 95 h 95"/>
                <a:gd name="T32" fmla="*/ 24 w 26"/>
                <a:gd name="T33" fmla="*/ 95 h 95"/>
                <a:gd name="T34" fmla="*/ 24 w 26"/>
                <a:gd name="T35" fmla="*/ 95 h 95"/>
                <a:gd name="T36" fmla="*/ 15 w 26"/>
                <a:gd name="T37" fmla="*/ 58 h 95"/>
                <a:gd name="T38" fmla="*/ 14 w 26"/>
                <a:gd name="T39" fmla="*/ 58 h 95"/>
                <a:gd name="T40" fmla="*/ 13 w 26"/>
                <a:gd name="T41" fmla="*/ 57 h 95"/>
                <a:gd name="T42" fmla="*/ 9 w 26"/>
                <a:gd name="T43" fmla="*/ 39 h 95"/>
                <a:gd name="T44" fmla="*/ 9 w 26"/>
                <a:gd name="T45" fmla="*/ 37 h 95"/>
                <a:gd name="T46" fmla="*/ 10 w 26"/>
                <a:gd name="T47" fmla="*/ 37 h 95"/>
                <a:gd name="T48" fmla="*/ 11 w 26"/>
                <a:gd name="T49" fmla="*/ 37 h 95"/>
                <a:gd name="T50" fmla="*/ 12 w 26"/>
                <a:gd name="T51" fmla="*/ 38 h 95"/>
                <a:gd name="T52" fmla="*/ 17 w 26"/>
                <a:gd name="T53" fmla="*/ 56 h 95"/>
                <a:gd name="T54" fmla="*/ 16 w 26"/>
                <a:gd name="T55" fmla="*/ 57 h 95"/>
                <a:gd name="T56" fmla="*/ 15 w 26"/>
                <a:gd name="T57" fmla="*/ 58 h 95"/>
                <a:gd name="T58" fmla="*/ 15 w 26"/>
                <a:gd name="T59" fmla="*/ 58 h 95"/>
                <a:gd name="T60" fmla="*/ 6 w 26"/>
                <a:gd name="T61" fmla="*/ 21 h 95"/>
                <a:gd name="T62" fmla="*/ 5 w 26"/>
                <a:gd name="T63" fmla="*/ 21 h 95"/>
                <a:gd name="T64" fmla="*/ 4 w 26"/>
                <a:gd name="T65" fmla="*/ 20 h 95"/>
                <a:gd name="T66" fmla="*/ 0 w 26"/>
                <a:gd name="T67" fmla="*/ 2 h 95"/>
                <a:gd name="T68" fmla="*/ 0 w 26"/>
                <a:gd name="T69" fmla="*/ 1 h 95"/>
                <a:gd name="T70" fmla="*/ 0 w 26"/>
                <a:gd name="T71" fmla="*/ 1 h 95"/>
                <a:gd name="T72" fmla="*/ 0 w 26"/>
                <a:gd name="T73" fmla="*/ 0 h 95"/>
                <a:gd name="T74" fmla="*/ 1 w 26"/>
                <a:gd name="T75" fmla="*/ 0 h 95"/>
                <a:gd name="T76" fmla="*/ 2 w 26"/>
                <a:gd name="T77" fmla="*/ 0 h 95"/>
                <a:gd name="T78" fmla="*/ 2 w 26"/>
                <a:gd name="T79" fmla="*/ 0 h 95"/>
                <a:gd name="T80" fmla="*/ 3 w 26"/>
                <a:gd name="T81" fmla="*/ 1 h 95"/>
                <a:gd name="T82" fmla="*/ 3 w 26"/>
                <a:gd name="T83" fmla="*/ 1 h 95"/>
                <a:gd name="T84" fmla="*/ 8 w 26"/>
                <a:gd name="T85" fmla="*/ 19 h 95"/>
                <a:gd name="T86" fmla="*/ 7 w 26"/>
                <a:gd name="T87" fmla="*/ 21 h 95"/>
                <a:gd name="T88" fmla="*/ 6 w 26"/>
                <a:gd name="T89" fmla="*/ 21 h 95"/>
                <a:gd name="T90" fmla="*/ 6 w 26"/>
                <a:gd name="T91" fmla="*/ 21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6" h="95">
                  <a:moveTo>
                    <a:pt x="24" y="95"/>
                  </a:moveTo>
                  <a:cubicBezTo>
                    <a:pt x="23" y="95"/>
                    <a:pt x="23" y="95"/>
                    <a:pt x="23" y="95"/>
                  </a:cubicBezTo>
                  <a:cubicBezTo>
                    <a:pt x="23" y="94"/>
                    <a:pt x="23" y="94"/>
                    <a:pt x="22" y="94"/>
                  </a:cubicBezTo>
                  <a:cubicBezTo>
                    <a:pt x="18" y="75"/>
                    <a:pt x="18" y="75"/>
                    <a:pt x="18" y="75"/>
                  </a:cubicBezTo>
                  <a:cubicBezTo>
                    <a:pt x="18" y="75"/>
                    <a:pt x="18" y="75"/>
                    <a:pt x="18" y="75"/>
                  </a:cubicBezTo>
                  <a:cubicBezTo>
                    <a:pt x="18" y="74"/>
                    <a:pt x="18" y="74"/>
                    <a:pt x="18" y="74"/>
                  </a:cubicBezTo>
                  <a:cubicBezTo>
                    <a:pt x="18" y="74"/>
                    <a:pt x="18" y="74"/>
                    <a:pt x="19" y="74"/>
                  </a:cubicBezTo>
                  <a:cubicBezTo>
                    <a:pt x="19" y="73"/>
                    <a:pt x="19" y="73"/>
                    <a:pt x="19" y="73"/>
                  </a:cubicBezTo>
                  <a:cubicBezTo>
                    <a:pt x="19" y="73"/>
                    <a:pt x="20" y="73"/>
                    <a:pt x="20" y="73"/>
                  </a:cubicBezTo>
                  <a:cubicBezTo>
                    <a:pt x="20" y="73"/>
                    <a:pt x="20" y="73"/>
                    <a:pt x="20" y="74"/>
                  </a:cubicBezTo>
                  <a:cubicBezTo>
                    <a:pt x="21" y="74"/>
                    <a:pt x="21" y="74"/>
                    <a:pt x="21" y="74"/>
                  </a:cubicBezTo>
                  <a:cubicBezTo>
                    <a:pt x="21" y="74"/>
                    <a:pt x="21" y="74"/>
                    <a:pt x="21" y="75"/>
                  </a:cubicBezTo>
                  <a:cubicBezTo>
                    <a:pt x="26" y="93"/>
                    <a:pt x="26" y="93"/>
                    <a:pt x="26" y="93"/>
                  </a:cubicBezTo>
                  <a:cubicBezTo>
                    <a:pt x="26" y="93"/>
                    <a:pt x="26" y="93"/>
                    <a:pt x="26" y="94"/>
                  </a:cubicBezTo>
                  <a:cubicBezTo>
                    <a:pt x="26" y="94"/>
                    <a:pt x="26" y="94"/>
                    <a:pt x="25" y="94"/>
                  </a:cubicBezTo>
                  <a:cubicBezTo>
                    <a:pt x="25" y="94"/>
                    <a:pt x="25" y="94"/>
                    <a:pt x="25" y="95"/>
                  </a:cubicBezTo>
                  <a:cubicBezTo>
                    <a:pt x="25" y="95"/>
                    <a:pt x="25" y="95"/>
                    <a:pt x="24" y="95"/>
                  </a:cubicBezTo>
                  <a:cubicBezTo>
                    <a:pt x="24" y="95"/>
                    <a:pt x="24" y="95"/>
                    <a:pt x="24" y="95"/>
                  </a:cubicBezTo>
                  <a:close/>
                  <a:moveTo>
                    <a:pt x="15" y="58"/>
                  </a:moveTo>
                  <a:cubicBezTo>
                    <a:pt x="14" y="58"/>
                    <a:pt x="14" y="58"/>
                    <a:pt x="14" y="58"/>
                  </a:cubicBezTo>
                  <a:cubicBezTo>
                    <a:pt x="14" y="58"/>
                    <a:pt x="14" y="57"/>
                    <a:pt x="13" y="57"/>
                  </a:cubicBezTo>
                  <a:cubicBezTo>
                    <a:pt x="9" y="39"/>
                    <a:pt x="9" y="39"/>
                    <a:pt x="9" y="39"/>
                  </a:cubicBezTo>
                  <a:cubicBezTo>
                    <a:pt x="9" y="38"/>
                    <a:pt x="9" y="38"/>
                    <a:pt x="9" y="37"/>
                  </a:cubicBezTo>
                  <a:cubicBezTo>
                    <a:pt x="9" y="37"/>
                    <a:pt x="10" y="37"/>
                    <a:pt x="10" y="37"/>
                  </a:cubicBezTo>
                  <a:cubicBezTo>
                    <a:pt x="11" y="37"/>
                    <a:pt x="11" y="37"/>
                    <a:pt x="11" y="37"/>
                  </a:cubicBezTo>
                  <a:cubicBezTo>
                    <a:pt x="12" y="37"/>
                    <a:pt x="12" y="37"/>
                    <a:pt x="12" y="38"/>
                  </a:cubicBezTo>
                  <a:cubicBezTo>
                    <a:pt x="17" y="56"/>
                    <a:pt x="17" y="56"/>
                    <a:pt x="17" y="56"/>
                  </a:cubicBezTo>
                  <a:cubicBezTo>
                    <a:pt x="17" y="57"/>
                    <a:pt x="17" y="57"/>
                    <a:pt x="16" y="57"/>
                  </a:cubicBezTo>
                  <a:cubicBezTo>
                    <a:pt x="16" y="58"/>
                    <a:pt x="16" y="58"/>
                    <a:pt x="15" y="58"/>
                  </a:cubicBezTo>
                  <a:cubicBezTo>
                    <a:pt x="15" y="58"/>
                    <a:pt x="15" y="58"/>
                    <a:pt x="15" y="58"/>
                  </a:cubicBezTo>
                  <a:close/>
                  <a:moveTo>
                    <a:pt x="6" y="21"/>
                  </a:moveTo>
                  <a:cubicBezTo>
                    <a:pt x="5" y="21"/>
                    <a:pt x="5" y="21"/>
                    <a:pt x="5" y="21"/>
                  </a:cubicBezTo>
                  <a:cubicBezTo>
                    <a:pt x="5" y="21"/>
                    <a:pt x="4" y="21"/>
                    <a:pt x="4" y="20"/>
                  </a:cubicBezTo>
                  <a:cubicBezTo>
                    <a:pt x="0" y="2"/>
                    <a:pt x="0" y="2"/>
                    <a:pt x="0" y="2"/>
                  </a:cubicBezTo>
                  <a:cubicBezTo>
                    <a:pt x="0" y="2"/>
                    <a:pt x="0" y="1"/>
                    <a:pt x="0" y="1"/>
                  </a:cubicBezTo>
                  <a:cubicBezTo>
                    <a:pt x="0" y="1"/>
                    <a:pt x="0" y="1"/>
                    <a:pt x="0" y="1"/>
                  </a:cubicBezTo>
                  <a:cubicBezTo>
                    <a:pt x="0" y="0"/>
                    <a:pt x="0" y="0"/>
                    <a:pt x="0" y="0"/>
                  </a:cubicBezTo>
                  <a:cubicBezTo>
                    <a:pt x="1" y="0"/>
                    <a:pt x="1" y="0"/>
                    <a:pt x="1" y="0"/>
                  </a:cubicBezTo>
                  <a:cubicBezTo>
                    <a:pt x="1" y="0"/>
                    <a:pt x="1" y="0"/>
                    <a:pt x="2" y="0"/>
                  </a:cubicBezTo>
                  <a:cubicBezTo>
                    <a:pt x="2" y="0"/>
                    <a:pt x="2" y="0"/>
                    <a:pt x="2" y="0"/>
                  </a:cubicBezTo>
                  <a:cubicBezTo>
                    <a:pt x="2" y="0"/>
                    <a:pt x="3" y="0"/>
                    <a:pt x="3" y="1"/>
                  </a:cubicBezTo>
                  <a:cubicBezTo>
                    <a:pt x="3" y="1"/>
                    <a:pt x="3" y="1"/>
                    <a:pt x="3" y="1"/>
                  </a:cubicBezTo>
                  <a:cubicBezTo>
                    <a:pt x="8" y="19"/>
                    <a:pt x="8" y="19"/>
                    <a:pt x="8" y="19"/>
                  </a:cubicBezTo>
                  <a:cubicBezTo>
                    <a:pt x="8" y="20"/>
                    <a:pt x="8" y="20"/>
                    <a:pt x="7" y="21"/>
                  </a:cubicBezTo>
                  <a:cubicBezTo>
                    <a:pt x="7" y="21"/>
                    <a:pt x="7" y="21"/>
                    <a:pt x="6" y="21"/>
                  </a:cubicBezTo>
                  <a:cubicBezTo>
                    <a:pt x="6" y="22"/>
                    <a:pt x="6" y="22"/>
                    <a:pt x="6" y="21"/>
                  </a:cubicBezTo>
                  <a:close/>
                </a:path>
              </a:pathLst>
            </a:custGeom>
            <a:solidFill>
              <a:srgbClr val="1105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64" name="Freeform 14">
              <a:extLst>
                <a:ext uri="{FF2B5EF4-FFF2-40B4-BE49-F238E27FC236}">
                  <a16:creationId xmlns:a16="http://schemas.microsoft.com/office/drawing/2014/main" id="{F9AA6742-9F81-497E-A390-ACA0203AD07E}"/>
                </a:ext>
              </a:extLst>
            </p:cNvPr>
            <p:cNvSpPr>
              <a:spLocks noEditPoints="1"/>
            </p:cNvSpPr>
            <p:nvPr/>
          </p:nvSpPr>
          <p:spPr bwMode="auto">
            <a:xfrm>
              <a:off x="4874467" y="3477259"/>
              <a:ext cx="601210" cy="117438"/>
            </a:xfrm>
            <a:custGeom>
              <a:avLst/>
              <a:gdLst>
                <a:gd name="T0" fmla="*/ 1 w 144"/>
                <a:gd name="T1" fmla="*/ 3 h 28"/>
                <a:gd name="T2" fmla="*/ 0 w 144"/>
                <a:gd name="T3" fmla="*/ 2 h 28"/>
                <a:gd name="T4" fmla="*/ 0 w 144"/>
                <a:gd name="T5" fmla="*/ 2 h 28"/>
                <a:gd name="T6" fmla="*/ 1 w 144"/>
                <a:gd name="T7" fmla="*/ 1 h 28"/>
                <a:gd name="T8" fmla="*/ 2 w 144"/>
                <a:gd name="T9" fmla="*/ 0 h 28"/>
                <a:gd name="T10" fmla="*/ 22 w 144"/>
                <a:gd name="T11" fmla="*/ 4 h 28"/>
                <a:gd name="T12" fmla="*/ 23 w 144"/>
                <a:gd name="T13" fmla="*/ 5 h 28"/>
                <a:gd name="T14" fmla="*/ 23 w 144"/>
                <a:gd name="T15" fmla="*/ 6 h 28"/>
                <a:gd name="T16" fmla="*/ 23 w 144"/>
                <a:gd name="T17" fmla="*/ 7 h 28"/>
                <a:gd name="T18" fmla="*/ 21 w 144"/>
                <a:gd name="T19" fmla="*/ 7 h 28"/>
                <a:gd name="T20" fmla="*/ 1 w 144"/>
                <a:gd name="T21" fmla="*/ 3 h 28"/>
                <a:gd name="T22" fmla="*/ 1 w 144"/>
                <a:gd name="T23" fmla="*/ 3 h 28"/>
                <a:gd name="T24" fmla="*/ 41 w 144"/>
                <a:gd name="T25" fmla="*/ 10 h 28"/>
                <a:gd name="T26" fmla="*/ 40 w 144"/>
                <a:gd name="T27" fmla="*/ 10 h 28"/>
                <a:gd name="T28" fmla="*/ 40 w 144"/>
                <a:gd name="T29" fmla="*/ 9 h 28"/>
                <a:gd name="T30" fmla="*/ 40 w 144"/>
                <a:gd name="T31" fmla="*/ 8 h 28"/>
                <a:gd name="T32" fmla="*/ 41 w 144"/>
                <a:gd name="T33" fmla="*/ 8 h 28"/>
                <a:gd name="T34" fmla="*/ 41 w 144"/>
                <a:gd name="T35" fmla="*/ 7 h 28"/>
                <a:gd name="T36" fmla="*/ 42 w 144"/>
                <a:gd name="T37" fmla="*/ 7 h 28"/>
                <a:gd name="T38" fmla="*/ 62 w 144"/>
                <a:gd name="T39" fmla="*/ 11 h 28"/>
                <a:gd name="T40" fmla="*/ 63 w 144"/>
                <a:gd name="T41" fmla="*/ 12 h 28"/>
                <a:gd name="T42" fmla="*/ 63 w 144"/>
                <a:gd name="T43" fmla="*/ 13 h 28"/>
                <a:gd name="T44" fmla="*/ 63 w 144"/>
                <a:gd name="T45" fmla="*/ 14 h 28"/>
                <a:gd name="T46" fmla="*/ 62 w 144"/>
                <a:gd name="T47" fmla="*/ 14 h 28"/>
                <a:gd name="T48" fmla="*/ 41 w 144"/>
                <a:gd name="T49" fmla="*/ 11 h 28"/>
                <a:gd name="T50" fmla="*/ 41 w 144"/>
                <a:gd name="T51" fmla="*/ 10 h 28"/>
                <a:gd name="T52" fmla="*/ 81 w 144"/>
                <a:gd name="T53" fmla="*/ 17 h 28"/>
                <a:gd name="T54" fmla="*/ 80 w 144"/>
                <a:gd name="T55" fmla="*/ 17 h 28"/>
                <a:gd name="T56" fmla="*/ 80 w 144"/>
                <a:gd name="T57" fmla="*/ 16 h 28"/>
                <a:gd name="T58" fmla="*/ 81 w 144"/>
                <a:gd name="T59" fmla="*/ 15 h 28"/>
                <a:gd name="T60" fmla="*/ 82 w 144"/>
                <a:gd name="T61" fmla="*/ 14 h 28"/>
                <a:gd name="T62" fmla="*/ 102 w 144"/>
                <a:gd name="T63" fmla="*/ 18 h 28"/>
                <a:gd name="T64" fmla="*/ 103 w 144"/>
                <a:gd name="T65" fmla="*/ 19 h 28"/>
                <a:gd name="T66" fmla="*/ 104 w 144"/>
                <a:gd name="T67" fmla="*/ 20 h 28"/>
                <a:gd name="T68" fmla="*/ 103 w 144"/>
                <a:gd name="T69" fmla="*/ 21 h 28"/>
                <a:gd name="T70" fmla="*/ 102 w 144"/>
                <a:gd name="T71" fmla="*/ 21 h 28"/>
                <a:gd name="T72" fmla="*/ 82 w 144"/>
                <a:gd name="T73" fmla="*/ 18 h 28"/>
                <a:gd name="T74" fmla="*/ 81 w 144"/>
                <a:gd name="T75" fmla="*/ 17 h 28"/>
                <a:gd name="T76" fmla="*/ 121 w 144"/>
                <a:gd name="T77" fmla="*/ 25 h 28"/>
                <a:gd name="T78" fmla="*/ 121 w 144"/>
                <a:gd name="T79" fmla="*/ 24 h 28"/>
                <a:gd name="T80" fmla="*/ 121 w 144"/>
                <a:gd name="T81" fmla="*/ 23 h 28"/>
                <a:gd name="T82" fmla="*/ 121 w 144"/>
                <a:gd name="T83" fmla="*/ 22 h 28"/>
                <a:gd name="T84" fmla="*/ 121 w 144"/>
                <a:gd name="T85" fmla="*/ 22 h 28"/>
                <a:gd name="T86" fmla="*/ 122 w 144"/>
                <a:gd name="T87" fmla="*/ 22 h 28"/>
                <a:gd name="T88" fmla="*/ 122 w 144"/>
                <a:gd name="T89" fmla="*/ 22 h 28"/>
                <a:gd name="T90" fmla="*/ 143 w 144"/>
                <a:gd name="T91" fmla="*/ 25 h 28"/>
                <a:gd name="T92" fmla="*/ 143 w 144"/>
                <a:gd name="T93" fmla="*/ 25 h 28"/>
                <a:gd name="T94" fmla="*/ 144 w 144"/>
                <a:gd name="T95" fmla="*/ 26 h 28"/>
                <a:gd name="T96" fmla="*/ 144 w 144"/>
                <a:gd name="T97" fmla="*/ 26 h 28"/>
                <a:gd name="T98" fmla="*/ 144 w 144"/>
                <a:gd name="T99" fmla="*/ 27 h 28"/>
                <a:gd name="T100" fmla="*/ 143 w 144"/>
                <a:gd name="T101" fmla="*/ 28 h 28"/>
                <a:gd name="T102" fmla="*/ 142 w 144"/>
                <a:gd name="T103" fmla="*/ 28 h 28"/>
                <a:gd name="T104" fmla="*/ 122 w 144"/>
                <a:gd name="T105" fmla="*/ 25 h 28"/>
                <a:gd name="T106" fmla="*/ 121 w 144"/>
                <a:gd name="T107" fmla="*/ 25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4" h="28">
                  <a:moveTo>
                    <a:pt x="1" y="3"/>
                  </a:moveTo>
                  <a:cubicBezTo>
                    <a:pt x="0" y="3"/>
                    <a:pt x="0" y="3"/>
                    <a:pt x="0" y="2"/>
                  </a:cubicBezTo>
                  <a:cubicBezTo>
                    <a:pt x="0" y="2"/>
                    <a:pt x="0" y="2"/>
                    <a:pt x="0" y="2"/>
                  </a:cubicBezTo>
                  <a:cubicBezTo>
                    <a:pt x="0" y="1"/>
                    <a:pt x="0" y="1"/>
                    <a:pt x="1" y="1"/>
                  </a:cubicBezTo>
                  <a:cubicBezTo>
                    <a:pt x="1" y="0"/>
                    <a:pt x="1" y="0"/>
                    <a:pt x="2" y="0"/>
                  </a:cubicBezTo>
                  <a:cubicBezTo>
                    <a:pt x="22" y="4"/>
                    <a:pt x="22" y="4"/>
                    <a:pt x="22" y="4"/>
                  </a:cubicBezTo>
                  <a:cubicBezTo>
                    <a:pt x="22" y="4"/>
                    <a:pt x="23" y="4"/>
                    <a:pt x="23" y="5"/>
                  </a:cubicBezTo>
                  <a:cubicBezTo>
                    <a:pt x="23" y="5"/>
                    <a:pt x="23" y="5"/>
                    <a:pt x="23" y="6"/>
                  </a:cubicBezTo>
                  <a:cubicBezTo>
                    <a:pt x="23" y="6"/>
                    <a:pt x="23" y="6"/>
                    <a:pt x="23" y="7"/>
                  </a:cubicBezTo>
                  <a:cubicBezTo>
                    <a:pt x="22" y="7"/>
                    <a:pt x="22" y="7"/>
                    <a:pt x="21" y="7"/>
                  </a:cubicBezTo>
                  <a:cubicBezTo>
                    <a:pt x="1" y="3"/>
                    <a:pt x="1" y="3"/>
                    <a:pt x="1" y="3"/>
                  </a:cubicBezTo>
                  <a:cubicBezTo>
                    <a:pt x="1" y="3"/>
                    <a:pt x="1" y="3"/>
                    <a:pt x="1" y="3"/>
                  </a:cubicBezTo>
                  <a:close/>
                  <a:moveTo>
                    <a:pt x="41" y="10"/>
                  </a:moveTo>
                  <a:cubicBezTo>
                    <a:pt x="41" y="10"/>
                    <a:pt x="40" y="10"/>
                    <a:pt x="40" y="10"/>
                  </a:cubicBezTo>
                  <a:cubicBezTo>
                    <a:pt x="40" y="9"/>
                    <a:pt x="40" y="9"/>
                    <a:pt x="40" y="9"/>
                  </a:cubicBezTo>
                  <a:cubicBezTo>
                    <a:pt x="40" y="8"/>
                    <a:pt x="40" y="8"/>
                    <a:pt x="40" y="8"/>
                  </a:cubicBezTo>
                  <a:cubicBezTo>
                    <a:pt x="41" y="8"/>
                    <a:pt x="41" y="8"/>
                    <a:pt x="41" y="8"/>
                  </a:cubicBezTo>
                  <a:cubicBezTo>
                    <a:pt x="41" y="7"/>
                    <a:pt x="41" y="7"/>
                    <a:pt x="41" y="7"/>
                  </a:cubicBezTo>
                  <a:cubicBezTo>
                    <a:pt x="42" y="7"/>
                    <a:pt x="42" y="7"/>
                    <a:pt x="42" y="7"/>
                  </a:cubicBezTo>
                  <a:cubicBezTo>
                    <a:pt x="62" y="11"/>
                    <a:pt x="62" y="11"/>
                    <a:pt x="62" y="11"/>
                  </a:cubicBezTo>
                  <a:cubicBezTo>
                    <a:pt x="63" y="11"/>
                    <a:pt x="63" y="11"/>
                    <a:pt x="63" y="12"/>
                  </a:cubicBezTo>
                  <a:cubicBezTo>
                    <a:pt x="63" y="12"/>
                    <a:pt x="63" y="12"/>
                    <a:pt x="63" y="13"/>
                  </a:cubicBezTo>
                  <a:cubicBezTo>
                    <a:pt x="63" y="13"/>
                    <a:pt x="63" y="13"/>
                    <a:pt x="63" y="14"/>
                  </a:cubicBezTo>
                  <a:cubicBezTo>
                    <a:pt x="62" y="14"/>
                    <a:pt x="62" y="14"/>
                    <a:pt x="62" y="14"/>
                  </a:cubicBezTo>
                  <a:cubicBezTo>
                    <a:pt x="41" y="11"/>
                    <a:pt x="41" y="11"/>
                    <a:pt x="41" y="11"/>
                  </a:cubicBezTo>
                  <a:cubicBezTo>
                    <a:pt x="41" y="10"/>
                    <a:pt x="41" y="10"/>
                    <a:pt x="41" y="10"/>
                  </a:cubicBezTo>
                  <a:close/>
                  <a:moveTo>
                    <a:pt x="81" y="17"/>
                  </a:moveTo>
                  <a:cubicBezTo>
                    <a:pt x="81" y="17"/>
                    <a:pt x="81" y="17"/>
                    <a:pt x="80" y="17"/>
                  </a:cubicBezTo>
                  <a:cubicBezTo>
                    <a:pt x="80" y="16"/>
                    <a:pt x="80" y="16"/>
                    <a:pt x="80" y="16"/>
                  </a:cubicBezTo>
                  <a:cubicBezTo>
                    <a:pt x="80" y="15"/>
                    <a:pt x="81" y="15"/>
                    <a:pt x="81" y="15"/>
                  </a:cubicBezTo>
                  <a:cubicBezTo>
                    <a:pt x="81" y="14"/>
                    <a:pt x="82" y="14"/>
                    <a:pt x="82" y="14"/>
                  </a:cubicBezTo>
                  <a:cubicBezTo>
                    <a:pt x="102" y="18"/>
                    <a:pt x="102" y="18"/>
                    <a:pt x="102" y="18"/>
                  </a:cubicBezTo>
                  <a:cubicBezTo>
                    <a:pt x="103" y="18"/>
                    <a:pt x="103" y="18"/>
                    <a:pt x="103" y="19"/>
                  </a:cubicBezTo>
                  <a:cubicBezTo>
                    <a:pt x="104" y="19"/>
                    <a:pt x="104" y="19"/>
                    <a:pt x="104" y="20"/>
                  </a:cubicBezTo>
                  <a:cubicBezTo>
                    <a:pt x="104" y="20"/>
                    <a:pt x="103" y="21"/>
                    <a:pt x="103" y="21"/>
                  </a:cubicBezTo>
                  <a:cubicBezTo>
                    <a:pt x="103" y="21"/>
                    <a:pt x="102" y="21"/>
                    <a:pt x="102" y="21"/>
                  </a:cubicBezTo>
                  <a:cubicBezTo>
                    <a:pt x="82" y="18"/>
                    <a:pt x="82" y="18"/>
                    <a:pt x="82" y="18"/>
                  </a:cubicBezTo>
                  <a:cubicBezTo>
                    <a:pt x="81" y="18"/>
                    <a:pt x="81" y="18"/>
                    <a:pt x="81" y="17"/>
                  </a:cubicBezTo>
                  <a:close/>
                  <a:moveTo>
                    <a:pt x="121" y="25"/>
                  </a:moveTo>
                  <a:cubicBezTo>
                    <a:pt x="121" y="24"/>
                    <a:pt x="121" y="24"/>
                    <a:pt x="121" y="24"/>
                  </a:cubicBezTo>
                  <a:cubicBezTo>
                    <a:pt x="121" y="24"/>
                    <a:pt x="121" y="23"/>
                    <a:pt x="121" y="23"/>
                  </a:cubicBezTo>
                  <a:cubicBezTo>
                    <a:pt x="121" y="23"/>
                    <a:pt x="121" y="22"/>
                    <a:pt x="121" y="22"/>
                  </a:cubicBezTo>
                  <a:cubicBezTo>
                    <a:pt x="121" y="22"/>
                    <a:pt x="121" y="22"/>
                    <a:pt x="121" y="22"/>
                  </a:cubicBezTo>
                  <a:cubicBezTo>
                    <a:pt x="121" y="22"/>
                    <a:pt x="122" y="22"/>
                    <a:pt x="122" y="22"/>
                  </a:cubicBezTo>
                  <a:cubicBezTo>
                    <a:pt x="122" y="22"/>
                    <a:pt x="122" y="22"/>
                    <a:pt x="122" y="22"/>
                  </a:cubicBezTo>
                  <a:cubicBezTo>
                    <a:pt x="143" y="25"/>
                    <a:pt x="143" y="25"/>
                    <a:pt x="143" y="25"/>
                  </a:cubicBezTo>
                  <a:cubicBezTo>
                    <a:pt x="143" y="25"/>
                    <a:pt x="143" y="25"/>
                    <a:pt x="143" y="25"/>
                  </a:cubicBezTo>
                  <a:cubicBezTo>
                    <a:pt x="143" y="25"/>
                    <a:pt x="144" y="26"/>
                    <a:pt x="144" y="26"/>
                  </a:cubicBezTo>
                  <a:cubicBezTo>
                    <a:pt x="144" y="26"/>
                    <a:pt x="144" y="26"/>
                    <a:pt x="144" y="26"/>
                  </a:cubicBezTo>
                  <a:cubicBezTo>
                    <a:pt x="144" y="27"/>
                    <a:pt x="144" y="27"/>
                    <a:pt x="144" y="27"/>
                  </a:cubicBezTo>
                  <a:cubicBezTo>
                    <a:pt x="144" y="27"/>
                    <a:pt x="144" y="28"/>
                    <a:pt x="143" y="28"/>
                  </a:cubicBezTo>
                  <a:cubicBezTo>
                    <a:pt x="143" y="28"/>
                    <a:pt x="142" y="28"/>
                    <a:pt x="142" y="28"/>
                  </a:cubicBezTo>
                  <a:cubicBezTo>
                    <a:pt x="122" y="25"/>
                    <a:pt x="122" y="25"/>
                    <a:pt x="122" y="25"/>
                  </a:cubicBezTo>
                  <a:cubicBezTo>
                    <a:pt x="122" y="25"/>
                    <a:pt x="122" y="25"/>
                    <a:pt x="121" y="25"/>
                  </a:cubicBezTo>
                  <a:close/>
                </a:path>
              </a:pathLst>
            </a:custGeom>
            <a:solidFill>
              <a:srgbClr val="1105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65" name="Freeform 15">
              <a:extLst>
                <a:ext uri="{FF2B5EF4-FFF2-40B4-BE49-F238E27FC236}">
                  <a16:creationId xmlns:a16="http://schemas.microsoft.com/office/drawing/2014/main" id="{A59AA06A-A0BA-4BFF-A063-0C05F373178F}"/>
                </a:ext>
              </a:extLst>
            </p:cNvPr>
            <p:cNvSpPr>
              <a:spLocks/>
            </p:cNvSpPr>
            <p:nvPr/>
          </p:nvSpPr>
          <p:spPr bwMode="auto">
            <a:xfrm>
              <a:off x="4750018" y="3415911"/>
              <a:ext cx="54337" cy="61348"/>
            </a:xfrm>
            <a:custGeom>
              <a:avLst/>
              <a:gdLst>
                <a:gd name="T0" fmla="*/ 0 w 13"/>
                <a:gd name="T1" fmla="*/ 13 h 15"/>
                <a:gd name="T2" fmla="*/ 2 w 13"/>
                <a:gd name="T3" fmla="*/ 2 h 15"/>
                <a:gd name="T4" fmla="*/ 2 w 13"/>
                <a:gd name="T5" fmla="*/ 1 h 15"/>
                <a:gd name="T6" fmla="*/ 3 w 13"/>
                <a:gd name="T7" fmla="*/ 1 h 15"/>
                <a:gd name="T8" fmla="*/ 3 w 13"/>
                <a:gd name="T9" fmla="*/ 1 h 15"/>
                <a:gd name="T10" fmla="*/ 4 w 13"/>
                <a:gd name="T11" fmla="*/ 1 h 15"/>
                <a:gd name="T12" fmla="*/ 5 w 13"/>
                <a:gd name="T13" fmla="*/ 1 h 15"/>
                <a:gd name="T14" fmla="*/ 5 w 13"/>
                <a:gd name="T15" fmla="*/ 1 h 15"/>
                <a:gd name="T16" fmla="*/ 5 w 13"/>
                <a:gd name="T17" fmla="*/ 2 h 15"/>
                <a:gd name="T18" fmla="*/ 5 w 13"/>
                <a:gd name="T19" fmla="*/ 3 h 15"/>
                <a:gd name="T20" fmla="*/ 4 w 13"/>
                <a:gd name="T21" fmla="*/ 10 h 15"/>
                <a:gd name="T22" fmla="*/ 12 w 13"/>
                <a:gd name="T23" fmla="*/ 12 h 15"/>
                <a:gd name="T24" fmla="*/ 12 w 13"/>
                <a:gd name="T25" fmla="*/ 12 h 15"/>
                <a:gd name="T26" fmla="*/ 13 w 13"/>
                <a:gd name="T27" fmla="*/ 12 h 15"/>
                <a:gd name="T28" fmla="*/ 13 w 13"/>
                <a:gd name="T29" fmla="*/ 13 h 15"/>
                <a:gd name="T30" fmla="*/ 13 w 13"/>
                <a:gd name="T31" fmla="*/ 14 h 15"/>
                <a:gd name="T32" fmla="*/ 13 w 13"/>
                <a:gd name="T33" fmla="*/ 14 h 15"/>
                <a:gd name="T34" fmla="*/ 12 w 13"/>
                <a:gd name="T35" fmla="*/ 15 h 15"/>
                <a:gd name="T36" fmla="*/ 12 w 13"/>
                <a:gd name="T37" fmla="*/ 15 h 15"/>
                <a:gd name="T38" fmla="*/ 11 w 13"/>
                <a:gd name="T39" fmla="*/ 15 h 15"/>
                <a:gd name="T40" fmla="*/ 0 w 13"/>
                <a:gd name="T41" fmla="*/ 13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 h="15">
                  <a:moveTo>
                    <a:pt x="0" y="13"/>
                  </a:moveTo>
                  <a:cubicBezTo>
                    <a:pt x="2" y="2"/>
                    <a:pt x="2" y="2"/>
                    <a:pt x="2" y="2"/>
                  </a:cubicBezTo>
                  <a:cubicBezTo>
                    <a:pt x="2" y="2"/>
                    <a:pt x="2" y="2"/>
                    <a:pt x="2" y="1"/>
                  </a:cubicBezTo>
                  <a:cubicBezTo>
                    <a:pt x="2" y="1"/>
                    <a:pt x="3" y="1"/>
                    <a:pt x="3" y="1"/>
                  </a:cubicBezTo>
                  <a:cubicBezTo>
                    <a:pt x="3" y="1"/>
                    <a:pt x="3" y="1"/>
                    <a:pt x="3" y="1"/>
                  </a:cubicBezTo>
                  <a:cubicBezTo>
                    <a:pt x="4" y="0"/>
                    <a:pt x="4" y="0"/>
                    <a:pt x="4" y="1"/>
                  </a:cubicBezTo>
                  <a:cubicBezTo>
                    <a:pt x="4" y="1"/>
                    <a:pt x="4" y="1"/>
                    <a:pt x="5" y="1"/>
                  </a:cubicBezTo>
                  <a:cubicBezTo>
                    <a:pt x="5" y="1"/>
                    <a:pt x="5" y="1"/>
                    <a:pt x="5" y="1"/>
                  </a:cubicBezTo>
                  <a:cubicBezTo>
                    <a:pt x="5" y="1"/>
                    <a:pt x="5" y="2"/>
                    <a:pt x="5" y="2"/>
                  </a:cubicBezTo>
                  <a:cubicBezTo>
                    <a:pt x="5" y="2"/>
                    <a:pt x="5" y="2"/>
                    <a:pt x="5" y="3"/>
                  </a:cubicBezTo>
                  <a:cubicBezTo>
                    <a:pt x="4" y="10"/>
                    <a:pt x="4" y="10"/>
                    <a:pt x="4" y="10"/>
                  </a:cubicBezTo>
                  <a:cubicBezTo>
                    <a:pt x="12" y="12"/>
                    <a:pt x="12" y="12"/>
                    <a:pt x="12" y="12"/>
                  </a:cubicBezTo>
                  <a:cubicBezTo>
                    <a:pt x="12" y="12"/>
                    <a:pt x="12" y="12"/>
                    <a:pt x="12" y="12"/>
                  </a:cubicBezTo>
                  <a:cubicBezTo>
                    <a:pt x="13" y="12"/>
                    <a:pt x="13" y="12"/>
                    <a:pt x="13" y="12"/>
                  </a:cubicBezTo>
                  <a:cubicBezTo>
                    <a:pt x="13" y="13"/>
                    <a:pt x="13" y="13"/>
                    <a:pt x="13" y="13"/>
                  </a:cubicBezTo>
                  <a:cubicBezTo>
                    <a:pt x="13" y="13"/>
                    <a:pt x="13" y="13"/>
                    <a:pt x="13" y="14"/>
                  </a:cubicBezTo>
                  <a:cubicBezTo>
                    <a:pt x="13" y="14"/>
                    <a:pt x="13" y="14"/>
                    <a:pt x="13" y="14"/>
                  </a:cubicBezTo>
                  <a:cubicBezTo>
                    <a:pt x="13" y="14"/>
                    <a:pt x="13" y="15"/>
                    <a:pt x="12" y="15"/>
                  </a:cubicBezTo>
                  <a:cubicBezTo>
                    <a:pt x="12" y="15"/>
                    <a:pt x="12" y="15"/>
                    <a:pt x="12" y="15"/>
                  </a:cubicBezTo>
                  <a:cubicBezTo>
                    <a:pt x="12" y="15"/>
                    <a:pt x="11" y="15"/>
                    <a:pt x="11" y="15"/>
                  </a:cubicBezTo>
                  <a:lnTo>
                    <a:pt x="0" y="13"/>
                  </a:lnTo>
                  <a:close/>
                </a:path>
              </a:pathLst>
            </a:custGeom>
            <a:solidFill>
              <a:srgbClr val="1105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66" name="Freeform 16">
              <a:extLst>
                <a:ext uri="{FF2B5EF4-FFF2-40B4-BE49-F238E27FC236}">
                  <a16:creationId xmlns:a16="http://schemas.microsoft.com/office/drawing/2014/main" id="{DCDCDE89-F1FE-4341-9D0E-2B960AD9F9EC}"/>
                </a:ext>
              </a:extLst>
            </p:cNvPr>
            <p:cNvSpPr>
              <a:spLocks noEditPoints="1"/>
            </p:cNvSpPr>
            <p:nvPr/>
          </p:nvSpPr>
          <p:spPr bwMode="auto">
            <a:xfrm>
              <a:off x="4771051" y="2951420"/>
              <a:ext cx="82382" cy="401391"/>
            </a:xfrm>
            <a:custGeom>
              <a:avLst/>
              <a:gdLst>
                <a:gd name="T0" fmla="*/ 1 w 20"/>
                <a:gd name="T1" fmla="*/ 96 h 96"/>
                <a:gd name="T2" fmla="*/ 1 w 20"/>
                <a:gd name="T3" fmla="*/ 95 h 96"/>
                <a:gd name="T4" fmla="*/ 0 w 20"/>
                <a:gd name="T5" fmla="*/ 94 h 96"/>
                <a:gd name="T6" fmla="*/ 4 w 20"/>
                <a:gd name="T7" fmla="*/ 76 h 96"/>
                <a:gd name="T8" fmla="*/ 4 w 20"/>
                <a:gd name="T9" fmla="*/ 75 h 96"/>
                <a:gd name="T10" fmla="*/ 4 w 20"/>
                <a:gd name="T11" fmla="*/ 74 h 96"/>
                <a:gd name="T12" fmla="*/ 5 w 20"/>
                <a:gd name="T13" fmla="*/ 74 h 96"/>
                <a:gd name="T14" fmla="*/ 6 w 20"/>
                <a:gd name="T15" fmla="*/ 74 h 96"/>
                <a:gd name="T16" fmla="*/ 6 w 20"/>
                <a:gd name="T17" fmla="*/ 74 h 96"/>
                <a:gd name="T18" fmla="*/ 7 w 20"/>
                <a:gd name="T19" fmla="*/ 75 h 96"/>
                <a:gd name="T20" fmla="*/ 7 w 20"/>
                <a:gd name="T21" fmla="*/ 76 h 96"/>
                <a:gd name="T22" fmla="*/ 7 w 20"/>
                <a:gd name="T23" fmla="*/ 76 h 96"/>
                <a:gd name="T24" fmla="*/ 4 w 20"/>
                <a:gd name="T25" fmla="*/ 95 h 96"/>
                <a:gd name="T26" fmla="*/ 3 w 20"/>
                <a:gd name="T27" fmla="*/ 95 h 96"/>
                <a:gd name="T28" fmla="*/ 3 w 20"/>
                <a:gd name="T29" fmla="*/ 96 h 96"/>
                <a:gd name="T30" fmla="*/ 2 w 20"/>
                <a:gd name="T31" fmla="*/ 96 h 96"/>
                <a:gd name="T32" fmla="*/ 2 w 20"/>
                <a:gd name="T33" fmla="*/ 96 h 96"/>
                <a:gd name="T34" fmla="*/ 1 w 20"/>
                <a:gd name="T35" fmla="*/ 96 h 96"/>
                <a:gd name="T36" fmla="*/ 8 w 20"/>
                <a:gd name="T37" fmla="*/ 59 h 96"/>
                <a:gd name="T38" fmla="*/ 7 w 20"/>
                <a:gd name="T39" fmla="*/ 58 h 96"/>
                <a:gd name="T40" fmla="*/ 7 w 20"/>
                <a:gd name="T41" fmla="*/ 57 h 96"/>
                <a:gd name="T42" fmla="*/ 10 w 20"/>
                <a:gd name="T43" fmla="*/ 39 h 96"/>
                <a:gd name="T44" fmla="*/ 11 w 20"/>
                <a:gd name="T45" fmla="*/ 38 h 96"/>
                <a:gd name="T46" fmla="*/ 11 w 20"/>
                <a:gd name="T47" fmla="*/ 37 h 96"/>
                <a:gd name="T48" fmla="*/ 12 w 20"/>
                <a:gd name="T49" fmla="*/ 37 h 96"/>
                <a:gd name="T50" fmla="*/ 12 w 20"/>
                <a:gd name="T51" fmla="*/ 37 h 96"/>
                <a:gd name="T52" fmla="*/ 13 w 20"/>
                <a:gd name="T53" fmla="*/ 37 h 96"/>
                <a:gd name="T54" fmla="*/ 13 w 20"/>
                <a:gd name="T55" fmla="*/ 38 h 96"/>
                <a:gd name="T56" fmla="*/ 14 w 20"/>
                <a:gd name="T57" fmla="*/ 38 h 96"/>
                <a:gd name="T58" fmla="*/ 14 w 20"/>
                <a:gd name="T59" fmla="*/ 39 h 96"/>
                <a:gd name="T60" fmla="*/ 10 w 20"/>
                <a:gd name="T61" fmla="*/ 58 h 96"/>
                <a:gd name="T62" fmla="*/ 10 w 20"/>
                <a:gd name="T63" fmla="*/ 58 h 96"/>
                <a:gd name="T64" fmla="*/ 10 w 20"/>
                <a:gd name="T65" fmla="*/ 59 h 96"/>
                <a:gd name="T66" fmla="*/ 9 w 20"/>
                <a:gd name="T67" fmla="*/ 59 h 96"/>
                <a:gd name="T68" fmla="*/ 8 w 20"/>
                <a:gd name="T69" fmla="*/ 59 h 96"/>
                <a:gd name="T70" fmla="*/ 8 w 20"/>
                <a:gd name="T71" fmla="*/ 59 h 96"/>
                <a:gd name="T72" fmla="*/ 14 w 20"/>
                <a:gd name="T73" fmla="*/ 22 h 96"/>
                <a:gd name="T74" fmla="*/ 14 w 20"/>
                <a:gd name="T75" fmla="*/ 21 h 96"/>
                <a:gd name="T76" fmla="*/ 14 w 20"/>
                <a:gd name="T77" fmla="*/ 20 h 96"/>
                <a:gd name="T78" fmla="*/ 17 w 20"/>
                <a:gd name="T79" fmla="*/ 1 h 96"/>
                <a:gd name="T80" fmla="*/ 18 w 20"/>
                <a:gd name="T81" fmla="*/ 0 h 96"/>
                <a:gd name="T82" fmla="*/ 19 w 20"/>
                <a:gd name="T83" fmla="*/ 0 h 96"/>
                <a:gd name="T84" fmla="*/ 20 w 20"/>
                <a:gd name="T85" fmla="*/ 1 h 96"/>
                <a:gd name="T86" fmla="*/ 20 w 20"/>
                <a:gd name="T87" fmla="*/ 2 h 96"/>
                <a:gd name="T88" fmla="*/ 17 w 20"/>
                <a:gd name="T89" fmla="*/ 20 h 96"/>
                <a:gd name="T90" fmla="*/ 16 w 20"/>
                <a:gd name="T91" fmla="*/ 21 h 96"/>
                <a:gd name="T92" fmla="*/ 15 w 20"/>
                <a:gd name="T93" fmla="*/ 22 h 96"/>
                <a:gd name="T94" fmla="*/ 14 w 20"/>
                <a:gd name="T95" fmla="*/ 21 h 96"/>
                <a:gd name="T96" fmla="*/ 14 w 20"/>
                <a:gd name="T97" fmla="*/ 2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0" h="96">
                  <a:moveTo>
                    <a:pt x="1" y="96"/>
                  </a:moveTo>
                  <a:cubicBezTo>
                    <a:pt x="1" y="96"/>
                    <a:pt x="1" y="95"/>
                    <a:pt x="1" y="95"/>
                  </a:cubicBezTo>
                  <a:cubicBezTo>
                    <a:pt x="0" y="95"/>
                    <a:pt x="0" y="95"/>
                    <a:pt x="0" y="94"/>
                  </a:cubicBezTo>
                  <a:cubicBezTo>
                    <a:pt x="4" y="76"/>
                    <a:pt x="4" y="76"/>
                    <a:pt x="4" y="76"/>
                  </a:cubicBezTo>
                  <a:cubicBezTo>
                    <a:pt x="4" y="75"/>
                    <a:pt x="4" y="75"/>
                    <a:pt x="4" y="75"/>
                  </a:cubicBezTo>
                  <a:cubicBezTo>
                    <a:pt x="4" y="75"/>
                    <a:pt x="4" y="75"/>
                    <a:pt x="4" y="74"/>
                  </a:cubicBezTo>
                  <a:cubicBezTo>
                    <a:pt x="5" y="74"/>
                    <a:pt x="5" y="74"/>
                    <a:pt x="5" y="74"/>
                  </a:cubicBezTo>
                  <a:cubicBezTo>
                    <a:pt x="5" y="74"/>
                    <a:pt x="5" y="74"/>
                    <a:pt x="6" y="74"/>
                  </a:cubicBezTo>
                  <a:cubicBezTo>
                    <a:pt x="6" y="74"/>
                    <a:pt x="6" y="74"/>
                    <a:pt x="6" y="74"/>
                  </a:cubicBezTo>
                  <a:cubicBezTo>
                    <a:pt x="6" y="75"/>
                    <a:pt x="7" y="75"/>
                    <a:pt x="7" y="75"/>
                  </a:cubicBezTo>
                  <a:cubicBezTo>
                    <a:pt x="7" y="75"/>
                    <a:pt x="7" y="75"/>
                    <a:pt x="7" y="76"/>
                  </a:cubicBezTo>
                  <a:cubicBezTo>
                    <a:pt x="7" y="76"/>
                    <a:pt x="7" y="76"/>
                    <a:pt x="7" y="76"/>
                  </a:cubicBezTo>
                  <a:cubicBezTo>
                    <a:pt x="4" y="95"/>
                    <a:pt x="4" y="95"/>
                    <a:pt x="4" y="95"/>
                  </a:cubicBezTo>
                  <a:cubicBezTo>
                    <a:pt x="4" y="95"/>
                    <a:pt x="4" y="95"/>
                    <a:pt x="3" y="95"/>
                  </a:cubicBezTo>
                  <a:cubicBezTo>
                    <a:pt x="3" y="96"/>
                    <a:pt x="3" y="96"/>
                    <a:pt x="3" y="96"/>
                  </a:cubicBezTo>
                  <a:cubicBezTo>
                    <a:pt x="3" y="96"/>
                    <a:pt x="3" y="96"/>
                    <a:pt x="2" y="96"/>
                  </a:cubicBezTo>
                  <a:cubicBezTo>
                    <a:pt x="2" y="96"/>
                    <a:pt x="2" y="96"/>
                    <a:pt x="2" y="96"/>
                  </a:cubicBezTo>
                  <a:cubicBezTo>
                    <a:pt x="2" y="96"/>
                    <a:pt x="1" y="96"/>
                    <a:pt x="1" y="96"/>
                  </a:cubicBezTo>
                  <a:close/>
                  <a:moveTo>
                    <a:pt x="8" y="59"/>
                  </a:moveTo>
                  <a:cubicBezTo>
                    <a:pt x="7" y="59"/>
                    <a:pt x="7" y="58"/>
                    <a:pt x="7" y="58"/>
                  </a:cubicBezTo>
                  <a:cubicBezTo>
                    <a:pt x="7" y="58"/>
                    <a:pt x="7" y="57"/>
                    <a:pt x="7" y="57"/>
                  </a:cubicBezTo>
                  <a:cubicBezTo>
                    <a:pt x="10" y="39"/>
                    <a:pt x="10" y="39"/>
                    <a:pt x="10" y="39"/>
                  </a:cubicBezTo>
                  <a:cubicBezTo>
                    <a:pt x="10" y="38"/>
                    <a:pt x="10" y="38"/>
                    <a:pt x="11" y="38"/>
                  </a:cubicBezTo>
                  <a:cubicBezTo>
                    <a:pt x="11" y="38"/>
                    <a:pt x="11" y="37"/>
                    <a:pt x="11" y="37"/>
                  </a:cubicBezTo>
                  <a:cubicBezTo>
                    <a:pt x="11" y="37"/>
                    <a:pt x="11" y="37"/>
                    <a:pt x="12" y="37"/>
                  </a:cubicBezTo>
                  <a:cubicBezTo>
                    <a:pt x="12" y="37"/>
                    <a:pt x="12" y="37"/>
                    <a:pt x="12" y="37"/>
                  </a:cubicBezTo>
                  <a:cubicBezTo>
                    <a:pt x="12" y="37"/>
                    <a:pt x="13" y="37"/>
                    <a:pt x="13" y="37"/>
                  </a:cubicBezTo>
                  <a:cubicBezTo>
                    <a:pt x="13" y="37"/>
                    <a:pt x="13" y="38"/>
                    <a:pt x="13" y="38"/>
                  </a:cubicBezTo>
                  <a:cubicBezTo>
                    <a:pt x="13" y="38"/>
                    <a:pt x="14" y="38"/>
                    <a:pt x="14" y="38"/>
                  </a:cubicBezTo>
                  <a:cubicBezTo>
                    <a:pt x="14" y="39"/>
                    <a:pt x="14" y="39"/>
                    <a:pt x="14" y="39"/>
                  </a:cubicBezTo>
                  <a:cubicBezTo>
                    <a:pt x="10" y="58"/>
                    <a:pt x="10" y="58"/>
                    <a:pt x="10" y="58"/>
                  </a:cubicBezTo>
                  <a:cubicBezTo>
                    <a:pt x="10" y="58"/>
                    <a:pt x="10" y="58"/>
                    <a:pt x="10" y="58"/>
                  </a:cubicBezTo>
                  <a:cubicBezTo>
                    <a:pt x="10" y="58"/>
                    <a:pt x="10" y="59"/>
                    <a:pt x="10" y="59"/>
                  </a:cubicBezTo>
                  <a:cubicBezTo>
                    <a:pt x="9" y="59"/>
                    <a:pt x="9" y="59"/>
                    <a:pt x="9" y="59"/>
                  </a:cubicBezTo>
                  <a:cubicBezTo>
                    <a:pt x="9" y="59"/>
                    <a:pt x="9" y="59"/>
                    <a:pt x="8" y="59"/>
                  </a:cubicBezTo>
                  <a:cubicBezTo>
                    <a:pt x="8" y="59"/>
                    <a:pt x="8" y="59"/>
                    <a:pt x="8" y="59"/>
                  </a:cubicBezTo>
                  <a:close/>
                  <a:moveTo>
                    <a:pt x="14" y="22"/>
                  </a:moveTo>
                  <a:cubicBezTo>
                    <a:pt x="14" y="21"/>
                    <a:pt x="14" y="21"/>
                    <a:pt x="14" y="21"/>
                  </a:cubicBezTo>
                  <a:cubicBezTo>
                    <a:pt x="14" y="21"/>
                    <a:pt x="14" y="20"/>
                    <a:pt x="14" y="20"/>
                  </a:cubicBezTo>
                  <a:cubicBezTo>
                    <a:pt x="17" y="1"/>
                    <a:pt x="17" y="1"/>
                    <a:pt x="17" y="1"/>
                  </a:cubicBezTo>
                  <a:cubicBezTo>
                    <a:pt x="17" y="1"/>
                    <a:pt x="17" y="1"/>
                    <a:pt x="18" y="0"/>
                  </a:cubicBezTo>
                  <a:cubicBezTo>
                    <a:pt x="18" y="0"/>
                    <a:pt x="18" y="0"/>
                    <a:pt x="19" y="0"/>
                  </a:cubicBezTo>
                  <a:cubicBezTo>
                    <a:pt x="19" y="0"/>
                    <a:pt x="20" y="0"/>
                    <a:pt x="20" y="1"/>
                  </a:cubicBezTo>
                  <a:cubicBezTo>
                    <a:pt x="20" y="1"/>
                    <a:pt x="20" y="1"/>
                    <a:pt x="20" y="2"/>
                  </a:cubicBezTo>
                  <a:cubicBezTo>
                    <a:pt x="17" y="20"/>
                    <a:pt x="17" y="20"/>
                    <a:pt x="17" y="20"/>
                  </a:cubicBezTo>
                  <a:cubicBezTo>
                    <a:pt x="17" y="21"/>
                    <a:pt x="17" y="21"/>
                    <a:pt x="16" y="21"/>
                  </a:cubicBezTo>
                  <a:cubicBezTo>
                    <a:pt x="16" y="22"/>
                    <a:pt x="15" y="22"/>
                    <a:pt x="15" y="22"/>
                  </a:cubicBezTo>
                  <a:cubicBezTo>
                    <a:pt x="15" y="22"/>
                    <a:pt x="15" y="22"/>
                    <a:pt x="14" y="21"/>
                  </a:cubicBezTo>
                  <a:lnTo>
                    <a:pt x="14" y="22"/>
                  </a:lnTo>
                  <a:close/>
                </a:path>
              </a:pathLst>
            </a:custGeom>
            <a:solidFill>
              <a:srgbClr val="1105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67" name="Freeform 17">
              <a:extLst>
                <a:ext uri="{FF2B5EF4-FFF2-40B4-BE49-F238E27FC236}">
                  <a16:creationId xmlns:a16="http://schemas.microsoft.com/office/drawing/2014/main" id="{0D74B379-8DDE-4C63-A09F-CF5CF203F304}"/>
                </a:ext>
              </a:extLst>
            </p:cNvPr>
            <p:cNvSpPr>
              <a:spLocks/>
            </p:cNvSpPr>
            <p:nvPr/>
          </p:nvSpPr>
          <p:spPr bwMode="auto">
            <a:xfrm>
              <a:off x="4853433" y="2835736"/>
              <a:ext cx="63101" cy="54337"/>
            </a:xfrm>
            <a:custGeom>
              <a:avLst/>
              <a:gdLst>
                <a:gd name="T0" fmla="*/ 1 w 15"/>
                <a:gd name="T1" fmla="*/ 12 h 13"/>
                <a:gd name="T2" fmla="*/ 0 w 15"/>
                <a:gd name="T3" fmla="*/ 11 h 13"/>
                <a:gd name="T4" fmla="*/ 0 w 15"/>
                <a:gd name="T5" fmla="*/ 11 h 13"/>
                <a:gd name="T6" fmla="*/ 2 w 15"/>
                <a:gd name="T7" fmla="*/ 0 h 13"/>
                <a:gd name="T8" fmla="*/ 13 w 15"/>
                <a:gd name="T9" fmla="*/ 2 h 13"/>
                <a:gd name="T10" fmla="*/ 14 w 15"/>
                <a:gd name="T11" fmla="*/ 2 h 13"/>
                <a:gd name="T12" fmla="*/ 15 w 15"/>
                <a:gd name="T13" fmla="*/ 3 h 13"/>
                <a:gd name="T14" fmla="*/ 14 w 15"/>
                <a:gd name="T15" fmla="*/ 4 h 13"/>
                <a:gd name="T16" fmla="*/ 13 w 15"/>
                <a:gd name="T17" fmla="*/ 5 h 13"/>
                <a:gd name="T18" fmla="*/ 5 w 15"/>
                <a:gd name="T19" fmla="*/ 3 h 13"/>
                <a:gd name="T20" fmla="*/ 4 w 15"/>
                <a:gd name="T21" fmla="*/ 11 h 13"/>
                <a:gd name="T22" fmla="*/ 3 w 15"/>
                <a:gd name="T23" fmla="*/ 12 h 13"/>
                <a:gd name="T24" fmla="*/ 2 w 15"/>
                <a:gd name="T25" fmla="*/ 13 h 13"/>
                <a:gd name="T26" fmla="*/ 1 w 15"/>
                <a:gd name="T27" fmla="*/ 12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 h="13">
                  <a:moveTo>
                    <a:pt x="1" y="12"/>
                  </a:moveTo>
                  <a:cubicBezTo>
                    <a:pt x="1" y="12"/>
                    <a:pt x="1" y="12"/>
                    <a:pt x="0" y="11"/>
                  </a:cubicBezTo>
                  <a:cubicBezTo>
                    <a:pt x="0" y="11"/>
                    <a:pt x="0" y="11"/>
                    <a:pt x="0" y="11"/>
                  </a:cubicBezTo>
                  <a:cubicBezTo>
                    <a:pt x="2" y="0"/>
                    <a:pt x="2" y="0"/>
                    <a:pt x="2" y="0"/>
                  </a:cubicBezTo>
                  <a:cubicBezTo>
                    <a:pt x="13" y="2"/>
                    <a:pt x="13" y="2"/>
                    <a:pt x="13" y="2"/>
                  </a:cubicBezTo>
                  <a:cubicBezTo>
                    <a:pt x="14" y="2"/>
                    <a:pt x="14" y="2"/>
                    <a:pt x="14" y="2"/>
                  </a:cubicBezTo>
                  <a:cubicBezTo>
                    <a:pt x="15" y="3"/>
                    <a:pt x="15" y="3"/>
                    <a:pt x="15" y="3"/>
                  </a:cubicBezTo>
                  <a:cubicBezTo>
                    <a:pt x="15" y="4"/>
                    <a:pt x="14" y="4"/>
                    <a:pt x="14" y="4"/>
                  </a:cubicBezTo>
                  <a:cubicBezTo>
                    <a:pt x="14" y="5"/>
                    <a:pt x="13" y="5"/>
                    <a:pt x="13" y="5"/>
                  </a:cubicBezTo>
                  <a:cubicBezTo>
                    <a:pt x="5" y="3"/>
                    <a:pt x="5" y="3"/>
                    <a:pt x="5" y="3"/>
                  </a:cubicBezTo>
                  <a:cubicBezTo>
                    <a:pt x="4" y="11"/>
                    <a:pt x="4" y="11"/>
                    <a:pt x="4" y="11"/>
                  </a:cubicBezTo>
                  <a:cubicBezTo>
                    <a:pt x="3" y="12"/>
                    <a:pt x="3" y="12"/>
                    <a:pt x="3" y="12"/>
                  </a:cubicBezTo>
                  <a:cubicBezTo>
                    <a:pt x="3" y="12"/>
                    <a:pt x="2" y="13"/>
                    <a:pt x="2" y="13"/>
                  </a:cubicBezTo>
                  <a:cubicBezTo>
                    <a:pt x="1" y="12"/>
                    <a:pt x="1" y="12"/>
                    <a:pt x="1" y="12"/>
                  </a:cubicBezTo>
                  <a:close/>
                </a:path>
              </a:pathLst>
            </a:custGeom>
            <a:solidFill>
              <a:srgbClr val="1105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68" name="Freeform 18">
              <a:extLst>
                <a:ext uri="{FF2B5EF4-FFF2-40B4-BE49-F238E27FC236}">
                  <a16:creationId xmlns:a16="http://schemas.microsoft.com/office/drawing/2014/main" id="{FE331387-B7EC-4D86-B410-96F5C3174220}"/>
                </a:ext>
              </a:extLst>
            </p:cNvPr>
            <p:cNvSpPr>
              <a:spLocks noEditPoints="1"/>
            </p:cNvSpPr>
            <p:nvPr/>
          </p:nvSpPr>
          <p:spPr bwMode="auto">
            <a:xfrm>
              <a:off x="4988398" y="2856769"/>
              <a:ext cx="601210" cy="115685"/>
            </a:xfrm>
            <a:custGeom>
              <a:avLst/>
              <a:gdLst>
                <a:gd name="T0" fmla="*/ 0 w 144"/>
                <a:gd name="T1" fmla="*/ 3 h 28"/>
                <a:gd name="T2" fmla="*/ 0 w 144"/>
                <a:gd name="T3" fmla="*/ 2 h 28"/>
                <a:gd name="T4" fmla="*/ 0 w 144"/>
                <a:gd name="T5" fmla="*/ 1 h 28"/>
                <a:gd name="T6" fmla="*/ 0 w 144"/>
                <a:gd name="T7" fmla="*/ 1 h 28"/>
                <a:gd name="T8" fmla="*/ 0 w 144"/>
                <a:gd name="T9" fmla="*/ 0 h 28"/>
                <a:gd name="T10" fmla="*/ 1 w 144"/>
                <a:gd name="T11" fmla="*/ 0 h 28"/>
                <a:gd name="T12" fmla="*/ 1 w 144"/>
                <a:gd name="T13" fmla="*/ 0 h 28"/>
                <a:gd name="T14" fmla="*/ 22 w 144"/>
                <a:gd name="T15" fmla="*/ 4 h 28"/>
                <a:gd name="T16" fmla="*/ 22 w 144"/>
                <a:gd name="T17" fmla="*/ 4 h 28"/>
                <a:gd name="T18" fmla="*/ 23 w 144"/>
                <a:gd name="T19" fmla="*/ 4 h 28"/>
                <a:gd name="T20" fmla="*/ 23 w 144"/>
                <a:gd name="T21" fmla="*/ 5 h 28"/>
                <a:gd name="T22" fmla="*/ 23 w 144"/>
                <a:gd name="T23" fmla="*/ 5 h 28"/>
                <a:gd name="T24" fmla="*/ 23 w 144"/>
                <a:gd name="T25" fmla="*/ 6 h 28"/>
                <a:gd name="T26" fmla="*/ 22 w 144"/>
                <a:gd name="T27" fmla="*/ 7 h 28"/>
                <a:gd name="T28" fmla="*/ 22 w 144"/>
                <a:gd name="T29" fmla="*/ 7 h 28"/>
                <a:gd name="T30" fmla="*/ 21 w 144"/>
                <a:gd name="T31" fmla="*/ 7 h 28"/>
                <a:gd name="T32" fmla="*/ 1 w 144"/>
                <a:gd name="T33" fmla="*/ 3 h 28"/>
                <a:gd name="T34" fmla="*/ 0 w 144"/>
                <a:gd name="T35" fmla="*/ 3 h 28"/>
                <a:gd name="T36" fmla="*/ 41 w 144"/>
                <a:gd name="T37" fmla="*/ 10 h 28"/>
                <a:gd name="T38" fmla="*/ 40 w 144"/>
                <a:gd name="T39" fmla="*/ 9 h 28"/>
                <a:gd name="T40" fmla="*/ 40 w 144"/>
                <a:gd name="T41" fmla="*/ 8 h 28"/>
                <a:gd name="T42" fmla="*/ 41 w 144"/>
                <a:gd name="T43" fmla="*/ 7 h 28"/>
                <a:gd name="T44" fmla="*/ 42 w 144"/>
                <a:gd name="T45" fmla="*/ 7 h 28"/>
                <a:gd name="T46" fmla="*/ 62 w 144"/>
                <a:gd name="T47" fmla="*/ 11 h 28"/>
                <a:gd name="T48" fmla="*/ 63 w 144"/>
                <a:gd name="T49" fmla="*/ 11 h 28"/>
                <a:gd name="T50" fmla="*/ 63 w 144"/>
                <a:gd name="T51" fmla="*/ 13 h 28"/>
                <a:gd name="T52" fmla="*/ 62 w 144"/>
                <a:gd name="T53" fmla="*/ 14 h 28"/>
                <a:gd name="T54" fmla="*/ 61 w 144"/>
                <a:gd name="T55" fmla="*/ 14 h 28"/>
                <a:gd name="T56" fmla="*/ 41 w 144"/>
                <a:gd name="T57" fmla="*/ 10 h 28"/>
                <a:gd name="T58" fmla="*/ 41 w 144"/>
                <a:gd name="T59" fmla="*/ 10 h 28"/>
                <a:gd name="T60" fmla="*/ 81 w 144"/>
                <a:gd name="T61" fmla="*/ 17 h 28"/>
                <a:gd name="T62" fmla="*/ 80 w 144"/>
                <a:gd name="T63" fmla="*/ 16 h 28"/>
                <a:gd name="T64" fmla="*/ 80 w 144"/>
                <a:gd name="T65" fmla="*/ 15 h 28"/>
                <a:gd name="T66" fmla="*/ 81 w 144"/>
                <a:gd name="T67" fmla="*/ 14 h 28"/>
                <a:gd name="T68" fmla="*/ 82 w 144"/>
                <a:gd name="T69" fmla="*/ 14 h 28"/>
                <a:gd name="T70" fmla="*/ 102 w 144"/>
                <a:gd name="T71" fmla="*/ 18 h 28"/>
                <a:gd name="T72" fmla="*/ 103 w 144"/>
                <a:gd name="T73" fmla="*/ 19 h 28"/>
                <a:gd name="T74" fmla="*/ 103 w 144"/>
                <a:gd name="T75" fmla="*/ 20 h 28"/>
                <a:gd name="T76" fmla="*/ 103 w 144"/>
                <a:gd name="T77" fmla="*/ 21 h 28"/>
                <a:gd name="T78" fmla="*/ 101 w 144"/>
                <a:gd name="T79" fmla="*/ 21 h 28"/>
                <a:gd name="T80" fmla="*/ 81 w 144"/>
                <a:gd name="T81" fmla="*/ 17 h 28"/>
                <a:gd name="T82" fmla="*/ 81 w 144"/>
                <a:gd name="T83" fmla="*/ 17 h 28"/>
                <a:gd name="T84" fmla="*/ 121 w 144"/>
                <a:gd name="T85" fmla="*/ 24 h 28"/>
                <a:gd name="T86" fmla="*/ 120 w 144"/>
                <a:gd name="T87" fmla="*/ 24 h 28"/>
                <a:gd name="T88" fmla="*/ 120 w 144"/>
                <a:gd name="T89" fmla="*/ 23 h 28"/>
                <a:gd name="T90" fmla="*/ 121 w 144"/>
                <a:gd name="T91" fmla="*/ 22 h 28"/>
                <a:gd name="T92" fmla="*/ 122 w 144"/>
                <a:gd name="T93" fmla="*/ 21 h 28"/>
                <a:gd name="T94" fmla="*/ 142 w 144"/>
                <a:gd name="T95" fmla="*/ 25 h 28"/>
                <a:gd name="T96" fmla="*/ 143 w 144"/>
                <a:gd name="T97" fmla="*/ 26 h 28"/>
                <a:gd name="T98" fmla="*/ 144 w 144"/>
                <a:gd name="T99" fmla="*/ 27 h 28"/>
                <a:gd name="T100" fmla="*/ 143 w 144"/>
                <a:gd name="T101" fmla="*/ 28 h 28"/>
                <a:gd name="T102" fmla="*/ 142 w 144"/>
                <a:gd name="T103" fmla="*/ 28 h 28"/>
                <a:gd name="T104" fmla="*/ 122 w 144"/>
                <a:gd name="T105" fmla="*/ 25 h 28"/>
                <a:gd name="T106" fmla="*/ 121 w 144"/>
                <a:gd name="T107" fmla="*/ 24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4" h="28">
                  <a:moveTo>
                    <a:pt x="0" y="3"/>
                  </a:moveTo>
                  <a:cubicBezTo>
                    <a:pt x="0" y="3"/>
                    <a:pt x="0" y="3"/>
                    <a:pt x="0" y="2"/>
                  </a:cubicBezTo>
                  <a:cubicBezTo>
                    <a:pt x="0" y="2"/>
                    <a:pt x="0" y="2"/>
                    <a:pt x="0" y="1"/>
                  </a:cubicBezTo>
                  <a:cubicBezTo>
                    <a:pt x="0" y="1"/>
                    <a:pt x="0" y="1"/>
                    <a:pt x="0" y="1"/>
                  </a:cubicBezTo>
                  <a:cubicBezTo>
                    <a:pt x="0" y="1"/>
                    <a:pt x="0" y="0"/>
                    <a:pt x="0" y="0"/>
                  </a:cubicBezTo>
                  <a:cubicBezTo>
                    <a:pt x="0" y="0"/>
                    <a:pt x="1" y="0"/>
                    <a:pt x="1" y="0"/>
                  </a:cubicBezTo>
                  <a:cubicBezTo>
                    <a:pt x="1" y="0"/>
                    <a:pt x="1" y="0"/>
                    <a:pt x="1" y="0"/>
                  </a:cubicBezTo>
                  <a:cubicBezTo>
                    <a:pt x="22" y="4"/>
                    <a:pt x="22" y="4"/>
                    <a:pt x="22" y="4"/>
                  </a:cubicBezTo>
                  <a:cubicBezTo>
                    <a:pt x="22" y="4"/>
                    <a:pt x="22" y="4"/>
                    <a:pt x="22" y="4"/>
                  </a:cubicBezTo>
                  <a:cubicBezTo>
                    <a:pt x="22" y="4"/>
                    <a:pt x="22" y="4"/>
                    <a:pt x="23" y="4"/>
                  </a:cubicBezTo>
                  <a:cubicBezTo>
                    <a:pt x="23" y="4"/>
                    <a:pt x="23" y="5"/>
                    <a:pt x="23" y="5"/>
                  </a:cubicBezTo>
                  <a:cubicBezTo>
                    <a:pt x="23" y="5"/>
                    <a:pt x="23" y="5"/>
                    <a:pt x="23" y="5"/>
                  </a:cubicBezTo>
                  <a:cubicBezTo>
                    <a:pt x="23" y="6"/>
                    <a:pt x="23" y="6"/>
                    <a:pt x="23" y="6"/>
                  </a:cubicBezTo>
                  <a:cubicBezTo>
                    <a:pt x="23" y="6"/>
                    <a:pt x="22" y="6"/>
                    <a:pt x="22" y="7"/>
                  </a:cubicBezTo>
                  <a:cubicBezTo>
                    <a:pt x="22" y="7"/>
                    <a:pt x="22" y="7"/>
                    <a:pt x="22" y="7"/>
                  </a:cubicBezTo>
                  <a:cubicBezTo>
                    <a:pt x="21" y="7"/>
                    <a:pt x="21" y="7"/>
                    <a:pt x="21" y="7"/>
                  </a:cubicBezTo>
                  <a:cubicBezTo>
                    <a:pt x="1" y="3"/>
                    <a:pt x="1" y="3"/>
                    <a:pt x="1" y="3"/>
                  </a:cubicBezTo>
                  <a:cubicBezTo>
                    <a:pt x="1" y="3"/>
                    <a:pt x="0" y="3"/>
                    <a:pt x="0" y="3"/>
                  </a:cubicBezTo>
                  <a:close/>
                  <a:moveTo>
                    <a:pt x="41" y="10"/>
                  </a:moveTo>
                  <a:cubicBezTo>
                    <a:pt x="40" y="10"/>
                    <a:pt x="40" y="10"/>
                    <a:pt x="40" y="9"/>
                  </a:cubicBezTo>
                  <a:cubicBezTo>
                    <a:pt x="40" y="9"/>
                    <a:pt x="40" y="8"/>
                    <a:pt x="40" y="8"/>
                  </a:cubicBezTo>
                  <a:cubicBezTo>
                    <a:pt x="40" y="8"/>
                    <a:pt x="40" y="7"/>
                    <a:pt x="41" y="7"/>
                  </a:cubicBezTo>
                  <a:cubicBezTo>
                    <a:pt x="41" y="7"/>
                    <a:pt x="41" y="7"/>
                    <a:pt x="42" y="7"/>
                  </a:cubicBezTo>
                  <a:cubicBezTo>
                    <a:pt x="62" y="11"/>
                    <a:pt x="62" y="11"/>
                    <a:pt x="62" y="11"/>
                  </a:cubicBezTo>
                  <a:cubicBezTo>
                    <a:pt x="62" y="11"/>
                    <a:pt x="63" y="11"/>
                    <a:pt x="63" y="11"/>
                  </a:cubicBezTo>
                  <a:cubicBezTo>
                    <a:pt x="63" y="12"/>
                    <a:pt x="63" y="12"/>
                    <a:pt x="63" y="13"/>
                  </a:cubicBezTo>
                  <a:cubicBezTo>
                    <a:pt x="63" y="13"/>
                    <a:pt x="63" y="13"/>
                    <a:pt x="62" y="14"/>
                  </a:cubicBezTo>
                  <a:cubicBezTo>
                    <a:pt x="62" y="14"/>
                    <a:pt x="62" y="14"/>
                    <a:pt x="61" y="14"/>
                  </a:cubicBezTo>
                  <a:cubicBezTo>
                    <a:pt x="41" y="10"/>
                    <a:pt x="41" y="10"/>
                    <a:pt x="41" y="10"/>
                  </a:cubicBezTo>
                  <a:cubicBezTo>
                    <a:pt x="41" y="10"/>
                    <a:pt x="41" y="10"/>
                    <a:pt x="41" y="10"/>
                  </a:cubicBezTo>
                  <a:close/>
                  <a:moveTo>
                    <a:pt x="81" y="17"/>
                  </a:moveTo>
                  <a:cubicBezTo>
                    <a:pt x="80" y="17"/>
                    <a:pt x="80" y="17"/>
                    <a:pt x="80" y="16"/>
                  </a:cubicBezTo>
                  <a:cubicBezTo>
                    <a:pt x="80" y="16"/>
                    <a:pt x="80" y="16"/>
                    <a:pt x="80" y="15"/>
                  </a:cubicBezTo>
                  <a:cubicBezTo>
                    <a:pt x="80" y="15"/>
                    <a:pt x="80" y="15"/>
                    <a:pt x="81" y="14"/>
                  </a:cubicBezTo>
                  <a:cubicBezTo>
                    <a:pt x="81" y="14"/>
                    <a:pt x="82" y="14"/>
                    <a:pt x="82" y="14"/>
                  </a:cubicBezTo>
                  <a:cubicBezTo>
                    <a:pt x="102" y="18"/>
                    <a:pt x="102" y="18"/>
                    <a:pt x="102" y="18"/>
                  </a:cubicBezTo>
                  <a:cubicBezTo>
                    <a:pt x="102" y="18"/>
                    <a:pt x="103" y="18"/>
                    <a:pt x="103" y="19"/>
                  </a:cubicBezTo>
                  <a:cubicBezTo>
                    <a:pt x="103" y="19"/>
                    <a:pt x="103" y="19"/>
                    <a:pt x="103" y="20"/>
                  </a:cubicBezTo>
                  <a:cubicBezTo>
                    <a:pt x="103" y="20"/>
                    <a:pt x="103" y="20"/>
                    <a:pt x="103" y="21"/>
                  </a:cubicBezTo>
                  <a:cubicBezTo>
                    <a:pt x="102" y="21"/>
                    <a:pt x="102" y="21"/>
                    <a:pt x="101" y="21"/>
                  </a:cubicBezTo>
                  <a:cubicBezTo>
                    <a:pt x="81" y="17"/>
                    <a:pt x="81" y="17"/>
                    <a:pt x="81" y="17"/>
                  </a:cubicBezTo>
                  <a:cubicBezTo>
                    <a:pt x="81" y="17"/>
                    <a:pt x="81" y="17"/>
                    <a:pt x="81" y="17"/>
                  </a:cubicBezTo>
                  <a:close/>
                  <a:moveTo>
                    <a:pt x="121" y="24"/>
                  </a:moveTo>
                  <a:cubicBezTo>
                    <a:pt x="121" y="24"/>
                    <a:pt x="120" y="24"/>
                    <a:pt x="120" y="24"/>
                  </a:cubicBezTo>
                  <a:cubicBezTo>
                    <a:pt x="120" y="23"/>
                    <a:pt x="120" y="23"/>
                    <a:pt x="120" y="23"/>
                  </a:cubicBezTo>
                  <a:cubicBezTo>
                    <a:pt x="120" y="22"/>
                    <a:pt x="121" y="22"/>
                    <a:pt x="121" y="22"/>
                  </a:cubicBezTo>
                  <a:cubicBezTo>
                    <a:pt x="121" y="21"/>
                    <a:pt x="122" y="21"/>
                    <a:pt x="122" y="21"/>
                  </a:cubicBezTo>
                  <a:cubicBezTo>
                    <a:pt x="142" y="25"/>
                    <a:pt x="142" y="25"/>
                    <a:pt x="142" y="25"/>
                  </a:cubicBezTo>
                  <a:cubicBezTo>
                    <a:pt x="143" y="25"/>
                    <a:pt x="143" y="25"/>
                    <a:pt x="143" y="26"/>
                  </a:cubicBezTo>
                  <a:cubicBezTo>
                    <a:pt x="144" y="26"/>
                    <a:pt x="144" y="26"/>
                    <a:pt x="144" y="27"/>
                  </a:cubicBezTo>
                  <a:cubicBezTo>
                    <a:pt x="143" y="27"/>
                    <a:pt x="143" y="28"/>
                    <a:pt x="143" y="28"/>
                  </a:cubicBezTo>
                  <a:cubicBezTo>
                    <a:pt x="143" y="28"/>
                    <a:pt x="142" y="28"/>
                    <a:pt x="142" y="28"/>
                  </a:cubicBezTo>
                  <a:cubicBezTo>
                    <a:pt x="122" y="25"/>
                    <a:pt x="122" y="25"/>
                    <a:pt x="122" y="25"/>
                  </a:cubicBezTo>
                  <a:cubicBezTo>
                    <a:pt x="121" y="25"/>
                    <a:pt x="121" y="24"/>
                    <a:pt x="121" y="24"/>
                  </a:cubicBezTo>
                  <a:close/>
                </a:path>
              </a:pathLst>
            </a:custGeom>
            <a:solidFill>
              <a:srgbClr val="1105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69" name="Freeform 19">
              <a:extLst>
                <a:ext uri="{FF2B5EF4-FFF2-40B4-BE49-F238E27FC236}">
                  <a16:creationId xmlns:a16="http://schemas.microsoft.com/office/drawing/2014/main" id="{FCC03A6B-6121-4413-A946-FD6EB0358F26}"/>
                </a:ext>
              </a:extLst>
            </p:cNvPr>
            <p:cNvSpPr>
              <a:spLocks/>
            </p:cNvSpPr>
            <p:nvPr/>
          </p:nvSpPr>
          <p:spPr bwMode="auto">
            <a:xfrm>
              <a:off x="5656214" y="2972454"/>
              <a:ext cx="54337" cy="63101"/>
            </a:xfrm>
            <a:custGeom>
              <a:avLst/>
              <a:gdLst>
                <a:gd name="T0" fmla="*/ 9 w 13"/>
                <a:gd name="T1" fmla="*/ 15 h 15"/>
                <a:gd name="T2" fmla="*/ 8 w 13"/>
                <a:gd name="T3" fmla="*/ 14 h 15"/>
                <a:gd name="T4" fmla="*/ 8 w 13"/>
                <a:gd name="T5" fmla="*/ 13 h 15"/>
                <a:gd name="T6" fmla="*/ 10 w 13"/>
                <a:gd name="T7" fmla="*/ 5 h 15"/>
                <a:gd name="T8" fmla="*/ 2 w 13"/>
                <a:gd name="T9" fmla="*/ 4 h 15"/>
                <a:gd name="T10" fmla="*/ 1 w 13"/>
                <a:gd name="T11" fmla="*/ 4 h 15"/>
                <a:gd name="T12" fmla="*/ 1 w 13"/>
                <a:gd name="T13" fmla="*/ 3 h 15"/>
                <a:gd name="T14" fmla="*/ 0 w 13"/>
                <a:gd name="T15" fmla="*/ 2 h 15"/>
                <a:gd name="T16" fmla="*/ 0 w 13"/>
                <a:gd name="T17" fmla="*/ 2 h 15"/>
                <a:gd name="T18" fmla="*/ 1 w 13"/>
                <a:gd name="T19" fmla="*/ 1 h 15"/>
                <a:gd name="T20" fmla="*/ 1 w 13"/>
                <a:gd name="T21" fmla="*/ 1 h 15"/>
                <a:gd name="T22" fmla="*/ 2 w 13"/>
                <a:gd name="T23" fmla="*/ 1 h 15"/>
                <a:gd name="T24" fmla="*/ 2 w 13"/>
                <a:gd name="T25" fmla="*/ 1 h 15"/>
                <a:gd name="T26" fmla="*/ 13 w 13"/>
                <a:gd name="T27" fmla="*/ 2 h 15"/>
                <a:gd name="T28" fmla="*/ 11 w 13"/>
                <a:gd name="T29" fmla="*/ 13 h 15"/>
                <a:gd name="T30" fmla="*/ 11 w 13"/>
                <a:gd name="T31" fmla="*/ 14 h 15"/>
                <a:gd name="T32" fmla="*/ 9 w 13"/>
                <a:gd name="T33" fmla="*/ 15 h 15"/>
                <a:gd name="T34" fmla="*/ 9 w 13"/>
                <a:gd name="T35"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 h="15">
                  <a:moveTo>
                    <a:pt x="9" y="15"/>
                  </a:moveTo>
                  <a:cubicBezTo>
                    <a:pt x="9" y="14"/>
                    <a:pt x="8" y="14"/>
                    <a:pt x="8" y="14"/>
                  </a:cubicBezTo>
                  <a:cubicBezTo>
                    <a:pt x="8" y="14"/>
                    <a:pt x="8" y="13"/>
                    <a:pt x="8" y="13"/>
                  </a:cubicBezTo>
                  <a:cubicBezTo>
                    <a:pt x="10" y="5"/>
                    <a:pt x="10" y="5"/>
                    <a:pt x="10" y="5"/>
                  </a:cubicBezTo>
                  <a:cubicBezTo>
                    <a:pt x="2" y="4"/>
                    <a:pt x="2" y="4"/>
                    <a:pt x="2" y="4"/>
                  </a:cubicBezTo>
                  <a:cubicBezTo>
                    <a:pt x="2" y="4"/>
                    <a:pt x="1" y="4"/>
                    <a:pt x="1" y="4"/>
                  </a:cubicBezTo>
                  <a:cubicBezTo>
                    <a:pt x="1" y="3"/>
                    <a:pt x="1" y="3"/>
                    <a:pt x="1" y="3"/>
                  </a:cubicBezTo>
                  <a:cubicBezTo>
                    <a:pt x="1" y="3"/>
                    <a:pt x="0" y="3"/>
                    <a:pt x="0" y="2"/>
                  </a:cubicBezTo>
                  <a:cubicBezTo>
                    <a:pt x="0" y="2"/>
                    <a:pt x="0" y="2"/>
                    <a:pt x="0" y="2"/>
                  </a:cubicBezTo>
                  <a:cubicBezTo>
                    <a:pt x="0" y="2"/>
                    <a:pt x="1" y="1"/>
                    <a:pt x="1" y="1"/>
                  </a:cubicBezTo>
                  <a:cubicBezTo>
                    <a:pt x="1" y="1"/>
                    <a:pt x="1" y="1"/>
                    <a:pt x="1" y="1"/>
                  </a:cubicBezTo>
                  <a:cubicBezTo>
                    <a:pt x="1" y="1"/>
                    <a:pt x="1" y="1"/>
                    <a:pt x="2" y="1"/>
                  </a:cubicBezTo>
                  <a:cubicBezTo>
                    <a:pt x="2" y="0"/>
                    <a:pt x="2" y="0"/>
                    <a:pt x="2" y="1"/>
                  </a:cubicBezTo>
                  <a:cubicBezTo>
                    <a:pt x="13" y="2"/>
                    <a:pt x="13" y="2"/>
                    <a:pt x="13" y="2"/>
                  </a:cubicBezTo>
                  <a:cubicBezTo>
                    <a:pt x="11" y="13"/>
                    <a:pt x="11" y="13"/>
                    <a:pt x="11" y="13"/>
                  </a:cubicBezTo>
                  <a:cubicBezTo>
                    <a:pt x="11" y="14"/>
                    <a:pt x="11" y="14"/>
                    <a:pt x="11" y="14"/>
                  </a:cubicBezTo>
                  <a:cubicBezTo>
                    <a:pt x="10" y="15"/>
                    <a:pt x="10" y="15"/>
                    <a:pt x="9" y="15"/>
                  </a:cubicBezTo>
                  <a:cubicBezTo>
                    <a:pt x="9" y="15"/>
                    <a:pt x="9" y="15"/>
                    <a:pt x="9" y="15"/>
                  </a:cubicBezTo>
                  <a:close/>
                </a:path>
              </a:pathLst>
            </a:custGeom>
            <a:solidFill>
              <a:srgbClr val="1105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70" name="Freeform 20">
              <a:extLst>
                <a:ext uri="{FF2B5EF4-FFF2-40B4-BE49-F238E27FC236}">
                  <a16:creationId xmlns:a16="http://schemas.microsoft.com/office/drawing/2014/main" id="{35F34117-BB49-4543-8284-9028E468AC25}"/>
                </a:ext>
              </a:extLst>
            </p:cNvPr>
            <p:cNvSpPr>
              <a:spLocks noEditPoints="1"/>
            </p:cNvSpPr>
            <p:nvPr/>
          </p:nvSpPr>
          <p:spPr bwMode="auto">
            <a:xfrm>
              <a:off x="5605383" y="3098655"/>
              <a:ext cx="84134" cy="404897"/>
            </a:xfrm>
            <a:custGeom>
              <a:avLst/>
              <a:gdLst>
                <a:gd name="T0" fmla="*/ 1 w 20"/>
                <a:gd name="T1" fmla="*/ 96 h 97"/>
                <a:gd name="T2" fmla="*/ 0 w 20"/>
                <a:gd name="T3" fmla="*/ 96 h 97"/>
                <a:gd name="T4" fmla="*/ 0 w 20"/>
                <a:gd name="T5" fmla="*/ 95 h 97"/>
                <a:gd name="T6" fmla="*/ 4 w 20"/>
                <a:gd name="T7" fmla="*/ 76 h 97"/>
                <a:gd name="T8" fmla="*/ 4 w 20"/>
                <a:gd name="T9" fmla="*/ 75 h 97"/>
                <a:gd name="T10" fmla="*/ 4 w 20"/>
                <a:gd name="T11" fmla="*/ 75 h 97"/>
                <a:gd name="T12" fmla="*/ 5 w 20"/>
                <a:gd name="T13" fmla="*/ 75 h 97"/>
                <a:gd name="T14" fmla="*/ 6 w 20"/>
                <a:gd name="T15" fmla="*/ 75 h 97"/>
                <a:gd name="T16" fmla="*/ 7 w 20"/>
                <a:gd name="T17" fmla="*/ 75 h 97"/>
                <a:gd name="T18" fmla="*/ 7 w 20"/>
                <a:gd name="T19" fmla="*/ 77 h 97"/>
                <a:gd name="T20" fmla="*/ 4 w 20"/>
                <a:gd name="T21" fmla="*/ 95 h 97"/>
                <a:gd name="T22" fmla="*/ 3 w 20"/>
                <a:gd name="T23" fmla="*/ 96 h 97"/>
                <a:gd name="T24" fmla="*/ 3 w 20"/>
                <a:gd name="T25" fmla="*/ 96 h 97"/>
                <a:gd name="T26" fmla="*/ 2 w 20"/>
                <a:gd name="T27" fmla="*/ 97 h 97"/>
                <a:gd name="T28" fmla="*/ 2 w 20"/>
                <a:gd name="T29" fmla="*/ 97 h 97"/>
                <a:gd name="T30" fmla="*/ 1 w 20"/>
                <a:gd name="T31" fmla="*/ 96 h 97"/>
                <a:gd name="T32" fmla="*/ 8 w 20"/>
                <a:gd name="T33" fmla="*/ 59 h 97"/>
                <a:gd name="T34" fmla="*/ 7 w 20"/>
                <a:gd name="T35" fmla="*/ 58 h 97"/>
                <a:gd name="T36" fmla="*/ 7 w 20"/>
                <a:gd name="T37" fmla="*/ 57 h 97"/>
                <a:gd name="T38" fmla="*/ 10 w 20"/>
                <a:gd name="T39" fmla="*/ 39 h 97"/>
                <a:gd name="T40" fmla="*/ 10 w 20"/>
                <a:gd name="T41" fmla="*/ 38 h 97"/>
                <a:gd name="T42" fmla="*/ 11 w 20"/>
                <a:gd name="T43" fmla="*/ 38 h 97"/>
                <a:gd name="T44" fmla="*/ 11 w 20"/>
                <a:gd name="T45" fmla="*/ 38 h 97"/>
                <a:gd name="T46" fmla="*/ 12 w 20"/>
                <a:gd name="T47" fmla="*/ 38 h 97"/>
                <a:gd name="T48" fmla="*/ 13 w 20"/>
                <a:gd name="T49" fmla="*/ 38 h 97"/>
                <a:gd name="T50" fmla="*/ 13 w 20"/>
                <a:gd name="T51" fmla="*/ 38 h 97"/>
                <a:gd name="T52" fmla="*/ 13 w 20"/>
                <a:gd name="T53" fmla="*/ 39 h 97"/>
                <a:gd name="T54" fmla="*/ 13 w 20"/>
                <a:gd name="T55" fmla="*/ 39 h 97"/>
                <a:gd name="T56" fmla="*/ 10 w 20"/>
                <a:gd name="T57" fmla="*/ 58 h 97"/>
                <a:gd name="T58" fmla="*/ 9 w 20"/>
                <a:gd name="T59" fmla="*/ 59 h 97"/>
                <a:gd name="T60" fmla="*/ 8 w 20"/>
                <a:gd name="T61" fmla="*/ 59 h 97"/>
                <a:gd name="T62" fmla="*/ 8 w 20"/>
                <a:gd name="T63" fmla="*/ 59 h 97"/>
                <a:gd name="T64" fmla="*/ 14 w 20"/>
                <a:gd name="T65" fmla="*/ 22 h 97"/>
                <a:gd name="T66" fmla="*/ 14 w 20"/>
                <a:gd name="T67" fmla="*/ 21 h 97"/>
                <a:gd name="T68" fmla="*/ 13 w 20"/>
                <a:gd name="T69" fmla="*/ 20 h 97"/>
                <a:gd name="T70" fmla="*/ 17 w 20"/>
                <a:gd name="T71" fmla="*/ 2 h 97"/>
                <a:gd name="T72" fmla="*/ 17 w 20"/>
                <a:gd name="T73" fmla="*/ 1 h 97"/>
                <a:gd name="T74" fmla="*/ 17 w 20"/>
                <a:gd name="T75" fmla="*/ 1 h 97"/>
                <a:gd name="T76" fmla="*/ 18 w 20"/>
                <a:gd name="T77" fmla="*/ 0 h 97"/>
                <a:gd name="T78" fmla="*/ 19 w 20"/>
                <a:gd name="T79" fmla="*/ 0 h 97"/>
                <a:gd name="T80" fmla="*/ 19 w 20"/>
                <a:gd name="T81" fmla="*/ 1 h 97"/>
                <a:gd name="T82" fmla="*/ 20 w 20"/>
                <a:gd name="T83" fmla="*/ 1 h 97"/>
                <a:gd name="T84" fmla="*/ 20 w 20"/>
                <a:gd name="T85" fmla="*/ 2 h 97"/>
                <a:gd name="T86" fmla="*/ 20 w 20"/>
                <a:gd name="T87" fmla="*/ 2 h 97"/>
                <a:gd name="T88" fmla="*/ 17 w 20"/>
                <a:gd name="T89" fmla="*/ 21 h 97"/>
                <a:gd name="T90" fmla="*/ 16 w 20"/>
                <a:gd name="T91" fmla="*/ 22 h 97"/>
                <a:gd name="T92" fmla="*/ 15 w 20"/>
                <a:gd name="T93" fmla="*/ 22 h 97"/>
                <a:gd name="T94" fmla="*/ 14 w 20"/>
                <a:gd name="T95" fmla="*/ 22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0" h="97">
                  <a:moveTo>
                    <a:pt x="1" y="96"/>
                  </a:moveTo>
                  <a:cubicBezTo>
                    <a:pt x="1" y="96"/>
                    <a:pt x="1" y="96"/>
                    <a:pt x="0" y="96"/>
                  </a:cubicBezTo>
                  <a:cubicBezTo>
                    <a:pt x="0" y="95"/>
                    <a:pt x="0" y="95"/>
                    <a:pt x="0" y="95"/>
                  </a:cubicBezTo>
                  <a:cubicBezTo>
                    <a:pt x="4" y="76"/>
                    <a:pt x="4" y="76"/>
                    <a:pt x="4" y="76"/>
                  </a:cubicBezTo>
                  <a:cubicBezTo>
                    <a:pt x="4" y="76"/>
                    <a:pt x="4" y="76"/>
                    <a:pt x="4" y="75"/>
                  </a:cubicBezTo>
                  <a:cubicBezTo>
                    <a:pt x="4" y="75"/>
                    <a:pt x="4" y="75"/>
                    <a:pt x="4" y="75"/>
                  </a:cubicBezTo>
                  <a:cubicBezTo>
                    <a:pt x="4" y="75"/>
                    <a:pt x="5" y="75"/>
                    <a:pt x="5" y="75"/>
                  </a:cubicBezTo>
                  <a:cubicBezTo>
                    <a:pt x="5" y="75"/>
                    <a:pt x="5" y="75"/>
                    <a:pt x="6" y="75"/>
                  </a:cubicBezTo>
                  <a:cubicBezTo>
                    <a:pt x="6" y="75"/>
                    <a:pt x="6" y="75"/>
                    <a:pt x="7" y="75"/>
                  </a:cubicBezTo>
                  <a:cubicBezTo>
                    <a:pt x="7" y="76"/>
                    <a:pt x="7" y="76"/>
                    <a:pt x="7" y="77"/>
                  </a:cubicBezTo>
                  <a:cubicBezTo>
                    <a:pt x="4" y="95"/>
                    <a:pt x="4" y="95"/>
                    <a:pt x="4" y="95"/>
                  </a:cubicBezTo>
                  <a:cubicBezTo>
                    <a:pt x="3" y="95"/>
                    <a:pt x="3" y="96"/>
                    <a:pt x="3" y="96"/>
                  </a:cubicBezTo>
                  <a:cubicBezTo>
                    <a:pt x="3" y="96"/>
                    <a:pt x="3" y="96"/>
                    <a:pt x="3" y="96"/>
                  </a:cubicBezTo>
                  <a:cubicBezTo>
                    <a:pt x="3" y="96"/>
                    <a:pt x="2" y="97"/>
                    <a:pt x="2" y="97"/>
                  </a:cubicBezTo>
                  <a:cubicBezTo>
                    <a:pt x="2" y="97"/>
                    <a:pt x="2" y="97"/>
                    <a:pt x="2" y="97"/>
                  </a:cubicBezTo>
                  <a:cubicBezTo>
                    <a:pt x="1" y="97"/>
                    <a:pt x="1" y="96"/>
                    <a:pt x="1" y="96"/>
                  </a:cubicBezTo>
                  <a:close/>
                  <a:moveTo>
                    <a:pt x="8" y="59"/>
                  </a:moveTo>
                  <a:cubicBezTo>
                    <a:pt x="7" y="59"/>
                    <a:pt x="7" y="59"/>
                    <a:pt x="7" y="58"/>
                  </a:cubicBezTo>
                  <a:cubicBezTo>
                    <a:pt x="7" y="58"/>
                    <a:pt x="7" y="58"/>
                    <a:pt x="7" y="57"/>
                  </a:cubicBezTo>
                  <a:cubicBezTo>
                    <a:pt x="10" y="39"/>
                    <a:pt x="10" y="39"/>
                    <a:pt x="10" y="39"/>
                  </a:cubicBezTo>
                  <a:cubicBezTo>
                    <a:pt x="10" y="39"/>
                    <a:pt x="10" y="38"/>
                    <a:pt x="10" y="38"/>
                  </a:cubicBezTo>
                  <a:cubicBezTo>
                    <a:pt x="11" y="38"/>
                    <a:pt x="11" y="38"/>
                    <a:pt x="11" y="38"/>
                  </a:cubicBezTo>
                  <a:cubicBezTo>
                    <a:pt x="11" y="38"/>
                    <a:pt x="11" y="38"/>
                    <a:pt x="11" y="38"/>
                  </a:cubicBezTo>
                  <a:cubicBezTo>
                    <a:pt x="12" y="37"/>
                    <a:pt x="12" y="37"/>
                    <a:pt x="12" y="38"/>
                  </a:cubicBezTo>
                  <a:cubicBezTo>
                    <a:pt x="12" y="38"/>
                    <a:pt x="12" y="38"/>
                    <a:pt x="13" y="38"/>
                  </a:cubicBezTo>
                  <a:cubicBezTo>
                    <a:pt x="13" y="38"/>
                    <a:pt x="13" y="38"/>
                    <a:pt x="13" y="38"/>
                  </a:cubicBezTo>
                  <a:cubicBezTo>
                    <a:pt x="13" y="38"/>
                    <a:pt x="13" y="39"/>
                    <a:pt x="13" y="39"/>
                  </a:cubicBezTo>
                  <a:cubicBezTo>
                    <a:pt x="13" y="39"/>
                    <a:pt x="13" y="39"/>
                    <a:pt x="13" y="39"/>
                  </a:cubicBezTo>
                  <a:cubicBezTo>
                    <a:pt x="10" y="58"/>
                    <a:pt x="10" y="58"/>
                    <a:pt x="10" y="58"/>
                  </a:cubicBezTo>
                  <a:cubicBezTo>
                    <a:pt x="10" y="58"/>
                    <a:pt x="10" y="59"/>
                    <a:pt x="9" y="59"/>
                  </a:cubicBezTo>
                  <a:cubicBezTo>
                    <a:pt x="9" y="59"/>
                    <a:pt x="9" y="59"/>
                    <a:pt x="8" y="59"/>
                  </a:cubicBezTo>
                  <a:cubicBezTo>
                    <a:pt x="8" y="59"/>
                    <a:pt x="8" y="59"/>
                    <a:pt x="8" y="59"/>
                  </a:cubicBezTo>
                  <a:close/>
                  <a:moveTo>
                    <a:pt x="14" y="22"/>
                  </a:moveTo>
                  <a:cubicBezTo>
                    <a:pt x="14" y="22"/>
                    <a:pt x="14" y="22"/>
                    <a:pt x="14" y="21"/>
                  </a:cubicBezTo>
                  <a:cubicBezTo>
                    <a:pt x="13" y="21"/>
                    <a:pt x="13" y="21"/>
                    <a:pt x="13" y="20"/>
                  </a:cubicBezTo>
                  <a:cubicBezTo>
                    <a:pt x="17" y="2"/>
                    <a:pt x="17" y="2"/>
                    <a:pt x="17" y="2"/>
                  </a:cubicBezTo>
                  <a:cubicBezTo>
                    <a:pt x="17" y="1"/>
                    <a:pt x="17" y="1"/>
                    <a:pt x="17" y="1"/>
                  </a:cubicBezTo>
                  <a:cubicBezTo>
                    <a:pt x="17" y="1"/>
                    <a:pt x="17" y="1"/>
                    <a:pt x="17" y="1"/>
                  </a:cubicBezTo>
                  <a:cubicBezTo>
                    <a:pt x="18" y="1"/>
                    <a:pt x="18" y="0"/>
                    <a:pt x="18" y="0"/>
                  </a:cubicBezTo>
                  <a:cubicBezTo>
                    <a:pt x="18" y="0"/>
                    <a:pt x="18" y="0"/>
                    <a:pt x="19" y="0"/>
                  </a:cubicBezTo>
                  <a:cubicBezTo>
                    <a:pt x="19" y="0"/>
                    <a:pt x="19" y="0"/>
                    <a:pt x="19" y="1"/>
                  </a:cubicBezTo>
                  <a:cubicBezTo>
                    <a:pt x="19" y="1"/>
                    <a:pt x="20" y="1"/>
                    <a:pt x="20" y="1"/>
                  </a:cubicBezTo>
                  <a:cubicBezTo>
                    <a:pt x="20" y="1"/>
                    <a:pt x="20" y="1"/>
                    <a:pt x="20" y="2"/>
                  </a:cubicBezTo>
                  <a:cubicBezTo>
                    <a:pt x="20" y="2"/>
                    <a:pt x="20" y="2"/>
                    <a:pt x="20" y="2"/>
                  </a:cubicBezTo>
                  <a:cubicBezTo>
                    <a:pt x="17" y="21"/>
                    <a:pt x="17" y="21"/>
                    <a:pt x="17" y="21"/>
                  </a:cubicBezTo>
                  <a:cubicBezTo>
                    <a:pt x="17" y="21"/>
                    <a:pt x="16" y="22"/>
                    <a:pt x="16" y="22"/>
                  </a:cubicBezTo>
                  <a:cubicBezTo>
                    <a:pt x="16" y="22"/>
                    <a:pt x="15" y="22"/>
                    <a:pt x="15" y="22"/>
                  </a:cubicBezTo>
                  <a:cubicBezTo>
                    <a:pt x="15" y="22"/>
                    <a:pt x="14" y="22"/>
                    <a:pt x="14" y="22"/>
                  </a:cubicBezTo>
                  <a:close/>
                </a:path>
              </a:pathLst>
            </a:custGeom>
            <a:solidFill>
              <a:srgbClr val="1105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71" name="Freeform 21">
              <a:extLst>
                <a:ext uri="{FF2B5EF4-FFF2-40B4-BE49-F238E27FC236}">
                  <a16:creationId xmlns:a16="http://schemas.microsoft.com/office/drawing/2014/main" id="{C2C1AC5A-6689-4BFC-A453-36F4A595C666}"/>
                </a:ext>
              </a:extLst>
            </p:cNvPr>
            <p:cNvSpPr>
              <a:spLocks/>
            </p:cNvSpPr>
            <p:nvPr/>
          </p:nvSpPr>
          <p:spPr bwMode="auto">
            <a:xfrm>
              <a:off x="5218015" y="1962843"/>
              <a:ext cx="1510911" cy="3279484"/>
            </a:xfrm>
            <a:custGeom>
              <a:avLst/>
              <a:gdLst>
                <a:gd name="T0" fmla="*/ 325 w 362"/>
                <a:gd name="T1" fmla="*/ 0 h 786"/>
                <a:gd name="T2" fmla="*/ 37 w 362"/>
                <a:gd name="T3" fmla="*/ 0 h 786"/>
                <a:gd name="T4" fmla="*/ 0 w 362"/>
                <a:gd name="T5" fmla="*/ 37 h 786"/>
                <a:gd name="T6" fmla="*/ 0 w 362"/>
                <a:gd name="T7" fmla="*/ 748 h 786"/>
                <a:gd name="T8" fmla="*/ 37 w 362"/>
                <a:gd name="T9" fmla="*/ 786 h 786"/>
                <a:gd name="T10" fmla="*/ 325 w 362"/>
                <a:gd name="T11" fmla="*/ 786 h 786"/>
                <a:gd name="T12" fmla="*/ 362 w 362"/>
                <a:gd name="T13" fmla="*/ 748 h 786"/>
                <a:gd name="T14" fmla="*/ 362 w 362"/>
                <a:gd name="T15" fmla="*/ 37 h 786"/>
                <a:gd name="T16" fmla="*/ 325 w 362"/>
                <a:gd name="T17" fmla="*/ 0 h 7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2" h="786">
                  <a:moveTo>
                    <a:pt x="325" y="0"/>
                  </a:moveTo>
                  <a:cubicBezTo>
                    <a:pt x="37" y="0"/>
                    <a:pt x="37" y="0"/>
                    <a:pt x="37" y="0"/>
                  </a:cubicBezTo>
                  <a:cubicBezTo>
                    <a:pt x="16" y="0"/>
                    <a:pt x="0" y="17"/>
                    <a:pt x="0" y="37"/>
                  </a:cubicBezTo>
                  <a:cubicBezTo>
                    <a:pt x="0" y="748"/>
                    <a:pt x="0" y="748"/>
                    <a:pt x="0" y="748"/>
                  </a:cubicBezTo>
                  <a:cubicBezTo>
                    <a:pt x="0" y="769"/>
                    <a:pt x="16" y="786"/>
                    <a:pt x="37" y="786"/>
                  </a:cubicBezTo>
                  <a:cubicBezTo>
                    <a:pt x="325" y="786"/>
                    <a:pt x="325" y="786"/>
                    <a:pt x="325" y="786"/>
                  </a:cubicBezTo>
                  <a:cubicBezTo>
                    <a:pt x="346" y="786"/>
                    <a:pt x="362" y="769"/>
                    <a:pt x="362" y="748"/>
                  </a:cubicBezTo>
                  <a:cubicBezTo>
                    <a:pt x="362" y="37"/>
                    <a:pt x="362" y="37"/>
                    <a:pt x="362" y="37"/>
                  </a:cubicBezTo>
                  <a:cubicBezTo>
                    <a:pt x="362" y="17"/>
                    <a:pt x="346" y="0"/>
                    <a:pt x="325"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72" name="Freeform 22">
              <a:extLst>
                <a:ext uri="{FF2B5EF4-FFF2-40B4-BE49-F238E27FC236}">
                  <a16:creationId xmlns:a16="http://schemas.microsoft.com/office/drawing/2014/main" id="{BC02C811-D4FA-4669-9F04-BE7F99864984}"/>
                </a:ext>
              </a:extLst>
            </p:cNvPr>
            <p:cNvSpPr>
              <a:spLocks noEditPoints="1"/>
            </p:cNvSpPr>
            <p:nvPr/>
          </p:nvSpPr>
          <p:spPr bwMode="auto">
            <a:xfrm>
              <a:off x="5151409" y="1905000"/>
              <a:ext cx="1644124" cy="3400426"/>
            </a:xfrm>
            <a:custGeom>
              <a:avLst/>
              <a:gdLst>
                <a:gd name="T0" fmla="*/ 345 w 394"/>
                <a:gd name="T1" fmla="*/ 0 h 815"/>
                <a:gd name="T2" fmla="*/ 49 w 394"/>
                <a:gd name="T3" fmla="*/ 0 h 815"/>
                <a:gd name="T4" fmla="*/ 14 w 394"/>
                <a:gd name="T5" fmla="*/ 15 h 815"/>
                <a:gd name="T6" fmla="*/ 0 w 394"/>
                <a:gd name="T7" fmla="*/ 50 h 815"/>
                <a:gd name="T8" fmla="*/ 0 w 394"/>
                <a:gd name="T9" fmla="*/ 766 h 815"/>
                <a:gd name="T10" fmla="*/ 14 w 394"/>
                <a:gd name="T11" fmla="*/ 801 h 815"/>
                <a:gd name="T12" fmla="*/ 49 w 394"/>
                <a:gd name="T13" fmla="*/ 815 h 815"/>
                <a:gd name="T14" fmla="*/ 345 w 394"/>
                <a:gd name="T15" fmla="*/ 815 h 815"/>
                <a:gd name="T16" fmla="*/ 380 w 394"/>
                <a:gd name="T17" fmla="*/ 801 h 815"/>
                <a:gd name="T18" fmla="*/ 394 w 394"/>
                <a:gd name="T19" fmla="*/ 766 h 815"/>
                <a:gd name="T20" fmla="*/ 394 w 394"/>
                <a:gd name="T21" fmla="*/ 50 h 815"/>
                <a:gd name="T22" fmla="*/ 380 w 394"/>
                <a:gd name="T23" fmla="*/ 15 h 815"/>
                <a:gd name="T24" fmla="*/ 345 w 394"/>
                <a:gd name="T25" fmla="*/ 0 h 815"/>
                <a:gd name="T26" fmla="*/ 378 w 394"/>
                <a:gd name="T27" fmla="*/ 763 h 815"/>
                <a:gd name="T28" fmla="*/ 368 w 394"/>
                <a:gd name="T29" fmla="*/ 790 h 815"/>
                <a:gd name="T30" fmla="*/ 341 w 394"/>
                <a:gd name="T31" fmla="*/ 800 h 815"/>
                <a:gd name="T32" fmla="*/ 53 w 394"/>
                <a:gd name="T33" fmla="*/ 800 h 815"/>
                <a:gd name="T34" fmla="*/ 27 w 394"/>
                <a:gd name="T35" fmla="*/ 790 h 815"/>
                <a:gd name="T36" fmla="*/ 16 w 394"/>
                <a:gd name="T37" fmla="*/ 763 h 815"/>
                <a:gd name="T38" fmla="*/ 16 w 394"/>
                <a:gd name="T39" fmla="*/ 52 h 815"/>
                <a:gd name="T40" fmla="*/ 27 w 394"/>
                <a:gd name="T41" fmla="*/ 26 h 815"/>
                <a:gd name="T42" fmla="*/ 53 w 394"/>
                <a:gd name="T43" fmla="*/ 15 h 815"/>
                <a:gd name="T44" fmla="*/ 89 w 394"/>
                <a:gd name="T45" fmla="*/ 15 h 815"/>
                <a:gd name="T46" fmla="*/ 94 w 394"/>
                <a:gd name="T47" fmla="*/ 17 h 815"/>
                <a:gd name="T48" fmla="*/ 97 w 394"/>
                <a:gd name="T49" fmla="*/ 22 h 815"/>
                <a:gd name="T50" fmla="*/ 97 w 394"/>
                <a:gd name="T51" fmla="*/ 25 h 815"/>
                <a:gd name="T52" fmla="*/ 102 w 394"/>
                <a:gd name="T53" fmla="*/ 39 h 815"/>
                <a:gd name="T54" fmla="*/ 116 w 394"/>
                <a:gd name="T55" fmla="*/ 45 h 815"/>
                <a:gd name="T56" fmla="*/ 278 w 394"/>
                <a:gd name="T57" fmla="*/ 45 h 815"/>
                <a:gd name="T58" fmla="*/ 286 w 394"/>
                <a:gd name="T59" fmla="*/ 43 h 815"/>
                <a:gd name="T60" fmla="*/ 292 w 394"/>
                <a:gd name="T61" fmla="*/ 39 h 815"/>
                <a:gd name="T62" fmla="*/ 296 w 394"/>
                <a:gd name="T63" fmla="*/ 33 h 815"/>
                <a:gd name="T64" fmla="*/ 298 w 394"/>
                <a:gd name="T65" fmla="*/ 25 h 815"/>
                <a:gd name="T66" fmla="*/ 298 w 394"/>
                <a:gd name="T67" fmla="*/ 22 h 815"/>
                <a:gd name="T68" fmla="*/ 300 w 394"/>
                <a:gd name="T69" fmla="*/ 17 h 815"/>
                <a:gd name="T70" fmla="*/ 305 w 394"/>
                <a:gd name="T71" fmla="*/ 15 h 815"/>
                <a:gd name="T72" fmla="*/ 341 w 394"/>
                <a:gd name="T73" fmla="*/ 15 h 815"/>
                <a:gd name="T74" fmla="*/ 368 w 394"/>
                <a:gd name="T75" fmla="*/ 26 h 815"/>
                <a:gd name="T76" fmla="*/ 378 w 394"/>
                <a:gd name="T77" fmla="*/ 52 h 815"/>
                <a:gd name="T78" fmla="*/ 378 w 394"/>
                <a:gd name="T79" fmla="*/ 763 h 8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94" h="815">
                  <a:moveTo>
                    <a:pt x="345" y="0"/>
                  </a:moveTo>
                  <a:cubicBezTo>
                    <a:pt x="49" y="0"/>
                    <a:pt x="49" y="0"/>
                    <a:pt x="49" y="0"/>
                  </a:cubicBezTo>
                  <a:cubicBezTo>
                    <a:pt x="36" y="1"/>
                    <a:pt x="24" y="6"/>
                    <a:pt x="14" y="15"/>
                  </a:cubicBezTo>
                  <a:cubicBezTo>
                    <a:pt x="5" y="24"/>
                    <a:pt x="0" y="37"/>
                    <a:pt x="0" y="50"/>
                  </a:cubicBezTo>
                  <a:cubicBezTo>
                    <a:pt x="0" y="766"/>
                    <a:pt x="0" y="766"/>
                    <a:pt x="0" y="766"/>
                  </a:cubicBezTo>
                  <a:cubicBezTo>
                    <a:pt x="0" y="779"/>
                    <a:pt x="5" y="791"/>
                    <a:pt x="14" y="801"/>
                  </a:cubicBezTo>
                  <a:cubicBezTo>
                    <a:pt x="24" y="810"/>
                    <a:pt x="36" y="815"/>
                    <a:pt x="49" y="815"/>
                  </a:cubicBezTo>
                  <a:cubicBezTo>
                    <a:pt x="345" y="815"/>
                    <a:pt x="345" y="815"/>
                    <a:pt x="345" y="815"/>
                  </a:cubicBezTo>
                  <a:cubicBezTo>
                    <a:pt x="358" y="815"/>
                    <a:pt x="370" y="810"/>
                    <a:pt x="380" y="801"/>
                  </a:cubicBezTo>
                  <a:cubicBezTo>
                    <a:pt x="389" y="791"/>
                    <a:pt x="394" y="779"/>
                    <a:pt x="394" y="766"/>
                  </a:cubicBezTo>
                  <a:cubicBezTo>
                    <a:pt x="394" y="50"/>
                    <a:pt x="394" y="50"/>
                    <a:pt x="394" y="50"/>
                  </a:cubicBezTo>
                  <a:cubicBezTo>
                    <a:pt x="394" y="37"/>
                    <a:pt x="389" y="24"/>
                    <a:pt x="380" y="15"/>
                  </a:cubicBezTo>
                  <a:cubicBezTo>
                    <a:pt x="370" y="6"/>
                    <a:pt x="358" y="0"/>
                    <a:pt x="345" y="0"/>
                  </a:cubicBezTo>
                  <a:close/>
                  <a:moveTo>
                    <a:pt x="378" y="763"/>
                  </a:moveTo>
                  <a:cubicBezTo>
                    <a:pt x="378" y="773"/>
                    <a:pt x="375" y="783"/>
                    <a:pt x="368" y="790"/>
                  </a:cubicBezTo>
                  <a:cubicBezTo>
                    <a:pt x="361" y="797"/>
                    <a:pt x="351" y="800"/>
                    <a:pt x="341" y="800"/>
                  </a:cubicBezTo>
                  <a:cubicBezTo>
                    <a:pt x="53" y="800"/>
                    <a:pt x="53" y="800"/>
                    <a:pt x="53" y="800"/>
                  </a:cubicBezTo>
                  <a:cubicBezTo>
                    <a:pt x="43" y="800"/>
                    <a:pt x="33" y="797"/>
                    <a:pt x="27" y="790"/>
                  </a:cubicBezTo>
                  <a:cubicBezTo>
                    <a:pt x="20" y="783"/>
                    <a:pt x="16" y="773"/>
                    <a:pt x="16" y="763"/>
                  </a:cubicBezTo>
                  <a:cubicBezTo>
                    <a:pt x="16" y="52"/>
                    <a:pt x="16" y="52"/>
                    <a:pt x="16" y="52"/>
                  </a:cubicBezTo>
                  <a:cubicBezTo>
                    <a:pt x="16" y="42"/>
                    <a:pt x="20" y="33"/>
                    <a:pt x="27" y="26"/>
                  </a:cubicBezTo>
                  <a:cubicBezTo>
                    <a:pt x="33" y="19"/>
                    <a:pt x="43" y="15"/>
                    <a:pt x="53" y="15"/>
                  </a:cubicBezTo>
                  <a:cubicBezTo>
                    <a:pt x="89" y="15"/>
                    <a:pt x="89" y="15"/>
                    <a:pt x="89" y="15"/>
                  </a:cubicBezTo>
                  <a:cubicBezTo>
                    <a:pt x="91" y="15"/>
                    <a:pt x="93" y="16"/>
                    <a:pt x="94" y="17"/>
                  </a:cubicBezTo>
                  <a:cubicBezTo>
                    <a:pt x="96" y="19"/>
                    <a:pt x="97" y="20"/>
                    <a:pt x="97" y="22"/>
                  </a:cubicBezTo>
                  <a:cubicBezTo>
                    <a:pt x="97" y="25"/>
                    <a:pt x="97" y="25"/>
                    <a:pt x="97" y="25"/>
                  </a:cubicBezTo>
                  <a:cubicBezTo>
                    <a:pt x="97" y="30"/>
                    <a:pt x="99" y="35"/>
                    <a:pt x="102" y="39"/>
                  </a:cubicBezTo>
                  <a:cubicBezTo>
                    <a:pt x="106" y="43"/>
                    <a:pt x="111" y="45"/>
                    <a:pt x="116" y="45"/>
                  </a:cubicBezTo>
                  <a:cubicBezTo>
                    <a:pt x="278" y="45"/>
                    <a:pt x="278" y="45"/>
                    <a:pt x="278" y="45"/>
                  </a:cubicBezTo>
                  <a:cubicBezTo>
                    <a:pt x="281" y="45"/>
                    <a:pt x="283" y="44"/>
                    <a:pt x="286" y="43"/>
                  </a:cubicBezTo>
                  <a:cubicBezTo>
                    <a:pt x="288" y="42"/>
                    <a:pt x="290" y="41"/>
                    <a:pt x="292" y="39"/>
                  </a:cubicBezTo>
                  <a:cubicBezTo>
                    <a:pt x="294" y="37"/>
                    <a:pt x="295" y="35"/>
                    <a:pt x="296" y="33"/>
                  </a:cubicBezTo>
                  <a:cubicBezTo>
                    <a:pt x="297" y="30"/>
                    <a:pt x="298" y="28"/>
                    <a:pt x="298" y="25"/>
                  </a:cubicBezTo>
                  <a:cubicBezTo>
                    <a:pt x="298" y="22"/>
                    <a:pt x="298" y="22"/>
                    <a:pt x="298" y="22"/>
                  </a:cubicBezTo>
                  <a:cubicBezTo>
                    <a:pt x="298" y="20"/>
                    <a:pt x="298" y="19"/>
                    <a:pt x="300" y="17"/>
                  </a:cubicBezTo>
                  <a:cubicBezTo>
                    <a:pt x="301" y="16"/>
                    <a:pt x="303" y="15"/>
                    <a:pt x="305" y="15"/>
                  </a:cubicBezTo>
                  <a:cubicBezTo>
                    <a:pt x="341" y="15"/>
                    <a:pt x="341" y="15"/>
                    <a:pt x="341" y="15"/>
                  </a:cubicBezTo>
                  <a:cubicBezTo>
                    <a:pt x="351" y="15"/>
                    <a:pt x="361" y="19"/>
                    <a:pt x="368" y="26"/>
                  </a:cubicBezTo>
                  <a:cubicBezTo>
                    <a:pt x="375" y="33"/>
                    <a:pt x="378" y="42"/>
                    <a:pt x="378" y="52"/>
                  </a:cubicBezTo>
                  <a:lnTo>
                    <a:pt x="378" y="763"/>
                  </a:lnTo>
                  <a:close/>
                </a:path>
              </a:pathLst>
            </a:custGeom>
            <a:solidFill>
              <a:srgbClr val="5783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73" name="Freeform 23">
              <a:extLst>
                <a:ext uri="{FF2B5EF4-FFF2-40B4-BE49-F238E27FC236}">
                  <a16:creationId xmlns:a16="http://schemas.microsoft.com/office/drawing/2014/main" id="{BA95C9E3-84F3-4EAF-B193-AEA651E45FB8}"/>
                </a:ext>
              </a:extLst>
            </p:cNvPr>
            <p:cNvSpPr>
              <a:spLocks/>
            </p:cNvSpPr>
            <p:nvPr/>
          </p:nvSpPr>
          <p:spPr bwMode="auto">
            <a:xfrm>
              <a:off x="5218015" y="1968101"/>
              <a:ext cx="1510911" cy="532850"/>
            </a:xfrm>
            <a:custGeom>
              <a:avLst/>
              <a:gdLst>
                <a:gd name="T0" fmla="*/ 0 w 362"/>
                <a:gd name="T1" fmla="*/ 37 h 128"/>
                <a:gd name="T2" fmla="*/ 0 w 362"/>
                <a:gd name="T3" fmla="*/ 128 h 128"/>
                <a:gd name="T4" fmla="*/ 362 w 362"/>
                <a:gd name="T5" fmla="*/ 128 h 128"/>
                <a:gd name="T6" fmla="*/ 362 w 362"/>
                <a:gd name="T7" fmla="*/ 37 h 128"/>
                <a:gd name="T8" fmla="*/ 352 w 362"/>
                <a:gd name="T9" fmla="*/ 11 h 128"/>
                <a:gd name="T10" fmla="*/ 325 w 362"/>
                <a:gd name="T11" fmla="*/ 0 h 128"/>
                <a:gd name="T12" fmla="*/ 289 w 362"/>
                <a:gd name="T13" fmla="*/ 0 h 128"/>
                <a:gd name="T14" fmla="*/ 284 w 362"/>
                <a:gd name="T15" fmla="*/ 2 h 128"/>
                <a:gd name="T16" fmla="*/ 282 w 362"/>
                <a:gd name="T17" fmla="*/ 7 h 128"/>
                <a:gd name="T18" fmla="*/ 282 w 362"/>
                <a:gd name="T19" fmla="*/ 10 h 128"/>
                <a:gd name="T20" fmla="*/ 280 w 362"/>
                <a:gd name="T21" fmla="*/ 18 h 128"/>
                <a:gd name="T22" fmla="*/ 276 w 362"/>
                <a:gd name="T23" fmla="*/ 24 h 128"/>
                <a:gd name="T24" fmla="*/ 270 w 362"/>
                <a:gd name="T25" fmla="*/ 28 h 128"/>
                <a:gd name="T26" fmla="*/ 262 w 362"/>
                <a:gd name="T27" fmla="*/ 30 h 128"/>
                <a:gd name="T28" fmla="*/ 100 w 362"/>
                <a:gd name="T29" fmla="*/ 30 h 128"/>
                <a:gd name="T30" fmla="*/ 86 w 362"/>
                <a:gd name="T31" fmla="*/ 24 h 128"/>
                <a:gd name="T32" fmla="*/ 81 w 362"/>
                <a:gd name="T33" fmla="*/ 10 h 128"/>
                <a:gd name="T34" fmla="*/ 81 w 362"/>
                <a:gd name="T35" fmla="*/ 7 h 128"/>
                <a:gd name="T36" fmla="*/ 78 w 362"/>
                <a:gd name="T37" fmla="*/ 2 h 128"/>
                <a:gd name="T38" fmla="*/ 73 w 362"/>
                <a:gd name="T39" fmla="*/ 0 h 128"/>
                <a:gd name="T40" fmla="*/ 37 w 362"/>
                <a:gd name="T41" fmla="*/ 0 h 128"/>
                <a:gd name="T42" fmla="*/ 11 w 362"/>
                <a:gd name="T43" fmla="*/ 11 h 128"/>
                <a:gd name="T44" fmla="*/ 0 w 362"/>
                <a:gd name="T45" fmla="*/ 37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62" h="128">
                  <a:moveTo>
                    <a:pt x="0" y="37"/>
                  </a:moveTo>
                  <a:cubicBezTo>
                    <a:pt x="0" y="128"/>
                    <a:pt x="0" y="128"/>
                    <a:pt x="0" y="128"/>
                  </a:cubicBezTo>
                  <a:cubicBezTo>
                    <a:pt x="362" y="128"/>
                    <a:pt x="362" y="128"/>
                    <a:pt x="362" y="128"/>
                  </a:cubicBezTo>
                  <a:cubicBezTo>
                    <a:pt x="362" y="37"/>
                    <a:pt x="362" y="37"/>
                    <a:pt x="362" y="37"/>
                  </a:cubicBezTo>
                  <a:cubicBezTo>
                    <a:pt x="362" y="27"/>
                    <a:pt x="359" y="18"/>
                    <a:pt x="352" y="11"/>
                  </a:cubicBezTo>
                  <a:cubicBezTo>
                    <a:pt x="345" y="4"/>
                    <a:pt x="335" y="0"/>
                    <a:pt x="325" y="0"/>
                  </a:cubicBezTo>
                  <a:cubicBezTo>
                    <a:pt x="289" y="0"/>
                    <a:pt x="289" y="0"/>
                    <a:pt x="289" y="0"/>
                  </a:cubicBezTo>
                  <a:cubicBezTo>
                    <a:pt x="287" y="0"/>
                    <a:pt x="285" y="1"/>
                    <a:pt x="284" y="2"/>
                  </a:cubicBezTo>
                  <a:cubicBezTo>
                    <a:pt x="282" y="4"/>
                    <a:pt x="282" y="5"/>
                    <a:pt x="282" y="7"/>
                  </a:cubicBezTo>
                  <a:cubicBezTo>
                    <a:pt x="282" y="10"/>
                    <a:pt x="282" y="10"/>
                    <a:pt x="282" y="10"/>
                  </a:cubicBezTo>
                  <a:cubicBezTo>
                    <a:pt x="282" y="13"/>
                    <a:pt x="281" y="15"/>
                    <a:pt x="280" y="18"/>
                  </a:cubicBezTo>
                  <a:cubicBezTo>
                    <a:pt x="279" y="20"/>
                    <a:pt x="278" y="22"/>
                    <a:pt x="276" y="24"/>
                  </a:cubicBezTo>
                  <a:cubicBezTo>
                    <a:pt x="274" y="26"/>
                    <a:pt x="272" y="27"/>
                    <a:pt x="270" y="28"/>
                  </a:cubicBezTo>
                  <a:cubicBezTo>
                    <a:pt x="267" y="29"/>
                    <a:pt x="265" y="30"/>
                    <a:pt x="262" y="30"/>
                  </a:cubicBezTo>
                  <a:cubicBezTo>
                    <a:pt x="100" y="30"/>
                    <a:pt x="100" y="30"/>
                    <a:pt x="100" y="30"/>
                  </a:cubicBezTo>
                  <a:cubicBezTo>
                    <a:pt x="95" y="30"/>
                    <a:pt x="90" y="28"/>
                    <a:pt x="86" y="24"/>
                  </a:cubicBezTo>
                  <a:cubicBezTo>
                    <a:pt x="83" y="20"/>
                    <a:pt x="81" y="15"/>
                    <a:pt x="81" y="10"/>
                  </a:cubicBezTo>
                  <a:cubicBezTo>
                    <a:pt x="81" y="7"/>
                    <a:pt x="81" y="7"/>
                    <a:pt x="81" y="7"/>
                  </a:cubicBezTo>
                  <a:cubicBezTo>
                    <a:pt x="81" y="5"/>
                    <a:pt x="80" y="4"/>
                    <a:pt x="78" y="2"/>
                  </a:cubicBezTo>
                  <a:cubicBezTo>
                    <a:pt x="77" y="1"/>
                    <a:pt x="75" y="0"/>
                    <a:pt x="73" y="0"/>
                  </a:cubicBezTo>
                  <a:cubicBezTo>
                    <a:pt x="37" y="0"/>
                    <a:pt x="37" y="0"/>
                    <a:pt x="37" y="0"/>
                  </a:cubicBezTo>
                  <a:cubicBezTo>
                    <a:pt x="27" y="0"/>
                    <a:pt x="18" y="4"/>
                    <a:pt x="11" y="11"/>
                  </a:cubicBezTo>
                  <a:cubicBezTo>
                    <a:pt x="4" y="18"/>
                    <a:pt x="0" y="27"/>
                    <a:pt x="0" y="37"/>
                  </a:cubicBezTo>
                  <a:close/>
                </a:path>
              </a:pathLst>
            </a:custGeom>
            <a:solidFill>
              <a:srgbClr val="DFE8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74" name="Freeform 24">
              <a:extLst>
                <a:ext uri="{FF2B5EF4-FFF2-40B4-BE49-F238E27FC236}">
                  <a16:creationId xmlns:a16="http://schemas.microsoft.com/office/drawing/2014/main" id="{34B31091-1C44-43C8-93EA-D17CE259E0BB}"/>
                </a:ext>
              </a:extLst>
            </p:cNvPr>
            <p:cNvSpPr>
              <a:spLocks/>
            </p:cNvSpPr>
            <p:nvPr/>
          </p:nvSpPr>
          <p:spPr bwMode="auto">
            <a:xfrm>
              <a:off x="4574738" y="3077622"/>
              <a:ext cx="513570" cy="571412"/>
            </a:xfrm>
            <a:custGeom>
              <a:avLst/>
              <a:gdLst>
                <a:gd name="T0" fmla="*/ 293 w 293"/>
                <a:gd name="T1" fmla="*/ 147 h 326"/>
                <a:gd name="T2" fmla="*/ 26 w 293"/>
                <a:gd name="T3" fmla="*/ 326 h 326"/>
                <a:gd name="T4" fmla="*/ 0 w 293"/>
                <a:gd name="T5" fmla="*/ 0 h 326"/>
                <a:gd name="T6" fmla="*/ 293 w 293"/>
                <a:gd name="T7" fmla="*/ 147 h 326"/>
              </a:gdLst>
              <a:ahLst/>
              <a:cxnLst>
                <a:cxn ang="0">
                  <a:pos x="T0" y="T1"/>
                </a:cxn>
                <a:cxn ang="0">
                  <a:pos x="T2" y="T3"/>
                </a:cxn>
                <a:cxn ang="0">
                  <a:pos x="T4" y="T5"/>
                </a:cxn>
                <a:cxn ang="0">
                  <a:pos x="T6" y="T7"/>
                </a:cxn>
              </a:cxnLst>
              <a:rect l="0" t="0" r="r" b="b"/>
              <a:pathLst>
                <a:path w="293" h="326">
                  <a:moveTo>
                    <a:pt x="293" y="147"/>
                  </a:moveTo>
                  <a:lnTo>
                    <a:pt x="26" y="326"/>
                  </a:lnTo>
                  <a:lnTo>
                    <a:pt x="0" y="0"/>
                  </a:lnTo>
                  <a:lnTo>
                    <a:pt x="293" y="147"/>
                  </a:lnTo>
                  <a:close/>
                </a:path>
              </a:pathLst>
            </a:custGeom>
            <a:solidFill>
              <a:srgbClr val="5CE0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75" name="Oval 25">
              <a:extLst>
                <a:ext uri="{FF2B5EF4-FFF2-40B4-BE49-F238E27FC236}">
                  <a16:creationId xmlns:a16="http://schemas.microsoft.com/office/drawing/2014/main" id="{555EBCAD-B86B-4533-A11C-5B98FB53F2FB}"/>
                </a:ext>
              </a:extLst>
            </p:cNvPr>
            <p:cNvSpPr>
              <a:spLocks noChangeArrowheads="1"/>
            </p:cNvSpPr>
            <p:nvPr/>
          </p:nvSpPr>
          <p:spPr bwMode="auto">
            <a:xfrm>
              <a:off x="7067215" y="4074963"/>
              <a:ext cx="546873" cy="541615"/>
            </a:xfrm>
            <a:prstGeom prst="ellipse">
              <a:avLst/>
            </a:prstGeom>
            <a:solidFill>
              <a:srgbClr val="5CE0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76" name="Freeform 26">
              <a:extLst>
                <a:ext uri="{FF2B5EF4-FFF2-40B4-BE49-F238E27FC236}">
                  <a16:creationId xmlns:a16="http://schemas.microsoft.com/office/drawing/2014/main" id="{E1B29866-363C-48A1-9B94-EB88AB3A64C7}"/>
                </a:ext>
              </a:extLst>
            </p:cNvPr>
            <p:cNvSpPr>
              <a:spLocks/>
            </p:cNvSpPr>
            <p:nvPr/>
          </p:nvSpPr>
          <p:spPr bwMode="auto">
            <a:xfrm>
              <a:off x="5671989" y="2259065"/>
              <a:ext cx="564401" cy="80629"/>
            </a:xfrm>
            <a:custGeom>
              <a:avLst/>
              <a:gdLst>
                <a:gd name="T0" fmla="*/ 126 w 135"/>
                <a:gd name="T1" fmla="*/ 0 h 19"/>
                <a:gd name="T2" fmla="*/ 10 w 135"/>
                <a:gd name="T3" fmla="*/ 0 h 19"/>
                <a:gd name="T4" fmla="*/ 0 w 135"/>
                <a:gd name="T5" fmla="*/ 10 h 19"/>
                <a:gd name="T6" fmla="*/ 0 w 135"/>
                <a:gd name="T7" fmla="*/ 10 h 19"/>
                <a:gd name="T8" fmla="*/ 10 w 135"/>
                <a:gd name="T9" fmla="*/ 19 h 19"/>
                <a:gd name="T10" fmla="*/ 126 w 135"/>
                <a:gd name="T11" fmla="*/ 19 h 19"/>
                <a:gd name="T12" fmla="*/ 135 w 135"/>
                <a:gd name="T13" fmla="*/ 10 h 19"/>
                <a:gd name="T14" fmla="*/ 135 w 135"/>
                <a:gd name="T15" fmla="*/ 10 h 19"/>
                <a:gd name="T16" fmla="*/ 126 w 135"/>
                <a:gd name="T17"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5" h="19">
                  <a:moveTo>
                    <a:pt x="126" y="0"/>
                  </a:moveTo>
                  <a:cubicBezTo>
                    <a:pt x="10" y="0"/>
                    <a:pt x="10" y="0"/>
                    <a:pt x="10" y="0"/>
                  </a:cubicBezTo>
                  <a:cubicBezTo>
                    <a:pt x="5" y="0"/>
                    <a:pt x="0" y="4"/>
                    <a:pt x="0" y="10"/>
                  </a:cubicBezTo>
                  <a:cubicBezTo>
                    <a:pt x="0" y="10"/>
                    <a:pt x="0" y="10"/>
                    <a:pt x="0" y="10"/>
                  </a:cubicBezTo>
                  <a:cubicBezTo>
                    <a:pt x="0" y="15"/>
                    <a:pt x="5" y="19"/>
                    <a:pt x="10" y="19"/>
                  </a:cubicBezTo>
                  <a:cubicBezTo>
                    <a:pt x="126" y="19"/>
                    <a:pt x="126" y="19"/>
                    <a:pt x="126" y="19"/>
                  </a:cubicBezTo>
                  <a:cubicBezTo>
                    <a:pt x="131" y="19"/>
                    <a:pt x="135" y="15"/>
                    <a:pt x="135" y="10"/>
                  </a:cubicBezTo>
                  <a:cubicBezTo>
                    <a:pt x="135" y="10"/>
                    <a:pt x="135" y="10"/>
                    <a:pt x="135" y="10"/>
                  </a:cubicBezTo>
                  <a:cubicBezTo>
                    <a:pt x="135" y="4"/>
                    <a:pt x="131" y="0"/>
                    <a:pt x="126" y="0"/>
                  </a:cubicBezTo>
                  <a:close/>
                </a:path>
              </a:pathLst>
            </a:custGeom>
            <a:solidFill>
              <a:srgbClr val="C5C6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77" name="Oval 27">
              <a:extLst>
                <a:ext uri="{FF2B5EF4-FFF2-40B4-BE49-F238E27FC236}">
                  <a16:creationId xmlns:a16="http://schemas.microsoft.com/office/drawing/2014/main" id="{54F93082-E5D5-41A0-86E6-192458023786}"/>
                </a:ext>
              </a:extLst>
            </p:cNvPr>
            <p:cNvSpPr>
              <a:spLocks noChangeArrowheads="1"/>
            </p:cNvSpPr>
            <p:nvPr/>
          </p:nvSpPr>
          <p:spPr bwMode="auto">
            <a:xfrm>
              <a:off x="6423939" y="2222257"/>
              <a:ext cx="157752" cy="157752"/>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78" name="Freeform 28">
              <a:extLst>
                <a:ext uri="{FF2B5EF4-FFF2-40B4-BE49-F238E27FC236}">
                  <a16:creationId xmlns:a16="http://schemas.microsoft.com/office/drawing/2014/main" id="{033F82F9-B342-4EC5-9FAB-C31546C94025}"/>
                </a:ext>
              </a:extLst>
            </p:cNvPr>
            <p:cNvSpPr>
              <a:spLocks/>
            </p:cNvSpPr>
            <p:nvPr/>
          </p:nvSpPr>
          <p:spPr bwMode="auto">
            <a:xfrm>
              <a:off x="6494051" y="2271335"/>
              <a:ext cx="26293" cy="54337"/>
            </a:xfrm>
            <a:custGeom>
              <a:avLst/>
              <a:gdLst>
                <a:gd name="T0" fmla="*/ 0 w 15"/>
                <a:gd name="T1" fmla="*/ 0 h 31"/>
                <a:gd name="T2" fmla="*/ 15 w 15"/>
                <a:gd name="T3" fmla="*/ 17 h 31"/>
                <a:gd name="T4" fmla="*/ 0 w 15"/>
                <a:gd name="T5" fmla="*/ 31 h 31"/>
              </a:gdLst>
              <a:ahLst/>
              <a:cxnLst>
                <a:cxn ang="0">
                  <a:pos x="T0" y="T1"/>
                </a:cxn>
                <a:cxn ang="0">
                  <a:pos x="T2" y="T3"/>
                </a:cxn>
                <a:cxn ang="0">
                  <a:pos x="T4" y="T5"/>
                </a:cxn>
              </a:cxnLst>
              <a:rect l="0" t="0" r="r" b="b"/>
              <a:pathLst>
                <a:path w="15" h="31">
                  <a:moveTo>
                    <a:pt x="0" y="0"/>
                  </a:moveTo>
                  <a:lnTo>
                    <a:pt x="15" y="17"/>
                  </a:lnTo>
                  <a:lnTo>
                    <a:pt x="0" y="31"/>
                  </a:lnTo>
                </a:path>
              </a:pathLst>
            </a:custGeom>
            <a:noFill/>
            <a:ln w="3175" cap="rnd">
              <a:solidFill>
                <a:srgbClr val="868AE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179" name="Oval 29">
              <a:extLst>
                <a:ext uri="{FF2B5EF4-FFF2-40B4-BE49-F238E27FC236}">
                  <a16:creationId xmlns:a16="http://schemas.microsoft.com/office/drawing/2014/main" id="{1EC49CCE-A778-406F-83B9-92C180279701}"/>
                </a:ext>
              </a:extLst>
            </p:cNvPr>
            <p:cNvSpPr>
              <a:spLocks noChangeArrowheads="1"/>
            </p:cNvSpPr>
            <p:nvPr/>
          </p:nvSpPr>
          <p:spPr bwMode="auto">
            <a:xfrm>
              <a:off x="5321430" y="2222257"/>
              <a:ext cx="154246" cy="157752"/>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80" name="Freeform 30">
              <a:extLst>
                <a:ext uri="{FF2B5EF4-FFF2-40B4-BE49-F238E27FC236}">
                  <a16:creationId xmlns:a16="http://schemas.microsoft.com/office/drawing/2014/main" id="{CB5C8ABB-8B64-4C39-8EEE-F072DB7F07AA}"/>
                </a:ext>
              </a:extLst>
            </p:cNvPr>
            <p:cNvSpPr>
              <a:spLocks/>
            </p:cNvSpPr>
            <p:nvPr/>
          </p:nvSpPr>
          <p:spPr bwMode="auto">
            <a:xfrm>
              <a:off x="5381025" y="2271335"/>
              <a:ext cx="28045" cy="54337"/>
            </a:xfrm>
            <a:custGeom>
              <a:avLst/>
              <a:gdLst>
                <a:gd name="T0" fmla="*/ 16 w 16"/>
                <a:gd name="T1" fmla="*/ 0 h 31"/>
                <a:gd name="T2" fmla="*/ 0 w 16"/>
                <a:gd name="T3" fmla="*/ 17 h 31"/>
                <a:gd name="T4" fmla="*/ 16 w 16"/>
                <a:gd name="T5" fmla="*/ 31 h 31"/>
              </a:gdLst>
              <a:ahLst/>
              <a:cxnLst>
                <a:cxn ang="0">
                  <a:pos x="T0" y="T1"/>
                </a:cxn>
                <a:cxn ang="0">
                  <a:pos x="T2" y="T3"/>
                </a:cxn>
                <a:cxn ang="0">
                  <a:pos x="T4" y="T5"/>
                </a:cxn>
              </a:cxnLst>
              <a:rect l="0" t="0" r="r" b="b"/>
              <a:pathLst>
                <a:path w="16" h="31">
                  <a:moveTo>
                    <a:pt x="16" y="0"/>
                  </a:moveTo>
                  <a:lnTo>
                    <a:pt x="0" y="17"/>
                  </a:lnTo>
                  <a:lnTo>
                    <a:pt x="16" y="31"/>
                  </a:lnTo>
                </a:path>
              </a:pathLst>
            </a:custGeom>
            <a:noFill/>
            <a:ln w="3175" cap="rnd">
              <a:solidFill>
                <a:srgbClr val="868AE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181" name="Freeform 31">
              <a:extLst>
                <a:ext uri="{FF2B5EF4-FFF2-40B4-BE49-F238E27FC236}">
                  <a16:creationId xmlns:a16="http://schemas.microsoft.com/office/drawing/2014/main" id="{623A83CA-AD71-48A9-9AB1-DB33D89952A5}"/>
                </a:ext>
              </a:extLst>
            </p:cNvPr>
            <p:cNvSpPr>
              <a:spLocks/>
            </p:cNvSpPr>
            <p:nvPr/>
          </p:nvSpPr>
          <p:spPr bwMode="auto">
            <a:xfrm>
              <a:off x="5530013" y="3319508"/>
              <a:ext cx="1060443" cy="229617"/>
            </a:xfrm>
            <a:custGeom>
              <a:avLst/>
              <a:gdLst>
                <a:gd name="T0" fmla="*/ 247 w 254"/>
                <a:gd name="T1" fmla="*/ 0 h 55"/>
                <a:gd name="T2" fmla="*/ 7 w 254"/>
                <a:gd name="T3" fmla="*/ 0 h 55"/>
                <a:gd name="T4" fmla="*/ 0 w 254"/>
                <a:gd name="T5" fmla="*/ 6 h 55"/>
                <a:gd name="T6" fmla="*/ 0 w 254"/>
                <a:gd name="T7" fmla="*/ 48 h 55"/>
                <a:gd name="T8" fmla="*/ 7 w 254"/>
                <a:gd name="T9" fmla="*/ 55 h 55"/>
                <a:gd name="T10" fmla="*/ 247 w 254"/>
                <a:gd name="T11" fmla="*/ 55 h 55"/>
                <a:gd name="T12" fmla="*/ 254 w 254"/>
                <a:gd name="T13" fmla="*/ 48 h 55"/>
                <a:gd name="T14" fmla="*/ 254 w 254"/>
                <a:gd name="T15" fmla="*/ 6 h 55"/>
                <a:gd name="T16" fmla="*/ 247 w 254"/>
                <a:gd name="T17" fmla="*/ 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4" h="55">
                  <a:moveTo>
                    <a:pt x="247" y="0"/>
                  </a:moveTo>
                  <a:cubicBezTo>
                    <a:pt x="7" y="0"/>
                    <a:pt x="7" y="0"/>
                    <a:pt x="7" y="0"/>
                  </a:cubicBezTo>
                  <a:cubicBezTo>
                    <a:pt x="3" y="0"/>
                    <a:pt x="0" y="3"/>
                    <a:pt x="0" y="6"/>
                  </a:cubicBezTo>
                  <a:cubicBezTo>
                    <a:pt x="0" y="48"/>
                    <a:pt x="0" y="48"/>
                    <a:pt x="0" y="48"/>
                  </a:cubicBezTo>
                  <a:cubicBezTo>
                    <a:pt x="0" y="52"/>
                    <a:pt x="3" y="55"/>
                    <a:pt x="7" y="55"/>
                  </a:cubicBezTo>
                  <a:cubicBezTo>
                    <a:pt x="247" y="55"/>
                    <a:pt x="247" y="55"/>
                    <a:pt x="247" y="55"/>
                  </a:cubicBezTo>
                  <a:cubicBezTo>
                    <a:pt x="251" y="55"/>
                    <a:pt x="254" y="52"/>
                    <a:pt x="254" y="48"/>
                  </a:cubicBezTo>
                  <a:cubicBezTo>
                    <a:pt x="254" y="6"/>
                    <a:pt x="254" y="6"/>
                    <a:pt x="254" y="6"/>
                  </a:cubicBezTo>
                  <a:cubicBezTo>
                    <a:pt x="254" y="3"/>
                    <a:pt x="251" y="0"/>
                    <a:pt x="247" y="0"/>
                  </a:cubicBezTo>
                  <a:close/>
                </a:path>
              </a:pathLst>
            </a:custGeom>
            <a:solidFill>
              <a:srgbClr val="FFD9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82" name="Freeform 32">
              <a:extLst>
                <a:ext uri="{FF2B5EF4-FFF2-40B4-BE49-F238E27FC236}">
                  <a16:creationId xmlns:a16="http://schemas.microsoft.com/office/drawing/2014/main" id="{7703B467-E891-4BAC-B8E3-E0752E159EFA}"/>
                </a:ext>
              </a:extLst>
            </p:cNvPr>
            <p:cNvSpPr>
              <a:spLocks/>
            </p:cNvSpPr>
            <p:nvPr/>
          </p:nvSpPr>
          <p:spPr bwMode="auto">
            <a:xfrm>
              <a:off x="5321430" y="3247642"/>
              <a:ext cx="180539" cy="54337"/>
            </a:xfrm>
            <a:custGeom>
              <a:avLst/>
              <a:gdLst>
                <a:gd name="T0" fmla="*/ 37 w 43"/>
                <a:gd name="T1" fmla="*/ 0 h 13"/>
                <a:gd name="T2" fmla="*/ 6 w 43"/>
                <a:gd name="T3" fmla="*/ 0 h 13"/>
                <a:gd name="T4" fmla="*/ 0 w 43"/>
                <a:gd name="T5" fmla="*/ 6 h 13"/>
                <a:gd name="T6" fmla="*/ 6 w 43"/>
                <a:gd name="T7" fmla="*/ 13 h 13"/>
                <a:gd name="T8" fmla="*/ 37 w 43"/>
                <a:gd name="T9" fmla="*/ 13 h 13"/>
                <a:gd name="T10" fmla="*/ 43 w 43"/>
                <a:gd name="T11" fmla="*/ 6 h 13"/>
                <a:gd name="T12" fmla="*/ 37 w 43"/>
                <a:gd name="T13" fmla="*/ 0 h 13"/>
              </a:gdLst>
              <a:ahLst/>
              <a:cxnLst>
                <a:cxn ang="0">
                  <a:pos x="T0" y="T1"/>
                </a:cxn>
                <a:cxn ang="0">
                  <a:pos x="T2" y="T3"/>
                </a:cxn>
                <a:cxn ang="0">
                  <a:pos x="T4" y="T5"/>
                </a:cxn>
                <a:cxn ang="0">
                  <a:pos x="T6" y="T7"/>
                </a:cxn>
                <a:cxn ang="0">
                  <a:pos x="T8" y="T9"/>
                </a:cxn>
                <a:cxn ang="0">
                  <a:pos x="T10" y="T11"/>
                </a:cxn>
                <a:cxn ang="0">
                  <a:pos x="T12" y="T13"/>
                </a:cxn>
              </a:cxnLst>
              <a:rect l="0" t="0" r="r" b="b"/>
              <a:pathLst>
                <a:path w="43" h="13">
                  <a:moveTo>
                    <a:pt x="37" y="0"/>
                  </a:moveTo>
                  <a:cubicBezTo>
                    <a:pt x="6" y="0"/>
                    <a:pt x="6" y="0"/>
                    <a:pt x="6" y="0"/>
                  </a:cubicBezTo>
                  <a:cubicBezTo>
                    <a:pt x="2" y="0"/>
                    <a:pt x="0" y="3"/>
                    <a:pt x="0" y="6"/>
                  </a:cubicBezTo>
                  <a:cubicBezTo>
                    <a:pt x="0" y="10"/>
                    <a:pt x="2" y="13"/>
                    <a:pt x="6" y="13"/>
                  </a:cubicBezTo>
                  <a:cubicBezTo>
                    <a:pt x="37" y="13"/>
                    <a:pt x="37" y="13"/>
                    <a:pt x="37" y="13"/>
                  </a:cubicBezTo>
                  <a:cubicBezTo>
                    <a:pt x="41" y="13"/>
                    <a:pt x="43" y="10"/>
                    <a:pt x="43" y="6"/>
                  </a:cubicBezTo>
                  <a:cubicBezTo>
                    <a:pt x="43" y="3"/>
                    <a:pt x="41" y="0"/>
                    <a:pt x="37" y="0"/>
                  </a:cubicBezTo>
                  <a:close/>
                </a:path>
              </a:pathLst>
            </a:custGeom>
            <a:solidFill>
              <a:srgbClr val="E8E8F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83" name="Freeform 33">
              <a:extLst>
                <a:ext uri="{FF2B5EF4-FFF2-40B4-BE49-F238E27FC236}">
                  <a16:creationId xmlns:a16="http://schemas.microsoft.com/office/drawing/2014/main" id="{1E740C89-6925-4D07-B940-AF5283267843}"/>
                </a:ext>
              </a:extLst>
            </p:cNvPr>
            <p:cNvSpPr>
              <a:spLocks/>
            </p:cNvSpPr>
            <p:nvPr/>
          </p:nvSpPr>
          <p:spPr bwMode="auto">
            <a:xfrm>
              <a:off x="5530013" y="3319508"/>
              <a:ext cx="63101" cy="229617"/>
            </a:xfrm>
            <a:custGeom>
              <a:avLst/>
              <a:gdLst>
                <a:gd name="T0" fmla="*/ 7 w 15"/>
                <a:gd name="T1" fmla="*/ 55 h 55"/>
                <a:gd name="T2" fmla="*/ 15 w 15"/>
                <a:gd name="T3" fmla="*/ 55 h 55"/>
                <a:gd name="T4" fmla="*/ 15 w 15"/>
                <a:gd name="T5" fmla="*/ 0 h 55"/>
                <a:gd name="T6" fmla="*/ 7 w 15"/>
                <a:gd name="T7" fmla="*/ 0 h 55"/>
                <a:gd name="T8" fmla="*/ 2 w 15"/>
                <a:gd name="T9" fmla="*/ 1 h 55"/>
                <a:gd name="T10" fmla="*/ 0 w 15"/>
                <a:gd name="T11" fmla="*/ 6 h 55"/>
                <a:gd name="T12" fmla="*/ 0 w 15"/>
                <a:gd name="T13" fmla="*/ 48 h 55"/>
                <a:gd name="T14" fmla="*/ 0 w 15"/>
                <a:gd name="T15" fmla="*/ 50 h 55"/>
                <a:gd name="T16" fmla="*/ 2 w 15"/>
                <a:gd name="T17" fmla="*/ 53 h 55"/>
                <a:gd name="T18" fmla="*/ 4 w 15"/>
                <a:gd name="T19" fmla="*/ 54 h 55"/>
                <a:gd name="T20" fmla="*/ 7 w 15"/>
                <a:gd name="T21" fmla="*/ 5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 h="55">
                  <a:moveTo>
                    <a:pt x="7" y="55"/>
                  </a:moveTo>
                  <a:cubicBezTo>
                    <a:pt x="15" y="55"/>
                    <a:pt x="15" y="55"/>
                    <a:pt x="15" y="55"/>
                  </a:cubicBezTo>
                  <a:cubicBezTo>
                    <a:pt x="15" y="0"/>
                    <a:pt x="15" y="0"/>
                    <a:pt x="15" y="0"/>
                  </a:cubicBezTo>
                  <a:cubicBezTo>
                    <a:pt x="7" y="0"/>
                    <a:pt x="7" y="0"/>
                    <a:pt x="7" y="0"/>
                  </a:cubicBezTo>
                  <a:cubicBezTo>
                    <a:pt x="5" y="0"/>
                    <a:pt x="3" y="0"/>
                    <a:pt x="2" y="1"/>
                  </a:cubicBezTo>
                  <a:cubicBezTo>
                    <a:pt x="1" y="3"/>
                    <a:pt x="0" y="4"/>
                    <a:pt x="0" y="6"/>
                  </a:cubicBezTo>
                  <a:cubicBezTo>
                    <a:pt x="0" y="48"/>
                    <a:pt x="0" y="48"/>
                    <a:pt x="0" y="48"/>
                  </a:cubicBezTo>
                  <a:cubicBezTo>
                    <a:pt x="0" y="49"/>
                    <a:pt x="0" y="50"/>
                    <a:pt x="0" y="50"/>
                  </a:cubicBezTo>
                  <a:cubicBezTo>
                    <a:pt x="1" y="51"/>
                    <a:pt x="1" y="52"/>
                    <a:pt x="2" y="53"/>
                  </a:cubicBezTo>
                  <a:cubicBezTo>
                    <a:pt x="2" y="53"/>
                    <a:pt x="3" y="54"/>
                    <a:pt x="4" y="54"/>
                  </a:cubicBezTo>
                  <a:cubicBezTo>
                    <a:pt x="5" y="54"/>
                    <a:pt x="6" y="55"/>
                    <a:pt x="7" y="55"/>
                  </a:cubicBezTo>
                  <a:close/>
                </a:path>
              </a:pathLst>
            </a:custGeom>
            <a:solidFill>
              <a:srgbClr val="FF31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84" name="Freeform 34">
              <a:extLst>
                <a:ext uri="{FF2B5EF4-FFF2-40B4-BE49-F238E27FC236}">
                  <a16:creationId xmlns:a16="http://schemas.microsoft.com/office/drawing/2014/main" id="{14F2C713-F3D0-47C9-AA53-3B21D8567ED0}"/>
                </a:ext>
              </a:extLst>
            </p:cNvPr>
            <p:cNvSpPr>
              <a:spLocks/>
            </p:cNvSpPr>
            <p:nvPr/>
          </p:nvSpPr>
          <p:spPr bwMode="auto">
            <a:xfrm>
              <a:off x="5530013" y="4257253"/>
              <a:ext cx="1060443" cy="229617"/>
            </a:xfrm>
            <a:custGeom>
              <a:avLst/>
              <a:gdLst>
                <a:gd name="T0" fmla="*/ 247 w 254"/>
                <a:gd name="T1" fmla="*/ 0 h 55"/>
                <a:gd name="T2" fmla="*/ 7 w 254"/>
                <a:gd name="T3" fmla="*/ 0 h 55"/>
                <a:gd name="T4" fmla="*/ 0 w 254"/>
                <a:gd name="T5" fmla="*/ 7 h 55"/>
                <a:gd name="T6" fmla="*/ 0 w 254"/>
                <a:gd name="T7" fmla="*/ 49 h 55"/>
                <a:gd name="T8" fmla="*/ 7 w 254"/>
                <a:gd name="T9" fmla="*/ 55 h 55"/>
                <a:gd name="T10" fmla="*/ 247 w 254"/>
                <a:gd name="T11" fmla="*/ 55 h 55"/>
                <a:gd name="T12" fmla="*/ 254 w 254"/>
                <a:gd name="T13" fmla="*/ 49 h 55"/>
                <a:gd name="T14" fmla="*/ 254 w 254"/>
                <a:gd name="T15" fmla="*/ 7 h 55"/>
                <a:gd name="T16" fmla="*/ 247 w 254"/>
                <a:gd name="T17" fmla="*/ 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4" h="55">
                  <a:moveTo>
                    <a:pt x="247" y="0"/>
                  </a:moveTo>
                  <a:cubicBezTo>
                    <a:pt x="7" y="0"/>
                    <a:pt x="7" y="0"/>
                    <a:pt x="7" y="0"/>
                  </a:cubicBezTo>
                  <a:cubicBezTo>
                    <a:pt x="3" y="0"/>
                    <a:pt x="0" y="3"/>
                    <a:pt x="0" y="7"/>
                  </a:cubicBezTo>
                  <a:cubicBezTo>
                    <a:pt x="0" y="49"/>
                    <a:pt x="0" y="49"/>
                    <a:pt x="0" y="49"/>
                  </a:cubicBezTo>
                  <a:cubicBezTo>
                    <a:pt x="0" y="52"/>
                    <a:pt x="3" y="55"/>
                    <a:pt x="7" y="55"/>
                  </a:cubicBezTo>
                  <a:cubicBezTo>
                    <a:pt x="247" y="55"/>
                    <a:pt x="247" y="55"/>
                    <a:pt x="247" y="55"/>
                  </a:cubicBezTo>
                  <a:cubicBezTo>
                    <a:pt x="251" y="55"/>
                    <a:pt x="254" y="52"/>
                    <a:pt x="254" y="49"/>
                  </a:cubicBezTo>
                  <a:cubicBezTo>
                    <a:pt x="254" y="7"/>
                    <a:pt x="254" y="7"/>
                    <a:pt x="254" y="7"/>
                  </a:cubicBezTo>
                  <a:cubicBezTo>
                    <a:pt x="254" y="3"/>
                    <a:pt x="251" y="0"/>
                    <a:pt x="247" y="0"/>
                  </a:cubicBezTo>
                  <a:close/>
                </a:path>
              </a:pathLst>
            </a:custGeom>
            <a:solidFill>
              <a:srgbClr val="FFF4C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85" name="Freeform 35">
              <a:extLst>
                <a:ext uri="{FF2B5EF4-FFF2-40B4-BE49-F238E27FC236}">
                  <a16:creationId xmlns:a16="http://schemas.microsoft.com/office/drawing/2014/main" id="{28F18E85-1D63-4918-8D50-73C28AEB2A65}"/>
                </a:ext>
              </a:extLst>
            </p:cNvPr>
            <p:cNvSpPr>
              <a:spLocks/>
            </p:cNvSpPr>
            <p:nvPr/>
          </p:nvSpPr>
          <p:spPr bwMode="auto">
            <a:xfrm>
              <a:off x="5321430" y="4190647"/>
              <a:ext cx="180539" cy="50832"/>
            </a:xfrm>
            <a:custGeom>
              <a:avLst/>
              <a:gdLst>
                <a:gd name="T0" fmla="*/ 37 w 43"/>
                <a:gd name="T1" fmla="*/ 0 h 12"/>
                <a:gd name="T2" fmla="*/ 6 w 43"/>
                <a:gd name="T3" fmla="*/ 0 h 12"/>
                <a:gd name="T4" fmla="*/ 0 w 43"/>
                <a:gd name="T5" fmla="*/ 6 h 12"/>
                <a:gd name="T6" fmla="*/ 6 w 43"/>
                <a:gd name="T7" fmla="*/ 12 h 12"/>
                <a:gd name="T8" fmla="*/ 37 w 43"/>
                <a:gd name="T9" fmla="*/ 12 h 12"/>
                <a:gd name="T10" fmla="*/ 43 w 43"/>
                <a:gd name="T11" fmla="*/ 6 h 12"/>
                <a:gd name="T12" fmla="*/ 37 w 43"/>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43" h="12">
                  <a:moveTo>
                    <a:pt x="37" y="0"/>
                  </a:moveTo>
                  <a:cubicBezTo>
                    <a:pt x="6" y="0"/>
                    <a:pt x="6" y="0"/>
                    <a:pt x="6" y="0"/>
                  </a:cubicBezTo>
                  <a:cubicBezTo>
                    <a:pt x="2" y="0"/>
                    <a:pt x="0" y="3"/>
                    <a:pt x="0" y="6"/>
                  </a:cubicBezTo>
                  <a:cubicBezTo>
                    <a:pt x="0" y="10"/>
                    <a:pt x="2" y="12"/>
                    <a:pt x="6" y="12"/>
                  </a:cubicBezTo>
                  <a:cubicBezTo>
                    <a:pt x="37" y="12"/>
                    <a:pt x="37" y="12"/>
                    <a:pt x="37" y="12"/>
                  </a:cubicBezTo>
                  <a:cubicBezTo>
                    <a:pt x="41" y="12"/>
                    <a:pt x="43" y="10"/>
                    <a:pt x="43" y="6"/>
                  </a:cubicBezTo>
                  <a:cubicBezTo>
                    <a:pt x="43" y="3"/>
                    <a:pt x="41" y="0"/>
                    <a:pt x="37" y="0"/>
                  </a:cubicBezTo>
                  <a:close/>
                </a:path>
              </a:pathLst>
            </a:custGeom>
            <a:solidFill>
              <a:srgbClr val="E8E8F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86" name="Freeform 36">
              <a:extLst>
                <a:ext uri="{FF2B5EF4-FFF2-40B4-BE49-F238E27FC236}">
                  <a16:creationId xmlns:a16="http://schemas.microsoft.com/office/drawing/2014/main" id="{663CC3F0-759E-4435-90CC-076A66812C97}"/>
                </a:ext>
              </a:extLst>
            </p:cNvPr>
            <p:cNvSpPr>
              <a:spLocks/>
            </p:cNvSpPr>
            <p:nvPr/>
          </p:nvSpPr>
          <p:spPr bwMode="auto">
            <a:xfrm>
              <a:off x="5530013" y="4257253"/>
              <a:ext cx="63101" cy="229617"/>
            </a:xfrm>
            <a:custGeom>
              <a:avLst/>
              <a:gdLst>
                <a:gd name="T0" fmla="*/ 7 w 15"/>
                <a:gd name="T1" fmla="*/ 55 h 55"/>
                <a:gd name="T2" fmla="*/ 15 w 15"/>
                <a:gd name="T3" fmla="*/ 55 h 55"/>
                <a:gd name="T4" fmla="*/ 15 w 15"/>
                <a:gd name="T5" fmla="*/ 0 h 55"/>
                <a:gd name="T6" fmla="*/ 7 w 15"/>
                <a:gd name="T7" fmla="*/ 0 h 55"/>
                <a:gd name="T8" fmla="*/ 2 w 15"/>
                <a:gd name="T9" fmla="*/ 2 h 55"/>
                <a:gd name="T10" fmla="*/ 0 w 15"/>
                <a:gd name="T11" fmla="*/ 7 h 55"/>
                <a:gd name="T12" fmla="*/ 0 w 15"/>
                <a:gd name="T13" fmla="*/ 49 h 55"/>
                <a:gd name="T14" fmla="*/ 0 w 15"/>
                <a:gd name="T15" fmla="*/ 51 h 55"/>
                <a:gd name="T16" fmla="*/ 2 w 15"/>
                <a:gd name="T17" fmla="*/ 53 h 55"/>
                <a:gd name="T18" fmla="*/ 4 w 15"/>
                <a:gd name="T19" fmla="*/ 55 h 55"/>
                <a:gd name="T20" fmla="*/ 7 w 15"/>
                <a:gd name="T21" fmla="*/ 5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 h="55">
                  <a:moveTo>
                    <a:pt x="7" y="55"/>
                  </a:moveTo>
                  <a:cubicBezTo>
                    <a:pt x="15" y="55"/>
                    <a:pt x="15" y="55"/>
                    <a:pt x="15" y="55"/>
                  </a:cubicBezTo>
                  <a:cubicBezTo>
                    <a:pt x="15" y="0"/>
                    <a:pt x="15" y="0"/>
                    <a:pt x="15" y="0"/>
                  </a:cubicBezTo>
                  <a:cubicBezTo>
                    <a:pt x="7" y="0"/>
                    <a:pt x="7" y="0"/>
                    <a:pt x="7" y="0"/>
                  </a:cubicBezTo>
                  <a:cubicBezTo>
                    <a:pt x="5" y="0"/>
                    <a:pt x="3" y="1"/>
                    <a:pt x="2" y="2"/>
                  </a:cubicBezTo>
                  <a:cubicBezTo>
                    <a:pt x="1" y="3"/>
                    <a:pt x="0" y="5"/>
                    <a:pt x="0" y="7"/>
                  </a:cubicBezTo>
                  <a:cubicBezTo>
                    <a:pt x="0" y="49"/>
                    <a:pt x="0" y="49"/>
                    <a:pt x="0" y="49"/>
                  </a:cubicBezTo>
                  <a:cubicBezTo>
                    <a:pt x="0" y="49"/>
                    <a:pt x="0" y="50"/>
                    <a:pt x="0" y="51"/>
                  </a:cubicBezTo>
                  <a:cubicBezTo>
                    <a:pt x="1" y="52"/>
                    <a:pt x="1" y="53"/>
                    <a:pt x="2" y="53"/>
                  </a:cubicBezTo>
                  <a:cubicBezTo>
                    <a:pt x="2" y="54"/>
                    <a:pt x="3" y="55"/>
                    <a:pt x="4" y="55"/>
                  </a:cubicBezTo>
                  <a:cubicBezTo>
                    <a:pt x="5" y="55"/>
                    <a:pt x="6" y="55"/>
                    <a:pt x="7" y="55"/>
                  </a:cubicBezTo>
                  <a:close/>
                </a:path>
              </a:pathLst>
            </a:custGeom>
            <a:solidFill>
              <a:srgbClr val="FFDD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87" name="Freeform 37">
              <a:extLst>
                <a:ext uri="{FF2B5EF4-FFF2-40B4-BE49-F238E27FC236}">
                  <a16:creationId xmlns:a16="http://schemas.microsoft.com/office/drawing/2014/main" id="{CA87A319-371C-4C77-832B-4E2022EEEFE3}"/>
                </a:ext>
              </a:extLst>
            </p:cNvPr>
            <p:cNvSpPr>
              <a:spLocks/>
            </p:cNvSpPr>
            <p:nvPr/>
          </p:nvSpPr>
          <p:spPr bwMode="auto">
            <a:xfrm>
              <a:off x="5321430" y="4613072"/>
              <a:ext cx="180539" cy="54337"/>
            </a:xfrm>
            <a:custGeom>
              <a:avLst/>
              <a:gdLst>
                <a:gd name="T0" fmla="*/ 37 w 43"/>
                <a:gd name="T1" fmla="*/ 0 h 13"/>
                <a:gd name="T2" fmla="*/ 6 w 43"/>
                <a:gd name="T3" fmla="*/ 0 h 13"/>
                <a:gd name="T4" fmla="*/ 0 w 43"/>
                <a:gd name="T5" fmla="*/ 6 h 13"/>
                <a:gd name="T6" fmla="*/ 6 w 43"/>
                <a:gd name="T7" fmla="*/ 13 h 13"/>
                <a:gd name="T8" fmla="*/ 37 w 43"/>
                <a:gd name="T9" fmla="*/ 13 h 13"/>
                <a:gd name="T10" fmla="*/ 43 w 43"/>
                <a:gd name="T11" fmla="*/ 6 h 13"/>
                <a:gd name="T12" fmla="*/ 37 w 43"/>
                <a:gd name="T13" fmla="*/ 0 h 13"/>
              </a:gdLst>
              <a:ahLst/>
              <a:cxnLst>
                <a:cxn ang="0">
                  <a:pos x="T0" y="T1"/>
                </a:cxn>
                <a:cxn ang="0">
                  <a:pos x="T2" y="T3"/>
                </a:cxn>
                <a:cxn ang="0">
                  <a:pos x="T4" y="T5"/>
                </a:cxn>
                <a:cxn ang="0">
                  <a:pos x="T6" y="T7"/>
                </a:cxn>
                <a:cxn ang="0">
                  <a:pos x="T8" y="T9"/>
                </a:cxn>
                <a:cxn ang="0">
                  <a:pos x="T10" y="T11"/>
                </a:cxn>
                <a:cxn ang="0">
                  <a:pos x="T12" y="T13"/>
                </a:cxn>
              </a:cxnLst>
              <a:rect l="0" t="0" r="r" b="b"/>
              <a:pathLst>
                <a:path w="43" h="13">
                  <a:moveTo>
                    <a:pt x="37" y="0"/>
                  </a:moveTo>
                  <a:cubicBezTo>
                    <a:pt x="6" y="0"/>
                    <a:pt x="6" y="0"/>
                    <a:pt x="6" y="0"/>
                  </a:cubicBezTo>
                  <a:cubicBezTo>
                    <a:pt x="2" y="0"/>
                    <a:pt x="0" y="3"/>
                    <a:pt x="0" y="6"/>
                  </a:cubicBezTo>
                  <a:cubicBezTo>
                    <a:pt x="0" y="10"/>
                    <a:pt x="2" y="13"/>
                    <a:pt x="6" y="13"/>
                  </a:cubicBezTo>
                  <a:cubicBezTo>
                    <a:pt x="37" y="13"/>
                    <a:pt x="37" y="13"/>
                    <a:pt x="37" y="13"/>
                  </a:cubicBezTo>
                  <a:cubicBezTo>
                    <a:pt x="41" y="13"/>
                    <a:pt x="43" y="10"/>
                    <a:pt x="43" y="6"/>
                  </a:cubicBezTo>
                  <a:cubicBezTo>
                    <a:pt x="43" y="3"/>
                    <a:pt x="41" y="0"/>
                    <a:pt x="37" y="0"/>
                  </a:cubicBezTo>
                  <a:close/>
                </a:path>
              </a:pathLst>
            </a:custGeom>
            <a:solidFill>
              <a:srgbClr val="E8E8F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88" name="Freeform 38">
              <a:extLst>
                <a:ext uri="{FF2B5EF4-FFF2-40B4-BE49-F238E27FC236}">
                  <a16:creationId xmlns:a16="http://schemas.microsoft.com/office/drawing/2014/main" id="{01B2F4C7-092B-4285-BC1D-5D117E4004DC}"/>
                </a:ext>
              </a:extLst>
            </p:cNvPr>
            <p:cNvSpPr>
              <a:spLocks/>
            </p:cNvSpPr>
            <p:nvPr/>
          </p:nvSpPr>
          <p:spPr bwMode="auto">
            <a:xfrm>
              <a:off x="5530013" y="4683184"/>
              <a:ext cx="1060443" cy="326020"/>
            </a:xfrm>
            <a:custGeom>
              <a:avLst/>
              <a:gdLst>
                <a:gd name="T0" fmla="*/ 247 w 254"/>
                <a:gd name="T1" fmla="*/ 0 h 78"/>
                <a:gd name="T2" fmla="*/ 7 w 254"/>
                <a:gd name="T3" fmla="*/ 0 h 78"/>
                <a:gd name="T4" fmla="*/ 0 w 254"/>
                <a:gd name="T5" fmla="*/ 6 h 78"/>
                <a:gd name="T6" fmla="*/ 0 w 254"/>
                <a:gd name="T7" fmla="*/ 71 h 78"/>
                <a:gd name="T8" fmla="*/ 7 w 254"/>
                <a:gd name="T9" fmla="*/ 78 h 78"/>
                <a:gd name="T10" fmla="*/ 247 w 254"/>
                <a:gd name="T11" fmla="*/ 78 h 78"/>
                <a:gd name="T12" fmla="*/ 254 w 254"/>
                <a:gd name="T13" fmla="*/ 71 h 78"/>
                <a:gd name="T14" fmla="*/ 254 w 254"/>
                <a:gd name="T15" fmla="*/ 6 h 78"/>
                <a:gd name="T16" fmla="*/ 247 w 254"/>
                <a:gd name="T17"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4" h="78">
                  <a:moveTo>
                    <a:pt x="247" y="0"/>
                  </a:moveTo>
                  <a:cubicBezTo>
                    <a:pt x="7" y="0"/>
                    <a:pt x="7" y="0"/>
                    <a:pt x="7" y="0"/>
                  </a:cubicBezTo>
                  <a:cubicBezTo>
                    <a:pt x="3" y="0"/>
                    <a:pt x="0" y="3"/>
                    <a:pt x="0" y="6"/>
                  </a:cubicBezTo>
                  <a:cubicBezTo>
                    <a:pt x="0" y="71"/>
                    <a:pt x="0" y="71"/>
                    <a:pt x="0" y="71"/>
                  </a:cubicBezTo>
                  <a:cubicBezTo>
                    <a:pt x="0" y="75"/>
                    <a:pt x="3" y="78"/>
                    <a:pt x="7" y="78"/>
                  </a:cubicBezTo>
                  <a:cubicBezTo>
                    <a:pt x="247" y="78"/>
                    <a:pt x="247" y="78"/>
                    <a:pt x="247" y="78"/>
                  </a:cubicBezTo>
                  <a:cubicBezTo>
                    <a:pt x="251" y="78"/>
                    <a:pt x="254" y="75"/>
                    <a:pt x="254" y="71"/>
                  </a:cubicBezTo>
                  <a:cubicBezTo>
                    <a:pt x="254" y="6"/>
                    <a:pt x="254" y="6"/>
                    <a:pt x="254" y="6"/>
                  </a:cubicBezTo>
                  <a:cubicBezTo>
                    <a:pt x="254" y="3"/>
                    <a:pt x="251" y="0"/>
                    <a:pt x="247" y="0"/>
                  </a:cubicBezTo>
                  <a:close/>
                </a:path>
              </a:pathLst>
            </a:custGeom>
            <a:solidFill>
              <a:srgbClr val="E8E8F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89" name="Freeform 39">
              <a:extLst>
                <a:ext uri="{FF2B5EF4-FFF2-40B4-BE49-F238E27FC236}">
                  <a16:creationId xmlns:a16="http://schemas.microsoft.com/office/drawing/2014/main" id="{521B9A21-8A79-43E3-82C4-CBEEB1E1DBC0}"/>
                </a:ext>
              </a:extLst>
            </p:cNvPr>
            <p:cNvSpPr>
              <a:spLocks/>
            </p:cNvSpPr>
            <p:nvPr/>
          </p:nvSpPr>
          <p:spPr bwMode="auto">
            <a:xfrm>
              <a:off x="5530013" y="4683184"/>
              <a:ext cx="63101" cy="326020"/>
            </a:xfrm>
            <a:custGeom>
              <a:avLst/>
              <a:gdLst>
                <a:gd name="T0" fmla="*/ 7 w 15"/>
                <a:gd name="T1" fmla="*/ 78 h 78"/>
                <a:gd name="T2" fmla="*/ 15 w 15"/>
                <a:gd name="T3" fmla="*/ 78 h 78"/>
                <a:gd name="T4" fmla="*/ 15 w 15"/>
                <a:gd name="T5" fmla="*/ 0 h 78"/>
                <a:gd name="T6" fmla="*/ 7 w 15"/>
                <a:gd name="T7" fmla="*/ 0 h 78"/>
                <a:gd name="T8" fmla="*/ 2 w 15"/>
                <a:gd name="T9" fmla="*/ 2 h 78"/>
                <a:gd name="T10" fmla="*/ 0 w 15"/>
                <a:gd name="T11" fmla="*/ 6 h 78"/>
                <a:gd name="T12" fmla="*/ 0 w 15"/>
                <a:gd name="T13" fmla="*/ 71 h 78"/>
                <a:gd name="T14" fmla="*/ 0 w 15"/>
                <a:gd name="T15" fmla="*/ 74 h 78"/>
                <a:gd name="T16" fmla="*/ 2 w 15"/>
                <a:gd name="T17" fmla="*/ 76 h 78"/>
                <a:gd name="T18" fmla="*/ 4 w 15"/>
                <a:gd name="T19" fmla="*/ 77 h 78"/>
                <a:gd name="T20" fmla="*/ 7 w 15"/>
                <a:gd name="T21"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 h="78">
                  <a:moveTo>
                    <a:pt x="7" y="78"/>
                  </a:moveTo>
                  <a:cubicBezTo>
                    <a:pt x="15" y="78"/>
                    <a:pt x="15" y="78"/>
                    <a:pt x="15" y="78"/>
                  </a:cubicBezTo>
                  <a:cubicBezTo>
                    <a:pt x="15" y="0"/>
                    <a:pt x="15" y="0"/>
                    <a:pt x="15" y="0"/>
                  </a:cubicBezTo>
                  <a:cubicBezTo>
                    <a:pt x="7" y="0"/>
                    <a:pt x="7" y="0"/>
                    <a:pt x="7" y="0"/>
                  </a:cubicBezTo>
                  <a:cubicBezTo>
                    <a:pt x="5" y="0"/>
                    <a:pt x="3" y="0"/>
                    <a:pt x="2" y="2"/>
                  </a:cubicBezTo>
                  <a:cubicBezTo>
                    <a:pt x="1" y="3"/>
                    <a:pt x="0" y="5"/>
                    <a:pt x="0" y="6"/>
                  </a:cubicBezTo>
                  <a:cubicBezTo>
                    <a:pt x="0" y="71"/>
                    <a:pt x="0" y="71"/>
                    <a:pt x="0" y="71"/>
                  </a:cubicBezTo>
                  <a:cubicBezTo>
                    <a:pt x="0" y="72"/>
                    <a:pt x="0" y="73"/>
                    <a:pt x="0" y="74"/>
                  </a:cubicBezTo>
                  <a:cubicBezTo>
                    <a:pt x="1" y="74"/>
                    <a:pt x="1" y="75"/>
                    <a:pt x="2" y="76"/>
                  </a:cubicBezTo>
                  <a:cubicBezTo>
                    <a:pt x="2" y="76"/>
                    <a:pt x="3" y="77"/>
                    <a:pt x="4" y="77"/>
                  </a:cubicBezTo>
                  <a:cubicBezTo>
                    <a:pt x="5" y="78"/>
                    <a:pt x="6" y="78"/>
                    <a:pt x="7" y="78"/>
                  </a:cubicBezTo>
                  <a:close/>
                </a:path>
              </a:pathLst>
            </a:custGeom>
            <a:solidFill>
              <a:srgbClr val="ACAF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90" name="Freeform 40">
              <a:extLst>
                <a:ext uri="{FF2B5EF4-FFF2-40B4-BE49-F238E27FC236}">
                  <a16:creationId xmlns:a16="http://schemas.microsoft.com/office/drawing/2014/main" id="{61DD14D9-D5F5-4A3D-A658-717176528B8A}"/>
                </a:ext>
              </a:extLst>
            </p:cNvPr>
            <p:cNvSpPr>
              <a:spLocks/>
            </p:cNvSpPr>
            <p:nvPr/>
          </p:nvSpPr>
          <p:spPr bwMode="auto">
            <a:xfrm>
              <a:off x="5530013" y="2751601"/>
              <a:ext cx="1060443" cy="422425"/>
            </a:xfrm>
            <a:custGeom>
              <a:avLst/>
              <a:gdLst>
                <a:gd name="T0" fmla="*/ 247 w 254"/>
                <a:gd name="T1" fmla="*/ 0 h 101"/>
                <a:gd name="T2" fmla="*/ 7 w 254"/>
                <a:gd name="T3" fmla="*/ 0 h 101"/>
                <a:gd name="T4" fmla="*/ 0 w 254"/>
                <a:gd name="T5" fmla="*/ 6 h 101"/>
                <a:gd name="T6" fmla="*/ 0 w 254"/>
                <a:gd name="T7" fmla="*/ 94 h 101"/>
                <a:gd name="T8" fmla="*/ 7 w 254"/>
                <a:gd name="T9" fmla="*/ 101 h 101"/>
                <a:gd name="T10" fmla="*/ 247 w 254"/>
                <a:gd name="T11" fmla="*/ 101 h 101"/>
                <a:gd name="T12" fmla="*/ 254 w 254"/>
                <a:gd name="T13" fmla="*/ 94 h 101"/>
                <a:gd name="T14" fmla="*/ 254 w 254"/>
                <a:gd name="T15" fmla="*/ 6 h 101"/>
                <a:gd name="T16" fmla="*/ 247 w 254"/>
                <a:gd name="T17"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4" h="101">
                  <a:moveTo>
                    <a:pt x="247" y="0"/>
                  </a:moveTo>
                  <a:cubicBezTo>
                    <a:pt x="7" y="0"/>
                    <a:pt x="7" y="0"/>
                    <a:pt x="7" y="0"/>
                  </a:cubicBezTo>
                  <a:cubicBezTo>
                    <a:pt x="3" y="0"/>
                    <a:pt x="0" y="3"/>
                    <a:pt x="0" y="6"/>
                  </a:cubicBezTo>
                  <a:cubicBezTo>
                    <a:pt x="0" y="94"/>
                    <a:pt x="0" y="94"/>
                    <a:pt x="0" y="94"/>
                  </a:cubicBezTo>
                  <a:cubicBezTo>
                    <a:pt x="0" y="98"/>
                    <a:pt x="3" y="101"/>
                    <a:pt x="7" y="101"/>
                  </a:cubicBezTo>
                  <a:cubicBezTo>
                    <a:pt x="247" y="101"/>
                    <a:pt x="247" y="101"/>
                    <a:pt x="247" y="101"/>
                  </a:cubicBezTo>
                  <a:cubicBezTo>
                    <a:pt x="251" y="101"/>
                    <a:pt x="254" y="98"/>
                    <a:pt x="254" y="94"/>
                  </a:cubicBezTo>
                  <a:cubicBezTo>
                    <a:pt x="254" y="6"/>
                    <a:pt x="254" y="6"/>
                    <a:pt x="254" y="6"/>
                  </a:cubicBezTo>
                  <a:cubicBezTo>
                    <a:pt x="254" y="3"/>
                    <a:pt x="251" y="0"/>
                    <a:pt x="247" y="0"/>
                  </a:cubicBezTo>
                  <a:close/>
                </a:path>
              </a:pathLst>
            </a:custGeom>
            <a:solidFill>
              <a:srgbClr val="E8E8F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91" name="Freeform 41">
              <a:extLst>
                <a:ext uri="{FF2B5EF4-FFF2-40B4-BE49-F238E27FC236}">
                  <a16:creationId xmlns:a16="http://schemas.microsoft.com/office/drawing/2014/main" id="{5764FF9E-4F7B-4262-B999-F29F030A5342}"/>
                </a:ext>
              </a:extLst>
            </p:cNvPr>
            <p:cNvSpPr>
              <a:spLocks/>
            </p:cNvSpPr>
            <p:nvPr/>
          </p:nvSpPr>
          <p:spPr bwMode="auto">
            <a:xfrm>
              <a:off x="5321430" y="2681490"/>
              <a:ext cx="180539" cy="54337"/>
            </a:xfrm>
            <a:custGeom>
              <a:avLst/>
              <a:gdLst>
                <a:gd name="T0" fmla="*/ 37 w 43"/>
                <a:gd name="T1" fmla="*/ 0 h 13"/>
                <a:gd name="T2" fmla="*/ 6 w 43"/>
                <a:gd name="T3" fmla="*/ 0 h 13"/>
                <a:gd name="T4" fmla="*/ 0 w 43"/>
                <a:gd name="T5" fmla="*/ 6 h 13"/>
                <a:gd name="T6" fmla="*/ 6 w 43"/>
                <a:gd name="T7" fmla="*/ 13 h 13"/>
                <a:gd name="T8" fmla="*/ 37 w 43"/>
                <a:gd name="T9" fmla="*/ 13 h 13"/>
                <a:gd name="T10" fmla="*/ 43 w 43"/>
                <a:gd name="T11" fmla="*/ 6 h 13"/>
                <a:gd name="T12" fmla="*/ 37 w 43"/>
                <a:gd name="T13" fmla="*/ 0 h 13"/>
              </a:gdLst>
              <a:ahLst/>
              <a:cxnLst>
                <a:cxn ang="0">
                  <a:pos x="T0" y="T1"/>
                </a:cxn>
                <a:cxn ang="0">
                  <a:pos x="T2" y="T3"/>
                </a:cxn>
                <a:cxn ang="0">
                  <a:pos x="T4" y="T5"/>
                </a:cxn>
                <a:cxn ang="0">
                  <a:pos x="T6" y="T7"/>
                </a:cxn>
                <a:cxn ang="0">
                  <a:pos x="T8" y="T9"/>
                </a:cxn>
                <a:cxn ang="0">
                  <a:pos x="T10" y="T11"/>
                </a:cxn>
                <a:cxn ang="0">
                  <a:pos x="T12" y="T13"/>
                </a:cxn>
              </a:cxnLst>
              <a:rect l="0" t="0" r="r" b="b"/>
              <a:pathLst>
                <a:path w="43" h="13">
                  <a:moveTo>
                    <a:pt x="37" y="0"/>
                  </a:moveTo>
                  <a:cubicBezTo>
                    <a:pt x="6" y="0"/>
                    <a:pt x="6" y="0"/>
                    <a:pt x="6" y="0"/>
                  </a:cubicBezTo>
                  <a:cubicBezTo>
                    <a:pt x="2" y="0"/>
                    <a:pt x="0" y="3"/>
                    <a:pt x="0" y="6"/>
                  </a:cubicBezTo>
                  <a:cubicBezTo>
                    <a:pt x="0" y="10"/>
                    <a:pt x="2" y="13"/>
                    <a:pt x="6" y="13"/>
                  </a:cubicBezTo>
                  <a:cubicBezTo>
                    <a:pt x="37" y="13"/>
                    <a:pt x="37" y="13"/>
                    <a:pt x="37" y="13"/>
                  </a:cubicBezTo>
                  <a:cubicBezTo>
                    <a:pt x="41" y="13"/>
                    <a:pt x="43" y="10"/>
                    <a:pt x="43" y="6"/>
                  </a:cubicBezTo>
                  <a:cubicBezTo>
                    <a:pt x="43" y="3"/>
                    <a:pt x="41" y="0"/>
                    <a:pt x="37" y="0"/>
                  </a:cubicBezTo>
                  <a:close/>
                </a:path>
              </a:pathLst>
            </a:custGeom>
            <a:solidFill>
              <a:srgbClr val="E8E8F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92" name="Freeform 42">
              <a:extLst>
                <a:ext uri="{FF2B5EF4-FFF2-40B4-BE49-F238E27FC236}">
                  <a16:creationId xmlns:a16="http://schemas.microsoft.com/office/drawing/2014/main" id="{1FF2F0AC-7976-4B64-818B-6A5AE8C4A73B}"/>
                </a:ext>
              </a:extLst>
            </p:cNvPr>
            <p:cNvSpPr>
              <a:spLocks/>
            </p:cNvSpPr>
            <p:nvPr/>
          </p:nvSpPr>
          <p:spPr bwMode="auto">
            <a:xfrm>
              <a:off x="5530013" y="2751601"/>
              <a:ext cx="63101" cy="422425"/>
            </a:xfrm>
            <a:custGeom>
              <a:avLst/>
              <a:gdLst>
                <a:gd name="T0" fmla="*/ 7 w 15"/>
                <a:gd name="T1" fmla="*/ 101 h 101"/>
                <a:gd name="T2" fmla="*/ 15 w 15"/>
                <a:gd name="T3" fmla="*/ 101 h 101"/>
                <a:gd name="T4" fmla="*/ 15 w 15"/>
                <a:gd name="T5" fmla="*/ 0 h 101"/>
                <a:gd name="T6" fmla="*/ 7 w 15"/>
                <a:gd name="T7" fmla="*/ 0 h 101"/>
                <a:gd name="T8" fmla="*/ 2 w 15"/>
                <a:gd name="T9" fmla="*/ 2 h 101"/>
                <a:gd name="T10" fmla="*/ 0 w 15"/>
                <a:gd name="T11" fmla="*/ 6 h 101"/>
                <a:gd name="T12" fmla="*/ 0 w 15"/>
                <a:gd name="T13" fmla="*/ 94 h 101"/>
                <a:gd name="T14" fmla="*/ 0 w 15"/>
                <a:gd name="T15" fmla="*/ 97 h 101"/>
                <a:gd name="T16" fmla="*/ 2 w 15"/>
                <a:gd name="T17" fmla="*/ 99 h 101"/>
                <a:gd name="T18" fmla="*/ 4 w 15"/>
                <a:gd name="T19" fmla="*/ 100 h 101"/>
                <a:gd name="T20" fmla="*/ 7 w 15"/>
                <a:gd name="T21"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 h="101">
                  <a:moveTo>
                    <a:pt x="7" y="101"/>
                  </a:moveTo>
                  <a:cubicBezTo>
                    <a:pt x="15" y="101"/>
                    <a:pt x="15" y="101"/>
                    <a:pt x="15" y="101"/>
                  </a:cubicBezTo>
                  <a:cubicBezTo>
                    <a:pt x="15" y="0"/>
                    <a:pt x="15" y="0"/>
                    <a:pt x="15" y="0"/>
                  </a:cubicBezTo>
                  <a:cubicBezTo>
                    <a:pt x="7" y="0"/>
                    <a:pt x="7" y="0"/>
                    <a:pt x="7" y="0"/>
                  </a:cubicBezTo>
                  <a:cubicBezTo>
                    <a:pt x="5" y="0"/>
                    <a:pt x="3" y="0"/>
                    <a:pt x="2" y="2"/>
                  </a:cubicBezTo>
                  <a:cubicBezTo>
                    <a:pt x="1" y="3"/>
                    <a:pt x="0" y="4"/>
                    <a:pt x="0" y="6"/>
                  </a:cubicBezTo>
                  <a:cubicBezTo>
                    <a:pt x="0" y="94"/>
                    <a:pt x="0" y="94"/>
                    <a:pt x="0" y="94"/>
                  </a:cubicBezTo>
                  <a:cubicBezTo>
                    <a:pt x="0" y="95"/>
                    <a:pt x="0" y="96"/>
                    <a:pt x="0" y="97"/>
                  </a:cubicBezTo>
                  <a:cubicBezTo>
                    <a:pt x="1" y="97"/>
                    <a:pt x="1" y="98"/>
                    <a:pt x="2" y="99"/>
                  </a:cubicBezTo>
                  <a:cubicBezTo>
                    <a:pt x="2" y="99"/>
                    <a:pt x="3" y="100"/>
                    <a:pt x="4" y="100"/>
                  </a:cubicBezTo>
                  <a:cubicBezTo>
                    <a:pt x="5" y="101"/>
                    <a:pt x="6" y="101"/>
                    <a:pt x="7" y="101"/>
                  </a:cubicBezTo>
                  <a:close/>
                </a:path>
              </a:pathLst>
            </a:custGeom>
            <a:solidFill>
              <a:srgbClr val="ACAF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93" name="Freeform 43">
              <a:extLst>
                <a:ext uri="{FF2B5EF4-FFF2-40B4-BE49-F238E27FC236}">
                  <a16:creationId xmlns:a16="http://schemas.microsoft.com/office/drawing/2014/main" id="{E6B66D0C-5775-49A3-905C-F9E7B0547C84}"/>
                </a:ext>
              </a:extLst>
            </p:cNvPr>
            <p:cNvSpPr>
              <a:spLocks/>
            </p:cNvSpPr>
            <p:nvPr/>
          </p:nvSpPr>
          <p:spPr bwMode="auto">
            <a:xfrm>
              <a:off x="5321430" y="3649033"/>
              <a:ext cx="180539" cy="54337"/>
            </a:xfrm>
            <a:custGeom>
              <a:avLst/>
              <a:gdLst>
                <a:gd name="T0" fmla="*/ 37 w 43"/>
                <a:gd name="T1" fmla="*/ 0 h 13"/>
                <a:gd name="T2" fmla="*/ 6 w 43"/>
                <a:gd name="T3" fmla="*/ 0 h 13"/>
                <a:gd name="T4" fmla="*/ 0 w 43"/>
                <a:gd name="T5" fmla="*/ 7 h 13"/>
                <a:gd name="T6" fmla="*/ 6 w 43"/>
                <a:gd name="T7" fmla="*/ 13 h 13"/>
                <a:gd name="T8" fmla="*/ 37 w 43"/>
                <a:gd name="T9" fmla="*/ 13 h 13"/>
                <a:gd name="T10" fmla="*/ 43 w 43"/>
                <a:gd name="T11" fmla="*/ 7 h 13"/>
                <a:gd name="T12" fmla="*/ 37 w 43"/>
                <a:gd name="T13" fmla="*/ 0 h 13"/>
              </a:gdLst>
              <a:ahLst/>
              <a:cxnLst>
                <a:cxn ang="0">
                  <a:pos x="T0" y="T1"/>
                </a:cxn>
                <a:cxn ang="0">
                  <a:pos x="T2" y="T3"/>
                </a:cxn>
                <a:cxn ang="0">
                  <a:pos x="T4" y="T5"/>
                </a:cxn>
                <a:cxn ang="0">
                  <a:pos x="T6" y="T7"/>
                </a:cxn>
                <a:cxn ang="0">
                  <a:pos x="T8" y="T9"/>
                </a:cxn>
                <a:cxn ang="0">
                  <a:pos x="T10" y="T11"/>
                </a:cxn>
                <a:cxn ang="0">
                  <a:pos x="T12" y="T13"/>
                </a:cxn>
              </a:cxnLst>
              <a:rect l="0" t="0" r="r" b="b"/>
              <a:pathLst>
                <a:path w="43" h="13">
                  <a:moveTo>
                    <a:pt x="37" y="0"/>
                  </a:moveTo>
                  <a:cubicBezTo>
                    <a:pt x="6" y="0"/>
                    <a:pt x="6" y="0"/>
                    <a:pt x="6" y="0"/>
                  </a:cubicBezTo>
                  <a:cubicBezTo>
                    <a:pt x="2" y="0"/>
                    <a:pt x="0" y="3"/>
                    <a:pt x="0" y="7"/>
                  </a:cubicBezTo>
                  <a:cubicBezTo>
                    <a:pt x="0" y="10"/>
                    <a:pt x="2" y="13"/>
                    <a:pt x="6" y="13"/>
                  </a:cubicBezTo>
                  <a:cubicBezTo>
                    <a:pt x="37" y="13"/>
                    <a:pt x="37" y="13"/>
                    <a:pt x="37" y="13"/>
                  </a:cubicBezTo>
                  <a:cubicBezTo>
                    <a:pt x="41" y="13"/>
                    <a:pt x="43" y="10"/>
                    <a:pt x="43" y="7"/>
                  </a:cubicBezTo>
                  <a:cubicBezTo>
                    <a:pt x="43" y="3"/>
                    <a:pt x="41" y="0"/>
                    <a:pt x="37" y="0"/>
                  </a:cubicBezTo>
                  <a:close/>
                </a:path>
              </a:pathLst>
            </a:custGeom>
            <a:solidFill>
              <a:srgbClr val="E8E8F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94" name="Freeform 44">
              <a:extLst>
                <a:ext uri="{FF2B5EF4-FFF2-40B4-BE49-F238E27FC236}">
                  <a16:creationId xmlns:a16="http://schemas.microsoft.com/office/drawing/2014/main" id="{0F6872F0-6642-44B0-BE65-A4529082C128}"/>
                </a:ext>
              </a:extLst>
            </p:cNvPr>
            <p:cNvSpPr>
              <a:spLocks/>
            </p:cNvSpPr>
            <p:nvPr/>
          </p:nvSpPr>
          <p:spPr bwMode="auto">
            <a:xfrm>
              <a:off x="5530013" y="3719145"/>
              <a:ext cx="1060443" cy="368087"/>
            </a:xfrm>
            <a:custGeom>
              <a:avLst/>
              <a:gdLst>
                <a:gd name="T0" fmla="*/ 247 w 254"/>
                <a:gd name="T1" fmla="*/ 0 h 88"/>
                <a:gd name="T2" fmla="*/ 7 w 254"/>
                <a:gd name="T3" fmla="*/ 0 h 88"/>
                <a:gd name="T4" fmla="*/ 0 w 254"/>
                <a:gd name="T5" fmla="*/ 6 h 88"/>
                <a:gd name="T6" fmla="*/ 0 w 254"/>
                <a:gd name="T7" fmla="*/ 81 h 88"/>
                <a:gd name="T8" fmla="*/ 7 w 254"/>
                <a:gd name="T9" fmla="*/ 88 h 88"/>
                <a:gd name="T10" fmla="*/ 247 w 254"/>
                <a:gd name="T11" fmla="*/ 88 h 88"/>
                <a:gd name="T12" fmla="*/ 254 w 254"/>
                <a:gd name="T13" fmla="*/ 81 h 88"/>
                <a:gd name="T14" fmla="*/ 254 w 254"/>
                <a:gd name="T15" fmla="*/ 6 h 88"/>
                <a:gd name="T16" fmla="*/ 247 w 254"/>
                <a:gd name="T17" fmla="*/ 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4" h="88">
                  <a:moveTo>
                    <a:pt x="247" y="0"/>
                  </a:moveTo>
                  <a:cubicBezTo>
                    <a:pt x="7" y="0"/>
                    <a:pt x="7" y="0"/>
                    <a:pt x="7" y="0"/>
                  </a:cubicBezTo>
                  <a:cubicBezTo>
                    <a:pt x="3" y="0"/>
                    <a:pt x="0" y="3"/>
                    <a:pt x="0" y="6"/>
                  </a:cubicBezTo>
                  <a:cubicBezTo>
                    <a:pt x="0" y="81"/>
                    <a:pt x="0" y="81"/>
                    <a:pt x="0" y="81"/>
                  </a:cubicBezTo>
                  <a:cubicBezTo>
                    <a:pt x="0" y="85"/>
                    <a:pt x="3" y="88"/>
                    <a:pt x="7" y="88"/>
                  </a:cubicBezTo>
                  <a:cubicBezTo>
                    <a:pt x="247" y="88"/>
                    <a:pt x="247" y="88"/>
                    <a:pt x="247" y="88"/>
                  </a:cubicBezTo>
                  <a:cubicBezTo>
                    <a:pt x="251" y="88"/>
                    <a:pt x="254" y="85"/>
                    <a:pt x="254" y="81"/>
                  </a:cubicBezTo>
                  <a:cubicBezTo>
                    <a:pt x="254" y="6"/>
                    <a:pt x="254" y="6"/>
                    <a:pt x="254" y="6"/>
                  </a:cubicBezTo>
                  <a:cubicBezTo>
                    <a:pt x="254" y="3"/>
                    <a:pt x="251" y="0"/>
                    <a:pt x="247" y="0"/>
                  </a:cubicBezTo>
                  <a:close/>
                </a:path>
              </a:pathLst>
            </a:custGeom>
            <a:solidFill>
              <a:srgbClr val="E8E8F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95" name="Freeform 45">
              <a:extLst>
                <a:ext uri="{FF2B5EF4-FFF2-40B4-BE49-F238E27FC236}">
                  <a16:creationId xmlns:a16="http://schemas.microsoft.com/office/drawing/2014/main" id="{F4457805-D399-4C65-85BD-4E44A6849A3F}"/>
                </a:ext>
              </a:extLst>
            </p:cNvPr>
            <p:cNvSpPr>
              <a:spLocks/>
            </p:cNvSpPr>
            <p:nvPr/>
          </p:nvSpPr>
          <p:spPr bwMode="auto">
            <a:xfrm>
              <a:off x="5530013" y="3719145"/>
              <a:ext cx="63101" cy="368087"/>
            </a:xfrm>
            <a:custGeom>
              <a:avLst/>
              <a:gdLst>
                <a:gd name="T0" fmla="*/ 7 w 15"/>
                <a:gd name="T1" fmla="*/ 88 h 88"/>
                <a:gd name="T2" fmla="*/ 15 w 15"/>
                <a:gd name="T3" fmla="*/ 88 h 88"/>
                <a:gd name="T4" fmla="*/ 15 w 15"/>
                <a:gd name="T5" fmla="*/ 0 h 88"/>
                <a:gd name="T6" fmla="*/ 7 w 15"/>
                <a:gd name="T7" fmla="*/ 0 h 88"/>
                <a:gd name="T8" fmla="*/ 2 w 15"/>
                <a:gd name="T9" fmla="*/ 2 h 88"/>
                <a:gd name="T10" fmla="*/ 0 w 15"/>
                <a:gd name="T11" fmla="*/ 6 h 88"/>
                <a:gd name="T12" fmla="*/ 0 w 15"/>
                <a:gd name="T13" fmla="*/ 81 h 88"/>
                <a:gd name="T14" fmla="*/ 0 w 15"/>
                <a:gd name="T15" fmla="*/ 84 h 88"/>
                <a:gd name="T16" fmla="*/ 2 w 15"/>
                <a:gd name="T17" fmla="*/ 86 h 88"/>
                <a:gd name="T18" fmla="*/ 4 w 15"/>
                <a:gd name="T19" fmla="*/ 88 h 88"/>
                <a:gd name="T20" fmla="*/ 7 w 15"/>
                <a:gd name="T21"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 h="88">
                  <a:moveTo>
                    <a:pt x="7" y="88"/>
                  </a:moveTo>
                  <a:cubicBezTo>
                    <a:pt x="15" y="88"/>
                    <a:pt x="15" y="88"/>
                    <a:pt x="15" y="88"/>
                  </a:cubicBezTo>
                  <a:cubicBezTo>
                    <a:pt x="15" y="0"/>
                    <a:pt x="15" y="0"/>
                    <a:pt x="15" y="0"/>
                  </a:cubicBezTo>
                  <a:cubicBezTo>
                    <a:pt x="7" y="0"/>
                    <a:pt x="7" y="0"/>
                    <a:pt x="7" y="0"/>
                  </a:cubicBezTo>
                  <a:cubicBezTo>
                    <a:pt x="5" y="0"/>
                    <a:pt x="3" y="1"/>
                    <a:pt x="2" y="2"/>
                  </a:cubicBezTo>
                  <a:cubicBezTo>
                    <a:pt x="1" y="3"/>
                    <a:pt x="0" y="5"/>
                    <a:pt x="0" y="6"/>
                  </a:cubicBezTo>
                  <a:cubicBezTo>
                    <a:pt x="0" y="81"/>
                    <a:pt x="0" y="81"/>
                    <a:pt x="0" y="81"/>
                  </a:cubicBezTo>
                  <a:cubicBezTo>
                    <a:pt x="0" y="82"/>
                    <a:pt x="0" y="83"/>
                    <a:pt x="0" y="84"/>
                  </a:cubicBezTo>
                  <a:cubicBezTo>
                    <a:pt x="1" y="85"/>
                    <a:pt x="1" y="86"/>
                    <a:pt x="2" y="86"/>
                  </a:cubicBezTo>
                  <a:cubicBezTo>
                    <a:pt x="2" y="87"/>
                    <a:pt x="3" y="87"/>
                    <a:pt x="4" y="88"/>
                  </a:cubicBezTo>
                  <a:cubicBezTo>
                    <a:pt x="5" y="88"/>
                    <a:pt x="6" y="88"/>
                    <a:pt x="7" y="88"/>
                  </a:cubicBezTo>
                  <a:close/>
                </a:path>
              </a:pathLst>
            </a:custGeom>
            <a:solidFill>
              <a:srgbClr val="ACAF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96" name="Freeform 46">
              <a:extLst>
                <a:ext uri="{FF2B5EF4-FFF2-40B4-BE49-F238E27FC236}">
                  <a16:creationId xmlns:a16="http://schemas.microsoft.com/office/drawing/2014/main" id="{6DFAD7EF-68BE-4BCC-9C52-099D5FCD7931}"/>
                </a:ext>
              </a:extLst>
            </p:cNvPr>
            <p:cNvSpPr>
              <a:spLocks/>
            </p:cNvSpPr>
            <p:nvPr/>
          </p:nvSpPr>
          <p:spPr bwMode="auto">
            <a:xfrm>
              <a:off x="5626416" y="2851510"/>
              <a:ext cx="17528" cy="29798"/>
            </a:xfrm>
            <a:custGeom>
              <a:avLst/>
              <a:gdLst>
                <a:gd name="T0" fmla="*/ 1 w 4"/>
                <a:gd name="T1" fmla="*/ 7 h 7"/>
                <a:gd name="T2" fmla="*/ 0 w 4"/>
                <a:gd name="T3" fmla="*/ 7 h 7"/>
                <a:gd name="T4" fmla="*/ 0 w 4"/>
                <a:gd name="T5" fmla="*/ 7 h 7"/>
                <a:gd name="T6" fmla="*/ 0 w 4"/>
                <a:gd name="T7" fmla="*/ 7 h 7"/>
                <a:gd name="T8" fmla="*/ 0 w 4"/>
                <a:gd name="T9" fmla="*/ 6 h 7"/>
                <a:gd name="T10" fmla="*/ 0 w 4"/>
                <a:gd name="T11" fmla="*/ 6 h 7"/>
                <a:gd name="T12" fmla="*/ 2 w 4"/>
                <a:gd name="T13" fmla="*/ 1 h 7"/>
                <a:gd name="T14" fmla="*/ 3 w 4"/>
                <a:gd name="T15" fmla="*/ 0 h 7"/>
                <a:gd name="T16" fmla="*/ 4 w 4"/>
                <a:gd name="T17" fmla="*/ 1 h 7"/>
                <a:gd name="T18" fmla="*/ 4 w 4"/>
                <a:gd name="T19" fmla="*/ 1 h 7"/>
                <a:gd name="T20" fmla="*/ 4 w 4"/>
                <a:gd name="T21" fmla="*/ 2 h 7"/>
                <a:gd name="T22" fmla="*/ 1 w 4"/>
                <a:gd name="T23" fmla="*/ 7 h 7"/>
                <a:gd name="T24" fmla="*/ 1 w 4"/>
                <a:gd name="T25" fmla="*/ 7 h 7"/>
                <a:gd name="T26" fmla="*/ 1 w 4"/>
                <a:gd name="T27"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 h="7">
                  <a:moveTo>
                    <a:pt x="1" y="7"/>
                  </a:moveTo>
                  <a:cubicBezTo>
                    <a:pt x="1" y="7"/>
                    <a:pt x="0" y="7"/>
                    <a:pt x="0" y="7"/>
                  </a:cubicBezTo>
                  <a:cubicBezTo>
                    <a:pt x="0" y="7"/>
                    <a:pt x="0" y="7"/>
                    <a:pt x="0" y="7"/>
                  </a:cubicBezTo>
                  <a:cubicBezTo>
                    <a:pt x="0" y="7"/>
                    <a:pt x="0" y="7"/>
                    <a:pt x="0" y="7"/>
                  </a:cubicBezTo>
                  <a:cubicBezTo>
                    <a:pt x="0" y="7"/>
                    <a:pt x="0" y="7"/>
                    <a:pt x="0" y="6"/>
                  </a:cubicBezTo>
                  <a:cubicBezTo>
                    <a:pt x="0" y="6"/>
                    <a:pt x="0" y="6"/>
                    <a:pt x="0" y="6"/>
                  </a:cubicBezTo>
                  <a:cubicBezTo>
                    <a:pt x="0" y="4"/>
                    <a:pt x="1" y="2"/>
                    <a:pt x="2" y="1"/>
                  </a:cubicBezTo>
                  <a:cubicBezTo>
                    <a:pt x="3" y="1"/>
                    <a:pt x="3" y="0"/>
                    <a:pt x="3" y="0"/>
                  </a:cubicBezTo>
                  <a:cubicBezTo>
                    <a:pt x="3" y="0"/>
                    <a:pt x="4" y="0"/>
                    <a:pt x="4" y="1"/>
                  </a:cubicBezTo>
                  <a:cubicBezTo>
                    <a:pt x="4" y="1"/>
                    <a:pt x="4" y="1"/>
                    <a:pt x="4" y="1"/>
                  </a:cubicBezTo>
                  <a:cubicBezTo>
                    <a:pt x="4" y="1"/>
                    <a:pt x="4" y="2"/>
                    <a:pt x="4" y="2"/>
                  </a:cubicBezTo>
                  <a:cubicBezTo>
                    <a:pt x="3" y="3"/>
                    <a:pt x="2" y="5"/>
                    <a:pt x="1" y="7"/>
                  </a:cubicBezTo>
                  <a:cubicBezTo>
                    <a:pt x="1" y="7"/>
                    <a:pt x="1" y="7"/>
                    <a:pt x="1" y="7"/>
                  </a:cubicBezTo>
                  <a:cubicBezTo>
                    <a:pt x="1" y="7"/>
                    <a:pt x="1" y="7"/>
                    <a:pt x="1" y="7"/>
                  </a:cubicBezTo>
                  <a:close/>
                </a:path>
              </a:pathLst>
            </a:custGeom>
            <a:solidFill>
              <a:srgbClr val="1105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97" name="Freeform 47">
              <a:extLst>
                <a:ext uri="{FF2B5EF4-FFF2-40B4-BE49-F238E27FC236}">
                  <a16:creationId xmlns:a16="http://schemas.microsoft.com/office/drawing/2014/main" id="{4FCF7A13-525B-4FFB-8041-D03FBC1680CE}"/>
                </a:ext>
              </a:extLst>
            </p:cNvPr>
            <p:cNvSpPr>
              <a:spLocks noEditPoints="1"/>
            </p:cNvSpPr>
            <p:nvPr/>
          </p:nvSpPr>
          <p:spPr bwMode="auto">
            <a:xfrm>
              <a:off x="5668483" y="2723557"/>
              <a:ext cx="616985" cy="375099"/>
            </a:xfrm>
            <a:custGeom>
              <a:avLst/>
              <a:gdLst>
                <a:gd name="T0" fmla="*/ 135 w 148"/>
                <a:gd name="T1" fmla="*/ 87 h 90"/>
                <a:gd name="T2" fmla="*/ 136 w 148"/>
                <a:gd name="T3" fmla="*/ 85 h 90"/>
                <a:gd name="T4" fmla="*/ 147 w 148"/>
                <a:gd name="T5" fmla="*/ 89 h 90"/>
                <a:gd name="T6" fmla="*/ 147 w 148"/>
                <a:gd name="T7" fmla="*/ 90 h 90"/>
                <a:gd name="T8" fmla="*/ 113 w 148"/>
                <a:gd name="T9" fmla="*/ 76 h 90"/>
                <a:gd name="T10" fmla="*/ 114 w 148"/>
                <a:gd name="T11" fmla="*/ 75 h 90"/>
                <a:gd name="T12" fmla="*/ 126 w 148"/>
                <a:gd name="T13" fmla="*/ 82 h 90"/>
                <a:gd name="T14" fmla="*/ 105 w 148"/>
                <a:gd name="T15" fmla="*/ 69 h 90"/>
                <a:gd name="T16" fmla="*/ 96 w 148"/>
                <a:gd name="T17" fmla="*/ 60 h 90"/>
                <a:gd name="T18" fmla="*/ 97 w 148"/>
                <a:gd name="T19" fmla="*/ 59 h 90"/>
                <a:gd name="T20" fmla="*/ 106 w 148"/>
                <a:gd name="T21" fmla="*/ 68 h 90"/>
                <a:gd name="T22" fmla="*/ 92 w 148"/>
                <a:gd name="T23" fmla="*/ 50 h 90"/>
                <a:gd name="T24" fmla="*/ 87 w 148"/>
                <a:gd name="T25" fmla="*/ 38 h 90"/>
                <a:gd name="T26" fmla="*/ 89 w 148"/>
                <a:gd name="T27" fmla="*/ 38 h 90"/>
                <a:gd name="T28" fmla="*/ 92 w 148"/>
                <a:gd name="T29" fmla="*/ 50 h 90"/>
                <a:gd name="T30" fmla="*/ 91 w 148"/>
                <a:gd name="T31" fmla="*/ 38 h 90"/>
                <a:gd name="T32" fmla="*/ 90 w 148"/>
                <a:gd name="T33" fmla="*/ 36 h 90"/>
                <a:gd name="T34" fmla="*/ 103 w 148"/>
                <a:gd name="T35" fmla="*/ 35 h 90"/>
                <a:gd name="T36" fmla="*/ 104 w 148"/>
                <a:gd name="T37" fmla="*/ 36 h 90"/>
                <a:gd name="T38" fmla="*/ 97 w 148"/>
                <a:gd name="T39" fmla="*/ 38 h 90"/>
                <a:gd name="T40" fmla="*/ 68 w 148"/>
                <a:gd name="T41" fmla="*/ 31 h 90"/>
                <a:gd name="T42" fmla="*/ 68 w 148"/>
                <a:gd name="T43" fmla="*/ 29 h 90"/>
                <a:gd name="T44" fmla="*/ 80 w 148"/>
                <a:gd name="T45" fmla="*/ 33 h 90"/>
                <a:gd name="T46" fmla="*/ 80 w 148"/>
                <a:gd name="T47" fmla="*/ 35 h 90"/>
                <a:gd name="T48" fmla="*/ 113 w 148"/>
                <a:gd name="T49" fmla="*/ 33 h 90"/>
                <a:gd name="T50" fmla="*/ 118 w 148"/>
                <a:gd name="T51" fmla="*/ 28 h 90"/>
                <a:gd name="T52" fmla="*/ 123 w 148"/>
                <a:gd name="T53" fmla="*/ 24 h 90"/>
                <a:gd name="T54" fmla="*/ 114 w 148"/>
                <a:gd name="T55" fmla="*/ 33 h 90"/>
                <a:gd name="T56" fmla="*/ 87 w 148"/>
                <a:gd name="T57" fmla="*/ 27 h 90"/>
                <a:gd name="T58" fmla="*/ 91 w 148"/>
                <a:gd name="T59" fmla="*/ 14 h 90"/>
                <a:gd name="T60" fmla="*/ 88 w 148"/>
                <a:gd name="T61" fmla="*/ 27 h 90"/>
                <a:gd name="T62" fmla="*/ 57 w 148"/>
                <a:gd name="T63" fmla="*/ 26 h 90"/>
                <a:gd name="T64" fmla="*/ 46 w 148"/>
                <a:gd name="T65" fmla="*/ 22 h 90"/>
                <a:gd name="T66" fmla="*/ 46 w 148"/>
                <a:gd name="T67" fmla="*/ 20 h 90"/>
                <a:gd name="T68" fmla="*/ 58 w 148"/>
                <a:gd name="T69" fmla="*/ 25 h 90"/>
                <a:gd name="T70" fmla="*/ 58 w 148"/>
                <a:gd name="T71" fmla="*/ 26 h 90"/>
                <a:gd name="T72" fmla="*/ 1 w 148"/>
                <a:gd name="T73" fmla="*/ 25 h 90"/>
                <a:gd name="T74" fmla="*/ 12 w 148"/>
                <a:gd name="T75" fmla="*/ 18 h 90"/>
                <a:gd name="T76" fmla="*/ 13 w 148"/>
                <a:gd name="T77" fmla="*/ 19 h 90"/>
                <a:gd name="T78" fmla="*/ 12 w 148"/>
                <a:gd name="T79" fmla="*/ 20 h 90"/>
                <a:gd name="T80" fmla="*/ 35 w 148"/>
                <a:gd name="T81" fmla="*/ 19 h 90"/>
                <a:gd name="T82" fmla="*/ 23 w 148"/>
                <a:gd name="T83" fmla="*/ 18 h 90"/>
                <a:gd name="T84" fmla="*/ 35 w 148"/>
                <a:gd name="T85" fmla="*/ 17 h 90"/>
                <a:gd name="T86" fmla="*/ 36 w 148"/>
                <a:gd name="T87" fmla="*/ 18 h 90"/>
                <a:gd name="T88" fmla="*/ 124 w 148"/>
                <a:gd name="T89" fmla="*/ 14 h 90"/>
                <a:gd name="T90" fmla="*/ 118 w 148"/>
                <a:gd name="T91" fmla="*/ 3 h 90"/>
                <a:gd name="T92" fmla="*/ 121 w 148"/>
                <a:gd name="T93" fmla="*/ 3 h 90"/>
                <a:gd name="T94" fmla="*/ 124 w 148"/>
                <a:gd name="T95" fmla="*/ 14 h 90"/>
                <a:gd name="T96" fmla="*/ 96 w 148"/>
                <a:gd name="T97" fmla="*/ 6 h 90"/>
                <a:gd name="T98" fmla="*/ 107 w 148"/>
                <a:gd name="T99" fmla="*/ 0 h 90"/>
                <a:gd name="T100" fmla="*/ 108 w 148"/>
                <a:gd name="T101" fmla="*/ 2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48" h="90">
                  <a:moveTo>
                    <a:pt x="147" y="90"/>
                  </a:moveTo>
                  <a:cubicBezTo>
                    <a:pt x="146" y="90"/>
                    <a:pt x="146" y="90"/>
                    <a:pt x="146" y="90"/>
                  </a:cubicBezTo>
                  <a:cubicBezTo>
                    <a:pt x="145" y="90"/>
                    <a:pt x="145" y="90"/>
                    <a:pt x="145" y="90"/>
                  </a:cubicBezTo>
                  <a:cubicBezTo>
                    <a:pt x="142" y="89"/>
                    <a:pt x="138" y="88"/>
                    <a:pt x="135" y="87"/>
                  </a:cubicBezTo>
                  <a:cubicBezTo>
                    <a:pt x="135" y="87"/>
                    <a:pt x="135" y="86"/>
                    <a:pt x="135" y="86"/>
                  </a:cubicBezTo>
                  <a:cubicBezTo>
                    <a:pt x="134" y="86"/>
                    <a:pt x="134" y="86"/>
                    <a:pt x="135" y="85"/>
                  </a:cubicBezTo>
                  <a:cubicBezTo>
                    <a:pt x="135" y="85"/>
                    <a:pt x="135" y="85"/>
                    <a:pt x="135" y="85"/>
                  </a:cubicBezTo>
                  <a:cubicBezTo>
                    <a:pt x="135" y="85"/>
                    <a:pt x="136" y="85"/>
                    <a:pt x="136" y="85"/>
                  </a:cubicBezTo>
                  <a:cubicBezTo>
                    <a:pt x="139" y="86"/>
                    <a:pt x="142" y="87"/>
                    <a:pt x="145" y="88"/>
                  </a:cubicBezTo>
                  <a:cubicBezTo>
                    <a:pt x="147" y="89"/>
                    <a:pt x="147" y="89"/>
                    <a:pt x="147" y="89"/>
                  </a:cubicBezTo>
                  <a:cubicBezTo>
                    <a:pt x="147" y="89"/>
                    <a:pt x="147" y="89"/>
                    <a:pt x="147" y="89"/>
                  </a:cubicBezTo>
                  <a:cubicBezTo>
                    <a:pt x="147" y="89"/>
                    <a:pt x="147" y="89"/>
                    <a:pt x="147" y="89"/>
                  </a:cubicBezTo>
                  <a:cubicBezTo>
                    <a:pt x="147" y="89"/>
                    <a:pt x="148" y="89"/>
                    <a:pt x="148" y="89"/>
                  </a:cubicBezTo>
                  <a:cubicBezTo>
                    <a:pt x="148" y="90"/>
                    <a:pt x="148" y="90"/>
                    <a:pt x="147" y="90"/>
                  </a:cubicBezTo>
                  <a:cubicBezTo>
                    <a:pt x="147" y="90"/>
                    <a:pt x="147" y="90"/>
                    <a:pt x="147" y="90"/>
                  </a:cubicBezTo>
                  <a:cubicBezTo>
                    <a:pt x="147" y="90"/>
                    <a:pt x="147" y="90"/>
                    <a:pt x="147" y="90"/>
                  </a:cubicBezTo>
                  <a:close/>
                  <a:moveTo>
                    <a:pt x="125" y="82"/>
                  </a:moveTo>
                  <a:cubicBezTo>
                    <a:pt x="125" y="82"/>
                    <a:pt x="124" y="82"/>
                    <a:pt x="124" y="82"/>
                  </a:cubicBezTo>
                  <a:cubicBezTo>
                    <a:pt x="121" y="81"/>
                    <a:pt x="117" y="79"/>
                    <a:pt x="114" y="77"/>
                  </a:cubicBezTo>
                  <a:cubicBezTo>
                    <a:pt x="114" y="76"/>
                    <a:pt x="114" y="76"/>
                    <a:pt x="113" y="76"/>
                  </a:cubicBezTo>
                  <a:cubicBezTo>
                    <a:pt x="113" y="76"/>
                    <a:pt x="113" y="76"/>
                    <a:pt x="113" y="76"/>
                  </a:cubicBezTo>
                  <a:cubicBezTo>
                    <a:pt x="113" y="76"/>
                    <a:pt x="113" y="76"/>
                    <a:pt x="113" y="76"/>
                  </a:cubicBezTo>
                  <a:cubicBezTo>
                    <a:pt x="113" y="75"/>
                    <a:pt x="113" y="75"/>
                    <a:pt x="113" y="75"/>
                  </a:cubicBezTo>
                  <a:cubicBezTo>
                    <a:pt x="114" y="75"/>
                    <a:pt x="114" y="75"/>
                    <a:pt x="114" y="75"/>
                  </a:cubicBezTo>
                  <a:cubicBezTo>
                    <a:pt x="114" y="75"/>
                    <a:pt x="115" y="75"/>
                    <a:pt x="115" y="75"/>
                  </a:cubicBezTo>
                  <a:cubicBezTo>
                    <a:pt x="118" y="77"/>
                    <a:pt x="122" y="79"/>
                    <a:pt x="125" y="80"/>
                  </a:cubicBezTo>
                  <a:cubicBezTo>
                    <a:pt x="125" y="81"/>
                    <a:pt x="125" y="81"/>
                    <a:pt x="126" y="81"/>
                  </a:cubicBezTo>
                  <a:cubicBezTo>
                    <a:pt x="126" y="81"/>
                    <a:pt x="126" y="82"/>
                    <a:pt x="126" y="82"/>
                  </a:cubicBezTo>
                  <a:cubicBezTo>
                    <a:pt x="125" y="82"/>
                    <a:pt x="125" y="82"/>
                    <a:pt x="125" y="82"/>
                  </a:cubicBezTo>
                  <a:cubicBezTo>
                    <a:pt x="125" y="82"/>
                    <a:pt x="125" y="82"/>
                    <a:pt x="125" y="82"/>
                  </a:cubicBezTo>
                  <a:close/>
                  <a:moveTo>
                    <a:pt x="105" y="70"/>
                  </a:moveTo>
                  <a:cubicBezTo>
                    <a:pt x="105" y="70"/>
                    <a:pt x="105" y="69"/>
                    <a:pt x="105" y="69"/>
                  </a:cubicBezTo>
                  <a:cubicBezTo>
                    <a:pt x="104" y="69"/>
                    <a:pt x="104" y="69"/>
                    <a:pt x="104" y="69"/>
                  </a:cubicBezTo>
                  <a:cubicBezTo>
                    <a:pt x="101" y="67"/>
                    <a:pt x="99" y="64"/>
                    <a:pt x="96" y="60"/>
                  </a:cubicBezTo>
                  <a:cubicBezTo>
                    <a:pt x="96" y="60"/>
                    <a:pt x="96" y="60"/>
                    <a:pt x="96" y="60"/>
                  </a:cubicBezTo>
                  <a:cubicBezTo>
                    <a:pt x="96" y="60"/>
                    <a:pt x="96" y="60"/>
                    <a:pt x="96" y="60"/>
                  </a:cubicBezTo>
                  <a:cubicBezTo>
                    <a:pt x="96" y="59"/>
                    <a:pt x="96" y="59"/>
                    <a:pt x="96" y="59"/>
                  </a:cubicBezTo>
                  <a:cubicBezTo>
                    <a:pt x="96" y="59"/>
                    <a:pt x="96" y="59"/>
                    <a:pt x="97" y="59"/>
                  </a:cubicBezTo>
                  <a:cubicBezTo>
                    <a:pt x="97" y="59"/>
                    <a:pt x="97" y="59"/>
                    <a:pt x="97" y="59"/>
                  </a:cubicBezTo>
                  <a:cubicBezTo>
                    <a:pt x="97" y="59"/>
                    <a:pt x="97" y="59"/>
                    <a:pt x="97" y="59"/>
                  </a:cubicBezTo>
                  <a:cubicBezTo>
                    <a:pt x="97" y="59"/>
                    <a:pt x="98" y="59"/>
                    <a:pt x="98" y="59"/>
                  </a:cubicBezTo>
                  <a:cubicBezTo>
                    <a:pt x="98" y="59"/>
                    <a:pt x="98" y="59"/>
                    <a:pt x="98" y="59"/>
                  </a:cubicBezTo>
                  <a:cubicBezTo>
                    <a:pt x="100" y="62"/>
                    <a:pt x="103" y="65"/>
                    <a:pt x="106" y="68"/>
                  </a:cubicBezTo>
                  <a:cubicBezTo>
                    <a:pt x="106" y="68"/>
                    <a:pt x="106" y="68"/>
                    <a:pt x="106" y="68"/>
                  </a:cubicBezTo>
                  <a:cubicBezTo>
                    <a:pt x="106" y="69"/>
                    <a:pt x="106" y="69"/>
                    <a:pt x="106" y="69"/>
                  </a:cubicBezTo>
                  <a:cubicBezTo>
                    <a:pt x="106" y="69"/>
                    <a:pt x="106" y="69"/>
                    <a:pt x="105" y="69"/>
                  </a:cubicBezTo>
                  <a:cubicBezTo>
                    <a:pt x="105" y="70"/>
                    <a:pt x="105" y="70"/>
                    <a:pt x="105" y="70"/>
                  </a:cubicBezTo>
                  <a:close/>
                  <a:moveTo>
                    <a:pt x="92" y="50"/>
                  </a:moveTo>
                  <a:cubicBezTo>
                    <a:pt x="91" y="50"/>
                    <a:pt x="91" y="50"/>
                    <a:pt x="91" y="50"/>
                  </a:cubicBezTo>
                  <a:cubicBezTo>
                    <a:pt x="91" y="50"/>
                    <a:pt x="91" y="50"/>
                    <a:pt x="91" y="50"/>
                  </a:cubicBezTo>
                  <a:cubicBezTo>
                    <a:pt x="89" y="46"/>
                    <a:pt x="88" y="42"/>
                    <a:pt x="87" y="38"/>
                  </a:cubicBezTo>
                  <a:cubicBezTo>
                    <a:pt x="87" y="38"/>
                    <a:pt x="87" y="38"/>
                    <a:pt x="87" y="38"/>
                  </a:cubicBezTo>
                  <a:cubicBezTo>
                    <a:pt x="87" y="38"/>
                    <a:pt x="88" y="37"/>
                    <a:pt x="88" y="37"/>
                  </a:cubicBezTo>
                  <a:cubicBezTo>
                    <a:pt x="88" y="37"/>
                    <a:pt x="88" y="37"/>
                    <a:pt x="88" y="37"/>
                  </a:cubicBezTo>
                  <a:cubicBezTo>
                    <a:pt x="88" y="37"/>
                    <a:pt x="89" y="37"/>
                    <a:pt x="89" y="37"/>
                  </a:cubicBezTo>
                  <a:cubicBezTo>
                    <a:pt x="89" y="38"/>
                    <a:pt x="89" y="38"/>
                    <a:pt x="89" y="38"/>
                  </a:cubicBezTo>
                  <a:cubicBezTo>
                    <a:pt x="89" y="38"/>
                    <a:pt x="89" y="38"/>
                    <a:pt x="89" y="38"/>
                  </a:cubicBezTo>
                  <a:cubicBezTo>
                    <a:pt x="90" y="42"/>
                    <a:pt x="91" y="46"/>
                    <a:pt x="92" y="49"/>
                  </a:cubicBezTo>
                  <a:cubicBezTo>
                    <a:pt x="92" y="49"/>
                    <a:pt x="92" y="49"/>
                    <a:pt x="92" y="49"/>
                  </a:cubicBezTo>
                  <a:cubicBezTo>
                    <a:pt x="92" y="50"/>
                    <a:pt x="92" y="50"/>
                    <a:pt x="92" y="50"/>
                  </a:cubicBezTo>
                  <a:cubicBezTo>
                    <a:pt x="92" y="50"/>
                    <a:pt x="92" y="50"/>
                    <a:pt x="92" y="50"/>
                  </a:cubicBezTo>
                  <a:cubicBezTo>
                    <a:pt x="92" y="50"/>
                    <a:pt x="92" y="50"/>
                    <a:pt x="92" y="50"/>
                  </a:cubicBezTo>
                  <a:close/>
                  <a:moveTo>
                    <a:pt x="97" y="38"/>
                  </a:moveTo>
                  <a:cubicBezTo>
                    <a:pt x="95" y="38"/>
                    <a:pt x="93" y="38"/>
                    <a:pt x="91" y="38"/>
                  </a:cubicBezTo>
                  <a:cubicBezTo>
                    <a:pt x="91" y="38"/>
                    <a:pt x="91" y="38"/>
                    <a:pt x="90" y="37"/>
                  </a:cubicBezTo>
                  <a:cubicBezTo>
                    <a:pt x="90" y="37"/>
                    <a:pt x="90" y="37"/>
                    <a:pt x="90" y="37"/>
                  </a:cubicBezTo>
                  <a:cubicBezTo>
                    <a:pt x="90" y="37"/>
                    <a:pt x="90" y="37"/>
                    <a:pt x="90" y="37"/>
                  </a:cubicBezTo>
                  <a:cubicBezTo>
                    <a:pt x="90" y="36"/>
                    <a:pt x="90" y="36"/>
                    <a:pt x="90" y="36"/>
                  </a:cubicBezTo>
                  <a:cubicBezTo>
                    <a:pt x="91" y="36"/>
                    <a:pt x="91" y="36"/>
                    <a:pt x="91" y="36"/>
                  </a:cubicBezTo>
                  <a:cubicBezTo>
                    <a:pt x="93" y="36"/>
                    <a:pt x="95" y="36"/>
                    <a:pt x="97" y="36"/>
                  </a:cubicBezTo>
                  <a:cubicBezTo>
                    <a:pt x="99" y="36"/>
                    <a:pt x="101" y="36"/>
                    <a:pt x="103" y="35"/>
                  </a:cubicBezTo>
                  <a:cubicBezTo>
                    <a:pt x="103" y="35"/>
                    <a:pt x="103" y="35"/>
                    <a:pt x="103" y="35"/>
                  </a:cubicBezTo>
                  <a:cubicBezTo>
                    <a:pt x="103" y="35"/>
                    <a:pt x="103" y="35"/>
                    <a:pt x="103" y="35"/>
                  </a:cubicBezTo>
                  <a:cubicBezTo>
                    <a:pt x="103" y="36"/>
                    <a:pt x="103" y="36"/>
                    <a:pt x="103" y="36"/>
                  </a:cubicBezTo>
                  <a:cubicBezTo>
                    <a:pt x="104" y="36"/>
                    <a:pt x="104" y="36"/>
                    <a:pt x="104" y="36"/>
                  </a:cubicBezTo>
                  <a:cubicBezTo>
                    <a:pt x="104" y="36"/>
                    <a:pt x="104" y="36"/>
                    <a:pt x="104" y="36"/>
                  </a:cubicBezTo>
                  <a:cubicBezTo>
                    <a:pt x="104" y="37"/>
                    <a:pt x="104" y="37"/>
                    <a:pt x="103" y="37"/>
                  </a:cubicBezTo>
                  <a:cubicBezTo>
                    <a:pt x="103" y="37"/>
                    <a:pt x="103" y="37"/>
                    <a:pt x="103" y="37"/>
                  </a:cubicBezTo>
                  <a:cubicBezTo>
                    <a:pt x="103" y="37"/>
                    <a:pt x="103" y="37"/>
                    <a:pt x="103" y="37"/>
                  </a:cubicBezTo>
                  <a:cubicBezTo>
                    <a:pt x="101" y="38"/>
                    <a:pt x="99" y="38"/>
                    <a:pt x="97" y="38"/>
                  </a:cubicBezTo>
                  <a:close/>
                  <a:moveTo>
                    <a:pt x="80" y="35"/>
                  </a:moveTo>
                  <a:cubicBezTo>
                    <a:pt x="79" y="35"/>
                    <a:pt x="79" y="35"/>
                    <a:pt x="79" y="35"/>
                  </a:cubicBezTo>
                  <a:cubicBezTo>
                    <a:pt x="75" y="34"/>
                    <a:pt x="72" y="33"/>
                    <a:pt x="68" y="31"/>
                  </a:cubicBezTo>
                  <a:cubicBezTo>
                    <a:pt x="68" y="31"/>
                    <a:pt x="68" y="31"/>
                    <a:pt x="68" y="31"/>
                  </a:cubicBezTo>
                  <a:cubicBezTo>
                    <a:pt x="68" y="31"/>
                    <a:pt x="68" y="31"/>
                    <a:pt x="68" y="31"/>
                  </a:cubicBezTo>
                  <a:cubicBezTo>
                    <a:pt x="67" y="30"/>
                    <a:pt x="67" y="30"/>
                    <a:pt x="67" y="30"/>
                  </a:cubicBezTo>
                  <a:cubicBezTo>
                    <a:pt x="67" y="30"/>
                    <a:pt x="67" y="30"/>
                    <a:pt x="68" y="30"/>
                  </a:cubicBezTo>
                  <a:cubicBezTo>
                    <a:pt x="68" y="30"/>
                    <a:pt x="68" y="30"/>
                    <a:pt x="68" y="29"/>
                  </a:cubicBezTo>
                  <a:cubicBezTo>
                    <a:pt x="68" y="29"/>
                    <a:pt x="68" y="29"/>
                    <a:pt x="68" y="29"/>
                  </a:cubicBezTo>
                  <a:cubicBezTo>
                    <a:pt x="68" y="29"/>
                    <a:pt x="68" y="29"/>
                    <a:pt x="68" y="29"/>
                  </a:cubicBezTo>
                  <a:cubicBezTo>
                    <a:pt x="69" y="29"/>
                    <a:pt x="69" y="29"/>
                    <a:pt x="69" y="29"/>
                  </a:cubicBezTo>
                  <a:cubicBezTo>
                    <a:pt x="73" y="31"/>
                    <a:pt x="77" y="32"/>
                    <a:pt x="80" y="33"/>
                  </a:cubicBezTo>
                  <a:cubicBezTo>
                    <a:pt x="80" y="33"/>
                    <a:pt x="80" y="33"/>
                    <a:pt x="80" y="34"/>
                  </a:cubicBezTo>
                  <a:cubicBezTo>
                    <a:pt x="80" y="34"/>
                    <a:pt x="80" y="34"/>
                    <a:pt x="80" y="34"/>
                  </a:cubicBezTo>
                  <a:cubicBezTo>
                    <a:pt x="80" y="34"/>
                    <a:pt x="80" y="34"/>
                    <a:pt x="80" y="34"/>
                  </a:cubicBezTo>
                  <a:cubicBezTo>
                    <a:pt x="80" y="34"/>
                    <a:pt x="80" y="34"/>
                    <a:pt x="80" y="35"/>
                  </a:cubicBezTo>
                  <a:cubicBezTo>
                    <a:pt x="80" y="35"/>
                    <a:pt x="80" y="35"/>
                    <a:pt x="80" y="35"/>
                  </a:cubicBezTo>
                  <a:cubicBezTo>
                    <a:pt x="80" y="35"/>
                    <a:pt x="80" y="35"/>
                    <a:pt x="80" y="35"/>
                  </a:cubicBezTo>
                  <a:close/>
                  <a:moveTo>
                    <a:pt x="114" y="33"/>
                  </a:moveTo>
                  <a:cubicBezTo>
                    <a:pt x="114" y="33"/>
                    <a:pt x="113" y="33"/>
                    <a:pt x="113" y="33"/>
                  </a:cubicBezTo>
                  <a:cubicBezTo>
                    <a:pt x="113" y="33"/>
                    <a:pt x="113" y="33"/>
                    <a:pt x="113" y="33"/>
                  </a:cubicBezTo>
                  <a:cubicBezTo>
                    <a:pt x="113" y="33"/>
                    <a:pt x="113" y="32"/>
                    <a:pt x="113" y="32"/>
                  </a:cubicBezTo>
                  <a:cubicBezTo>
                    <a:pt x="113" y="32"/>
                    <a:pt x="113" y="32"/>
                    <a:pt x="113" y="31"/>
                  </a:cubicBezTo>
                  <a:cubicBezTo>
                    <a:pt x="115" y="30"/>
                    <a:pt x="116" y="29"/>
                    <a:pt x="118" y="28"/>
                  </a:cubicBezTo>
                  <a:cubicBezTo>
                    <a:pt x="119" y="27"/>
                    <a:pt x="120" y="25"/>
                    <a:pt x="121" y="24"/>
                  </a:cubicBezTo>
                  <a:cubicBezTo>
                    <a:pt x="121" y="23"/>
                    <a:pt x="121" y="23"/>
                    <a:pt x="122" y="23"/>
                  </a:cubicBezTo>
                  <a:cubicBezTo>
                    <a:pt x="122" y="23"/>
                    <a:pt x="122" y="23"/>
                    <a:pt x="122" y="23"/>
                  </a:cubicBezTo>
                  <a:cubicBezTo>
                    <a:pt x="123" y="23"/>
                    <a:pt x="123" y="24"/>
                    <a:pt x="123" y="24"/>
                  </a:cubicBezTo>
                  <a:cubicBezTo>
                    <a:pt x="123" y="24"/>
                    <a:pt x="123" y="24"/>
                    <a:pt x="123" y="25"/>
                  </a:cubicBezTo>
                  <a:cubicBezTo>
                    <a:pt x="122" y="26"/>
                    <a:pt x="121" y="28"/>
                    <a:pt x="119" y="29"/>
                  </a:cubicBezTo>
                  <a:cubicBezTo>
                    <a:pt x="118" y="31"/>
                    <a:pt x="116" y="32"/>
                    <a:pt x="114" y="33"/>
                  </a:cubicBezTo>
                  <a:cubicBezTo>
                    <a:pt x="114" y="33"/>
                    <a:pt x="114" y="33"/>
                    <a:pt x="114" y="33"/>
                  </a:cubicBezTo>
                  <a:close/>
                  <a:moveTo>
                    <a:pt x="87" y="28"/>
                  </a:moveTo>
                  <a:cubicBezTo>
                    <a:pt x="87" y="28"/>
                    <a:pt x="87" y="28"/>
                    <a:pt x="87" y="27"/>
                  </a:cubicBezTo>
                  <a:cubicBezTo>
                    <a:pt x="87" y="27"/>
                    <a:pt x="87" y="27"/>
                    <a:pt x="87" y="27"/>
                  </a:cubicBezTo>
                  <a:cubicBezTo>
                    <a:pt x="87" y="27"/>
                    <a:pt x="87" y="27"/>
                    <a:pt x="87" y="27"/>
                  </a:cubicBezTo>
                  <a:cubicBezTo>
                    <a:pt x="87" y="27"/>
                    <a:pt x="87" y="27"/>
                    <a:pt x="87" y="27"/>
                  </a:cubicBezTo>
                  <a:cubicBezTo>
                    <a:pt x="87" y="22"/>
                    <a:pt x="88" y="19"/>
                    <a:pt x="89" y="15"/>
                  </a:cubicBezTo>
                  <a:cubicBezTo>
                    <a:pt x="90" y="15"/>
                    <a:pt x="90" y="14"/>
                    <a:pt x="90" y="14"/>
                  </a:cubicBezTo>
                  <a:cubicBezTo>
                    <a:pt x="90" y="14"/>
                    <a:pt x="90" y="14"/>
                    <a:pt x="91" y="14"/>
                  </a:cubicBezTo>
                  <a:cubicBezTo>
                    <a:pt x="91" y="14"/>
                    <a:pt x="91" y="15"/>
                    <a:pt x="91" y="15"/>
                  </a:cubicBezTo>
                  <a:cubicBezTo>
                    <a:pt x="91" y="15"/>
                    <a:pt x="91" y="15"/>
                    <a:pt x="91" y="16"/>
                  </a:cubicBezTo>
                  <a:cubicBezTo>
                    <a:pt x="90" y="19"/>
                    <a:pt x="89" y="23"/>
                    <a:pt x="88" y="27"/>
                  </a:cubicBezTo>
                  <a:cubicBezTo>
                    <a:pt x="88" y="27"/>
                    <a:pt x="88" y="27"/>
                    <a:pt x="88" y="27"/>
                  </a:cubicBezTo>
                  <a:cubicBezTo>
                    <a:pt x="88" y="27"/>
                    <a:pt x="88" y="28"/>
                    <a:pt x="88" y="28"/>
                  </a:cubicBezTo>
                  <a:lnTo>
                    <a:pt x="87" y="28"/>
                  </a:lnTo>
                  <a:close/>
                  <a:moveTo>
                    <a:pt x="58" y="26"/>
                  </a:moveTo>
                  <a:cubicBezTo>
                    <a:pt x="57" y="26"/>
                    <a:pt x="57" y="26"/>
                    <a:pt x="57" y="26"/>
                  </a:cubicBezTo>
                  <a:cubicBezTo>
                    <a:pt x="53" y="25"/>
                    <a:pt x="53" y="25"/>
                    <a:pt x="53" y="25"/>
                  </a:cubicBezTo>
                  <a:cubicBezTo>
                    <a:pt x="51" y="24"/>
                    <a:pt x="49" y="23"/>
                    <a:pt x="46" y="22"/>
                  </a:cubicBezTo>
                  <a:cubicBezTo>
                    <a:pt x="46" y="22"/>
                    <a:pt x="46" y="22"/>
                    <a:pt x="46" y="22"/>
                  </a:cubicBezTo>
                  <a:cubicBezTo>
                    <a:pt x="46" y="22"/>
                    <a:pt x="46" y="22"/>
                    <a:pt x="46" y="22"/>
                  </a:cubicBezTo>
                  <a:cubicBezTo>
                    <a:pt x="46" y="22"/>
                    <a:pt x="46" y="22"/>
                    <a:pt x="46" y="21"/>
                  </a:cubicBezTo>
                  <a:cubicBezTo>
                    <a:pt x="46" y="21"/>
                    <a:pt x="46" y="21"/>
                    <a:pt x="46" y="21"/>
                  </a:cubicBezTo>
                  <a:cubicBezTo>
                    <a:pt x="46" y="21"/>
                    <a:pt x="46" y="21"/>
                    <a:pt x="46" y="21"/>
                  </a:cubicBezTo>
                  <a:cubicBezTo>
                    <a:pt x="46" y="21"/>
                    <a:pt x="46" y="21"/>
                    <a:pt x="46" y="20"/>
                  </a:cubicBezTo>
                  <a:cubicBezTo>
                    <a:pt x="46" y="20"/>
                    <a:pt x="46" y="20"/>
                    <a:pt x="47" y="20"/>
                  </a:cubicBezTo>
                  <a:cubicBezTo>
                    <a:pt x="47" y="20"/>
                    <a:pt x="47" y="20"/>
                    <a:pt x="47" y="20"/>
                  </a:cubicBezTo>
                  <a:cubicBezTo>
                    <a:pt x="49" y="21"/>
                    <a:pt x="52" y="22"/>
                    <a:pt x="54" y="23"/>
                  </a:cubicBezTo>
                  <a:cubicBezTo>
                    <a:pt x="58" y="25"/>
                    <a:pt x="58" y="25"/>
                    <a:pt x="58" y="25"/>
                  </a:cubicBezTo>
                  <a:cubicBezTo>
                    <a:pt x="58" y="25"/>
                    <a:pt x="58" y="25"/>
                    <a:pt x="58" y="25"/>
                  </a:cubicBezTo>
                  <a:cubicBezTo>
                    <a:pt x="58" y="25"/>
                    <a:pt x="58" y="25"/>
                    <a:pt x="58" y="25"/>
                  </a:cubicBezTo>
                  <a:cubicBezTo>
                    <a:pt x="59" y="25"/>
                    <a:pt x="59" y="25"/>
                    <a:pt x="59" y="26"/>
                  </a:cubicBezTo>
                  <a:cubicBezTo>
                    <a:pt x="59" y="26"/>
                    <a:pt x="59" y="26"/>
                    <a:pt x="58" y="26"/>
                  </a:cubicBezTo>
                  <a:cubicBezTo>
                    <a:pt x="58" y="26"/>
                    <a:pt x="58" y="26"/>
                    <a:pt x="58" y="26"/>
                  </a:cubicBezTo>
                  <a:cubicBezTo>
                    <a:pt x="58" y="26"/>
                    <a:pt x="58" y="26"/>
                    <a:pt x="58" y="26"/>
                  </a:cubicBezTo>
                  <a:close/>
                  <a:moveTo>
                    <a:pt x="1" y="25"/>
                  </a:moveTo>
                  <a:cubicBezTo>
                    <a:pt x="1" y="25"/>
                    <a:pt x="1" y="25"/>
                    <a:pt x="1" y="25"/>
                  </a:cubicBezTo>
                  <a:cubicBezTo>
                    <a:pt x="1" y="25"/>
                    <a:pt x="0" y="25"/>
                    <a:pt x="0" y="24"/>
                  </a:cubicBezTo>
                  <a:cubicBezTo>
                    <a:pt x="0" y="24"/>
                    <a:pt x="0" y="24"/>
                    <a:pt x="0" y="24"/>
                  </a:cubicBezTo>
                  <a:cubicBezTo>
                    <a:pt x="0" y="24"/>
                    <a:pt x="1" y="23"/>
                    <a:pt x="1" y="23"/>
                  </a:cubicBezTo>
                  <a:cubicBezTo>
                    <a:pt x="4" y="21"/>
                    <a:pt x="8" y="19"/>
                    <a:pt x="12" y="18"/>
                  </a:cubicBezTo>
                  <a:cubicBezTo>
                    <a:pt x="12" y="18"/>
                    <a:pt x="12" y="18"/>
                    <a:pt x="12" y="18"/>
                  </a:cubicBezTo>
                  <a:cubicBezTo>
                    <a:pt x="12" y="18"/>
                    <a:pt x="12" y="18"/>
                    <a:pt x="12" y="18"/>
                  </a:cubicBezTo>
                  <a:cubicBezTo>
                    <a:pt x="13" y="18"/>
                    <a:pt x="13" y="18"/>
                    <a:pt x="13" y="18"/>
                  </a:cubicBezTo>
                  <a:cubicBezTo>
                    <a:pt x="13" y="18"/>
                    <a:pt x="13" y="19"/>
                    <a:pt x="13" y="19"/>
                  </a:cubicBezTo>
                  <a:cubicBezTo>
                    <a:pt x="13" y="19"/>
                    <a:pt x="13" y="19"/>
                    <a:pt x="13" y="19"/>
                  </a:cubicBezTo>
                  <a:cubicBezTo>
                    <a:pt x="13" y="19"/>
                    <a:pt x="13" y="19"/>
                    <a:pt x="13" y="19"/>
                  </a:cubicBezTo>
                  <a:cubicBezTo>
                    <a:pt x="13" y="20"/>
                    <a:pt x="13" y="20"/>
                    <a:pt x="13" y="20"/>
                  </a:cubicBezTo>
                  <a:cubicBezTo>
                    <a:pt x="13" y="20"/>
                    <a:pt x="12" y="20"/>
                    <a:pt x="12" y="20"/>
                  </a:cubicBezTo>
                  <a:cubicBezTo>
                    <a:pt x="9" y="21"/>
                    <a:pt x="5" y="23"/>
                    <a:pt x="2" y="25"/>
                  </a:cubicBezTo>
                  <a:cubicBezTo>
                    <a:pt x="2" y="25"/>
                    <a:pt x="2" y="25"/>
                    <a:pt x="1" y="25"/>
                  </a:cubicBezTo>
                  <a:close/>
                  <a:moveTo>
                    <a:pt x="35" y="19"/>
                  </a:moveTo>
                  <a:cubicBezTo>
                    <a:pt x="35" y="19"/>
                    <a:pt x="35" y="19"/>
                    <a:pt x="35" y="19"/>
                  </a:cubicBezTo>
                  <a:cubicBezTo>
                    <a:pt x="31" y="18"/>
                    <a:pt x="27" y="18"/>
                    <a:pt x="24" y="18"/>
                  </a:cubicBezTo>
                  <a:cubicBezTo>
                    <a:pt x="23" y="18"/>
                    <a:pt x="23" y="18"/>
                    <a:pt x="23" y="18"/>
                  </a:cubicBezTo>
                  <a:cubicBezTo>
                    <a:pt x="23" y="18"/>
                    <a:pt x="23" y="18"/>
                    <a:pt x="23" y="18"/>
                  </a:cubicBezTo>
                  <a:cubicBezTo>
                    <a:pt x="23" y="18"/>
                    <a:pt x="23" y="18"/>
                    <a:pt x="23" y="18"/>
                  </a:cubicBezTo>
                  <a:cubicBezTo>
                    <a:pt x="23" y="18"/>
                    <a:pt x="23" y="17"/>
                    <a:pt x="23" y="17"/>
                  </a:cubicBezTo>
                  <a:cubicBezTo>
                    <a:pt x="23" y="17"/>
                    <a:pt x="23" y="17"/>
                    <a:pt x="23" y="17"/>
                  </a:cubicBezTo>
                  <a:cubicBezTo>
                    <a:pt x="23" y="16"/>
                    <a:pt x="23" y="16"/>
                    <a:pt x="23" y="16"/>
                  </a:cubicBezTo>
                  <a:cubicBezTo>
                    <a:pt x="27" y="16"/>
                    <a:pt x="31" y="17"/>
                    <a:pt x="35" y="17"/>
                  </a:cubicBezTo>
                  <a:cubicBezTo>
                    <a:pt x="35" y="17"/>
                    <a:pt x="36" y="17"/>
                    <a:pt x="36" y="17"/>
                  </a:cubicBezTo>
                  <a:cubicBezTo>
                    <a:pt x="36" y="18"/>
                    <a:pt x="36" y="18"/>
                    <a:pt x="36" y="18"/>
                  </a:cubicBezTo>
                  <a:cubicBezTo>
                    <a:pt x="36" y="18"/>
                    <a:pt x="36" y="18"/>
                    <a:pt x="36" y="18"/>
                  </a:cubicBezTo>
                  <a:cubicBezTo>
                    <a:pt x="36" y="18"/>
                    <a:pt x="36" y="18"/>
                    <a:pt x="36" y="18"/>
                  </a:cubicBezTo>
                  <a:cubicBezTo>
                    <a:pt x="36" y="19"/>
                    <a:pt x="36" y="19"/>
                    <a:pt x="36" y="19"/>
                  </a:cubicBezTo>
                  <a:cubicBezTo>
                    <a:pt x="36" y="19"/>
                    <a:pt x="36" y="19"/>
                    <a:pt x="35" y="19"/>
                  </a:cubicBezTo>
                  <a:close/>
                  <a:moveTo>
                    <a:pt x="124" y="14"/>
                  </a:moveTo>
                  <a:cubicBezTo>
                    <a:pt x="124" y="14"/>
                    <a:pt x="124" y="14"/>
                    <a:pt x="124" y="14"/>
                  </a:cubicBezTo>
                  <a:cubicBezTo>
                    <a:pt x="124" y="13"/>
                    <a:pt x="123" y="13"/>
                    <a:pt x="123" y="13"/>
                  </a:cubicBezTo>
                  <a:cubicBezTo>
                    <a:pt x="123" y="10"/>
                    <a:pt x="122" y="7"/>
                    <a:pt x="120" y="5"/>
                  </a:cubicBezTo>
                  <a:cubicBezTo>
                    <a:pt x="119" y="4"/>
                    <a:pt x="119" y="4"/>
                    <a:pt x="118" y="4"/>
                  </a:cubicBezTo>
                  <a:cubicBezTo>
                    <a:pt x="118" y="4"/>
                    <a:pt x="118" y="3"/>
                    <a:pt x="118" y="3"/>
                  </a:cubicBezTo>
                  <a:cubicBezTo>
                    <a:pt x="118" y="3"/>
                    <a:pt x="118" y="3"/>
                    <a:pt x="118" y="2"/>
                  </a:cubicBezTo>
                  <a:cubicBezTo>
                    <a:pt x="118" y="2"/>
                    <a:pt x="118" y="2"/>
                    <a:pt x="119" y="2"/>
                  </a:cubicBezTo>
                  <a:cubicBezTo>
                    <a:pt x="119" y="2"/>
                    <a:pt x="119" y="2"/>
                    <a:pt x="119" y="2"/>
                  </a:cubicBezTo>
                  <a:cubicBezTo>
                    <a:pt x="120" y="2"/>
                    <a:pt x="121" y="3"/>
                    <a:pt x="121" y="3"/>
                  </a:cubicBezTo>
                  <a:cubicBezTo>
                    <a:pt x="124" y="6"/>
                    <a:pt x="125" y="9"/>
                    <a:pt x="125" y="13"/>
                  </a:cubicBezTo>
                  <a:cubicBezTo>
                    <a:pt x="125" y="13"/>
                    <a:pt x="125" y="13"/>
                    <a:pt x="125" y="13"/>
                  </a:cubicBezTo>
                  <a:cubicBezTo>
                    <a:pt x="125" y="14"/>
                    <a:pt x="125" y="14"/>
                    <a:pt x="125" y="14"/>
                  </a:cubicBezTo>
                  <a:lnTo>
                    <a:pt x="124" y="14"/>
                  </a:lnTo>
                  <a:close/>
                  <a:moveTo>
                    <a:pt x="97" y="7"/>
                  </a:moveTo>
                  <a:cubicBezTo>
                    <a:pt x="97" y="7"/>
                    <a:pt x="97" y="7"/>
                    <a:pt x="97" y="7"/>
                  </a:cubicBezTo>
                  <a:cubicBezTo>
                    <a:pt x="97" y="7"/>
                    <a:pt x="96" y="7"/>
                    <a:pt x="96" y="6"/>
                  </a:cubicBezTo>
                  <a:cubicBezTo>
                    <a:pt x="96" y="6"/>
                    <a:pt x="96" y="6"/>
                    <a:pt x="96" y="6"/>
                  </a:cubicBezTo>
                  <a:cubicBezTo>
                    <a:pt x="96" y="6"/>
                    <a:pt x="96" y="6"/>
                    <a:pt x="96" y="6"/>
                  </a:cubicBezTo>
                  <a:cubicBezTo>
                    <a:pt x="96" y="6"/>
                    <a:pt x="96" y="6"/>
                    <a:pt x="96" y="5"/>
                  </a:cubicBezTo>
                  <a:cubicBezTo>
                    <a:pt x="96" y="5"/>
                    <a:pt x="96" y="5"/>
                    <a:pt x="96" y="5"/>
                  </a:cubicBezTo>
                  <a:cubicBezTo>
                    <a:pt x="100" y="2"/>
                    <a:pt x="103" y="1"/>
                    <a:pt x="107" y="0"/>
                  </a:cubicBezTo>
                  <a:cubicBezTo>
                    <a:pt x="108" y="0"/>
                    <a:pt x="108" y="0"/>
                    <a:pt x="108" y="0"/>
                  </a:cubicBezTo>
                  <a:cubicBezTo>
                    <a:pt x="108" y="0"/>
                    <a:pt x="108" y="0"/>
                    <a:pt x="109" y="1"/>
                  </a:cubicBezTo>
                  <a:cubicBezTo>
                    <a:pt x="109" y="1"/>
                    <a:pt x="109" y="1"/>
                    <a:pt x="108" y="1"/>
                  </a:cubicBezTo>
                  <a:cubicBezTo>
                    <a:pt x="108" y="2"/>
                    <a:pt x="108" y="2"/>
                    <a:pt x="108" y="2"/>
                  </a:cubicBezTo>
                  <a:cubicBezTo>
                    <a:pt x="104" y="3"/>
                    <a:pt x="101" y="4"/>
                    <a:pt x="98" y="7"/>
                  </a:cubicBezTo>
                  <a:cubicBezTo>
                    <a:pt x="98" y="7"/>
                    <a:pt x="97" y="7"/>
                    <a:pt x="97" y="7"/>
                  </a:cubicBezTo>
                  <a:close/>
                </a:path>
              </a:pathLst>
            </a:custGeom>
            <a:solidFill>
              <a:srgbClr val="1105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98" name="Freeform 48">
              <a:extLst>
                <a:ext uri="{FF2B5EF4-FFF2-40B4-BE49-F238E27FC236}">
                  <a16:creationId xmlns:a16="http://schemas.microsoft.com/office/drawing/2014/main" id="{4848CA6A-2BC7-49E2-9016-13A1FAC2E51A}"/>
                </a:ext>
              </a:extLst>
            </p:cNvPr>
            <p:cNvSpPr>
              <a:spLocks/>
            </p:cNvSpPr>
            <p:nvPr/>
          </p:nvSpPr>
          <p:spPr bwMode="auto">
            <a:xfrm>
              <a:off x="6324029" y="3110924"/>
              <a:ext cx="28045" cy="15776"/>
            </a:xfrm>
            <a:custGeom>
              <a:avLst/>
              <a:gdLst>
                <a:gd name="T0" fmla="*/ 6 w 7"/>
                <a:gd name="T1" fmla="*/ 4 h 4"/>
                <a:gd name="T2" fmla="*/ 5 w 7"/>
                <a:gd name="T3" fmla="*/ 4 h 4"/>
                <a:gd name="T4" fmla="*/ 0 w 7"/>
                <a:gd name="T5" fmla="*/ 1 h 4"/>
                <a:gd name="T6" fmla="*/ 0 w 7"/>
                <a:gd name="T7" fmla="*/ 1 h 4"/>
                <a:gd name="T8" fmla="*/ 0 w 7"/>
                <a:gd name="T9" fmla="*/ 0 h 4"/>
                <a:gd name="T10" fmla="*/ 0 w 7"/>
                <a:gd name="T11" fmla="*/ 0 h 4"/>
                <a:gd name="T12" fmla="*/ 1 w 7"/>
                <a:gd name="T13" fmla="*/ 0 h 4"/>
                <a:gd name="T14" fmla="*/ 6 w 7"/>
                <a:gd name="T15" fmla="*/ 3 h 4"/>
                <a:gd name="T16" fmla="*/ 6 w 7"/>
                <a:gd name="T17" fmla="*/ 3 h 4"/>
                <a:gd name="T18" fmla="*/ 7 w 7"/>
                <a:gd name="T19" fmla="*/ 3 h 4"/>
                <a:gd name="T20" fmla="*/ 6 w 7"/>
                <a:gd name="T21" fmla="*/ 4 h 4"/>
                <a:gd name="T22" fmla="*/ 6 w 7"/>
                <a:gd name="T23" fmla="*/ 4 h 4"/>
                <a:gd name="T24" fmla="*/ 6 w 7"/>
                <a:gd name="T25"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 h="4">
                  <a:moveTo>
                    <a:pt x="6" y="4"/>
                  </a:moveTo>
                  <a:cubicBezTo>
                    <a:pt x="5" y="4"/>
                    <a:pt x="5" y="4"/>
                    <a:pt x="5" y="4"/>
                  </a:cubicBezTo>
                  <a:cubicBezTo>
                    <a:pt x="4" y="3"/>
                    <a:pt x="2" y="2"/>
                    <a:pt x="0" y="1"/>
                  </a:cubicBezTo>
                  <a:cubicBezTo>
                    <a:pt x="0" y="1"/>
                    <a:pt x="0" y="1"/>
                    <a:pt x="0" y="1"/>
                  </a:cubicBezTo>
                  <a:cubicBezTo>
                    <a:pt x="0" y="1"/>
                    <a:pt x="0" y="0"/>
                    <a:pt x="0" y="0"/>
                  </a:cubicBezTo>
                  <a:cubicBezTo>
                    <a:pt x="0" y="0"/>
                    <a:pt x="0" y="0"/>
                    <a:pt x="0" y="0"/>
                  </a:cubicBezTo>
                  <a:cubicBezTo>
                    <a:pt x="1" y="0"/>
                    <a:pt x="1" y="0"/>
                    <a:pt x="1" y="0"/>
                  </a:cubicBezTo>
                  <a:cubicBezTo>
                    <a:pt x="3" y="0"/>
                    <a:pt x="5" y="2"/>
                    <a:pt x="6" y="3"/>
                  </a:cubicBezTo>
                  <a:cubicBezTo>
                    <a:pt x="6" y="3"/>
                    <a:pt x="6" y="3"/>
                    <a:pt x="6" y="3"/>
                  </a:cubicBezTo>
                  <a:cubicBezTo>
                    <a:pt x="7" y="3"/>
                    <a:pt x="7" y="3"/>
                    <a:pt x="7" y="3"/>
                  </a:cubicBezTo>
                  <a:cubicBezTo>
                    <a:pt x="7" y="4"/>
                    <a:pt x="7" y="4"/>
                    <a:pt x="6" y="4"/>
                  </a:cubicBezTo>
                  <a:cubicBezTo>
                    <a:pt x="6" y="4"/>
                    <a:pt x="6" y="4"/>
                    <a:pt x="6" y="4"/>
                  </a:cubicBezTo>
                  <a:cubicBezTo>
                    <a:pt x="6" y="4"/>
                    <a:pt x="6" y="4"/>
                    <a:pt x="6" y="4"/>
                  </a:cubicBezTo>
                  <a:close/>
                </a:path>
              </a:pathLst>
            </a:custGeom>
            <a:solidFill>
              <a:srgbClr val="1105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99" name="Freeform 49">
              <a:extLst>
                <a:ext uri="{FF2B5EF4-FFF2-40B4-BE49-F238E27FC236}">
                  <a16:creationId xmlns:a16="http://schemas.microsoft.com/office/drawing/2014/main" id="{D9700AB2-D9DD-4D17-B6F2-813A10FC023A}"/>
                </a:ext>
              </a:extLst>
            </p:cNvPr>
            <p:cNvSpPr>
              <a:spLocks/>
            </p:cNvSpPr>
            <p:nvPr/>
          </p:nvSpPr>
          <p:spPr bwMode="auto">
            <a:xfrm>
              <a:off x="6210098" y="3032049"/>
              <a:ext cx="304987" cy="187550"/>
            </a:xfrm>
            <a:custGeom>
              <a:avLst/>
              <a:gdLst>
                <a:gd name="T0" fmla="*/ 26 w 73"/>
                <a:gd name="T1" fmla="*/ 0 h 45"/>
                <a:gd name="T2" fmla="*/ 25 w 73"/>
                <a:gd name="T3" fmla="*/ 0 h 45"/>
                <a:gd name="T4" fmla="*/ 23 w 73"/>
                <a:gd name="T5" fmla="*/ 1 h 45"/>
                <a:gd name="T6" fmla="*/ 0 w 73"/>
                <a:gd name="T7" fmla="*/ 45 h 45"/>
                <a:gd name="T8" fmla="*/ 2 w 73"/>
                <a:gd name="T9" fmla="*/ 45 h 45"/>
                <a:gd name="T10" fmla="*/ 3 w 73"/>
                <a:gd name="T11" fmla="*/ 45 h 45"/>
                <a:gd name="T12" fmla="*/ 71 w 73"/>
                <a:gd name="T13" fmla="*/ 17 h 45"/>
                <a:gd name="T14" fmla="*/ 72 w 73"/>
                <a:gd name="T15" fmla="*/ 16 h 45"/>
                <a:gd name="T16" fmla="*/ 73 w 73"/>
                <a:gd name="T17" fmla="*/ 15 h 45"/>
                <a:gd name="T18" fmla="*/ 26 w 73"/>
                <a:gd name="T19"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 h="45">
                  <a:moveTo>
                    <a:pt x="26" y="0"/>
                  </a:moveTo>
                  <a:cubicBezTo>
                    <a:pt x="26" y="0"/>
                    <a:pt x="25" y="0"/>
                    <a:pt x="25" y="0"/>
                  </a:cubicBezTo>
                  <a:cubicBezTo>
                    <a:pt x="24" y="0"/>
                    <a:pt x="24" y="1"/>
                    <a:pt x="23" y="1"/>
                  </a:cubicBezTo>
                  <a:cubicBezTo>
                    <a:pt x="0" y="45"/>
                    <a:pt x="0" y="45"/>
                    <a:pt x="0" y="45"/>
                  </a:cubicBezTo>
                  <a:cubicBezTo>
                    <a:pt x="1" y="45"/>
                    <a:pt x="1" y="45"/>
                    <a:pt x="2" y="45"/>
                  </a:cubicBezTo>
                  <a:cubicBezTo>
                    <a:pt x="2" y="45"/>
                    <a:pt x="3" y="45"/>
                    <a:pt x="3" y="45"/>
                  </a:cubicBezTo>
                  <a:cubicBezTo>
                    <a:pt x="71" y="17"/>
                    <a:pt x="71" y="17"/>
                    <a:pt x="71" y="17"/>
                  </a:cubicBezTo>
                  <a:cubicBezTo>
                    <a:pt x="72" y="17"/>
                    <a:pt x="72" y="16"/>
                    <a:pt x="72" y="16"/>
                  </a:cubicBezTo>
                  <a:cubicBezTo>
                    <a:pt x="73" y="16"/>
                    <a:pt x="73" y="15"/>
                    <a:pt x="73" y="15"/>
                  </a:cubicBezTo>
                  <a:lnTo>
                    <a:pt x="26" y="0"/>
                  </a:lnTo>
                  <a:close/>
                </a:path>
              </a:pathLst>
            </a:custGeom>
            <a:solidFill>
              <a:srgbClr val="D5D5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00" name="Freeform 50">
              <a:extLst>
                <a:ext uri="{FF2B5EF4-FFF2-40B4-BE49-F238E27FC236}">
                  <a16:creationId xmlns:a16="http://schemas.microsoft.com/office/drawing/2014/main" id="{623A32EC-3265-4F6A-BE03-D0FB2AB87BFA}"/>
                </a:ext>
              </a:extLst>
            </p:cNvPr>
            <p:cNvSpPr>
              <a:spLocks/>
            </p:cNvSpPr>
            <p:nvPr/>
          </p:nvSpPr>
          <p:spPr bwMode="auto">
            <a:xfrm>
              <a:off x="6136481" y="2902342"/>
              <a:ext cx="299729" cy="175280"/>
            </a:xfrm>
            <a:custGeom>
              <a:avLst/>
              <a:gdLst>
                <a:gd name="T0" fmla="*/ 45 w 72"/>
                <a:gd name="T1" fmla="*/ 42 h 42"/>
                <a:gd name="T2" fmla="*/ 47 w 72"/>
                <a:gd name="T3" fmla="*/ 42 h 42"/>
                <a:gd name="T4" fmla="*/ 48 w 72"/>
                <a:gd name="T5" fmla="*/ 41 h 42"/>
                <a:gd name="T6" fmla="*/ 72 w 72"/>
                <a:gd name="T7" fmla="*/ 0 h 42"/>
                <a:gd name="T8" fmla="*/ 72 w 72"/>
                <a:gd name="T9" fmla="*/ 0 h 42"/>
                <a:gd name="T10" fmla="*/ 71 w 72"/>
                <a:gd name="T11" fmla="*/ 0 h 42"/>
                <a:gd name="T12" fmla="*/ 71 w 72"/>
                <a:gd name="T13" fmla="*/ 0 h 42"/>
                <a:gd name="T14" fmla="*/ 71 w 72"/>
                <a:gd name="T15" fmla="*/ 0 h 42"/>
                <a:gd name="T16" fmla="*/ 69 w 72"/>
                <a:gd name="T17" fmla="*/ 0 h 42"/>
                <a:gd name="T18" fmla="*/ 2 w 72"/>
                <a:gd name="T19" fmla="*/ 28 h 42"/>
                <a:gd name="T20" fmla="*/ 0 w 72"/>
                <a:gd name="T21" fmla="*/ 29 h 42"/>
                <a:gd name="T22" fmla="*/ 45 w 72"/>
                <a:gd name="T23"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2" h="42">
                  <a:moveTo>
                    <a:pt x="45" y="42"/>
                  </a:moveTo>
                  <a:cubicBezTo>
                    <a:pt x="46" y="42"/>
                    <a:pt x="47" y="42"/>
                    <a:pt x="47" y="42"/>
                  </a:cubicBezTo>
                  <a:cubicBezTo>
                    <a:pt x="48" y="42"/>
                    <a:pt x="48" y="41"/>
                    <a:pt x="48" y="41"/>
                  </a:cubicBezTo>
                  <a:cubicBezTo>
                    <a:pt x="72" y="0"/>
                    <a:pt x="72" y="0"/>
                    <a:pt x="72" y="0"/>
                  </a:cubicBezTo>
                  <a:cubicBezTo>
                    <a:pt x="72" y="0"/>
                    <a:pt x="72" y="0"/>
                    <a:pt x="72" y="0"/>
                  </a:cubicBezTo>
                  <a:cubicBezTo>
                    <a:pt x="71" y="0"/>
                    <a:pt x="71" y="0"/>
                    <a:pt x="71" y="0"/>
                  </a:cubicBezTo>
                  <a:cubicBezTo>
                    <a:pt x="71" y="0"/>
                    <a:pt x="71" y="0"/>
                    <a:pt x="71" y="0"/>
                  </a:cubicBezTo>
                  <a:cubicBezTo>
                    <a:pt x="71" y="0"/>
                    <a:pt x="71" y="0"/>
                    <a:pt x="71" y="0"/>
                  </a:cubicBezTo>
                  <a:cubicBezTo>
                    <a:pt x="70" y="0"/>
                    <a:pt x="70" y="0"/>
                    <a:pt x="69" y="0"/>
                  </a:cubicBezTo>
                  <a:cubicBezTo>
                    <a:pt x="2" y="28"/>
                    <a:pt x="2" y="28"/>
                    <a:pt x="2" y="28"/>
                  </a:cubicBezTo>
                  <a:cubicBezTo>
                    <a:pt x="1" y="28"/>
                    <a:pt x="0" y="29"/>
                    <a:pt x="0" y="29"/>
                  </a:cubicBezTo>
                  <a:lnTo>
                    <a:pt x="45" y="4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01" name="Freeform 51">
              <a:extLst>
                <a:ext uri="{FF2B5EF4-FFF2-40B4-BE49-F238E27FC236}">
                  <a16:creationId xmlns:a16="http://schemas.microsoft.com/office/drawing/2014/main" id="{F598E7D5-6279-4285-B128-A18C953632E1}"/>
                </a:ext>
              </a:extLst>
            </p:cNvPr>
            <p:cNvSpPr>
              <a:spLocks/>
            </p:cNvSpPr>
            <p:nvPr/>
          </p:nvSpPr>
          <p:spPr bwMode="auto">
            <a:xfrm>
              <a:off x="6131222" y="3023284"/>
              <a:ext cx="159505" cy="196313"/>
            </a:xfrm>
            <a:custGeom>
              <a:avLst/>
              <a:gdLst>
                <a:gd name="T0" fmla="*/ 38 w 38"/>
                <a:gd name="T1" fmla="*/ 11 h 47"/>
                <a:gd name="T2" fmla="*/ 1 w 38"/>
                <a:gd name="T3" fmla="*/ 0 h 47"/>
                <a:gd name="T4" fmla="*/ 1 w 38"/>
                <a:gd name="T5" fmla="*/ 1 h 47"/>
                <a:gd name="T6" fmla="*/ 1 w 38"/>
                <a:gd name="T7" fmla="*/ 3 h 47"/>
                <a:gd name="T8" fmla="*/ 18 w 38"/>
                <a:gd name="T9" fmla="*/ 45 h 47"/>
                <a:gd name="T10" fmla="*/ 19 w 38"/>
                <a:gd name="T11" fmla="*/ 47 h 47"/>
                <a:gd name="T12" fmla="*/ 38 w 38"/>
                <a:gd name="T13" fmla="*/ 11 h 47"/>
              </a:gdLst>
              <a:ahLst/>
              <a:cxnLst>
                <a:cxn ang="0">
                  <a:pos x="T0" y="T1"/>
                </a:cxn>
                <a:cxn ang="0">
                  <a:pos x="T2" y="T3"/>
                </a:cxn>
                <a:cxn ang="0">
                  <a:pos x="T4" y="T5"/>
                </a:cxn>
                <a:cxn ang="0">
                  <a:pos x="T6" y="T7"/>
                </a:cxn>
                <a:cxn ang="0">
                  <a:pos x="T8" y="T9"/>
                </a:cxn>
                <a:cxn ang="0">
                  <a:pos x="T10" y="T11"/>
                </a:cxn>
                <a:cxn ang="0">
                  <a:pos x="T12" y="T13"/>
                </a:cxn>
              </a:cxnLst>
              <a:rect l="0" t="0" r="r" b="b"/>
              <a:pathLst>
                <a:path w="38" h="47">
                  <a:moveTo>
                    <a:pt x="38" y="11"/>
                  </a:moveTo>
                  <a:cubicBezTo>
                    <a:pt x="1" y="0"/>
                    <a:pt x="1" y="0"/>
                    <a:pt x="1" y="0"/>
                  </a:cubicBezTo>
                  <a:cubicBezTo>
                    <a:pt x="1" y="0"/>
                    <a:pt x="1" y="0"/>
                    <a:pt x="1" y="1"/>
                  </a:cubicBezTo>
                  <a:cubicBezTo>
                    <a:pt x="0" y="1"/>
                    <a:pt x="0" y="2"/>
                    <a:pt x="1" y="3"/>
                  </a:cubicBezTo>
                  <a:cubicBezTo>
                    <a:pt x="18" y="45"/>
                    <a:pt x="18" y="45"/>
                    <a:pt x="18" y="45"/>
                  </a:cubicBezTo>
                  <a:cubicBezTo>
                    <a:pt x="18" y="45"/>
                    <a:pt x="19" y="46"/>
                    <a:pt x="19" y="47"/>
                  </a:cubicBezTo>
                  <a:lnTo>
                    <a:pt x="38" y="11"/>
                  </a:lnTo>
                  <a:close/>
                </a:path>
              </a:pathLst>
            </a:custGeom>
            <a:solidFill>
              <a:srgbClr val="E8E8F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02" name="Freeform 52">
              <a:extLst>
                <a:ext uri="{FF2B5EF4-FFF2-40B4-BE49-F238E27FC236}">
                  <a16:creationId xmlns:a16="http://schemas.microsoft.com/office/drawing/2014/main" id="{C184F6D9-B0D2-4CE0-A812-CD96544BB128}"/>
                </a:ext>
              </a:extLst>
            </p:cNvPr>
            <p:cNvSpPr>
              <a:spLocks/>
            </p:cNvSpPr>
            <p:nvPr/>
          </p:nvSpPr>
          <p:spPr bwMode="auto">
            <a:xfrm>
              <a:off x="6511579" y="3093396"/>
              <a:ext cx="3506" cy="5259"/>
            </a:xfrm>
            <a:custGeom>
              <a:avLst/>
              <a:gdLst>
                <a:gd name="T0" fmla="*/ 1 w 1"/>
                <a:gd name="T1" fmla="*/ 0 h 1"/>
                <a:gd name="T2" fmla="*/ 0 w 1"/>
                <a:gd name="T3" fmla="*/ 1 h 1"/>
                <a:gd name="T4" fmla="*/ 1 w 1"/>
                <a:gd name="T5" fmla="*/ 0 h 1"/>
              </a:gdLst>
              <a:ahLst/>
              <a:cxnLst>
                <a:cxn ang="0">
                  <a:pos x="T0" y="T1"/>
                </a:cxn>
                <a:cxn ang="0">
                  <a:pos x="T2" y="T3"/>
                </a:cxn>
                <a:cxn ang="0">
                  <a:pos x="T4" y="T5"/>
                </a:cxn>
              </a:cxnLst>
              <a:rect l="0" t="0" r="r" b="b"/>
              <a:pathLst>
                <a:path w="1" h="1">
                  <a:moveTo>
                    <a:pt x="1" y="0"/>
                  </a:moveTo>
                  <a:cubicBezTo>
                    <a:pt x="1" y="1"/>
                    <a:pt x="0" y="1"/>
                    <a:pt x="0" y="1"/>
                  </a:cubicBezTo>
                  <a:cubicBezTo>
                    <a:pt x="0" y="1"/>
                    <a:pt x="1" y="1"/>
                    <a:pt x="1" y="0"/>
                  </a:cubicBezTo>
                  <a:close/>
                </a:path>
              </a:pathLst>
            </a:custGeom>
            <a:solidFill>
              <a:srgbClr val="E8E8F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03" name="Freeform 53">
              <a:extLst>
                <a:ext uri="{FF2B5EF4-FFF2-40B4-BE49-F238E27FC236}">
                  <a16:creationId xmlns:a16="http://schemas.microsoft.com/office/drawing/2014/main" id="{0BD24023-6DF3-4DA2-A3E4-A70931CCD0BE}"/>
                </a:ext>
              </a:extLst>
            </p:cNvPr>
            <p:cNvSpPr>
              <a:spLocks/>
            </p:cNvSpPr>
            <p:nvPr/>
          </p:nvSpPr>
          <p:spPr bwMode="auto">
            <a:xfrm>
              <a:off x="6352074" y="2902342"/>
              <a:ext cx="163011" cy="191055"/>
            </a:xfrm>
            <a:custGeom>
              <a:avLst/>
              <a:gdLst>
                <a:gd name="T0" fmla="*/ 20 w 39"/>
                <a:gd name="T1" fmla="*/ 0 h 46"/>
                <a:gd name="T2" fmla="*/ 0 w 39"/>
                <a:gd name="T3" fmla="*/ 34 h 46"/>
                <a:gd name="T4" fmla="*/ 39 w 39"/>
                <a:gd name="T5" fmla="*/ 46 h 46"/>
                <a:gd name="T6" fmla="*/ 39 w 39"/>
                <a:gd name="T7" fmla="*/ 46 h 46"/>
                <a:gd name="T8" fmla="*/ 39 w 39"/>
                <a:gd name="T9" fmla="*/ 45 h 46"/>
                <a:gd name="T10" fmla="*/ 39 w 39"/>
                <a:gd name="T11" fmla="*/ 43 h 46"/>
                <a:gd name="T12" fmla="*/ 22 w 39"/>
                <a:gd name="T13" fmla="*/ 2 h 46"/>
                <a:gd name="T14" fmla="*/ 21 w 39"/>
                <a:gd name="T15" fmla="*/ 1 h 46"/>
                <a:gd name="T16" fmla="*/ 20 w 39"/>
                <a:gd name="T17"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46">
                  <a:moveTo>
                    <a:pt x="20" y="0"/>
                  </a:moveTo>
                  <a:cubicBezTo>
                    <a:pt x="0" y="34"/>
                    <a:pt x="0" y="34"/>
                    <a:pt x="0" y="34"/>
                  </a:cubicBezTo>
                  <a:cubicBezTo>
                    <a:pt x="39" y="46"/>
                    <a:pt x="39" y="46"/>
                    <a:pt x="39" y="46"/>
                  </a:cubicBezTo>
                  <a:cubicBezTo>
                    <a:pt x="39" y="46"/>
                    <a:pt x="39" y="46"/>
                    <a:pt x="39" y="46"/>
                  </a:cubicBezTo>
                  <a:cubicBezTo>
                    <a:pt x="39" y="46"/>
                    <a:pt x="39" y="45"/>
                    <a:pt x="39" y="45"/>
                  </a:cubicBezTo>
                  <a:cubicBezTo>
                    <a:pt x="39" y="44"/>
                    <a:pt x="39" y="44"/>
                    <a:pt x="39" y="43"/>
                  </a:cubicBezTo>
                  <a:cubicBezTo>
                    <a:pt x="22" y="2"/>
                    <a:pt x="22" y="2"/>
                    <a:pt x="22" y="2"/>
                  </a:cubicBezTo>
                  <a:cubicBezTo>
                    <a:pt x="22" y="1"/>
                    <a:pt x="22" y="1"/>
                    <a:pt x="21" y="1"/>
                  </a:cubicBezTo>
                  <a:cubicBezTo>
                    <a:pt x="21" y="0"/>
                    <a:pt x="20" y="0"/>
                    <a:pt x="20" y="0"/>
                  </a:cubicBezTo>
                  <a:close/>
                </a:path>
              </a:pathLst>
            </a:custGeom>
            <a:solidFill>
              <a:srgbClr val="E8E8F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04" name="Freeform 54">
              <a:extLst>
                <a:ext uri="{FF2B5EF4-FFF2-40B4-BE49-F238E27FC236}">
                  <a16:creationId xmlns:a16="http://schemas.microsoft.com/office/drawing/2014/main" id="{C475A440-CB2F-4023-9E3C-FA3430847265}"/>
                </a:ext>
              </a:extLst>
            </p:cNvPr>
            <p:cNvSpPr>
              <a:spLocks/>
            </p:cNvSpPr>
            <p:nvPr/>
          </p:nvSpPr>
          <p:spPr bwMode="auto">
            <a:xfrm>
              <a:off x="6436208" y="2902342"/>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E8E8F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05" name="Freeform 55">
              <a:extLst>
                <a:ext uri="{FF2B5EF4-FFF2-40B4-BE49-F238E27FC236}">
                  <a16:creationId xmlns:a16="http://schemas.microsoft.com/office/drawing/2014/main" id="{D8B32AD2-54C8-432F-81DB-5CCD12B92DDE}"/>
                </a:ext>
              </a:extLst>
            </p:cNvPr>
            <p:cNvSpPr>
              <a:spLocks/>
            </p:cNvSpPr>
            <p:nvPr/>
          </p:nvSpPr>
          <p:spPr bwMode="auto">
            <a:xfrm>
              <a:off x="6043582" y="4257253"/>
              <a:ext cx="280448" cy="129707"/>
            </a:xfrm>
            <a:custGeom>
              <a:avLst/>
              <a:gdLst>
                <a:gd name="T0" fmla="*/ 0 w 67"/>
                <a:gd name="T1" fmla="*/ 0 h 31"/>
                <a:gd name="T2" fmla="*/ 10 w 67"/>
                <a:gd name="T3" fmla="*/ 22 h 31"/>
                <a:gd name="T4" fmla="*/ 33 w 67"/>
                <a:gd name="T5" fmla="*/ 31 h 31"/>
                <a:gd name="T6" fmla="*/ 56 w 67"/>
                <a:gd name="T7" fmla="*/ 22 h 31"/>
                <a:gd name="T8" fmla="*/ 67 w 67"/>
                <a:gd name="T9" fmla="*/ 0 h 31"/>
                <a:gd name="T10" fmla="*/ 0 w 67"/>
                <a:gd name="T11" fmla="*/ 0 h 31"/>
              </a:gdLst>
              <a:ahLst/>
              <a:cxnLst>
                <a:cxn ang="0">
                  <a:pos x="T0" y="T1"/>
                </a:cxn>
                <a:cxn ang="0">
                  <a:pos x="T2" y="T3"/>
                </a:cxn>
                <a:cxn ang="0">
                  <a:pos x="T4" y="T5"/>
                </a:cxn>
                <a:cxn ang="0">
                  <a:pos x="T6" y="T7"/>
                </a:cxn>
                <a:cxn ang="0">
                  <a:pos x="T8" y="T9"/>
                </a:cxn>
                <a:cxn ang="0">
                  <a:pos x="T10" y="T11"/>
                </a:cxn>
              </a:cxnLst>
              <a:rect l="0" t="0" r="r" b="b"/>
              <a:pathLst>
                <a:path w="67" h="31">
                  <a:moveTo>
                    <a:pt x="0" y="0"/>
                  </a:moveTo>
                  <a:cubicBezTo>
                    <a:pt x="0" y="9"/>
                    <a:pt x="4" y="16"/>
                    <a:pt x="10" y="22"/>
                  </a:cubicBezTo>
                  <a:cubicBezTo>
                    <a:pt x="17" y="27"/>
                    <a:pt x="25" y="31"/>
                    <a:pt x="33" y="31"/>
                  </a:cubicBezTo>
                  <a:cubicBezTo>
                    <a:pt x="41" y="31"/>
                    <a:pt x="50" y="27"/>
                    <a:pt x="56" y="22"/>
                  </a:cubicBezTo>
                  <a:cubicBezTo>
                    <a:pt x="62" y="16"/>
                    <a:pt x="66" y="9"/>
                    <a:pt x="67" y="0"/>
                  </a:cubicBezTo>
                  <a:lnTo>
                    <a:pt x="0" y="0"/>
                  </a:lnTo>
                  <a:close/>
                </a:path>
              </a:pathLst>
            </a:custGeom>
            <a:solidFill>
              <a:srgbClr val="FFDD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06" name="Freeform 56">
              <a:extLst>
                <a:ext uri="{FF2B5EF4-FFF2-40B4-BE49-F238E27FC236}">
                  <a16:creationId xmlns:a16="http://schemas.microsoft.com/office/drawing/2014/main" id="{A45AE05E-0034-4CD4-9E9D-3C6D04D612B0}"/>
                </a:ext>
              </a:extLst>
            </p:cNvPr>
            <p:cNvSpPr>
              <a:spLocks/>
            </p:cNvSpPr>
            <p:nvPr/>
          </p:nvSpPr>
          <p:spPr bwMode="auto">
            <a:xfrm>
              <a:off x="5693022" y="3824313"/>
              <a:ext cx="534604" cy="54337"/>
            </a:xfrm>
            <a:custGeom>
              <a:avLst/>
              <a:gdLst>
                <a:gd name="T0" fmla="*/ 122 w 128"/>
                <a:gd name="T1" fmla="*/ 0 h 13"/>
                <a:gd name="T2" fmla="*/ 6 w 128"/>
                <a:gd name="T3" fmla="*/ 0 h 13"/>
                <a:gd name="T4" fmla="*/ 0 w 128"/>
                <a:gd name="T5" fmla="*/ 7 h 13"/>
                <a:gd name="T6" fmla="*/ 6 w 128"/>
                <a:gd name="T7" fmla="*/ 13 h 13"/>
                <a:gd name="T8" fmla="*/ 122 w 128"/>
                <a:gd name="T9" fmla="*/ 13 h 13"/>
                <a:gd name="T10" fmla="*/ 128 w 128"/>
                <a:gd name="T11" fmla="*/ 7 h 13"/>
                <a:gd name="T12" fmla="*/ 122 w 128"/>
                <a:gd name="T13" fmla="*/ 0 h 13"/>
              </a:gdLst>
              <a:ahLst/>
              <a:cxnLst>
                <a:cxn ang="0">
                  <a:pos x="T0" y="T1"/>
                </a:cxn>
                <a:cxn ang="0">
                  <a:pos x="T2" y="T3"/>
                </a:cxn>
                <a:cxn ang="0">
                  <a:pos x="T4" y="T5"/>
                </a:cxn>
                <a:cxn ang="0">
                  <a:pos x="T6" y="T7"/>
                </a:cxn>
                <a:cxn ang="0">
                  <a:pos x="T8" y="T9"/>
                </a:cxn>
                <a:cxn ang="0">
                  <a:pos x="T10" y="T11"/>
                </a:cxn>
                <a:cxn ang="0">
                  <a:pos x="T12" y="T13"/>
                </a:cxn>
              </a:cxnLst>
              <a:rect l="0" t="0" r="r" b="b"/>
              <a:pathLst>
                <a:path w="128" h="13">
                  <a:moveTo>
                    <a:pt x="122" y="0"/>
                  </a:moveTo>
                  <a:cubicBezTo>
                    <a:pt x="6" y="0"/>
                    <a:pt x="6" y="0"/>
                    <a:pt x="6" y="0"/>
                  </a:cubicBezTo>
                  <a:cubicBezTo>
                    <a:pt x="3" y="0"/>
                    <a:pt x="0" y="3"/>
                    <a:pt x="0" y="7"/>
                  </a:cubicBezTo>
                  <a:cubicBezTo>
                    <a:pt x="0" y="10"/>
                    <a:pt x="3" y="13"/>
                    <a:pt x="6" y="13"/>
                  </a:cubicBezTo>
                  <a:cubicBezTo>
                    <a:pt x="122" y="13"/>
                    <a:pt x="122" y="13"/>
                    <a:pt x="122" y="13"/>
                  </a:cubicBezTo>
                  <a:cubicBezTo>
                    <a:pt x="125" y="13"/>
                    <a:pt x="128" y="10"/>
                    <a:pt x="128" y="7"/>
                  </a:cubicBezTo>
                  <a:cubicBezTo>
                    <a:pt x="128" y="3"/>
                    <a:pt x="125" y="0"/>
                    <a:pt x="122" y="0"/>
                  </a:cubicBezTo>
                  <a:close/>
                </a:path>
              </a:pathLst>
            </a:custGeom>
            <a:solidFill>
              <a:srgbClr val="C5C6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07" name="Freeform 57">
              <a:extLst>
                <a:ext uri="{FF2B5EF4-FFF2-40B4-BE49-F238E27FC236}">
                  <a16:creationId xmlns:a16="http://schemas.microsoft.com/office/drawing/2014/main" id="{3052654E-D4F5-42FA-B755-2517523E8EC3}"/>
                </a:ext>
              </a:extLst>
            </p:cNvPr>
            <p:cNvSpPr>
              <a:spLocks/>
            </p:cNvSpPr>
            <p:nvPr/>
          </p:nvSpPr>
          <p:spPr bwMode="auto">
            <a:xfrm>
              <a:off x="5693022" y="3927728"/>
              <a:ext cx="334785" cy="50832"/>
            </a:xfrm>
            <a:custGeom>
              <a:avLst/>
              <a:gdLst>
                <a:gd name="T0" fmla="*/ 73 w 80"/>
                <a:gd name="T1" fmla="*/ 0 h 12"/>
                <a:gd name="T2" fmla="*/ 6 w 80"/>
                <a:gd name="T3" fmla="*/ 0 h 12"/>
                <a:gd name="T4" fmla="*/ 0 w 80"/>
                <a:gd name="T5" fmla="*/ 6 h 12"/>
                <a:gd name="T6" fmla="*/ 6 w 80"/>
                <a:gd name="T7" fmla="*/ 12 h 12"/>
                <a:gd name="T8" fmla="*/ 73 w 80"/>
                <a:gd name="T9" fmla="*/ 12 h 12"/>
                <a:gd name="T10" fmla="*/ 80 w 80"/>
                <a:gd name="T11" fmla="*/ 6 h 12"/>
                <a:gd name="T12" fmla="*/ 73 w 80"/>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80" h="12">
                  <a:moveTo>
                    <a:pt x="73" y="0"/>
                  </a:moveTo>
                  <a:cubicBezTo>
                    <a:pt x="6" y="0"/>
                    <a:pt x="6" y="0"/>
                    <a:pt x="6" y="0"/>
                  </a:cubicBezTo>
                  <a:cubicBezTo>
                    <a:pt x="3" y="0"/>
                    <a:pt x="0" y="3"/>
                    <a:pt x="0" y="6"/>
                  </a:cubicBezTo>
                  <a:cubicBezTo>
                    <a:pt x="0" y="10"/>
                    <a:pt x="3" y="12"/>
                    <a:pt x="6" y="12"/>
                  </a:cubicBezTo>
                  <a:cubicBezTo>
                    <a:pt x="73" y="12"/>
                    <a:pt x="73" y="12"/>
                    <a:pt x="73" y="12"/>
                  </a:cubicBezTo>
                  <a:cubicBezTo>
                    <a:pt x="77" y="12"/>
                    <a:pt x="80" y="10"/>
                    <a:pt x="80" y="6"/>
                  </a:cubicBezTo>
                  <a:cubicBezTo>
                    <a:pt x="80" y="3"/>
                    <a:pt x="77" y="0"/>
                    <a:pt x="73" y="0"/>
                  </a:cubicBezTo>
                  <a:close/>
                </a:path>
              </a:pathLst>
            </a:custGeom>
            <a:solidFill>
              <a:srgbClr val="C5C6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08" name="Freeform 58">
              <a:extLst>
                <a:ext uri="{FF2B5EF4-FFF2-40B4-BE49-F238E27FC236}">
                  <a16:creationId xmlns:a16="http://schemas.microsoft.com/office/drawing/2014/main" id="{29921148-B536-45EA-A69F-D6C474425A04}"/>
                </a:ext>
              </a:extLst>
            </p:cNvPr>
            <p:cNvSpPr>
              <a:spLocks/>
            </p:cNvSpPr>
            <p:nvPr/>
          </p:nvSpPr>
          <p:spPr bwMode="auto">
            <a:xfrm>
              <a:off x="5693022" y="4767318"/>
              <a:ext cx="609973" cy="54337"/>
            </a:xfrm>
            <a:custGeom>
              <a:avLst/>
              <a:gdLst>
                <a:gd name="T0" fmla="*/ 140 w 146"/>
                <a:gd name="T1" fmla="*/ 0 h 13"/>
                <a:gd name="T2" fmla="*/ 6 w 146"/>
                <a:gd name="T3" fmla="*/ 0 h 13"/>
                <a:gd name="T4" fmla="*/ 0 w 146"/>
                <a:gd name="T5" fmla="*/ 6 h 13"/>
                <a:gd name="T6" fmla="*/ 6 w 146"/>
                <a:gd name="T7" fmla="*/ 13 h 13"/>
                <a:gd name="T8" fmla="*/ 140 w 146"/>
                <a:gd name="T9" fmla="*/ 13 h 13"/>
                <a:gd name="T10" fmla="*/ 146 w 146"/>
                <a:gd name="T11" fmla="*/ 6 h 13"/>
                <a:gd name="T12" fmla="*/ 140 w 146"/>
                <a:gd name="T13" fmla="*/ 0 h 13"/>
              </a:gdLst>
              <a:ahLst/>
              <a:cxnLst>
                <a:cxn ang="0">
                  <a:pos x="T0" y="T1"/>
                </a:cxn>
                <a:cxn ang="0">
                  <a:pos x="T2" y="T3"/>
                </a:cxn>
                <a:cxn ang="0">
                  <a:pos x="T4" y="T5"/>
                </a:cxn>
                <a:cxn ang="0">
                  <a:pos x="T6" y="T7"/>
                </a:cxn>
                <a:cxn ang="0">
                  <a:pos x="T8" y="T9"/>
                </a:cxn>
                <a:cxn ang="0">
                  <a:pos x="T10" y="T11"/>
                </a:cxn>
                <a:cxn ang="0">
                  <a:pos x="T12" y="T13"/>
                </a:cxn>
              </a:cxnLst>
              <a:rect l="0" t="0" r="r" b="b"/>
              <a:pathLst>
                <a:path w="146" h="13">
                  <a:moveTo>
                    <a:pt x="140" y="0"/>
                  </a:moveTo>
                  <a:cubicBezTo>
                    <a:pt x="6" y="0"/>
                    <a:pt x="6" y="0"/>
                    <a:pt x="6" y="0"/>
                  </a:cubicBezTo>
                  <a:cubicBezTo>
                    <a:pt x="3" y="0"/>
                    <a:pt x="0" y="3"/>
                    <a:pt x="0" y="6"/>
                  </a:cubicBezTo>
                  <a:cubicBezTo>
                    <a:pt x="0" y="10"/>
                    <a:pt x="3" y="13"/>
                    <a:pt x="6" y="13"/>
                  </a:cubicBezTo>
                  <a:cubicBezTo>
                    <a:pt x="140" y="13"/>
                    <a:pt x="140" y="13"/>
                    <a:pt x="140" y="13"/>
                  </a:cubicBezTo>
                  <a:cubicBezTo>
                    <a:pt x="143" y="13"/>
                    <a:pt x="146" y="10"/>
                    <a:pt x="146" y="6"/>
                  </a:cubicBezTo>
                  <a:cubicBezTo>
                    <a:pt x="146" y="3"/>
                    <a:pt x="143" y="0"/>
                    <a:pt x="140" y="0"/>
                  </a:cubicBezTo>
                  <a:close/>
                </a:path>
              </a:pathLst>
            </a:custGeom>
            <a:solidFill>
              <a:srgbClr val="C5C6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09" name="Freeform 59">
              <a:extLst>
                <a:ext uri="{FF2B5EF4-FFF2-40B4-BE49-F238E27FC236}">
                  <a16:creationId xmlns:a16="http://schemas.microsoft.com/office/drawing/2014/main" id="{ED37F357-4275-418A-B752-A2340E14C56E}"/>
                </a:ext>
              </a:extLst>
            </p:cNvPr>
            <p:cNvSpPr>
              <a:spLocks/>
            </p:cNvSpPr>
            <p:nvPr/>
          </p:nvSpPr>
          <p:spPr bwMode="auto">
            <a:xfrm>
              <a:off x="5693022" y="4870732"/>
              <a:ext cx="438199" cy="50832"/>
            </a:xfrm>
            <a:custGeom>
              <a:avLst/>
              <a:gdLst>
                <a:gd name="T0" fmla="*/ 99 w 105"/>
                <a:gd name="T1" fmla="*/ 0 h 12"/>
                <a:gd name="T2" fmla="*/ 6 w 105"/>
                <a:gd name="T3" fmla="*/ 0 h 12"/>
                <a:gd name="T4" fmla="*/ 0 w 105"/>
                <a:gd name="T5" fmla="*/ 6 h 12"/>
                <a:gd name="T6" fmla="*/ 6 w 105"/>
                <a:gd name="T7" fmla="*/ 12 h 12"/>
                <a:gd name="T8" fmla="*/ 99 w 105"/>
                <a:gd name="T9" fmla="*/ 12 h 12"/>
                <a:gd name="T10" fmla="*/ 105 w 105"/>
                <a:gd name="T11" fmla="*/ 6 h 12"/>
                <a:gd name="T12" fmla="*/ 99 w 105"/>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105" h="12">
                  <a:moveTo>
                    <a:pt x="99" y="0"/>
                  </a:moveTo>
                  <a:cubicBezTo>
                    <a:pt x="6" y="0"/>
                    <a:pt x="6" y="0"/>
                    <a:pt x="6" y="0"/>
                  </a:cubicBezTo>
                  <a:cubicBezTo>
                    <a:pt x="3" y="0"/>
                    <a:pt x="0" y="3"/>
                    <a:pt x="0" y="6"/>
                  </a:cubicBezTo>
                  <a:cubicBezTo>
                    <a:pt x="0" y="10"/>
                    <a:pt x="3" y="12"/>
                    <a:pt x="6" y="12"/>
                  </a:cubicBezTo>
                  <a:cubicBezTo>
                    <a:pt x="99" y="12"/>
                    <a:pt x="99" y="12"/>
                    <a:pt x="99" y="12"/>
                  </a:cubicBezTo>
                  <a:cubicBezTo>
                    <a:pt x="102" y="12"/>
                    <a:pt x="105" y="10"/>
                    <a:pt x="105" y="6"/>
                  </a:cubicBezTo>
                  <a:cubicBezTo>
                    <a:pt x="105" y="3"/>
                    <a:pt x="102" y="0"/>
                    <a:pt x="99" y="0"/>
                  </a:cubicBezTo>
                  <a:close/>
                </a:path>
              </a:pathLst>
            </a:custGeom>
            <a:solidFill>
              <a:srgbClr val="C5C6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10" name="Freeform 60">
              <a:extLst>
                <a:ext uri="{FF2B5EF4-FFF2-40B4-BE49-F238E27FC236}">
                  <a16:creationId xmlns:a16="http://schemas.microsoft.com/office/drawing/2014/main" id="{E92CF437-6210-4DD5-9846-64D5AE64F1B3}"/>
                </a:ext>
              </a:extLst>
            </p:cNvPr>
            <p:cNvSpPr>
              <a:spLocks/>
            </p:cNvSpPr>
            <p:nvPr/>
          </p:nvSpPr>
          <p:spPr bwMode="auto">
            <a:xfrm>
              <a:off x="5771899" y="3273935"/>
              <a:ext cx="192808" cy="212089"/>
            </a:xfrm>
            <a:custGeom>
              <a:avLst/>
              <a:gdLst>
                <a:gd name="T0" fmla="*/ 29 w 46"/>
                <a:gd name="T1" fmla="*/ 51 h 51"/>
                <a:gd name="T2" fmla="*/ 17 w 46"/>
                <a:gd name="T3" fmla="*/ 51 h 51"/>
                <a:gd name="T4" fmla="*/ 7 w 46"/>
                <a:gd name="T5" fmla="*/ 47 h 51"/>
                <a:gd name="T6" fmla="*/ 2 w 46"/>
                <a:gd name="T7" fmla="*/ 37 h 51"/>
                <a:gd name="T8" fmla="*/ 0 w 46"/>
                <a:gd name="T9" fmla="*/ 2 h 51"/>
                <a:gd name="T10" fmla="*/ 0 w 46"/>
                <a:gd name="T11" fmla="*/ 1 h 51"/>
                <a:gd name="T12" fmla="*/ 1 w 46"/>
                <a:gd name="T13" fmla="*/ 0 h 51"/>
                <a:gd name="T14" fmla="*/ 1 w 46"/>
                <a:gd name="T15" fmla="*/ 0 h 51"/>
                <a:gd name="T16" fmla="*/ 2 w 46"/>
                <a:gd name="T17" fmla="*/ 0 h 51"/>
                <a:gd name="T18" fmla="*/ 44 w 46"/>
                <a:gd name="T19" fmla="*/ 0 h 51"/>
                <a:gd name="T20" fmla="*/ 45 w 46"/>
                <a:gd name="T21" fmla="*/ 0 h 51"/>
                <a:gd name="T22" fmla="*/ 45 w 46"/>
                <a:gd name="T23" fmla="*/ 0 h 51"/>
                <a:gd name="T24" fmla="*/ 46 w 46"/>
                <a:gd name="T25" fmla="*/ 1 h 51"/>
                <a:gd name="T26" fmla="*/ 46 w 46"/>
                <a:gd name="T27" fmla="*/ 2 h 51"/>
                <a:gd name="T28" fmla="*/ 44 w 46"/>
                <a:gd name="T29" fmla="*/ 37 h 51"/>
                <a:gd name="T30" fmla="*/ 39 w 46"/>
                <a:gd name="T31" fmla="*/ 47 h 51"/>
                <a:gd name="T32" fmla="*/ 29 w 46"/>
                <a:gd name="T33"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6" h="51">
                  <a:moveTo>
                    <a:pt x="29" y="51"/>
                  </a:moveTo>
                  <a:cubicBezTo>
                    <a:pt x="17" y="51"/>
                    <a:pt x="17" y="51"/>
                    <a:pt x="17" y="51"/>
                  </a:cubicBezTo>
                  <a:cubicBezTo>
                    <a:pt x="13" y="51"/>
                    <a:pt x="10" y="50"/>
                    <a:pt x="7" y="47"/>
                  </a:cubicBezTo>
                  <a:cubicBezTo>
                    <a:pt x="4" y="44"/>
                    <a:pt x="2" y="41"/>
                    <a:pt x="2" y="37"/>
                  </a:cubicBezTo>
                  <a:cubicBezTo>
                    <a:pt x="0" y="2"/>
                    <a:pt x="0" y="2"/>
                    <a:pt x="0" y="2"/>
                  </a:cubicBezTo>
                  <a:cubicBezTo>
                    <a:pt x="0" y="2"/>
                    <a:pt x="0" y="1"/>
                    <a:pt x="0" y="1"/>
                  </a:cubicBezTo>
                  <a:cubicBezTo>
                    <a:pt x="0" y="1"/>
                    <a:pt x="0" y="1"/>
                    <a:pt x="1" y="0"/>
                  </a:cubicBezTo>
                  <a:cubicBezTo>
                    <a:pt x="1" y="0"/>
                    <a:pt x="1" y="0"/>
                    <a:pt x="1" y="0"/>
                  </a:cubicBezTo>
                  <a:cubicBezTo>
                    <a:pt x="2" y="0"/>
                    <a:pt x="2" y="0"/>
                    <a:pt x="2" y="0"/>
                  </a:cubicBezTo>
                  <a:cubicBezTo>
                    <a:pt x="44" y="0"/>
                    <a:pt x="44" y="0"/>
                    <a:pt x="44" y="0"/>
                  </a:cubicBezTo>
                  <a:cubicBezTo>
                    <a:pt x="44" y="0"/>
                    <a:pt x="44" y="0"/>
                    <a:pt x="45" y="0"/>
                  </a:cubicBezTo>
                  <a:cubicBezTo>
                    <a:pt x="45" y="0"/>
                    <a:pt x="45" y="0"/>
                    <a:pt x="45" y="0"/>
                  </a:cubicBezTo>
                  <a:cubicBezTo>
                    <a:pt x="46" y="1"/>
                    <a:pt x="46" y="1"/>
                    <a:pt x="46" y="1"/>
                  </a:cubicBezTo>
                  <a:cubicBezTo>
                    <a:pt x="46" y="1"/>
                    <a:pt x="46" y="2"/>
                    <a:pt x="46" y="2"/>
                  </a:cubicBezTo>
                  <a:cubicBezTo>
                    <a:pt x="44" y="37"/>
                    <a:pt x="44" y="37"/>
                    <a:pt x="44" y="37"/>
                  </a:cubicBezTo>
                  <a:cubicBezTo>
                    <a:pt x="44" y="41"/>
                    <a:pt x="42" y="44"/>
                    <a:pt x="39" y="47"/>
                  </a:cubicBezTo>
                  <a:cubicBezTo>
                    <a:pt x="37" y="50"/>
                    <a:pt x="33" y="51"/>
                    <a:pt x="29" y="51"/>
                  </a:cubicBezTo>
                  <a:close/>
                </a:path>
              </a:pathLst>
            </a:custGeom>
            <a:solidFill>
              <a:srgbClr val="FF31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11" name="Freeform 61">
              <a:extLst>
                <a:ext uri="{FF2B5EF4-FFF2-40B4-BE49-F238E27FC236}">
                  <a16:creationId xmlns:a16="http://schemas.microsoft.com/office/drawing/2014/main" id="{0E451FD6-A8EC-40EA-BE2E-38B0A5E47F52}"/>
                </a:ext>
              </a:extLst>
            </p:cNvPr>
            <p:cNvSpPr>
              <a:spLocks/>
            </p:cNvSpPr>
            <p:nvPr/>
          </p:nvSpPr>
          <p:spPr bwMode="auto">
            <a:xfrm>
              <a:off x="5955942" y="3307238"/>
              <a:ext cx="66606" cy="127955"/>
            </a:xfrm>
            <a:custGeom>
              <a:avLst/>
              <a:gdLst>
                <a:gd name="T0" fmla="*/ 2 w 16"/>
                <a:gd name="T1" fmla="*/ 0 h 31"/>
                <a:gd name="T2" fmla="*/ 1 w 16"/>
                <a:gd name="T3" fmla="*/ 5 h 31"/>
                <a:gd name="T4" fmla="*/ 8 w 16"/>
                <a:gd name="T5" fmla="*/ 9 h 31"/>
                <a:gd name="T6" fmla="*/ 10 w 16"/>
                <a:gd name="T7" fmla="*/ 16 h 31"/>
                <a:gd name="T8" fmla="*/ 7 w 16"/>
                <a:gd name="T9" fmla="*/ 23 h 31"/>
                <a:gd name="T10" fmla="*/ 0 w 16"/>
                <a:gd name="T11" fmla="*/ 26 h 31"/>
                <a:gd name="T12" fmla="*/ 0 w 16"/>
                <a:gd name="T13" fmla="*/ 31 h 31"/>
                <a:gd name="T14" fmla="*/ 11 w 16"/>
                <a:gd name="T15" fmla="*/ 27 h 31"/>
                <a:gd name="T16" fmla="*/ 15 w 16"/>
                <a:gd name="T17" fmla="*/ 16 h 31"/>
                <a:gd name="T18" fmla="*/ 12 w 16"/>
                <a:gd name="T19" fmla="*/ 5 h 31"/>
                <a:gd name="T20" fmla="*/ 2 w 16"/>
                <a:gd name="T21"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31">
                  <a:moveTo>
                    <a:pt x="2" y="0"/>
                  </a:moveTo>
                  <a:cubicBezTo>
                    <a:pt x="1" y="5"/>
                    <a:pt x="1" y="5"/>
                    <a:pt x="1" y="5"/>
                  </a:cubicBezTo>
                  <a:cubicBezTo>
                    <a:pt x="4" y="5"/>
                    <a:pt x="6" y="7"/>
                    <a:pt x="8" y="9"/>
                  </a:cubicBezTo>
                  <a:cubicBezTo>
                    <a:pt x="9" y="11"/>
                    <a:pt x="10" y="13"/>
                    <a:pt x="10" y="16"/>
                  </a:cubicBezTo>
                  <a:cubicBezTo>
                    <a:pt x="10" y="19"/>
                    <a:pt x="9" y="21"/>
                    <a:pt x="7" y="23"/>
                  </a:cubicBezTo>
                  <a:cubicBezTo>
                    <a:pt x="5" y="25"/>
                    <a:pt x="3" y="26"/>
                    <a:pt x="0" y="26"/>
                  </a:cubicBezTo>
                  <a:cubicBezTo>
                    <a:pt x="0" y="31"/>
                    <a:pt x="0" y="31"/>
                    <a:pt x="0" y="31"/>
                  </a:cubicBezTo>
                  <a:cubicBezTo>
                    <a:pt x="4" y="31"/>
                    <a:pt x="8" y="30"/>
                    <a:pt x="11" y="27"/>
                  </a:cubicBezTo>
                  <a:cubicBezTo>
                    <a:pt x="13" y="24"/>
                    <a:pt x="15" y="20"/>
                    <a:pt x="15" y="16"/>
                  </a:cubicBezTo>
                  <a:cubicBezTo>
                    <a:pt x="16" y="12"/>
                    <a:pt x="14" y="8"/>
                    <a:pt x="12" y="5"/>
                  </a:cubicBezTo>
                  <a:cubicBezTo>
                    <a:pt x="9" y="2"/>
                    <a:pt x="6" y="0"/>
                    <a:pt x="2" y="0"/>
                  </a:cubicBezTo>
                  <a:close/>
                </a:path>
              </a:pathLst>
            </a:custGeom>
            <a:solidFill>
              <a:srgbClr val="FF585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12" name="Freeform 62">
              <a:extLst>
                <a:ext uri="{FF2B5EF4-FFF2-40B4-BE49-F238E27FC236}">
                  <a16:creationId xmlns:a16="http://schemas.microsoft.com/office/drawing/2014/main" id="{CEDF0C57-032F-4FE1-9F80-89359AB25923}"/>
                </a:ext>
              </a:extLst>
            </p:cNvPr>
            <p:cNvSpPr>
              <a:spLocks/>
            </p:cNvSpPr>
            <p:nvPr/>
          </p:nvSpPr>
          <p:spPr bwMode="auto">
            <a:xfrm>
              <a:off x="5831494" y="2984723"/>
              <a:ext cx="82382" cy="255908"/>
            </a:xfrm>
            <a:custGeom>
              <a:avLst/>
              <a:gdLst>
                <a:gd name="T0" fmla="*/ 12 w 20"/>
                <a:gd name="T1" fmla="*/ 61 h 61"/>
                <a:gd name="T2" fmla="*/ 2 w 20"/>
                <a:gd name="T3" fmla="*/ 44 h 61"/>
                <a:gd name="T4" fmla="*/ 9 w 20"/>
                <a:gd name="T5" fmla="*/ 20 h 61"/>
                <a:gd name="T6" fmla="*/ 0 w 20"/>
                <a:gd name="T7" fmla="*/ 0 h 61"/>
                <a:gd name="T8" fmla="*/ 16 w 20"/>
                <a:gd name="T9" fmla="*/ 19 h 61"/>
                <a:gd name="T10" fmla="*/ 15 w 20"/>
                <a:gd name="T11" fmla="*/ 40 h 61"/>
                <a:gd name="T12" fmla="*/ 12 w 20"/>
                <a:gd name="T13" fmla="*/ 61 h 61"/>
              </a:gdLst>
              <a:ahLst/>
              <a:cxnLst>
                <a:cxn ang="0">
                  <a:pos x="T0" y="T1"/>
                </a:cxn>
                <a:cxn ang="0">
                  <a:pos x="T2" y="T3"/>
                </a:cxn>
                <a:cxn ang="0">
                  <a:pos x="T4" y="T5"/>
                </a:cxn>
                <a:cxn ang="0">
                  <a:pos x="T6" y="T7"/>
                </a:cxn>
                <a:cxn ang="0">
                  <a:pos x="T8" y="T9"/>
                </a:cxn>
                <a:cxn ang="0">
                  <a:pos x="T10" y="T11"/>
                </a:cxn>
                <a:cxn ang="0">
                  <a:pos x="T12" y="T13"/>
                </a:cxn>
              </a:cxnLst>
              <a:rect l="0" t="0" r="r" b="b"/>
              <a:pathLst>
                <a:path w="20" h="61">
                  <a:moveTo>
                    <a:pt x="12" y="61"/>
                  </a:moveTo>
                  <a:cubicBezTo>
                    <a:pt x="12" y="61"/>
                    <a:pt x="2" y="51"/>
                    <a:pt x="2" y="44"/>
                  </a:cubicBezTo>
                  <a:cubicBezTo>
                    <a:pt x="3" y="34"/>
                    <a:pt x="12" y="30"/>
                    <a:pt x="9" y="20"/>
                  </a:cubicBezTo>
                  <a:cubicBezTo>
                    <a:pt x="7" y="15"/>
                    <a:pt x="0" y="0"/>
                    <a:pt x="0" y="0"/>
                  </a:cubicBezTo>
                  <a:cubicBezTo>
                    <a:pt x="0" y="0"/>
                    <a:pt x="12" y="11"/>
                    <a:pt x="16" y="19"/>
                  </a:cubicBezTo>
                  <a:cubicBezTo>
                    <a:pt x="20" y="25"/>
                    <a:pt x="19" y="35"/>
                    <a:pt x="15" y="40"/>
                  </a:cubicBezTo>
                  <a:cubicBezTo>
                    <a:pt x="6" y="51"/>
                    <a:pt x="12" y="61"/>
                    <a:pt x="12" y="61"/>
                  </a:cubicBezTo>
                  <a:close/>
                </a:path>
              </a:pathLst>
            </a:custGeom>
            <a:solidFill>
              <a:srgbClr val="DCDC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13" name="Freeform 63">
              <a:extLst>
                <a:ext uri="{FF2B5EF4-FFF2-40B4-BE49-F238E27FC236}">
                  <a16:creationId xmlns:a16="http://schemas.microsoft.com/office/drawing/2014/main" id="{311F9265-FD17-4567-BF48-E189613EA799}"/>
                </a:ext>
              </a:extLst>
            </p:cNvPr>
            <p:cNvSpPr>
              <a:spLocks/>
            </p:cNvSpPr>
            <p:nvPr/>
          </p:nvSpPr>
          <p:spPr bwMode="auto">
            <a:xfrm>
              <a:off x="5919134" y="4295815"/>
              <a:ext cx="108673" cy="112179"/>
            </a:xfrm>
            <a:custGeom>
              <a:avLst/>
              <a:gdLst>
                <a:gd name="T0" fmla="*/ 21 w 26"/>
                <a:gd name="T1" fmla="*/ 0 h 27"/>
                <a:gd name="T2" fmla="*/ 10 w 26"/>
                <a:gd name="T3" fmla="*/ 3 h 27"/>
                <a:gd name="T4" fmla="*/ 2 w 26"/>
                <a:gd name="T5" fmla="*/ 11 h 27"/>
                <a:gd name="T6" fmla="*/ 1 w 26"/>
                <a:gd name="T7" fmla="*/ 20 h 27"/>
                <a:gd name="T8" fmla="*/ 5 w 26"/>
                <a:gd name="T9" fmla="*/ 25 h 27"/>
                <a:gd name="T10" fmla="*/ 22 w 26"/>
                <a:gd name="T11" fmla="*/ 13 h 27"/>
                <a:gd name="T12" fmla="*/ 21 w 26"/>
                <a:gd name="T13" fmla="*/ 0 h 27"/>
              </a:gdLst>
              <a:ahLst/>
              <a:cxnLst>
                <a:cxn ang="0">
                  <a:pos x="T0" y="T1"/>
                </a:cxn>
                <a:cxn ang="0">
                  <a:pos x="T2" y="T3"/>
                </a:cxn>
                <a:cxn ang="0">
                  <a:pos x="T4" y="T5"/>
                </a:cxn>
                <a:cxn ang="0">
                  <a:pos x="T6" y="T7"/>
                </a:cxn>
                <a:cxn ang="0">
                  <a:pos x="T8" y="T9"/>
                </a:cxn>
                <a:cxn ang="0">
                  <a:pos x="T10" y="T11"/>
                </a:cxn>
                <a:cxn ang="0">
                  <a:pos x="T12" y="T13"/>
                </a:cxn>
              </a:cxnLst>
              <a:rect l="0" t="0" r="r" b="b"/>
              <a:pathLst>
                <a:path w="26" h="27">
                  <a:moveTo>
                    <a:pt x="21" y="0"/>
                  </a:moveTo>
                  <a:cubicBezTo>
                    <a:pt x="17" y="0"/>
                    <a:pt x="14" y="1"/>
                    <a:pt x="10" y="3"/>
                  </a:cubicBezTo>
                  <a:cubicBezTo>
                    <a:pt x="7" y="5"/>
                    <a:pt x="4" y="8"/>
                    <a:pt x="2" y="11"/>
                  </a:cubicBezTo>
                  <a:cubicBezTo>
                    <a:pt x="1" y="14"/>
                    <a:pt x="0" y="17"/>
                    <a:pt x="1" y="20"/>
                  </a:cubicBezTo>
                  <a:cubicBezTo>
                    <a:pt x="1" y="22"/>
                    <a:pt x="3" y="27"/>
                    <a:pt x="5" y="25"/>
                  </a:cubicBezTo>
                  <a:cubicBezTo>
                    <a:pt x="10" y="20"/>
                    <a:pt x="16" y="16"/>
                    <a:pt x="22" y="13"/>
                  </a:cubicBezTo>
                  <a:cubicBezTo>
                    <a:pt x="26" y="12"/>
                    <a:pt x="25" y="0"/>
                    <a:pt x="21" y="0"/>
                  </a:cubicBezTo>
                  <a:close/>
                </a:path>
              </a:pathLst>
            </a:custGeom>
            <a:solidFill>
              <a:srgbClr val="FFDD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14" name="Freeform 64">
              <a:extLst>
                <a:ext uri="{FF2B5EF4-FFF2-40B4-BE49-F238E27FC236}">
                  <a16:creationId xmlns:a16="http://schemas.microsoft.com/office/drawing/2014/main" id="{E3264F0A-6545-422D-B48A-F7290D55ECCD}"/>
                </a:ext>
              </a:extLst>
            </p:cNvPr>
            <p:cNvSpPr>
              <a:spLocks/>
            </p:cNvSpPr>
            <p:nvPr/>
          </p:nvSpPr>
          <p:spPr bwMode="auto">
            <a:xfrm>
              <a:off x="6040076" y="4374691"/>
              <a:ext cx="66606" cy="154246"/>
            </a:xfrm>
            <a:custGeom>
              <a:avLst/>
              <a:gdLst>
                <a:gd name="T0" fmla="*/ 10 w 16"/>
                <a:gd name="T1" fmla="*/ 3 h 37"/>
                <a:gd name="T2" fmla="*/ 1 w 16"/>
                <a:gd name="T3" fmla="*/ 24 h 37"/>
                <a:gd name="T4" fmla="*/ 2 w 16"/>
                <a:gd name="T5" fmla="*/ 34 h 37"/>
                <a:gd name="T6" fmla="*/ 6 w 16"/>
                <a:gd name="T7" fmla="*/ 35 h 37"/>
                <a:gd name="T8" fmla="*/ 11 w 16"/>
                <a:gd name="T9" fmla="*/ 25 h 37"/>
                <a:gd name="T10" fmla="*/ 14 w 16"/>
                <a:gd name="T11" fmla="*/ 14 h 37"/>
                <a:gd name="T12" fmla="*/ 14 w 16"/>
                <a:gd name="T13" fmla="*/ 5 h 37"/>
                <a:gd name="T14" fmla="*/ 10 w 16"/>
                <a:gd name="T15" fmla="*/ 3 h 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37">
                  <a:moveTo>
                    <a:pt x="10" y="3"/>
                  </a:moveTo>
                  <a:cubicBezTo>
                    <a:pt x="6" y="9"/>
                    <a:pt x="3" y="16"/>
                    <a:pt x="1" y="24"/>
                  </a:cubicBezTo>
                  <a:cubicBezTo>
                    <a:pt x="0" y="27"/>
                    <a:pt x="1" y="31"/>
                    <a:pt x="2" y="34"/>
                  </a:cubicBezTo>
                  <a:cubicBezTo>
                    <a:pt x="3" y="36"/>
                    <a:pt x="5" y="37"/>
                    <a:pt x="6" y="35"/>
                  </a:cubicBezTo>
                  <a:cubicBezTo>
                    <a:pt x="8" y="32"/>
                    <a:pt x="10" y="28"/>
                    <a:pt x="11" y="25"/>
                  </a:cubicBezTo>
                  <a:cubicBezTo>
                    <a:pt x="12" y="21"/>
                    <a:pt x="13" y="18"/>
                    <a:pt x="14" y="14"/>
                  </a:cubicBezTo>
                  <a:cubicBezTo>
                    <a:pt x="16" y="11"/>
                    <a:pt x="16" y="8"/>
                    <a:pt x="14" y="5"/>
                  </a:cubicBezTo>
                  <a:cubicBezTo>
                    <a:pt x="14" y="3"/>
                    <a:pt x="12" y="0"/>
                    <a:pt x="10" y="3"/>
                  </a:cubicBezTo>
                  <a:close/>
                </a:path>
              </a:pathLst>
            </a:custGeom>
            <a:solidFill>
              <a:srgbClr val="FFDD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15" name="Freeform 65">
              <a:extLst>
                <a:ext uri="{FF2B5EF4-FFF2-40B4-BE49-F238E27FC236}">
                  <a16:creationId xmlns:a16="http://schemas.microsoft.com/office/drawing/2014/main" id="{8A936842-CE50-4B61-BBF2-0248F7133CD0}"/>
                </a:ext>
              </a:extLst>
            </p:cNvPr>
            <p:cNvSpPr>
              <a:spLocks/>
            </p:cNvSpPr>
            <p:nvPr/>
          </p:nvSpPr>
          <p:spPr bwMode="auto">
            <a:xfrm>
              <a:off x="6318772" y="4316849"/>
              <a:ext cx="101662" cy="136718"/>
            </a:xfrm>
            <a:custGeom>
              <a:avLst/>
              <a:gdLst>
                <a:gd name="T0" fmla="*/ 3 w 24"/>
                <a:gd name="T1" fmla="*/ 15 h 33"/>
                <a:gd name="T2" fmla="*/ 19 w 24"/>
                <a:gd name="T3" fmla="*/ 31 h 33"/>
                <a:gd name="T4" fmla="*/ 24 w 24"/>
                <a:gd name="T5" fmla="*/ 28 h 33"/>
                <a:gd name="T6" fmla="*/ 21 w 24"/>
                <a:gd name="T7" fmla="*/ 17 h 33"/>
                <a:gd name="T8" fmla="*/ 5 w 24"/>
                <a:gd name="T9" fmla="*/ 2 h 33"/>
                <a:gd name="T10" fmla="*/ 1 w 24"/>
                <a:gd name="T11" fmla="*/ 5 h 33"/>
                <a:gd name="T12" fmla="*/ 3 w 24"/>
                <a:gd name="T13" fmla="*/ 15 h 33"/>
              </a:gdLst>
              <a:ahLst/>
              <a:cxnLst>
                <a:cxn ang="0">
                  <a:pos x="T0" y="T1"/>
                </a:cxn>
                <a:cxn ang="0">
                  <a:pos x="T2" y="T3"/>
                </a:cxn>
                <a:cxn ang="0">
                  <a:pos x="T4" y="T5"/>
                </a:cxn>
                <a:cxn ang="0">
                  <a:pos x="T6" y="T7"/>
                </a:cxn>
                <a:cxn ang="0">
                  <a:pos x="T8" y="T9"/>
                </a:cxn>
                <a:cxn ang="0">
                  <a:pos x="T10" y="T11"/>
                </a:cxn>
                <a:cxn ang="0">
                  <a:pos x="T12" y="T13"/>
                </a:cxn>
              </a:cxnLst>
              <a:rect l="0" t="0" r="r" b="b"/>
              <a:pathLst>
                <a:path w="24" h="33">
                  <a:moveTo>
                    <a:pt x="3" y="15"/>
                  </a:moveTo>
                  <a:cubicBezTo>
                    <a:pt x="8" y="21"/>
                    <a:pt x="14" y="26"/>
                    <a:pt x="19" y="31"/>
                  </a:cubicBezTo>
                  <a:cubicBezTo>
                    <a:pt x="22" y="33"/>
                    <a:pt x="23" y="30"/>
                    <a:pt x="24" y="28"/>
                  </a:cubicBezTo>
                  <a:cubicBezTo>
                    <a:pt x="24" y="25"/>
                    <a:pt x="24" y="19"/>
                    <a:pt x="21" y="17"/>
                  </a:cubicBezTo>
                  <a:cubicBezTo>
                    <a:pt x="16" y="12"/>
                    <a:pt x="10" y="7"/>
                    <a:pt x="5" y="2"/>
                  </a:cubicBezTo>
                  <a:cubicBezTo>
                    <a:pt x="2" y="0"/>
                    <a:pt x="1" y="3"/>
                    <a:pt x="1" y="5"/>
                  </a:cubicBezTo>
                  <a:cubicBezTo>
                    <a:pt x="0" y="8"/>
                    <a:pt x="1" y="13"/>
                    <a:pt x="3" y="15"/>
                  </a:cubicBezTo>
                  <a:close/>
                </a:path>
              </a:pathLst>
            </a:custGeom>
            <a:solidFill>
              <a:srgbClr val="FFDD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16" name="Freeform 66">
              <a:extLst>
                <a:ext uri="{FF2B5EF4-FFF2-40B4-BE49-F238E27FC236}">
                  <a16:creationId xmlns:a16="http://schemas.microsoft.com/office/drawing/2014/main" id="{924B6409-DE44-4CA2-9A30-AE5F7013B4EA}"/>
                </a:ext>
              </a:extLst>
            </p:cNvPr>
            <p:cNvSpPr>
              <a:spLocks/>
            </p:cNvSpPr>
            <p:nvPr/>
          </p:nvSpPr>
          <p:spPr bwMode="auto">
            <a:xfrm>
              <a:off x="6203087" y="4390466"/>
              <a:ext cx="54337" cy="163011"/>
            </a:xfrm>
            <a:custGeom>
              <a:avLst/>
              <a:gdLst>
                <a:gd name="T0" fmla="*/ 1 w 13"/>
                <a:gd name="T1" fmla="*/ 8 h 39"/>
                <a:gd name="T2" fmla="*/ 5 w 13"/>
                <a:gd name="T3" fmla="*/ 32 h 39"/>
                <a:gd name="T4" fmla="*/ 11 w 13"/>
                <a:gd name="T5" fmla="*/ 35 h 39"/>
                <a:gd name="T6" fmla="*/ 12 w 13"/>
                <a:gd name="T7" fmla="*/ 22 h 39"/>
                <a:gd name="T8" fmla="*/ 9 w 13"/>
                <a:gd name="T9" fmla="*/ 12 h 39"/>
                <a:gd name="T10" fmla="*/ 4 w 13"/>
                <a:gd name="T11" fmla="*/ 3 h 39"/>
                <a:gd name="T12" fmla="*/ 1 w 13"/>
                <a:gd name="T13" fmla="*/ 8 h 39"/>
              </a:gdLst>
              <a:ahLst/>
              <a:cxnLst>
                <a:cxn ang="0">
                  <a:pos x="T0" y="T1"/>
                </a:cxn>
                <a:cxn ang="0">
                  <a:pos x="T2" y="T3"/>
                </a:cxn>
                <a:cxn ang="0">
                  <a:pos x="T4" y="T5"/>
                </a:cxn>
                <a:cxn ang="0">
                  <a:pos x="T6" y="T7"/>
                </a:cxn>
                <a:cxn ang="0">
                  <a:pos x="T8" y="T9"/>
                </a:cxn>
                <a:cxn ang="0">
                  <a:pos x="T10" y="T11"/>
                </a:cxn>
                <a:cxn ang="0">
                  <a:pos x="T12" y="T13"/>
                </a:cxn>
              </a:cxnLst>
              <a:rect l="0" t="0" r="r" b="b"/>
              <a:pathLst>
                <a:path w="13" h="39">
                  <a:moveTo>
                    <a:pt x="1" y="8"/>
                  </a:moveTo>
                  <a:cubicBezTo>
                    <a:pt x="0" y="16"/>
                    <a:pt x="3" y="24"/>
                    <a:pt x="5" y="32"/>
                  </a:cubicBezTo>
                  <a:cubicBezTo>
                    <a:pt x="6" y="34"/>
                    <a:pt x="8" y="39"/>
                    <a:pt x="11" y="35"/>
                  </a:cubicBezTo>
                  <a:cubicBezTo>
                    <a:pt x="13" y="32"/>
                    <a:pt x="13" y="26"/>
                    <a:pt x="12" y="22"/>
                  </a:cubicBezTo>
                  <a:cubicBezTo>
                    <a:pt x="11" y="19"/>
                    <a:pt x="10" y="15"/>
                    <a:pt x="9" y="12"/>
                  </a:cubicBezTo>
                  <a:cubicBezTo>
                    <a:pt x="8" y="9"/>
                    <a:pt x="7" y="5"/>
                    <a:pt x="4" y="3"/>
                  </a:cubicBezTo>
                  <a:cubicBezTo>
                    <a:pt x="2" y="0"/>
                    <a:pt x="1" y="7"/>
                    <a:pt x="1" y="8"/>
                  </a:cubicBezTo>
                  <a:close/>
                </a:path>
              </a:pathLst>
            </a:custGeom>
            <a:solidFill>
              <a:srgbClr val="FFDD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grpSp>
      <p:sp>
        <p:nvSpPr>
          <p:cNvPr id="2" name="标题 1">
            <a:extLst>
              <a:ext uri="{FF2B5EF4-FFF2-40B4-BE49-F238E27FC236}">
                <a16:creationId xmlns:a16="http://schemas.microsoft.com/office/drawing/2014/main" id="{C1E35B64-B1DB-4A7C-829A-4E4365E79871}"/>
              </a:ext>
            </a:extLst>
          </p:cNvPr>
          <p:cNvSpPr>
            <a:spLocks noGrp="1"/>
          </p:cNvSpPr>
          <p:nvPr>
            <p:ph type="title"/>
          </p:nvPr>
        </p:nvSpPr>
        <p:spPr/>
        <p:txBody>
          <a:bodyPr/>
          <a:lstStyle/>
          <a:p>
            <a:r>
              <a:rPr lang="en-US" altLang="zh-CN" dirty="0"/>
              <a:t>UML</a:t>
            </a:r>
            <a:r>
              <a:rPr lang="zh-CN" altLang="en-US" dirty="0"/>
              <a:t>部署图</a:t>
            </a:r>
          </a:p>
        </p:txBody>
      </p:sp>
      <p:sp>
        <p:nvSpPr>
          <p:cNvPr id="4" name="灯片编号占位符 3">
            <a:extLst>
              <a:ext uri="{FF2B5EF4-FFF2-40B4-BE49-F238E27FC236}">
                <a16:creationId xmlns:a16="http://schemas.microsoft.com/office/drawing/2014/main" id="{1CD73F73-DE87-4FAA-BC73-34B1717818DF}"/>
              </a:ext>
            </a:extLst>
          </p:cNvPr>
          <p:cNvSpPr>
            <a:spLocks noGrp="1"/>
          </p:cNvSpPr>
          <p:nvPr>
            <p:ph type="sldNum" sz="quarter" idx="12"/>
          </p:nvPr>
        </p:nvSpPr>
        <p:spPr/>
        <p:txBody>
          <a:bodyPr/>
          <a:lstStyle/>
          <a:p>
            <a:fld id="{5DD3DB80-B894-403A-B48E-6FDC1A72010E}" type="slidenum">
              <a:rPr lang="zh-CN" altLang="en-US" smtClean="0"/>
              <a:pPr/>
              <a:t>27</a:t>
            </a:fld>
            <a:endParaRPr lang="zh-CN" altLang="en-US"/>
          </a:p>
        </p:txBody>
      </p:sp>
      <p:grpSp>
        <p:nvGrpSpPr>
          <p:cNvPr id="5" name="183472"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a16="http://schemas.microsoft.com/office/drawing/2014/main" id="{A13558B8-9D1D-485F-A9B2-AEB572654507}"/>
              </a:ext>
            </a:extLst>
          </p:cNvPr>
          <p:cNvGrpSpPr>
            <a:grpSpLocks noChangeAspect="1"/>
          </p:cNvGrpSpPr>
          <p:nvPr/>
        </p:nvGrpSpPr>
        <p:grpSpPr>
          <a:xfrm>
            <a:off x="2121826" y="1282893"/>
            <a:ext cx="9398663" cy="3970310"/>
            <a:chOff x="2121826" y="1282893"/>
            <a:chExt cx="9398663" cy="3970310"/>
          </a:xfrm>
        </p:grpSpPr>
        <p:sp>
          <p:nvSpPr>
            <p:cNvPr id="27" name="iŝḻïḓé">
              <a:extLst>
                <a:ext uri="{FF2B5EF4-FFF2-40B4-BE49-F238E27FC236}">
                  <a16:creationId xmlns:a16="http://schemas.microsoft.com/office/drawing/2014/main" id="{CE0929BD-FC0F-42FA-A91F-FBDEEE1ED95C}"/>
                </a:ext>
              </a:extLst>
            </p:cNvPr>
            <p:cNvSpPr/>
            <p:nvPr/>
          </p:nvSpPr>
          <p:spPr bwMode="auto">
            <a:xfrm>
              <a:off x="2121826" y="4021271"/>
              <a:ext cx="973957" cy="907281"/>
            </a:xfrm>
            <a:custGeom>
              <a:avLst/>
              <a:gdLst/>
              <a:ahLst/>
              <a:cxnLst>
                <a:cxn ang="0">
                  <a:pos x="102" y="0"/>
                </a:cxn>
                <a:cxn ang="0">
                  <a:pos x="0" y="95"/>
                </a:cxn>
                <a:cxn ang="0">
                  <a:pos x="0" y="95"/>
                </a:cxn>
                <a:cxn ang="0">
                  <a:pos x="102" y="0"/>
                </a:cxn>
                <a:cxn ang="0">
                  <a:pos x="102" y="0"/>
                </a:cxn>
              </a:cxnLst>
              <a:rect l="0" t="0" r="r" b="b"/>
              <a:pathLst>
                <a:path w="102" h="95">
                  <a:moveTo>
                    <a:pt x="102" y="0"/>
                  </a:moveTo>
                  <a:cubicBezTo>
                    <a:pt x="90" y="49"/>
                    <a:pt x="50" y="87"/>
                    <a:pt x="0" y="95"/>
                  </a:cubicBezTo>
                  <a:cubicBezTo>
                    <a:pt x="0" y="95"/>
                    <a:pt x="0" y="95"/>
                    <a:pt x="0" y="95"/>
                  </a:cubicBezTo>
                  <a:cubicBezTo>
                    <a:pt x="50" y="87"/>
                    <a:pt x="90" y="49"/>
                    <a:pt x="102" y="0"/>
                  </a:cubicBezTo>
                  <a:cubicBezTo>
                    <a:pt x="102" y="0"/>
                    <a:pt x="102" y="0"/>
                    <a:pt x="102" y="0"/>
                  </a:cubicBezTo>
                </a:path>
              </a:pathLst>
            </a:custGeom>
            <a:solidFill>
              <a:srgbClr val="BB3A3A"/>
            </a:solidFill>
            <a:ln w="9525">
              <a:noFill/>
              <a:round/>
              <a:headEnd/>
              <a:tailEnd/>
            </a:ln>
          </p:spPr>
          <p:txBody>
            <a:bodyPr vert="horz" wrap="square" lIns="91440" tIns="45720" rIns="91440" bIns="45720" numCol="1" anchor="t" anchorCtr="0" compatLnSpc="1">
              <a:prstTxWarp prst="textNoShape">
                <a:avLst/>
              </a:prstTxWarp>
              <a:normAutofit/>
            </a:bodyPr>
            <a:lstStyle/>
            <a:p>
              <a:endParaRPr lang="zh-CN" altLang="en-US"/>
            </a:p>
          </p:txBody>
        </p:sp>
        <p:sp>
          <p:nvSpPr>
            <p:cNvPr id="7" name="ïṡḷiḓê">
              <a:extLst>
                <a:ext uri="{FF2B5EF4-FFF2-40B4-BE49-F238E27FC236}">
                  <a16:creationId xmlns:a16="http://schemas.microsoft.com/office/drawing/2014/main" id="{6982B370-286D-4E2A-861D-47EA735A5DD1}"/>
                </a:ext>
              </a:extLst>
            </p:cNvPr>
            <p:cNvSpPr txBox="1"/>
            <p:nvPr/>
          </p:nvSpPr>
          <p:spPr>
            <a:xfrm>
              <a:off x="3079054" y="1282893"/>
              <a:ext cx="8441434" cy="595087"/>
            </a:xfrm>
            <a:prstGeom prst="rect">
              <a:avLst/>
            </a:prstGeom>
            <a:noFill/>
            <a:ln>
              <a:noFill/>
            </a:ln>
          </p:spPr>
          <p:txBody>
            <a:bodyPr wrap="square" lIns="90000" tIns="46800" rIns="90000" bIns="46800" anchor="b" anchorCtr="0">
              <a:normAutofit/>
            </a:bodyPr>
            <a:lstStyle/>
            <a:p>
              <a:pPr algn="ctr">
                <a:buSzPct val="25000"/>
              </a:pPr>
              <a:r>
                <a:rPr lang="zh-CN" altLang="en-US" sz="2000" b="1" dirty="0"/>
                <a:t>部署图概要</a:t>
              </a:r>
              <a:endParaRPr lang="en-US" sz="2000" b="1" dirty="0"/>
            </a:p>
          </p:txBody>
        </p:sp>
        <p:sp>
          <p:nvSpPr>
            <p:cNvPr id="8" name="ïṣḷîḓe">
              <a:extLst>
                <a:ext uri="{FF2B5EF4-FFF2-40B4-BE49-F238E27FC236}">
                  <a16:creationId xmlns:a16="http://schemas.microsoft.com/office/drawing/2014/main" id="{650ED840-7AFA-4729-9CEC-9ACD8BF6E6D5}"/>
                </a:ext>
              </a:extLst>
            </p:cNvPr>
            <p:cNvSpPr txBox="1"/>
            <p:nvPr/>
          </p:nvSpPr>
          <p:spPr>
            <a:xfrm>
              <a:off x="3079053" y="1877980"/>
              <a:ext cx="8441436" cy="787280"/>
            </a:xfrm>
            <a:prstGeom prst="rect">
              <a:avLst/>
            </a:prstGeom>
            <a:noFill/>
            <a:ln>
              <a:noFill/>
            </a:ln>
          </p:spPr>
          <p:txBody>
            <a:bodyPr wrap="square" lIns="90000" tIns="46800" rIns="90000" bIns="46800" anchor="t" anchorCtr="0">
              <a:normAutofit/>
            </a:bodyPr>
            <a:lstStyle/>
            <a:p>
              <a:pPr algn="ctr">
                <a:lnSpc>
                  <a:spcPct val="150000"/>
                </a:lnSpc>
                <a:buSzPct val="25000"/>
              </a:pPr>
              <a:r>
                <a:rPr lang="zh-CN" altLang="en-US" sz="1200" b="0" i="0" dirty="0">
                  <a:solidFill>
                    <a:srgbClr val="0D0016"/>
                  </a:solidFill>
                  <a:effectLst/>
                  <a:latin typeface="-apple-system"/>
                </a:rPr>
                <a:t>使用部署图可以显示硬件节点的拓扑结构和通信路径、节点上运行的软件构件、软件构件包含的逻辑单元（对象、类</a:t>
              </a:r>
              <a:r>
                <a:rPr lang="en-US" altLang="zh-CN" sz="1200" b="0" i="0" dirty="0">
                  <a:solidFill>
                    <a:srgbClr val="0D0016"/>
                  </a:solidFill>
                  <a:effectLst/>
                  <a:latin typeface="-apple-system"/>
                </a:rPr>
                <a:t>)</a:t>
              </a:r>
              <a:r>
                <a:rPr lang="zh-CN" altLang="en-US" sz="1200" b="0" i="0" dirty="0">
                  <a:solidFill>
                    <a:srgbClr val="0D0016"/>
                  </a:solidFill>
                  <a:effectLst/>
                  <a:latin typeface="-apple-system"/>
                </a:rPr>
                <a:t>等</a:t>
              </a:r>
              <a:endParaRPr lang="en-US" sz="1200" dirty="0"/>
            </a:p>
          </p:txBody>
        </p:sp>
        <p:cxnSp>
          <p:nvCxnSpPr>
            <p:cNvPr id="9" name="直接连接符 8">
              <a:extLst>
                <a:ext uri="{FF2B5EF4-FFF2-40B4-BE49-F238E27FC236}">
                  <a16:creationId xmlns:a16="http://schemas.microsoft.com/office/drawing/2014/main" id="{1BA83826-3D02-4BE2-AB9A-059CE9664B05}"/>
                </a:ext>
              </a:extLst>
            </p:cNvPr>
            <p:cNvCxnSpPr>
              <a:cxnSpLocks/>
            </p:cNvCxnSpPr>
            <p:nvPr/>
          </p:nvCxnSpPr>
          <p:spPr>
            <a:xfrm>
              <a:off x="2904477" y="2865984"/>
              <a:ext cx="861601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nvGrpSpPr>
            <p:cNvPr id="10" name="íšļiḍé">
              <a:extLst>
                <a:ext uri="{FF2B5EF4-FFF2-40B4-BE49-F238E27FC236}">
                  <a16:creationId xmlns:a16="http://schemas.microsoft.com/office/drawing/2014/main" id="{3445083A-93A8-4596-9554-D302B7E2ECE5}"/>
                </a:ext>
              </a:extLst>
            </p:cNvPr>
            <p:cNvGrpSpPr/>
            <p:nvPr/>
          </p:nvGrpSpPr>
          <p:grpSpPr>
            <a:xfrm>
              <a:off x="3525886" y="3600247"/>
              <a:ext cx="2328027" cy="1438103"/>
              <a:chOff x="4185162" y="3580166"/>
              <a:chExt cx="2328027" cy="1438103"/>
            </a:xfrm>
          </p:grpSpPr>
          <p:sp>
            <p:nvSpPr>
              <p:cNvPr id="21" name="íṧlîḍe">
                <a:extLst>
                  <a:ext uri="{FF2B5EF4-FFF2-40B4-BE49-F238E27FC236}">
                    <a16:creationId xmlns:a16="http://schemas.microsoft.com/office/drawing/2014/main" id="{D55337DE-D953-4540-AA5D-50A4333EB440}"/>
                  </a:ext>
                </a:extLst>
              </p:cNvPr>
              <p:cNvSpPr/>
              <p:nvPr/>
            </p:nvSpPr>
            <p:spPr bwMode="auto">
              <a:xfrm>
                <a:off x="4958704" y="3580166"/>
                <a:ext cx="708563" cy="538239"/>
              </a:xfrm>
              <a:custGeom>
                <a:avLst/>
                <a:gdLst>
                  <a:gd name="T0" fmla="*/ 2664 w 2711"/>
                  <a:gd name="T1" fmla="*/ 1581 h 2062"/>
                  <a:gd name="T2" fmla="*/ 909 w 2711"/>
                  <a:gd name="T3" fmla="*/ 1581 h 2062"/>
                  <a:gd name="T4" fmla="*/ 861 w 2711"/>
                  <a:gd name="T5" fmla="*/ 1534 h 2062"/>
                  <a:gd name="T6" fmla="*/ 861 w 2711"/>
                  <a:gd name="T7" fmla="*/ 434 h 2062"/>
                  <a:gd name="T8" fmla="*/ 909 w 2711"/>
                  <a:gd name="T9" fmla="*/ 386 h 2062"/>
                  <a:gd name="T10" fmla="*/ 2664 w 2711"/>
                  <a:gd name="T11" fmla="*/ 386 h 2062"/>
                  <a:gd name="T12" fmla="*/ 2711 w 2711"/>
                  <a:gd name="T13" fmla="*/ 434 h 2062"/>
                  <a:gd name="T14" fmla="*/ 2711 w 2711"/>
                  <a:gd name="T15" fmla="*/ 1534 h 2062"/>
                  <a:gd name="T16" fmla="*/ 2664 w 2711"/>
                  <a:gd name="T17" fmla="*/ 1581 h 2062"/>
                  <a:gd name="T18" fmla="*/ 2177 w 2711"/>
                  <a:gd name="T19" fmla="*/ 1928 h 2062"/>
                  <a:gd name="T20" fmla="*/ 2000 w 2711"/>
                  <a:gd name="T21" fmla="*/ 1928 h 2062"/>
                  <a:gd name="T22" fmla="*/ 2000 w 2711"/>
                  <a:gd name="T23" fmla="*/ 1715 h 2062"/>
                  <a:gd name="T24" fmla="*/ 1573 w 2711"/>
                  <a:gd name="T25" fmla="*/ 1715 h 2062"/>
                  <a:gd name="T26" fmla="*/ 1573 w 2711"/>
                  <a:gd name="T27" fmla="*/ 1928 h 2062"/>
                  <a:gd name="T28" fmla="*/ 1395 w 2711"/>
                  <a:gd name="T29" fmla="*/ 1928 h 2062"/>
                  <a:gd name="T30" fmla="*/ 1329 w 2711"/>
                  <a:gd name="T31" fmla="*/ 1995 h 2062"/>
                  <a:gd name="T32" fmla="*/ 1395 w 2711"/>
                  <a:gd name="T33" fmla="*/ 2062 h 2062"/>
                  <a:gd name="T34" fmla="*/ 1640 w 2711"/>
                  <a:gd name="T35" fmla="*/ 2062 h 2062"/>
                  <a:gd name="T36" fmla="*/ 1933 w 2711"/>
                  <a:gd name="T37" fmla="*/ 2062 h 2062"/>
                  <a:gd name="T38" fmla="*/ 2177 w 2711"/>
                  <a:gd name="T39" fmla="*/ 2062 h 2062"/>
                  <a:gd name="T40" fmla="*/ 2244 w 2711"/>
                  <a:gd name="T41" fmla="*/ 1995 h 2062"/>
                  <a:gd name="T42" fmla="*/ 2177 w 2711"/>
                  <a:gd name="T43" fmla="*/ 1928 h 2062"/>
                  <a:gd name="T44" fmla="*/ 1065 w 2711"/>
                  <a:gd name="T45" fmla="*/ 253 h 2062"/>
                  <a:gd name="T46" fmla="*/ 909 w 2711"/>
                  <a:gd name="T47" fmla="*/ 253 h 2062"/>
                  <a:gd name="T48" fmla="*/ 880 w 2711"/>
                  <a:gd name="T49" fmla="*/ 255 h 2062"/>
                  <a:gd name="T50" fmla="*/ 863 w 2711"/>
                  <a:gd name="T51" fmla="*/ 253 h 2062"/>
                  <a:gd name="T52" fmla="*/ 201 w 2711"/>
                  <a:gd name="T53" fmla="*/ 253 h 2062"/>
                  <a:gd name="T54" fmla="*/ 135 w 2711"/>
                  <a:gd name="T55" fmla="*/ 320 h 2062"/>
                  <a:gd name="T56" fmla="*/ 201 w 2711"/>
                  <a:gd name="T57" fmla="*/ 386 h 2062"/>
                  <a:gd name="T58" fmla="*/ 735 w 2711"/>
                  <a:gd name="T59" fmla="*/ 386 h 2062"/>
                  <a:gd name="T60" fmla="*/ 728 w 2711"/>
                  <a:gd name="T61" fmla="*/ 434 h 2062"/>
                  <a:gd name="T62" fmla="*/ 728 w 2711"/>
                  <a:gd name="T63" fmla="*/ 558 h 2062"/>
                  <a:gd name="T64" fmla="*/ 201 w 2711"/>
                  <a:gd name="T65" fmla="*/ 558 h 2062"/>
                  <a:gd name="T66" fmla="*/ 135 w 2711"/>
                  <a:gd name="T67" fmla="*/ 624 h 2062"/>
                  <a:gd name="T68" fmla="*/ 201 w 2711"/>
                  <a:gd name="T69" fmla="*/ 691 h 2062"/>
                  <a:gd name="T70" fmla="*/ 728 w 2711"/>
                  <a:gd name="T71" fmla="*/ 691 h 2062"/>
                  <a:gd name="T72" fmla="*/ 728 w 2711"/>
                  <a:gd name="T73" fmla="*/ 863 h 2062"/>
                  <a:gd name="T74" fmla="*/ 201 w 2711"/>
                  <a:gd name="T75" fmla="*/ 863 h 2062"/>
                  <a:gd name="T76" fmla="*/ 135 w 2711"/>
                  <a:gd name="T77" fmla="*/ 929 h 2062"/>
                  <a:gd name="T78" fmla="*/ 201 w 2711"/>
                  <a:gd name="T79" fmla="*/ 996 h 2062"/>
                  <a:gd name="T80" fmla="*/ 728 w 2711"/>
                  <a:gd name="T81" fmla="*/ 996 h 2062"/>
                  <a:gd name="T82" fmla="*/ 728 w 2711"/>
                  <a:gd name="T83" fmla="*/ 1534 h 2062"/>
                  <a:gd name="T84" fmla="*/ 909 w 2711"/>
                  <a:gd name="T85" fmla="*/ 1715 h 2062"/>
                  <a:gd name="T86" fmla="*/ 1065 w 2711"/>
                  <a:gd name="T87" fmla="*/ 1715 h 2062"/>
                  <a:gd name="T88" fmla="*/ 1065 w 2711"/>
                  <a:gd name="T89" fmla="*/ 1995 h 2062"/>
                  <a:gd name="T90" fmla="*/ 998 w 2711"/>
                  <a:gd name="T91" fmla="*/ 2062 h 2062"/>
                  <a:gd name="T92" fmla="*/ 67 w 2711"/>
                  <a:gd name="T93" fmla="*/ 2062 h 2062"/>
                  <a:gd name="T94" fmla="*/ 0 w 2711"/>
                  <a:gd name="T95" fmla="*/ 1995 h 2062"/>
                  <a:gd name="T96" fmla="*/ 0 w 2711"/>
                  <a:gd name="T97" fmla="*/ 66 h 2062"/>
                  <a:gd name="T98" fmla="*/ 67 w 2711"/>
                  <a:gd name="T99" fmla="*/ 0 h 2062"/>
                  <a:gd name="T100" fmla="*/ 998 w 2711"/>
                  <a:gd name="T101" fmla="*/ 0 h 2062"/>
                  <a:gd name="T102" fmla="*/ 1065 w 2711"/>
                  <a:gd name="T103" fmla="*/ 66 h 2062"/>
                  <a:gd name="T104" fmla="*/ 1065 w 2711"/>
                  <a:gd name="T105" fmla="*/ 253 h 2062"/>
                  <a:gd name="T106" fmla="*/ 430 w 2711"/>
                  <a:gd name="T107" fmla="*/ 1569 h 2062"/>
                  <a:gd name="T108" fmla="*/ 532 w 2711"/>
                  <a:gd name="T109" fmla="*/ 1672 h 2062"/>
                  <a:gd name="T110" fmla="*/ 635 w 2711"/>
                  <a:gd name="T111" fmla="*/ 1569 h 2062"/>
                  <a:gd name="T112" fmla="*/ 532 w 2711"/>
                  <a:gd name="T113" fmla="*/ 1466 h 2062"/>
                  <a:gd name="T114" fmla="*/ 430 w 2711"/>
                  <a:gd name="T115" fmla="*/ 1569 h 20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711" h="2062">
                    <a:moveTo>
                      <a:pt x="2664" y="1581"/>
                    </a:moveTo>
                    <a:lnTo>
                      <a:pt x="909" y="1581"/>
                    </a:lnTo>
                    <a:cubicBezTo>
                      <a:pt x="883" y="1581"/>
                      <a:pt x="861" y="1560"/>
                      <a:pt x="861" y="1534"/>
                    </a:cubicBezTo>
                    <a:lnTo>
                      <a:pt x="861" y="434"/>
                    </a:lnTo>
                    <a:cubicBezTo>
                      <a:pt x="861" y="407"/>
                      <a:pt x="883" y="386"/>
                      <a:pt x="909" y="386"/>
                    </a:cubicBezTo>
                    <a:lnTo>
                      <a:pt x="2664" y="386"/>
                    </a:lnTo>
                    <a:cubicBezTo>
                      <a:pt x="2690" y="386"/>
                      <a:pt x="2711" y="408"/>
                      <a:pt x="2711" y="434"/>
                    </a:cubicBezTo>
                    <a:lnTo>
                      <a:pt x="2711" y="1534"/>
                    </a:lnTo>
                    <a:cubicBezTo>
                      <a:pt x="2711" y="1560"/>
                      <a:pt x="2690" y="1581"/>
                      <a:pt x="2664" y="1581"/>
                    </a:cubicBezTo>
                    <a:close/>
                    <a:moveTo>
                      <a:pt x="2177" y="1928"/>
                    </a:moveTo>
                    <a:lnTo>
                      <a:pt x="2000" y="1928"/>
                    </a:lnTo>
                    <a:lnTo>
                      <a:pt x="2000" y="1715"/>
                    </a:lnTo>
                    <a:lnTo>
                      <a:pt x="1573" y="1715"/>
                    </a:lnTo>
                    <a:lnTo>
                      <a:pt x="1573" y="1928"/>
                    </a:lnTo>
                    <a:lnTo>
                      <a:pt x="1395" y="1928"/>
                    </a:lnTo>
                    <a:cubicBezTo>
                      <a:pt x="1358" y="1928"/>
                      <a:pt x="1329" y="1958"/>
                      <a:pt x="1329" y="1995"/>
                    </a:cubicBezTo>
                    <a:cubicBezTo>
                      <a:pt x="1329" y="2032"/>
                      <a:pt x="1358" y="2062"/>
                      <a:pt x="1395" y="2062"/>
                    </a:cubicBezTo>
                    <a:lnTo>
                      <a:pt x="1640" y="2062"/>
                    </a:lnTo>
                    <a:lnTo>
                      <a:pt x="1933" y="2062"/>
                    </a:lnTo>
                    <a:lnTo>
                      <a:pt x="2177" y="2062"/>
                    </a:lnTo>
                    <a:cubicBezTo>
                      <a:pt x="2214" y="2062"/>
                      <a:pt x="2244" y="2032"/>
                      <a:pt x="2244" y="1995"/>
                    </a:cubicBezTo>
                    <a:cubicBezTo>
                      <a:pt x="2244" y="1958"/>
                      <a:pt x="2214" y="1928"/>
                      <a:pt x="2177" y="1928"/>
                    </a:cubicBezTo>
                    <a:close/>
                    <a:moveTo>
                      <a:pt x="1065" y="253"/>
                    </a:moveTo>
                    <a:lnTo>
                      <a:pt x="909" y="253"/>
                    </a:lnTo>
                    <a:cubicBezTo>
                      <a:pt x="899" y="253"/>
                      <a:pt x="890" y="254"/>
                      <a:pt x="880" y="255"/>
                    </a:cubicBezTo>
                    <a:cubicBezTo>
                      <a:pt x="875" y="254"/>
                      <a:pt x="869" y="253"/>
                      <a:pt x="863" y="253"/>
                    </a:cubicBezTo>
                    <a:lnTo>
                      <a:pt x="201" y="253"/>
                    </a:lnTo>
                    <a:cubicBezTo>
                      <a:pt x="164" y="253"/>
                      <a:pt x="135" y="283"/>
                      <a:pt x="135" y="320"/>
                    </a:cubicBezTo>
                    <a:cubicBezTo>
                      <a:pt x="135" y="356"/>
                      <a:pt x="164" y="386"/>
                      <a:pt x="201" y="386"/>
                    </a:cubicBezTo>
                    <a:lnTo>
                      <a:pt x="735" y="386"/>
                    </a:lnTo>
                    <a:cubicBezTo>
                      <a:pt x="730" y="401"/>
                      <a:pt x="728" y="417"/>
                      <a:pt x="728" y="434"/>
                    </a:cubicBezTo>
                    <a:lnTo>
                      <a:pt x="728" y="558"/>
                    </a:lnTo>
                    <a:lnTo>
                      <a:pt x="201" y="558"/>
                    </a:lnTo>
                    <a:cubicBezTo>
                      <a:pt x="164" y="558"/>
                      <a:pt x="135" y="588"/>
                      <a:pt x="135" y="624"/>
                    </a:cubicBezTo>
                    <a:cubicBezTo>
                      <a:pt x="135" y="661"/>
                      <a:pt x="164" y="691"/>
                      <a:pt x="201" y="691"/>
                    </a:cubicBezTo>
                    <a:lnTo>
                      <a:pt x="728" y="691"/>
                    </a:lnTo>
                    <a:lnTo>
                      <a:pt x="728" y="863"/>
                    </a:lnTo>
                    <a:lnTo>
                      <a:pt x="201" y="863"/>
                    </a:lnTo>
                    <a:cubicBezTo>
                      <a:pt x="164" y="863"/>
                      <a:pt x="135" y="893"/>
                      <a:pt x="135" y="929"/>
                    </a:cubicBezTo>
                    <a:cubicBezTo>
                      <a:pt x="135" y="966"/>
                      <a:pt x="164" y="996"/>
                      <a:pt x="201" y="996"/>
                    </a:cubicBezTo>
                    <a:lnTo>
                      <a:pt x="728" y="996"/>
                    </a:lnTo>
                    <a:lnTo>
                      <a:pt x="728" y="1534"/>
                    </a:lnTo>
                    <a:cubicBezTo>
                      <a:pt x="728" y="1633"/>
                      <a:pt x="809" y="1715"/>
                      <a:pt x="909" y="1715"/>
                    </a:cubicBezTo>
                    <a:lnTo>
                      <a:pt x="1065" y="1715"/>
                    </a:lnTo>
                    <a:lnTo>
                      <a:pt x="1065" y="1995"/>
                    </a:lnTo>
                    <a:cubicBezTo>
                      <a:pt x="1065" y="2032"/>
                      <a:pt x="1035" y="2062"/>
                      <a:pt x="998" y="2062"/>
                    </a:cubicBezTo>
                    <a:lnTo>
                      <a:pt x="67" y="2062"/>
                    </a:lnTo>
                    <a:cubicBezTo>
                      <a:pt x="30" y="2062"/>
                      <a:pt x="0" y="2032"/>
                      <a:pt x="0" y="1995"/>
                    </a:cubicBezTo>
                    <a:lnTo>
                      <a:pt x="0" y="66"/>
                    </a:lnTo>
                    <a:cubicBezTo>
                      <a:pt x="0" y="29"/>
                      <a:pt x="30" y="0"/>
                      <a:pt x="67" y="0"/>
                    </a:cubicBezTo>
                    <a:lnTo>
                      <a:pt x="998" y="0"/>
                    </a:lnTo>
                    <a:cubicBezTo>
                      <a:pt x="1035" y="0"/>
                      <a:pt x="1065" y="29"/>
                      <a:pt x="1065" y="66"/>
                    </a:cubicBezTo>
                    <a:lnTo>
                      <a:pt x="1065" y="253"/>
                    </a:lnTo>
                    <a:close/>
                    <a:moveTo>
                      <a:pt x="430" y="1569"/>
                    </a:moveTo>
                    <a:cubicBezTo>
                      <a:pt x="430" y="1626"/>
                      <a:pt x="476" y="1672"/>
                      <a:pt x="532" y="1672"/>
                    </a:cubicBezTo>
                    <a:cubicBezTo>
                      <a:pt x="589" y="1672"/>
                      <a:pt x="635" y="1626"/>
                      <a:pt x="635" y="1569"/>
                    </a:cubicBezTo>
                    <a:cubicBezTo>
                      <a:pt x="635" y="1512"/>
                      <a:pt x="589" y="1466"/>
                      <a:pt x="532" y="1466"/>
                    </a:cubicBezTo>
                    <a:cubicBezTo>
                      <a:pt x="476" y="1466"/>
                      <a:pt x="430" y="1512"/>
                      <a:pt x="430" y="1569"/>
                    </a:cubicBezTo>
                    <a:close/>
                  </a:path>
                </a:pathLst>
              </a:custGeom>
              <a:solidFill>
                <a:schemeClr val="accent1">
                  <a:lumMod val="40000"/>
                  <a:lumOff val="60000"/>
                </a:schemeClr>
              </a:solidFill>
              <a:ln w="9525">
                <a:noFill/>
                <a:round/>
                <a:headEnd/>
                <a:tailEnd/>
              </a:ln>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endParaRPr dirty="0"/>
              </a:p>
            </p:txBody>
          </p:sp>
          <p:sp>
            <p:nvSpPr>
              <p:cNvPr id="22" name="îş1idé">
                <a:extLst>
                  <a:ext uri="{FF2B5EF4-FFF2-40B4-BE49-F238E27FC236}">
                    <a16:creationId xmlns:a16="http://schemas.microsoft.com/office/drawing/2014/main" id="{17DAC962-691D-4662-A12F-7048BE7D2084}"/>
                  </a:ext>
                </a:extLst>
              </p:cNvPr>
              <p:cNvSpPr txBox="1"/>
              <p:nvPr/>
            </p:nvSpPr>
            <p:spPr>
              <a:xfrm>
                <a:off x="4185162" y="4340175"/>
                <a:ext cx="2328027" cy="678094"/>
              </a:xfrm>
              <a:prstGeom prst="rect">
                <a:avLst/>
              </a:prstGeom>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l">
                  <a:buFont typeface="Arial" panose="020B0604020202020204" pitchFamily="34" charset="0"/>
                  <a:buChar char="•"/>
                </a:pPr>
                <a:r>
                  <a:rPr lang="zh-CN" altLang="en-US" sz="1200" b="0" i="0" dirty="0">
                    <a:solidFill>
                      <a:srgbClr val="0D0016"/>
                    </a:solidFill>
                    <a:effectLst/>
                    <a:latin typeface="-apple-system"/>
                  </a:rPr>
                  <a:t>部署图常用于帮助人理解分布式系统。</a:t>
                </a:r>
                <a:endParaRPr lang="zh-CN" altLang="en-US" sz="1200" b="0" i="0" dirty="0">
                  <a:solidFill>
                    <a:srgbClr val="333333"/>
                  </a:solidFill>
                  <a:effectLst/>
                  <a:latin typeface="-apple-system"/>
                </a:endParaRPr>
              </a:p>
            </p:txBody>
          </p:sp>
        </p:grpSp>
        <p:sp>
          <p:nvSpPr>
            <p:cNvPr id="19" name="î$ḻîḋe">
              <a:extLst>
                <a:ext uri="{FF2B5EF4-FFF2-40B4-BE49-F238E27FC236}">
                  <a16:creationId xmlns:a16="http://schemas.microsoft.com/office/drawing/2014/main" id="{2FE4F874-C2AD-49C6-92CB-1DB1977DE9D6}"/>
                </a:ext>
              </a:extLst>
            </p:cNvPr>
            <p:cNvSpPr txBox="1"/>
            <p:nvPr/>
          </p:nvSpPr>
          <p:spPr>
            <a:xfrm>
              <a:off x="6313397" y="4341499"/>
              <a:ext cx="2328027" cy="678094"/>
            </a:xfrm>
            <a:prstGeom prst="rect">
              <a:avLst/>
            </a:prstGeom>
          </p:spPr>
          <p:txBody>
            <a:bodyPr wrap="square" lIns="91440" tIns="45720" rIns="91440" bIns="45720" anchor="t" anchorCtr="0">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l">
                <a:buFont typeface="Arial" panose="020B0604020202020204" pitchFamily="34" charset="0"/>
                <a:buChar char="•"/>
              </a:pPr>
              <a:r>
                <a:rPr lang="zh-CN" altLang="en-US" sz="1200" b="0" i="0" dirty="0">
                  <a:solidFill>
                    <a:srgbClr val="0D0016"/>
                  </a:solidFill>
                  <a:effectLst/>
                  <a:latin typeface="-apple-system"/>
                </a:rPr>
                <a:t>部署图用于静态建模，是表示运行时过程节点结构、构件实例及其对象结构的图。</a:t>
              </a:r>
              <a:endParaRPr lang="zh-CN" altLang="en-US" sz="1200" b="0" i="0" dirty="0">
                <a:solidFill>
                  <a:srgbClr val="333333"/>
                </a:solidFill>
                <a:effectLst/>
                <a:latin typeface="-apple-system"/>
              </a:endParaRPr>
            </a:p>
            <a:p>
              <a:br>
                <a:rPr lang="zh-CN" altLang="en-US" sz="1200" dirty="0"/>
              </a:br>
              <a:endParaRPr lang="en-US" altLang="zh-CN" sz="1200" dirty="0">
                <a:latin typeface="+mn-ea"/>
              </a:endParaRPr>
            </a:p>
          </p:txBody>
        </p:sp>
        <p:grpSp>
          <p:nvGrpSpPr>
            <p:cNvPr id="12" name="iS1iḋè">
              <a:extLst>
                <a:ext uri="{FF2B5EF4-FFF2-40B4-BE49-F238E27FC236}">
                  <a16:creationId xmlns:a16="http://schemas.microsoft.com/office/drawing/2014/main" id="{787C7075-EE89-4657-BFD4-776087DE84C0}"/>
                </a:ext>
              </a:extLst>
            </p:cNvPr>
            <p:cNvGrpSpPr/>
            <p:nvPr/>
          </p:nvGrpSpPr>
          <p:grpSpPr>
            <a:xfrm>
              <a:off x="9183456" y="3563818"/>
              <a:ext cx="2328027" cy="1468625"/>
              <a:chOff x="4141555" y="3507306"/>
              <a:chExt cx="2328027" cy="1468625"/>
            </a:xfrm>
          </p:grpSpPr>
          <p:sp>
            <p:nvSpPr>
              <p:cNvPr id="15" name="ïŝľïḋê">
                <a:extLst>
                  <a:ext uri="{FF2B5EF4-FFF2-40B4-BE49-F238E27FC236}">
                    <a16:creationId xmlns:a16="http://schemas.microsoft.com/office/drawing/2014/main" id="{B3862B97-B0C0-4AC8-9161-A5879FD5FDC9}"/>
                  </a:ext>
                </a:extLst>
              </p:cNvPr>
              <p:cNvSpPr/>
              <p:nvPr/>
            </p:nvSpPr>
            <p:spPr bwMode="auto">
              <a:xfrm>
                <a:off x="4958704" y="3507306"/>
                <a:ext cx="708563" cy="683960"/>
              </a:xfrm>
              <a:custGeom>
                <a:avLst/>
                <a:gdLst>
                  <a:gd name="connsiteX0" fmla="*/ 147225 w 603618"/>
                  <a:gd name="connsiteY0" fmla="*/ 418175 h 582659"/>
                  <a:gd name="connsiteX1" fmla="*/ 129666 w 603618"/>
                  <a:gd name="connsiteY1" fmla="*/ 424618 h 582659"/>
                  <a:gd name="connsiteX2" fmla="*/ 159231 w 603618"/>
                  <a:gd name="connsiteY2" fmla="*/ 444246 h 582659"/>
                  <a:gd name="connsiteX3" fmla="*/ 147225 w 603618"/>
                  <a:gd name="connsiteY3" fmla="*/ 418175 h 582659"/>
                  <a:gd name="connsiteX4" fmla="*/ 235619 w 603618"/>
                  <a:gd name="connsiteY4" fmla="*/ 400345 h 582659"/>
                  <a:gd name="connsiteX5" fmla="*/ 196149 w 603618"/>
                  <a:gd name="connsiteY5" fmla="*/ 405440 h 582659"/>
                  <a:gd name="connsiteX6" fmla="*/ 235619 w 603618"/>
                  <a:gd name="connsiteY6" fmla="*/ 461476 h 582659"/>
                  <a:gd name="connsiteX7" fmla="*/ 453241 w 603618"/>
                  <a:gd name="connsiteY7" fmla="*/ 335186 h 582659"/>
                  <a:gd name="connsiteX8" fmla="*/ 453241 w 603618"/>
                  <a:gd name="connsiteY8" fmla="*/ 501720 h 582659"/>
                  <a:gd name="connsiteX9" fmla="*/ 410469 w 603618"/>
                  <a:gd name="connsiteY9" fmla="*/ 458889 h 582659"/>
                  <a:gd name="connsiteX10" fmla="*/ 379853 w 603618"/>
                  <a:gd name="connsiteY10" fmla="*/ 363192 h 582659"/>
                  <a:gd name="connsiteX11" fmla="*/ 453242 w 603618"/>
                  <a:gd name="connsiteY11" fmla="*/ 304902 h 582659"/>
                  <a:gd name="connsiteX12" fmla="*/ 444688 w 603618"/>
                  <a:gd name="connsiteY12" fmla="*/ 306400 h 582659"/>
                  <a:gd name="connsiteX13" fmla="*/ 364853 w 603618"/>
                  <a:gd name="connsiteY13" fmla="*/ 336813 h 582659"/>
                  <a:gd name="connsiteX14" fmla="*/ 349547 w 603618"/>
                  <a:gd name="connsiteY14" fmla="*/ 361682 h 582659"/>
                  <a:gd name="connsiteX15" fmla="*/ 453242 w 603618"/>
                  <a:gd name="connsiteY15" fmla="*/ 531722 h 582659"/>
                  <a:gd name="connsiteX16" fmla="*/ 556936 w 603618"/>
                  <a:gd name="connsiteY16" fmla="*/ 361682 h 582659"/>
                  <a:gd name="connsiteX17" fmla="*/ 541630 w 603618"/>
                  <a:gd name="connsiteY17" fmla="*/ 336813 h 582659"/>
                  <a:gd name="connsiteX18" fmla="*/ 461795 w 603618"/>
                  <a:gd name="connsiteY18" fmla="*/ 306400 h 582659"/>
                  <a:gd name="connsiteX19" fmla="*/ 453242 w 603618"/>
                  <a:gd name="connsiteY19" fmla="*/ 304902 h 582659"/>
                  <a:gd name="connsiteX20" fmla="*/ 170186 w 603618"/>
                  <a:gd name="connsiteY20" fmla="*/ 285126 h 582659"/>
                  <a:gd name="connsiteX21" fmla="*/ 180542 w 603618"/>
                  <a:gd name="connsiteY21" fmla="*/ 357794 h 582659"/>
                  <a:gd name="connsiteX22" fmla="*/ 235619 w 603618"/>
                  <a:gd name="connsiteY22" fmla="*/ 350452 h 582659"/>
                  <a:gd name="connsiteX23" fmla="*/ 235619 w 603618"/>
                  <a:gd name="connsiteY23" fmla="*/ 285126 h 582659"/>
                  <a:gd name="connsiteX24" fmla="*/ 51476 w 603618"/>
                  <a:gd name="connsiteY24" fmla="*/ 285126 h 582659"/>
                  <a:gd name="connsiteX25" fmla="*/ 92297 w 603618"/>
                  <a:gd name="connsiteY25" fmla="*/ 386261 h 582659"/>
                  <a:gd name="connsiteX26" fmla="*/ 132217 w 603618"/>
                  <a:gd name="connsiteY26" fmla="*/ 370679 h 582659"/>
                  <a:gd name="connsiteX27" fmla="*/ 120211 w 603618"/>
                  <a:gd name="connsiteY27" fmla="*/ 285126 h 582659"/>
                  <a:gd name="connsiteX28" fmla="*/ 453242 w 603618"/>
                  <a:gd name="connsiteY28" fmla="*/ 253965 h 582659"/>
                  <a:gd name="connsiteX29" fmla="*/ 465697 w 603618"/>
                  <a:gd name="connsiteY29" fmla="*/ 256362 h 582659"/>
                  <a:gd name="connsiteX30" fmla="*/ 581247 w 603618"/>
                  <a:gd name="connsiteY30" fmla="*/ 300407 h 582659"/>
                  <a:gd name="connsiteX31" fmla="*/ 603456 w 603618"/>
                  <a:gd name="connsiteY31" fmla="*/ 336363 h 582659"/>
                  <a:gd name="connsiteX32" fmla="*/ 453242 w 603618"/>
                  <a:gd name="connsiteY32" fmla="*/ 582659 h 582659"/>
                  <a:gd name="connsiteX33" fmla="*/ 303027 w 603618"/>
                  <a:gd name="connsiteY33" fmla="*/ 336363 h 582659"/>
                  <a:gd name="connsiteX34" fmla="*/ 325236 w 603618"/>
                  <a:gd name="connsiteY34" fmla="*/ 300407 h 582659"/>
                  <a:gd name="connsiteX35" fmla="*/ 440786 w 603618"/>
                  <a:gd name="connsiteY35" fmla="*/ 256362 h 582659"/>
                  <a:gd name="connsiteX36" fmla="*/ 453242 w 603618"/>
                  <a:gd name="connsiteY36" fmla="*/ 253965 h 582659"/>
                  <a:gd name="connsiteX37" fmla="*/ 338422 w 603618"/>
                  <a:gd name="connsiteY37" fmla="*/ 162865 h 582659"/>
                  <a:gd name="connsiteX38" fmla="*/ 285595 w 603618"/>
                  <a:gd name="connsiteY38" fmla="*/ 169607 h 582659"/>
                  <a:gd name="connsiteX39" fmla="*/ 285595 w 603618"/>
                  <a:gd name="connsiteY39" fmla="*/ 235083 h 582659"/>
                  <a:gd name="connsiteX40" fmla="*/ 348627 w 603618"/>
                  <a:gd name="connsiteY40" fmla="*/ 235083 h 582659"/>
                  <a:gd name="connsiteX41" fmla="*/ 338422 w 603618"/>
                  <a:gd name="connsiteY41" fmla="*/ 162865 h 582659"/>
                  <a:gd name="connsiteX42" fmla="*/ 180542 w 603618"/>
                  <a:gd name="connsiteY42" fmla="*/ 162415 h 582659"/>
                  <a:gd name="connsiteX43" fmla="*/ 170186 w 603618"/>
                  <a:gd name="connsiteY43" fmla="*/ 235083 h 582659"/>
                  <a:gd name="connsiteX44" fmla="*/ 235619 w 603618"/>
                  <a:gd name="connsiteY44" fmla="*/ 235083 h 582659"/>
                  <a:gd name="connsiteX45" fmla="*/ 235619 w 603618"/>
                  <a:gd name="connsiteY45" fmla="*/ 169607 h 582659"/>
                  <a:gd name="connsiteX46" fmla="*/ 180542 w 603618"/>
                  <a:gd name="connsiteY46" fmla="*/ 162415 h 582659"/>
                  <a:gd name="connsiteX47" fmla="*/ 92297 w 603618"/>
                  <a:gd name="connsiteY47" fmla="*/ 133948 h 582659"/>
                  <a:gd name="connsiteX48" fmla="*/ 51476 w 603618"/>
                  <a:gd name="connsiteY48" fmla="*/ 235083 h 582659"/>
                  <a:gd name="connsiteX49" fmla="*/ 120211 w 603618"/>
                  <a:gd name="connsiteY49" fmla="*/ 235083 h 582659"/>
                  <a:gd name="connsiteX50" fmla="*/ 132217 w 603618"/>
                  <a:gd name="connsiteY50" fmla="*/ 149530 h 582659"/>
                  <a:gd name="connsiteX51" fmla="*/ 92297 w 603618"/>
                  <a:gd name="connsiteY51" fmla="*/ 133948 h 582659"/>
                  <a:gd name="connsiteX52" fmla="*/ 159231 w 603618"/>
                  <a:gd name="connsiteY52" fmla="*/ 75814 h 582659"/>
                  <a:gd name="connsiteX53" fmla="*/ 129666 w 603618"/>
                  <a:gd name="connsiteY53" fmla="*/ 95591 h 582659"/>
                  <a:gd name="connsiteX54" fmla="*/ 147225 w 603618"/>
                  <a:gd name="connsiteY54" fmla="*/ 102034 h 582659"/>
                  <a:gd name="connsiteX55" fmla="*/ 159231 w 603618"/>
                  <a:gd name="connsiteY55" fmla="*/ 75814 h 582659"/>
                  <a:gd name="connsiteX56" fmla="*/ 358682 w 603618"/>
                  <a:gd name="connsiteY56" fmla="*/ 74165 h 582659"/>
                  <a:gd name="connsiteX57" fmla="*/ 371888 w 603618"/>
                  <a:gd name="connsiteY57" fmla="*/ 102783 h 582659"/>
                  <a:gd name="connsiteX58" fmla="*/ 391548 w 603618"/>
                  <a:gd name="connsiteY58" fmla="*/ 95591 h 582659"/>
                  <a:gd name="connsiteX59" fmla="*/ 358682 w 603618"/>
                  <a:gd name="connsiteY59" fmla="*/ 74165 h 582659"/>
                  <a:gd name="connsiteX60" fmla="*/ 285595 w 603618"/>
                  <a:gd name="connsiteY60" fmla="*/ 60381 h 582659"/>
                  <a:gd name="connsiteX61" fmla="*/ 285595 w 603618"/>
                  <a:gd name="connsiteY61" fmla="*/ 119864 h 582659"/>
                  <a:gd name="connsiteX62" fmla="*/ 322964 w 603618"/>
                  <a:gd name="connsiteY62" fmla="*/ 115219 h 582659"/>
                  <a:gd name="connsiteX63" fmla="*/ 285595 w 603618"/>
                  <a:gd name="connsiteY63" fmla="*/ 60381 h 582659"/>
                  <a:gd name="connsiteX64" fmla="*/ 235619 w 603618"/>
                  <a:gd name="connsiteY64" fmla="*/ 58583 h 582659"/>
                  <a:gd name="connsiteX65" fmla="*/ 196149 w 603618"/>
                  <a:gd name="connsiteY65" fmla="*/ 114769 h 582659"/>
                  <a:gd name="connsiteX66" fmla="*/ 235619 w 603618"/>
                  <a:gd name="connsiteY66" fmla="*/ 119864 h 582659"/>
                  <a:gd name="connsiteX67" fmla="*/ 259482 w 603618"/>
                  <a:gd name="connsiteY67" fmla="*/ 0 h 582659"/>
                  <a:gd name="connsiteX68" fmla="*/ 260532 w 603618"/>
                  <a:gd name="connsiteY68" fmla="*/ 0 h 582659"/>
                  <a:gd name="connsiteX69" fmla="*/ 520914 w 603618"/>
                  <a:gd name="connsiteY69" fmla="*/ 247369 h 582659"/>
                  <a:gd name="connsiteX70" fmla="*/ 475741 w 603618"/>
                  <a:gd name="connsiteY70" fmla="*/ 230138 h 582659"/>
                  <a:gd name="connsiteX71" fmla="*/ 468688 w 603618"/>
                  <a:gd name="connsiteY71" fmla="*/ 228041 h 582659"/>
                  <a:gd name="connsiteX72" fmla="*/ 428917 w 603618"/>
                  <a:gd name="connsiteY72" fmla="*/ 133948 h 582659"/>
                  <a:gd name="connsiteX73" fmla="*/ 386746 w 603618"/>
                  <a:gd name="connsiteY73" fmla="*/ 150279 h 582659"/>
                  <a:gd name="connsiteX74" fmla="*/ 398752 w 603618"/>
                  <a:gd name="connsiteY74" fmla="*/ 235083 h 582659"/>
                  <a:gd name="connsiteX75" fmla="*/ 417812 w 603618"/>
                  <a:gd name="connsiteY75" fmla="*/ 235083 h 582659"/>
                  <a:gd name="connsiteX76" fmla="*/ 315310 w 603618"/>
                  <a:gd name="connsiteY76" fmla="*/ 274188 h 582659"/>
                  <a:gd name="connsiteX77" fmla="*/ 297001 w 603618"/>
                  <a:gd name="connsiteY77" fmla="*/ 285126 h 582659"/>
                  <a:gd name="connsiteX78" fmla="*/ 285595 w 603618"/>
                  <a:gd name="connsiteY78" fmla="*/ 285126 h 582659"/>
                  <a:gd name="connsiteX79" fmla="*/ 285595 w 603618"/>
                  <a:gd name="connsiteY79" fmla="*/ 297861 h 582659"/>
                  <a:gd name="connsiteX80" fmla="*/ 275089 w 603618"/>
                  <a:gd name="connsiteY80" fmla="*/ 339065 h 582659"/>
                  <a:gd name="connsiteX81" fmla="*/ 285895 w 603618"/>
                  <a:gd name="connsiteY81" fmla="*/ 400345 h 582659"/>
                  <a:gd name="connsiteX82" fmla="*/ 285595 w 603618"/>
                  <a:gd name="connsiteY82" fmla="*/ 400345 h 582659"/>
                  <a:gd name="connsiteX83" fmla="*/ 285595 w 603618"/>
                  <a:gd name="connsiteY83" fmla="*/ 459828 h 582659"/>
                  <a:gd name="connsiteX84" fmla="*/ 299552 w 603618"/>
                  <a:gd name="connsiteY84" fmla="*/ 445594 h 582659"/>
                  <a:gd name="connsiteX85" fmla="*/ 328516 w 603618"/>
                  <a:gd name="connsiteY85" fmla="*/ 511219 h 582659"/>
                  <a:gd name="connsiteX86" fmla="*/ 259482 w 603618"/>
                  <a:gd name="connsiteY86" fmla="*/ 520209 h 582659"/>
                  <a:gd name="connsiteX87" fmla="*/ 0 w 603618"/>
                  <a:gd name="connsiteY87" fmla="*/ 260104 h 582659"/>
                  <a:gd name="connsiteX88" fmla="*/ 259482 w 603618"/>
                  <a:gd name="connsiteY88" fmla="*/ 0 h 582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603618" h="582659">
                    <a:moveTo>
                      <a:pt x="147225" y="418175"/>
                    </a:moveTo>
                    <a:cubicBezTo>
                      <a:pt x="141372" y="420123"/>
                      <a:pt x="135519" y="422221"/>
                      <a:pt x="129666" y="424618"/>
                    </a:cubicBezTo>
                    <a:cubicBezTo>
                      <a:pt x="138970" y="431959"/>
                      <a:pt x="148875" y="438552"/>
                      <a:pt x="159231" y="444246"/>
                    </a:cubicBezTo>
                    <a:cubicBezTo>
                      <a:pt x="155179" y="436604"/>
                      <a:pt x="151277" y="428364"/>
                      <a:pt x="147225" y="418175"/>
                    </a:cubicBezTo>
                    <a:close/>
                    <a:moveTo>
                      <a:pt x="235619" y="400345"/>
                    </a:moveTo>
                    <a:cubicBezTo>
                      <a:pt x="222413" y="401244"/>
                      <a:pt x="209206" y="402893"/>
                      <a:pt x="196149" y="405440"/>
                    </a:cubicBezTo>
                    <a:cubicBezTo>
                      <a:pt x="204704" y="425367"/>
                      <a:pt x="217910" y="448740"/>
                      <a:pt x="235619" y="461476"/>
                    </a:cubicBezTo>
                    <a:close/>
                    <a:moveTo>
                      <a:pt x="453241" y="335186"/>
                    </a:moveTo>
                    <a:lnTo>
                      <a:pt x="453241" y="501720"/>
                    </a:lnTo>
                    <a:cubicBezTo>
                      <a:pt x="444386" y="501720"/>
                      <a:pt x="427728" y="490488"/>
                      <a:pt x="410469" y="458889"/>
                    </a:cubicBezTo>
                    <a:cubicBezTo>
                      <a:pt x="395161" y="431033"/>
                      <a:pt x="383605" y="394791"/>
                      <a:pt x="379853" y="363192"/>
                    </a:cubicBezTo>
                    <a:close/>
                    <a:moveTo>
                      <a:pt x="453242" y="304902"/>
                    </a:moveTo>
                    <a:cubicBezTo>
                      <a:pt x="450390" y="304902"/>
                      <a:pt x="447389" y="305351"/>
                      <a:pt x="444688" y="306400"/>
                    </a:cubicBezTo>
                    <a:lnTo>
                      <a:pt x="364853" y="336813"/>
                    </a:lnTo>
                    <a:cubicBezTo>
                      <a:pt x="354799" y="340708"/>
                      <a:pt x="348496" y="350896"/>
                      <a:pt x="349547" y="361682"/>
                    </a:cubicBezTo>
                    <a:cubicBezTo>
                      <a:pt x="356450" y="432395"/>
                      <a:pt x="400119" y="531722"/>
                      <a:pt x="453242" y="531722"/>
                    </a:cubicBezTo>
                    <a:cubicBezTo>
                      <a:pt x="506364" y="531722"/>
                      <a:pt x="550033" y="432395"/>
                      <a:pt x="556936" y="361682"/>
                    </a:cubicBezTo>
                    <a:cubicBezTo>
                      <a:pt x="558137" y="350896"/>
                      <a:pt x="551834" y="340708"/>
                      <a:pt x="541630" y="336813"/>
                    </a:cubicBezTo>
                    <a:lnTo>
                      <a:pt x="461795" y="306400"/>
                    </a:lnTo>
                    <a:cubicBezTo>
                      <a:pt x="459094" y="305351"/>
                      <a:pt x="456093" y="304902"/>
                      <a:pt x="453242" y="304902"/>
                    </a:cubicBezTo>
                    <a:close/>
                    <a:moveTo>
                      <a:pt x="170186" y="285126"/>
                    </a:moveTo>
                    <a:cubicBezTo>
                      <a:pt x="171687" y="310597"/>
                      <a:pt x="175139" y="335169"/>
                      <a:pt x="180542" y="357794"/>
                    </a:cubicBezTo>
                    <a:cubicBezTo>
                      <a:pt x="198701" y="354048"/>
                      <a:pt x="217160" y="351651"/>
                      <a:pt x="235619" y="350452"/>
                    </a:cubicBezTo>
                    <a:lnTo>
                      <a:pt x="235619" y="285126"/>
                    </a:lnTo>
                    <a:close/>
                    <a:moveTo>
                      <a:pt x="51476" y="285126"/>
                    </a:moveTo>
                    <a:cubicBezTo>
                      <a:pt x="55978" y="322733"/>
                      <a:pt x="70536" y="357344"/>
                      <a:pt x="92297" y="386261"/>
                    </a:cubicBezTo>
                    <a:cubicBezTo>
                      <a:pt x="105353" y="380268"/>
                      <a:pt x="118560" y="375174"/>
                      <a:pt x="132217" y="370679"/>
                    </a:cubicBezTo>
                    <a:cubicBezTo>
                      <a:pt x="125764" y="343860"/>
                      <a:pt x="121562" y="314942"/>
                      <a:pt x="120211" y="285126"/>
                    </a:cubicBezTo>
                    <a:close/>
                    <a:moveTo>
                      <a:pt x="453242" y="253965"/>
                    </a:moveTo>
                    <a:cubicBezTo>
                      <a:pt x="457443" y="253965"/>
                      <a:pt x="461645" y="254714"/>
                      <a:pt x="465697" y="256362"/>
                    </a:cubicBezTo>
                    <a:lnTo>
                      <a:pt x="581247" y="300407"/>
                    </a:lnTo>
                    <a:cubicBezTo>
                      <a:pt x="595953" y="305951"/>
                      <a:pt x="604957" y="320782"/>
                      <a:pt x="603456" y="336363"/>
                    </a:cubicBezTo>
                    <a:cubicBezTo>
                      <a:pt x="593402" y="438687"/>
                      <a:pt x="530075" y="582659"/>
                      <a:pt x="453242" y="582659"/>
                    </a:cubicBezTo>
                    <a:cubicBezTo>
                      <a:pt x="376408" y="582659"/>
                      <a:pt x="313081" y="438687"/>
                      <a:pt x="303027" y="336363"/>
                    </a:cubicBezTo>
                    <a:cubicBezTo>
                      <a:pt x="301526" y="320782"/>
                      <a:pt x="310530" y="305951"/>
                      <a:pt x="325236" y="300407"/>
                    </a:cubicBezTo>
                    <a:lnTo>
                      <a:pt x="440786" y="256362"/>
                    </a:lnTo>
                    <a:cubicBezTo>
                      <a:pt x="444838" y="254714"/>
                      <a:pt x="449040" y="253965"/>
                      <a:pt x="453242" y="253965"/>
                    </a:cubicBezTo>
                    <a:close/>
                    <a:moveTo>
                      <a:pt x="338422" y="162865"/>
                    </a:moveTo>
                    <a:cubicBezTo>
                      <a:pt x="321013" y="166311"/>
                      <a:pt x="303304" y="168558"/>
                      <a:pt x="285595" y="169607"/>
                    </a:cubicBezTo>
                    <a:lnTo>
                      <a:pt x="285595" y="235083"/>
                    </a:lnTo>
                    <a:lnTo>
                      <a:pt x="348627" y="235083"/>
                    </a:lnTo>
                    <a:cubicBezTo>
                      <a:pt x="347276" y="209761"/>
                      <a:pt x="343824" y="185339"/>
                      <a:pt x="338422" y="162865"/>
                    </a:cubicBezTo>
                    <a:close/>
                    <a:moveTo>
                      <a:pt x="180542" y="162415"/>
                    </a:moveTo>
                    <a:cubicBezTo>
                      <a:pt x="175139" y="185040"/>
                      <a:pt x="171687" y="209612"/>
                      <a:pt x="170186" y="235083"/>
                    </a:cubicBezTo>
                    <a:lnTo>
                      <a:pt x="235619" y="235083"/>
                    </a:lnTo>
                    <a:lnTo>
                      <a:pt x="235619" y="169607"/>
                    </a:lnTo>
                    <a:cubicBezTo>
                      <a:pt x="217160" y="168558"/>
                      <a:pt x="198701" y="166161"/>
                      <a:pt x="180542" y="162415"/>
                    </a:cubicBezTo>
                    <a:close/>
                    <a:moveTo>
                      <a:pt x="92297" y="133948"/>
                    </a:moveTo>
                    <a:cubicBezTo>
                      <a:pt x="70536" y="162865"/>
                      <a:pt x="55978" y="197475"/>
                      <a:pt x="51476" y="235083"/>
                    </a:cubicBezTo>
                    <a:lnTo>
                      <a:pt x="120211" y="235083"/>
                    </a:lnTo>
                    <a:cubicBezTo>
                      <a:pt x="121562" y="205117"/>
                      <a:pt x="125764" y="176349"/>
                      <a:pt x="132217" y="149530"/>
                    </a:cubicBezTo>
                    <a:cubicBezTo>
                      <a:pt x="118560" y="145035"/>
                      <a:pt x="105353" y="139791"/>
                      <a:pt x="92297" y="133948"/>
                    </a:cubicBezTo>
                    <a:close/>
                    <a:moveTo>
                      <a:pt x="159231" y="75814"/>
                    </a:moveTo>
                    <a:cubicBezTo>
                      <a:pt x="148875" y="81657"/>
                      <a:pt x="138970" y="88249"/>
                      <a:pt x="129666" y="95591"/>
                    </a:cubicBezTo>
                    <a:cubicBezTo>
                      <a:pt x="135519" y="97839"/>
                      <a:pt x="141372" y="100086"/>
                      <a:pt x="147225" y="102034"/>
                    </a:cubicBezTo>
                    <a:cubicBezTo>
                      <a:pt x="151277" y="91845"/>
                      <a:pt x="155179" y="83605"/>
                      <a:pt x="159231" y="75814"/>
                    </a:cubicBezTo>
                    <a:close/>
                    <a:moveTo>
                      <a:pt x="358682" y="74165"/>
                    </a:moveTo>
                    <a:cubicBezTo>
                      <a:pt x="363184" y="82556"/>
                      <a:pt x="367386" y="91546"/>
                      <a:pt x="371888" y="102783"/>
                    </a:cubicBezTo>
                    <a:cubicBezTo>
                      <a:pt x="378492" y="100536"/>
                      <a:pt x="385095" y="98138"/>
                      <a:pt x="391548" y="95591"/>
                    </a:cubicBezTo>
                    <a:cubicBezTo>
                      <a:pt x="381343" y="87500"/>
                      <a:pt x="370238" y="80309"/>
                      <a:pt x="358682" y="74165"/>
                    </a:cubicBezTo>
                    <a:close/>
                    <a:moveTo>
                      <a:pt x="285595" y="60381"/>
                    </a:moveTo>
                    <a:lnTo>
                      <a:pt x="285595" y="119864"/>
                    </a:lnTo>
                    <a:cubicBezTo>
                      <a:pt x="298051" y="118965"/>
                      <a:pt x="310507" y="117466"/>
                      <a:pt x="322964" y="115219"/>
                    </a:cubicBezTo>
                    <a:cubicBezTo>
                      <a:pt x="314559" y="95741"/>
                      <a:pt x="302253" y="73566"/>
                      <a:pt x="285595" y="60381"/>
                    </a:cubicBezTo>
                    <a:close/>
                    <a:moveTo>
                      <a:pt x="235619" y="58583"/>
                    </a:moveTo>
                    <a:cubicBezTo>
                      <a:pt x="217910" y="71469"/>
                      <a:pt x="204704" y="94692"/>
                      <a:pt x="196149" y="114769"/>
                    </a:cubicBezTo>
                    <a:cubicBezTo>
                      <a:pt x="209206" y="117167"/>
                      <a:pt x="222413" y="118965"/>
                      <a:pt x="235619" y="119864"/>
                    </a:cubicBezTo>
                    <a:close/>
                    <a:moveTo>
                      <a:pt x="259482" y="0"/>
                    </a:moveTo>
                    <a:lnTo>
                      <a:pt x="260532" y="0"/>
                    </a:lnTo>
                    <a:cubicBezTo>
                      <a:pt x="399953" y="0"/>
                      <a:pt x="514161" y="109825"/>
                      <a:pt x="520914" y="247369"/>
                    </a:cubicBezTo>
                    <a:lnTo>
                      <a:pt x="475741" y="230138"/>
                    </a:lnTo>
                    <a:cubicBezTo>
                      <a:pt x="473340" y="229239"/>
                      <a:pt x="471089" y="228640"/>
                      <a:pt x="468688" y="228041"/>
                    </a:cubicBezTo>
                    <a:cubicBezTo>
                      <a:pt x="463285" y="193130"/>
                      <a:pt x="449328" y="160917"/>
                      <a:pt x="428917" y="133948"/>
                    </a:cubicBezTo>
                    <a:cubicBezTo>
                      <a:pt x="415260" y="140240"/>
                      <a:pt x="401153" y="145634"/>
                      <a:pt x="386746" y="150279"/>
                    </a:cubicBezTo>
                    <a:cubicBezTo>
                      <a:pt x="393199" y="176799"/>
                      <a:pt x="397251" y="205416"/>
                      <a:pt x="398752" y="235083"/>
                    </a:cubicBezTo>
                    <a:lnTo>
                      <a:pt x="417812" y="235083"/>
                    </a:lnTo>
                    <a:lnTo>
                      <a:pt x="315310" y="274188"/>
                    </a:lnTo>
                    <a:cubicBezTo>
                      <a:pt x="308556" y="276885"/>
                      <a:pt x="302403" y="280481"/>
                      <a:pt x="297001" y="285126"/>
                    </a:cubicBezTo>
                    <a:lnTo>
                      <a:pt x="285595" y="285126"/>
                    </a:lnTo>
                    <a:lnTo>
                      <a:pt x="285595" y="297861"/>
                    </a:lnTo>
                    <a:cubicBezTo>
                      <a:pt x="277641" y="309698"/>
                      <a:pt x="273589" y="324231"/>
                      <a:pt x="275089" y="339065"/>
                    </a:cubicBezTo>
                    <a:cubicBezTo>
                      <a:pt x="277040" y="358992"/>
                      <a:pt x="280792" y="379669"/>
                      <a:pt x="285895" y="400345"/>
                    </a:cubicBezTo>
                    <a:cubicBezTo>
                      <a:pt x="285745" y="400345"/>
                      <a:pt x="285745" y="400345"/>
                      <a:pt x="285595" y="400345"/>
                    </a:cubicBezTo>
                    <a:lnTo>
                      <a:pt x="285595" y="459828"/>
                    </a:lnTo>
                    <a:cubicBezTo>
                      <a:pt x="290397" y="456082"/>
                      <a:pt x="295050" y="451288"/>
                      <a:pt x="299552" y="445594"/>
                    </a:cubicBezTo>
                    <a:cubicBezTo>
                      <a:pt x="307656" y="468818"/>
                      <a:pt x="317411" y="491142"/>
                      <a:pt x="328516" y="511219"/>
                    </a:cubicBezTo>
                    <a:cubicBezTo>
                      <a:pt x="305405" y="517512"/>
                      <a:pt x="282893" y="520209"/>
                      <a:pt x="259482" y="520209"/>
                    </a:cubicBezTo>
                    <a:cubicBezTo>
                      <a:pt x="118260" y="520209"/>
                      <a:pt x="0" y="404541"/>
                      <a:pt x="0" y="260104"/>
                    </a:cubicBezTo>
                    <a:cubicBezTo>
                      <a:pt x="0" y="115519"/>
                      <a:pt x="118560" y="0"/>
                      <a:pt x="259482" y="0"/>
                    </a:cubicBezTo>
                    <a:close/>
                  </a:path>
                </a:pathLst>
              </a:custGeom>
              <a:solidFill>
                <a:schemeClr val="accent2">
                  <a:lumMod val="40000"/>
                  <a:lumOff val="60000"/>
                </a:schemeClr>
              </a:solidFill>
              <a:ln w="9525">
                <a:noFill/>
                <a:round/>
                <a:headEnd/>
                <a:tailEnd/>
              </a:ln>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endParaRPr/>
              </a:p>
            </p:txBody>
          </p:sp>
          <p:sp>
            <p:nvSpPr>
              <p:cNvPr id="16" name="îṧliḍê">
                <a:extLst>
                  <a:ext uri="{FF2B5EF4-FFF2-40B4-BE49-F238E27FC236}">
                    <a16:creationId xmlns:a16="http://schemas.microsoft.com/office/drawing/2014/main" id="{D93C77BC-9FBF-459D-A14D-B2EC75A48C2D}"/>
                  </a:ext>
                </a:extLst>
              </p:cNvPr>
              <p:cNvSpPr txBox="1"/>
              <p:nvPr/>
            </p:nvSpPr>
            <p:spPr>
              <a:xfrm>
                <a:off x="4141555" y="4297837"/>
                <a:ext cx="2328027" cy="678094"/>
              </a:xfrm>
              <a:prstGeom prst="rect">
                <a:avLst/>
              </a:prstGeom>
            </p:spPr>
            <p:txBody>
              <a:bodyPr wrap="square" lIns="91440" tIns="45720" rIns="91440" bIns="45720" anchor="t" anchorCtr="0">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lnSpc>
                    <a:spcPct val="120000"/>
                  </a:lnSpc>
                </a:pPr>
                <a:r>
                  <a:rPr lang="zh-CN" altLang="en-US" sz="1100" b="0" i="0" dirty="0">
                    <a:solidFill>
                      <a:srgbClr val="0D0016"/>
                    </a:solidFill>
                    <a:effectLst/>
                    <a:latin typeface="-apple-system"/>
                  </a:rPr>
                  <a:t>如果含有依赖关系的构件实例放置在不同节点上，部署视图可以展示出执行过程中的瓶颈</a:t>
                </a:r>
                <a:endParaRPr lang="en-US" altLang="zh-CN" sz="1100" dirty="0">
                  <a:latin typeface="+mn-ea"/>
                </a:endParaRPr>
              </a:p>
            </p:txBody>
          </p:sp>
        </p:grpSp>
        <p:cxnSp>
          <p:nvCxnSpPr>
            <p:cNvPr id="13" name="直接连接符 12">
              <a:extLst>
                <a:ext uri="{FF2B5EF4-FFF2-40B4-BE49-F238E27FC236}">
                  <a16:creationId xmlns:a16="http://schemas.microsoft.com/office/drawing/2014/main" id="{5BE3A93B-7E01-4C5F-B648-74BBB46100D1}"/>
                </a:ext>
              </a:extLst>
            </p:cNvPr>
            <p:cNvCxnSpPr/>
            <p:nvPr/>
          </p:nvCxnSpPr>
          <p:spPr>
            <a:xfrm>
              <a:off x="6032500" y="4336576"/>
              <a:ext cx="0" cy="916627"/>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4" name="直接连接符 13">
              <a:extLst>
                <a:ext uri="{FF2B5EF4-FFF2-40B4-BE49-F238E27FC236}">
                  <a16:creationId xmlns:a16="http://schemas.microsoft.com/office/drawing/2014/main" id="{EC0AB88D-6B23-4D72-8BC7-5975BE9833FE}"/>
                </a:ext>
              </a:extLst>
            </p:cNvPr>
            <p:cNvCxnSpPr/>
            <p:nvPr/>
          </p:nvCxnSpPr>
          <p:spPr>
            <a:xfrm>
              <a:off x="8928100" y="4336576"/>
              <a:ext cx="0" cy="916627"/>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62" name="e-book_21821">
            <a:extLst>
              <a:ext uri="{FF2B5EF4-FFF2-40B4-BE49-F238E27FC236}">
                <a16:creationId xmlns:a16="http://schemas.microsoft.com/office/drawing/2014/main" id="{EBB4F16B-6FE4-4B85-8056-B746F020F0E3}"/>
              </a:ext>
            </a:extLst>
          </p:cNvPr>
          <p:cNvSpPr/>
          <p:nvPr/>
        </p:nvSpPr>
        <p:spPr>
          <a:xfrm>
            <a:off x="7191575" y="3557973"/>
            <a:ext cx="609685" cy="521433"/>
          </a:xfrm>
          <a:custGeom>
            <a:avLst/>
            <a:gdLst>
              <a:gd name="T0" fmla="*/ 902 w 934"/>
              <a:gd name="T1" fmla="*/ 146 h 800"/>
              <a:gd name="T2" fmla="*/ 843 w 934"/>
              <a:gd name="T3" fmla="*/ 76 h 800"/>
              <a:gd name="T4" fmla="*/ 318 w 934"/>
              <a:gd name="T5" fmla="*/ 146 h 800"/>
              <a:gd name="T6" fmla="*/ 193 w 934"/>
              <a:gd name="T7" fmla="*/ 0 h 800"/>
              <a:gd name="T8" fmla="*/ 32 w 934"/>
              <a:gd name="T9" fmla="*/ 146 h 800"/>
              <a:gd name="T10" fmla="*/ 0 w 934"/>
              <a:gd name="T11" fmla="*/ 202 h 800"/>
              <a:gd name="T12" fmla="*/ 934 w 934"/>
              <a:gd name="T13" fmla="*/ 800 h 800"/>
              <a:gd name="T14" fmla="*/ 902 w 934"/>
              <a:gd name="T15" fmla="*/ 202 h 800"/>
              <a:gd name="T16" fmla="*/ 63 w 934"/>
              <a:gd name="T17" fmla="*/ 177 h 800"/>
              <a:gd name="T18" fmla="*/ 193 w 934"/>
              <a:gd name="T19" fmla="*/ 202 h 800"/>
              <a:gd name="T20" fmla="*/ 90 w 934"/>
              <a:gd name="T21" fmla="*/ 440 h 800"/>
              <a:gd name="T22" fmla="*/ 421 w 934"/>
              <a:gd name="T23" fmla="*/ 440 h 800"/>
              <a:gd name="T24" fmla="*/ 318 w 934"/>
              <a:gd name="T25" fmla="*/ 202 h 800"/>
              <a:gd name="T26" fmla="*/ 452 w 934"/>
              <a:gd name="T27" fmla="*/ 177 h 800"/>
              <a:gd name="T28" fmla="*/ 452 w 934"/>
              <a:gd name="T29" fmla="*/ 746 h 800"/>
              <a:gd name="T30" fmla="*/ 63 w 934"/>
              <a:gd name="T31" fmla="*/ 202 h 800"/>
              <a:gd name="T32" fmla="*/ 812 w 934"/>
              <a:gd name="T33" fmla="*/ 114 h 800"/>
              <a:gd name="T34" fmla="*/ 812 w 934"/>
              <a:gd name="T35" fmla="*/ 162 h 800"/>
              <a:gd name="T36" fmla="*/ 812 w 934"/>
              <a:gd name="T37" fmla="*/ 202 h 800"/>
              <a:gd name="T38" fmla="*/ 483 w 934"/>
              <a:gd name="T39" fmla="*/ 743 h 800"/>
              <a:gd name="T40" fmla="*/ 483 w 934"/>
              <a:gd name="T41" fmla="*/ 177 h 800"/>
              <a:gd name="T42" fmla="*/ 553 w 934"/>
              <a:gd name="T43" fmla="*/ 162 h 800"/>
              <a:gd name="T44" fmla="*/ 871 w 934"/>
              <a:gd name="T45" fmla="*/ 202 h 800"/>
              <a:gd name="T46" fmla="*/ 636 w 934"/>
              <a:gd name="T47" fmla="*/ 746 h 800"/>
              <a:gd name="T48" fmla="*/ 843 w 934"/>
              <a:gd name="T49" fmla="*/ 202 h 800"/>
              <a:gd name="T50" fmla="*/ 871 w 934"/>
              <a:gd name="T51" fmla="*/ 177 h 800"/>
              <a:gd name="T52" fmla="*/ 527 w 934"/>
              <a:gd name="T53" fmla="*/ 602 h 800"/>
              <a:gd name="T54" fmla="*/ 766 w 934"/>
              <a:gd name="T55" fmla="*/ 505 h 800"/>
              <a:gd name="T56" fmla="*/ 527 w 934"/>
              <a:gd name="T57" fmla="*/ 602 h 800"/>
              <a:gd name="T58" fmla="*/ 516 w 934"/>
              <a:gd name="T59" fmla="*/ 656 h 800"/>
              <a:gd name="T60" fmla="*/ 771 w 934"/>
              <a:gd name="T61" fmla="*/ 619 h 800"/>
              <a:gd name="T62" fmla="*/ 531 w 934"/>
              <a:gd name="T63" fmla="*/ 282 h 800"/>
              <a:gd name="T64" fmla="*/ 701 w 934"/>
              <a:gd name="T65" fmla="*/ 202 h 800"/>
              <a:gd name="T66" fmla="*/ 767 w 934"/>
              <a:gd name="T67" fmla="*/ 202 h 800"/>
              <a:gd name="T68" fmla="*/ 531 w 934"/>
              <a:gd name="T69" fmla="*/ 282 h 800"/>
              <a:gd name="T70" fmla="*/ 522 w 934"/>
              <a:gd name="T71" fmla="*/ 331 h 800"/>
              <a:gd name="T72" fmla="*/ 771 w 934"/>
              <a:gd name="T73" fmla="*/ 294 h 800"/>
              <a:gd name="T74" fmla="*/ 530 w 934"/>
              <a:gd name="T75" fmla="*/ 441 h 800"/>
              <a:gd name="T76" fmla="*/ 763 w 934"/>
              <a:gd name="T77" fmla="*/ 344 h 800"/>
              <a:gd name="T78" fmla="*/ 530 w 934"/>
              <a:gd name="T79" fmla="*/ 441 h 800"/>
              <a:gd name="T80" fmla="*/ 522 w 934"/>
              <a:gd name="T81" fmla="*/ 490 h 800"/>
              <a:gd name="T82" fmla="*/ 771 w 934"/>
              <a:gd name="T83" fmla="*/ 453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934" h="800">
                <a:moveTo>
                  <a:pt x="902" y="202"/>
                </a:moveTo>
                <a:lnTo>
                  <a:pt x="902" y="146"/>
                </a:lnTo>
                <a:lnTo>
                  <a:pt x="843" y="146"/>
                </a:lnTo>
                <a:lnTo>
                  <a:pt x="843" y="76"/>
                </a:lnTo>
                <a:lnTo>
                  <a:pt x="466" y="146"/>
                </a:lnTo>
                <a:lnTo>
                  <a:pt x="318" y="146"/>
                </a:lnTo>
                <a:lnTo>
                  <a:pt x="318" y="0"/>
                </a:lnTo>
                <a:lnTo>
                  <a:pt x="193" y="0"/>
                </a:lnTo>
                <a:lnTo>
                  <a:pt x="193" y="146"/>
                </a:lnTo>
                <a:lnTo>
                  <a:pt x="32" y="146"/>
                </a:lnTo>
                <a:lnTo>
                  <a:pt x="32" y="202"/>
                </a:lnTo>
                <a:lnTo>
                  <a:pt x="0" y="202"/>
                </a:lnTo>
                <a:lnTo>
                  <a:pt x="0" y="800"/>
                </a:lnTo>
                <a:lnTo>
                  <a:pt x="934" y="800"/>
                </a:lnTo>
                <a:lnTo>
                  <a:pt x="934" y="202"/>
                </a:lnTo>
                <a:lnTo>
                  <a:pt x="902" y="202"/>
                </a:lnTo>
                <a:close/>
                <a:moveTo>
                  <a:pt x="63" y="202"/>
                </a:moveTo>
                <a:lnTo>
                  <a:pt x="63" y="177"/>
                </a:lnTo>
                <a:lnTo>
                  <a:pt x="193" y="177"/>
                </a:lnTo>
                <a:lnTo>
                  <a:pt x="193" y="202"/>
                </a:lnTo>
                <a:lnTo>
                  <a:pt x="193" y="440"/>
                </a:lnTo>
                <a:lnTo>
                  <a:pt x="90" y="440"/>
                </a:lnTo>
                <a:lnTo>
                  <a:pt x="255" y="605"/>
                </a:lnTo>
                <a:lnTo>
                  <a:pt x="421" y="440"/>
                </a:lnTo>
                <a:lnTo>
                  <a:pt x="318" y="440"/>
                </a:lnTo>
                <a:lnTo>
                  <a:pt x="318" y="202"/>
                </a:lnTo>
                <a:lnTo>
                  <a:pt x="318" y="177"/>
                </a:lnTo>
                <a:lnTo>
                  <a:pt x="452" y="177"/>
                </a:lnTo>
                <a:lnTo>
                  <a:pt x="452" y="202"/>
                </a:lnTo>
                <a:lnTo>
                  <a:pt x="452" y="746"/>
                </a:lnTo>
                <a:lnTo>
                  <a:pt x="63" y="746"/>
                </a:lnTo>
                <a:lnTo>
                  <a:pt x="63" y="202"/>
                </a:lnTo>
                <a:close/>
                <a:moveTo>
                  <a:pt x="636" y="146"/>
                </a:moveTo>
                <a:lnTo>
                  <a:pt x="812" y="114"/>
                </a:lnTo>
                <a:lnTo>
                  <a:pt x="812" y="146"/>
                </a:lnTo>
                <a:lnTo>
                  <a:pt x="812" y="162"/>
                </a:lnTo>
                <a:lnTo>
                  <a:pt x="812" y="177"/>
                </a:lnTo>
                <a:lnTo>
                  <a:pt x="812" y="202"/>
                </a:lnTo>
                <a:lnTo>
                  <a:pt x="812" y="681"/>
                </a:lnTo>
                <a:lnTo>
                  <a:pt x="483" y="743"/>
                </a:lnTo>
                <a:lnTo>
                  <a:pt x="483" y="202"/>
                </a:lnTo>
                <a:lnTo>
                  <a:pt x="483" y="177"/>
                </a:lnTo>
                <a:lnTo>
                  <a:pt x="483" y="175"/>
                </a:lnTo>
                <a:lnTo>
                  <a:pt x="553" y="162"/>
                </a:lnTo>
                <a:lnTo>
                  <a:pt x="636" y="146"/>
                </a:lnTo>
                <a:close/>
                <a:moveTo>
                  <a:pt x="871" y="202"/>
                </a:moveTo>
                <a:lnTo>
                  <a:pt x="871" y="746"/>
                </a:lnTo>
                <a:lnTo>
                  <a:pt x="636" y="746"/>
                </a:lnTo>
                <a:lnTo>
                  <a:pt x="843" y="707"/>
                </a:lnTo>
                <a:lnTo>
                  <a:pt x="843" y="202"/>
                </a:lnTo>
                <a:lnTo>
                  <a:pt x="843" y="177"/>
                </a:lnTo>
                <a:lnTo>
                  <a:pt x="871" y="177"/>
                </a:lnTo>
                <a:lnTo>
                  <a:pt x="871" y="202"/>
                </a:lnTo>
                <a:close/>
                <a:moveTo>
                  <a:pt x="527" y="602"/>
                </a:moveTo>
                <a:lnTo>
                  <a:pt x="519" y="572"/>
                </a:lnTo>
                <a:lnTo>
                  <a:pt x="766" y="505"/>
                </a:lnTo>
                <a:lnTo>
                  <a:pt x="774" y="535"/>
                </a:lnTo>
                <a:lnTo>
                  <a:pt x="527" y="602"/>
                </a:lnTo>
                <a:close/>
                <a:moveTo>
                  <a:pt x="525" y="686"/>
                </a:moveTo>
                <a:lnTo>
                  <a:pt x="516" y="656"/>
                </a:lnTo>
                <a:lnTo>
                  <a:pt x="763" y="589"/>
                </a:lnTo>
                <a:lnTo>
                  <a:pt x="771" y="619"/>
                </a:lnTo>
                <a:lnTo>
                  <a:pt x="525" y="686"/>
                </a:lnTo>
                <a:close/>
                <a:moveTo>
                  <a:pt x="531" y="282"/>
                </a:moveTo>
                <a:lnTo>
                  <a:pt x="522" y="252"/>
                </a:lnTo>
                <a:lnTo>
                  <a:pt x="701" y="202"/>
                </a:lnTo>
                <a:lnTo>
                  <a:pt x="763" y="185"/>
                </a:lnTo>
                <a:lnTo>
                  <a:pt x="767" y="202"/>
                </a:lnTo>
                <a:lnTo>
                  <a:pt x="771" y="215"/>
                </a:lnTo>
                <a:lnTo>
                  <a:pt x="531" y="282"/>
                </a:lnTo>
                <a:close/>
                <a:moveTo>
                  <a:pt x="531" y="361"/>
                </a:moveTo>
                <a:lnTo>
                  <a:pt x="522" y="331"/>
                </a:lnTo>
                <a:lnTo>
                  <a:pt x="763" y="264"/>
                </a:lnTo>
                <a:lnTo>
                  <a:pt x="771" y="294"/>
                </a:lnTo>
                <a:lnTo>
                  <a:pt x="531" y="361"/>
                </a:lnTo>
                <a:close/>
                <a:moveTo>
                  <a:pt x="530" y="441"/>
                </a:moveTo>
                <a:lnTo>
                  <a:pt x="522" y="411"/>
                </a:lnTo>
                <a:lnTo>
                  <a:pt x="763" y="344"/>
                </a:lnTo>
                <a:lnTo>
                  <a:pt x="771" y="374"/>
                </a:lnTo>
                <a:lnTo>
                  <a:pt x="530" y="441"/>
                </a:lnTo>
                <a:close/>
                <a:moveTo>
                  <a:pt x="530" y="520"/>
                </a:moveTo>
                <a:lnTo>
                  <a:pt x="522" y="490"/>
                </a:lnTo>
                <a:lnTo>
                  <a:pt x="763" y="423"/>
                </a:lnTo>
                <a:lnTo>
                  <a:pt x="771" y="453"/>
                </a:lnTo>
                <a:lnTo>
                  <a:pt x="530" y="52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63" name="组合 62">
            <a:extLst>
              <a:ext uri="{FF2B5EF4-FFF2-40B4-BE49-F238E27FC236}">
                <a16:creationId xmlns:a16="http://schemas.microsoft.com/office/drawing/2014/main" id="{75A8FE5E-D06C-4F5D-B55F-34FF5CBB774C}"/>
              </a:ext>
            </a:extLst>
          </p:cNvPr>
          <p:cNvGrpSpPr/>
          <p:nvPr/>
        </p:nvGrpSpPr>
        <p:grpSpPr>
          <a:xfrm>
            <a:off x="10440193" y="68734"/>
            <a:ext cx="1080294" cy="1067017"/>
            <a:chOff x="4239419" y="1802606"/>
            <a:chExt cx="3713163" cy="3938588"/>
          </a:xfrm>
        </p:grpSpPr>
        <p:sp>
          <p:nvSpPr>
            <p:cNvPr id="64" name="Freeform 5">
              <a:extLst>
                <a:ext uri="{FF2B5EF4-FFF2-40B4-BE49-F238E27FC236}">
                  <a16:creationId xmlns:a16="http://schemas.microsoft.com/office/drawing/2014/main" id="{49498571-439B-47FE-B0EB-2CC41645BFE0}"/>
                </a:ext>
              </a:extLst>
            </p:cNvPr>
            <p:cNvSpPr>
              <a:spLocks/>
            </p:cNvSpPr>
            <p:nvPr/>
          </p:nvSpPr>
          <p:spPr bwMode="auto">
            <a:xfrm>
              <a:off x="4888706" y="1837531"/>
              <a:ext cx="3008313" cy="3455988"/>
            </a:xfrm>
            <a:custGeom>
              <a:avLst/>
              <a:gdLst>
                <a:gd name="T0" fmla="*/ 1061 w 1706"/>
                <a:gd name="T1" fmla="*/ 1952 h 1960"/>
                <a:gd name="T2" fmla="*/ 32 w 1706"/>
                <a:gd name="T3" fmla="*/ 1539 h 1960"/>
                <a:gd name="T4" fmla="*/ 9 w 1706"/>
                <a:gd name="T5" fmla="*/ 1485 h 1960"/>
                <a:gd name="T6" fmla="*/ 592 w 1706"/>
                <a:gd name="T7" fmla="*/ 32 h 1960"/>
                <a:gd name="T8" fmla="*/ 646 w 1706"/>
                <a:gd name="T9" fmla="*/ 9 h 1960"/>
                <a:gd name="T10" fmla="*/ 1674 w 1706"/>
                <a:gd name="T11" fmla="*/ 421 h 1960"/>
                <a:gd name="T12" fmla="*/ 1698 w 1706"/>
                <a:gd name="T13" fmla="*/ 475 h 1960"/>
                <a:gd name="T14" fmla="*/ 1115 w 1706"/>
                <a:gd name="T15" fmla="*/ 1929 h 1960"/>
                <a:gd name="T16" fmla="*/ 1061 w 1706"/>
                <a:gd name="T17" fmla="*/ 1952 h 19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06" h="1960">
                  <a:moveTo>
                    <a:pt x="1061" y="1952"/>
                  </a:moveTo>
                  <a:cubicBezTo>
                    <a:pt x="32" y="1539"/>
                    <a:pt x="32" y="1539"/>
                    <a:pt x="32" y="1539"/>
                  </a:cubicBezTo>
                  <a:cubicBezTo>
                    <a:pt x="11" y="1531"/>
                    <a:pt x="0" y="1507"/>
                    <a:pt x="9" y="1485"/>
                  </a:cubicBezTo>
                  <a:cubicBezTo>
                    <a:pt x="592" y="32"/>
                    <a:pt x="592" y="32"/>
                    <a:pt x="592" y="32"/>
                  </a:cubicBezTo>
                  <a:cubicBezTo>
                    <a:pt x="601" y="11"/>
                    <a:pt x="625" y="0"/>
                    <a:pt x="646" y="9"/>
                  </a:cubicBezTo>
                  <a:cubicBezTo>
                    <a:pt x="1674" y="421"/>
                    <a:pt x="1674" y="421"/>
                    <a:pt x="1674" y="421"/>
                  </a:cubicBezTo>
                  <a:cubicBezTo>
                    <a:pt x="1696" y="430"/>
                    <a:pt x="1706" y="454"/>
                    <a:pt x="1698" y="475"/>
                  </a:cubicBezTo>
                  <a:cubicBezTo>
                    <a:pt x="1115" y="1929"/>
                    <a:pt x="1115" y="1929"/>
                    <a:pt x="1115" y="1929"/>
                  </a:cubicBezTo>
                  <a:cubicBezTo>
                    <a:pt x="1106" y="1950"/>
                    <a:pt x="1082" y="1960"/>
                    <a:pt x="1061" y="1952"/>
                  </a:cubicBezTo>
                  <a:close/>
                </a:path>
              </a:pathLst>
            </a:custGeom>
            <a:solidFill>
              <a:srgbClr val="424242">
                <a:alpha val="20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65" name="Freeform 6">
              <a:extLst>
                <a:ext uri="{FF2B5EF4-FFF2-40B4-BE49-F238E27FC236}">
                  <a16:creationId xmlns:a16="http://schemas.microsoft.com/office/drawing/2014/main" id="{1F17D37F-C5F1-4F88-B706-FEA6968230A4}"/>
                </a:ext>
              </a:extLst>
            </p:cNvPr>
            <p:cNvSpPr>
              <a:spLocks/>
            </p:cNvSpPr>
            <p:nvPr/>
          </p:nvSpPr>
          <p:spPr bwMode="auto">
            <a:xfrm>
              <a:off x="4944269" y="1802606"/>
              <a:ext cx="3008313" cy="3455988"/>
            </a:xfrm>
            <a:custGeom>
              <a:avLst/>
              <a:gdLst>
                <a:gd name="T0" fmla="*/ 1061 w 1706"/>
                <a:gd name="T1" fmla="*/ 1952 h 1960"/>
                <a:gd name="T2" fmla="*/ 32 w 1706"/>
                <a:gd name="T3" fmla="*/ 1539 h 1960"/>
                <a:gd name="T4" fmla="*/ 9 w 1706"/>
                <a:gd name="T5" fmla="*/ 1485 h 1960"/>
                <a:gd name="T6" fmla="*/ 592 w 1706"/>
                <a:gd name="T7" fmla="*/ 32 h 1960"/>
                <a:gd name="T8" fmla="*/ 646 w 1706"/>
                <a:gd name="T9" fmla="*/ 9 h 1960"/>
                <a:gd name="T10" fmla="*/ 1674 w 1706"/>
                <a:gd name="T11" fmla="*/ 421 h 1960"/>
                <a:gd name="T12" fmla="*/ 1698 w 1706"/>
                <a:gd name="T13" fmla="*/ 475 h 1960"/>
                <a:gd name="T14" fmla="*/ 1115 w 1706"/>
                <a:gd name="T15" fmla="*/ 1929 h 1960"/>
                <a:gd name="T16" fmla="*/ 1061 w 1706"/>
                <a:gd name="T17" fmla="*/ 1952 h 19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06" h="1960">
                  <a:moveTo>
                    <a:pt x="1061" y="1952"/>
                  </a:moveTo>
                  <a:cubicBezTo>
                    <a:pt x="32" y="1539"/>
                    <a:pt x="32" y="1539"/>
                    <a:pt x="32" y="1539"/>
                  </a:cubicBezTo>
                  <a:cubicBezTo>
                    <a:pt x="11" y="1531"/>
                    <a:pt x="0" y="1507"/>
                    <a:pt x="9" y="1485"/>
                  </a:cubicBezTo>
                  <a:cubicBezTo>
                    <a:pt x="592" y="32"/>
                    <a:pt x="592" y="32"/>
                    <a:pt x="592" y="32"/>
                  </a:cubicBezTo>
                  <a:cubicBezTo>
                    <a:pt x="601" y="11"/>
                    <a:pt x="625" y="0"/>
                    <a:pt x="646" y="9"/>
                  </a:cubicBezTo>
                  <a:cubicBezTo>
                    <a:pt x="1674" y="421"/>
                    <a:pt x="1674" y="421"/>
                    <a:pt x="1674" y="421"/>
                  </a:cubicBezTo>
                  <a:cubicBezTo>
                    <a:pt x="1696" y="430"/>
                    <a:pt x="1706" y="454"/>
                    <a:pt x="1698" y="475"/>
                  </a:cubicBezTo>
                  <a:cubicBezTo>
                    <a:pt x="1115" y="1929"/>
                    <a:pt x="1115" y="1929"/>
                    <a:pt x="1115" y="1929"/>
                  </a:cubicBezTo>
                  <a:cubicBezTo>
                    <a:pt x="1106" y="1950"/>
                    <a:pt x="1082" y="1960"/>
                    <a:pt x="1061" y="1952"/>
                  </a:cubicBezTo>
                  <a:close/>
                </a:path>
              </a:pathLst>
            </a:custGeom>
            <a:solidFill>
              <a:srgbClr val="E4E4E4"/>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66" name="Freeform 7">
              <a:extLst>
                <a:ext uri="{FF2B5EF4-FFF2-40B4-BE49-F238E27FC236}">
                  <a16:creationId xmlns:a16="http://schemas.microsoft.com/office/drawing/2014/main" id="{DC5C9A6C-881D-4A37-B893-837B67C49988}"/>
                </a:ext>
              </a:extLst>
            </p:cNvPr>
            <p:cNvSpPr>
              <a:spLocks/>
            </p:cNvSpPr>
            <p:nvPr/>
          </p:nvSpPr>
          <p:spPr bwMode="auto">
            <a:xfrm>
              <a:off x="4944269" y="1802606"/>
              <a:ext cx="1427163" cy="2827338"/>
            </a:xfrm>
            <a:custGeom>
              <a:avLst/>
              <a:gdLst>
                <a:gd name="T0" fmla="*/ 194 w 809"/>
                <a:gd name="T1" fmla="*/ 1604 h 1604"/>
                <a:gd name="T2" fmla="*/ 32 w 809"/>
                <a:gd name="T3" fmla="*/ 1539 h 1604"/>
                <a:gd name="T4" fmla="*/ 9 w 809"/>
                <a:gd name="T5" fmla="*/ 1486 h 1604"/>
                <a:gd name="T6" fmla="*/ 592 w 809"/>
                <a:gd name="T7" fmla="*/ 32 h 1604"/>
                <a:gd name="T8" fmla="*/ 646 w 809"/>
                <a:gd name="T9" fmla="*/ 9 h 1604"/>
                <a:gd name="T10" fmla="*/ 809 w 809"/>
                <a:gd name="T11" fmla="*/ 74 h 1604"/>
                <a:gd name="T12" fmla="*/ 195 w 809"/>
                <a:gd name="T13" fmla="*/ 1604 h 1604"/>
                <a:gd name="T14" fmla="*/ 194 w 809"/>
                <a:gd name="T15" fmla="*/ 1604 h 16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9" h="1604">
                  <a:moveTo>
                    <a:pt x="194" y="1604"/>
                  </a:moveTo>
                  <a:cubicBezTo>
                    <a:pt x="32" y="1539"/>
                    <a:pt x="32" y="1539"/>
                    <a:pt x="32" y="1539"/>
                  </a:cubicBezTo>
                  <a:cubicBezTo>
                    <a:pt x="11" y="1531"/>
                    <a:pt x="0" y="1507"/>
                    <a:pt x="9" y="1486"/>
                  </a:cubicBezTo>
                  <a:cubicBezTo>
                    <a:pt x="592" y="32"/>
                    <a:pt x="592" y="32"/>
                    <a:pt x="592" y="32"/>
                  </a:cubicBezTo>
                  <a:cubicBezTo>
                    <a:pt x="601" y="10"/>
                    <a:pt x="625" y="0"/>
                    <a:pt x="646" y="9"/>
                  </a:cubicBezTo>
                  <a:cubicBezTo>
                    <a:pt x="809" y="74"/>
                    <a:pt x="809" y="74"/>
                    <a:pt x="809" y="74"/>
                  </a:cubicBezTo>
                  <a:cubicBezTo>
                    <a:pt x="195" y="1604"/>
                    <a:pt x="195" y="1604"/>
                    <a:pt x="195" y="1604"/>
                  </a:cubicBezTo>
                  <a:cubicBezTo>
                    <a:pt x="195" y="1604"/>
                    <a:pt x="194" y="1604"/>
                    <a:pt x="194" y="1604"/>
                  </a:cubicBezTo>
                  <a:close/>
                </a:path>
              </a:pathLst>
            </a:custGeom>
            <a:solidFill>
              <a:srgbClr val="C1C0BF"/>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67" name="Freeform 8">
              <a:extLst>
                <a:ext uri="{FF2B5EF4-FFF2-40B4-BE49-F238E27FC236}">
                  <a16:creationId xmlns:a16="http://schemas.microsoft.com/office/drawing/2014/main" id="{462462C9-43FD-42F2-BE45-A82CFC1F277E}"/>
                </a:ext>
              </a:extLst>
            </p:cNvPr>
            <p:cNvSpPr>
              <a:spLocks/>
            </p:cNvSpPr>
            <p:nvPr/>
          </p:nvSpPr>
          <p:spPr bwMode="auto">
            <a:xfrm>
              <a:off x="4291806" y="1967706"/>
              <a:ext cx="1431925" cy="2081213"/>
            </a:xfrm>
            <a:custGeom>
              <a:avLst/>
              <a:gdLst>
                <a:gd name="T0" fmla="*/ 775 w 812"/>
                <a:gd name="T1" fmla="*/ 1108 h 1180"/>
                <a:gd name="T2" fmla="*/ 163 w 812"/>
                <a:gd name="T3" fmla="*/ 1178 h 1180"/>
                <a:gd name="T4" fmla="*/ 120 w 812"/>
                <a:gd name="T5" fmla="*/ 1144 h 1180"/>
                <a:gd name="T6" fmla="*/ 2 w 812"/>
                <a:gd name="T7" fmla="*/ 115 h 1180"/>
                <a:gd name="T8" fmla="*/ 36 w 812"/>
                <a:gd name="T9" fmla="*/ 72 h 1180"/>
                <a:gd name="T10" fmla="*/ 649 w 812"/>
                <a:gd name="T11" fmla="*/ 2 h 1180"/>
                <a:gd name="T12" fmla="*/ 692 w 812"/>
                <a:gd name="T13" fmla="*/ 36 h 1180"/>
                <a:gd name="T14" fmla="*/ 809 w 812"/>
                <a:gd name="T15" fmla="*/ 1065 h 1180"/>
                <a:gd name="T16" fmla="*/ 775 w 812"/>
                <a:gd name="T17" fmla="*/ 1108 h 1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2" h="1180">
                  <a:moveTo>
                    <a:pt x="775" y="1108"/>
                  </a:moveTo>
                  <a:cubicBezTo>
                    <a:pt x="163" y="1178"/>
                    <a:pt x="163" y="1178"/>
                    <a:pt x="163" y="1178"/>
                  </a:cubicBezTo>
                  <a:cubicBezTo>
                    <a:pt x="141" y="1180"/>
                    <a:pt x="122" y="1165"/>
                    <a:pt x="120" y="1144"/>
                  </a:cubicBezTo>
                  <a:cubicBezTo>
                    <a:pt x="2" y="115"/>
                    <a:pt x="2" y="115"/>
                    <a:pt x="2" y="115"/>
                  </a:cubicBezTo>
                  <a:cubicBezTo>
                    <a:pt x="0" y="94"/>
                    <a:pt x="15" y="75"/>
                    <a:pt x="36" y="72"/>
                  </a:cubicBezTo>
                  <a:cubicBezTo>
                    <a:pt x="649" y="2"/>
                    <a:pt x="649" y="2"/>
                    <a:pt x="649" y="2"/>
                  </a:cubicBezTo>
                  <a:cubicBezTo>
                    <a:pt x="670" y="0"/>
                    <a:pt x="689" y="15"/>
                    <a:pt x="692" y="36"/>
                  </a:cubicBezTo>
                  <a:cubicBezTo>
                    <a:pt x="809" y="1065"/>
                    <a:pt x="809" y="1065"/>
                    <a:pt x="809" y="1065"/>
                  </a:cubicBezTo>
                  <a:cubicBezTo>
                    <a:pt x="812" y="1086"/>
                    <a:pt x="796" y="1105"/>
                    <a:pt x="775" y="1108"/>
                  </a:cubicBezTo>
                  <a:close/>
                </a:path>
              </a:pathLst>
            </a:custGeom>
            <a:solidFill>
              <a:srgbClr val="424242">
                <a:alpha val="20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68" name="Freeform 9">
              <a:extLst>
                <a:ext uri="{FF2B5EF4-FFF2-40B4-BE49-F238E27FC236}">
                  <a16:creationId xmlns:a16="http://schemas.microsoft.com/office/drawing/2014/main" id="{D29C2FFF-4C93-46D2-BC0F-B5133C6F9D27}"/>
                </a:ext>
              </a:extLst>
            </p:cNvPr>
            <p:cNvSpPr>
              <a:spLocks/>
            </p:cNvSpPr>
            <p:nvPr/>
          </p:nvSpPr>
          <p:spPr bwMode="auto">
            <a:xfrm>
              <a:off x="4334669" y="1918494"/>
              <a:ext cx="1431925" cy="2081213"/>
            </a:xfrm>
            <a:custGeom>
              <a:avLst/>
              <a:gdLst>
                <a:gd name="T0" fmla="*/ 775 w 812"/>
                <a:gd name="T1" fmla="*/ 1108 h 1180"/>
                <a:gd name="T2" fmla="*/ 163 w 812"/>
                <a:gd name="T3" fmla="*/ 1178 h 1180"/>
                <a:gd name="T4" fmla="*/ 120 w 812"/>
                <a:gd name="T5" fmla="*/ 1144 h 1180"/>
                <a:gd name="T6" fmla="*/ 2 w 812"/>
                <a:gd name="T7" fmla="*/ 115 h 1180"/>
                <a:gd name="T8" fmla="*/ 36 w 812"/>
                <a:gd name="T9" fmla="*/ 72 h 1180"/>
                <a:gd name="T10" fmla="*/ 649 w 812"/>
                <a:gd name="T11" fmla="*/ 2 h 1180"/>
                <a:gd name="T12" fmla="*/ 692 w 812"/>
                <a:gd name="T13" fmla="*/ 36 h 1180"/>
                <a:gd name="T14" fmla="*/ 809 w 812"/>
                <a:gd name="T15" fmla="*/ 1065 h 1180"/>
                <a:gd name="T16" fmla="*/ 775 w 812"/>
                <a:gd name="T17" fmla="*/ 1108 h 1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2" h="1180">
                  <a:moveTo>
                    <a:pt x="775" y="1108"/>
                  </a:moveTo>
                  <a:cubicBezTo>
                    <a:pt x="163" y="1178"/>
                    <a:pt x="163" y="1178"/>
                    <a:pt x="163" y="1178"/>
                  </a:cubicBezTo>
                  <a:cubicBezTo>
                    <a:pt x="141" y="1180"/>
                    <a:pt x="122" y="1165"/>
                    <a:pt x="120" y="1144"/>
                  </a:cubicBezTo>
                  <a:cubicBezTo>
                    <a:pt x="2" y="115"/>
                    <a:pt x="2" y="115"/>
                    <a:pt x="2" y="115"/>
                  </a:cubicBezTo>
                  <a:cubicBezTo>
                    <a:pt x="0" y="94"/>
                    <a:pt x="15" y="75"/>
                    <a:pt x="36" y="72"/>
                  </a:cubicBezTo>
                  <a:cubicBezTo>
                    <a:pt x="649" y="2"/>
                    <a:pt x="649" y="2"/>
                    <a:pt x="649" y="2"/>
                  </a:cubicBezTo>
                  <a:cubicBezTo>
                    <a:pt x="670" y="0"/>
                    <a:pt x="689" y="15"/>
                    <a:pt x="692" y="36"/>
                  </a:cubicBezTo>
                  <a:cubicBezTo>
                    <a:pt x="809" y="1065"/>
                    <a:pt x="809" y="1065"/>
                    <a:pt x="809" y="1065"/>
                  </a:cubicBezTo>
                  <a:cubicBezTo>
                    <a:pt x="812" y="1086"/>
                    <a:pt x="796" y="1105"/>
                    <a:pt x="775" y="1108"/>
                  </a:cubicBezTo>
                  <a:close/>
                </a:path>
              </a:pathLst>
            </a:custGeom>
            <a:solidFill>
              <a:srgbClr val="1B4771"/>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69" name="Freeform 10">
              <a:extLst>
                <a:ext uri="{FF2B5EF4-FFF2-40B4-BE49-F238E27FC236}">
                  <a16:creationId xmlns:a16="http://schemas.microsoft.com/office/drawing/2014/main" id="{CC7863A1-3314-46BE-BAE2-3024A039FF3C}"/>
                </a:ext>
              </a:extLst>
            </p:cNvPr>
            <p:cNvSpPr>
              <a:spLocks/>
            </p:cNvSpPr>
            <p:nvPr/>
          </p:nvSpPr>
          <p:spPr bwMode="auto">
            <a:xfrm>
              <a:off x="4415631" y="1918494"/>
              <a:ext cx="1350963" cy="2071688"/>
            </a:xfrm>
            <a:custGeom>
              <a:avLst/>
              <a:gdLst>
                <a:gd name="T0" fmla="*/ 730 w 766"/>
                <a:gd name="T1" fmla="*/ 1108 h 1175"/>
                <a:gd name="T2" fmla="*/ 162 w 766"/>
                <a:gd name="T3" fmla="*/ 1173 h 1175"/>
                <a:gd name="T4" fmla="*/ 120 w 766"/>
                <a:gd name="T5" fmla="*/ 1140 h 1175"/>
                <a:gd name="T6" fmla="*/ 2 w 766"/>
                <a:gd name="T7" fmla="*/ 109 h 1175"/>
                <a:gd name="T8" fmla="*/ 35 w 766"/>
                <a:gd name="T9" fmla="*/ 67 h 1175"/>
                <a:gd name="T10" fmla="*/ 604 w 766"/>
                <a:gd name="T11" fmla="*/ 2 h 1175"/>
                <a:gd name="T12" fmla="*/ 646 w 766"/>
                <a:gd name="T13" fmla="*/ 35 h 1175"/>
                <a:gd name="T14" fmla="*/ 763 w 766"/>
                <a:gd name="T15" fmla="*/ 1066 h 1175"/>
                <a:gd name="T16" fmla="*/ 730 w 766"/>
                <a:gd name="T17" fmla="*/ 1108 h 1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6" h="1175">
                  <a:moveTo>
                    <a:pt x="730" y="1108"/>
                  </a:moveTo>
                  <a:cubicBezTo>
                    <a:pt x="162" y="1173"/>
                    <a:pt x="162" y="1173"/>
                    <a:pt x="162" y="1173"/>
                  </a:cubicBezTo>
                  <a:cubicBezTo>
                    <a:pt x="141" y="1175"/>
                    <a:pt x="122" y="1160"/>
                    <a:pt x="120" y="1140"/>
                  </a:cubicBezTo>
                  <a:cubicBezTo>
                    <a:pt x="2" y="109"/>
                    <a:pt x="2" y="109"/>
                    <a:pt x="2" y="109"/>
                  </a:cubicBezTo>
                  <a:cubicBezTo>
                    <a:pt x="0" y="88"/>
                    <a:pt x="15" y="69"/>
                    <a:pt x="35" y="67"/>
                  </a:cubicBezTo>
                  <a:cubicBezTo>
                    <a:pt x="604" y="2"/>
                    <a:pt x="604" y="2"/>
                    <a:pt x="604" y="2"/>
                  </a:cubicBezTo>
                  <a:cubicBezTo>
                    <a:pt x="625" y="0"/>
                    <a:pt x="643" y="14"/>
                    <a:pt x="646" y="35"/>
                  </a:cubicBezTo>
                  <a:cubicBezTo>
                    <a:pt x="763" y="1066"/>
                    <a:pt x="763" y="1066"/>
                    <a:pt x="763" y="1066"/>
                  </a:cubicBezTo>
                  <a:cubicBezTo>
                    <a:pt x="766" y="1087"/>
                    <a:pt x="751" y="1105"/>
                    <a:pt x="730" y="1108"/>
                  </a:cubicBezTo>
                  <a:close/>
                </a:path>
              </a:pathLst>
            </a:custGeom>
            <a:solidFill>
              <a:srgbClr val="417DBB"/>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70" name="Freeform 11">
              <a:extLst>
                <a:ext uri="{FF2B5EF4-FFF2-40B4-BE49-F238E27FC236}">
                  <a16:creationId xmlns:a16="http://schemas.microsoft.com/office/drawing/2014/main" id="{DCAD23A9-ADF5-43B2-9015-30B672BE72B0}"/>
                </a:ext>
              </a:extLst>
            </p:cNvPr>
            <p:cNvSpPr>
              <a:spLocks/>
            </p:cNvSpPr>
            <p:nvPr/>
          </p:nvSpPr>
          <p:spPr bwMode="auto">
            <a:xfrm>
              <a:off x="4415631" y="1918494"/>
              <a:ext cx="1209675" cy="819150"/>
            </a:xfrm>
            <a:custGeom>
              <a:avLst/>
              <a:gdLst>
                <a:gd name="T0" fmla="*/ 686 w 686"/>
                <a:gd name="T1" fmla="*/ 391 h 465"/>
                <a:gd name="T2" fmla="*/ 646 w 686"/>
                <a:gd name="T3" fmla="*/ 35 h 465"/>
                <a:gd name="T4" fmla="*/ 604 w 686"/>
                <a:gd name="T5" fmla="*/ 2 h 465"/>
                <a:gd name="T6" fmla="*/ 35 w 686"/>
                <a:gd name="T7" fmla="*/ 67 h 465"/>
                <a:gd name="T8" fmla="*/ 2 w 686"/>
                <a:gd name="T9" fmla="*/ 109 h 465"/>
                <a:gd name="T10" fmla="*/ 43 w 686"/>
                <a:gd name="T11" fmla="*/ 465 h 465"/>
                <a:gd name="T12" fmla="*/ 686 w 686"/>
                <a:gd name="T13" fmla="*/ 391 h 465"/>
              </a:gdLst>
              <a:ahLst/>
              <a:cxnLst>
                <a:cxn ang="0">
                  <a:pos x="T0" y="T1"/>
                </a:cxn>
                <a:cxn ang="0">
                  <a:pos x="T2" y="T3"/>
                </a:cxn>
                <a:cxn ang="0">
                  <a:pos x="T4" y="T5"/>
                </a:cxn>
                <a:cxn ang="0">
                  <a:pos x="T6" y="T7"/>
                </a:cxn>
                <a:cxn ang="0">
                  <a:pos x="T8" y="T9"/>
                </a:cxn>
                <a:cxn ang="0">
                  <a:pos x="T10" y="T11"/>
                </a:cxn>
                <a:cxn ang="0">
                  <a:pos x="T12" y="T13"/>
                </a:cxn>
              </a:cxnLst>
              <a:rect l="0" t="0" r="r" b="b"/>
              <a:pathLst>
                <a:path w="686" h="465">
                  <a:moveTo>
                    <a:pt x="686" y="391"/>
                  </a:moveTo>
                  <a:cubicBezTo>
                    <a:pt x="646" y="35"/>
                    <a:pt x="646" y="35"/>
                    <a:pt x="646" y="35"/>
                  </a:cubicBezTo>
                  <a:cubicBezTo>
                    <a:pt x="643" y="14"/>
                    <a:pt x="625" y="0"/>
                    <a:pt x="604" y="2"/>
                  </a:cubicBezTo>
                  <a:cubicBezTo>
                    <a:pt x="35" y="67"/>
                    <a:pt x="35" y="67"/>
                    <a:pt x="35" y="67"/>
                  </a:cubicBezTo>
                  <a:cubicBezTo>
                    <a:pt x="15" y="69"/>
                    <a:pt x="0" y="88"/>
                    <a:pt x="2" y="109"/>
                  </a:cubicBezTo>
                  <a:cubicBezTo>
                    <a:pt x="43" y="465"/>
                    <a:pt x="43" y="465"/>
                    <a:pt x="43" y="465"/>
                  </a:cubicBezTo>
                  <a:lnTo>
                    <a:pt x="686" y="391"/>
                  </a:lnTo>
                  <a:close/>
                </a:path>
              </a:pathLst>
            </a:custGeom>
            <a:solidFill>
              <a:srgbClr val="336290"/>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71" name="Freeform 12">
              <a:extLst>
                <a:ext uri="{FF2B5EF4-FFF2-40B4-BE49-F238E27FC236}">
                  <a16:creationId xmlns:a16="http://schemas.microsoft.com/office/drawing/2014/main" id="{968A4EE0-983F-4E70-8B9C-5E004F41BC86}"/>
                </a:ext>
              </a:extLst>
            </p:cNvPr>
            <p:cNvSpPr>
              <a:spLocks/>
            </p:cNvSpPr>
            <p:nvPr/>
          </p:nvSpPr>
          <p:spPr bwMode="auto">
            <a:xfrm>
              <a:off x="4542631" y="2067719"/>
              <a:ext cx="957263" cy="555625"/>
            </a:xfrm>
            <a:custGeom>
              <a:avLst/>
              <a:gdLst>
                <a:gd name="T0" fmla="*/ 527 w 543"/>
                <a:gd name="T1" fmla="*/ 259 h 315"/>
                <a:gd name="T2" fmla="*/ 46 w 543"/>
                <a:gd name="T3" fmla="*/ 314 h 315"/>
                <a:gd name="T4" fmla="*/ 27 w 543"/>
                <a:gd name="T5" fmla="*/ 299 h 315"/>
                <a:gd name="T6" fmla="*/ 1 w 543"/>
                <a:gd name="T7" fmla="*/ 75 h 315"/>
                <a:gd name="T8" fmla="*/ 16 w 543"/>
                <a:gd name="T9" fmla="*/ 56 h 315"/>
                <a:gd name="T10" fmla="*/ 498 w 543"/>
                <a:gd name="T11" fmla="*/ 1 h 315"/>
                <a:gd name="T12" fmla="*/ 516 w 543"/>
                <a:gd name="T13" fmla="*/ 16 h 315"/>
                <a:gd name="T14" fmla="*/ 542 w 543"/>
                <a:gd name="T15" fmla="*/ 241 h 315"/>
                <a:gd name="T16" fmla="*/ 527 w 543"/>
                <a:gd name="T17" fmla="*/ 259 h 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3" h="315">
                  <a:moveTo>
                    <a:pt x="527" y="259"/>
                  </a:moveTo>
                  <a:cubicBezTo>
                    <a:pt x="46" y="314"/>
                    <a:pt x="46" y="314"/>
                    <a:pt x="46" y="314"/>
                  </a:cubicBezTo>
                  <a:cubicBezTo>
                    <a:pt x="36" y="315"/>
                    <a:pt x="28" y="309"/>
                    <a:pt x="27" y="299"/>
                  </a:cubicBezTo>
                  <a:cubicBezTo>
                    <a:pt x="1" y="75"/>
                    <a:pt x="1" y="75"/>
                    <a:pt x="1" y="75"/>
                  </a:cubicBezTo>
                  <a:cubicBezTo>
                    <a:pt x="0" y="66"/>
                    <a:pt x="7" y="57"/>
                    <a:pt x="16" y="56"/>
                  </a:cubicBezTo>
                  <a:cubicBezTo>
                    <a:pt x="498" y="1"/>
                    <a:pt x="498" y="1"/>
                    <a:pt x="498" y="1"/>
                  </a:cubicBezTo>
                  <a:cubicBezTo>
                    <a:pt x="507" y="0"/>
                    <a:pt x="515" y="7"/>
                    <a:pt x="516" y="16"/>
                  </a:cubicBezTo>
                  <a:cubicBezTo>
                    <a:pt x="542" y="241"/>
                    <a:pt x="542" y="241"/>
                    <a:pt x="542" y="241"/>
                  </a:cubicBezTo>
                  <a:cubicBezTo>
                    <a:pt x="543" y="250"/>
                    <a:pt x="536" y="258"/>
                    <a:pt x="527" y="259"/>
                  </a:cubicBezTo>
                  <a:close/>
                </a:path>
              </a:pathLst>
            </a:custGeom>
            <a:solidFill>
              <a:srgbClr val="01B1E9"/>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72" name="Freeform 13">
              <a:extLst>
                <a:ext uri="{FF2B5EF4-FFF2-40B4-BE49-F238E27FC236}">
                  <a16:creationId xmlns:a16="http://schemas.microsoft.com/office/drawing/2014/main" id="{3829E434-1537-4F0E-B23F-623F97883E29}"/>
                </a:ext>
              </a:extLst>
            </p:cNvPr>
            <p:cNvSpPr>
              <a:spLocks/>
            </p:cNvSpPr>
            <p:nvPr/>
          </p:nvSpPr>
          <p:spPr bwMode="auto">
            <a:xfrm>
              <a:off x="5409406" y="2971006"/>
              <a:ext cx="217488" cy="320675"/>
            </a:xfrm>
            <a:custGeom>
              <a:avLst/>
              <a:gdLst>
                <a:gd name="T0" fmla="*/ 95 w 123"/>
                <a:gd name="T1" fmla="*/ 174 h 182"/>
                <a:gd name="T2" fmla="*/ 47 w 123"/>
                <a:gd name="T3" fmla="*/ 180 h 182"/>
                <a:gd name="T4" fmla="*/ 15 w 123"/>
                <a:gd name="T5" fmla="*/ 154 h 182"/>
                <a:gd name="T6" fmla="*/ 2 w 123"/>
                <a:gd name="T7" fmla="*/ 40 h 182"/>
                <a:gd name="T8" fmla="*/ 28 w 123"/>
                <a:gd name="T9" fmla="*/ 7 h 182"/>
                <a:gd name="T10" fmla="*/ 75 w 123"/>
                <a:gd name="T11" fmla="*/ 2 h 182"/>
                <a:gd name="T12" fmla="*/ 108 w 123"/>
                <a:gd name="T13" fmla="*/ 28 h 182"/>
                <a:gd name="T14" fmla="*/ 121 w 123"/>
                <a:gd name="T15" fmla="*/ 142 h 182"/>
                <a:gd name="T16" fmla="*/ 95 w 123"/>
                <a:gd name="T17" fmla="*/ 174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182">
                  <a:moveTo>
                    <a:pt x="95" y="174"/>
                  </a:moveTo>
                  <a:cubicBezTo>
                    <a:pt x="47" y="180"/>
                    <a:pt x="47" y="180"/>
                    <a:pt x="47" y="180"/>
                  </a:cubicBezTo>
                  <a:cubicBezTo>
                    <a:pt x="31" y="182"/>
                    <a:pt x="16" y="170"/>
                    <a:pt x="15" y="154"/>
                  </a:cubicBezTo>
                  <a:cubicBezTo>
                    <a:pt x="2" y="40"/>
                    <a:pt x="2" y="40"/>
                    <a:pt x="2" y="40"/>
                  </a:cubicBezTo>
                  <a:cubicBezTo>
                    <a:pt x="0" y="24"/>
                    <a:pt x="11" y="9"/>
                    <a:pt x="28" y="7"/>
                  </a:cubicBezTo>
                  <a:cubicBezTo>
                    <a:pt x="75" y="2"/>
                    <a:pt x="75" y="2"/>
                    <a:pt x="75" y="2"/>
                  </a:cubicBezTo>
                  <a:cubicBezTo>
                    <a:pt x="91" y="0"/>
                    <a:pt x="106" y="11"/>
                    <a:pt x="108" y="28"/>
                  </a:cubicBezTo>
                  <a:cubicBezTo>
                    <a:pt x="121" y="142"/>
                    <a:pt x="121" y="142"/>
                    <a:pt x="121" y="142"/>
                  </a:cubicBezTo>
                  <a:cubicBezTo>
                    <a:pt x="123" y="158"/>
                    <a:pt x="111" y="172"/>
                    <a:pt x="95" y="174"/>
                  </a:cubicBezTo>
                  <a:close/>
                </a:path>
              </a:pathLst>
            </a:custGeom>
            <a:solidFill>
              <a:srgbClr val="06AEED"/>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73" name="Freeform 14">
              <a:extLst>
                <a:ext uri="{FF2B5EF4-FFF2-40B4-BE49-F238E27FC236}">
                  <a16:creationId xmlns:a16="http://schemas.microsoft.com/office/drawing/2014/main" id="{CBF98C65-653A-4E3F-9BBC-1DB11A538DFB}"/>
                </a:ext>
              </a:extLst>
            </p:cNvPr>
            <p:cNvSpPr>
              <a:spLocks/>
            </p:cNvSpPr>
            <p:nvPr/>
          </p:nvSpPr>
          <p:spPr bwMode="auto">
            <a:xfrm>
              <a:off x="5447506" y="3309144"/>
              <a:ext cx="200025" cy="168275"/>
            </a:xfrm>
            <a:custGeom>
              <a:avLst/>
              <a:gdLst>
                <a:gd name="T0" fmla="*/ 85 w 114"/>
                <a:gd name="T1" fmla="*/ 1 h 95"/>
                <a:gd name="T2" fmla="*/ 20 w 114"/>
                <a:gd name="T3" fmla="*/ 8 h 95"/>
                <a:gd name="T4" fmla="*/ 2 w 114"/>
                <a:gd name="T5" fmla="*/ 31 h 95"/>
                <a:gd name="T6" fmla="*/ 7 w 114"/>
                <a:gd name="T7" fmla="*/ 75 h 95"/>
                <a:gd name="T8" fmla="*/ 30 w 114"/>
                <a:gd name="T9" fmla="*/ 93 h 95"/>
                <a:gd name="T10" fmla="*/ 94 w 114"/>
                <a:gd name="T11" fmla="*/ 86 h 95"/>
                <a:gd name="T12" fmla="*/ 113 w 114"/>
                <a:gd name="T13" fmla="*/ 63 h 95"/>
                <a:gd name="T14" fmla="*/ 108 w 114"/>
                <a:gd name="T15" fmla="*/ 19 h 95"/>
                <a:gd name="T16" fmla="*/ 85 w 114"/>
                <a:gd name="T17" fmla="*/ 1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4" h="95">
                  <a:moveTo>
                    <a:pt x="85" y="1"/>
                  </a:moveTo>
                  <a:cubicBezTo>
                    <a:pt x="20" y="8"/>
                    <a:pt x="20" y="8"/>
                    <a:pt x="20" y="8"/>
                  </a:cubicBezTo>
                  <a:cubicBezTo>
                    <a:pt x="8" y="10"/>
                    <a:pt x="0" y="20"/>
                    <a:pt x="2" y="31"/>
                  </a:cubicBezTo>
                  <a:cubicBezTo>
                    <a:pt x="7" y="75"/>
                    <a:pt x="7" y="75"/>
                    <a:pt x="7" y="75"/>
                  </a:cubicBezTo>
                  <a:cubicBezTo>
                    <a:pt x="8" y="86"/>
                    <a:pt x="18" y="95"/>
                    <a:pt x="30" y="93"/>
                  </a:cubicBezTo>
                  <a:cubicBezTo>
                    <a:pt x="94" y="86"/>
                    <a:pt x="94" y="86"/>
                    <a:pt x="94" y="86"/>
                  </a:cubicBezTo>
                  <a:cubicBezTo>
                    <a:pt x="106" y="85"/>
                    <a:pt x="114" y="74"/>
                    <a:pt x="113" y="63"/>
                  </a:cubicBezTo>
                  <a:cubicBezTo>
                    <a:pt x="108" y="19"/>
                    <a:pt x="108" y="19"/>
                    <a:pt x="108" y="19"/>
                  </a:cubicBezTo>
                  <a:cubicBezTo>
                    <a:pt x="106" y="8"/>
                    <a:pt x="96" y="0"/>
                    <a:pt x="85" y="1"/>
                  </a:cubicBezTo>
                  <a:close/>
                </a:path>
              </a:pathLst>
            </a:custGeom>
            <a:solidFill>
              <a:srgbClr val="06AEED"/>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74" name="Freeform 15">
              <a:extLst>
                <a:ext uri="{FF2B5EF4-FFF2-40B4-BE49-F238E27FC236}">
                  <a16:creationId xmlns:a16="http://schemas.microsoft.com/office/drawing/2014/main" id="{733B60C6-AAEE-4FC5-B0FF-7E19B8C3EEE0}"/>
                </a:ext>
              </a:extLst>
            </p:cNvPr>
            <p:cNvSpPr>
              <a:spLocks/>
            </p:cNvSpPr>
            <p:nvPr/>
          </p:nvSpPr>
          <p:spPr bwMode="auto">
            <a:xfrm>
              <a:off x="5469731" y="3505994"/>
              <a:ext cx="201613" cy="166688"/>
            </a:xfrm>
            <a:custGeom>
              <a:avLst/>
              <a:gdLst>
                <a:gd name="T0" fmla="*/ 84 w 114"/>
                <a:gd name="T1" fmla="*/ 1 h 95"/>
                <a:gd name="T2" fmla="*/ 20 w 114"/>
                <a:gd name="T3" fmla="*/ 8 h 95"/>
                <a:gd name="T4" fmla="*/ 1 w 114"/>
                <a:gd name="T5" fmla="*/ 31 h 95"/>
                <a:gd name="T6" fmla="*/ 6 w 114"/>
                <a:gd name="T7" fmla="*/ 75 h 95"/>
                <a:gd name="T8" fmla="*/ 29 w 114"/>
                <a:gd name="T9" fmla="*/ 93 h 95"/>
                <a:gd name="T10" fmla="*/ 94 w 114"/>
                <a:gd name="T11" fmla="*/ 86 h 95"/>
                <a:gd name="T12" fmla="*/ 112 w 114"/>
                <a:gd name="T13" fmla="*/ 63 h 95"/>
                <a:gd name="T14" fmla="*/ 107 w 114"/>
                <a:gd name="T15" fmla="*/ 19 h 95"/>
                <a:gd name="T16" fmla="*/ 84 w 114"/>
                <a:gd name="T17" fmla="*/ 1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4" h="95">
                  <a:moveTo>
                    <a:pt x="84" y="1"/>
                  </a:moveTo>
                  <a:cubicBezTo>
                    <a:pt x="20" y="8"/>
                    <a:pt x="20" y="8"/>
                    <a:pt x="20" y="8"/>
                  </a:cubicBezTo>
                  <a:cubicBezTo>
                    <a:pt x="8" y="10"/>
                    <a:pt x="0" y="20"/>
                    <a:pt x="1" y="31"/>
                  </a:cubicBezTo>
                  <a:cubicBezTo>
                    <a:pt x="6" y="75"/>
                    <a:pt x="6" y="75"/>
                    <a:pt x="6" y="75"/>
                  </a:cubicBezTo>
                  <a:cubicBezTo>
                    <a:pt x="8" y="86"/>
                    <a:pt x="18" y="95"/>
                    <a:pt x="29" y="93"/>
                  </a:cubicBezTo>
                  <a:cubicBezTo>
                    <a:pt x="94" y="86"/>
                    <a:pt x="94" y="86"/>
                    <a:pt x="94" y="86"/>
                  </a:cubicBezTo>
                  <a:cubicBezTo>
                    <a:pt x="106" y="85"/>
                    <a:pt x="114" y="74"/>
                    <a:pt x="112" y="63"/>
                  </a:cubicBezTo>
                  <a:cubicBezTo>
                    <a:pt x="107" y="19"/>
                    <a:pt x="107" y="19"/>
                    <a:pt x="107" y="19"/>
                  </a:cubicBezTo>
                  <a:cubicBezTo>
                    <a:pt x="106" y="8"/>
                    <a:pt x="96" y="0"/>
                    <a:pt x="84" y="1"/>
                  </a:cubicBezTo>
                  <a:close/>
                </a:path>
              </a:pathLst>
            </a:custGeom>
            <a:solidFill>
              <a:srgbClr val="06AEED"/>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75" name="Freeform 16">
              <a:extLst>
                <a:ext uri="{FF2B5EF4-FFF2-40B4-BE49-F238E27FC236}">
                  <a16:creationId xmlns:a16="http://schemas.microsoft.com/office/drawing/2014/main" id="{DF7BC5A5-1F61-4D0F-A4E3-ABA96BD6BE2B}"/>
                </a:ext>
              </a:extLst>
            </p:cNvPr>
            <p:cNvSpPr>
              <a:spLocks/>
            </p:cNvSpPr>
            <p:nvPr/>
          </p:nvSpPr>
          <p:spPr bwMode="auto">
            <a:xfrm>
              <a:off x="4669631" y="3053556"/>
              <a:ext cx="196850" cy="133350"/>
            </a:xfrm>
            <a:custGeom>
              <a:avLst/>
              <a:gdLst>
                <a:gd name="T0" fmla="*/ 95 w 112"/>
                <a:gd name="T1" fmla="*/ 66 h 75"/>
                <a:gd name="T2" fmla="*/ 25 w 112"/>
                <a:gd name="T3" fmla="*/ 74 h 75"/>
                <a:gd name="T4" fmla="*/ 5 w 112"/>
                <a:gd name="T5" fmla="*/ 58 h 75"/>
                <a:gd name="T6" fmla="*/ 2 w 112"/>
                <a:gd name="T7" fmla="*/ 29 h 75"/>
                <a:gd name="T8" fmla="*/ 17 w 112"/>
                <a:gd name="T9" fmla="*/ 9 h 75"/>
                <a:gd name="T10" fmla="*/ 88 w 112"/>
                <a:gd name="T11" fmla="*/ 1 h 75"/>
                <a:gd name="T12" fmla="*/ 108 w 112"/>
                <a:gd name="T13" fmla="*/ 17 h 75"/>
                <a:gd name="T14" fmla="*/ 111 w 112"/>
                <a:gd name="T15" fmla="*/ 46 h 75"/>
                <a:gd name="T16" fmla="*/ 95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5" y="66"/>
                  </a:moveTo>
                  <a:cubicBezTo>
                    <a:pt x="25" y="74"/>
                    <a:pt x="25" y="74"/>
                    <a:pt x="25" y="74"/>
                  </a:cubicBezTo>
                  <a:cubicBezTo>
                    <a:pt x="15" y="75"/>
                    <a:pt x="6" y="68"/>
                    <a:pt x="5" y="58"/>
                  </a:cubicBezTo>
                  <a:cubicBezTo>
                    <a:pt x="2" y="29"/>
                    <a:pt x="2" y="29"/>
                    <a:pt x="2" y="29"/>
                  </a:cubicBezTo>
                  <a:cubicBezTo>
                    <a:pt x="0" y="19"/>
                    <a:pt x="7" y="10"/>
                    <a:pt x="17" y="9"/>
                  </a:cubicBezTo>
                  <a:cubicBezTo>
                    <a:pt x="88" y="1"/>
                    <a:pt x="88" y="1"/>
                    <a:pt x="88" y="1"/>
                  </a:cubicBezTo>
                  <a:cubicBezTo>
                    <a:pt x="98" y="0"/>
                    <a:pt x="107" y="7"/>
                    <a:pt x="108" y="17"/>
                  </a:cubicBezTo>
                  <a:cubicBezTo>
                    <a:pt x="111" y="46"/>
                    <a:pt x="111" y="46"/>
                    <a:pt x="111" y="46"/>
                  </a:cubicBezTo>
                  <a:cubicBezTo>
                    <a:pt x="112" y="56"/>
                    <a:pt x="105" y="65"/>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76" name="Freeform 17">
              <a:extLst>
                <a:ext uri="{FF2B5EF4-FFF2-40B4-BE49-F238E27FC236}">
                  <a16:creationId xmlns:a16="http://schemas.microsoft.com/office/drawing/2014/main" id="{D1032C1D-EE1F-45AD-9B96-7E9E440B1765}"/>
                </a:ext>
              </a:extLst>
            </p:cNvPr>
            <p:cNvSpPr>
              <a:spLocks/>
            </p:cNvSpPr>
            <p:nvPr/>
          </p:nvSpPr>
          <p:spPr bwMode="auto">
            <a:xfrm>
              <a:off x="4923631" y="3024981"/>
              <a:ext cx="196850" cy="133350"/>
            </a:xfrm>
            <a:custGeom>
              <a:avLst/>
              <a:gdLst>
                <a:gd name="T0" fmla="*/ 95 w 112"/>
                <a:gd name="T1" fmla="*/ 66 h 75"/>
                <a:gd name="T2" fmla="*/ 24 w 112"/>
                <a:gd name="T3" fmla="*/ 74 h 75"/>
                <a:gd name="T4" fmla="*/ 4 w 112"/>
                <a:gd name="T5" fmla="*/ 58 h 75"/>
                <a:gd name="T6" fmla="*/ 1 w 112"/>
                <a:gd name="T7" fmla="*/ 29 h 75"/>
                <a:gd name="T8" fmla="*/ 16 w 112"/>
                <a:gd name="T9" fmla="*/ 9 h 75"/>
                <a:gd name="T10" fmla="*/ 87 w 112"/>
                <a:gd name="T11" fmla="*/ 1 h 75"/>
                <a:gd name="T12" fmla="*/ 107 w 112"/>
                <a:gd name="T13" fmla="*/ 16 h 75"/>
                <a:gd name="T14" fmla="*/ 110 w 112"/>
                <a:gd name="T15" fmla="*/ 46 h 75"/>
                <a:gd name="T16" fmla="*/ 95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5" y="66"/>
                  </a:moveTo>
                  <a:cubicBezTo>
                    <a:pt x="24" y="74"/>
                    <a:pt x="24" y="74"/>
                    <a:pt x="24" y="74"/>
                  </a:cubicBezTo>
                  <a:cubicBezTo>
                    <a:pt x="14" y="75"/>
                    <a:pt x="5" y="68"/>
                    <a:pt x="4" y="58"/>
                  </a:cubicBezTo>
                  <a:cubicBezTo>
                    <a:pt x="1" y="29"/>
                    <a:pt x="1" y="29"/>
                    <a:pt x="1" y="29"/>
                  </a:cubicBezTo>
                  <a:cubicBezTo>
                    <a:pt x="0" y="19"/>
                    <a:pt x="7" y="10"/>
                    <a:pt x="16" y="9"/>
                  </a:cubicBezTo>
                  <a:cubicBezTo>
                    <a:pt x="87" y="1"/>
                    <a:pt x="87" y="1"/>
                    <a:pt x="87" y="1"/>
                  </a:cubicBezTo>
                  <a:cubicBezTo>
                    <a:pt x="97" y="0"/>
                    <a:pt x="106" y="7"/>
                    <a:pt x="107" y="16"/>
                  </a:cubicBezTo>
                  <a:cubicBezTo>
                    <a:pt x="110" y="46"/>
                    <a:pt x="110" y="46"/>
                    <a:pt x="110" y="46"/>
                  </a:cubicBezTo>
                  <a:cubicBezTo>
                    <a:pt x="112" y="56"/>
                    <a:pt x="104" y="64"/>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77" name="Freeform 18">
              <a:extLst>
                <a:ext uri="{FF2B5EF4-FFF2-40B4-BE49-F238E27FC236}">
                  <a16:creationId xmlns:a16="http://schemas.microsoft.com/office/drawing/2014/main" id="{38D996C4-0EF4-43FF-B91A-A928A1B41B7F}"/>
                </a:ext>
              </a:extLst>
            </p:cNvPr>
            <p:cNvSpPr>
              <a:spLocks/>
            </p:cNvSpPr>
            <p:nvPr/>
          </p:nvSpPr>
          <p:spPr bwMode="auto">
            <a:xfrm>
              <a:off x="5176044" y="2996406"/>
              <a:ext cx="196850" cy="131763"/>
            </a:xfrm>
            <a:custGeom>
              <a:avLst/>
              <a:gdLst>
                <a:gd name="T0" fmla="*/ 95 w 112"/>
                <a:gd name="T1" fmla="*/ 66 h 75"/>
                <a:gd name="T2" fmla="*/ 24 w 112"/>
                <a:gd name="T3" fmla="*/ 74 h 75"/>
                <a:gd name="T4" fmla="*/ 4 w 112"/>
                <a:gd name="T5" fmla="*/ 59 h 75"/>
                <a:gd name="T6" fmla="*/ 1 w 112"/>
                <a:gd name="T7" fmla="*/ 29 h 75"/>
                <a:gd name="T8" fmla="*/ 17 w 112"/>
                <a:gd name="T9" fmla="*/ 10 h 75"/>
                <a:gd name="T10" fmla="*/ 88 w 112"/>
                <a:gd name="T11" fmla="*/ 1 h 75"/>
                <a:gd name="T12" fmla="*/ 107 w 112"/>
                <a:gd name="T13" fmla="*/ 17 h 75"/>
                <a:gd name="T14" fmla="*/ 111 w 112"/>
                <a:gd name="T15" fmla="*/ 47 h 75"/>
                <a:gd name="T16" fmla="*/ 95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5" y="66"/>
                  </a:moveTo>
                  <a:cubicBezTo>
                    <a:pt x="24" y="74"/>
                    <a:pt x="24" y="74"/>
                    <a:pt x="24" y="74"/>
                  </a:cubicBezTo>
                  <a:cubicBezTo>
                    <a:pt x="14" y="75"/>
                    <a:pt x="6" y="68"/>
                    <a:pt x="4" y="59"/>
                  </a:cubicBezTo>
                  <a:cubicBezTo>
                    <a:pt x="1" y="29"/>
                    <a:pt x="1" y="29"/>
                    <a:pt x="1" y="29"/>
                  </a:cubicBezTo>
                  <a:cubicBezTo>
                    <a:pt x="0" y="19"/>
                    <a:pt x="7" y="11"/>
                    <a:pt x="17" y="10"/>
                  </a:cubicBezTo>
                  <a:cubicBezTo>
                    <a:pt x="88" y="1"/>
                    <a:pt x="88" y="1"/>
                    <a:pt x="88" y="1"/>
                  </a:cubicBezTo>
                  <a:cubicBezTo>
                    <a:pt x="97" y="0"/>
                    <a:pt x="106" y="7"/>
                    <a:pt x="107" y="17"/>
                  </a:cubicBezTo>
                  <a:cubicBezTo>
                    <a:pt x="111" y="47"/>
                    <a:pt x="111" y="47"/>
                    <a:pt x="111" y="47"/>
                  </a:cubicBezTo>
                  <a:cubicBezTo>
                    <a:pt x="112" y="56"/>
                    <a:pt x="105" y="65"/>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78" name="Freeform 19">
              <a:extLst>
                <a:ext uri="{FF2B5EF4-FFF2-40B4-BE49-F238E27FC236}">
                  <a16:creationId xmlns:a16="http://schemas.microsoft.com/office/drawing/2014/main" id="{DC972C3F-7422-437F-9FE7-EC4B64D0E80E}"/>
                </a:ext>
              </a:extLst>
            </p:cNvPr>
            <p:cNvSpPr>
              <a:spLocks/>
            </p:cNvSpPr>
            <p:nvPr/>
          </p:nvSpPr>
          <p:spPr bwMode="auto">
            <a:xfrm>
              <a:off x="4691856" y="3242469"/>
              <a:ext cx="196850" cy="131763"/>
            </a:xfrm>
            <a:custGeom>
              <a:avLst/>
              <a:gdLst>
                <a:gd name="T0" fmla="*/ 95 w 111"/>
                <a:gd name="T1" fmla="*/ 66 h 75"/>
                <a:gd name="T2" fmla="*/ 24 w 111"/>
                <a:gd name="T3" fmla="*/ 74 h 75"/>
                <a:gd name="T4" fmla="*/ 4 w 111"/>
                <a:gd name="T5" fmla="*/ 59 h 75"/>
                <a:gd name="T6" fmla="*/ 1 w 111"/>
                <a:gd name="T7" fmla="*/ 29 h 75"/>
                <a:gd name="T8" fmla="*/ 16 w 111"/>
                <a:gd name="T9" fmla="*/ 10 h 75"/>
                <a:gd name="T10" fmla="*/ 87 w 111"/>
                <a:gd name="T11" fmla="*/ 2 h 75"/>
                <a:gd name="T12" fmla="*/ 107 w 111"/>
                <a:gd name="T13" fmla="*/ 17 h 75"/>
                <a:gd name="T14" fmla="*/ 110 w 111"/>
                <a:gd name="T15" fmla="*/ 47 h 75"/>
                <a:gd name="T16" fmla="*/ 95 w 111"/>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1" h="75">
                  <a:moveTo>
                    <a:pt x="95" y="66"/>
                  </a:moveTo>
                  <a:cubicBezTo>
                    <a:pt x="24" y="74"/>
                    <a:pt x="24" y="74"/>
                    <a:pt x="24" y="74"/>
                  </a:cubicBezTo>
                  <a:cubicBezTo>
                    <a:pt x="14" y="75"/>
                    <a:pt x="5" y="68"/>
                    <a:pt x="4" y="59"/>
                  </a:cubicBezTo>
                  <a:cubicBezTo>
                    <a:pt x="1" y="29"/>
                    <a:pt x="1" y="29"/>
                    <a:pt x="1" y="29"/>
                  </a:cubicBezTo>
                  <a:cubicBezTo>
                    <a:pt x="0" y="20"/>
                    <a:pt x="7" y="11"/>
                    <a:pt x="16" y="10"/>
                  </a:cubicBezTo>
                  <a:cubicBezTo>
                    <a:pt x="87" y="2"/>
                    <a:pt x="87" y="2"/>
                    <a:pt x="87" y="2"/>
                  </a:cubicBezTo>
                  <a:cubicBezTo>
                    <a:pt x="97" y="0"/>
                    <a:pt x="106" y="7"/>
                    <a:pt x="107" y="17"/>
                  </a:cubicBezTo>
                  <a:cubicBezTo>
                    <a:pt x="110" y="47"/>
                    <a:pt x="110" y="47"/>
                    <a:pt x="110" y="47"/>
                  </a:cubicBezTo>
                  <a:cubicBezTo>
                    <a:pt x="111" y="56"/>
                    <a:pt x="104" y="65"/>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79" name="Freeform 20">
              <a:extLst>
                <a:ext uri="{FF2B5EF4-FFF2-40B4-BE49-F238E27FC236}">
                  <a16:creationId xmlns:a16="http://schemas.microsoft.com/office/drawing/2014/main" id="{A5B153AB-E6E8-40BC-8CEE-E57642214184}"/>
                </a:ext>
              </a:extLst>
            </p:cNvPr>
            <p:cNvSpPr>
              <a:spLocks/>
            </p:cNvSpPr>
            <p:nvPr/>
          </p:nvSpPr>
          <p:spPr bwMode="auto">
            <a:xfrm>
              <a:off x="4944269" y="3213894"/>
              <a:ext cx="198438" cy="133350"/>
            </a:xfrm>
            <a:custGeom>
              <a:avLst/>
              <a:gdLst>
                <a:gd name="T0" fmla="*/ 95 w 112"/>
                <a:gd name="T1" fmla="*/ 66 h 75"/>
                <a:gd name="T2" fmla="*/ 24 w 112"/>
                <a:gd name="T3" fmla="*/ 74 h 75"/>
                <a:gd name="T4" fmla="*/ 4 w 112"/>
                <a:gd name="T5" fmla="*/ 58 h 75"/>
                <a:gd name="T6" fmla="*/ 1 w 112"/>
                <a:gd name="T7" fmla="*/ 29 h 75"/>
                <a:gd name="T8" fmla="*/ 17 w 112"/>
                <a:gd name="T9" fmla="*/ 9 h 75"/>
                <a:gd name="T10" fmla="*/ 88 w 112"/>
                <a:gd name="T11" fmla="*/ 1 h 75"/>
                <a:gd name="T12" fmla="*/ 107 w 112"/>
                <a:gd name="T13" fmla="*/ 17 h 75"/>
                <a:gd name="T14" fmla="*/ 111 w 112"/>
                <a:gd name="T15" fmla="*/ 46 h 75"/>
                <a:gd name="T16" fmla="*/ 95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5" y="66"/>
                  </a:moveTo>
                  <a:cubicBezTo>
                    <a:pt x="24" y="74"/>
                    <a:pt x="24" y="74"/>
                    <a:pt x="24" y="74"/>
                  </a:cubicBezTo>
                  <a:cubicBezTo>
                    <a:pt x="14" y="75"/>
                    <a:pt x="6" y="68"/>
                    <a:pt x="4" y="58"/>
                  </a:cubicBezTo>
                  <a:cubicBezTo>
                    <a:pt x="1" y="29"/>
                    <a:pt x="1" y="29"/>
                    <a:pt x="1" y="29"/>
                  </a:cubicBezTo>
                  <a:cubicBezTo>
                    <a:pt x="0" y="19"/>
                    <a:pt x="7" y="10"/>
                    <a:pt x="17" y="9"/>
                  </a:cubicBezTo>
                  <a:cubicBezTo>
                    <a:pt x="88" y="1"/>
                    <a:pt x="88" y="1"/>
                    <a:pt x="88" y="1"/>
                  </a:cubicBezTo>
                  <a:cubicBezTo>
                    <a:pt x="97" y="0"/>
                    <a:pt x="106" y="7"/>
                    <a:pt x="107" y="17"/>
                  </a:cubicBezTo>
                  <a:cubicBezTo>
                    <a:pt x="111" y="46"/>
                    <a:pt x="111" y="46"/>
                    <a:pt x="111" y="46"/>
                  </a:cubicBezTo>
                  <a:cubicBezTo>
                    <a:pt x="112" y="56"/>
                    <a:pt x="105" y="65"/>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80" name="Freeform 21">
              <a:extLst>
                <a:ext uri="{FF2B5EF4-FFF2-40B4-BE49-F238E27FC236}">
                  <a16:creationId xmlns:a16="http://schemas.microsoft.com/office/drawing/2014/main" id="{32AE14FE-D424-4997-9AF8-216334D54983}"/>
                </a:ext>
              </a:extLst>
            </p:cNvPr>
            <p:cNvSpPr>
              <a:spLocks/>
            </p:cNvSpPr>
            <p:nvPr/>
          </p:nvSpPr>
          <p:spPr bwMode="auto">
            <a:xfrm>
              <a:off x="5196681" y="3186906"/>
              <a:ext cx="196850" cy="131763"/>
            </a:xfrm>
            <a:custGeom>
              <a:avLst/>
              <a:gdLst>
                <a:gd name="T0" fmla="*/ 95 w 112"/>
                <a:gd name="T1" fmla="*/ 66 h 75"/>
                <a:gd name="T2" fmla="*/ 24 w 112"/>
                <a:gd name="T3" fmla="*/ 74 h 75"/>
                <a:gd name="T4" fmla="*/ 5 w 112"/>
                <a:gd name="T5" fmla="*/ 58 h 75"/>
                <a:gd name="T6" fmla="*/ 1 w 112"/>
                <a:gd name="T7" fmla="*/ 29 h 75"/>
                <a:gd name="T8" fmla="*/ 17 w 112"/>
                <a:gd name="T9" fmla="*/ 9 h 75"/>
                <a:gd name="T10" fmla="*/ 88 w 112"/>
                <a:gd name="T11" fmla="*/ 1 h 75"/>
                <a:gd name="T12" fmla="*/ 108 w 112"/>
                <a:gd name="T13" fmla="*/ 16 h 75"/>
                <a:gd name="T14" fmla="*/ 111 w 112"/>
                <a:gd name="T15" fmla="*/ 46 h 75"/>
                <a:gd name="T16" fmla="*/ 95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5" y="66"/>
                  </a:moveTo>
                  <a:cubicBezTo>
                    <a:pt x="24" y="74"/>
                    <a:pt x="24" y="74"/>
                    <a:pt x="24" y="74"/>
                  </a:cubicBezTo>
                  <a:cubicBezTo>
                    <a:pt x="15" y="75"/>
                    <a:pt x="6" y="68"/>
                    <a:pt x="5" y="58"/>
                  </a:cubicBezTo>
                  <a:cubicBezTo>
                    <a:pt x="1" y="29"/>
                    <a:pt x="1" y="29"/>
                    <a:pt x="1" y="29"/>
                  </a:cubicBezTo>
                  <a:cubicBezTo>
                    <a:pt x="0" y="19"/>
                    <a:pt x="7" y="10"/>
                    <a:pt x="17" y="9"/>
                  </a:cubicBezTo>
                  <a:cubicBezTo>
                    <a:pt x="88" y="1"/>
                    <a:pt x="88" y="1"/>
                    <a:pt x="88" y="1"/>
                  </a:cubicBezTo>
                  <a:cubicBezTo>
                    <a:pt x="98" y="0"/>
                    <a:pt x="106" y="7"/>
                    <a:pt x="108" y="16"/>
                  </a:cubicBezTo>
                  <a:cubicBezTo>
                    <a:pt x="111" y="46"/>
                    <a:pt x="111" y="46"/>
                    <a:pt x="111" y="46"/>
                  </a:cubicBezTo>
                  <a:cubicBezTo>
                    <a:pt x="112" y="56"/>
                    <a:pt x="105" y="64"/>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81" name="Freeform 22">
              <a:extLst>
                <a:ext uri="{FF2B5EF4-FFF2-40B4-BE49-F238E27FC236}">
                  <a16:creationId xmlns:a16="http://schemas.microsoft.com/office/drawing/2014/main" id="{DBD8BC6C-F9D7-4A3F-830E-03E6C53C977A}"/>
                </a:ext>
              </a:extLst>
            </p:cNvPr>
            <p:cNvSpPr>
              <a:spLocks/>
            </p:cNvSpPr>
            <p:nvPr/>
          </p:nvSpPr>
          <p:spPr bwMode="auto">
            <a:xfrm>
              <a:off x="4714081" y="3432969"/>
              <a:ext cx="196850" cy="131763"/>
            </a:xfrm>
            <a:custGeom>
              <a:avLst/>
              <a:gdLst>
                <a:gd name="T0" fmla="*/ 95 w 112"/>
                <a:gd name="T1" fmla="*/ 66 h 75"/>
                <a:gd name="T2" fmla="*/ 24 w 112"/>
                <a:gd name="T3" fmla="*/ 74 h 75"/>
                <a:gd name="T4" fmla="*/ 4 w 112"/>
                <a:gd name="T5" fmla="*/ 58 h 75"/>
                <a:gd name="T6" fmla="*/ 1 w 112"/>
                <a:gd name="T7" fmla="*/ 29 h 75"/>
                <a:gd name="T8" fmla="*/ 17 w 112"/>
                <a:gd name="T9" fmla="*/ 9 h 75"/>
                <a:gd name="T10" fmla="*/ 88 w 112"/>
                <a:gd name="T11" fmla="*/ 1 h 75"/>
                <a:gd name="T12" fmla="*/ 107 w 112"/>
                <a:gd name="T13" fmla="*/ 17 h 75"/>
                <a:gd name="T14" fmla="*/ 111 w 112"/>
                <a:gd name="T15" fmla="*/ 46 h 75"/>
                <a:gd name="T16" fmla="*/ 95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5" y="66"/>
                  </a:moveTo>
                  <a:cubicBezTo>
                    <a:pt x="24" y="74"/>
                    <a:pt x="24" y="74"/>
                    <a:pt x="24" y="74"/>
                  </a:cubicBezTo>
                  <a:cubicBezTo>
                    <a:pt x="14" y="75"/>
                    <a:pt x="6" y="68"/>
                    <a:pt x="4" y="58"/>
                  </a:cubicBezTo>
                  <a:cubicBezTo>
                    <a:pt x="1" y="29"/>
                    <a:pt x="1" y="29"/>
                    <a:pt x="1" y="29"/>
                  </a:cubicBezTo>
                  <a:cubicBezTo>
                    <a:pt x="0" y="19"/>
                    <a:pt x="7" y="10"/>
                    <a:pt x="17" y="9"/>
                  </a:cubicBezTo>
                  <a:cubicBezTo>
                    <a:pt x="88" y="1"/>
                    <a:pt x="88" y="1"/>
                    <a:pt x="88" y="1"/>
                  </a:cubicBezTo>
                  <a:cubicBezTo>
                    <a:pt x="97" y="0"/>
                    <a:pt x="106" y="7"/>
                    <a:pt x="107" y="17"/>
                  </a:cubicBezTo>
                  <a:cubicBezTo>
                    <a:pt x="111" y="46"/>
                    <a:pt x="111" y="46"/>
                    <a:pt x="111" y="46"/>
                  </a:cubicBezTo>
                  <a:cubicBezTo>
                    <a:pt x="112" y="56"/>
                    <a:pt x="105" y="65"/>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82" name="Freeform 23">
              <a:extLst>
                <a:ext uri="{FF2B5EF4-FFF2-40B4-BE49-F238E27FC236}">
                  <a16:creationId xmlns:a16="http://schemas.microsoft.com/office/drawing/2014/main" id="{7DF401F6-7B70-4F0D-8229-6695C5B02026}"/>
                </a:ext>
              </a:extLst>
            </p:cNvPr>
            <p:cNvSpPr>
              <a:spLocks/>
            </p:cNvSpPr>
            <p:nvPr/>
          </p:nvSpPr>
          <p:spPr bwMode="auto">
            <a:xfrm>
              <a:off x="4966494" y="3402806"/>
              <a:ext cx="196850" cy="131763"/>
            </a:xfrm>
            <a:custGeom>
              <a:avLst/>
              <a:gdLst>
                <a:gd name="T0" fmla="*/ 95 w 112"/>
                <a:gd name="T1" fmla="*/ 66 h 75"/>
                <a:gd name="T2" fmla="*/ 24 w 112"/>
                <a:gd name="T3" fmla="*/ 74 h 75"/>
                <a:gd name="T4" fmla="*/ 5 w 112"/>
                <a:gd name="T5" fmla="*/ 59 h 75"/>
                <a:gd name="T6" fmla="*/ 1 w 112"/>
                <a:gd name="T7" fmla="*/ 29 h 75"/>
                <a:gd name="T8" fmla="*/ 17 w 112"/>
                <a:gd name="T9" fmla="*/ 10 h 75"/>
                <a:gd name="T10" fmla="*/ 88 w 112"/>
                <a:gd name="T11" fmla="*/ 2 h 75"/>
                <a:gd name="T12" fmla="*/ 108 w 112"/>
                <a:gd name="T13" fmla="*/ 17 h 75"/>
                <a:gd name="T14" fmla="*/ 111 w 112"/>
                <a:gd name="T15" fmla="*/ 47 h 75"/>
                <a:gd name="T16" fmla="*/ 95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5" y="66"/>
                  </a:moveTo>
                  <a:cubicBezTo>
                    <a:pt x="24" y="74"/>
                    <a:pt x="24" y="74"/>
                    <a:pt x="24" y="74"/>
                  </a:cubicBezTo>
                  <a:cubicBezTo>
                    <a:pt x="15" y="75"/>
                    <a:pt x="6" y="68"/>
                    <a:pt x="5" y="59"/>
                  </a:cubicBezTo>
                  <a:cubicBezTo>
                    <a:pt x="1" y="29"/>
                    <a:pt x="1" y="29"/>
                    <a:pt x="1" y="29"/>
                  </a:cubicBezTo>
                  <a:cubicBezTo>
                    <a:pt x="0" y="20"/>
                    <a:pt x="7" y="11"/>
                    <a:pt x="17" y="10"/>
                  </a:cubicBezTo>
                  <a:cubicBezTo>
                    <a:pt x="88" y="2"/>
                    <a:pt x="88" y="2"/>
                    <a:pt x="88" y="2"/>
                  </a:cubicBezTo>
                  <a:cubicBezTo>
                    <a:pt x="98" y="0"/>
                    <a:pt x="106" y="7"/>
                    <a:pt x="108" y="17"/>
                  </a:cubicBezTo>
                  <a:cubicBezTo>
                    <a:pt x="111" y="47"/>
                    <a:pt x="111" y="47"/>
                    <a:pt x="111" y="47"/>
                  </a:cubicBezTo>
                  <a:cubicBezTo>
                    <a:pt x="112" y="56"/>
                    <a:pt x="105" y="65"/>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83" name="Freeform 24">
              <a:extLst>
                <a:ext uri="{FF2B5EF4-FFF2-40B4-BE49-F238E27FC236}">
                  <a16:creationId xmlns:a16="http://schemas.microsoft.com/office/drawing/2014/main" id="{F36D0758-9814-4FC8-880D-2FECB06177B8}"/>
                </a:ext>
              </a:extLst>
            </p:cNvPr>
            <p:cNvSpPr>
              <a:spLocks/>
            </p:cNvSpPr>
            <p:nvPr/>
          </p:nvSpPr>
          <p:spPr bwMode="auto">
            <a:xfrm>
              <a:off x="5220494" y="3374231"/>
              <a:ext cx="195263" cy="133350"/>
            </a:xfrm>
            <a:custGeom>
              <a:avLst/>
              <a:gdLst>
                <a:gd name="T0" fmla="*/ 95 w 111"/>
                <a:gd name="T1" fmla="*/ 66 h 75"/>
                <a:gd name="T2" fmla="*/ 24 w 111"/>
                <a:gd name="T3" fmla="*/ 74 h 75"/>
                <a:gd name="T4" fmla="*/ 4 w 111"/>
                <a:gd name="T5" fmla="*/ 58 h 75"/>
                <a:gd name="T6" fmla="*/ 1 w 111"/>
                <a:gd name="T7" fmla="*/ 29 h 75"/>
                <a:gd name="T8" fmla="*/ 16 w 111"/>
                <a:gd name="T9" fmla="*/ 9 h 75"/>
                <a:gd name="T10" fmla="*/ 87 w 111"/>
                <a:gd name="T11" fmla="*/ 1 h 75"/>
                <a:gd name="T12" fmla="*/ 107 w 111"/>
                <a:gd name="T13" fmla="*/ 17 h 75"/>
                <a:gd name="T14" fmla="*/ 110 w 111"/>
                <a:gd name="T15" fmla="*/ 46 h 75"/>
                <a:gd name="T16" fmla="*/ 95 w 111"/>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1" h="75">
                  <a:moveTo>
                    <a:pt x="95" y="66"/>
                  </a:moveTo>
                  <a:cubicBezTo>
                    <a:pt x="24" y="74"/>
                    <a:pt x="24" y="74"/>
                    <a:pt x="24" y="74"/>
                  </a:cubicBezTo>
                  <a:cubicBezTo>
                    <a:pt x="14" y="75"/>
                    <a:pt x="5" y="68"/>
                    <a:pt x="4" y="58"/>
                  </a:cubicBezTo>
                  <a:cubicBezTo>
                    <a:pt x="1" y="29"/>
                    <a:pt x="1" y="29"/>
                    <a:pt x="1" y="29"/>
                  </a:cubicBezTo>
                  <a:cubicBezTo>
                    <a:pt x="0" y="19"/>
                    <a:pt x="7" y="10"/>
                    <a:pt x="16" y="9"/>
                  </a:cubicBezTo>
                  <a:cubicBezTo>
                    <a:pt x="87" y="1"/>
                    <a:pt x="87" y="1"/>
                    <a:pt x="87" y="1"/>
                  </a:cubicBezTo>
                  <a:cubicBezTo>
                    <a:pt x="97" y="0"/>
                    <a:pt x="106" y="7"/>
                    <a:pt x="107" y="17"/>
                  </a:cubicBezTo>
                  <a:cubicBezTo>
                    <a:pt x="110" y="46"/>
                    <a:pt x="110" y="46"/>
                    <a:pt x="110" y="46"/>
                  </a:cubicBezTo>
                  <a:cubicBezTo>
                    <a:pt x="111" y="56"/>
                    <a:pt x="104" y="65"/>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84" name="Freeform 25">
              <a:extLst>
                <a:ext uri="{FF2B5EF4-FFF2-40B4-BE49-F238E27FC236}">
                  <a16:creationId xmlns:a16="http://schemas.microsoft.com/office/drawing/2014/main" id="{5670EFE0-D64F-488D-B7D9-58866893B5A5}"/>
                </a:ext>
              </a:extLst>
            </p:cNvPr>
            <p:cNvSpPr>
              <a:spLocks/>
            </p:cNvSpPr>
            <p:nvPr/>
          </p:nvSpPr>
          <p:spPr bwMode="auto">
            <a:xfrm>
              <a:off x="4734719" y="3621881"/>
              <a:ext cx="196850" cy="131763"/>
            </a:xfrm>
            <a:custGeom>
              <a:avLst/>
              <a:gdLst>
                <a:gd name="T0" fmla="*/ 95 w 112"/>
                <a:gd name="T1" fmla="*/ 66 h 75"/>
                <a:gd name="T2" fmla="*/ 24 w 112"/>
                <a:gd name="T3" fmla="*/ 74 h 75"/>
                <a:gd name="T4" fmla="*/ 5 w 112"/>
                <a:gd name="T5" fmla="*/ 58 h 75"/>
                <a:gd name="T6" fmla="*/ 1 w 112"/>
                <a:gd name="T7" fmla="*/ 29 h 75"/>
                <a:gd name="T8" fmla="*/ 17 w 112"/>
                <a:gd name="T9" fmla="*/ 9 h 75"/>
                <a:gd name="T10" fmla="*/ 88 w 112"/>
                <a:gd name="T11" fmla="*/ 1 h 75"/>
                <a:gd name="T12" fmla="*/ 108 w 112"/>
                <a:gd name="T13" fmla="*/ 17 h 75"/>
                <a:gd name="T14" fmla="*/ 111 w 112"/>
                <a:gd name="T15" fmla="*/ 46 h 75"/>
                <a:gd name="T16" fmla="*/ 95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5" y="66"/>
                  </a:moveTo>
                  <a:cubicBezTo>
                    <a:pt x="24" y="74"/>
                    <a:pt x="24" y="74"/>
                    <a:pt x="24" y="74"/>
                  </a:cubicBezTo>
                  <a:cubicBezTo>
                    <a:pt x="15" y="75"/>
                    <a:pt x="6" y="68"/>
                    <a:pt x="5" y="58"/>
                  </a:cubicBezTo>
                  <a:cubicBezTo>
                    <a:pt x="1" y="29"/>
                    <a:pt x="1" y="29"/>
                    <a:pt x="1" y="29"/>
                  </a:cubicBezTo>
                  <a:cubicBezTo>
                    <a:pt x="0" y="19"/>
                    <a:pt x="7" y="10"/>
                    <a:pt x="17" y="9"/>
                  </a:cubicBezTo>
                  <a:cubicBezTo>
                    <a:pt x="88" y="1"/>
                    <a:pt x="88" y="1"/>
                    <a:pt x="88" y="1"/>
                  </a:cubicBezTo>
                  <a:cubicBezTo>
                    <a:pt x="98" y="0"/>
                    <a:pt x="106" y="7"/>
                    <a:pt x="108" y="17"/>
                  </a:cubicBezTo>
                  <a:cubicBezTo>
                    <a:pt x="111" y="46"/>
                    <a:pt x="111" y="46"/>
                    <a:pt x="111" y="46"/>
                  </a:cubicBezTo>
                  <a:cubicBezTo>
                    <a:pt x="112" y="56"/>
                    <a:pt x="105" y="65"/>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85" name="Freeform 26">
              <a:extLst>
                <a:ext uri="{FF2B5EF4-FFF2-40B4-BE49-F238E27FC236}">
                  <a16:creationId xmlns:a16="http://schemas.microsoft.com/office/drawing/2014/main" id="{829A05B5-C429-410F-B578-BAF65FCF4915}"/>
                </a:ext>
              </a:extLst>
            </p:cNvPr>
            <p:cNvSpPr>
              <a:spLocks/>
            </p:cNvSpPr>
            <p:nvPr/>
          </p:nvSpPr>
          <p:spPr bwMode="auto">
            <a:xfrm>
              <a:off x="4987131" y="3593306"/>
              <a:ext cx="196850" cy="131763"/>
            </a:xfrm>
            <a:custGeom>
              <a:avLst/>
              <a:gdLst>
                <a:gd name="T0" fmla="*/ 96 w 112"/>
                <a:gd name="T1" fmla="*/ 66 h 75"/>
                <a:gd name="T2" fmla="*/ 25 w 112"/>
                <a:gd name="T3" fmla="*/ 74 h 75"/>
                <a:gd name="T4" fmla="*/ 5 w 112"/>
                <a:gd name="T5" fmla="*/ 58 h 75"/>
                <a:gd name="T6" fmla="*/ 2 w 112"/>
                <a:gd name="T7" fmla="*/ 29 h 75"/>
                <a:gd name="T8" fmla="*/ 17 w 112"/>
                <a:gd name="T9" fmla="*/ 9 h 75"/>
                <a:gd name="T10" fmla="*/ 88 w 112"/>
                <a:gd name="T11" fmla="*/ 1 h 75"/>
                <a:gd name="T12" fmla="*/ 108 w 112"/>
                <a:gd name="T13" fmla="*/ 16 h 75"/>
                <a:gd name="T14" fmla="*/ 111 w 112"/>
                <a:gd name="T15" fmla="*/ 46 h 75"/>
                <a:gd name="T16" fmla="*/ 96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6" y="66"/>
                  </a:moveTo>
                  <a:cubicBezTo>
                    <a:pt x="25" y="74"/>
                    <a:pt x="25" y="74"/>
                    <a:pt x="25" y="74"/>
                  </a:cubicBezTo>
                  <a:cubicBezTo>
                    <a:pt x="15" y="75"/>
                    <a:pt x="6" y="68"/>
                    <a:pt x="5" y="58"/>
                  </a:cubicBezTo>
                  <a:cubicBezTo>
                    <a:pt x="2" y="29"/>
                    <a:pt x="2" y="29"/>
                    <a:pt x="2" y="29"/>
                  </a:cubicBezTo>
                  <a:cubicBezTo>
                    <a:pt x="0" y="19"/>
                    <a:pt x="7" y="10"/>
                    <a:pt x="17" y="9"/>
                  </a:cubicBezTo>
                  <a:cubicBezTo>
                    <a:pt x="88" y="1"/>
                    <a:pt x="88" y="1"/>
                    <a:pt x="88" y="1"/>
                  </a:cubicBezTo>
                  <a:cubicBezTo>
                    <a:pt x="98" y="0"/>
                    <a:pt x="107" y="7"/>
                    <a:pt x="108" y="16"/>
                  </a:cubicBezTo>
                  <a:cubicBezTo>
                    <a:pt x="111" y="46"/>
                    <a:pt x="111" y="46"/>
                    <a:pt x="111" y="46"/>
                  </a:cubicBezTo>
                  <a:cubicBezTo>
                    <a:pt x="112" y="56"/>
                    <a:pt x="105" y="64"/>
                    <a:pt x="96"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86" name="Freeform 27">
              <a:extLst>
                <a:ext uri="{FF2B5EF4-FFF2-40B4-BE49-F238E27FC236}">
                  <a16:creationId xmlns:a16="http://schemas.microsoft.com/office/drawing/2014/main" id="{373F1C6A-644A-401D-BC3E-7469ED12A724}"/>
                </a:ext>
              </a:extLst>
            </p:cNvPr>
            <p:cNvSpPr>
              <a:spLocks/>
            </p:cNvSpPr>
            <p:nvPr/>
          </p:nvSpPr>
          <p:spPr bwMode="auto">
            <a:xfrm>
              <a:off x="5241131" y="3563144"/>
              <a:ext cx="196850" cy="133350"/>
            </a:xfrm>
            <a:custGeom>
              <a:avLst/>
              <a:gdLst>
                <a:gd name="T0" fmla="*/ 95 w 112"/>
                <a:gd name="T1" fmla="*/ 66 h 75"/>
                <a:gd name="T2" fmla="*/ 24 w 112"/>
                <a:gd name="T3" fmla="*/ 74 h 75"/>
                <a:gd name="T4" fmla="*/ 4 w 112"/>
                <a:gd name="T5" fmla="*/ 59 h 75"/>
                <a:gd name="T6" fmla="*/ 1 w 112"/>
                <a:gd name="T7" fmla="*/ 29 h 75"/>
                <a:gd name="T8" fmla="*/ 17 w 112"/>
                <a:gd name="T9" fmla="*/ 10 h 75"/>
                <a:gd name="T10" fmla="*/ 87 w 112"/>
                <a:gd name="T11" fmla="*/ 1 h 75"/>
                <a:gd name="T12" fmla="*/ 107 w 112"/>
                <a:gd name="T13" fmla="*/ 17 h 75"/>
                <a:gd name="T14" fmla="*/ 110 w 112"/>
                <a:gd name="T15" fmla="*/ 47 h 75"/>
                <a:gd name="T16" fmla="*/ 95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5" y="66"/>
                  </a:moveTo>
                  <a:cubicBezTo>
                    <a:pt x="24" y="74"/>
                    <a:pt x="24" y="74"/>
                    <a:pt x="24" y="74"/>
                  </a:cubicBezTo>
                  <a:cubicBezTo>
                    <a:pt x="14" y="75"/>
                    <a:pt x="5" y="68"/>
                    <a:pt x="4" y="59"/>
                  </a:cubicBezTo>
                  <a:cubicBezTo>
                    <a:pt x="1" y="29"/>
                    <a:pt x="1" y="29"/>
                    <a:pt x="1" y="29"/>
                  </a:cubicBezTo>
                  <a:cubicBezTo>
                    <a:pt x="0" y="20"/>
                    <a:pt x="7" y="11"/>
                    <a:pt x="17" y="10"/>
                  </a:cubicBezTo>
                  <a:cubicBezTo>
                    <a:pt x="87" y="1"/>
                    <a:pt x="87" y="1"/>
                    <a:pt x="87" y="1"/>
                  </a:cubicBezTo>
                  <a:cubicBezTo>
                    <a:pt x="97" y="0"/>
                    <a:pt x="106" y="7"/>
                    <a:pt x="107" y="17"/>
                  </a:cubicBezTo>
                  <a:cubicBezTo>
                    <a:pt x="110" y="47"/>
                    <a:pt x="110" y="47"/>
                    <a:pt x="110" y="47"/>
                  </a:cubicBezTo>
                  <a:cubicBezTo>
                    <a:pt x="112" y="56"/>
                    <a:pt x="105" y="65"/>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87" name="Freeform 28">
              <a:extLst>
                <a:ext uri="{FF2B5EF4-FFF2-40B4-BE49-F238E27FC236}">
                  <a16:creationId xmlns:a16="http://schemas.microsoft.com/office/drawing/2014/main" id="{7AC46396-CE16-47F5-96C0-987541CF761D}"/>
                </a:ext>
              </a:extLst>
            </p:cNvPr>
            <p:cNvSpPr>
              <a:spLocks/>
            </p:cNvSpPr>
            <p:nvPr/>
          </p:nvSpPr>
          <p:spPr bwMode="auto">
            <a:xfrm>
              <a:off x="5865019" y="3144044"/>
              <a:ext cx="652463" cy="684213"/>
            </a:xfrm>
            <a:custGeom>
              <a:avLst/>
              <a:gdLst>
                <a:gd name="T0" fmla="*/ 363 w 370"/>
                <a:gd name="T1" fmla="*/ 265 h 388"/>
                <a:gd name="T2" fmla="*/ 355 w 370"/>
                <a:gd name="T3" fmla="*/ 256 h 388"/>
                <a:gd name="T4" fmla="*/ 355 w 370"/>
                <a:gd name="T5" fmla="*/ 256 h 388"/>
                <a:gd name="T6" fmla="*/ 148 w 370"/>
                <a:gd name="T7" fmla="*/ 21 h 388"/>
                <a:gd name="T8" fmla="*/ 137 w 370"/>
                <a:gd name="T9" fmla="*/ 9 h 388"/>
                <a:gd name="T10" fmla="*/ 110 w 370"/>
                <a:gd name="T11" fmla="*/ 7 h 388"/>
                <a:gd name="T12" fmla="*/ 12 w 370"/>
                <a:gd name="T13" fmla="*/ 93 h 388"/>
                <a:gd name="T14" fmla="*/ 12 w 370"/>
                <a:gd name="T15" fmla="*/ 93 h 388"/>
                <a:gd name="T16" fmla="*/ 10 w 370"/>
                <a:gd name="T17" fmla="*/ 95 h 388"/>
                <a:gd name="T18" fmla="*/ 8 w 370"/>
                <a:gd name="T19" fmla="*/ 125 h 388"/>
                <a:gd name="T20" fmla="*/ 18 w 370"/>
                <a:gd name="T21" fmla="*/ 136 h 388"/>
                <a:gd name="T22" fmla="*/ 18 w 370"/>
                <a:gd name="T23" fmla="*/ 136 h 388"/>
                <a:gd name="T24" fmla="*/ 224 w 370"/>
                <a:gd name="T25" fmla="*/ 371 h 388"/>
                <a:gd name="T26" fmla="*/ 224 w 370"/>
                <a:gd name="T27" fmla="*/ 371 h 388"/>
                <a:gd name="T28" fmla="*/ 231 w 370"/>
                <a:gd name="T29" fmla="*/ 379 h 388"/>
                <a:gd name="T30" fmla="*/ 261 w 370"/>
                <a:gd name="T31" fmla="*/ 380 h 388"/>
                <a:gd name="T32" fmla="*/ 263 w 370"/>
                <a:gd name="T33" fmla="*/ 379 h 388"/>
                <a:gd name="T34" fmla="*/ 263 w 370"/>
                <a:gd name="T35" fmla="*/ 379 h 388"/>
                <a:gd name="T36" fmla="*/ 361 w 370"/>
                <a:gd name="T37" fmla="*/ 292 h 388"/>
                <a:gd name="T38" fmla="*/ 363 w 370"/>
                <a:gd name="T39" fmla="*/ 265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70" h="388">
                  <a:moveTo>
                    <a:pt x="363" y="265"/>
                  </a:moveTo>
                  <a:cubicBezTo>
                    <a:pt x="355" y="256"/>
                    <a:pt x="355" y="256"/>
                    <a:pt x="355" y="256"/>
                  </a:cubicBezTo>
                  <a:cubicBezTo>
                    <a:pt x="355" y="256"/>
                    <a:pt x="355" y="256"/>
                    <a:pt x="355" y="256"/>
                  </a:cubicBezTo>
                  <a:cubicBezTo>
                    <a:pt x="148" y="21"/>
                    <a:pt x="148" y="21"/>
                    <a:pt x="148" y="21"/>
                  </a:cubicBezTo>
                  <a:cubicBezTo>
                    <a:pt x="137" y="9"/>
                    <a:pt x="137" y="9"/>
                    <a:pt x="137" y="9"/>
                  </a:cubicBezTo>
                  <a:cubicBezTo>
                    <a:pt x="130" y="1"/>
                    <a:pt x="118" y="0"/>
                    <a:pt x="110" y="7"/>
                  </a:cubicBezTo>
                  <a:cubicBezTo>
                    <a:pt x="12" y="93"/>
                    <a:pt x="12" y="93"/>
                    <a:pt x="12" y="93"/>
                  </a:cubicBezTo>
                  <a:cubicBezTo>
                    <a:pt x="12" y="93"/>
                    <a:pt x="12" y="93"/>
                    <a:pt x="12" y="93"/>
                  </a:cubicBezTo>
                  <a:cubicBezTo>
                    <a:pt x="10" y="95"/>
                    <a:pt x="10" y="95"/>
                    <a:pt x="10" y="95"/>
                  </a:cubicBezTo>
                  <a:cubicBezTo>
                    <a:pt x="1" y="103"/>
                    <a:pt x="0" y="116"/>
                    <a:pt x="8" y="125"/>
                  </a:cubicBezTo>
                  <a:cubicBezTo>
                    <a:pt x="18" y="136"/>
                    <a:pt x="18" y="136"/>
                    <a:pt x="18" y="136"/>
                  </a:cubicBezTo>
                  <a:cubicBezTo>
                    <a:pt x="18" y="136"/>
                    <a:pt x="18" y="136"/>
                    <a:pt x="18" y="136"/>
                  </a:cubicBezTo>
                  <a:cubicBezTo>
                    <a:pt x="224" y="371"/>
                    <a:pt x="224" y="371"/>
                    <a:pt x="224" y="371"/>
                  </a:cubicBezTo>
                  <a:cubicBezTo>
                    <a:pt x="224" y="371"/>
                    <a:pt x="224" y="371"/>
                    <a:pt x="224" y="371"/>
                  </a:cubicBezTo>
                  <a:cubicBezTo>
                    <a:pt x="231" y="379"/>
                    <a:pt x="231" y="379"/>
                    <a:pt x="231" y="379"/>
                  </a:cubicBezTo>
                  <a:cubicBezTo>
                    <a:pt x="239" y="387"/>
                    <a:pt x="252" y="388"/>
                    <a:pt x="261" y="380"/>
                  </a:cubicBezTo>
                  <a:cubicBezTo>
                    <a:pt x="263" y="379"/>
                    <a:pt x="263" y="379"/>
                    <a:pt x="263" y="379"/>
                  </a:cubicBezTo>
                  <a:cubicBezTo>
                    <a:pt x="263" y="379"/>
                    <a:pt x="263" y="379"/>
                    <a:pt x="263" y="379"/>
                  </a:cubicBezTo>
                  <a:cubicBezTo>
                    <a:pt x="361" y="292"/>
                    <a:pt x="361" y="292"/>
                    <a:pt x="361" y="292"/>
                  </a:cubicBezTo>
                  <a:cubicBezTo>
                    <a:pt x="369" y="285"/>
                    <a:pt x="370" y="273"/>
                    <a:pt x="363" y="265"/>
                  </a:cubicBezTo>
                  <a:close/>
                </a:path>
              </a:pathLst>
            </a:custGeom>
            <a:solidFill>
              <a:srgbClr val="424242">
                <a:alpha val="20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88" name="Freeform 29">
              <a:extLst>
                <a:ext uri="{FF2B5EF4-FFF2-40B4-BE49-F238E27FC236}">
                  <a16:creationId xmlns:a16="http://schemas.microsoft.com/office/drawing/2014/main" id="{56A6A981-3811-43D7-ADF1-598DCFE769F1}"/>
                </a:ext>
              </a:extLst>
            </p:cNvPr>
            <p:cNvSpPr>
              <a:spLocks/>
            </p:cNvSpPr>
            <p:nvPr/>
          </p:nvSpPr>
          <p:spPr bwMode="auto">
            <a:xfrm>
              <a:off x="5879306" y="3101181"/>
              <a:ext cx="650875" cy="684213"/>
            </a:xfrm>
            <a:custGeom>
              <a:avLst/>
              <a:gdLst>
                <a:gd name="T0" fmla="*/ 360 w 369"/>
                <a:gd name="T1" fmla="*/ 293 h 388"/>
                <a:gd name="T2" fmla="*/ 261 w 369"/>
                <a:gd name="T3" fmla="*/ 380 h 388"/>
                <a:gd name="T4" fmla="*/ 231 w 369"/>
                <a:gd name="T5" fmla="*/ 379 h 388"/>
                <a:gd name="T6" fmla="*/ 8 w 369"/>
                <a:gd name="T7" fmla="*/ 125 h 388"/>
                <a:gd name="T8" fmla="*/ 10 w 369"/>
                <a:gd name="T9" fmla="*/ 95 h 388"/>
                <a:gd name="T10" fmla="*/ 109 w 369"/>
                <a:gd name="T11" fmla="*/ 8 h 388"/>
                <a:gd name="T12" fmla="*/ 138 w 369"/>
                <a:gd name="T13" fmla="*/ 10 h 388"/>
                <a:gd name="T14" fmla="*/ 361 w 369"/>
                <a:gd name="T15" fmla="*/ 264 h 388"/>
                <a:gd name="T16" fmla="*/ 360 w 369"/>
                <a:gd name="T17" fmla="*/ 293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9" h="388">
                  <a:moveTo>
                    <a:pt x="360" y="293"/>
                  </a:moveTo>
                  <a:cubicBezTo>
                    <a:pt x="261" y="380"/>
                    <a:pt x="261" y="380"/>
                    <a:pt x="261" y="380"/>
                  </a:cubicBezTo>
                  <a:cubicBezTo>
                    <a:pt x="252" y="388"/>
                    <a:pt x="239" y="387"/>
                    <a:pt x="231" y="379"/>
                  </a:cubicBezTo>
                  <a:cubicBezTo>
                    <a:pt x="8" y="125"/>
                    <a:pt x="8" y="125"/>
                    <a:pt x="8" y="125"/>
                  </a:cubicBezTo>
                  <a:cubicBezTo>
                    <a:pt x="0" y="116"/>
                    <a:pt x="1" y="103"/>
                    <a:pt x="10" y="95"/>
                  </a:cubicBezTo>
                  <a:cubicBezTo>
                    <a:pt x="109" y="8"/>
                    <a:pt x="109" y="8"/>
                    <a:pt x="109" y="8"/>
                  </a:cubicBezTo>
                  <a:cubicBezTo>
                    <a:pt x="117" y="0"/>
                    <a:pt x="131" y="1"/>
                    <a:pt x="138" y="10"/>
                  </a:cubicBezTo>
                  <a:cubicBezTo>
                    <a:pt x="361" y="264"/>
                    <a:pt x="361" y="264"/>
                    <a:pt x="361" y="264"/>
                  </a:cubicBezTo>
                  <a:cubicBezTo>
                    <a:pt x="369" y="272"/>
                    <a:pt x="368" y="286"/>
                    <a:pt x="360" y="293"/>
                  </a:cubicBezTo>
                  <a:close/>
                </a:path>
              </a:pathLst>
            </a:custGeom>
            <a:solidFill>
              <a:srgbClr val="376790"/>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89" name="Freeform 30">
              <a:extLst>
                <a:ext uri="{FF2B5EF4-FFF2-40B4-BE49-F238E27FC236}">
                  <a16:creationId xmlns:a16="http://schemas.microsoft.com/office/drawing/2014/main" id="{6864E0CE-B21D-4CCC-BB88-6BC15FF897E8}"/>
                </a:ext>
              </a:extLst>
            </p:cNvPr>
            <p:cNvSpPr>
              <a:spLocks/>
            </p:cNvSpPr>
            <p:nvPr/>
          </p:nvSpPr>
          <p:spPr bwMode="auto">
            <a:xfrm>
              <a:off x="5911056" y="3139281"/>
              <a:ext cx="593725" cy="615950"/>
            </a:xfrm>
            <a:custGeom>
              <a:avLst/>
              <a:gdLst>
                <a:gd name="T0" fmla="*/ 374 w 374"/>
                <a:gd name="T1" fmla="*/ 261 h 388"/>
                <a:gd name="T2" fmla="*/ 229 w 374"/>
                <a:gd name="T3" fmla="*/ 388 h 388"/>
                <a:gd name="T4" fmla="*/ 0 w 374"/>
                <a:gd name="T5" fmla="*/ 127 h 388"/>
                <a:gd name="T6" fmla="*/ 144 w 374"/>
                <a:gd name="T7" fmla="*/ 0 h 388"/>
                <a:gd name="T8" fmla="*/ 374 w 374"/>
                <a:gd name="T9" fmla="*/ 261 h 388"/>
              </a:gdLst>
              <a:ahLst/>
              <a:cxnLst>
                <a:cxn ang="0">
                  <a:pos x="T0" y="T1"/>
                </a:cxn>
                <a:cxn ang="0">
                  <a:pos x="T2" y="T3"/>
                </a:cxn>
                <a:cxn ang="0">
                  <a:pos x="T4" y="T5"/>
                </a:cxn>
                <a:cxn ang="0">
                  <a:pos x="T6" y="T7"/>
                </a:cxn>
                <a:cxn ang="0">
                  <a:pos x="T8" y="T9"/>
                </a:cxn>
              </a:cxnLst>
              <a:rect l="0" t="0" r="r" b="b"/>
              <a:pathLst>
                <a:path w="374" h="388">
                  <a:moveTo>
                    <a:pt x="374" y="261"/>
                  </a:moveTo>
                  <a:lnTo>
                    <a:pt x="229" y="388"/>
                  </a:lnTo>
                  <a:lnTo>
                    <a:pt x="0" y="127"/>
                  </a:lnTo>
                  <a:lnTo>
                    <a:pt x="144" y="0"/>
                  </a:lnTo>
                  <a:lnTo>
                    <a:pt x="374" y="261"/>
                  </a:lnTo>
                  <a:close/>
                </a:path>
              </a:pathLst>
            </a:custGeom>
            <a:solidFill>
              <a:srgbClr val="353B61"/>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90" name="Freeform 31">
              <a:extLst>
                <a:ext uri="{FF2B5EF4-FFF2-40B4-BE49-F238E27FC236}">
                  <a16:creationId xmlns:a16="http://schemas.microsoft.com/office/drawing/2014/main" id="{1B57800A-65CA-4F15-B87D-D4B27A1896BE}"/>
                </a:ext>
              </a:extLst>
            </p:cNvPr>
            <p:cNvSpPr>
              <a:spLocks/>
            </p:cNvSpPr>
            <p:nvPr/>
          </p:nvSpPr>
          <p:spPr bwMode="auto">
            <a:xfrm>
              <a:off x="5911056" y="3139281"/>
              <a:ext cx="495300" cy="504825"/>
            </a:xfrm>
            <a:custGeom>
              <a:avLst/>
              <a:gdLst>
                <a:gd name="T0" fmla="*/ 312 w 312"/>
                <a:gd name="T1" fmla="*/ 191 h 318"/>
                <a:gd name="T2" fmla="*/ 168 w 312"/>
                <a:gd name="T3" fmla="*/ 318 h 318"/>
                <a:gd name="T4" fmla="*/ 0 w 312"/>
                <a:gd name="T5" fmla="*/ 127 h 318"/>
                <a:gd name="T6" fmla="*/ 144 w 312"/>
                <a:gd name="T7" fmla="*/ 0 h 318"/>
                <a:gd name="T8" fmla="*/ 312 w 312"/>
                <a:gd name="T9" fmla="*/ 191 h 318"/>
              </a:gdLst>
              <a:ahLst/>
              <a:cxnLst>
                <a:cxn ang="0">
                  <a:pos x="T0" y="T1"/>
                </a:cxn>
                <a:cxn ang="0">
                  <a:pos x="T2" y="T3"/>
                </a:cxn>
                <a:cxn ang="0">
                  <a:pos x="T4" y="T5"/>
                </a:cxn>
                <a:cxn ang="0">
                  <a:pos x="T6" y="T7"/>
                </a:cxn>
                <a:cxn ang="0">
                  <a:pos x="T8" y="T9"/>
                </a:cxn>
              </a:cxnLst>
              <a:rect l="0" t="0" r="r" b="b"/>
              <a:pathLst>
                <a:path w="312" h="318">
                  <a:moveTo>
                    <a:pt x="312" y="191"/>
                  </a:moveTo>
                  <a:lnTo>
                    <a:pt x="168" y="318"/>
                  </a:lnTo>
                  <a:lnTo>
                    <a:pt x="0" y="127"/>
                  </a:lnTo>
                  <a:lnTo>
                    <a:pt x="144" y="0"/>
                  </a:lnTo>
                  <a:lnTo>
                    <a:pt x="312" y="191"/>
                  </a:lnTo>
                  <a:close/>
                </a:path>
              </a:pathLst>
            </a:custGeom>
            <a:solidFill>
              <a:srgbClr val="92406C"/>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91" name="Freeform 32">
              <a:extLst>
                <a:ext uri="{FF2B5EF4-FFF2-40B4-BE49-F238E27FC236}">
                  <a16:creationId xmlns:a16="http://schemas.microsoft.com/office/drawing/2014/main" id="{F5956D7F-7C57-4B17-886E-E9B3E8B9EAA4}"/>
                </a:ext>
              </a:extLst>
            </p:cNvPr>
            <p:cNvSpPr>
              <a:spLocks/>
            </p:cNvSpPr>
            <p:nvPr/>
          </p:nvSpPr>
          <p:spPr bwMode="auto">
            <a:xfrm>
              <a:off x="5899944" y="3101181"/>
              <a:ext cx="631825" cy="668338"/>
            </a:xfrm>
            <a:custGeom>
              <a:avLst/>
              <a:gdLst>
                <a:gd name="T0" fmla="*/ 349 w 358"/>
                <a:gd name="T1" fmla="*/ 292 h 379"/>
                <a:gd name="T2" fmla="*/ 251 w 358"/>
                <a:gd name="T3" fmla="*/ 379 h 379"/>
                <a:gd name="T4" fmla="*/ 0 w 358"/>
                <a:gd name="T5" fmla="*/ 93 h 379"/>
                <a:gd name="T6" fmla="*/ 98 w 358"/>
                <a:gd name="T7" fmla="*/ 7 h 379"/>
                <a:gd name="T8" fmla="*/ 125 w 358"/>
                <a:gd name="T9" fmla="*/ 9 h 379"/>
                <a:gd name="T10" fmla="*/ 351 w 358"/>
                <a:gd name="T11" fmla="*/ 265 h 379"/>
                <a:gd name="T12" fmla="*/ 349 w 358"/>
                <a:gd name="T13" fmla="*/ 292 h 379"/>
              </a:gdLst>
              <a:ahLst/>
              <a:cxnLst>
                <a:cxn ang="0">
                  <a:pos x="T0" y="T1"/>
                </a:cxn>
                <a:cxn ang="0">
                  <a:pos x="T2" y="T3"/>
                </a:cxn>
                <a:cxn ang="0">
                  <a:pos x="T4" y="T5"/>
                </a:cxn>
                <a:cxn ang="0">
                  <a:pos x="T6" y="T7"/>
                </a:cxn>
                <a:cxn ang="0">
                  <a:pos x="T8" y="T9"/>
                </a:cxn>
                <a:cxn ang="0">
                  <a:pos x="T10" y="T11"/>
                </a:cxn>
                <a:cxn ang="0">
                  <a:pos x="T12" y="T13"/>
                </a:cxn>
              </a:cxnLst>
              <a:rect l="0" t="0" r="r" b="b"/>
              <a:pathLst>
                <a:path w="358" h="379">
                  <a:moveTo>
                    <a:pt x="349" y="292"/>
                  </a:moveTo>
                  <a:cubicBezTo>
                    <a:pt x="251" y="379"/>
                    <a:pt x="251" y="379"/>
                    <a:pt x="251" y="379"/>
                  </a:cubicBezTo>
                  <a:cubicBezTo>
                    <a:pt x="0" y="93"/>
                    <a:pt x="0" y="93"/>
                    <a:pt x="0" y="93"/>
                  </a:cubicBezTo>
                  <a:cubicBezTo>
                    <a:pt x="98" y="7"/>
                    <a:pt x="98" y="7"/>
                    <a:pt x="98" y="7"/>
                  </a:cubicBezTo>
                  <a:cubicBezTo>
                    <a:pt x="106" y="0"/>
                    <a:pt x="118" y="1"/>
                    <a:pt x="125" y="9"/>
                  </a:cubicBezTo>
                  <a:cubicBezTo>
                    <a:pt x="351" y="265"/>
                    <a:pt x="351" y="265"/>
                    <a:pt x="351" y="265"/>
                  </a:cubicBezTo>
                  <a:cubicBezTo>
                    <a:pt x="358" y="273"/>
                    <a:pt x="357" y="285"/>
                    <a:pt x="349" y="292"/>
                  </a:cubicBezTo>
                  <a:close/>
                </a:path>
              </a:pathLst>
            </a:custGeom>
            <a:noFill/>
            <a:ln w="6350" cap="flat">
              <a:solidFill>
                <a:srgbClr val="1E1D1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92" name="Freeform 33">
              <a:extLst>
                <a:ext uri="{FF2B5EF4-FFF2-40B4-BE49-F238E27FC236}">
                  <a16:creationId xmlns:a16="http://schemas.microsoft.com/office/drawing/2014/main" id="{B4FB8746-B3DD-4C5A-B4AD-533B4FD4C76A}"/>
                </a:ext>
              </a:extLst>
            </p:cNvPr>
            <p:cNvSpPr>
              <a:spLocks/>
            </p:cNvSpPr>
            <p:nvPr/>
          </p:nvSpPr>
          <p:spPr bwMode="auto">
            <a:xfrm>
              <a:off x="5899944" y="3101181"/>
              <a:ext cx="239713" cy="212725"/>
            </a:xfrm>
            <a:custGeom>
              <a:avLst/>
              <a:gdLst>
                <a:gd name="T0" fmla="*/ 136 w 136"/>
                <a:gd name="T1" fmla="*/ 21 h 120"/>
                <a:gd name="T2" fmla="*/ 24 w 136"/>
                <a:gd name="T3" fmla="*/ 120 h 120"/>
                <a:gd name="T4" fmla="*/ 0 w 136"/>
                <a:gd name="T5" fmla="*/ 93 h 120"/>
                <a:gd name="T6" fmla="*/ 98 w 136"/>
                <a:gd name="T7" fmla="*/ 7 h 120"/>
                <a:gd name="T8" fmla="*/ 125 w 136"/>
                <a:gd name="T9" fmla="*/ 9 h 120"/>
                <a:gd name="T10" fmla="*/ 136 w 136"/>
                <a:gd name="T11" fmla="*/ 21 h 120"/>
              </a:gdLst>
              <a:ahLst/>
              <a:cxnLst>
                <a:cxn ang="0">
                  <a:pos x="T0" y="T1"/>
                </a:cxn>
                <a:cxn ang="0">
                  <a:pos x="T2" y="T3"/>
                </a:cxn>
                <a:cxn ang="0">
                  <a:pos x="T4" y="T5"/>
                </a:cxn>
                <a:cxn ang="0">
                  <a:pos x="T6" y="T7"/>
                </a:cxn>
                <a:cxn ang="0">
                  <a:pos x="T8" y="T9"/>
                </a:cxn>
                <a:cxn ang="0">
                  <a:pos x="T10" y="T11"/>
                </a:cxn>
              </a:cxnLst>
              <a:rect l="0" t="0" r="r" b="b"/>
              <a:pathLst>
                <a:path w="136" h="120">
                  <a:moveTo>
                    <a:pt x="136" y="21"/>
                  </a:moveTo>
                  <a:cubicBezTo>
                    <a:pt x="24" y="120"/>
                    <a:pt x="24" y="120"/>
                    <a:pt x="24" y="120"/>
                  </a:cubicBezTo>
                  <a:cubicBezTo>
                    <a:pt x="0" y="93"/>
                    <a:pt x="0" y="93"/>
                    <a:pt x="0" y="93"/>
                  </a:cubicBezTo>
                  <a:cubicBezTo>
                    <a:pt x="98" y="7"/>
                    <a:pt x="98" y="7"/>
                    <a:pt x="98" y="7"/>
                  </a:cubicBezTo>
                  <a:cubicBezTo>
                    <a:pt x="106" y="0"/>
                    <a:pt x="118" y="1"/>
                    <a:pt x="125" y="9"/>
                  </a:cubicBezTo>
                  <a:lnTo>
                    <a:pt x="136" y="21"/>
                  </a:lnTo>
                  <a:close/>
                </a:path>
              </a:pathLst>
            </a:custGeom>
            <a:solidFill>
              <a:srgbClr val="D0598C"/>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93" name="Freeform 34">
              <a:extLst>
                <a:ext uri="{FF2B5EF4-FFF2-40B4-BE49-F238E27FC236}">
                  <a16:creationId xmlns:a16="http://schemas.microsoft.com/office/drawing/2014/main" id="{F81788D2-49B8-4323-8861-4201F95F9943}"/>
                </a:ext>
              </a:extLst>
            </p:cNvPr>
            <p:cNvSpPr>
              <a:spLocks/>
            </p:cNvSpPr>
            <p:nvPr/>
          </p:nvSpPr>
          <p:spPr bwMode="auto">
            <a:xfrm>
              <a:off x="5942806" y="3139281"/>
              <a:ext cx="463550" cy="477838"/>
            </a:xfrm>
            <a:custGeom>
              <a:avLst/>
              <a:gdLst>
                <a:gd name="T0" fmla="*/ 124 w 292"/>
                <a:gd name="T1" fmla="*/ 0 h 301"/>
                <a:gd name="T2" fmla="*/ 0 w 292"/>
                <a:gd name="T3" fmla="*/ 110 h 301"/>
                <a:gd name="T4" fmla="*/ 168 w 292"/>
                <a:gd name="T5" fmla="*/ 301 h 301"/>
                <a:gd name="T6" fmla="*/ 292 w 292"/>
                <a:gd name="T7" fmla="*/ 191 h 301"/>
                <a:gd name="T8" fmla="*/ 124 w 292"/>
                <a:gd name="T9" fmla="*/ 0 h 301"/>
              </a:gdLst>
              <a:ahLst/>
              <a:cxnLst>
                <a:cxn ang="0">
                  <a:pos x="T0" y="T1"/>
                </a:cxn>
                <a:cxn ang="0">
                  <a:pos x="T2" y="T3"/>
                </a:cxn>
                <a:cxn ang="0">
                  <a:pos x="T4" y="T5"/>
                </a:cxn>
                <a:cxn ang="0">
                  <a:pos x="T6" y="T7"/>
                </a:cxn>
                <a:cxn ang="0">
                  <a:pos x="T8" y="T9"/>
                </a:cxn>
              </a:cxnLst>
              <a:rect l="0" t="0" r="r" b="b"/>
              <a:pathLst>
                <a:path w="292" h="301">
                  <a:moveTo>
                    <a:pt x="124" y="0"/>
                  </a:moveTo>
                  <a:lnTo>
                    <a:pt x="0" y="110"/>
                  </a:lnTo>
                  <a:lnTo>
                    <a:pt x="168" y="301"/>
                  </a:lnTo>
                  <a:lnTo>
                    <a:pt x="292" y="191"/>
                  </a:lnTo>
                  <a:lnTo>
                    <a:pt x="124" y="0"/>
                  </a:lnTo>
                  <a:close/>
                </a:path>
              </a:pathLst>
            </a:custGeom>
            <a:solidFill>
              <a:srgbClr val="D86D91"/>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94" name="Freeform 35">
              <a:extLst>
                <a:ext uri="{FF2B5EF4-FFF2-40B4-BE49-F238E27FC236}">
                  <a16:creationId xmlns:a16="http://schemas.microsoft.com/office/drawing/2014/main" id="{CA58A489-DB31-457D-AA16-E4337FD7B472}"/>
                </a:ext>
              </a:extLst>
            </p:cNvPr>
            <p:cNvSpPr>
              <a:spLocks/>
            </p:cNvSpPr>
            <p:nvPr/>
          </p:nvSpPr>
          <p:spPr bwMode="auto">
            <a:xfrm>
              <a:off x="6209506" y="3442494"/>
              <a:ext cx="295275" cy="285750"/>
            </a:xfrm>
            <a:custGeom>
              <a:avLst/>
              <a:gdLst>
                <a:gd name="T0" fmla="*/ 186 w 186"/>
                <a:gd name="T1" fmla="*/ 70 h 180"/>
                <a:gd name="T2" fmla="*/ 61 w 186"/>
                <a:gd name="T3" fmla="*/ 180 h 180"/>
                <a:gd name="T4" fmla="*/ 0 w 186"/>
                <a:gd name="T5" fmla="*/ 110 h 180"/>
                <a:gd name="T6" fmla="*/ 124 w 186"/>
                <a:gd name="T7" fmla="*/ 0 h 180"/>
                <a:gd name="T8" fmla="*/ 186 w 186"/>
                <a:gd name="T9" fmla="*/ 70 h 180"/>
              </a:gdLst>
              <a:ahLst/>
              <a:cxnLst>
                <a:cxn ang="0">
                  <a:pos x="T0" y="T1"/>
                </a:cxn>
                <a:cxn ang="0">
                  <a:pos x="T2" y="T3"/>
                </a:cxn>
                <a:cxn ang="0">
                  <a:pos x="T4" y="T5"/>
                </a:cxn>
                <a:cxn ang="0">
                  <a:pos x="T6" y="T7"/>
                </a:cxn>
                <a:cxn ang="0">
                  <a:pos x="T8" y="T9"/>
                </a:cxn>
              </a:cxnLst>
              <a:rect l="0" t="0" r="r" b="b"/>
              <a:pathLst>
                <a:path w="186" h="180">
                  <a:moveTo>
                    <a:pt x="186" y="70"/>
                  </a:moveTo>
                  <a:lnTo>
                    <a:pt x="61" y="180"/>
                  </a:lnTo>
                  <a:lnTo>
                    <a:pt x="0" y="110"/>
                  </a:lnTo>
                  <a:lnTo>
                    <a:pt x="124" y="0"/>
                  </a:lnTo>
                  <a:lnTo>
                    <a:pt x="186" y="70"/>
                  </a:lnTo>
                  <a:close/>
                </a:path>
              </a:pathLst>
            </a:custGeom>
            <a:solidFill>
              <a:srgbClr val="437BBF"/>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95" name="Freeform 36">
              <a:extLst>
                <a:ext uri="{FF2B5EF4-FFF2-40B4-BE49-F238E27FC236}">
                  <a16:creationId xmlns:a16="http://schemas.microsoft.com/office/drawing/2014/main" id="{49566EAC-941E-4175-AD9D-4752B6A39AEB}"/>
                </a:ext>
              </a:extLst>
            </p:cNvPr>
            <p:cNvSpPr>
              <a:spLocks noEditPoints="1"/>
            </p:cNvSpPr>
            <p:nvPr/>
          </p:nvSpPr>
          <p:spPr bwMode="auto">
            <a:xfrm>
              <a:off x="4239419" y="4534694"/>
              <a:ext cx="3562350" cy="585788"/>
            </a:xfrm>
            <a:custGeom>
              <a:avLst/>
              <a:gdLst>
                <a:gd name="T0" fmla="*/ 1970 w 2020"/>
                <a:gd name="T1" fmla="*/ 0 h 332"/>
                <a:gd name="T2" fmla="*/ 0 w 2020"/>
                <a:gd name="T3" fmla="*/ 0 h 332"/>
                <a:gd name="T4" fmla="*/ 0 w 2020"/>
                <a:gd name="T5" fmla="*/ 332 h 332"/>
                <a:gd name="T6" fmla="*/ 1970 w 2020"/>
                <a:gd name="T7" fmla="*/ 332 h 332"/>
                <a:gd name="T8" fmla="*/ 2020 w 2020"/>
                <a:gd name="T9" fmla="*/ 166 h 332"/>
                <a:gd name="T10" fmla="*/ 1970 w 2020"/>
                <a:gd name="T11" fmla="*/ 0 h 332"/>
                <a:gd name="T12" fmla="*/ 1879 w 2020"/>
                <a:gd name="T13" fmla="*/ 226 h 332"/>
                <a:gd name="T14" fmla="*/ 1819 w 2020"/>
                <a:gd name="T15" fmla="*/ 166 h 332"/>
                <a:gd name="T16" fmla="*/ 1879 w 2020"/>
                <a:gd name="T17" fmla="*/ 106 h 332"/>
                <a:gd name="T18" fmla="*/ 1939 w 2020"/>
                <a:gd name="T19" fmla="*/ 166 h 332"/>
                <a:gd name="T20" fmla="*/ 1879 w 2020"/>
                <a:gd name="T21" fmla="*/ 226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20" h="332">
                  <a:moveTo>
                    <a:pt x="1970" y="0"/>
                  </a:moveTo>
                  <a:cubicBezTo>
                    <a:pt x="0" y="0"/>
                    <a:pt x="0" y="0"/>
                    <a:pt x="0" y="0"/>
                  </a:cubicBezTo>
                  <a:cubicBezTo>
                    <a:pt x="0" y="332"/>
                    <a:pt x="0" y="332"/>
                    <a:pt x="0" y="332"/>
                  </a:cubicBezTo>
                  <a:cubicBezTo>
                    <a:pt x="1970" y="332"/>
                    <a:pt x="1970" y="332"/>
                    <a:pt x="1970" y="332"/>
                  </a:cubicBezTo>
                  <a:cubicBezTo>
                    <a:pt x="1997" y="332"/>
                    <a:pt x="2020" y="258"/>
                    <a:pt x="2020" y="166"/>
                  </a:cubicBezTo>
                  <a:cubicBezTo>
                    <a:pt x="2020" y="75"/>
                    <a:pt x="1997" y="0"/>
                    <a:pt x="1970" y="0"/>
                  </a:cubicBezTo>
                  <a:close/>
                  <a:moveTo>
                    <a:pt x="1879" y="226"/>
                  </a:moveTo>
                  <a:cubicBezTo>
                    <a:pt x="1846" y="226"/>
                    <a:pt x="1819" y="199"/>
                    <a:pt x="1819" y="166"/>
                  </a:cubicBezTo>
                  <a:cubicBezTo>
                    <a:pt x="1819" y="133"/>
                    <a:pt x="1846" y="106"/>
                    <a:pt x="1879" y="106"/>
                  </a:cubicBezTo>
                  <a:cubicBezTo>
                    <a:pt x="1912" y="106"/>
                    <a:pt x="1939" y="133"/>
                    <a:pt x="1939" y="166"/>
                  </a:cubicBezTo>
                  <a:cubicBezTo>
                    <a:pt x="1939" y="199"/>
                    <a:pt x="1912" y="226"/>
                    <a:pt x="1879" y="226"/>
                  </a:cubicBezTo>
                  <a:close/>
                </a:path>
              </a:pathLst>
            </a:custGeom>
            <a:solidFill>
              <a:srgbClr val="424242">
                <a:alpha val="20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96" name="Freeform 37">
              <a:extLst>
                <a:ext uri="{FF2B5EF4-FFF2-40B4-BE49-F238E27FC236}">
                  <a16:creationId xmlns:a16="http://schemas.microsoft.com/office/drawing/2014/main" id="{6B1F44A6-C845-40A0-9CA2-3CE8716C0C35}"/>
                </a:ext>
              </a:extLst>
            </p:cNvPr>
            <p:cNvSpPr>
              <a:spLocks noEditPoints="1"/>
            </p:cNvSpPr>
            <p:nvPr/>
          </p:nvSpPr>
          <p:spPr bwMode="auto">
            <a:xfrm>
              <a:off x="4274344" y="4479131"/>
              <a:ext cx="3562350" cy="585788"/>
            </a:xfrm>
            <a:custGeom>
              <a:avLst/>
              <a:gdLst>
                <a:gd name="T0" fmla="*/ 1970 w 2020"/>
                <a:gd name="T1" fmla="*/ 0 h 332"/>
                <a:gd name="T2" fmla="*/ 0 w 2020"/>
                <a:gd name="T3" fmla="*/ 0 h 332"/>
                <a:gd name="T4" fmla="*/ 0 w 2020"/>
                <a:gd name="T5" fmla="*/ 332 h 332"/>
                <a:gd name="T6" fmla="*/ 1970 w 2020"/>
                <a:gd name="T7" fmla="*/ 332 h 332"/>
                <a:gd name="T8" fmla="*/ 2020 w 2020"/>
                <a:gd name="T9" fmla="*/ 166 h 332"/>
                <a:gd name="T10" fmla="*/ 1970 w 2020"/>
                <a:gd name="T11" fmla="*/ 0 h 332"/>
                <a:gd name="T12" fmla="*/ 1879 w 2020"/>
                <a:gd name="T13" fmla="*/ 226 h 332"/>
                <a:gd name="T14" fmla="*/ 1819 w 2020"/>
                <a:gd name="T15" fmla="*/ 166 h 332"/>
                <a:gd name="T16" fmla="*/ 1879 w 2020"/>
                <a:gd name="T17" fmla="*/ 106 h 332"/>
                <a:gd name="T18" fmla="*/ 1939 w 2020"/>
                <a:gd name="T19" fmla="*/ 166 h 332"/>
                <a:gd name="T20" fmla="*/ 1879 w 2020"/>
                <a:gd name="T21" fmla="*/ 226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20" h="332">
                  <a:moveTo>
                    <a:pt x="1970" y="0"/>
                  </a:moveTo>
                  <a:cubicBezTo>
                    <a:pt x="0" y="0"/>
                    <a:pt x="0" y="0"/>
                    <a:pt x="0" y="0"/>
                  </a:cubicBezTo>
                  <a:cubicBezTo>
                    <a:pt x="0" y="332"/>
                    <a:pt x="0" y="332"/>
                    <a:pt x="0" y="332"/>
                  </a:cubicBezTo>
                  <a:cubicBezTo>
                    <a:pt x="1970" y="332"/>
                    <a:pt x="1970" y="332"/>
                    <a:pt x="1970" y="332"/>
                  </a:cubicBezTo>
                  <a:cubicBezTo>
                    <a:pt x="1997" y="332"/>
                    <a:pt x="2020" y="258"/>
                    <a:pt x="2020" y="166"/>
                  </a:cubicBezTo>
                  <a:cubicBezTo>
                    <a:pt x="2020" y="75"/>
                    <a:pt x="1997" y="0"/>
                    <a:pt x="1970" y="0"/>
                  </a:cubicBezTo>
                  <a:close/>
                  <a:moveTo>
                    <a:pt x="1879" y="226"/>
                  </a:moveTo>
                  <a:cubicBezTo>
                    <a:pt x="1846" y="226"/>
                    <a:pt x="1819" y="199"/>
                    <a:pt x="1819" y="166"/>
                  </a:cubicBezTo>
                  <a:cubicBezTo>
                    <a:pt x="1819" y="133"/>
                    <a:pt x="1846" y="106"/>
                    <a:pt x="1879" y="106"/>
                  </a:cubicBezTo>
                  <a:cubicBezTo>
                    <a:pt x="1912" y="106"/>
                    <a:pt x="1939" y="133"/>
                    <a:pt x="1939" y="166"/>
                  </a:cubicBezTo>
                  <a:cubicBezTo>
                    <a:pt x="1939" y="199"/>
                    <a:pt x="1912" y="226"/>
                    <a:pt x="1879" y="226"/>
                  </a:cubicBezTo>
                  <a:close/>
                </a:path>
              </a:pathLst>
            </a:custGeom>
            <a:solidFill>
              <a:srgbClr val="00B3E7"/>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97" name="Freeform 38">
              <a:extLst>
                <a:ext uri="{FF2B5EF4-FFF2-40B4-BE49-F238E27FC236}">
                  <a16:creationId xmlns:a16="http://schemas.microsoft.com/office/drawing/2014/main" id="{E486D492-7E22-41C3-B698-65C56A1190FD}"/>
                </a:ext>
              </a:extLst>
            </p:cNvPr>
            <p:cNvSpPr>
              <a:spLocks/>
            </p:cNvSpPr>
            <p:nvPr/>
          </p:nvSpPr>
          <p:spPr bwMode="auto">
            <a:xfrm>
              <a:off x="4274344" y="4771231"/>
              <a:ext cx="3562350" cy="293688"/>
            </a:xfrm>
            <a:custGeom>
              <a:avLst/>
              <a:gdLst>
                <a:gd name="T0" fmla="*/ 1939 w 2020"/>
                <a:gd name="T1" fmla="*/ 0 h 166"/>
                <a:gd name="T2" fmla="*/ 1879 w 2020"/>
                <a:gd name="T3" fmla="*/ 60 h 166"/>
                <a:gd name="T4" fmla="*/ 1819 w 2020"/>
                <a:gd name="T5" fmla="*/ 0 h 166"/>
                <a:gd name="T6" fmla="*/ 0 w 2020"/>
                <a:gd name="T7" fmla="*/ 0 h 166"/>
                <a:gd name="T8" fmla="*/ 0 w 2020"/>
                <a:gd name="T9" fmla="*/ 166 h 166"/>
                <a:gd name="T10" fmla="*/ 1970 w 2020"/>
                <a:gd name="T11" fmla="*/ 166 h 166"/>
                <a:gd name="T12" fmla="*/ 2020 w 2020"/>
                <a:gd name="T13" fmla="*/ 0 h 166"/>
                <a:gd name="T14" fmla="*/ 1939 w 2020"/>
                <a:gd name="T15" fmla="*/ 0 h 1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20" h="166">
                  <a:moveTo>
                    <a:pt x="1939" y="0"/>
                  </a:moveTo>
                  <a:cubicBezTo>
                    <a:pt x="1939" y="33"/>
                    <a:pt x="1912" y="60"/>
                    <a:pt x="1879" y="60"/>
                  </a:cubicBezTo>
                  <a:cubicBezTo>
                    <a:pt x="1846" y="60"/>
                    <a:pt x="1819" y="33"/>
                    <a:pt x="1819" y="0"/>
                  </a:cubicBezTo>
                  <a:cubicBezTo>
                    <a:pt x="0" y="0"/>
                    <a:pt x="0" y="0"/>
                    <a:pt x="0" y="0"/>
                  </a:cubicBezTo>
                  <a:cubicBezTo>
                    <a:pt x="0" y="166"/>
                    <a:pt x="0" y="166"/>
                    <a:pt x="0" y="166"/>
                  </a:cubicBezTo>
                  <a:cubicBezTo>
                    <a:pt x="1970" y="166"/>
                    <a:pt x="1970" y="166"/>
                    <a:pt x="1970" y="166"/>
                  </a:cubicBezTo>
                  <a:cubicBezTo>
                    <a:pt x="1997" y="166"/>
                    <a:pt x="2020" y="92"/>
                    <a:pt x="2020" y="0"/>
                  </a:cubicBezTo>
                  <a:lnTo>
                    <a:pt x="1939" y="0"/>
                  </a:lnTo>
                  <a:close/>
                </a:path>
              </a:pathLst>
            </a:custGeom>
            <a:solidFill>
              <a:srgbClr val="316296"/>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98" name="Freeform 39">
              <a:extLst>
                <a:ext uri="{FF2B5EF4-FFF2-40B4-BE49-F238E27FC236}">
                  <a16:creationId xmlns:a16="http://schemas.microsoft.com/office/drawing/2014/main" id="{08C5A58C-A871-46FA-96FB-2787AB226773}"/>
                </a:ext>
              </a:extLst>
            </p:cNvPr>
            <p:cNvSpPr>
              <a:spLocks/>
            </p:cNvSpPr>
            <p:nvPr/>
          </p:nvSpPr>
          <p:spPr bwMode="auto">
            <a:xfrm>
              <a:off x="4506119" y="4152106"/>
              <a:ext cx="1322388" cy="1589088"/>
            </a:xfrm>
            <a:custGeom>
              <a:avLst/>
              <a:gdLst>
                <a:gd name="T0" fmla="*/ 141 w 750"/>
                <a:gd name="T1" fmla="*/ 87 h 901"/>
                <a:gd name="T2" fmla="*/ 35 w 750"/>
                <a:gd name="T3" fmla="*/ 20 h 901"/>
                <a:gd name="T4" fmla="*/ 35 w 750"/>
                <a:gd name="T5" fmla="*/ 20 h 901"/>
                <a:gd name="T6" fmla="*/ 6 w 750"/>
                <a:gd name="T7" fmla="*/ 1 h 901"/>
                <a:gd name="T8" fmla="*/ 2 w 750"/>
                <a:gd name="T9" fmla="*/ 5 h 901"/>
                <a:gd name="T10" fmla="*/ 62 w 750"/>
                <a:gd name="T11" fmla="*/ 151 h 901"/>
                <a:gd name="T12" fmla="*/ 671 w 750"/>
                <a:gd name="T13" fmla="*/ 901 h 901"/>
                <a:gd name="T14" fmla="*/ 750 w 750"/>
                <a:gd name="T15" fmla="*/ 837 h 901"/>
                <a:gd name="T16" fmla="*/ 141 w 750"/>
                <a:gd name="T17" fmla="*/ 87 h 9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0" h="901">
                  <a:moveTo>
                    <a:pt x="141" y="87"/>
                  </a:moveTo>
                  <a:cubicBezTo>
                    <a:pt x="35" y="20"/>
                    <a:pt x="35" y="20"/>
                    <a:pt x="35" y="20"/>
                  </a:cubicBezTo>
                  <a:cubicBezTo>
                    <a:pt x="35" y="20"/>
                    <a:pt x="35" y="20"/>
                    <a:pt x="35" y="20"/>
                  </a:cubicBezTo>
                  <a:cubicBezTo>
                    <a:pt x="6" y="1"/>
                    <a:pt x="6" y="1"/>
                    <a:pt x="6" y="1"/>
                  </a:cubicBezTo>
                  <a:cubicBezTo>
                    <a:pt x="4" y="0"/>
                    <a:pt x="0" y="2"/>
                    <a:pt x="2" y="5"/>
                  </a:cubicBezTo>
                  <a:cubicBezTo>
                    <a:pt x="62" y="151"/>
                    <a:pt x="62" y="151"/>
                    <a:pt x="62" y="151"/>
                  </a:cubicBezTo>
                  <a:cubicBezTo>
                    <a:pt x="671" y="901"/>
                    <a:pt x="671" y="901"/>
                    <a:pt x="671" y="901"/>
                  </a:cubicBezTo>
                  <a:cubicBezTo>
                    <a:pt x="750" y="837"/>
                    <a:pt x="750" y="837"/>
                    <a:pt x="750" y="837"/>
                  </a:cubicBezTo>
                  <a:lnTo>
                    <a:pt x="141" y="87"/>
                  </a:lnTo>
                  <a:close/>
                </a:path>
              </a:pathLst>
            </a:custGeom>
            <a:solidFill>
              <a:srgbClr val="424242">
                <a:alpha val="20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99" name="Freeform 40">
              <a:extLst>
                <a:ext uri="{FF2B5EF4-FFF2-40B4-BE49-F238E27FC236}">
                  <a16:creationId xmlns:a16="http://schemas.microsoft.com/office/drawing/2014/main" id="{1F564433-2FE1-4F6D-9F25-CC167FF79846}"/>
                </a:ext>
              </a:extLst>
            </p:cNvPr>
            <p:cNvSpPr>
              <a:spLocks/>
            </p:cNvSpPr>
            <p:nvPr/>
          </p:nvSpPr>
          <p:spPr bwMode="auto">
            <a:xfrm>
              <a:off x="4615656" y="4256881"/>
              <a:ext cx="1212850" cy="1435100"/>
            </a:xfrm>
            <a:custGeom>
              <a:avLst/>
              <a:gdLst>
                <a:gd name="T0" fmla="*/ 764 w 764"/>
                <a:gd name="T1" fmla="*/ 833 h 904"/>
                <a:gd name="T2" fmla="*/ 676 w 764"/>
                <a:gd name="T3" fmla="*/ 904 h 904"/>
                <a:gd name="T4" fmla="*/ 0 w 764"/>
                <a:gd name="T5" fmla="*/ 71 h 904"/>
                <a:gd name="T6" fmla="*/ 87 w 764"/>
                <a:gd name="T7" fmla="*/ 0 h 904"/>
                <a:gd name="T8" fmla="*/ 764 w 764"/>
                <a:gd name="T9" fmla="*/ 833 h 904"/>
              </a:gdLst>
              <a:ahLst/>
              <a:cxnLst>
                <a:cxn ang="0">
                  <a:pos x="T0" y="T1"/>
                </a:cxn>
                <a:cxn ang="0">
                  <a:pos x="T2" y="T3"/>
                </a:cxn>
                <a:cxn ang="0">
                  <a:pos x="T4" y="T5"/>
                </a:cxn>
                <a:cxn ang="0">
                  <a:pos x="T6" y="T7"/>
                </a:cxn>
                <a:cxn ang="0">
                  <a:pos x="T8" y="T9"/>
                </a:cxn>
              </a:cxnLst>
              <a:rect l="0" t="0" r="r" b="b"/>
              <a:pathLst>
                <a:path w="764" h="904">
                  <a:moveTo>
                    <a:pt x="764" y="833"/>
                  </a:moveTo>
                  <a:lnTo>
                    <a:pt x="676" y="904"/>
                  </a:lnTo>
                  <a:lnTo>
                    <a:pt x="0" y="71"/>
                  </a:lnTo>
                  <a:lnTo>
                    <a:pt x="87" y="0"/>
                  </a:lnTo>
                  <a:lnTo>
                    <a:pt x="764" y="833"/>
                  </a:lnTo>
                  <a:close/>
                </a:path>
              </a:pathLst>
            </a:custGeom>
            <a:solidFill>
              <a:srgbClr val="3D5D91"/>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00" name="Freeform 41">
              <a:extLst>
                <a:ext uri="{FF2B5EF4-FFF2-40B4-BE49-F238E27FC236}">
                  <a16:creationId xmlns:a16="http://schemas.microsoft.com/office/drawing/2014/main" id="{E4001DB8-CB17-4A5B-A72B-1D4CFD94FC3E}"/>
                </a:ext>
              </a:extLst>
            </p:cNvPr>
            <p:cNvSpPr>
              <a:spLocks/>
            </p:cNvSpPr>
            <p:nvPr/>
          </p:nvSpPr>
          <p:spPr bwMode="auto">
            <a:xfrm>
              <a:off x="4656931" y="4291806"/>
              <a:ext cx="1127125" cy="1365250"/>
            </a:xfrm>
            <a:custGeom>
              <a:avLst/>
              <a:gdLst>
                <a:gd name="T0" fmla="*/ 710 w 710"/>
                <a:gd name="T1" fmla="*/ 833 h 860"/>
                <a:gd name="T2" fmla="*/ 677 w 710"/>
                <a:gd name="T3" fmla="*/ 860 h 860"/>
                <a:gd name="T4" fmla="*/ 0 w 710"/>
                <a:gd name="T5" fmla="*/ 27 h 860"/>
                <a:gd name="T6" fmla="*/ 34 w 710"/>
                <a:gd name="T7" fmla="*/ 0 h 860"/>
                <a:gd name="T8" fmla="*/ 710 w 710"/>
                <a:gd name="T9" fmla="*/ 833 h 860"/>
              </a:gdLst>
              <a:ahLst/>
              <a:cxnLst>
                <a:cxn ang="0">
                  <a:pos x="T0" y="T1"/>
                </a:cxn>
                <a:cxn ang="0">
                  <a:pos x="T2" y="T3"/>
                </a:cxn>
                <a:cxn ang="0">
                  <a:pos x="T4" y="T5"/>
                </a:cxn>
                <a:cxn ang="0">
                  <a:pos x="T6" y="T7"/>
                </a:cxn>
                <a:cxn ang="0">
                  <a:pos x="T8" y="T9"/>
                </a:cxn>
              </a:cxnLst>
              <a:rect l="0" t="0" r="r" b="b"/>
              <a:pathLst>
                <a:path w="710" h="860">
                  <a:moveTo>
                    <a:pt x="710" y="833"/>
                  </a:moveTo>
                  <a:lnTo>
                    <a:pt x="677" y="860"/>
                  </a:lnTo>
                  <a:lnTo>
                    <a:pt x="0" y="27"/>
                  </a:lnTo>
                  <a:lnTo>
                    <a:pt x="34" y="0"/>
                  </a:lnTo>
                  <a:lnTo>
                    <a:pt x="710" y="833"/>
                  </a:lnTo>
                  <a:close/>
                </a:path>
              </a:pathLst>
            </a:custGeom>
            <a:solidFill>
              <a:srgbClr val="00B3E7"/>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01" name="Freeform 42">
              <a:extLst>
                <a:ext uri="{FF2B5EF4-FFF2-40B4-BE49-F238E27FC236}">
                  <a16:creationId xmlns:a16="http://schemas.microsoft.com/office/drawing/2014/main" id="{22DCBAC0-C25A-4759-9586-BED7106269DC}"/>
                </a:ext>
              </a:extLst>
            </p:cNvPr>
            <p:cNvSpPr>
              <a:spLocks/>
            </p:cNvSpPr>
            <p:nvPr/>
          </p:nvSpPr>
          <p:spPr bwMode="auto">
            <a:xfrm>
              <a:off x="4506119" y="4102894"/>
              <a:ext cx="247650" cy="266700"/>
            </a:xfrm>
            <a:custGeom>
              <a:avLst/>
              <a:gdLst>
                <a:gd name="T0" fmla="*/ 2 w 141"/>
                <a:gd name="T1" fmla="*/ 5 h 151"/>
                <a:gd name="T2" fmla="*/ 62 w 141"/>
                <a:gd name="T3" fmla="*/ 151 h 151"/>
                <a:gd name="T4" fmla="*/ 141 w 141"/>
                <a:gd name="T5" fmla="*/ 87 h 151"/>
                <a:gd name="T6" fmla="*/ 6 w 141"/>
                <a:gd name="T7" fmla="*/ 1 h 151"/>
                <a:gd name="T8" fmla="*/ 2 w 141"/>
                <a:gd name="T9" fmla="*/ 5 h 151"/>
              </a:gdLst>
              <a:ahLst/>
              <a:cxnLst>
                <a:cxn ang="0">
                  <a:pos x="T0" y="T1"/>
                </a:cxn>
                <a:cxn ang="0">
                  <a:pos x="T2" y="T3"/>
                </a:cxn>
                <a:cxn ang="0">
                  <a:pos x="T4" y="T5"/>
                </a:cxn>
                <a:cxn ang="0">
                  <a:pos x="T6" y="T7"/>
                </a:cxn>
                <a:cxn ang="0">
                  <a:pos x="T8" y="T9"/>
                </a:cxn>
              </a:cxnLst>
              <a:rect l="0" t="0" r="r" b="b"/>
              <a:pathLst>
                <a:path w="141" h="151">
                  <a:moveTo>
                    <a:pt x="2" y="5"/>
                  </a:moveTo>
                  <a:cubicBezTo>
                    <a:pt x="62" y="151"/>
                    <a:pt x="62" y="151"/>
                    <a:pt x="62" y="151"/>
                  </a:cubicBezTo>
                  <a:cubicBezTo>
                    <a:pt x="141" y="87"/>
                    <a:pt x="141" y="87"/>
                    <a:pt x="141" y="87"/>
                  </a:cubicBezTo>
                  <a:cubicBezTo>
                    <a:pt x="6" y="1"/>
                    <a:pt x="6" y="1"/>
                    <a:pt x="6" y="1"/>
                  </a:cubicBezTo>
                  <a:cubicBezTo>
                    <a:pt x="4" y="0"/>
                    <a:pt x="0" y="2"/>
                    <a:pt x="2" y="5"/>
                  </a:cubicBezTo>
                  <a:close/>
                </a:path>
              </a:pathLst>
            </a:custGeom>
            <a:solidFill>
              <a:srgbClr val="D37187"/>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02" name="Freeform 43">
              <a:extLst>
                <a:ext uri="{FF2B5EF4-FFF2-40B4-BE49-F238E27FC236}">
                  <a16:creationId xmlns:a16="http://schemas.microsoft.com/office/drawing/2014/main" id="{1E50C827-9D70-4CB1-B4E3-6EC819A25410}"/>
                </a:ext>
              </a:extLst>
            </p:cNvPr>
            <p:cNvSpPr>
              <a:spLocks/>
            </p:cNvSpPr>
            <p:nvPr/>
          </p:nvSpPr>
          <p:spPr bwMode="auto">
            <a:xfrm>
              <a:off x="4506119" y="4102894"/>
              <a:ext cx="61913" cy="66675"/>
            </a:xfrm>
            <a:custGeom>
              <a:avLst/>
              <a:gdLst>
                <a:gd name="T0" fmla="*/ 35 w 35"/>
                <a:gd name="T1" fmla="*/ 20 h 38"/>
                <a:gd name="T2" fmla="*/ 6 w 35"/>
                <a:gd name="T3" fmla="*/ 1 h 38"/>
                <a:gd name="T4" fmla="*/ 2 w 35"/>
                <a:gd name="T5" fmla="*/ 5 h 38"/>
                <a:gd name="T6" fmla="*/ 15 w 35"/>
                <a:gd name="T7" fmla="*/ 38 h 38"/>
                <a:gd name="T8" fmla="*/ 35 w 35"/>
                <a:gd name="T9" fmla="*/ 20 h 38"/>
              </a:gdLst>
              <a:ahLst/>
              <a:cxnLst>
                <a:cxn ang="0">
                  <a:pos x="T0" y="T1"/>
                </a:cxn>
                <a:cxn ang="0">
                  <a:pos x="T2" y="T3"/>
                </a:cxn>
                <a:cxn ang="0">
                  <a:pos x="T4" y="T5"/>
                </a:cxn>
                <a:cxn ang="0">
                  <a:pos x="T6" y="T7"/>
                </a:cxn>
                <a:cxn ang="0">
                  <a:pos x="T8" y="T9"/>
                </a:cxn>
              </a:cxnLst>
              <a:rect l="0" t="0" r="r" b="b"/>
              <a:pathLst>
                <a:path w="35" h="38">
                  <a:moveTo>
                    <a:pt x="35" y="20"/>
                  </a:moveTo>
                  <a:cubicBezTo>
                    <a:pt x="6" y="1"/>
                    <a:pt x="6" y="1"/>
                    <a:pt x="6" y="1"/>
                  </a:cubicBezTo>
                  <a:cubicBezTo>
                    <a:pt x="4" y="0"/>
                    <a:pt x="0" y="2"/>
                    <a:pt x="2" y="5"/>
                  </a:cubicBezTo>
                  <a:cubicBezTo>
                    <a:pt x="15" y="38"/>
                    <a:pt x="15" y="38"/>
                    <a:pt x="15" y="38"/>
                  </a:cubicBezTo>
                  <a:lnTo>
                    <a:pt x="35" y="20"/>
                  </a:lnTo>
                  <a:close/>
                </a:path>
              </a:pathLst>
            </a:custGeom>
            <a:solidFill>
              <a:srgbClr val="3D5D91"/>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03" name="Freeform 44">
              <a:extLst>
                <a:ext uri="{FF2B5EF4-FFF2-40B4-BE49-F238E27FC236}">
                  <a16:creationId xmlns:a16="http://schemas.microsoft.com/office/drawing/2014/main" id="{D8F0EA15-5FF0-42C9-89EE-75E75518CA9C}"/>
                </a:ext>
              </a:extLst>
            </p:cNvPr>
            <p:cNvSpPr>
              <a:spLocks/>
            </p:cNvSpPr>
            <p:nvPr/>
          </p:nvSpPr>
          <p:spPr bwMode="auto">
            <a:xfrm>
              <a:off x="6315869" y="3950494"/>
              <a:ext cx="604838" cy="1592263"/>
            </a:xfrm>
            <a:custGeom>
              <a:avLst/>
              <a:gdLst>
                <a:gd name="T0" fmla="*/ 285 w 343"/>
                <a:gd name="T1" fmla="*/ 14 h 903"/>
                <a:gd name="T2" fmla="*/ 252 w 343"/>
                <a:gd name="T3" fmla="*/ 129 h 903"/>
                <a:gd name="T4" fmla="*/ 292 w 343"/>
                <a:gd name="T5" fmla="*/ 141 h 903"/>
                <a:gd name="T6" fmla="*/ 330 w 343"/>
                <a:gd name="T7" fmla="*/ 221 h 903"/>
                <a:gd name="T8" fmla="*/ 75 w 343"/>
                <a:gd name="T9" fmla="*/ 865 h 903"/>
                <a:gd name="T10" fmla="*/ 16 w 343"/>
                <a:gd name="T11" fmla="*/ 900 h 903"/>
                <a:gd name="T12" fmla="*/ 0 w 343"/>
                <a:gd name="T13" fmla="*/ 898 h 903"/>
                <a:gd name="T14" fmla="*/ 224 w 343"/>
                <a:gd name="T15" fmla="*/ 0 h 903"/>
                <a:gd name="T16" fmla="*/ 285 w 343"/>
                <a:gd name="T17" fmla="*/ 14 h 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3" h="903">
                  <a:moveTo>
                    <a:pt x="285" y="14"/>
                  </a:moveTo>
                  <a:cubicBezTo>
                    <a:pt x="252" y="129"/>
                    <a:pt x="252" y="129"/>
                    <a:pt x="252" y="129"/>
                  </a:cubicBezTo>
                  <a:cubicBezTo>
                    <a:pt x="292" y="141"/>
                    <a:pt x="292" y="141"/>
                    <a:pt x="292" y="141"/>
                  </a:cubicBezTo>
                  <a:cubicBezTo>
                    <a:pt x="326" y="152"/>
                    <a:pt x="343" y="188"/>
                    <a:pt x="330" y="221"/>
                  </a:cubicBezTo>
                  <a:cubicBezTo>
                    <a:pt x="75" y="865"/>
                    <a:pt x="75" y="865"/>
                    <a:pt x="75" y="865"/>
                  </a:cubicBezTo>
                  <a:cubicBezTo>
                    <a:pt x="65" y="889"/>
                    <a:pt x="41" y="903"/>
                    <a:pt x="16" y="900"/>
                  </a:cubicBezTo>
                  <a:cubicBezTo>
                    <a:pt x="0" y="898"/>
                    <a:pt x="0" y="898"/>
                    <a:pt x="0" y="898"/>
                  </a:cubicBezTo>
                  <a:cubicBezTo>
                    <a:pt x="224" y="0"/>
                    <a:pt x="224" y="0"/>
                    <a:pt x="224" y="0"/>
                  </a:cubicBezTo>
                  <a:lnTo>
                    <a:pt x="285" y="14"/>
                  </a:lnTo>
                  <a:close/>
                </a:path>
              </a:pathLst>
            </a:custGeom>
            <a:solidFill>
              <a:srgbClr val="424242">
                <a:alpha val="20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04" name="Freeform 45">
              <a:extLst>
                <a:ext uri="{FF2B5EF4-FFF2-40B4-BE49-F238E27FC236}">
                  <a16:creationId xmlns:a16="http://schemas.microsoft.com/office/drawing/2014/main" id="{77EA6594-E603-4A5A-841E-EA66DFAC6383}"/>
                </a:ext>
              </a:extLst>
            </p:cNvPr>
            <p:cNvSpPr>
              <a:spLocks noEditPoints="1"/>
            </p:cNvSpPr>
            <p:nvPr/>
          </p:nvSpPr>
          <p:spPr bwMode="auto">
            <a:xfrm>
              <a:off x="6611144" y="3237706"/>
              <a:ext cx="538163" cy="747713"/>
            </a:xfrm>
            <a:custGeom>
              <a:avLst/>
              <a:gdLst>
                <a:gd name="T0" fmla="*/ 305 w 305"/>
                <a:gd name="T1" fmla="*/ 153 h 424"/>
                <a:gd name="T2" fmla="*/ 152 w 305"/>
                <a:gd name="T3" fmla="*/ 0 h 424"/>
                <a:gd name="T4" fmla="*/ 0 w 305"/>
                <a:gd name="T5" fmla="*/ 153 h 424"/>
                <a:gd name="T6" fmla="*/ 74 w 305"/>
                <a:gd name="T7" fmla="*/ 284 h 424"/>
                <a:gd name="T8" fmla="*/ 50 w 305"/>
                <a:gd name="T9" fmla="*/ 395 h 424"/>
                <a:gd name="T10" fmla="*/ 50 w 305"/>
                <a:gd name="T11" fmla="*/ 395 h 424"/>
                <a:gd name="T12" fmla="*/ 50 w 305"/>
                <a:gd name="T13" fmla="*/ 395 h 424"/>
                <a:gd name="T14" fmla="*/ 88 w 305"/>
                <a:gd name="T15" fmla="*/ 419 h 424"/>
                <a:gd name="T16" fmla="*/ 132 w 305"/>
                <a:gd name="T17" fmla="*/ 413 h 424"/>
                <a:gd name="T18" fmla="*/ 132 w 305"/>
                <a:gd name="T19" fmla="*/ 413 h 424"/>
                <a:gd name="T20" fmla="*/ 132 w 305"/>
                <a:gd name="T21" fmla="*/ 413 h 424"/>
                <a:gd name="T22" fmla="*/ 156 w 305"/>
                <a:gd name="T23" fmla="*/ 305 h 424"/>
                <a:gd name="T24" fmla="*/ 305 w 305"/>
                <a:gd name="T25" fmla="*/ 153 h 424"/>
                <a:gd name="T26" fmla="*/ 152 w 305"/>
                <a:gd name="T27" fmla="*/ 229 h 424"/>
                <a:gd name="T28" fmla="*/ 76 w 305"/>
                <a:gd name="T29" fmla="*/ 153 h 424"/>
                <a:gd name="T30" fmla="*/ 152 w 305"/>
                <a:gd name="T31" fmla="*/ 77 h 424"/>
                <a:gd name="T32" fmla="*/ 228 w 305"/>
                <a:gd name="T33" fmla="*/ 153 h 424"/>
                <a:gd name="T34" fmla="*/ 152 w 305"/>
                <a:gd name="T35" fmla="*/ 229 h 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5" h="424">
                  <a:moveTo>
                    <a:pt x="305" y="153"/>
                  </a:moveTo>
                  <a:cubicBezTo>
                    <a:pt x="305" y="68"/>
                    <a:pt x="237" y="0"/>
                    <a:pt x="152" y="0"/>
                  </a:cubicBezTo>
                  <a:cubicBezTo>
                    <a:pt x="68" y="0"/>
                    <a:pt x="0" y="68"/>
                    <a:pt x="0" y="153"/>
                  </a:cubicBezTo>
                  <a:cubicBezTo>
                    <a:pt x="0" y="208"/>
                    <a:pt x="30" y="257"/>
                    <a:pt x="74" y="284"/>
                  </a:cubicBezTo>
                  <a:cubicBezTo>
                    <a:pt x="50" y="395"/>
                    <a:pt x="50" y="395"/>
                    <a:pt x="50" y="395"/>
                  </a:cubicBezTo>
                  <a:cubicBezTo>
                    <a:pt x="50" y="395"/>
                    <a:pt x="50" y="395"/>
                    <a:pt x="50" y="395"/>
                  </a:cubicBezTo>
                  <a:cubicBezTo>
                    <a:pt x="50" y="395"/>
                    <a:pt x="50" y="395"/>
                    <a:pt x="50" y="395"/>
                  </a:cubicBezTo>
                  <a:cubicBezTo>
                    <a:pt x="48" y="403"/>
                    <a:pt x="65" y="414"/>
                    <a:pt x="88" y="419"/>
                  </a:cubicBezTo>
                  <a:cubicBezTo>
                    <a:pt x="111" y="424"/>
                    <a:pt x="131" y="421"/>
                    <a:pt x="132" y="413"/>
                  </a:cubicBezTo>
                  <a:cubicBezTo>
                    <a:pt x="132" y="413"/>
                    <a:pt x="132" y="413"/>
                    <a:pt x="132" y="413"/>
                  </a:cubicBezTo>
                  <a:cubicBezTo>
                    <a:pt x="132" y="413"/>
                    <a:pt x="132" y="413"/>
                    <a:pt x="132" y="413"/>
                  </a:cubicBezTo>
                  <a:cubicBezTo>
                    <a:pt x="156" y="305"/>
                    <a:pt x="156" y="305"/>
                    <a:pt x="156" y="305"/>
                  </a:cubicBezTo>
                  <a:cubicBezTo>
                    <a:pt x="239" y="303"/>
                    <a:pt x="305" y="235"/>
                    <a:pt x="305" y="153"/>
                  </a:cubicBezTo>
                  <a:close/>
                  <a:moveTo>
                    <a:pt x="152" y="229"/>
                  </a:moveTo>
                  <a:cubicBezTo>
                    <a:pt x="110" y="229"/>
                    <a:pt x="76" y="195"/>
                    <a:pt x="76" y="153"/>
                  </a:cubicBezTo>
                  <a:cubicBezTo>
                    <a:pt x="76" y="111"/>
                    <a:pt x="110" y="77"/>
                    <a:pt x="152" y="77"/>
                  </a:cubicBezTo>
                  <a:cubicBezTo>
                    <a:pt x="194" y="77"/>
                    <a:pt x="228" y="111"/>
                    <a:pt x="228" y="153"/>
                  </a:cubicBezTo>
                  <a:cubicBezTo>
                    <a:pt x="228" y="195"/>
                    <a:pt x="194" y="229"/>
                    <a:pt x="152" y="229"/>
                  </a:cubicBezTo>
                  <a:close/>
                </a:path>
              </a:pathLst>
            </a:custGeom>
            <a:solidFill>
              <a:srgbClr val="424242">
                <a:alpha val="20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05" name="Freeform 46">
              <a:extLst>
                <a:ext uri="{FF2B5EF4-FFF2-40B4-BE49-F238E27FC236}">
                  <a16:creationId xmlns:a16="http://schemas.microsoft.com/office/drawing/2014/main" id="{8F0B6B25-A18E-4C42-8E05-83A37DFB0800}"/>
                </a:ext>
              </a:extLst>
            </p:cNvPr>
            <p:cNvSpPr>
              <a:spLocks/>
            </p:cNvSpPr>
            <p:nvPr/>
          </p:nvSpPr>
          <p:spPr bwMode="auto">
            <a:xfrm>
              <a:off x="5634831" y="4144169"/>
              <a:ext cx="1497013" cy="842963"/>
            </a:xfrm>
            <a:custGeom>
              <a:avLst/>
              <a:gdLst>
                <a:gd name="T0" fmla="*/ 823 w 849"/>
                <a:gd name="T1" fmla="*/ 22 h 478"/>
                <a:gd name="T2" fmla="*/ 717 w 849"/>
                <a:gd name="T3" fmla="*/ 77 h 478"/>
                <a:gd name="T4" fmla="*/ 697 w 849"/>
                <a:gd name="T5" fmla="*/ 40 h 478"/>
                <a:gd name="T6" fmla="*/ 611 w 849"/>
                <a:gd name="T7" fmla="*/ 19 h 478"/>
                <a:gd name="T8" fmla="*/ 31 w 849"/>
                <a:gd name="T9" fmla="*/ 398 h 478"/>
                <a:gd name="T10" fmla="*/ 9 w 849"/>
                <a:gd name="T11" fmla="*/ 463 h 478"/>
                <a:gd name="T12" fmla="*/ 14 w 849"/>
                <a:gd name="T13" fmla="*/ 478 h 478"/>
                <a:gd name="T14" fmla="*/ 849 w 849"/>
                <a:gd name="T15" fmla="*/ 79 h 478"/>
                <a:gd name="T16" fmla="*/ 823 w 849"/>
                <a:gd name="T17" fmla="*/ 22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9" h="478">
                  <a:moveTo>
                    <a:pt x="823" y="22"/>
                  </a:moveTo>
                  <a:cubicBezTo>
                    <a:pt x="717" y="77"/>
                    <a:pt x="717" y="77"/>
                    <a:pt x="717" y="77"/>
                  </a:cubicBezTo>
                  <a:cubicBezTo>
                    <a:pt x="697" y="40"/>
                    <a:pt x="697" y="40"/>
                    <a:pt x="697" y="40"/>
                  </a:cubicBezTo>
                  <a:cubicBezTo>
                    <a:pt x="680" y="10"/>
                    <a:pt x="641" y="0"/>
                    <a:pt x="611" y="19"/>
                  </a:cubicBezTo>
                  <a:cubicBezTo>
                    <a:pt x="31" y="398"/>
                    <a:pt x="31" y="398"/>
                    <a:pt x="31" y="398"/>
                  </a:cubicBezTo>
                  <a:cubicBezTo>
                    <a:pt x="10" y="412"/>
                    <a:pt x="0" y="438"/>
                    <a:pt x="9" y="463"/>
                  </a:cubicBezTo>
                  <a:cubicBezTo>
                    <a:pt x="14" y="478"/>
                    <a:pt x="14" y="478"/>
                    <a:pt x="14" y="478"/>
                  </a:cubicBezTo>
                  <a:cubicBezTo>
                    <a:pt x="849" y="79"/>
                    <a:pt x="849" y="79"/>
                    <a:pt x="849" y="79"/>
                  </a:cubicBezTo>
                  <a:lnTo>
                    <a:pt x="823" y="22"/>
                  </a:lnTo>
                  <a:close/>
                </a:path>
              </a:pathLst>
            </a:custGeom>
            <a:solidFill>
              <a:srgbClr val="4242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06" name="Oval 47">
              <a:extLst>
                <a:ext uri="{FF2B5EF4-FFF2-40B4-BE49-F238E27FC236}">
                  <a16:creationId xmlns:a16="http://schemas.microsoft.com/office/drawing/2014/main" id="{2160CCCC-85FF-452F-AC1D-A8597035BE3B}"/>
                </a:ext>
              </a:extLst>
            </p:cNvPr>
            <p:cNvSpPr>
              <a:spLocks noChangeArrowheads="1"/>
            </p:cNvSpPr>
            <p:nvPr/>
          </p:nvSpPr>
          <p:spPr bwMode="auto">
            <a:xfrm>
              <a:off x="6711156" y="4255294"/>
              <a:ext cx="119063" cy="119063"/>
            </a:xfrm>
            <a:prstGeom prst="ellipse">
              <a:avLst/>
            </a:prstGeom>
            <a:solidFill>
              <a:srgbClr val="4242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07" name="Freeform 48">
              <a:extLst>
                <a:ext uri="{FF2B5EF4-FFF2-40B4-BE49-F238E27FC236}">
                  <a16:creationId xmlns:a16="http://schemas.microsoft.com/office/drawing/2014/main" id="{B6B82289-1B9C-4B0A-BEB0-047CCADCCB39}"/>
                </a:ext>
              </a:extLst>
            </p:cNvPr>
            <p:cNvSpPr>
              <a:spLocks noEditPoints="1"/>
            </p:cNvSpPr>
            <p:nvPr/>
          </p:nvSpPr>
          <p:spPr bwMode="auto">
            <a:xfrm>
              <a:off x="7079456" y="3734594"/>
              <a:ext cx="762000" cy="603250"/>
            </a:xfrm>
            <a:custGeom>
              <a:avLst/>
              <a:gdLst>
                <a:gd name="T0" fmla="*/ 356 w 432"/>
                <a:gd name="T1" fmla="*/ 291 h 342"/>
                <a:gd name="T2" fmla="*/ 380 w 432"/>
                <a:gd name="T3" fmla="*/ 76 h 342"/>
                <a:gd name="T4" fmla="*/ 166 w 432"/>
                <a:gd name="T5" fmla="*/ 52 h 342"/>
                <a:gd name="T6" fmla="*/ 110 w 432"/>
                <a:gd name="T7" fmla="*/ 192 h 342"/>
                <a:gd name="T8" fmla="*/ 8 w 432"/>
                <a:gd name="T9" fmla="*/ 241 h 342"/>
                <a:gd name="T10" fmla="*/ 8 w 432"/>
                <a:gd name="T11" fmla="*/ 241 h 342"/>
                <a:gd name="T12" fmla="*/ 7 w 432"/>
                <a:gd name="T13" fmla="*/ 242 h 342"/>
                <a:gd name="T14" fmla="*/ 12 w 432"/>
                <a:gd name="T15" fmla="*/ 286 h 342"/>
                <a:gd name="T16" fmla="*/ 44 w 432"/>
                <a:gd name="T17" fmla="*/ 318 h 342"/>
                <a:gd name="T18" fmla="*/ 45 w 432"/>
                <a:gd name="T19" fmla="*/ 317 h 342"/>
                <a:gd name="T20" fmla="*/ 45 w 432"/>
                <a:gd name="T21" fmla="*/ 317 h 342"/>
                <a:gd name="T22" fmla="*/ 144 w 432"/>
                <a:gd name="T23" fmla="*/ 269 h 342"/>
                <a:gd name="T24" fmla="*/ 356 w 432"/>
                <a:gd name="T25" fmla="*/ 291 h 342"/>
                <a:gd name="T26" fmla="*/ 201 w 432"/>
                <a:gd name="T27" fmla="*/ 219 h 342"/>
                <a:gd name="T28" fmla="*/ 213 w 432"/>
                <a:gd name="T29" fmla="*/ 112 h 342"/>
                <a:gd name="T30" fmla="*/ 320 w 432"/>
                <a:gd name="T31" fmla="*/ 124 h 342"/>
                <a:gd name="T32" fmla="*/ 308 w 432"/>
                <a:gd name="T33" fmla="*/ 231 h 342"/>
                <a:gd name="T34" fmla="*/ 201 w 432"/>
                <a:gd name="T35" fmla="*/ 21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32" h="342">
                  <a:moveTo>
                    <a:pt x="356" y="291"/>
                  </a:moveTo>
                  <a:cubicBezTo>
                    <a:pt x="421" y="238"/>
                    <a:pt x="432" y="142"/>
                    <a:pt x="380" y="76"/>
                  </a:cubicBezTo>
                  <a:cubicBezTo>
                    <a:pt x="328" y="11"/>
                    <a:pt x="232" y="0"/>
                    <a:pt x="166" y="52"/>
                  </a:cubicBezTo>
                  <a:cubicBezTo>
                    <a:pt x="122" y="87"/>
                    <a:pt x="103" y="140"/>
                    <a:pt x="110" y="192"/>
                  </a:cubicBezTo>
                  <a:cubicBezTo>
                    <a:pt x="8" y="241"/>
                    <a:pt x="8" y="241"/>
                    <a:pt x="8" y="241"/>
                  </a:cubicBezTo>
                  <a:cubicBezTo>
                    <a:pt x="8" y="241"/>
                    <a:pt x="8" y="241"/>
                    <a:pt x="8" y="241"/>
                  </a:cubicBezTo>
                  <a:cubicBezTo>
                    <a:pt x="8" y="242"/>
                    <a:pt x="7" y="242"/>
                    <a:pt x="7" y="242"/>
                  </a:cubicBezTo>
                  <a:cubicBezTo>
                    <a:pt x="0" y="245"/>
                    <a:pt x="2" y="265"/>
                    <a:pt x="12" y="286"/>
                  </a:cubicBezTo>
                  <a:cubicBezTo>
                    <a:pt x="22" y="307"/>
                    <a:pt x="37" y="321"/>
                    <a:pt x="44" y="318"/>
                  </a:cubicBezTo>
                  <a:cubicBezTo>
                    <a:pt x="45" y="318"/>
                    <a:pt x="45" y="317"/>
                    <a:pt x="45" y="317"/>
                  </a:cubicBezTo>
                  <a:cubicBezTo>
                    <a:pt x="45" y="317"/>
                    <a:pt x="45" y="317"/>
                    <a:pt x="45" y="317"/>
                  </a:cubicBezTo>
                  <a:cubicBezTo>
                    <a:pt x="144" y="269"/>
                    <a:pt x="144" y="269"/>
                    <a:pt x="144" y="269"/>
                  </a:cubicBezTo>
                  <a:cubicBezTo>
                    <a:pt x="197" y="332"/>
                    <a:pt x="291" y="342"/>
                    <a:pt x="356" y="291"/>
                  </a:cubicBezTo>
                  <a:close/>
                  <a:moveTo>
                    <a:pt x="201" y="219"/>
                  </a:moveTo>
                  <a:cubicBezTo>
                    <a:pt x="175" y="186"/>
                    <a:pt x="181" y="138"/>
                    <a:pt x="213" y="112"/>
                  </a:cubicBezTo>
                  <a:cubicBezTo>
                    <a:pt x="246" y="86"/>
                    <a:pt x="294" y="91"/>
                    <a:pt x="320" y="124"/>
                  </a:cubicBezTo>
                  <a:cubicBezTo>
                    <a:pt x="346" y="157"/>
                    <a:pt x="341" y="205"/>
                    <a:pt x="308" y="231"/>
                  </a:cubicBezTo>
                  <a:cubicBezTo>
                    <a:pt x="275" y="257"/>
                    <a:pt x="227" y="251"/>
                    <a:pt x="201" y="219"/>
                  </a:cubicBezTo>
                  <a:close/>
                </a:path>
              </a:pathLst>
            </a:custGeom>
            <a:solidFill>
              <a:srgbClr val="424242">
                <a:alpha val="20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08" name="Freeform 49">
              <a:extLst>
                <a:ext uri="{FF2B5EF4-FFF2-40B4-BE49-F238E27FC236}">
                  <a16:creationId xmlns:a16="http://schemas.microsoft.com/office/drawing/2014/main" id="{82C39DEA-0D6D-432B-8FCD-3938F2CC944A}"/>
                </a:ext>
              </a:extLst>
            </p:cNvPr>
            <p:cNvSpPr>
              <a:spLocks/>
            </p:cNvSpPr>
            <p:nvPr/>
          </p:nvSpPr>
          <p:spPr bwMode="auto">
            <a:xfrm>
              <a:off x="6352381" y="3913981"/>
              <a:ext cx="604838" cy="1592263"/>
            </a:xfrm>
            <a:custGeom>
              <a:avLst/>
              <a:gdLst>
                <a:gd name="T0" fmla="*/ 285 w 343"/>
                <a:gd name="T1" fmla="*/ 14 h 903"/>
                <a:gd name="T2" fmla="*/ 252 w 343"/>
                <a:gd name="T3" fmla="*/ 129 h 903"/>
                <a:gd name="T4" fmla="*/ 292 w 343"/>
                <a:gd name="T5" fmla="*/ 141 h 903"/>
                <a:gd name="T6" fmla="*/ 330 w 343"/>
                <a:gd name="T7" fmla="*/ 221 h 903"/>
                <a:gd name="T8" fmla="*/ 75 w 343"/>
                <a:gd name="T9" fmla="*/ 865 h 903"/>
                <a:gd name="T10" fmla="*/ 16 w 343"/>
                <a:gd name="T11" fmla="*/ 900 h 903"/>
                <a:gd name="T12" fmla="*/ 0 w 343"/>
                <a:gd name="T13" fmla="*/ 898 h 903"/>
                <a:gd name="T14" fmla="*/ 224 w 343"/>
                <a:gd name="T15" fmla="*/ 0 h 903"/>
                <a:gd name="T16" fmla="*/ 285 w 343"/>
                <a:gd name="T17" fmla="*/ 14 h 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3" h="903">
                  <a:moveTo>
                    <a:pt x="285" y="14"/>
                  </a:moveTo>
                  <a:cubicBezTo>
                    <a:pt x="252" y="129"/>
                    <a:pt x="252" y="129"/>
                    <a:pt x="252" y="129"/>
                  </a:cubicBezTo>
                  <a:cubicBezTo>
                    <a:pt x="292" y="141"/>
                    <a:pt x="292" y="141"/>
                    <a:pt x="292" y="141"/>
                  </a:cubicBezTo>
                  <a:cubicBezTo>
                    <a:pt x="326" y="152"/>
                    <a:pt x="343" y="188"/>
                    <a:pt x="330" y="221"/>
                  </a:cubicBezTo>
                  <a:cubicBezTo>
                    <a:pt x="75" y="865"/>
                    <a:pt x="75" y="865"/>
                    <a:pt x="75" y="865"/>
                  </a:cubicBezTo>
                  <a:cubicBezTo>
                    <a:pt x="65" y="889"/>
                    <a:pt x="41" y="903"/>
                    <a:pt x="16" y="900"/>
                  </a:cubicBezTo>
                  <a:cubicBezTo>
                    <a:pt x="0" y="898"/>
                    <a:pt x="0" y="898"/>
                    <a:pt x="0" y="898"/>
                  </a:cubicBezTo>
                  <a:cubicBezTo>
                    <a:pt x="224" y="0"/>
                    <a:pt x="224" y="0"/>
                    <a:pt x="224" y="0"/>
                  </a:cubicBezTo>
                  <a:lnTo>
                    <a:pt x="285" y="14"/>
                  </a:lnTo>
                  <a:close/>
                </a:path>
              </a:pathLst>
            </a:custGeom>
            <a:solidFill>
              <a:srgbClr val="ACA5A5"/>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09" name="Freeform 50">
              <a:extLst>
                <a:ext uri="{FF2B5EF4-FFF2-40B4-BE49-F238E27FC236}">
                  <a16:creationId xmlns:a16="http://schemas.microsoft.com/office/drawing/2014/main" id="{DFEBE25D-F8F2-46B7-99AD-2AF09812DBF2}"/>
                </a:ext>
              </a:extLst>
            </p:cNvPr>
            <p:cNvSpPr>
              <a:spLocks noEditPoints="1"/>
            </p:cNvSpPr>
            <p:nvPr/>
          </p:nvSpPr>
          <p:spPr bwMode="auto">
            <a:xfrm>
              <a:off x="6646069" y="3202781"/>
              <a:ext cx="538163" cy="747713"/>
            </a:xfrm>
            <a:custGeom>
              <a:avLst/>
              <a:gdLst>
                <a:gd name="T0" fmla="*/ 305 w 305"/>
                <a:gd name="T1" fmla="*/ 153 h 424"/>
                <a:gd name="T2" fmla="*/ 152 w 305"/>
                <a:gd name="T3" fmla="*/ 0 h 424"/>
                <a:gd name="T4" fmla="*/ 0 w 305"/>
                <a:gd name="T5" fmla="*/ 153 h 424"/>
                <a:gd name="T6" fmla="*/ 74 w 305"/>
                <a:gd name="T7" fmla="*/ 284 h 424"/>
                <a:gd name="T8" fmla="*/ 50 w 305"/>
                <a:gd name="T9" fmla="*/ 395 h 424"/>
                <a:gd name="T10" fmla="*/ 50 w 305"/>
                <a:gd name="T11" fmla="*/ 395 h 424"/>
                <a:gd name="T12" fmla="*/ 50 w 305"/>
                <a:gd name="T13" fmla="*/ 395 h 424"/>
                <a:gd name="T14" fmla="*/ 88 w 305"/>
                <a:gd name="T15" fmla="*/ 419 h 424"/>
                <a:gd name="T16" fmla="*/ 132 w 305"/>
                <a:gd name="T17" fmla="*/ 413 h 424"/>
                <a:gd name="T18" fmla="*/ 132 w 305"/>
                <a:gd name="T19" fmla="*/ 413 h 424"/>
                <a:gd name="T20" fmla="*/ 132 w 305"/>
                <a:gd name="T21" fmla="*/ 413 h 424"/>
                <a:gd name="T22" fmla="*/ 156 w 305"/>
                <a:gd name="T23" fmla="*/ 305 h 424"/>
                <a:gd name="T24" fmla="*/ 305 w 305"/>
                <a:gd name="T25" fmla="*/ 153 h 424"/>
                <a:gd name="T26" fmla="*/ 152 w 305"/>
                <a:gd name="T27" fmla="*/ 229 h 424"/>
                <a:gd name="T28" fmla="*/ 76 w 305"/>
                <a:gd name="T29" fmla="*/ 153 h 424"/>
                <a:gd name="T30" fmla="*/ 152 w 305"/>
                <a:gd name="T31" fmla="*/ 77 h 424"/>
                <a:gd name="T32" fmla="*/ 228 w 305"/>
                <a:gd name="T33" fmla="*/ 153 h 424"/>
                <a:gd name="T34" fmla="*/ 152 w 305"/>
                <a:gd name="T35" fmla="*/ 229 h 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5" h="424">
                  <a:moveTo>
                    <a:pt x="305" y="153"/>
                  </a:moveTo>
                  <a:cubicBezTo>
                    <a:pt x="305" y="68"/>
                    <a:pt x="237" y="0"/>
                    <a:pt x="152" y="0"/>
                  </a:cubicBezTo>
                  <a:cubicBezTo>
                    <a:pt x="68" y="0"/>
                    <a:pt x="0" y="68"/>
                    <a:pt x="0" y="153"/>
                  </a:cubicBezTo>
                  <a:cubicBezTo>
                    <a:pt x="0" y="208"/>
                    <a:pt x="30" y="257"/>
                    <a:pt x="74" y="284"/>
                  </a:cubicBezTo>
                  <a:cubicBezTo>
                    <a:pt x="50" y="395"/>
                    <a:pt x="50" y="395"/>
                    <a:pt x="50" y="395"/>
                  </a:cubicBezTo>
                  <a:cubicBezTo>
                    <a:pt x="50" y="395"/>
                    <a:pt x="50" y="395"/>
                    <a:pt x="50" y="395"/>
                  </a:cubicBezTo>
                  <a:cubicBezTo>
                    <a:pt x="50" y="395"/>
                    <a:pt x="50" y="395"/>
                    <a:pt x="50" y="395"/>
                  </a:cubicBezTo>
                  <a:cubicBezTo>
                    <a:pt x="48" y="403"/>
                    <a:pt x="65" y="414"/>
                    <a:pt x="88" y="419"/>
                  </a:cubicBezTo>
                  <a:cubicBezTo>
                    <a:pt x="111" y="424"/>
                    <a:pt x="131" y="421"/>
                    <a:pt x="132" y="413"/>
                  </a:cubicBezTo>
                  <a:cubicBezTo>
                    <a:pt x="132" y="413"/>
                    <a:pt x="132" y="413"/>
                    <a:pt x="132" y="413"/>
                  </a:cubicBezTo>
                  <a:cubicBezTo>
                    <a:pt x="132" y="413"/>
                    <a:pt x="132" y="413"/>
                    <a:pt x="132" y="413"/>
                  </a:cubicBezTo>
                  <a:cubicBezTo>
                    <a:pt x="156" y="305"/>
                    <a:pt x="156" y="305"/>
                    <a:pt x="156" y="305"/>
                  </a:cubicBezTo>
                  <a:cubicBezTo>
                    <a:pt x="239" y="303"/>
                    <a:pt x="305" y="235"/>
                    <a:pt x="305" y="153"/>
                  </a:cubicBezTo>
                  <a:close/>
                  <a:moveTo>
                    <a:pt x="152" y="229"/>
                  </a:moveTo>
                  <a:cubicBezTo>
                    <a:pt x="110" y="229"/>
                    <a:pt x="76" y="195"/>
                    <a:pt x="76" y="153"/>
                  </a:cubicBezTo>
                  <a:cubicBezTo>
                    <a:pt x="76" y="111"/>
                    <a:pt x="110" y="77"/>
                    <a:pt x="152" y="77"/>
                  </a:cubicBezTo>
                  <a:cubicBezTo>
                    <a:pt x="194" y="77"/>
                    <a:pt x="228" y="111"/>
                    <a:pt x="228" y="153"/>
                  </a:cubicBezTo>
                  <a:cubicBezTo>
                    <a:pt x="228" y="195"/>
                    <a:pt x="194" y="229"/>
                    <a:pt x="152" y="229"/>
                  </a:cubicBezTo>
                  <a:close/>
                </a:path>
              </a:pathLst>
            </a:custGeom>
            <a:solidFill>
              <a:srgbClr val="194A76"/>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10" name="Freeform 51">
              <a:extLst>
                <a:ext uri="{FF2B5EF4-FFF2-40B4-BE49-F238E27FC236}">
                  <a16:creationId xmlns:a16="http://schemas.microsoft.com/office/drawing/2014/main" id="{62E24295-36BA-40C9-B1E9-D5221AFDFF4E}"/>
                </a:ext>
              </a:extLst>
            </p:cNvPr>
            <p:cNvSpPr>
              <a:spLocks/>
            </p:cNvSpPr>
            <p:nvPr/>
          </p:nvSpPr>
          <p:spPr bwMode="auto">
            <a:xfrm>
              <a:off x="5669756" y="4107656"/>
              <a:ext cx="1497013" cy="842963"/>
            </a:xfrm>
            <a:custGeom>
              <a:avLst/>
              <a:gdLst>
                <a:gd name="T0" fmla="*/ 823 w 849"/>
                <a:gd name="T1" fmla="*/ 22 h 478"/>
                <a:gd name="T2" fmla="*/ 717 w 849"/>
                <a:gd name="T3" fmla="*/ 77 h 478"/>
                <a:gd name="T4" fmla="*/ 697 w 849"/>
                <a:gd name="T5" fmla="*/ 40 h 478"/>
                <a:gd name="T6" fmla="*/ 611 w 849"/>
                <a:gd name="T7" fmla="*/ 19 h 478"/>
                <a:gd name="T8" fmla="*/ 31 w 849"/>
                <a:gd name="T9" fmla="*/ 398 h 478"/>
                <a:gd name="T10" fmla="*/ 9 w 849"/>
                <a:gd name="T11" fmla="*/ 463 h 478"/>
                <a:gd name="T12" fmla="*/ 14 w 849"/>
                <a:gd name="T13" fmla="*/ 478 h 478"/>
                <a:gd name="T14" fmla="*/ 849 w 849"/>
                <a:gd name="T15" fmla="*/ 79 h 478"/>
                <a:gd name="T16" fmla="*/ 823 w 849"/>
                <a:gd name="T17" fmla="*/ 22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9" h="478">
                  <a:moveTo>
                    <a:pt x="823" y="22"/>
                  </a:moveTo>
                  <a:cubicBezTo>
                    <a:pt x="717" y="77"/>
                    <a:pt x="717" y="77"/>
                    <a:pt x="717" y="77"/>
                  </a:cubicBezTo>
                  <a:cubicBezTo>
                    <a:pt x="697" y="40"/>
                    <a:pt x="697" y="40"/>
                    <a:pt x="697" y="40"/>
                  </a:cubicBezTo>
                  <a:cubicBezTo>
                    <a:pt x="680" y="10"/>
                    <a:pt x="641" y="0"/>
                    <a:pt x="611" y="19"/>
                  </a:cubicBezTo>
                  <a:cubicBezTo>
                    <a:pt x="31" y="398"/>
                    <a:pt x="31" y="398"/>
                    <a:pt x="31" y="398"/>
                  </a:cubicBezTo>
                  <a:cubicBezTo>
                    <a:pt x="10" y="412"/>
                    <a:pt x="0" y="438"/>
                    <a:pt x="9" y="463"/>
                  </a:cubicBezTo>
                  <a:cubicBezTo>
                    <a:pt x="14" y="478"/>
                    <a:pt x="14" y="478"/>
                    <a:pt x="14" y="478"/>
                  </a:cubicBezTo>
                  <a:cubicBezTo>
                    <a:pt x="849" y="79"/>
                    <a:pt x="849" y="79"/>
                    <a:pt x="849" y="79"/>
                  </a:cubicBezTo>
                  <a:lnTo>
                    <a:pt x="823" y="22"/>
                  </a:lnTo>
                  <a:close/>
                </a:path>
              </a:pathLst>
            </a:custGeom>
            <a:solidFill>
              <a:srgbClr val="DDD0D5"/>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11" name="Oval 52">
              <a:extLst>
                <a:ext uri="{FF2B5EF4-FFF2-40B4-BE49-F238E27FC236}">
                  <a16:creationId xmlns:a16="http://schemas.microsoft.com/office/drawing/2014/main" id="{3F72A68C-D8FA-4BD9-9E39-8302240C7B85}"/>
                </a:ext>
              </a:extLst>
            </p:cNvPr>
            <p:cNvSpPr>
              <a:spLocks noChangeArrowheads="1"/>
            </p:cNvSpPr>
            <p:nvPr/>
          </p:nvSpPr>
          <p:spPr bwMode="auto">
            <a:xfrm>
              <a:off x="6746081" y="4218781"/>
              <a:ext cx="119063" cy="120650"/>
            </a:xfrm>
            <a:prstGeom prst="ellipse">
              <a:avLst/>
            </a:prstGeom>
            <a:solidFill>
              <a:srgbClr val="AC9FA9"/>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12" name="Freeform 53">
              <a:extLst>
                <a:ext uri="{FF2B5EF4-FFF2-40B4-BE49-F238E27FC236}">
                  <a16:creationId xmlns:a16="http://schemas.microsoft.com/office/drawing/2014/main" id="{F635E47D-E07B-4ACD-9C2B-415EE158AC56}"/>
                </a:ext>
              </a:extLst>
            </p:cNvPr>
            <p:cNvSpPr>
              <a:spLocks noEditPoints="1"/>
            </p:cNvSpPr>
            <p:nvPr/>
          </p:nvSpPr>
          <p:spPr bwMode="auto">
            <a:xfrm>
              <a:off x="7115969" y="3699669"/>
              <a:ext cx="760413" cy="603250"/>
            </a:xfrm>
            <a:custGeom>
              <a:avLst/>
              <a:gdLst>
                <a:gd name="T0" fmla="*/ 356 w 432"/>
                <a:gd name="T1" fmla="*/ 291 h 342"/>
                <a:gd name="T2" fmla="*/ 380 w 432"/>
                <a:gd name="T3" fmla="*/ 76 h 342"/>
                <a:gd name="T4" fmla="*/ 166 w 432"/>
                <a:gd name="T5" fmla="*/ 52 h 342"/>
                <a:gd name="T6" fmla="*/ 110 w 432"/>
                <a:gd name="T7" fmla="*/ 192 h 342"/>
                <a:gd name="T8" fmla="*/ 8 w 432"/>
                <a:gd name="T9" fmla="*/ 241 h 342"/>
                <a:gd name="T10" fmla="*/ 8 w 432"/>
                <a:gd name="T11" fmla="*/ 241 h 342"/>
                <a:gd name="T12" fmla="*/ 7 w 432"/>
                <a:gd name="T13" fmla="*/ 242 h 342"/>
                <a:gd name="T14" fmla="*/ 12 w 432"/>
                <a:gd name="T15" fmla="*/ 286 h 342"/>
                <a:gd name="T16" fmla="*/ 44 w 432"/>
                <a:gd name="T17" fmla="*/ 318 h 342"/>
                <a:gd name="T18" fmla="*/ 45 w 432"/>
                <a:gd name="T19" fmla="*/ 317 h 342"/>
                <a:gd name="T20" fmla="*/ 45 w 432"/>
                <a:gd name="T21" fmla="*/ 317 h 342"/>
                <a:gd name="T22" fmla="*/ 144 w 432"/>
                <a:gd name="T23" fmla="*/ 269 h 342"/>
                <a:gd name="T24" fmla="*/ 356 w 432"/>
                <a:gd name="T25" fmla="*/ 291 h 342"/>
                <a:gd name="T26" fmla="*/ 201 w 432"/>
                <a:gd name="T27" fmla="*/ 219 h 342"/>
                <a:gd name="T28" fmla="*/ 213 w 432"/>
                <a:gd name="T29" fmla="*/ 112 h 342"/>
                <a:gd name="T30" fmla="*/ 320 w 432"/>
                <a:gd name="T31" fmla="*/ 124 h 342"/>
                <a:gd name="T32" fmla="*/ 308 w 432"/>
                <a:gd name="T33" fmla="*/ 231 h 342"/>
                <a:gd name="T34" fmla="*/ 201 w 432"/>
                <a:gd name="T35" fmla="*/ 21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32" h="342">
                  <a:moveTo>
                    <a:pt x="356" y="291"/>
                  </a:moveTo>
                  <a:cubicBezTo>
                    <a:pt x="421" y="238"/>
                    <a:pt x="432" y="142"/>
                    <a:pt x="380" y="76"/>
                  </a:cubicBezTo>
                  <a:cubicBezTo>
                    <a:pt x="328" y="11"/>
                    <a:pt x="232" y="0"/>
                    <a:pt x="166" y="52"/>
                  </a:cubicBezTo>
                  <a:cubicBezTo>
                    <a:pt x="122" y="87"/>
                    <a:pt x="103" y="140"/>
                    <a:pt x="110" y="192"/>
                  </a:cubicBezTo>
                  <a:cubicBezTo>
                    <a:pt x="8" y="241"/>
                    <a:pt x="8" y="241"/>
                    <a:pt x="8" y="241"/>
                  </a:cubicBezTo>
                  <a:cubicBezTo>
                    <a:pt x="8" y="241"/>
                    <a:pt x="8" y="241"/>
                    <a:pt x="8" y="241"/>
                  </a:cubicBezTo>
                  <a:cubicBezTo>
                    <a:pt x="8" y="242"/>
                    <a:pt x="7" y="242"/>
                    <a:pt x="7" y="242"/>
                  </a:cubicBezTo>
                  <a:cubicBezTo>
                    <a:pt x="0" y="245"/>
                    <a:pt x="2" y="265"/>
                    <a:pt x="12" y="286"/>
                  </a:cubicBezTo>
                  <a:cubicBezTo>
                    <a:pt x="22" y="307"/>
                    <a:pt x="37" y="321"/>
                    <a:pt x="44" y="318"/>
                  </a:cubicBezTo>
                  <a:cubicBezTo>
                    <a:pt x="45" y="318"/>
                    <a:pt x="45" y="317"/>
                    <a:pt x="45" y="317"/>
                  </a:cubicBezTo>
                  <a:cubicBezTo>
                    <a:pt x="45" y="317"/>
                    <a:pt x="45" y="317"/>
                    <a:pt x="45" y="317"/>
                  </a:cubicBezTo>
                  <a:cubicBezTo>
                    <a:pt x="144" y="269"/>
                    <a:pt x="144" y="269"/>
                    <a:pt x="144" y="269"/>
                  </a:cubicBezTo>
                  <a:cubicBezTo>
                    <a:pt x="197" y="332"/>
                    <a:pt x="291" y="342"/>
                    <a:pt x="356" y="291"/>
                  </a:cubicBezTo>
                  <a:close/>
                  <a:moveTo>
                    <a:pt x="201" y="219"/>
                  </a:moveTo>
                  <a:cubicBezTo>
                    <a:pt x="175" y="186"/>
                    <a:pt x="181" y="138"/>
                    <a:pt x="213" y="112"/>
                  </a:cubicBezTo>
                  <a:cubicBezTo>
                    <a:pt x="246" y="86"/>
                    <a:pt x="294" y="91"/>
                    <a:pt x="320" y="124"/>
                  </a:cubicBezTo>
                  <a:cubicBezTo>
                    <a:pt x="346" y="157"/>
                    <a:pt x="341" y="205"/>
                    <a:pt x="308" y="231"/>
                  </a:cubicBezTo>
                  <a:cubicBezTo>
                    <a:pt x="275" y="257"/>
                    <a:pt x="227" y="251"/>
                    <a:pt x="201" y="219"/>
                  </a:cubicBezTo>
                  <a:close/>
                </a:path>
              </a:pathLst>
            </a:custGeom>
            <a:solidFill>
              <a:srgbClr val="3461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grpSp>
    </p:spTree>
    <p:custDataLst>
      <p:tags r:id="rId1"/>
    </p:custDataLst>
    <p:extLst>
      <p:ext uri="{BB962C8B-B14F-4D97-AF65-F5344CB8AC3E}">
        <p14:creationId xmlns:p14="http://schemas.microsoft.com/office/powerpoint/2010/main" val="1185935164"/>
      </p:ext>
    </p:extLst>
  </p:cSld>
  <p:clrMapOvr>
    <a:masterClrMapping/>
  </p:clrMapOvr>
  <mc:AlternateContent xmlns:mc="http://schemas.openxmlformats.org/markup-compatibility/2006">
    <mc:Choice xmlns:p14="http://schemas.microsoft.com/office/powerpoint/2010/main" Requires="p14">
      <p:transition spd="slow" p14:dur="1250">
        <p:blinds dir="vert"/>
      </p:transition>
    </mc:Choice>
    <mc:Fallback>
      <p:transition spd="slow">
        <p:blinds dir="vert"/>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506" name="Picture 2">
            <a:extLst>
              <a:ext uri="{FF2B5EF4-FFF2-40B4-BE49-F238E27FC236}">
                <a16:creationId xmlns:a16="http://schemas.microsoft.com/office/drawing/2014/main" id="{87EA8ADC-F22E-4C23-AAA7-7117E967F46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3980" y="941615"/>
            <a:ext cx="11982450" cy="5648325"/>
          </a:xfrm>
          <a:prstGeom prst="rect">
            <a:avLst/>
          </a:prstGeom>
          <a:noFill/>
          <a:extLst>
            <a:ext uri="{909E8E84-426E-40DD-AFC4-6F175D3DCCD1}">
              <a14:hiddenFill xmlns:a14="http://schemas.microsoft.com/office/drawing/2010/main">
                <a:solidFill>
                  <a:srgbClr val="FFFFFF"/>
                </a:solidFill>
              </a14:hiddenFill>
            </a:ext>
          </a:extLst>
        </p:spPr>
      </p:pic>
      <p:sp>
        <p:nvSpPr>
          <p:cNvPr id="4" name="灯片编号占位符 3">
            <a:extLst>
              <a:ext uri="{FF2B5EF4-FFF2-40B4-BE49-F238E27FC236}">
                <a16:creationId xmlns:a16="http://schemas.microsoft.com/office/drawing/2014/main" id="{2A5C0DA9-421E-435E-A37F-75EEA4A204CB}"/>
              </a:ext>
            </a:extLst>
          </p:cNvPr>
          <p:cNvSpPr>
            <a:spLocks noGrp="1"/>
          </p:cNvSpPr>
          <p:nvPr>
            <p:ph type="sldNum" sz="quarter" idx="12"/>
          </p:nvPr>
        </p:nvSpPr>
        <p:spPr/>
        <p:txBody>
          <a:bodyPr/>
          <a:lstStyle/>
          <a:p>
            <a:fld id="{5DD3DB80-B894-403A-B48E-6FDC1A72010E}" type="slidenum">
              <a:rPr lang="zh-CN" altLang="en-US" smtClean="0"/>
              <a:pPr/>
              <a:t>28</a:t>
            </a:fld>
            <a:endParaRPr lang="zh-CN" altLang="en-US"/>
          </a:p>
        </p:txBody>
      </p:sp>
      <p:sp>
        <p:nvSpPr>
          <p:cNvPr id="5" name="标题 1">
            <a:extLst>
              <a:ext uri="{FF2B5EF4-FFF2-40B4-BE49-F238E27FC236}">
                <a16:creationId xmlns:a16="http://schemas.microsoft.com/office/drawing/2014/main" id="{A66C21BB-C083-4C2F-A2AE-920B8A20D84E}"/>
              </a:ext>
            </a:extLst>
          </p:cNvPr>
          <p:cNvSpPr>
            <a:spLocks noGrp="1"/>
          </p:cNvSpPr>
          <p:nvPr>
            <p:ph type="title"/>
          </p:nvPr>
        </p:nvSpPr>
        <p:spPr>
          <a:xfrm>
            <a:off x="669924" y="1"/>
            <a:ext cx="10850563" cy="1028699"/>
          </a:xfrm>
        </p:spPr>
        <p:txBody>
          <a:bodyPr/>
          <a:lstStyle/>
          <a:p>
            <a:r>
              <a:rPr lang="en-US" altLang="zh-CN" dirty="0"/>
              <a:t>UML</a:t>
            </a:r>
            <a:r>
              <a:rPr lang="zh-CN" altLang="en-US" b="1" i="0" dirty="0">
                <a:solidFill>
                  <a:srgbClr val="4F4F4F"/>
                </a:solidFill>
                <a:effectLst/>
                <a:latin typeface="PingFang SC"/>
              </a:rPr>
              <a:t>部署图中的事物及解释</a:t>
            </a:r>
            <a:endParaRPr lang="zh-CN" altLang="en-US" dirty="0"/>
          </a:p>
        </p:txBody>
      </p:sp>
      <p:grpSp>
        <p:nvGrpSpPr>
          <p:cNvPr id="378" name="组合 377">
            <a:extLst>
              <a:ext uri="{FF2B5EF4-FFF2-40B4-BE49-F238E27FC236}">
                <a16:creationId xmlns:a16="http://schemas.microsoft.com/office/drawing/2014/main" id="{4D6F4725-E9CF-47C0-A24D-95F9A714BAE0}"/>
              </a:ext>
            </a:extLst>
          </p:cNvPr>
          <p:cNvGrpSpPr/>
          <p:nvPr/>
        </p:nvGrpSpPr>
        <p:grpSpPr>
          <a:xfrm>
            <a:off x="10482954" y="0"/>
            <a:ext cx="1030921" cy="1080294"/>
            <a:chOff x="4874988" y="1859559"/>
            <a:chExt cx="2661884" cy="3969810"/>
          </a:xfrm>
        </p:grpSpPr>
        <p:grpSp>
          <p:nvGrpSpPr>
            <p:cNvPr id="379" name="íŝḻïḑè">
              <a:extLst>
                <a:ext uri="{FF2B5EF4-FFF2-40B4-BE49-F238E27FC236}">
                  <a16:creationId xmlns:a16="http://schemas.microsoft.com/office/drawing/2014/main" id="{E773D6DB-E4EF-4893-BA5C-FF1895435916}"/>
                </a:ext>
              </a:extLst>
            </p:cNvPr>
            <p:cNvGrpSpPr/>
            <p:nvPr/>
          </p:nvGrpSpPr>
          <p:grpSpPr>
            <a:xfrm>
              <a:off x="6480535" y="5493164"/>
              <a:ext cx="520250" cy="336205"/>
              <a:chOff x="6185308" y="3970463"/>
              <a:chExt cx="170914" cy="110451"/>
            </a:xfrm>
          </p:grpSpPr>
          <p:sp>
            <p:nvSpPr>
              <p:cNvPr id="860" name="ïSľidè">
                <a:extLst>
                  <a:ext uri="{FF2B5EF4-FFF2-40B4-BE49-F238E27FC236}">
                    <a16:creationId xmlns:a16="http://schemas.microsoft.com/office/drawing/2014/main" id="{56BED41C-949C-4322-B58A-3386FED33CBA}"/>
                  </a:ext>
                </a:extLst>
              </p:cNvPr>
              <p:cNvSpPr/>
              <p:nvPr/>
            </p:nvSpPr>
            <p:spPr>
              <a:xfrm>
                <a:off x="6241161" y="3970463"/>
                <a:ext cx="78771" cy="21749"/>
              </a:xfrm>
              <a:custGeom>
                <a:avLst/>
                <a:gdLst>
                  <a:gd name="connsiteX0" fmla="*/ -336 w 78771"/>
                  <a:gd name="connsiteY0" fmla="*/ 13014 h 21749"/>
                  <a:gd name="connsiteX1" fmla="*/ 807 w 78771"/>
                  <a:gd name="connsiteY1" fmla="*/ 13014 h 21749"/>
                  <a:gd name="connsiteX2" fmla="*/ 5188 w 78771"/>
                  <a:gd name="connsiteY2" fmla="*/ 13014 h 21749"/>
                  <a:gd name="connsiteX3" fmla="*/ 5188 w 78771"/>
                  <a:gd name="connsiteY3" fmla="*/ 13014 h 21749"/>
                  <a:gd name="connsiteX4" fmla="*/ 8808 w 78771"/>
                  <a:gd name="connsiteY4" fmla="*/ 13966 h 21749"/>
                  <a:gd name="connsiteX5" fmla="*/ 13189 w 78771"/>
                  <a:gd name="connsiteY5" fmla="*/ 15586 h 21749"/>
                  <a:gd name="connsiteX6" fmla="*/ 16427 w 78771"/>
                  <a:gd name="connsiteY6" fmla="*/ 17014 h 21749"/>
                  <a:gd name="connsiteX7" fmla="*/ 18142 w 78771"/>
                  <a:gd name="connsiteY7" fmla="*/ 17776 h 21749"/>
                  <a:gd name="connsiteX8" fmla="*/ 21666 w 78771"/>
                  <a:gd name="connsiteY8" fmla="*/ 19586 h 21749"/>
                  <a:gd name="connsiteX9" fmla="*/ 25286 w 78771"/>
                  <a:gd name="connsiteY9" fmla="*/ 21586 h 21749"/>
                  <a:gd name="connsiteX10" fmla="*/ 78435 w 78771"/>
                  <a:gd name="connsiteY10" fmla="*/ 12061 h 21749"/>
                  <a:gd name="connsiteX11" fmla="*/ 57957 w 78771"/>
                  <a:gd name="connsiteY11" fmla="*/ 2536 h 21749"/>
                  <a:gd name="connsiteX12" fmla="*/ 40050 w 78771"/>
                  <a:gd name="connsiteY12" fmla="*/ -131 h 21749"/>
                  <a:gd name="connsiteX13" fmla="*/ 21000 w 78771"/>
                  <a:gd name="connsiteY13" fmla="*/ 3584 h 21749"/>
                  <a:gd name="connsiteX14" fmla="*/ -336 w 78771"/>
                  <a:gd name="connsiteY14" fmla="*/ 13014 h 217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8771" h="21749">
                    <a:moveTo>
                      <a:pt x="-336" y="13014"/>
                    </a:moveTo>
                    <a:cubicBezTo>
                      <a:pt x="35" y="12899"/>
                      <a:pt x="435" y="12899"/>
                      <a:pt x="807" y="13014"/>
                    </a:cubicBezTo>
                    <a:cubicBezTo>
                      <a:pt x="2255" y="12728"/>
                      <a:pt x="3740" y="12728"/>
                      <a:pt x="5188" y="13014"/>
                    </a:cubicBezTo>
                    <a:lnTo>
                      <a:pt x="5188" y="13014"/>
                    </a:lnTo>
                    <a:cubicBezTo>
                      <a:pt x="6407" y="13261"/>
                      <a:pt x="7617" y="13585"/>
                      <a:pt x="8808" y="13966"/>
                    </a:cubicBezTo>
                    <a:cubicBezTo>
                      <a:pt x="10303" y="14414"/>
                      <a:pt x="11770" y="14947"/>
                      <a:pt x="13189" y="15586"/>
                    </a:cubicBezTo>
                    <a:lnTo>
                      <a:pt x="16427" y="17014"/>
                    </a:lnTo>
                    <a:lnTo>
                      <a:pt x="18142" y="17776"/>
                    </a:lnTo>
                    <a:lnTo>
                      <a:pt x="21666" y="19586"/>
                    </a:lnTo>
                    <a:lnTo>
                      <a:pt x="25286" y="21586"/>
                    </a:lnTo>
                    <a:cubicBezTo>
                      <a:pt x="47860" y="8537"/>
                      <a:pt x="67672" y="5489"/>
                      <a:pt x="78435" y="12061"/>
                    </a:cubicBezTo>
                    <a:cubicBezTo>
                      <a:pt x="71949" y="8204"/>
                      <a:pt x="65091" y="5003"/>
                      <a:pt x="57957" y="2536"/>
                    </a:cubicBezTo>
                    <a:cubicBezTo>
                      <a:pt x="52203" y="555"/>
                      <a:pt x="46136" y="-350"/>
                      <a:pt x="40050" y="-131"/>
                    </a:cubicBezTo>
                    <a:cubicBezTo>
                      <a:pt x="33553" y="193"/>
                      <a:pt x="27143" y="1450"/>
                      <a:pt x="21000" y="3584"/>
                    </a:cubicBezTo>
                    <a:cubicBezTo>
                      <a:pt x="13580" y="5975"/>
                      <a:pt x="6426" y="9137"/>
                      <a:pt x="-336" y="13014"/>
                    </a:cubicBezTo>
                    <a:close/>
                  </a:path>
                </a:pathLst>
              </a:custGeom>
              <a:solidFill>
                <a:srgbClr val="FF7D33"/>
              </a:solidFill>
              <a:ln w="9525" cap="flat">
                <a:noFill/>
                <a:prstDash val="solid"/>
                <a:miter/>
              </a:ln>
            </p:spPr>
            <p:txBody>
              <a:bodyPr rtlCol="0" anchor="ctr"/>
              <a:lstStyle/>
              <a:p>
                <a:endParaRPr lang="zh-CN" altLang="en-US"/>
              </a:p>
            </p:txBody>
          </p:sp>
          <p:sp>
            <p:nvSpPr>
              <p:cNvPr id="861" name="ïślíde">
                <a:extLst>
                  <a:ext uri="{FF2B5EF4-FFF2-40B4-BE49-F238E27FC236}">
                    <a16:creationId xmlns:a16="http://schemas.microsoft.com/office/drawing/2014/main" id="{EE31D9B4-8FDF-4F4A-84C5-DF230243C3F3}"/>
                  </a:ext>
                </a:extLst>
              </p:cNvPr>
              <p:cNvSpPr/>
              <p:nvPr/>
            </p:nvSpPr>
            <p:spPr>
              <a:xfrm>
                <a:off x="6267164" y="3979144"/>
                <a:ext cx="60007" cy="16878"/>
              </a:xfrm>
              <a:custGeom>
                <a:avLst/>
                <a:gdLst>
                  <a:gd name="connsiteX0" fmla="*/ -336 w 60007"/>
                  <a:gd name="connsiteY0" fmla="*/ 12715 h 16878"/>
                  <a:gd name="connsiteX1" fmla="*/ 6427 w 60007"/>
                  <a:gd name="connsiteY1" fmla="*/ 16715 h 16878"/>
                  <a:gd name="connsiteX2" fmla="*/ 59671 w 60007"/>
                  <a:gd name="connsiteY2" fmla="*/ 7190 h 16878"/>
                  <a:gd name="connsiteX3" fmla="*/ 52813 w 60007"/>
                  <a:gd name="connsiteY3" fmla="*/ 3190 h 16878"/>
                  <a:gd name="connsiteX4" fmla="*/ -336 w 60007"/>
                  <a:gd name="connsiteY4" fmla="*/ 12715 h 168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16878">
                    <a:moveTo>
                      <a:pt x="-336" y="12715"/>
                    </a:moveTo>
                    <a:lnTo>
                      <a:pt x="6427" y="16715"/>
                    </a:lnTo>
                    <a:cubicBezTo>
                      <a:pt x="29096" y="3666"/>
                      <a:pt x="48908" y="618"/>
                      <a:pt x="59671" y="7190"/>
                    </a:cubicBezTo>
                    <a:lnTo>
                      <a:pt x="52813" y="3190"/>
                    </a:lnTo>
                    <a:cubicBezTo>
                      <a:pt x="42050" y="-3382"/>
                      <a:pt x="22238" y="-334"/>
                      <a:pt x="-336" y="12715"/>
                    </a:cubicBezTo>
                    <a:close/>
                  </a:path>
                </a:pathLst>
              </a:custGeom>
              <a:solidFill>
                <a:srgbClr val="D1D9E8"/>
              </a:solidFill>
              <a:ln w="9525" cap="flat">
                <a:noFill/>
                <a:prstDash val="solid"/>
                <a:miter/>
              </a:ln>
            </p:spPr>
            <p:txBody>
              <a:bodyPr rtlCol="0" anchor="ctr"/>
              <a:lstStyle/>
              <a:p>
                <a:endParaRPr lang="zh-CN" altLang="en-US"/>
              </a:p>
            </p:txBody>
          </p:sp>
          <p:sp>
            <p:nvSpPr>
              <p:cNvPr id="862" name="îṧ1îdê">
                <a:extLst>
                  <a:ext uri="{FF2B5EF4-FFF2-40B4-BE49-F238E27FC236}">
                    <a16:creationId xmlns:a16="http://schemas.microsoft.com/office/drawing/2014/main" id="{9172A6D8-5C9D-45D9-A3F8-E8D5C56C8AD1}"/>
                  </a:ext>
                </a:extLst>
              </p:cNvPr>
              <p:cNvSpPr/>
              <p:nvPr/>
            </p:nvSpPr>
            <p:spPr>
              <a:xfrm>
                <a:off x="6273831" y="3983188"/>
                <a:ext cx="82105" cy="38075"/>
              </a:xfrm>
              <a:custGeom>
                <a:avLst/>
                <a:gdLst>
                  <a:gd name="connsiteX0" fmla="*/ -336 w 82105"/>
                  <a:gd name="connsiteY0" fmla="*/ 12671 h 38075"/>
                  <a:gd name="connsiteX1" fmla="*/ 27000 w 82105"/>
                  <a:gd name="connsiteY1" fmla="*/ 37913 h 38075"/>
                  <a:gd name="connsiteX2" fmla="*/ 80531 w 82105"/>
                  <a:gd name="connsiteY2" fmla="*/ 30578 h 38075"/>
                  <a:gd name="connsiteX3" fmla="*/ 81769 w 82105"/>
                  <a:gd name="connsiteY3" fmla="*/ 31340 h 38075"/>
                  <a:gd name="connsiteX4" fmla="*/ 80055 w 82105"/>
                  <a:gd name="connsiteY4" fmla="*/ 25816 h 38075"/>
                  <a:gd name="connsiteX5" fmla="*/ 73482 w 82105"/>
                  <a:gd name="connsiteY5" fmla="*/ 18005 h 38075"/>
                  <a:gd name="connsiteX6" fmla="*/ 52908 w 82105"/>
                  <a:gd name="connsiteY6" fmla="*/ 2861 h 38075"/>
                  <a:gd name="connsiteX7" fmla="*/ -336 w 82105"/>
                  <a:gd name="connsiteY7" fmla="*/ 12671 h 38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2105" h="38075">
                    <a:moveTo>
                      <a:pt x="-336" y="12671"/>
                    </a:moveTo>
                    <a:cubicBezTo>
                      <a:pt x="14713" y="21339"/>
                      <a:pt x="27000" y="32674"/>
                      <a:pt x="27000" y="37913"/>
                    </a:cubicBezTo>
                    <a:cubicBezTo>
                      <a:pt x="57957" y="20101"/>
                      <a:pt x="80817" y="23530"/>
                      <a:pt x="80531" y="30578"/>
                    </a:cubicBezTo>
                    <a:lnTo>
                      <a:pt x="81769" y="31340"/>
                    </a:lnTo>
                    <a:cubicBezTo>
                      <a:pt x="81703" y="29378"/>
                      <a:pt x="81112" y="27473"/>
                      <a:pt x="80055" y="25816"/>
                    </a:cubicBezTo>
                    <a:cubicBezTo>
                      <a:pt x="78169" y="22968"/>
                      <a:pt x="75968" y="20349"/>
                      <a:pt x="73482" y="18005"/>
                    </a:cubicBezTo>
                    <a:cubicBezTo>
                      <a:pt x="67253" y="12148"/>
                      <a:pt x="60347" y="7061"/>
                      <a:pt x="52908" y="2861"/>
                    </a:cubicBezTo>
                    <a:cubicBezTo>
                      <a:pt x="42240" y="-3140"/>
                      <a:pt x="22429" y="-378"/>
                      <a:pt x="-336" y="12671"/>
                    </a:cubicBezTo>
                    <a:close/>
                  </a:path>
                </a:pathLst>
              </a:custGeom>
              <a:solidFill>
                <a:srgbClr val="FF7D33"/>
              </a:solidFill>
              <a:ln w="9525" cap="flat">
                <a:noFill/>
                <a:prstDash val="solid"/>
                <a:miter/>
              </a:ln>
            </p:spPr>
            <p:txBody>
              <a:bodyPr rtlCol="0" anchor="ctr"/>
              <a:lstStyle/>
              <a:p>
                <a:endParaRPr lang="zh-CN" altLang="en-US"/>
              </a:p>
            </p:txBody>
          </p:sp>
          <p:sp>
            <p:nvSpPr>
              <p:cNvPr id="863" name="íšļîḍê">
                <a:extLst>
                  <a:ext uri="{FF2B5EF4-FFF2-40B4-BE49-F238E27FC236}">
                    <a16:creationId xmlns:a16="http://schemas.microsoft.com/office/drawing/2014/main" id="{1BD76DAE-16A8-4FA4-AB1F-2E740895D658}"/>
                  </a:ext>
                </a:extLst>
              </p:cNvPr>
              <p:cNvSpPr/>
              <p:nvPr/>
            </p:nvSpPr>
            <p:spPr>
              <a:xfrm>
                <a:off x="6245256" y="4013929"/>
                <a:ext cx="110966" cy="64769"/>
              </a:xfrm>
              <a:custGeom>
                <a:avLst/>
                <a:gdLst>
                  <a:gd name="connsiteX0" fmla="*/ -336 w 110966"/>
                  <a:gd name="connsiteY0" fmla="*/ 64607 h 64769"/>
                  <a:gd name="connsiteX1" fmla="*/ 110630 w 110966"/>
                  <a:gd name="connsiteY1" fmla="*/ 599 h 64769"/>
                  <a:gd name="connsiteX2" fmla="*/ 109392 w 110966"/>
                  <a:gd name="connsiteY2" fmla="*/ -163 h 64769"/>
                  <a:gd name="connsiteX3" fmla="*/ 2235 w 110966"/>
                  <a:gd name="connsiteY3" fmla="*/ 61369 h 64769"/>
                  <a:gd name="connsiteX4" fmla="*/ 1283 w 110966"/>
                  <a:gd name="connsiteY4" fmla="*/ 62607 h 64769"/>
                  <a:gd name="connsiteX5" fmla="*/ 426 w 110966"/>
                  <a:gd name="connsiteY5" fmla="*/ 63560 h 64769"/>
                  <a:gd name="connsiteX6" fmla="*/ -51 w 110966"/>
                  <a:gd name="connsiteY6" fmla="*/ 63560 h 64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0966" h="64769">
                    <a:moveTo>
                      <a:pt x="-336" y="64607"/>
                    </a:moveTo>
                    <a:lnTo>
                      <a:pt x="110630" y="599"/>
                    </a:lnTo>
                    <a:lnTo>
                      <a:pt x="109392" y="-163"/>
                    </a:lnTo>
                    <a:lnTo>
                      <a:pt x="2235" y="61369"/>
                    </a:lnTo>
                    <a:cubicBezTo>
                      <a:pt x="1969" y="61816"/>
                      <a:pt x="1655" y="62236"/>
                      <a:pt x="1283" y="62607"/>
                    </a:cubicBezTo>
                    <a:lnTo>
                      <a:pt x="426" y="63560"/>
                    </a:lnTo>
                    <a:lnTo>
                      <a:pt x="-51" y="63560"/>
                    </a:lnTo>
                    <a:close/>
                  </a:path>
                </a:pathLst>
              </a:custGeom>
              <a:solidFill>
                <a:srgbClr val="BF4200"/>
              </a:solidFill>
              <a:ln w="9525" cap="flat">
                <a:noFill/>
                <a:prstDash val="solid"/>
                <a:miter/>
              </a:ln>
            </p:spPr>
            <p:txBody>
              <a:bodyPr rtlCol="0" anchor="ctr"/>
              <a:lstStyle/>
              <a:p>
                <a:endParaRPr lang="zh-CN" altLang="en-US"/>
              </a:p>
            </p:txBody>
          </p:sp>
          <p:sp>
            <p:nvSpPr>
              <p:cNvPr id="864" name="íşľîḍè">
                <a:extLst>
                  <a:ext uri="{FF2B5EF4-FFF2-40B4-BE49-F238E27FC236}">
                    <a16:creationId xmlns:a16="http://schemas.microsoft.com/office/drawing/2014/main" id="{02E918F9-69B4-48A7-B0FD-9B7086F25879}"/>
                  </a:ext>
                </a:extLst>
              </p:cNvPr>
              <p:cNvSpPr/>
              <p:nvPr/>
            </p:nvSpPr>
            <p:spPr>
              <a:xfrm>
                <a:off x="6247823" y="4007929"/>
                <a:ext cx="106970" cy="67531"/>
              </a:xfrm>
              <a:custGeom>
                <a:avLst/>
                <a:gdLst>
                  <a:gd name="connsiteX0" fmla="*/ -332 w 106970"/>
                  <a:gd name="connsiteY0" fmla="*/ 67369 h 67531"/>
                  <a:gd name="connsiteX1" fmla="*/ 106634 w 106970"/>
                  <a:gd name="connsiteY1" fmla="*/ 5552 h 67531"/>
                  <a:gd name="connsiteX2" fmla="*/ 53104 w 106970"/>
                  <a:gd name="connsiteY2" fmla="*/ 12886 h 67531"/>
                  <a:gd name="connsiteX3" fmla="*/ -332 w 106970"/>
                  <a:gd name="connsiteY3" fmla="*/ 67369 h 67531"/>
                </a:gdLst>
                <a:ahLst/>
                <a:cxnLst>
                  <a:cxn ang="0">
                    <a:pos x="connsiteX0" y="connsiteY0"/>
                  </a:cxn>
                  <a:cxn ang="0">
                    <a:pos x="connsiteX1" y="connsiteY1"/>
                  </a:cxn>
                  <a:cxn ang="0">
                    <a:pos x="connsiteX2" y="connsiteY2"/>
                  </a:cxn>
                  <a:cxn ang="0">
                    <a:pos x="connsiteX3" y="connsiteY3"/>
                  </a:cxn>
                </a:cxnLst>
                <a:rect l="l" t="t" r="r" b="b"/>
                <a:pathLst>
                  <a:path w="106970" h="67531">
                    <a:moveTo>
                      <a:pt x="-332" y="67369"/>
                    </a:moveTo>
                    <a:lnTo>
                      <a:pt x="106634" y="5552"/>
                    </a:lnTo>
                    <a:cubicBezTo>
                      <a:pt x="106634" y="-1497"/>
                      <a:pt x="84060" y="-4926"/>
                      <a:pt x="53104" y="12886"/>
                    </a:cubicBezTo>
                    <a:cubicBezTo>
                      <a:pt x="22148" y="30697"/>
                      <a:pt x="-712" y="60987"/>
                      <a:pt x="-332" y="67369"/>
                    </a:cubicBezTo>
                    <a:close/>
                  </a:path>
                </a:pathLst>
              </a:custGeom>
              <a:solidFill>
                <a:srgbClr val="BF4200"/>
              </a:solidFill>
              <a:ln w="9525" cap="flat">
                <a:noFill/>
                <a:prstDash val="solid"/>
                <a:miter/>
              </a:ln>
            </p:spPr>
            <p:txBody>
              <a:bodyPr rtlCol="0" anchor="ctr"/>
              <a:lstStyle/>
              <a:p>
                <a:endParaRPr lang="zh-CN" altLang="en-US"/>
              </a:p>
            </p:txBody>
          </p:sp>
          <p:sp>
            <p:nvSpPr>
              <p:cNvPr id="865" name="íṩľidé">
                <a:extLst>
                  <a:ext uri="{FF2B5EF4-FFF2-40B4-BE49-F238E27FC236}">
                    <a16:creationId xmlns:a16="http://schemas.microsoft.com/office/drawing/2014/main" id="{D8681DC0-C00C-4972-B21D-D22ABBD12280}"/>
                  </a:ext>
                </a:extLst>
              </p:cNvPr>
              <p:cNvSpPr/>
              <p:nvPr/>
            </p:nvSpPr>
            <p:spPr>
              <a:xfrm>
                <a:off x="6185308" y="3984473"/>
                <a:ext cx="115192" cy="96441"/>
              </a:xfrm>
              <a:custGeom>
                <a:avLst/>
                <a:gdLst>
                  <a:gd name="connsiteX0" fmla="*/ -301 w 115192"/>
                  <a:gd name="connsiteY0" fmla="*/ 60535 h 96441"/>
                  <a:gd name="connsiteX1" fmla="*/ 19987 w 115192"/>
                  <a:gd name="connsiteY1" fmla="*/ 85491 h 96441"/>
                  <a:gd name="connsiteX2" fmla="*/ 26750 w 115192"/>
                  <a:gd name="connsiteY2" fmla="*/ 89491 h 96441"/>
                  <a:gd name="connsiteX3" fmla="*/ 58659 w 115192"/>
                  <a:gd name="connsiteY3" fmla="*/ 94540 h 96441"/>
                  <a:gd name="connsiteX4" fmla="*/ 58659 w 115192"/>
                  <a:gd name="connsiteY4" fmla="*/ 94540 h 96441"/>
                  <a:gd name="connsiteX5" fmla="*/ 59135 w 115192"/>
                  <a:gd name="connsiteY5" fmla="*/ 94540 h 96441"/>
                  <a:gd name="connsiteX6" fmla="*/ 59135 w 115192"/>
                  <a:gd name="connsiteY6" fmla="*/ 94540 h 96441"/>
                  <a:gd name="connsiteX7" fmla="*/ 59612 w 115192"/>
                  <a:gd name="connsiteY7" fmla="*/ 94540 h 96441"/>
                  <a:gd name="connsiteX8" fmla="*/ 60469 w 115192"/>
                  <a:gd name="connsiteY8" fmla="*/ 93587 h 96441"/>
                  <a:gd name="connsiteX9" fmla="*/ 61421 w 115192"/>
                  <a:gd name="connsiteY9" fmla="*/ 92349 h 96441"/>
                  <a:gd name="connsiteX10" fmla="*/ 114856 w 115192"/>
                  <a:gd name="connsiteY10" fmla="*/ 37866 h 96441"/>
                  <a:gd name="connsiteX11" fmla="*/ 87520 w 115192"/>
                  <a:gd name="connsiteY11" fmla="*/ 12625 h 96441"/>
                  <a:gd name="connsiteX12" fmla="*/ 80757 w 115192"/>
                  <a:gd name="connsiteY12" fmla="*/ 8624 h 96441"/>
                  <a:gd name="connsiteX13" fmla="*/ 77137 w 115192"/>
                  <a:gd name="connsiteY13" fmla="*/ 6624 h 96441"/>
                  <a:gd name="connsiteX14" fmla="*/ 73613 w 115192"/>
                  <a:gd name="connsiteY14" fmla="*/ 4814 h 96441"/>
                  <a:gd name="connsiteX15" fmla="*/ 71899 w 115192"/>
                  <a:gd name="connsiteY15" fmla="*/ 4052 h 96441"/>
                  <a:gd name="connsiteX16" fmla="*/ 68660 w 115192"/>
                  <a:gd name="connsiteY16" fmla="*/ 2623 h 96441"/>
                  <a:gd name="connsiteX17" fmla="*/ 64279 w 115192"/>
                  <a:gd name="connsiteY17" fmla="*/ 1004 h 96441"/>
                  <a:gd name="connsiteX18" fmla="*/ 60659 w 115192"/>
                  <a:gd name="connsiteY18" fmla="*/ 52 h 96441"/>
                  <a:gd name="connsiteX19" fmla="*/ 60659 w 115192"/>
                  <a:gd name="connsiteY19" fmla="*/ 52 h 96441"/>
                  <a:gd name="connsiteX20" fmla="*/ 56278 w 115192"/>
                  <a:gd name="connsiteY20" fmla="*/ 52 h 96441"/>
                  <a:gd name="connsiteX21" fmla="*/ 55135 w 115192"/>
                  <a:gd name="connsiteY21" fmla="*/ 52 h 96441"/>
                  <a:gd name="connsiteX22" fmla="*/ 45610 w 115192"/>
                  <a:gd name="connsiteY22" fmla="*/ 5957 h 96441"/>
                  <a:gd name="connsiteX23" fmla="*/ 36752 w 115192"/>
                  <a:gd name="connsiteY23" fmla="*/ 12529 h 96441"/>
                  <a:gd name="connsiteX24" fmla="*/ 28655 w 115192"/>
                  <a:gd name="connsiteY24" fmla="*/ 19387 h 96441"/>
                  <a:gd name="connsiteX25" fmla="*/ 17987 w 115192"/>
                  <a:gd name="connsiteY25" fmla="*/ 29770 h 96441"/>
                  <a:gd name="connsiteX26" fmla="*/ 9605 w 115192"/>
                  <a:gd name="connsiteY26" fmla="*/ 39295 h 96441"/>
                  <a:gd name="connsiteX27" fmla="*/ 3509 w 115192"/>
                  <a:gd name="connsiteY27" fmla="*/ 48058 h 96441"/>
                  <a:gd name="connsiteX28" fmla="*/ 176 w 115192"/>
                  <a:gd name="connsiteY28" fmla="*/ 55106 h 96441"/>
                  <a:gd name="connsiteX29" fmla="*/ -301 w 115192"/>
                  <a:gd name="connsiteY29" fmla="*/ 60535 h 96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15192" h="96441">
                    <a:moveTo>
                      <a:pt x="-301" y="60535"/>
                    </a:moveTo>
                    <a:cubicBezTo>
                      <a:pt x="2223" y="71556"/>
                      <a:pt x="9720" y="80776"/>
                      <a:pt x="19987" y="85491"/>
                    </a:cubicBezTo>
                    <a:lnTo>
                      <a:pt x="26750" y="89491"/>
                    </a:lnTo>
                    <a:cubicBezTo>
                      <a:pt x="35971" y="96178"/>
                      <a:pt x="47829" y="98054"/>
                      <a:pt x="58659" y="94540"/>
                    </a:cubicBezTo>
                    <a:lnTo>
                      <a:pt x="58659" y="94540"/>
                    </a:lnTo>
                    <a:lnTo>
                      <a:pt x="59135" y="94540"/>
                    </a:lnTo>
                    <a:lnTo>
                      <a:pt x="59135" y="94540"/>
                    </a:lnTo>
                    <a:lnTo>
                      <a:pt x="59612" y="94540"/>
                    </a:lnTo>
                    <a:lnTo>
                      <a:pt x="60469" y="93587"/>
                    </a:lnTo>
                    <a:cubicBezTo>
                      <a:pt x="60840" y="93216"/>
                      <a:pt x="61154" y="92797"/>
                      <a:pt x="61421" y="92349"/>
                    </a:cubicBezTo>
                    <a:cubicBezTo>
                      <a:pt x="61421" y="85681"/>
                      <a:pt x="83805" y="55868"/>
                      <a:pt x="114856" y="37866"/>
                    </a:cubicBezTo>
                    <a:cubicBezTo>
                      <a:pt x="114856" y="32627"/>
                      <a:pt x="102569" y="21293"/>
                      <a:pt x="87520" y="12625"/>
                    </a:cubicBezTo>
                    <a:lnTo>
                      <a:pt x="80757" y="8624"/>
                    </a:lnTo>
                    <a:lnTo>
                      <a:pt x="77137" y="6624"/>
                    </a:lnTo>
                    <a:lnTo>
                      <a:pt x="73613" y="4814"/>
                    </a:lnTo>
                    <a:lnTo>
                      <a:pt x="71899" y="4052"/>
                    </a:lnTo>
                    <a:lnTo>
                      <a:pt x="68660" y="2623"/>
                    </a:lnTo>
                    <a:cubicBezTo>
                      <a:pt x="67241" y="1985"/>
                      <a:pt x="65774" y="1452"/>
                      <a:pt x="64279" y="1004"/>
                    </a:cubicBezTo>
                    <a:cubicBezTo>
                      <a:pt x="63088" y="623"/>
                      <a:pt x="61879" y="299"/>
                      <a:pt x="60659" y="52"/>
                    </a:cubicBezTo>
                    <a:lnTo>
                      <a:pt x="60659" y="52"/>
                    </a:lnTo>
                    <a:cubicBezTo>
                      <a:pt x="59212" y="-234"/>
                      <a:pt x="57726" y="-234"/>
                      <a:pt x="56278" y="52"/>
                    </a:cubicBezTo>
                    <a:cubicBezTo>
                      <a:pt x="55897" y="-15"/>
                      <a:pt x="55516" y="-15"/>
                      <a:pt x="55135" y="52"/>
                    </a:cubicBezTo>
                    <a:cubicBezTo>
                      <a:pt x="52182" y="1766"/>
                      <a:pt x="48467" y="4147"/>
                      <a:pt x="45610" y="5957"/>
                    </a:cubicBezTo>
                    <a:cubicBezTo>
                      <a:pt x="40752" y="9291"/>
                      <a:pt x="36847" y="12434"/>
                      <a:pt x="36752" y="12529"/>
                    </a:cubicBezTo>
                    <a:cubicBezTo>
                      <a:pt x="33932" y="14663"/>
                      <a:pt x="31227" y="16958"/>
                      <a:pt x="28655" y="19387"/>
                    </a:cubicBezTo>
                    <a:cubicBezTo>
                      <a:pt x="25798" y="22054"/>
                      <a:pt x="21512" y="25960"/>
                      <a:pt x="17987" y="29770"/>
                    </a:cubicBezTo>
                    <a:cubicBezTo>
                      <a:pt x="14463" y="33580"/>
                      <a:pt x="12844" y="35580"/>
                      <a:pt x="9605" y="39295"/>
                    </a:cubicBezTo>
                    <a:cubicBezTo>
                      <a:pt x="7424" y="42105"/>
                      <a:pt x="5386" y="45029"/>
                      <a:pt x="3509" y="48058"/>
                    </a:cubicBezTo>
                    <a:cubicBezTo>
                      <a:pt x="2157" y="50286"/>
                      <a:pt x="1042" y="52649"/>
                      <a:pt x="176" y="55106"/>
                    </a:cubicBezTo>
                    <a:cubicBezTo>
                      <a:pt x="-253" y="56878"/>
                      <a:pt x="-415" y="58716"/>
                      <a:pt x="-301" y="60535"/>
                    </a:cubicBezTo>
                    <a:close/>
                  </a:path>
                </a:pathLst>
              </a:custGeom>
              <a:solidFill>
                <a:srgbClr val="D9530B"/>
              </a:solidFill>
              <a:ln w="9525" cap="flat">
                <a:noFill/>
                <a:prstDash val="solid"/>
                <a:miter/>
              </a:ln>
            </p:spPr>
            <p:txBody>
              <a:bodyPr rtlCol="0" anchor="ctr"/>
              <a:lstStyle/>
              <a:p>
                <a:endParaRPr lang="zh-CN" altLang="en-US"/>
              </a:p>
            </p:txBody>
          </p:sp>
        </p:grpSp>
        <p:sp>
          <p:nvSpPr>
            <p:cNvPr id="380" name="í$ḷiḍé">
              <a:extLst>
                <a:ext uri="{FF2B5EF4-FFF2-40B4-BE49-F238E27FC236}">
                  <a16:creationId xmlns:a16="http://schemas.microsoft.com/office/drawing/2014/main" id="{38204F6A-5CE1-497A-827B-CEEB99CCC968}"/>
                </a:ext>
              </a:extLst>
            </p:cNvPr>
            <p:cNvSpPr/>
            <p:nvPr/>
          </p:nvSpPr>
          <p:spPr>
            <a:xfrm>
              <a:off x="4874988" y="4873963"/>
              <a:ext cx="1716699" cy="724850"/>
            </a:xfrm>
            <a:custGeom>
              <a:avLst/>
              <a:gdLst>
                <a:gd name="connsiteX0" fmla="*/ -336 w 563975"/>
                <a:gd name="connsiteY0" fmla="*/ -163 h 238130"/>
                <a:gd name="connsiteX1" fmla="*/ -336 w 563975"/>
                <a:gd name="connsiteY1" fmla="*/ 7553 h 238130"/>
                <a:gd name="connsiteX2" fmla="*/ 5188 w 563975"/>
                <a:gd name="connsiteY2" fmla="*/ 15839 h 238130"/>
                <a:gd name="connsiteX3" fmla="*/ 6046 w 563975"/>
                <a:gd name="connsiteY3" fmla="*/ 16506 h 238130"/>
                <a:gd name="connsiteX4" fmla="*/ 383236 w 563975"/>
                <a:gd name="connsiteY4" fmla="*/ 234248 h 238130"/>
                <a:gd name="connsiteX5" fmla="*/ 398856 w 563975"/>
                <a:gd name="connsiteY5" fmla="*/ 237962 h 238130"/>
                <a:gd name="connsiteX6" fmla="*/ 414382 w 563975"/>
                <a:gd name="connsiteY6" fmla="*/ 234248 h 238130"/>
                <a:gd name="connsiteX7" fmla="*/ 557257 w 563975"/>
                <a:gd name="connsiteY7" fmla="*/ 151666 h 238130"/>
                <a:gd name="connsiteX8" fmla="*/ 558210 w 563975"/>
                <a:gd name="connsiteY8" fmla="*/ 151094 h 238130"/>
                <a:gd name="connsiteX9" fmla="*/ 563639 w 563975"/>
                <a:gd name="connsiteY9" fmla="*/ 142712 h 238130"/>
                <a:gd name="connsiteX10" fmla="*/ 563639 w 563975"/>
                <a:gd name="connsiteY10" fmla="*/ 134997 h 238130"/>
                <a:gd name="connsiteX11" fmla="*/ 562591 w 563975"/>
                <a:gd name="connsiteY11" fmla="*/ 138807 h 238130"/>
                <a:gd name="connsiteX12" fmla="*/ 558210 w 563975"/>
                <a:gd name="connsiteY12" fmla="*/ 143379 h 238130"/>
                <a:gd name="connsiteX13" fmla="*/ 557257 w 563975"/>
                <a:gd name="connsiteY13" fmla="*/ 144046 h 238130"/>
                <a:gd name="connsiteX14" fmla="*/ 414382 w 563975"/>
                <a:gd name="connsiteY14" fmla="*/ 226533 h 238130"/>
                <a:gd name="connsiteX15" fmla="*/ 398856 w 563975"/>
                <a:gd name="connsiteY15" fmla="*/ 230247 h 238130"/>
                <a:gd name="connsiteX16" fmla="*/ 383236 w 563975"/>
                <a:gd name="connsiteY16" fmla="*/ 226533 h 238130"/>
                <a:gd name="connsiteX17" fmla="*/ 6046 w 563975"/>
                <a:gd name="connsiteY17" fmla="*/ 8791 h 238130"/>
                <a:gd name="connsiteX18" fmla="*/ 5188 w 563975"/>
                <a:gd name="connsiteY18" fmla="*/ 8219 h 238130"/>
                <a:gd name="connsiteX19" fmla="*/ 712 w 563975"/>
                <a:gd name="connsiteY19" fmla="*/ 3647 h 238130"/>
                <a:gd name="connsiteX20" fmla="*/ -336 w 563975"/>
                <a:gd name="connsiteY20" fmla="*/ -163 h 238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63975" h="238130">
                  <a:moveTo>
                    <a:pt x="-336" y="-163"/>
                  </a:moveTo>
                  <a:lnTo>
                    <a:pt x="-336" y="7553"/>
                  </a:lnTo>
                  <a:cubicBezTo>
                    <a:pt x="-41" y="11077"/>
                    <a:pt x="2045" y="14211"/>
                    <a:pt x="5188" y="15839"/>
                  </a:cubicBezTo>
                  <a:lnTo>
                    <a:pt x="6046" y="16506"/>
                  </a:lnTo>
                  <a:lnTo>
                    <a:pt x="383236" y="234248"/>
                  </a:lnTo>
                  <a:cubicBezTo>
                    <a:pt x="388046" y="236781"/>
                    <a:pt x="393418" y="238058"/>
                    <a:pt x="398856" y="237962"/>
                  </a:cubicBezTo>
                  <a:cubicBezTo>
                    <a:pt x="404267" y="238067"/>
                    <a:pt x="409610" y="236791"/>
                    <a:pt x="414382" y="234248"/>
                  </a:cubicBezTo>
                  <a:lnTo>
                    <a:pt x="557257" y="151666"/>
                  </a:lnTo>
                  <a:lnTo>
                    <a:pt x="558210" y="151094"/>
                  </a:lnTo>
                  <a:cubicBezTo>
                    <a:pt x="561306" y="149390"/>
                    <a:pt x="563344" y="146237"/>
                    <a:pt x="563639" y="142712"/>
                  </a:cubicBezTo>
                  <a:lnTo>
                    <a:pt x="563639" y="134997"/>
                  </a:lnTo>
                  <a:cubicBezTo>
                    <a:pt x="563630" y="136340"/>
                    <a:pt x="563268" y="137655"/>
                    <a:pt x="562591" y="138807"/>
                  </a:cubicBezTo>
                  <a:cubicBezTo>
                    <a:pt x="561553" y="140684"/>
                    <a:pt x="560039" y="142255"/>
                    <a:pt x="558210" y="143379"/>
                  </a:cubicBezTo>
                  <a:lnTo>
                    <a:pt x="557257" y="144046"/>
                  </a:lnTo>
                  <a:lnTo>
                    <a:pt x="414382" y="226533"/>
                  </a:lnTo>
                  <a:cubicBezTo>
                    <a:pt x="409629" y="229123"/>
                    <a:pt x="404267" y="230399"/>
                    <a:pt x="398856" y="230247"/>
                  </a:cubicBezTo>
                  <a:cubicBezTo>
                    <a:pt x="393418" y="230390"/>
                    <a:pt x="388036" y="229104"/>
                    <a:pt x="383236" y="226533"/>
                  </a:cubicBezTo>
                  <a:lnTo>
                    <a:pt x="6046" y="8791"/>
                  </a:lnTo>
                  <a:lnTo>
                    <a:pt x="5188" y="8219"/>
                  </a:lnTo>
                  <a:cubicBezTo>
                    <a:pt x="3331" y="7105"/>
                    <a:pt x="1788" y="5533"/>
                    <a:pt x="712" y="3647"/>
                  </a:cubicBezTo>
                  <a:cubicBezTo>
                    <a:pt x="45" y="2485"/>
                    <a:pt x="-317" y="1171"/>
                    <a:pt x="-336" y="-163"/>
                  </a:cubicBezTo>
                  <a:close/>
                </a:path>
              </a:pathLst>
            </a:custGeom>
            <a:solidFill>
              <a:srgbClr val="BF4200"/>
            </a:solidFill>
            <a:ln w="9525" cap="flat">
              <a:noFill/>
              <a:prstDash val="solid"/>
              <a:miter/>
            </a:ln>
          </p:spPr>
          <p:txBody>
            <a:bodyPr rtlCol="0" anchor="ctr"/>
            <a:lstStyle/>
            <a:p>
              <a:endParaRPr lang="zh-CN" altLang="en-US"/>
            </a:p>
          </p:txBody>
        </p:sp>
        <p:sp>
          <p:nvSpPr>
            <p:cNvPr id="381" name="îŝļiďè">
              <a:extLst>
                <a:ext uri="{FF2B5EF4-FFF2-40B4-BE49-F238E27FC236}">
                  <a16:creationId xmlns:a16="http://schemas.microsoft.com/office/drawing/2014/main" id="{E22A9682-4E2B-423E-9C44-F34C887C00F4}"/>
                </a:ext>
              </a:extLst>
            </p:cNvPr>
            <p:cNvSpPr/>
            <p:nvPr/>
          </p:nvSpPr>
          <p:spPr>
            <a:xfrm>
              <a:off x="4874988" y="4583739"/>
              <a:ext cx="1716699" cy="991611"/>
            </a:xfrm>
            <a:custGeom>
              <a:avLst/>
              <a:gdLst>
                <a:gd name="connsiteX0" fmla="*/ -336 w 563975"/>
                <a:gd name="connsiteY0" fmla="*/ 95182 h 325767"/>
                <a:gd name="connsiteX1" fmla="*/ 712 w 563975"/>
                <a:gd name="connsiteY1" fmla="*/ 98992 h 325767"/>
                <a:gd name="connsiteX2" fmla="*/ 5188 w 563975"/>
                <a:gd name="connsiteY2" fmla="*/ 103565 h 325767"/>
                <a:gd name="connsiteX3" fmla="*/ 6046 w 563975"/>
                <a:gd name="connsiteY3" fmla="*/ 104136 h 325767"/>
                <a:gd name="connsiteX4" fmla="*/ 383236 w 563975"/>
                <a:gd name="connsiteY4" fmla="*/ 321878 h 325767"/>
                <a:gd name="connsiteX5" fmla="*/ 398856 w 563975"/>
                <a:gd name="connsiteY5" fmla="*/ 325592 h 325767"/>
                <a:gd name="connsiteX6" fmla="*/ 414382 w 563975"/>
                <a:gd name="connsiteY6" fmla="*/ 321878 h 325767"/>
                <a:gd name="connsiteX7" fmla="*/ 557257 w 563975"/>
                <a:gd name="connsiteY7" fmla="*/ 239391 h 325767"/>
                <a:gd name="connsiteX8" fmla="*/ 558210 w 563975"/>
                <a:gd name="connsiteY8" fmla="*/ 238724 h 325767"/>
                <a:gd name="connsiteX9" fmla="*/ 562591 w 563975"/>
                <a:gd name="connsiteY9" fmla="*/ 234152 h 325767"/>
                <a:gd name="connsiteX10" fmla="*/ 563639 w 563975"/>
                <a:gd name="connsiteY10" fmla="*/ 230342 h 325767"/>
                <a:gd name="connsiteX11" fmla="*/ 557257 w 563975"/>
                <a:gd name="connsiteY11" fmla="*/ 221389 h 325767"/>
                <a:gd name="connsiteX12" fmla="*/ 180163 w 563975"/>
                <a:gd name="connsiteY12" fmla="*/ 3552 h 325767"/>
                <a:gd name="connsiteX13" fmla="*/ 149111 w 563975"/>
                <a:gd name="connsiteY13" fmla="*/ 3552 h 325767"/>
                <a:gd name="connsiteX14" fmla="*/ 6236 w 563975"/>
                <a:gd name="connsiteY14" fmla="*/ 86134 h 325767"/>
                <a:gd name="connsiteX15" fmla="*/ -336 w 563975"/>
                <a:gd name="connsiteY15" fmla="*/ 95182 h 325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63975" h="325767">
                  <a:moveTo>
                    <a:pt x="-336" y="95182"/>
                  </a:moveTo>
                  <a:cubicBezTo>
                    <a:pt x="-317" y="96516"/>
                    <a:pt x="45" y="97831"/>
                    <a:pt x="712" y="98992"/>
                  </a:cubicBezTo>
                  <a:cubicBezTo>
                    <a:pt x="1788" y="100878"/>
                    <a:pt x="3331" y="102450"/>
                    <a:pt x="5188" y="103565"/>
                  </a:cubicBezTo>
                  <a:lnTo>
                    <a:pt x="6046" y="104136"/>
                  </a:lnTo>
                  <a:lnTo>
                    <a:pt x="383236" y="321878"/>
                  </a:lnTo>
                  <a:cubicBezTo>
                    <a:pt x="388036" y="324449"/>
                    <a:pt x="393418" y="325735"/>
                    <a:pt x="398856" y="325592"/>
                  </a:cubicBezTo>
                  <a:cubicBezTo>
                    <a:pt x="404267" y="325745"/>
                    <a:pt x="409629" y="324468"/>
                    <a:pt x="414382" y="321878"/>
                  </a:cubicBezTo>
                  <a:lnTo>
                    <a:pt x="557257" y="239391"/>
                  </a:lnTo>
                  <a:lnTo>
                    <a:pt x="558210" y="238724"/>
                  </a:lnTo>
                  <a:cubicBezTo>
                    <a:pt x="560039" y="237600"/>
                    <a:pt x="561544" y="236029"/>
                    <a:pt x="562591" y="234152"/>
                  </a:cubicBezTo>
                  <a:cubicBezTo>
                    <a:pt x="563268" y="233000"/>
                    <a:pt x="563630" y="231685"/>
                    <a:pt x="563639" y="230342"/>
                  </a:cubicBezTo>
                  <a:cubicBezTo>
                    <a:pt x="563268" y="226427"/>
                    <a:pt x="560839" y="223008"/>
                    <a:pt x="557257" y="221389"/>
                  </a:cubicBezTo>
                  <a:lnTo>
                    <a:pt x="180163" y="3552"/>
                  </a:lnTo>
                  <a:cubicBezTo>
                    <a:pt x="170409" y="-1401"/>
                    <a:pt x="158865" y="-1401"/>
                    <a:pt x="149111" y="3552"/>
                  </a:cubicBezTo>
                  <a:lnTo>
                    <a:pt x="6236" y="86134"/>
                  </a:lnTo>
                  <a:cubicBezTo>
                    <a:pt x="2540" y="87705"/>
                    <a:pt x="16" y="91182"/>
                    <a:pt x="-336" y="95182"/>
                  </a:cubicBezTo>
                  <a:close/>
                </a:path>
              </a:pathLst>
            </a:custGeom>
            <a:solidFill>
              <a:srgbClr val="D9530B"/>
            </a:solidFill>
            <a:ln w="9525" cap="flat">
              <a:noFill/>
              <a:prstDash val="solid"/>
              <a:miter/>
            </a:ln>
          </p:spPr>
          <p:txBody>
            <a:bodyPr rtlCol="0" anchor="ctr"/>
            <a:lstStyle/>
            <a:p>
              <a:endParaRPr lang="zh-CN" altLang="en-US"/>
            </a:p>
          </p:txBody>
        </p:sp>
        <p:sp>
          <p:nvSpPr>
            <p:cNvPr id="382" name="îṧļïḑé">
              <a:extLst>
                <a:ext uri="{FF2B5EF4-FFF2-40B4-BE49-F238E27FC236}">
                  <a16:creationId xmlns:a16="http://schemas.microsoft.com/office/drawing/2014/main" id="{0C41D675-F83C-4529-BE85-27CB75222476}"/>
                </a:ext>
              </a:extLst>
            </p:cNvPr>
            <p:cNvSpPr/>
            <p:nvPr/>
          </p:nvSpPr>
          <p:spPr>
            <a:xfrm>
              <a:off x="4888905" y="4592004"/>
              <a:ext cx="1690603" cy="975408"/>
            </a:xfrm>
            <a:custGeom>
              <a:avLst/>
              <a:gdLst>
                <a:gd name="connsiteX0" fmla="*/ -336 w 555402"/>
                <a:gd name="connsiteY0" fmla="*/ 92468 h 320444"/>
                <a:gd name="connsiteX1" fmla="*/ 4045 w 555402"/>
                <a:gd name="connsiteY1" fmla="*/ 99040 h 320444"/>
                <a:gd name="connsiteX2" fmla="*/ 4807 w 555402"/>
                <a:gd name="connsiteY2" fmla="*/ 99516 h 320444"/>
                <a:gd name="connsiteX3" fmla="*/ 382473 w 555402"/>
                <a:gd name="connsiteY3" fmla="*/ 317353 h 320444"/>
                <a:gd name="connsiteX4" fmla="*/ 407048 w 555402"/>
                <a:gd name="connsiteY4" fmla="*/ 317353 h 320444"/>
                <a:gd name="connsiteX5" fmla="*/ 549923 w 555402"/>
                <a:gd name="connsiteY5" fmla="*/ 234771 h 320444"/>
                <a:gd name="connsiteX6" fmla="*/ 550685 w 555402"/>
                <a:gd name="connsiteY6" fmla="*/ 234295 h 320444"/>
                <a:gd name="connsiteX7" fmla="*/ 555066 w 555402"/>
                <a:gd name="connsiteY7" fmla="*/ 227628 h 320444"/>
                <a:gd name="connsiteX8" fmla="*/ 549923 w 555402"/>
                <a:gd name="connsiteY8" fmla="*/ 220579 h 320444"/>
                <a:gd name="connsiteX9" fmla="*/ 172733 w 555402"/>
                <a:gd name="connsiteY9" fmla="*/ 2838 h 320444"/>
                <a:gd name="connsiteX10" fmla="*/ 148158 w 555402"/>
                <a:gd name="connsiteY10" fmla="*/ 2838 h 320444"/>
                <a:gd name="connsiteX11" fmla="*/ 5283 w 555402"/>
                <a:gd name="connsiteY11" fmla="*/ 85324 h 320444"/>
                <a:gd name="connsiteX12" fmla="*/ -336 w 555402"/>
                <a:gd name="connsiteY12" fmla="*/ 92468 h 320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55402" h="320444">
                  <a:moveTo>
                    <a:pt x="-336" y="92468"/>
                  </a:moveTo>
                  <a:cubicBezTo>
                    <a:pt x="-155" y="95287"/>
                    <a:pt x="1521" y="97792"/>
                    <a:pt x="4045" y="99040"/>
                  </a:cubicBezTo>
                  <a:lnTo>
                    <a:pt x="4807" y="99516"/>
                  </a:lnTo>
                  <a:lnTo>
                    <a:pt x="382473" y="317353"/>
                  </a:lnTo>
                  <a:cubicBezTo>
                    <a:pt x="390198" y="321259"/>
                    <a:pt x="399323" y="321259"/>
                    <a:pt x="407048" y="317353"/>
                  </a:cubicBezTo>
                  <a:lnTo>
                    <a:pt x="549923" y="234771"/>
                  </a:lnTo>
                  <a:lnTo>
                    <a:pt x="550685" y="234295"/>
                  </a:lnTo>
                  <a:cubicBezTo>
                    <a:pt x="553180" y="232952"/>
                    <a:pt x="554828" y="230447"/>
                    <a:pt x="555066" y="227628"/>
                  </a:cubicBezTo>
                  <a:cubicBezTo>
                    <a:pt x="554790" y="224513"/>
                    <a:pt x="552809" y="221798"/>
                    <a:pt x="549923" y="220579"/>
                  </a:cubicBezTo>
                  <a:lnTo>
                    <a:pt x="172733" y="2838"/>
                  </a:lnTo>
                  <a:cubicBezTo>
                    <a:pt x="165027" y="-1163"/>
                    <a:pt x="155864" y="-1163"/>
                    <a:pt x="148158" y="2838"/>
                  </a:cubicBezTo>
                  <a:lnTo>
                    <a:pt x="5283" y="85324"/>
                  </a:lnTo>
                  <a:cubicBezTo>
                    <a:pt x="2226" y="86467"/>
                    <a:pt x="64" y="89229"/>
                    <a:pt x="-336" y="92468"/>
                  </a:cubicBezTo>
                  <a:close/>
                </a:path>
              </a:pathLst>
            </a:custGeom>
            <a:solidFill>
              <a:srgbClr val="FF7D33"/>
            </a:solidFill>
            <a:ln w="9525" cap="flat">
              <a:noFill/>
              <a:prstDash val="solid"/>
              <a:miter/>
            </a:ln>
          </p:spPr>
          <p:txBody>
            <a:bodyPr rtlCol="0" anchor="ctr"/>
            <a:lstStyle/>
            <a:p>
              <a:endParaRPr lang="zh-CN" altLang="en-US"/>
            </a:p>
          </p:txBody>
        </p:sp>
        <p:sp>
          <p:nvSpPr>
            <p:cNvPr id="383" name="îsļîďe">
              <a:extLst>
                <a:ext uri="{FF2B5EF4-FFF2-40B4-BE49-F238E27FC236}">
                  <a16:creationId xmlns:a16="http://schemas.microsoft.com/office/drawing/2014/main" id="{E56C1C4E-33BF-432E-A85C-7E70B2BC7617}"/>
                </a:ext>
              </a:extLst>
            </p:cNvPr>
            <p:cNvSpPr/>
            <p:nvPr/>
          </p:nvSpPr>
          <p:spPr>
            <a:xfrm>
              <a:off x="5313079" y="4592220"/>
              <a:ext cx="146416" cy="84804"/>
            </a:xfrm>
            <a:custGeom>
              <a:avLst/>
              <a:gdLst>
                <a:gd name="connsiteX0" fmla="*/ -336 w 48101"/>
                <a:gd name="connsiteY0" fmla="*/ 10291 h 27860"/>
                <a:gd name="connsiteX1" fmla="*/ 1188 w 48101"/>
                <a:gd name="connsiteY1" fmla="*/ 12577 h 27860"/>
                <a:gd name="connsiteX2" fmla="*/ 3569 w 48101"/>
                <a:gd name="connsiteY2" fmla="*/ 13911 h 27860"/>
                <a:gd name="connsiteX3" fmla="*/ 25857 w 48101"/>
                <a:gd name="connsiteY3" fmla="*/ 26769 h 27860"/>
                <a:gd name="connsiteX4" fmla="*/ 33668 w 48101"/>
                <a:gd name="connsiteY4" fmla="*/ 26769 h 27860"/>
                <a:gd name="connsiteX5" fmla="*/ 43860 w 48101"/>
                <a:gd name="connsiteY5" fmla="*/ 20864 h 27860"/>
                <a:gd name="connsiteX6" fmla="*/ 46241 w 48101"/>
                <a:gd name="connsiteY6" fmla="*/ 19530 h 27860"/>
                <a:gd name="connsiteX7" fmla="*/ 47765 w 48101"/>
                <a:gd name="connsiteY7" fmla="*/ 17816 h 27860"/>
                <a:gd name="connsiteX8" fmla="*/ 47765 w 48101"/>
                <a:gd name="connsiteY8" fmla="*/ 16768 h 27860"/>
                <a:gd name="connsiteX9" fmla="*/ 46241 w 48101"/>
                <a:gd name="connsiteY9" fmla="*/ 15054 h 27860"/>
                <a:gd name="connsiteX10" fmla="*/ 21476 w 48101"/>
                <a:gd name="connsiteY10" fmla="*/ 766 h 27860"/>
                <a:gd name="connsiteX11" fmla="*/ 13856 w 48101"/>
                <a:gd name="connsiteY11" fmla="*/ 766 h 27860"/>
                <a:gd name="connsiteX12" fmla="*/ 1188 w 48101"/>
                <a:gd name="connsiteY12" fmla="*/ 8100 h 27860"/>
                <a:gd name="connsiteX13" fmla="*/ -336 w 48101"/>
                <a:gd name="connsiteY13" fmla="*/ 10291 h 27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8101" h="27860">
                  <a:moveTo>
                    <a:pt x="-336" y="10291"/>
                  </a:moveTo>
                  <a:cubicBezTo>
                    <a:pt x="-270" y="11272"/>
                    <a:pt x="311" y="12139"/>
                    <a:pt x="1188" y="12577"/>
                  </a:cubicBezTo>
                  <a:lnTo>
                    <a:pt x="3569" y="13911"/>
                  </a:lnTo>
                  <a:lnTo>
                    <a:pt x="25857" y="26769"/>
                  </a:lnTo>
                  <a:cubicBezTo>
                    <a:pt x="28315" y="28007"/>
                    <a:pt x="31211" y="28007"/>
                    <a:pt x="33668" y="26769"/>
                  </a:cubicBezTo>
                  <a:lnTo>
                    <a:pt x="43860" y="20864"/>
                  </a:lnTo>
                  <a:lnTo>
                    <a:pt x="46241" y="19530"/>
                  </a:lnTo>
                  <a:cubicBezTo>
                    <a:pt x="46946" y="19168"/>
                    <a:pt x="47479" y="18559"/>
                    <a:pt x="47765" y="17816"/>
                  </a:cubicBezTo>
                  <a:lnTo>
                    <a:pt x="47765" y="16768"/>
                  </a:lnTo>
                  <a:cubicBezTo>
                    <a:pt x="47479" y="16025"/>
                    <a:pt x="46946" y="15415"/>
                    <a:pt x="46241" y="15054"/>
                  </a:cubicBezTo>
                  <a:lnTo>
                    <a:pt x="21476" y="766"/>
                  </a:lnTo>
                  <a:cubicBezTo>
                    <a:pt x="19085" y="-472"/>
                    <a:pt x="16247" y="-472"/>
                    <a:pt x="13856" y="766"/>
                  </a:cubicBezTo>
                  <a:lnTo>
                    <a:pt x="1188" y="8100"/>
                  </a:lnTo>
                  <a:cubicBezTo>
                    <a:pt x="311" y="8491"/>
                    <a:pt x="-279"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384" name="ïṡḷïḓé">
              <a:extLst>
                <a:ext uri="{FF2B5EF4-FFF2-40B4-BE49-F238E27FC236}">
                  <a16:creationId xmlns:a16="http://schemas.microsoft.com/office/drawing/2014/main" id="{AA1FC480-8C7A-4CA8-8298-B2A0281769BA}"/>
                </a:ext>
              </a:extLst>
            </p:cNvPr>
            <p:cNvSpPr/>
            <p:nvPr/>
          </p:nvSpPr>
          <p:spPr>
            <a:xfrm>
              <a:off x="5314963" y="4594539"/>
              <a:ext cx="142718" cy="82484"/>
            </a:xfrm>
            <a:custGeom>
              <a:avLst/>
              <a:gdLst>
                <a:gd name="connsiteX0" fmla="*/ 25429 w 46886"/>
                <a:gd name="connsiteY0" fmla="*/ 26007 h 27098"/>
                <a:gd name="connsiteX1" fmla="*/ 1235 w 46886"/>
                <a:gd name="connsiteY1" fmla="*/ 12006 h 27098"/>
                <a:gd name="connsiteX2" fmla="*/ 1235 w 46886"/>
                <a:gd name="connsiteY2" fmla="*/ 7719 h 27098"/>
                <a:gd name="connsiteX3" fmla="*/ 13332 w 46886"/>
                <a:gd name="connsiteY3" fmla="*/ 766 h 27098"/>
                <a:gd name="connsiteX4" fmla="*/ 20761 w 46886"/>
                <a:gd name="connsiteY4" fmla="*/ 766 h 27098"/>
                <a:gd name="connsiteX5" fmla="*/ 45050 w 46886"/>
                <a:gd name="connsiteY5" fmla="*/ 14768 h 27098"/>
                <a:gd name="connsiteX6" fmla="*/ 45050 w 46886"/>
                <a:gd name="connsiteY6" fmla="*/ 19054 h 27098"/>
                <a:gd name="connsiteX7" fmla="*/ 32858 w 46886"/>
                <a:gd name="connsiteY7" fmla="*/ 26007 h 27098"/>
                <a:gd name="connsiteX8" fmla="*/ 25429 w 46886"/>
                <a:gd name="connsiteY8" fmla="*/ 26007 h 270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886" h="27098">
                  <a:moveTo>
                    <a:pt x="25429" y="26007"/>
                  </a:moveTo>
                  <a:lnTo>
                    <a:pt x="1235" y="12006"/>
                  </a:lnTo>
                  <a:cubicBezTo>
                    <a:pt x="-860" y="10863"/>
                    <a:pt x="-860" y="8958"/>
                    <a:pt x="1235" y="7719"/>
                  </a:cubicBezTo>
                  <a:lnTo>
                    <a:pt x="13332" y="766"/>
                  </a:lnTo>
                  <a:cubicBezTo>
                    <a:pt x="15656" y="-472"/>
                    <a:pt x="18437" y="-472"/>
                    <a:pt x="20761" y="766"/>
                  </a:cubicBezTo>
                  <a:lnTo>
                    <a:pt x="45050" y="14768"/>
                  </a:lnTo>
                  <a:cubicBezTo>
                    <a:pt x="47051" y="15911"/>
                    <a:pt x="47051" y="17816"/>
                    <a:pt x="45050" y="19054"/>
                  </a:cubicBezTo>
                  <a:lnTo>
                    <a:pt x="32858" y="26007"/>
                  </a:lnTo>
                  <a:cubicBezTo>
                    <a:pt x="30534" y="27245"/>
                    <a:pt x="27753" y="27245"/>
                    <a:pt x="25429" y="26007"/>
                  </a:cubicBezTo>
                  <a:close/>
                </a:path>
              </a:pathLst>
            </a:custGeom>
            <a:solidFill>
              <a:srgbClr val="D1D9E8"/>
            </a:solidFill>
            <a:ln w="9525" cap="flat">
              <a:noFill/>
              <a:prstDash val="solid"/>
              <a:miter/>
            </a:ln>
          </p:spPr>
          <p:txBody>
            <a:bodyPr rtlCol="0" anchor="ctr"/>
            <a:lstStyle/>
            <a:p>
              <a:endParaRPr lang="zh-CN" altLang="en-US"/>
            </a:p>
          </p:txBody>
        </p:sp>
        <p:sp>
          <p:nvSpPr>
            <p:cNvPr id="385" name="îṩḷíḋê">
              <a:extLst>
                <a:ext uri="{FF2B5EF4-FFF2-40B4-BE49-F238E27FC236}">
                  <a16:creationId xmlns:a16="http://schemas.microsoft.com/office/drawing/2014/main" id="{0DA03A87-DB88-4EA2-A22C-E4C275BC50FF}"/>
                </a:ext>
              </a:extLst>
            </p:cNvPr>
            <p:cNvSpPr/>
            <p:nvPr/>
          </p:nvSpPr>
          <p:spPr>
            <a:xfrm>
              <a:off x="5313079" y="4624041"/>
              <a:ext cx="146416" cy="74728"/>
            </a:xfrm>
            <a:custGeom>
              <a:avLst/>
              <a:gdLst>
                <a:gd name="connsiteX0" fmla="*/ -336 w 48101"/>
                <a:gd name="connsiteY0" fmla="*/ -163 h 24550"/>
                <a:gd name="connsiteX1" fmla="*/ -336 w 48101"/>
                <a:gd name="connsiteY1" fmla="*/ 6981 h 24550"/>
                <a:gd name="connsiteX2" fmla="*/ 1188 w 48101"/>
                <a:gd name="connsiteY2" fmla="*/ 9267 h 24550"/>
                <a:gd name="connsiteX3" fmla="*/ 25857 w 48101"/>
                <a:gd name="connsiteY3" fmla="*/ 23459 h 24550"/>
                <a:gd name="connsiteX4" fmla="*/ 33668 w 48101"/>
                <a:gd name="connsiteY4" fmla="*/ 23459 h 24550"/>
                <a:gd name="connsiteX5" fmla="*/ 46241 w 48101"/>
                <a:gd name="connsiteY5" fmla="*/ 16220 h 24550"/>
                <a:gd name="connsiteX6" fmla="*/ 47765 w 48101"/>
                <a:gd name="connsiteY6" fmla="*/ 14601 h 24550"/>
                <a:gd name="connsiteX7" fmla="*/ 47765 w 48101"/>
                <a:gd name="connsiteY7" fmla="*/ 7362 h 24550"/>
                <a:gd name="connsiteX8" fmla="*/ 46241 w 48101"/>
                <a:gd name="connsiteY8" fmla="*/ 9077 h 24550"/>
                <a:gd name="connsiteX9" fmla="*/ 43860 w 48101"/>
                <a:gd name="connsiteY9" fmla="*/ 10410 h 24550"/>
                <a:gd name="connsiteX10" fmla="*/ 33668 w 48101"/>
                <a:gd name="connsiteY10" fmla="*/ 16316 h 24550"/>
                <a:gd name="connsiteX11" fmla="*/ 25857 w 48101"/>
                <a:gd name="connsiteY11" fmla="*/ 16316 h 24550"/>
                <a:gd name="connsiteX12" fmla="*/ 3569 w 48101"/>
                <a:gd name="connsiteY12" fmla="*/ 3457 h 24550"/>
                <a:gd name="connsiteX13" fmla="*/ 1188 w 48101"/>
                <a:gd name="connsiteY13" fmla="*/ 2123 h 24550"/>
                <a:gd name="connsiteX14" fmla="*/ -336 w 48101"/>
                <a:gd name="connsiteY14" fmla="*/ -163 h 24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8101" h="24550">
                  <a:moveTo>
                    <a:pt x="-336" y="-163"/>
                  </a:moveTo>
                  <a:lnTo>
                    <a:pt x="-336" y="6981"/>
                  </a:lnTo>
                  <a:cubicBezTo>
                    <a:pt x="-251" y="7953"/>
                    <a:pt x="321" y="8819"/>
                    <a:pt x="1188" y="9267"/>
                  </a:cubicBezTo>
                  <a:lnTo>
                    <a:pt x="25857" y="23459"/>
                  </a:lnTo>
                  <a:cubicBezTo>
                    <a:pt x="28315" y="24697"/>
                    <a:pt x="31211" y="24697"/>
                    <a:pt x="33668" y="23459"/>
                  </a:cubicBezTo>
                  <a:lnTo>
                    <a:pt x="46241" y="16220"/>
                  </a:lnTo>
                  <a:cubicBezTo>
                    <a:pt x="46917" y="15868"/>
                    <a:pt x="47451" y="15296"/>
                    <a:pt x="47765" y="14601"/>
                  </a:cubicBezTo>
                  <a:lnTo>
                    <a:pt x="47765" y="7362"/>
                  </a:lnTo>
                  <a:cubicBezTo>
                    <a:pt x="47479" y="8105"/>
                    <a:pt x="46946" y="8715"/>
                    <a:pt x="46241" y="9077"/>
                  </a:cubicBezTo>
                  <a:lnTo>
                    <a:pt x="43860" y="10410"/>
                  </a:lnTo>
                  <a:lnTo>
                    <a:pt x="33668" y="16316"/>
                  </a:lnTo>
                  <a:cubicBezTo>
                    <a:pt x="31211" y="17554"/>
                    <a:pt x="28315" y="17554"/>
                    <a:pt x="25857" y="16316"/>
                  </a:cubicBezTo>
                  <a:lnTo>
                    <a:pt x="3569" y="3457"/>
                  </a:lnTo>
                  <a:lnTo>
                    <a:pt x="1188"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386" name="iṡľidé">
              <a:extLst>
                <a:ext uri="{FF2B5EF4-FFF2-40B4-BE49-F238E27FC236}">
                  <a16:creationId xmlns:a16="http://schemas.microsoft.com/office/drawing/2014/main" id="{7DA1ECB1-7BFD-4C57-AA8A-2C311A6E582F}"/>
                </a:ext>
              </a:extLst>
            </p:cNvPr>
            <p:cNvSpPr/>
            <p:nvPr/>
          </p:nvSpPr>
          <p:spPr>
            <a:xfrm>
              <a:off x="5429923" y="4660839"/>
              <a:ext cx="109740" cy="63442"/>
            </a:xfrm>
            <a:custGeom>
              <a:avLst/>
              <a:gdLst>
                <a:gd name="connsiteX0" fmla="*/ -336 w 36052"/>
                <a:gd name="connsiteY0" fmla="*/ 10227 h 20842"/>
                <a:gd name="connsiteX1" fmla="*/ 1188 w 36052"/>
                <a:gd name="connsiteY1" fmla="*/ 12513 h 20842"/>
                <a:gd name="connsiteX2" fmla="*/ 3569 w 36052"/>
                <a:gd name="connsiteY2" fmla="*/ 13846 h 20842"/>
                <a:gd name="connsiteX3" fmla="*/ 13856 w 36052"/>
                <a:gd name="connsiteY3" fmla="*/ 19752 h 20842"/>
                <a:gd name="connsiteX4" fmla="*/ 21476 w 36052"/>
                <a:gd name="connsiteY4" fmla="*/ 19752 h 20842"/>
                <a:gd name="connsiteX5" fmla="*/ 31763 w 36052"/>
                <a:gd name="connsiteY5" fmla="*/ 13846 h 20842"/>
                <a:gd name="connsiteX6" fmla="*/ 34144 w 36052"/>
                <a:gd name="connsiteY6" fmla="*/ 12513 h 20842"/>
                <a:gd name="connsiteX7" fmla="*/ 35573 w 36052"/>
                <a:gd name="connsiteY7" fmla="*/ 9465 h 20842"/>
                <a:gd name="connsiteX8" fmla="*/ 34144 w 36052"/>
                <a:gd name="connsiteY8" fmla="*/ 8036 h 20842"/>
                <a:gd name="connsiteX9" fmla="*/ 21476 w 36052"/>
                <a:gd name="connsiteY9" fmla="*/ 702 h 20842"/>
                <a:gd name="connsiteX10" fmla="*/ 13856 w 36052"/>
                <a:gd name="connsiteY10" fmla="*/ 702 h 20842"/>
                <a:gd name="connsiteX11" fmla="*/ 1188 w 36052"/>
                <a:gd name="connsiteY11" fmla="*/ 8036 h 20842"/>
                <a:gd name="connsiteX12" fmla="*/ -336 w 36052"/>
                <a:gd name="connsiteY12" fmla="*/ 10227 h 20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2">
                  <a:moveTo>
                    <a:pt x="-336" y="10227"/>
                  </a:moveTo>
                  <a:cubicBezTo>
                    <a:pt x="-270" y="11208"/>
                    <a:pt x="311" y="12074"/>
                    <a:pt x="1188" y="12513"/>
                  </a:cubicBezTo>
                  <a:lnTo>
                    <a:pt x="3569" y="13846"/>
                  </a:lnTo>
                  <a:lnTo>
                    <a:pt x="13856" y="19752"/>
                  </a:lnTo>
                  <a:cubicBezTo>
                    <a:pt x="16247" y="20990"/>
                    <a:pt x="19085" y="20990"/>
                    <a:pt x="21476" y="19752"/>
                  </a:cubicBezTo>
                  <a:lnTo>
                    <a:pt x="31763" y="13846"/>
                  </a:lnTo>
                  <a:lnTo>
                    <a:pt x="34144" y="12513"/>
                  </a:lnTo>
                  <a:cubicBezTo>
                    <a:pt x="35382" y="12065"/>
                    <a:pt x="36020" y="10693"/>
                    <a:pt x="35573" y="9465"/>
                  </a:cubicBezTo>
                  <a:cubicBezTo>
                    <a:pt x="35325" y="8798"/>
                    <a:pt x="34811" y="8274"/>
                    <a:pt x="34144"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387" name="iś1ïḓé">
              <a:extLst>
                <a:ext uri="{FF2B5EF4-FFF2-40B4-BE49-F238E27FC236}">
                  <a16:creationId xmlns:a16="http://schemas.microsoft.com/office/drawing/2014/main" id="{C6BCECAE-A361-46DB-96B1-6B798F06CECD}"/>
                </a:ext>
              </a:extLst>
            </p:cNvPr>
            <p:cNvSpPr/>
            <p:nvPr/>
          </p:nvSpPr>
          <p:spPr>
            <a:xfrm>
              <a:off x="5431808" y="4662020"/>
              <a:ext cx="105895" cy="61104"/>
            </a:xfrm>
            <a:custGeom>
              <a:avLst/>
              <a:gdLst>
                <a:gd name="connsiteX0" fmla="*/ 1235 w 34789"/>
                <a:gd name="connsiteY0" fmla="*/ 12029 h 20074"/>
                <a:gd name="connsiteX1" fmla="*/ 13332 w 34789"/>
                <a:gd name="connsiteY1" fmla="*/ 18983 h 20074"/>
                <a:gd name="connsiteX2" fmla="*/ 20761 w 34789"/>
                <a:gd name="connsiteY2" fmla="*/ 18983 h 20074"/>
                <a:gd name="connsiteX3" fmla="*/ 32953 w 34789"/>
                <a:gd name="connsiteY3" fmla="*/ 12029 h 20074"/>
                <a:gd name="connsiteX4" fmla="*/ 32953 w 34789"/>
                <a:gd name="connsiteY4" fmla="*/ 7743 h 20074"/>
                <a:gd name="connsiteX5" fmla="*/ 20761 w 34789"/>
                <a:gd name="connsiteY5" fmla="*/ 695 h 20074"/>
                <a:gd name="connsiteX6" fmla="*/ 13332 w 34789"/>
                <a:gd name="connsiteY6" fmla="*/ 695 h 20074"/>
                <a:gd name="connsiteX7" fmla="*/ 1235 w 34789"/>
                <a:gd name="connsiteY7" fmla="*/ 7743 h 20074"/>
                <a:gd name="connsiteX8" fmla="*/ 1235 w 34789"/>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89" h="20074">
                  <a:moveTo>
                    <a:pt x="1235" y="12029"/>
                  </a:moveTo>
                  <a:lnTo>
                    <a:pt x="13332" y="18983"/>
                  </a:lnTo>
                  <a:cubicBezTo>
                    <a:pt x="15656" y="20221"/>
                    <a:pt x="18437" y="20221"/>
                    <a:pt x="20761" y="18983"/>
                  </a:cubicBezTo>
                  <a:lnTo>
                    <a:pt x="32953" y="12029"/>
                  </a:lnTo>
                  <a:cubicBezTo>
                    <a:pt x="34954" y="10791"/>
                    <a:pt x="34954" y="8886"/>
                    <a:pt x="32953" y="7743"/>
                  </a:cubicBezTo>
                  <a:lnTo>
                    <a:pt x="20761" y="695"/>
                  </a:lnTo>
                  <a:cubicBezTo>
                    <a:pt x="18418" y="-448"/>
                    <a:pt x="15675" y="-448"/>
                    <a:pt x="13332" y="695"/>
                  </a:cubicBezTo>
                  <a:lnTo>
                    <a:pt x="1235" y="7743"/>
                  </a:lnTo>
                  <a:cubicBezTo>
                    <a:pt x="-860" y="8886"/>
                    <a:pt x="-860" y="10791"/>
                    <a:pt x="1235" y="12029"/>
                  </a:cubicBezTo>
                  <a:close/>
                </a:path>
              </a:pathLst>
            </a:custGeom>
            <a:solidFill>
              <a:srgbClr val="D1D9E8"/>
            </a:solidFill>
            <a:ln w="9525" cap="flat">
              <a:noFill/>
              <a:prstDash val="solid"/>
              <a:miter/>
            </a:ln>
          </p:spPr>
          <p:txBody>
            <a:bodyPr rtlCol="0" anchor="ctr"/>
            <a:lstStyle/>
            <a:p>
              <a:endParaRPr lang="zh-CN" altLang="en-US"/>
            </a:p>
          </p:txBody>
        </p:sp>
        <p:sp>
          <p:nvSpPr>
            <p:cNvPr id="388" name="ïṩḻîḍê">
              <a:extLst>
                <a:ext uri="{FF2B5EF4-FFF2-40B4-BE49-F238E27FC236}">
                  <a16:creationId xmlns:a16="http://schemas.microsoft.com/office/drawing/2014/main" id="{402CA260-61FB-4D6D-852D-52181F213AB9}"/>
                </a:ext>
              </a:extLst>
            </p:cNvPr>
            <p:cNvSpPr/>
            <p:nvPr/>
          </p:nvSpPr>
          <p:spPr>
            <a:xfrm>
              <a:off x="5429923" y="4692465"/>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4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4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20"/>
                    <a:pt x="35582" y="7953"/>
                    <a:pt x="35668" y="6981"/>
                  </a:cubicBezTo>
                  <a:lnTo>
                    <a:pt x="35668" y="-163"/>
                  </a:lnTo>
                  <a:cubicBezTo>
                    <a:pt x="35602" y="819"/>
                    <a:pt x="35021" y="1685"/>
                    <a:pt x="34144" y="2124"/>
                  </a:cubicBezTo>
                  <a:lnTo>
                    <a:pt x="31763" y="3457"/>
                  </a:lnTo>
                  <a:lnTo>
                    <a:pt x="21476" y="9362"/>
                  </a:lnTo>
                  <a:cubicBezTo>
                    <a:pt x="19085" y="10601"/>
                    <a:pt x="16247" y="10601"/>
                    <a:pt x="13856" y="9362"/>
                  </a:cubicBezTo>
                  <a:lnTo>
                    <a:pt x="3569" y="3457"/>
                  </a:lnTo>
                  <a:lnTo>
                    <a:pt x="1188" y="2124"/>
                  </a:lnTo>
                  <a:cubicBezTo>
                    <a:pt x="311" y="1685"/>
                    <a:pt x="-270" y="819"/>
                    <a:pt x="-336" y="-163"/>
                  </a:cubicBezTo>
                  <a:close/>
                </a:path>
              </a:pathLst>
            </a:custGeom>
            <a:solidFill>
              <a:srgbClr val="BF4200"/>
            </a:solidFill>
            <a:ln w="9525" cap="flat">
              <a:noFill/>
              <a:prstDash val="solid"/>
              <a:miter/>
            </a:ln>
          </p:spPr>
          <p:txBody>
            <a:bodyPr rtlCol="0" anchor="ctr"/>
            <a:lstStyle/>
            <a:p>
              <a:endParaRPr lang="zh-CN" altLang="en-US"/>
            </a:p>
          </p:txBody>
        </p:sp>
        <p:sp>
          <p:nvSpPr>
            <p:cNvPr id="389" name="ïṣlîde">
              <a:extLst>
                <a:ext uri="{FF2B5EF4-FFF2-40B4-BE49-F238E27FC236}">
                  <a16:creationId xmlns:a16="http://schemas.microsoft.com/office/drawing/2014/main" id="{758AB995-8C2E-4719-9B74-BFC284EBB40B}"/>
                </a:ext>
              </a:extLst>
            </p:cNvPr>
            <p:cNvSpPr/>
            <p:nvPr/>
          </p:nvSpPr>
          <p:spPr>
            <a:xfrm>
              <a:off x="5507337" y="4705293"/>
              <a:ext cx="109740" cy="63639"/>
            </a:xfrm>
            <a:custGeom>
              <a:avLst/>
              <a:gdLst>
                <a:gd name="connsiteX0" fmla="*/ -336 w 36052"/>
                <a:gd name="connsiteY0" fmla="*/ 10291 h 20907"/>
                <a:gd name="connsiteX1" fmla="*/ 1187 w 36052"/>
                <a:gd name="connsiteY1" fmla="*/ 12577 h 20907"/>
                <a:gd name="connsiteX2" fmla="*/ 3569 w 36052"/>
                <a:gd name="connsiteY2" fmla="*/ 13911 h 20907"/>
                <a:gd name="connsiteX3" fmla="*/ 13856 w 36052"/>
                <a:gd name="connsiteY3" fmla="*/ 19816 h 20907"/>
                <a:gd name="connsiteX4" fmla="*/ 21476 w 36052"/>
                <a:gd name="connsiteY4" fmla="*/ 19816 h 20907"/>
                <a:gd name="connsiteX5" fmla="*/ 31763 w 36052"/>
                <a:gd name="connsiteY5" fmla="*/ 13911 h 20907"/>
                <a:gd name="connsiteX6" fmla="*/ 34144 w 36052"/>
                <a:gd name="connsiteY6" fmla="*/ 12577 h 20907"/>
                <a:gd name="connsiteX7" fmla="*/ 35573 w 36052"/>
                <a:gd name="connsiteY7" fmla="*/ 9529 h 20907"/>
                <a:gd name="connsiteX8" fmla="*/ 34144 w 36052"/>
                <a:gd name="connsiteY8" fmla="*/ 8101 h 20907"/>
                <a:gd name="connsiteX9" fmla="*/ 21476 w 36052"/>
                <a:gd name="connsiteY9" fmla="*/ 766 h 20907"/>
                <a:gd name="connsiteX10" fmla="*/ 13856 w 36052"/>
                <a:gd name="connsiteY10" fmla="*/ 766 h 20907"/>
                <a:gd name="connsiteX11" fmla="*/ 1187 w 36052"/>
                <a:gd name="connsiteY11" fmla="*/ 8101 h 20907"/>
                <a:gd name="connsiteX12" fmla="*/ -336 w 36052"/>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907">
                  <a:moveTo>
                    <a:pt x="-336" y="10291"/>
                  </a:moveTo>
                  <a:cubicBezTo>
                    <a:pt x="-270" y="11272"/>
                    <a:pt x="311" y="12139"/>
                    <a:pt x="1187" y="12577"/>
                  </a:cubicBezTo>
                  <a:lnTo>
                    <a:pt x="3569" y="13911"/>
                  </a:lnTo>
                  <a:lnTo>
                    <a:pt x="13856" y="19816"/>
                  </a:lnTo>
                  <a:cubicBezTo>
                    <a:pt x="16247" y="21054"/>
                    <a:pt x="19085" y="21054"/>
                    <a:pt x="21476" y="19816"/>
                  </a:cubicBezTo>
                  <a:lnTo>
                    <a:pt x="31763" y="13911"/>
                  </a:lnTo>
                  <a:lnTo>
                    <a:pt x="34144" y="12577"/>
                  </a:lnTo>
                  <a:cubicBezTo>
                    <a:pt x="35382" y="12129"/>
                    <a:pt x="36020" y="10758"/>
                    <a:pt x="35573" y="9529"/>
                  </a:cubicBezTo>
                  <a:cubicBezTo>
                    <a:pt x="35325" y="8862"/>
                    <a:pt x="34811" y="8339"/>
                    <a:pt x="34144" y="8101"/>
                  </a:cubicBezTo>
                  <a:lnTo>
                    <a:pt x="21476" y="766"/>
                  </a:lnTo>
                  <a:cubicBezTo>
                    <a:pt x="19085" y="-472"/>
                    <a:pt x="16247" y="-472"/>
                    <a:pt x="13856" y="766"/>
                  </a:cubicBezTo>
                  <a:lnTo>
                    <a:pt x="1187" y="8101"/>
                  </a:lnTo>
                  <a:cubicBezTo>
                    <a:pt x="340" y="8519"/>
                    <a:pt x="-241" y="9348"/>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390" name="ïšḻïḍé">
              <a:extLst>
                <a:ext uri="{FF2B5EF4-FFF2-40B4-BE49-F238E27FC236}">
                  <a16:creationId xmlns:a16="http://schemas.microsoft.com/office/drawing/2014/main" id="{E94CDF92-6D9E-49BF-AF43-2A56B326DF42}"/>
                </a:ext>
              </a:extLst>
            </p:cNvPr>
            <p:cNvSpPr/>
            <p:nvPr/>
          </p:nvSpPr>
          <p:spPr>
            <a:xfrm>
              <a:off x="5509148" y="4706671"/>
              <a:ext cx="105898" cy="61101"/>
            </a:xfrm>
            <a:custGeom>
              <a:avLst/>
              <a:gdLst>
                <a:gd name="connsiteX0" fmla="*/ 1164 w 34790"/>
                <a:gd name="connsiteY0" fmla="*/ 12029 h 20073"/>
                <a:gd name="connsiteX1" fmla="*/ 13356 w 34790"/>
                <a:gd name="connsiteY1" fmla="*/ 18982 h 20073"/>
                <a:gd name="connsiteX2" fmla="*/ 20786 w 34790"/>
                <a:gd name="connsiteY2" fmla="*/ 18982 h 20073"/>
                <a:gd name="connsiteX3" fmla="*/ 32882 w 34790"/>
                <a:gd name="connsiteY3" fmla="*/ 12029 h 20073"/>
                <a:gd name="connsiteX4" fmla="*/ 32882 w 34790"/>
                <a:gd name="connsiteY4" fmla="*/ 7743 h 20073"/>
                <a:gd name="connsiteX5" fmla="*/ 20786 w 34790"/>
                <a:gd name="connsiteY5" fmla="*/ 695 h 20073"/>
                <a:gd name="connsiteX6" fmla="*/ 13356 w 34790"/>
                <a:gd name="connsiteY6" fmla="*/ 695 h 20073"/>
                <a:gd name="connsiteX7" fmla="*/ 1164 w 34790"/>
                <a:gd name="connsiteY7" fmla="*/ 7743 h 20073"/>
                <a:gd name="connsiteX8" fmla="*/ 1164 w 34790"/>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3">
                  <a:moveTo>
                    <a:pt x="1164" y="12029"/>
                  </a:moveTo>
                  <a:lnTo>
                    <a:pt x="13356" y="18982"/>
                  </a:lnTo>
                  <a:cubicBezTo>
                    <a:pt x="15680" y="20221"/>
                    <a:pt x="18461" y="20221"/>
                    <a:pt x="20786" y="18982"/>
                  </a:cubicBezTo>
                  <a:lnTo>
                    <a:pt x="32882" y="12029"/>
                  </a:lnTo>
                  <a:cubicBezTo>
                    <a:pt x="34978" y="10791"/>
                    <a:pt x="34978" y="8886"/>
                    <a:pt x="32882" y="7743"/>
                  </a:cubicBezTo>
                  <a:lnTo>
                    <a:pt x="20786" y="695"/>
                  </a:lnTo>
                  <a:cubicBezTo>
                    <a:pt x="18442" y="-448"/>
                    <a:pt x="15699" y="-448"/>
                    <a:pt x="13356" y="695"/>
                  </a:cubicBezTo>
                  <a:lnTo>
                    <a:pt x="1164" y="7743"/>
                  </a:lnTo>
                  <a:cubicBezTo>
                    <a:pt x="-836" y="8886"/>
                    <a:pt x="-836" y="10791"/>
                    <a:pt x="1164" y="12029"/>
                  </a:cubicBezTo>
                  <a:close/>
                </a:path>
              </a:pathLst>
            </a:custGeom>
            <a:solidFill>
              <a:srgbClr val="D1D9E8"/>
            </a:solidFill>
            <a:ln w="9525" cap="flat">
              <a:noFill/>
              <a:prstDash val="solid"/>
              <a:miter/>
            </a:ln>
          </p:spPr>
          <p:txBody>
            <a:bodyPr rtlCol="0" anchor="ctr"/>
            <a:lstStyle/>
            <a:p>
              <a:endParaRPr lang="zh-CN" altLang="en-US"/>
            </a:p>
          </p:txBody>
        </p:sp>
        <p:sp>
          <p:nvSpPr>
            <p:cNvPr id="391" name="ïśľîḓe">
              <a:extLst>
                <a:ext uri="{FF2B5EF4-FFF2-40B4-BE49-F238E27FC236}">
                  <a16:creationId xmlns:a16="http://schemas.microsoft.com/office/drawing/2014/main" id="{F74FB998-CBEE-4BE5-A137-32777F866DF4}"/>
                </a:ext>
              </a:extLst>
            </p:cNvPr>
            <p:cNvSpPr/>
            <p:nvPr/>
          </p:nvSpPr>
          <p:spPr>
            <a:xfrm>
              <a:off x="5507337" y="4737114"/>
              <a:ext cx="109594" cy="53564"/>
            </a:xfrm>
            <a:custGeom>
              <a:avLst/>
              <a:gdLst>
                <a:gd name="connsiteX0" fmla="*/ -336 w 36004"/>
                <a:gd name="connsiteY0" fmla="*/ -163 h 17597"/>
                <a:gd name="connsiteX1" fmla="*/ -336 w 36004"/>
                <a:gd name="connsiteY1" fmla="*/ 7076 h 17597"/>
                <a:gd name="connsiteX2" fmla="*/ 1187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4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7 w 36004"/>
                <a:gd name="connsiteY13" fmla="*/ 2124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7" y="9267"/>
                  </a:cubicBezTo>
                  <a:lnTo>
                    <a:pt x="13856" y="16506"/>
                  </a:lnTo>
                  <a:cubicBezTo>
                    <a:pt x="16247" y="17744"/>
                    <a:pt x="19085" y="17744"/>
                    <a:pt x="21476" y="16506"/>
                  </a:cubicBezTo>
                  <a:lnTo>
                    <a:pt x="34144" y="9267"/>
                  </a:lnTo>
                  <a:cubicBezTo>
                    <a:pt x="35011" y="8819"/>
                    <a:pt x="35582" y="7953"/>
                    <a:pt x="35668" y="6981"/>
                  </a:cubicBezTo>
                  <a:lnTo>
                    <a:pt x="35668" y="-163"/>
                  </a:lnTo>
                  <a:cubicBezTo>
                    <a:pt x="35601" y="818"/>
                    <a:pt x="35020" y="1685"/>
                    <a:pt x="34144" y="2124"/>
                  </a:cubicBezTo>
                  <a:lnTo>
                    <a:pt x="31763" y="3457"/>
                  </a:lnTo>
                  <a:lnTo>
                    <a:pt x="21476" y="9362"/>
                  </a:lnTo>
                  <a:cubicBezTo>
                    <a:pt x="19085" y="10601"/>
                    <a:pt x="16247" y="10601"/>
                    <a:pt x="13856" y="9362"/>
                  </a:cubicBezTo>
                  <a:lnTo>
                    <a:pt x="3569" y="3457"/>
                  </a:lnTo>
                  <a:lnTo>
                    <a:pt x="1187" y="2124"/>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392" name="íŝ1ïḑé">
              <a:extLst>
                <a:ext uri="{FF2B5EF4-FFF2-40B4-BE49-F238E27FC236}">
                  <a16:creationId xmlns:a16="http://schemas.microsoft.com/office/drawing/2014/main" id="{BEDEB679-E08C-4BEE-A638-C3806FC502DE}"/>
                </a:ext>
              </a:extLst>
            </p:cNvPr>
            <p:cNvSpPr/>
            <p:nvPr/>
          </p:nvSpPr>
          <p:spPr>
            <a:xfrm>
              <a:off x="5584457" y="4749944"/>
              <a:ext cx="109883" cy="63639"/>
            </a:xfrm>
            <a:custGeom>
              <a:avLst/>
              <a:gdLst>
                <a:gd name="connsiteX0" fmla="*/ -336 w 36099"/>
                <a:gd name="connsiteY0" fmla="*/ 10291 h 20907"/>
                <a:gd name="connsiteX1" fmla="*/ 1283 w 36099"/>
                <a:gd name="connsiteY1" fmla="*/ 12577 h 20907"/>
                <a:gd name="connsiteX2" fmla="*/ 3569 w 36099"/>
                <a:gd name="connsiteY2" fmla="*/ 13911 h 20907"/>
                <a:gd name="connsiteX3" fmla="*/ 13856 w 36099"/>
                <a:gd name="connsiteY3" fmla="*/ 19816 h 20907"/>
                <a:gd name="connsiteX4" fmla="*/ 21571 w 36099"/>
                <a:gd name="connsiteY4" fmla="*/ 19816 h 20907"/>
                <a:gd name="connsiteX5" fmla="*/ 31858 w 36099"/>
                <a:gd name="connsiteY5" fmla="*/ 13911 h 20907"/>
                <a:gd name="connsiteX6" fmla="*/ 34144 w 36099"/>
                <a:gd name="connsiteY6" fmla="*/ 12577 h 20907"/>
                <a:gd name="connsiteX7" fmla="*/ 35764 w 36099"/>
                <a:gd name="connsiteY7" fmla="*/ 10291 h 20907"/>
                <a:gd name="connsiteX8" fmla="*/ 34144 w 36099"/>
                <a:gd name="connsiteY8" fmla="*/ 8100 h 20907"/>
                <a:gd name="connsiteX9" fmla="*/ 21571 w 36099"/>
                <a:gd name="connsiteY9" fmla="*/ 766 h 20907"/>
                <a:gd name="connsiteX10" fmla="*/ 13856 w 36099"/>
                <a:gd name="connsiteY10" fmla="*/ 766 h 20907"/>
                <a:gd name="connsiteX11" fmla="*/ 1283 w 36099"/>
                <a:gd name="connsiteY11" fmla="*/ 8100 h 20907"/>
                <a:gd name="connsiteX12" fmla="*/ -336 w 36099"/>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99" h="20907">
                  <a:moveTo>
                    <a:pt x="-336" y="10291"/>
                  </a:moveTo>
                  <a:cubicBezTo>
                    <a:pt x="-269" y="11301"/>
                    <a:pt x="350" y="12187"/>
                    <a:pt x="1283" y="12577"/>
                  </a:cubicBezTo>
                  <a:lnTo>
                    <a:pt x="3569" y="13911"/>
                  </a:lnTo>
                  <a:lnTo>
                    <a:pt x="13856" y="19816"/>
                  </a:lnTo>
                  <a:cubicBezTo>
                    <a:pt x="16275" y="21054"/>
                    <a:pt x="19152" y="21054"/>
                    <a:pt x="21571" y="19816"/>
                  </a:cubicBezTo>
                  <a:lnTo>
                    <a:pt x="31858" y="13911"/>
                  </a:lnTo>
                  <a:lnTo>
                    <a:pt x="34144" y="12577"/>
                  </a:lnTo>
                  <a:cubicBezTo>
                    <a:pt x="35049" y="12149"/>
                    <a:pt x="35659" y="11282"/>
                    <a:pt x="35764" y="10291"/>
                  </a:cubicBezTo>
                  <a:cubicBezTo>
                    <a:pt x="35649" y="9329"/>
                    <a:pt x="35030" y="8491"/>
                    <a:pt x="34144" y="8100"/>
                  </a:cubicBezTo>
                  <a:lnTo>
                    <a:pt x="21571" y="766"/>
                  </a:lnTo>
                  <a:cubicBezTo>
                    <a:pt x="19152" y="-472"/>
                    <a:pt x="16275" y="-472"/>
                    <a:pt x="13856" y="766"/>
                  </a:cubicBezTo>
                  <a:lnTo>
                    <a:pt x="1283" y="8100"/>
                  </a:lnTo>
                  <a:cubicBezTo>
                    <a:pt x="369" y="8462"/>
                    <a:pt x="-260" y="9310"/>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393" name="iSļiďè">
              <a:extLst>
                <a:ext uri="{FF2B5EF4-FFF2-40B4-BE49-F238E27FC236}">
                  <a16:creationId xmlns:a16="http://schemas.microsoft.com/office/drawing/2014/main" id="{3036BAF3-D789-408D-BD1A-B0D9F264187A}"/>
                </a:ext>
              </a:extLst>
            </p:cNvPr>
            <p:cNvSpPr/>
            <p:nvPr/>
          </p:nvSpPr>
          <p:spPr>
            <a:xfrm>
              <a:off x="5586126" y="4751104"/>
              <a:ext cx="105244" cy="61101"/>
            </a:xfrm>
            <a:custGeom>
              <a:avLst/>
              <a:gdLst>
                <a:gd name="connsiteX0" fmla="*/ 1021 w 34575"/>
                <a:gd name="connsiteY0" fmla="*/ 12006 h 20073"/>
                <a:gd name="connsiteX1" fmla="*/ 13118 w 34575"/>
                <a:gd name="connsiteY1" fmla="*/ 19054 h 20073"/>
                <a:gd name="connsiteX2" fmla="*/ 20547 w 34575"/>
                <a:gd name="connsiteY2" fmla="*/ 19054 h 20073"/>
                <a:gd name="connsiteX3" fmla="*/ 32739 w 34575"/>
                <a:gd name="connsiteY3" fmla="*/ 12006 h 20073"/>
                <a:gd name="connsiteX4" fmla="*/ 32739 w 34575"/>
                <a:gd name="connsiteY4" fmla="*/ 7719 h 20073"/>
                <a:gd name="connsiteX5" fmla="*/ 20547 w 34575"/>
                <a:gd name="connsiteY5" fmla="*/ 766 h 20073"/>
                <a:gd name="connsiteX6" fmla="*/ 13118 w 34575"/>
                <a:gd name="connsiteY6" fmla="*/ 766 h 20073"/>
                <a:gd name="connsiteX7" fmla="*/ 1021 w 34575"/>
                <a:gd name="connsiteY7" fmla="*/ 7719 h 20073"/>
                <a:gd name="connsiteX8" fmla="*/ 1021 w 34575"/>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575" h="20073">
                  <a:moveTo>
                    <a:pt x="1021" y="12006"/>
                  </a:moveTo>
                  <a:lnTo>
                    <a:pt x="13118" y="19054"/>
                  </a:lnTo>
                  <a:cubicBezTo>
                    <a:pt x="15461" y="20197"/>
                    <a:pt x="18204" y="20197"/>
                    <a:pt x="20547" y="19054"/>
                  </a:cubicBezTo>
                  <a:lnTo>
                    <a:pt x="32739" y="12006"/>
                  </a:lnTo>
                  <a:cubicBezTo>
                    <a:pt x="34740" y="10863"/>
                    <a:pt x="34740" y="8957"/>
                    <a:pt x="32739" y="7719"/>
                  </a:cubicBezTo>
                  <a:lnTo>
                    <a:pt x="20547" y="766"/>
                  </a:lnTo>
                  <a:cubicBezTo>
                    <a:pt x="18223" y="-472"/>
                    <a:pt x="15442" y="-472"/>
                    <a:pt x="13118" y="766"/>
                  </a:cubicBezTo>
                  <a:lnTo>
                    <a:pt x="1021" y="7719"/>
                  </a:lnTo>
                  <a:cubicBezTo>
                    <a:pt x="-789" y="8957"/>
                    <a:pt x="-789" y="10863"/>
                    <a:pt x="1021" y="12006"/>
                  </a:cubicBezTo>
                  <a:close/>
                </a:path>
              </a:pathLst>
            </a:custGeom>
            <a:solidFill>
              <a:srgbClr val="D1D9E8"/>
            </a:solidFill>
            <a:ln w="9525" cap="flat">
              <a:noFill/>
              <a:prstDash val="solid"/>
              <a:miter/>
            </a:ln>
          </p:spPr>
          <p:txBody>
            <a:bodyPr rtlCol="0" anchor="ctr"/>
            <a:lstStyle/>
            <a:p>
              <a:endParaRPr lang="zh-CN" altLang="en-US"/>
            </a:p>
          </p:txBody>
        </p:sp>
        <p:sp>
          <p:nvSpPr>
            <p:cNvPr id="394" name="îşḻîḑé">
              <a:extLst>
                <a:ext uri="{FF2B5EF4-FFF2-40B4-BE49-F238E27FC236}">
                  <a16:creationId xmlns:a16="http://schemas.microsoft.com/office/drawing/2014/main" id="{62BB1114-C69B-421B-92EC-01EDFEB8C456}"/>
                </a:ext>
              </a:extLst>
            </p:cNvPr>
            <p:cNvSpPr/>
            <p:nvPr/>
          </p:nvSpPr>
          <p:spPr>
            <a:xfrm>
              <a:off x="5584457" y="4781765"/>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4 w 36099"/>
                <a:gd name="connsiteY6" fmla="*/ 6981 h 17597"/>
                <a:gd name="connsiteX7" fmla="*/ 35764 w 36099"/>
                <a:gd name="connsiteY7" fmla="*/ -163 h 17597"/>
                <a:gd name="connsiteX8" fmla="*/ 34144 w 36099"/>
                <a:gd name="connsiteY8" fmla="*/ 2123 h 17597"/>
                <a:gd name="connsiteX9" fmla="*/ 31858 w 36099"/>
                <a:gd name="connsiteY9" fmla="*/ 3457 h 17597"/>
                <a:gd name="connsiteX10" fmla="*/ 21571 w 36099"/>
                <a:gd name="connsiteY10" fmla="*/ 9362 h 17597"/>
                <a:gd name="connsiteX11" fmla="*/ 13856 w 36099"/>
                <a:gd name="connsiteY11" fmla="*/ 9362 h 17597"/>
                <a:gd name="connsiteX12" fmla="*/ 3569 w 36099"/>
                <a:gd name="connsiteY12" fmla="*/ 3457 h 17597"/>
                <a:gd name="connsiteX13" fmla="*/ 1283 w 36099"/>
                <a:gd name="connsiteY13" fmla="*/ 2123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41" y="8048"/>
                    <a:pt x="378" y="8886"/>
                    <a:pt x="1283" y="9267"/>
                  </a:cubicBezTo>
                  <a:lnTo>
                    <a:pt x="13856" y="16506"/>
                  </a:lnTo>
                  <a:cubicBezTo>
                    <a:pt x="16275" y="17744"/>
                    <a:pt x="19152" y="17744"/>
                    <a:pt x="21571" y="16506"/>
                  </a:cubicBezTo>
                  <a:lnTo>
                    <a:pt x="34144" y="9267"/>
                  </a:lnTo>
                  <a:cubicBezTo>
                    <a:pt x="35030" y="8829"/>
                    <a:pt x="35640" y="7962"/>
                    <a:pt x="35764" y="6981"/>
                  </a:cubicBezTo>
                  <a:lnTo>
                    <a:pt x="35764" y="-163"/>
                  </a:lnTo>
                  <a:cubicBezTo>
                    <a:pt x="35659" y="828"/>
                    <a:pt x="35049" y="1695"/>
                    <a:pt x="34144" y="2123"/>
                  </a:cubicBezTo>
                  <a:lnTo>
                    <a:pt x="31858" y="3457"/>
                  </a:lnTo>
                  <a:lnTo>
                    <a:pt x="21571" y="9362"/>
                  </a:lnTo>
                  <a:cubicBezTo>
                    <a:pt x="19152" y="10601"/>
                    <a:pt x="16275" y="10601"/>
                    <a:pt x="13856" y="9362"/>
                  </a:cubicBezTo>
                  <a:lnTo>
                    <a:pt x="3569" y="3457"/>
                  </a:lnTo>
                  <a:lnTo>
                    <a:pt x="1283" y="2123"/>
                  </a:lnTo>
                  <a:cubicBezTo>
                    <a:pt x="350" y="1733"/>
                    <a:pt x="-269" y="847"/>
                    <a:pt x="-336" y="-163"/>
                  </a:cubicBezTo>
                  <a:close/>
                </a:path>
              </a:pathLst>
            </a:custGeom>
            <a:solidFill>
              <a:srgbClr val="BF4200"/>
            </a:solidFill>
            <a:ln w="9525" cap="flat">
              <a:noFill/>
              <a:prstDash val="solid"/>
              <a:miter/>
            </a:ln>
          </p:spPr>
          <p:txBody>
            <a:bodyPr rtlCol="0" anchor="ctr"/>
            <a:lstStyle/>
            <a:p>
              <a:endParaRPr lang="zh-CN" altLang="en-US"/>
            </a:p>
          </p:txBody>
        </p:sp>
        <p:sp>
          <p:nvSpPr>
            <p:cNvPr id="395" name="îṣlíḋe">
              <a:extLst>
                <a:ext uri="{FF2B5EF4-FFF2-40B4-BE49-F238E27FC236}">
                  <a16:creationId xmlns:a16="http://schemas.microsoft.com/office/drawing/2014/main" id="{42246F9C-6A4E-4CAF-B439-1C06421CCF48}"/>
                </a:ext>
              </a:extLst>
            </p:cNvPr>
            <p:cNvSpPr/>
            <p:nvPr/>
          </p:nvSpPr>
          <p:spPr>
            <a:xfrm>
              <a:off x="5661871" y="4795463"/>
              <a:ext cx="110753" cy="63588"/>
            </a:xfrm>
            <a:custGeom>
              <a:avLst/>
              <a:gdLst>
                <a:gd name="connsiteX0" fmla="*/ -336 w 36385"/>
                <a:gd name="connsiteY0" fmla="*/ 10196 h 20890"/>
                <a:gd name="connsiteX1" fmla="*/ 1188 w 36385"/>
                <a:gd name="connsiteY1" fmla="*/ 12482 h 20890"/>
                <a:gd name="connsiteX2" fmla="*/ 3569 w 36385"/>
                <a:gd name="connsiteY2" fmla="*/ 13815 h 20890"/>
                <a:gd name="connsiteX3" fmla="*/ 14237 w 36385"/>
                <a:gd name="connsiteY3" fmla="*/ 19721 h 20890"/>
                <a:gd name="connsiteX4" fmla="*/ 21857 w 36385"/>
                <a:gd name="connsiteY4" fmla="*/ 19721 h 20890"/>
                <a:gd name="connsiteX5" fmla="*/ 32144 w 36385"/>
                <a:gd name="connsiteY5" fmla="*/ 13911 h 20890"/>
                <a:gd name="connsiteX6" fmla="*/ 34525 w 36385"/>
                <a:gd name="connsiteY6" fmla="*/ 12577 h 20890"/>
                <a:gd name="connsiteX7" fmla="*/ 36049 w 36385"/>
                <a:gd name="connsiteY7" fmla="*/ 10291 h 20890"/>
                <a:gd name="connsiteX8" fmla="*/ 34525 w 36385"/>
                <a:gd name="connsiteY8" fmla="*/ 8100 h 20890"/>
                <a:gd name="connsiteX9" fmla="*/ 21857 w 36385"/>
                <a:gd name="connsiteY9" fmla="*/ 766 h 20890"/>
                <a:gd name="connsiteX10" fmla="*/ 14237 w 36385"/>
                <a:gd name="connsiteY10" fmla="*/ 766 h 20890"/>
                <a:gd name="connsiteX11" fmla="*/ 1569 w 36385"/>
                <a:gd name="connsiteY11" fmla="*/ 8100 h 20890"/>
                <a:gd name="connsiteX12" fmla="*/ -336 w 36385"/>
                <a:gd name="connsiteY12" fmla="*/ 10196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385" h="20890">
                  <a:moveTo>
                    <a:pt x="-336" y="10196"/>
                  </a:moveTo>
                  <a:cubicBezTo>
                    <a:pt x="-270" y="11177"/>
                    <a:pt x="311" y="12044"/>
                    <a:pt x="1188" y="12482"/>
                  </a:cubicBezTo>
                  <a:lnTo>
                    <a:pt x="3569" y="13815"/>
                  </a:lnTo>
                  <a:lnTo>
                    <a:pt x="14237" y="19721"/>
                  </a:lnTo>
                  <a:cubicBezTo>
                    <a:pt x="16599" y="21064"/>
                    <a:pt x="19495" y="21064"/>
                    <a:pt x="21857" y="19721"/>
                  </a:cubicBezTo>
                  <a:lnTo>
                    <a:pt x="32144" y="13911"/>
                  </a:lnTo>
                  <a:lnTo>
                    <a:pt x="34525" y="12577"/>
                  </a:lnTo>
                  <a:cubicBezTo>
                    <a:pt x="35401" y="12139"/>
                    <a:pt x="35982" y="11272"/>
                    <a:pt x="36049" y="10291"/>
                  </a:cubicBezTo>
                  <a:cubicBezTo>
                    <a:pt x="35992" y="9339"/>
                    <a:pt x="35401" y="8491"/>
                    <a:pt x="34525" y="8100"/>
                  </a:cubicBezTo>
                  <a:lnTo>
                    <a:pt x="21857" y="766"/>
                  </a:lnTo>
                  <a:cubicBezTo>
                    <a:pt x="19466" y="-472"/>
                    <a:pt x="16628" y="-472"/>
                    <a:pt x="14237" y="766"/>
                  </a:cubicBezTo>
                  <a:lnTo>
                    <a:pt x="1569" y="8100"/>
                  </a:lnTo>
                  <a:cubicBezTo>
                    <a:pt x="569" y="8357"/>
                    <a:pt x="-174" y="9177"/>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396" name="î$ḻîdè">
              <a:extLst>
                <a:ext uri="{FF2B5EF4-FFF2-40B4-BE49-F238E27FC236}">
                  <a16:creationId xmlns:a16="http://schemas.microsoft.com/office/drawing/2014/main" id="{D73B1B39-F798-4DA4-80F4-1805A65F9D42}"/>
                </a:ext>
              </a:extLst>
            </p:cNvPr>
            <p:cNvSpPr/>
            <p:nvPr/>
          </p:nvSpPr>
          <p:spPr>
            <a:xfrm>
              <a:off x="5663755" y="4795755"/>
              <a:ext cx="105825" cy="61101"/>
            </a:xfrm>
            <a:custGeom>
              <a:avLst/>
              <a:gdLst>
                <a:gd name="connsiteX0" fmla="*/ 1235 w 34766"/>
                <a:gd name="connsiteY0" fmla="*/ 12006 h 20073"/>
                <a:gd name="connsiteX1" fmla="*/ 13332 w 34766"/>
                <a:gd name="connsiteY1" fmla="*/ 19054 h 20073"/>
                <a:gd name="connsiteX2" fmla="*/ 20761 w 34766"/>
                <a:gd name="connsiteY2" fmla="*/ 19054 h 20073"/>
                <a:gd name="connsiteX3" fmla="*/ 32858 w 34766"/>
                <a:gd name="connsiteY3" fmla="*/ 12006 h 20073"/>
                <a:gd name="connsiteX4" fmla="*/ 32858 w 34766"/>
                <a:gd name="connsiteY4" fmla="*/ 7719 h 20073"/>
                <a:gd name="connsiteX5" fmla="*/ 20761 w 34766"/>
                <a:gd name="connsiteY5" fmla="*/ 766 h 20073"/>
                <a:gd name="connsiteX6" fmla="*/ 13332 w 34766"/>
                <a:gd name="connsiteY6" fmla="*/ 766 h 20073"/>
                <a:gd name="connsiteX7" fmla="*/ 1235 w 34766"/>
                <a:gd name="connsiteY7" fmla="*/ 7719 h 20073"/>
                <a:gd name="connsiteX8" fmla="*/ 1235 w 34766"/>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6" h="20073">
                  <a:moveTo>
                    <a:pt x="1235" y="12006"/>
                  </a:moveTo>
                  <a:lnTo>
                    <a:pt x="13332" y="19054"/>
                  </a:lnTo>
                  <a:cubicBezTo>
                    <a:pt x="15675" y="20197"/>
                    <a:pt x="18418" y="20197"/>
                    <a:pt x="20761" y="19054"/>
                  </a:cubicBezTo>
                  <a:lnTo>
                    <a:pt x="32858" y="12006"/>
                  </a:lnTo>
                  <a:cubicBezTo>
                    <a:pt x="34954" y="10862"/>
                    <a:pt x="34954" y="8958"/>
                    <a:pt x="32858" y="7719"/>
                  </a:cubicBezTo>
                  <a:lnTo>
                    <a:pt x="20761" y="766"/>
                  </a:lnTo>
                  <a:cubicBezTo>
                    <a:pt x="18437" y="-472"/>
                    <a:pt x="15656" y="-472"/>
                    <a:pt x="13332" y="766"/>
                  </a:cubicBezTo>
                  <a:lnTo>
                    <a:pt x="1235" y="7719"/>
                  </a:lnTo>
                  <a:cubicBezTo>
                    <a:pt x="-860" y="8958"/>
                    <a:pt x="-860" y="10862"/>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397" name="i$ḷïḍê">
              <a:extLst>
                <a:ext uri="{FF2B5EF4-FFF2-40B4-BE49-F238E27FC236}">
                  <a16:creationId xmlns:a16="http://schemas.microsoft.com/office/drawing/2014/main" id="{734AE88F-7AD6-4C65-A048-1216A5082545}"/>
                </a:ext>
              </a:extLst>
            </p:cNvPr>
            <p:cNvSpPr/>
            <p:nvPr/>
          </p:nvSpPr>
          <p:spPr>
            <a:xfrm>
              <a:off x="5661871" y="4826995"/>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3 h 17597"/>
                <a:gd name="connsiteX9" fmla="*/ 31763 w 36004"/>
                <a:gd name="connsiteY9" fmla="*/ 3457 h 17597"/>
                <a:gd name="connsiteX10" fmla="*/ 21476 w 36004"/>
                <a:gd name="connsiteY10" fmla="*/ 9267 h 17597"/>
                <a:gd name="connsiteX11" fmla="*/ 13856 w 36004"/>
                <a:gd name="connsiteY11" fmla="*/ 9267 h 17597"/>
                <a:gd name="connsiteX12" fmla="*/ 3569 w 36004"/>
                <a:gd name="connsiteY12" fmla="*/ 3457 h 17597"/>
                <a:gd name="connsiteX13" fmla="*/ 1188 w 36004"/>
                <a:gd name="connsiteY13" fmla="*/ 2123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2" y="7953"/>
                    <a:pt x="35668" y="6981"/>
                  </a:cubicBezTo>
                  <a:lnTo>
                    <a:pt x="35668" y="-163"/>
                  </a:lnTo>
                  <a:cubicBezTo>
                    <a:pt x="35602" y="818"/>
                    <a:pt x="35021" y="1685"/>
                    <a:pt x="34144" y="2123"/>
                  </a:cubicBezTo>
                  <a:lnTo>
                    <a:pt x="31763" y="3457"/>
                  </a:lnTo>
                  <a:lnTo>
                    <a:pt x="21476" y="9267"/>
                  </a:lnTo>
                  <a:cubicBezTo>
                    <a:pt x="19114" y="10610"/>
                    <a:pt x="16218" y="10610"/>
                    <a:pt x="13856" y="9267"/>
                  </a:cubicBezTo>
                  <a:lnTo>
                    <a:pt x="3569" y="3457"/>
                  </a:lnTo>
                  <a:lnTo>
                    <a:pt x="1188"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398" name="ïş1îḍe">
              <a:extLst>
                <a:ext uri="{FF2B5EF4-FFF2-40B4-BE49-F238E27FC236}">
                  <a16:creationId xmlns:a16="http://schemas.microsoft.com/office/drawing/2014/main" id="{1F41704E-2EE8-40F2-BFFB-38DEFF4C492D}"/>
                </a:ext>
              </a:extLst>
            </p:cNvPr>
            <p:cNvSpPr/>
            <p:nvPr/>
          </p:nvSpPr>
          <p:spPr>
            <a:xfrm>
              <a:off x="5738995" y="4839244"/>
              <a:ext cx="109916" cy="63588"/>
            </a:xfrm>
            <a:custGeom>
              <a:avLst/>
              <a:gdLst>
                <a:gd name="connsiteX0" fmla="*/ -336 w 36110"/>
                <a:gd name="connsiteY0" fmla="*/ 10291 h 20890"/>
                <a:gd name="connsiteX1" fmla="*/ 1283 w 36110"/>
                <a:gd name="connsiteY1" fmla="*/ 12482 h 20890"/>
                <a:gd name="connsiteX2" fmla="*/ 3569 w 36110"/>
                <a:gd name="connsiteY2" fmla="*/ 13910 h 20890"/>
                <a:gd name="connsiteX3" fmla="*/ 13856 w 36110"/>
                <a:gd name="connsiteY3" fmla="*/ 19721 h 20890"/>
                <a:gd name="connsiteX4" fmla="*/ 21571 w 36110"/>
                <a:gd name="connsiteY4" fmla="*/ 19721 h 20890"/>
                <a:gd name="connsiteX5" fmla="*/ 31858 w 36110"/>
                <a:gd name="connsiteY5" fmla="*/ 13910 h 20890"/>
                <a:gd name="connsiteX6" fmla="*/ 34144 w 36110"/>
                <a:gd name="connsiteY6" fmla="*/ 12482 h 20890"/>
                <a:gd name="connsiteX7" fmla="*/ 35678 w 36110"/>
                <a:gd name="connsiteY7" fmla="*/ 9634 h 20890"/>
                <a:gd name="connsiteX8" fmla="*/ 34144 w 36110"/>
                <a:gd name="connsiteY8" fmla="*/ 8100 h 20890"/>
                <a:gd name="connsiteX9" fmla="*/ 21571 w 36110"/>
                <a:gd name="connsiteY9" fmla="*/ 766 h 20890"/>
                <a:gd name="connsiteX10" fmla="*/ 13856 w 36110"/>
                <a:gd name="connsiteY10" fmla="*/ 766 h 20890"/>
                <a:gd name="connsiteX11" fmla="*/ 1283 w 36110"/>
                <a:gd name="connsiteY11" fmla="*/ 8100 h 20890"/>
                <a:gd name="connsiteX12" fmla="*/ -336 w 36110"/>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110" h="20890">
                  <a:moveTo>
                    <a:pt x="-336" y="10291"/>
                  </a:moveTo>
                  <a:cubicBezTo>
                    <a:pt x="-260" y="11272"/>
                    <a:pt x="369" y="12120"/>
                    <a:pt x="1283" y="12482"/>
                  </a:cubicBezTo>
                  <a:lnTo>
                    <a:pt x="3569" y="13910"/>
                  </a:lnTo>
                  <a:lnTo>
                    <a:pt x="13856" y="19721"/>
                  </a:lnTo>
                  <a:cubicBezTo>
                    <a:pt x="16256" y="21064"/>
                    <a:pt x="19171" y="21064"/>
                    <a:pt x="21571" y="19721"/>
                  </a:cubicBezTo>
                  <a:lnTo>
                    <a:pt x="31858" y="13910"/>
                  </a:lnTo>
                  <a:lnTo>
                    <a:pt x="34144" y="12482"/>
                  </a:lnTo>
                  <a:cubicBezTo>
                    <a:pt x="35354" y="12120"/>
                    <a:pt x="36040" y="10843"/>
                    <a:pt x="35678" y="9634"/>
                  </a:cubicBezTo>
                  <a:cubicBezTo>
                    <a:pt x="35459" y="8900"/>
                    <a:pt x="34887" y="8319"/>
                    <a:pt x="34144" y="8100"/>
                  </a:cubicBezTo>
                  <a:lnTo>
                    <a:pt x="21571" y="766"/>
                  </a:lnTo>
                  <a:cubicBezTo>
                    <a:pt x="19152" y="-472"/>
                    <a:pt x="16275" y="-472"/>
                    <a:pt x="13856" y="766"/>
                  </a:cubicBezTo>
                  <a:lnTo>
                    <a:pt x="1283" y="8100"/>
                  </a:lnTo>
                  <a:cubicBezTo>
                    <a:pt x="369" y="8462"/>
                    <a:pt x="-260" y="9310"/>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565" name="îṥḻîḋè">
              <a:extLst>
                <a:ext uri="{FF2B5EF4-FFF2-40B4-BE49-F238E27FC236}">
                  <a16:creationId xmlns:a16="http://schemas.microsoft.com/office/drawing/2014/main" id="{BD9F6577-7A32-4088-AE02-AFA877A3A31A}"/>
                </a:ext>
              </a:extLst>
            </p:cNvPr>
            <p:cNvSpPr/>
            <p:nvPr/>
          </p:nvSpPr>
          <p:spPr>
            <a:xfrm>
              <a:off x="5741095" y="4840403"/>
              <a:ext cx="105679" cy="61104"/>
            </a:xfrm>
            <a:custGeom>
              <a:avLst/>
              <a:gdLst>
                <a:gd name="connsiteX0" fmla="*/ 1164 w 34718"/>
                <a:gd name="connsiteY0" fmla="*/ 12006 h 20074"/>
                <a:gd name="connsiteX1" fmla="*/ 13261 w 34718"/>
                <a:gd name="connsiteY1" fmla="*/ 19054 h 20074"/>
                <a:gd name="connsiteX2" fmla="*/ 20690 w 34718"/>
                <a:gd name="connsiteY2" fmla="*/ 19054 h 20074"/>
                <a:gd name="connsiteX3" fmla="*/ 32882 w 34718"/>
                <a:gd name="connsiteY3" fmla="*/ 12006 h 20074"/>
                <a:gd name="connsiteX4" fmla="*/ 32882 w 34718"/>
                <a:gd name="connsiteY4" fmla="*/ 7719 h 20074"/>
                <a:gd name="connsiteX5" fmla="*/ 20690 w 34718"/>
                <a:gd name="connsiteY5" fmla="*/ 766 h 20074"/>
                <a:gd name="connsiteX6" fmla="*/ 13261 w 34718"/>
                <a:gd name="connsiteY6" fmla="*/ 766 h 20074"/>
                <a:gd name="connsiteX7" fmla="*/ 1164 w 34718"/>
                <a:gd name="connsiteY7" fmla="*/ 7719 h 20074"/>
                <a:gd name="connsiteX8" fmla="*/ 1164 w 34718"/>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18" h="20074">
                  <a:moveTo>
                    <a:pt x="1164" y="12006"/>
                  </a:moveTo>
                  <a:lnTo>
                    <a:pt x="13261" y="19054"/>
                  </a:lnTo>
                  <a:cubicBezTo>
                    <a:pt x="15604" y="20197"/>
                    <a:pt x="18347" y="20197"/>
                    <a:pt x="20690" y="19054"/>
                  </a:cubicBezTo>
                  <a:lnTo>
                    <a:pt x="32882" y="12006"/>
                  </a:lnTo>
                  <a:cubicBezTo>
                    <a:pt x="34882" y="10863"/>
                    <a:pt x="34882" y="8958"/>
                    <a:pt x="32882" y="7719"/>
                  </a:cubicBezTo>
                  <a:lnTo>
                    <a:pt x="20690" y="766"/>
                  </a:lnTo>
                  <a:cubicBezTo>
                    <a:pt x="18366" y="-472"/>
                    <a:pt x="15585" y="-472"/>
                    <a:pt x="13261" y="766"/>
                  </a:cubicBezTo>
                  <a:lnTo>
                    <a:pt x="1164" y="7719"/>
                  </a:lnTo>
                  <a:cubicBezTo>
                    <a:pt x="-836" y="8958"/>
                    <a:pt x="-836" y="10863"/>
                    <a:pt x="1164" y="12006"/>
                  </a:cubicBezTo>
                  <a:close/>
                </a:path>
              </a:pathLst>
            </a:custGeom>
            <a:solidFill>
              <a:srgbClr val="D1D9E8"/>
            </a:solidFill>
            <a:ln w="9525" cap="flat">
              <a:noFill/>
              <a:prstDash val="solid"/>
              <a:miter/>
            </a:ln>
          </p:spPr>
          <p:txBody>
            <a:bodyPr rtlCol="0" anchor="ctr"/>
            <a:lstStyle/>
            <a:p>
              <a:endParaRPr lang="zh-CN" altLang="en-US"/>
            </a:p>
          </p:txBody>
        </p:sp>
        <p:sp>
          <p:nvSpPr>
            <p:cNvPr id="566" name="îsḷïde">
              <a:extLst>
                <a:ext uri="{FF2B5EF4-FFF2-40B4-BE49-F238E27FC236}">
                  <a16:creationId xmlns:a16="http://schemas.microsoft.com/office/drawing/2014/main" id="{D771518E-A7C8-4F18-9E03-2096B60E411F}"/>
                </a:ext>
              </a:extLst>
            </p:cNvPr>
            <p:cNvSpPr/>
            <p:nvPr/>
          </p:nvSpPr>
          <p:spPr>
            <a:xfrm>
              <a:off x="5738995" y="4871065"/>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4 w 36099"/>
                <a:gd name="connsiteY6" fmla="*/ 6981 h 17597"/>
                <a:gd name="connsiteX7" fmla="*/ 35764 w 36099"/>
                <a:gd name="connsiteY7" fmla="*/ -163 h 17597"/>
                <a:gd name="connsiteX8" fmla="*/ 34144 w 36099"/>
                <a:gd name="connsiteY8" fmla="*/ 2028 h 17597"/>
                <a:gd name="connsiteX9" fmla="*/ 31858 w 36099"/>
                <a:gd name="connsiteY9" fmla="*/ 3457 h 17597"/>
                <a:gd name="connsiteX10" fmla="*/ 21571 w 36099"/>
                <a:gd name="connsiteY10" fmla="*/ 9267 h 17597"/>
                <a:gd name="connsiteX11" fmla="*/ 13856 w 36099"/>
                <a:gd name="connsiteY11" fmla="*/ 9267 h 17597"/>
                <a:gd name="connsiteX12" fmla="*/ 3569 w 36099"/>
                <a:gd name="connsiteY12" fmla="*/ 3457 h 17597"/>
                <a:gd name="connsiteX13" fmla="*/ 1283 w 36099"/>
                <a:gd name="connsiteY13" fmla="*/ 2028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03" y="8029"/>
                    <a:pt x="407" y="8858"/>
                    <a:pt x="1283" y="9267"/>
                  </a:cubicBezTo>
                  <a:lnTo>
                    <a:pt x="13856" y="16506"/>
                  </a:lnTo>
                  <a:cubicBezTo>
                    <a:pt x="16275" y="17744"/>
                    <a:pt x="19152" y="17744"/>
                    <a:pt x="21571" y="16506"/>
                  </a:cubicBezTo>
                  <a:lnTo>
                    <a:pt x="34144" y="9267"/>
                  </a:lnTo>
                  <a:cubicBezTo>
                    <a:pt x="35030" y="8829"/>
                    <a:pt x="35640" y="7972"/>
                    <a:pt x="35764" y="6981"/>
                  </a:cubicBezTo>
                  <a:lnTo>
                    <a:pt x="35764" y="-163"/>
                  </a:lnTo>
                  <a:cubicBezTo>
                    <a:pt x="35687" y="818"/>
                    <a:pt x="35059" y="1666"/>
                    <a:pt x="34144" y="2028"/>
                  </a:cubicBezTo>
                  <a:lnTo>
                    <a:pt x="31858" y="3457"/>
                  </a:lnTo>
                  <a:lnTo>
                    <a:pt x="21571" y="9267"/>
                  </a:lnTo>
                  <a:cubicBezTo>
                    <a:pt x="19171" y="10610"/>
                    <a:pt x="16256" y="10610"/>
                    <a:pt x="13856" y="9267"/>
                  </a:cubicBezTo>
                  <a:lnTo>
                    <a:pt x="3569" y="3457"/>
                  </a:lnTo>
                  <a:lnTo>
                    <a:pt x="1283" y="2028"/>
                  </a:lnTo>
                  <a:cubicBezTo>
                    <a:pt x="369" y="1666"/>
                    <a:pt x="-26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567" name="ïşľïḋè">
              <a:extLst>
                <a:ext uri="{FF2B5EF4-FFF2-40B4-BE49-F238E27FC236}">
                  <a16:creationId xmlns:a16="http://schemas.microsoft.com/office/drawing/2014/main" id="{935DACAA-3E5B-4163-B912-C24A7DBF2820}"/>
                </a:ext>
              </a:extLst>
            </p:cNvPr>
            <p:cNvSpPr/>
            <p:nvPr/>
          </p:nvSpPr>
          <p:spPr>
            <a:xfrm>
              <a:off x="5816405" y="4883895"/>
              <a:ext cx="109594" cy="63588"/>
            </a:xfrm>
            <a:custGeom>
              <a:avLst/>
              <a:gdLst>
                <a:gd name="connsiteX0" fmla="*/ -336 w 36004"/>
                <a:gd name="connsiteY0" fmla="*/ 10291 h 20890"/>
                <a:gd name="connsiteX1" fmla="*/ 1188 w 36004"/>
                <a:gd name="connsiteY1" fmla="*/ 12482 h 20890"/>
                <a:gd name="connsiteX2" fmla="*/ 3569 w 36004"/>
                <a:gd name="connsiteY2" fmla="*/ 13815 h 20890"/>
                <a:gd name="connsiteX3" fmla="*/ 13856 w 36004"/>
                <a:gd name="connsiteY3" fmla="*/ 19721 h 20890"/>
                <a:gd name="connsiteX4" fmla="*/ 21476 w 36004"/>
                <a:gd name="connsiteY4" fmla="*/ 19721 h 20890"/>
                <a:gd name="connsiteX5" fmla="*/ 31763 w 36004"/>
                <a:gd name="connsiteY5" fmla="*/ 13815 h 20890"/>
                <a:gd name="connsiteX6" fmla="*/ 34144 w 36004"/>
                <a:gd name="connsiteY6" fmla="*/ 12482 h 20890"/>
                <a:gd name="connsiteX7" fmla="*/ 35668 w 36004"/>
                <a:gd name="connsiteY7" fmla="*/ 10291 h 20890"/>
                <a:gd name="connsiteX8" fmla="*/ 34144 w 36004"/>
                <a:gd name="connsiteY8" fmla="*/ 8005 h 20890"/>
                <a:gd name="connsiteX9" fmla="*/ 21476 w 36004"/>
                <a:gd name="connsiteY9" fmla="*/ 766 h 20890"/>
                <a:gd name="connsiteX10" fmla="*/ 13856 w 36004"/>
                <a:gd name="connsiteY10" fmla="*/ 766 h 20890"/>
                <a:gd name="connsiteX11" fmla="*/ 1188 w 36004"/>
                <a:gd name="connsiteY11" fmla="*/ 8005 h 20890"/>
                <a:gd name="connsiteX12" fmla="*/ -336 w 36004"/>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291"/>
                  </a:moveTo>
                  <a:cubicBezTo>
                    <a:pt x="-279" y="11244"/>
                    <a:pt x="312" y="12091"/>
                    <a:pt x="1188" y="12482"/>
                  </a:cubicBezTo>
                  <a:lnTo>
                    <a:pt x="3569" y="13815"/>
                  </a:lnTo>
                  <a:lnTo>
                    <a:pt x="13856" y="19721"/>
                  </a:lnTo>
                  <a:cubicBezTo>
                    <a:pt x="16218" y="21064"/>
                    <a:pt x="19114" y="21064"/>
                    <a:pt x="21476" y="19721"/>
                  </a:cubicBezTo>
                  <a:lnTo>
                    <a:pt x="31763" y="13815"/>
                  </a:lnTo>
                  <a:lnTo>
                    <a:pt x="34144" y="12482"/>
                  </a:lnTo>
                  <a:cubicBezTo>
                    <a:pt x="35021" y="12091"/>
                    <a:pt x="35611" y="11253"/>
                    <a:pt x="35668" y="10291"/>
                  </a:cubicBezTo>
                  <a:cubicBezTo>
                    <a:pt x="35602" y="9310"/>
                    <a:pt x="35021" y="8443"/>
                    <a:pt x="34144" y="8005"/>
                  </a:cubicBezTo>
                  <a:lnTo>
                    <a:pt x="21476" y="766"/>
                  </a:lnTo>
                  <a:cubicBezTo>
                    <a:pt x="19085" y="-472"/>
                    <a:pt x="16247" y="-472"/>
                    <a:pt x="13856" y="766"/>
                  </a:cubicBezTo>
                  <a:lnTo>
                    <a:pt x="1188" y="8005"/>
                  </a:lnTo>
                  <a:cubicBezTo>
                    <a:pt x="312" y="8443"/>
                    <a:pt x="-269" y="9310"/>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568" name="îṣḻidê">
              <a:extLst>
                <a:ext uri="{FF2B5EF4-FFF2-40B4-BE49-F238E27FC236}">
                  <a16:creationId xmlns:a16="http://schemas.microsoft.com/office/drawing/2014/main" id="{640F5F01-860D-4771-B0C5-E82C3BC410F0}"/>
                </a:ext>
              </a:extLst>
            </p:cNvPr>
            <p:cNvSpPr/>
            <p:nvPr/>
          </p:nvSpPr>
          <p:spPr>
            <a:xfrm>
              <a:off x="5818073" y="4885055"/>
              <a:ext cx="105174" cy="61101"/>
            </a:xfrm>
            <a:custGeom>
              <a:avLst/>
              <a:gdLst>
                <a:gd name="connsiteX0" fmla="*/ 1021 w 34552"/>
                <a:gd name="connsiteY0" fmla="*/ 12006 h 20073"/>
                <a:gd name="connsiteX1" fmla="*/ 13118 w 34552"/>
                <a:gd name="connsiteY1" fmla="*/ 19054 h 20073"/>
                <a:gd name="connsiteX2" fmla="*/ 20547 w 34552"/>
                <a:gd name="connsiteY2" fmla="*/ 19054 h 20073"/>
                <a:gd name="connsiteX3" fmla="*/ 32644 w 34552"/>
                <a:gd name="connsiteY3" fmla="*/ 12006 h 20073"/>
                <a:gd name="connsiteX4" fmla="*/ 32644 w 34552"/>
                <a:gd name="connsiteY4" fmla="*/ 7719 h 20073"/>
                <a:gd name="connsiteX5" fmla="*/ 20547 w 34552"/>
                <a:gd name="connsiteY5" fmla="*/ 766 h 20073"/>
                <a:gd name="connsiteX6" fmla="*/ 13118 w 34552"/>
                <a:gd name="connsiteY6" fmla="*/ 766 h 20073"/>
                <a:gd name="connsiteX7" fmla="*/ 1021 w 34552"/>
                <a:gd name="connsiteY7" fmla="*/ 7719 h 20073"/>
                <a:gd name="connsiteX8" fmla="*/ 1021 w 34552"/>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552" h="20073">
                  <a:moveTo>
                    <a:pt x="1021" y="12006"/>
                  </a:moveTo>
                  <a:lnTo>
                    <a:pt x="13118" y="19054"/>
                  </a:lnTo>
                  <a:cubicBezTo>
                    <a:pt x="15461" y="20197"/>
                    <a:pt x="18204" y="20197"/>
                    <a:pt x="20547" y="19054"/>
                  </a:cubicBezTo>
                  <a:lnTo>
                    <a:pt x="32644" y="12006"/>
                  </a:lnTo>
                  <a:cubicBezTo>
                    <a:pt x="34740" y="10863"/>
                    <a:pt x="34740" y="8957"/>
                    <a:pt x="32644" y="7719"/>
                  </a:cubicBezTo>
                  <a:lnTo>
                    <a:pt x="20547" y="766"/>
                  </a:lnTo>
                  <a:cubicBezTo>
                    <a:pt x="18223" y="-472"/>
                    <a:pt x="15442" y="-472"/>
                    <a:pt x="13118" y="766"/>
                  </a:cubicBezTo>
                  <a:lnTo>
                    <a:pt x="1021" y="7719"/>
                  </a:lnTo>
                  <a:cubicBezTo>
                    <a:pt x="-789" y="9339"/>
                    <a:pt x="-789" y="10863"/>
                    <a:pt x="1021" y="12006"/>
                  </a:cubicBezTo>
                  <a:close/>
                </a:path>
              </a:pathLst>
            </a:custGeom>
            <a:solidFill>
              <a:srgbClr val="D1D9E8"/>
            </a:solidFill>
            <a:ln w="9525" cap="flat">
              <a:noFill/>
              <a:prstDash val="solid"/>
              <a:miter/>
            </a:ln>
          </p:spPr>
          <p:txBody>
            <a:bodyPr rtlCol="0" anchor="ctr"/>
            <a:lstStyle/>
            <a:p>
              <a:endParaRPr lang="zh-CN" altLang="en-US"/>
            </a:p>
          </p:txBody>
        </p:sp>
        <p:sp>
          <p:nvSpPr>
            <p:cNvPr id="569" name="îṧļiḓé">
              <a:extLst>
                <a:ext uri="{FF2B5EF4-FFF2-40B4-BE49-F238E27FC236}">
                  <a16:creationId xmlns:a16="http://schemas.microsoft.com/office/drawing/2014/main" id="{AE11A5B9-2885-45AC-B35F-0A6FFCCD5078}"/>
                </a:ext>
              </a:extLst>
            </p:cNvPr>
            <p:cNvSpPr/>
            <p:nvPr/>
          </p:nvSpPr>
          <p:spPr>
            <a:xfrm>
              <a:off x="5816405" y="4915713"/>
              <a:ext cx="109594" cy="53564"/>
            </a:xfrm>
            <a:custGeom>
              <a:avLst/>
              <a:gdLst>
                <a:gd name="connsiteX0" fmla="*/ -336 w 36004"/>
                <a:gd name="connsiteY0" fmla="*/ -163 h 17597"/>
                <a:gd name="connsiteX1" fmla="*/ -336 w 36004"/>
                <a:gd name="connsiteY1" fmla="*/ 6981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028 h 17597"/>
                <a:gd name="connsiteX9" fmla="*/ 31763 w 36004"/>
                <a:gd name="connsiteY9" fmla="*/ 3362 h 17597"/>
                <a:gd name="connsiteX10" fmla="*/ 21476 w 36004"/>
                <a:gd name="connsiteY10" fmla="*/ 9267 h 17597"/>
                <a:gd name="connsiteX11" fmla="*/ 13856 w 36004"/>
                <a:gd name="connsiteY11" fmla="*/ 9267 h 17597"/>
                <a:gd name="connsiteX12" fmla="*/ 3569 w 36004"/>
                <a:gd name="connsiteY12" fmla="*/ 3362 h 17597"/>
                <a:gd name="connsiteX13" fmla="*/ 1188 w 36004"/>
                <a:gd name="connsiteY13" fmla="*/ 2028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6981"/>
                  </a:lnTo>
                  <a:cubicBezTo>
                    <a:pt x="-269" y="7962"/>
                    <a:pt x="312" y="8829"/>
                    <a:pt x="1188" y="9267"/>
                  </a:cubicBezTo>
                  <a:lnTo>
                    <a:pt x="13856" y="16506"/>
                  </a:lnTo>
                  <a:cubicBezTo>
                    <a:pt x="16247" y="17744"/>
                    <a:pt x="19085" y="17744"/>
                    <a:pt x="21476" y="16506"/>
                  </a:cubicBezTo>
                  <a:lnTo>
                    <a:pt x="34144" y="9267"/>
                  </a:lnTo>
                  <a:cubicBezTo>
                    <a:pt x="35011" y="8819"/>
                    <a:pt x="35583" y="7953"/>
                    <a:pt x="35668" y="6981"/>
                  </a:cubicBezTo>
                  <a:lnTo>
                    <a:pt x="35668" y="-163"/>
                  </a:lnTo>
                  <a:cubicBezTo>
                    <a:pt x="35611" y="790"/>
                    <a:pt x="35021" y="1638"/>
                    <a:pt x="34144" y="2028"/>
                  </a:cubicBezTo>
                  <a:lnTo>
                    <a:pt x="31763" y="3362"/>
                  </a:lnTo>
                  <a:lnTo>
                    <a:pt x="21476" y="9267"/>
                  </a:lnTo>
                  <a:cubicBezTo>
                    <a:pt x="19114" y="10610"/>
                    <a:pt x="16218" y="10610"/>
                    <a:pt x="13856" y="9267"/>
                  </a:cubicBezTo>
                  <a:lnTo>
                    <a:pt x="3569" y="3362"/>
                  </a:lnTo>
                  <a:lnTo>
                    <a:pt x="1188" y="2028"/>
                  </a:lnTo>
                  <a:cubicBezTo>
                    <a:pt x="312" y="1638"/>
                    <a:pt x="-279" y="800"/>
                    <a:pt x="-336" y="-163"/>
                  </a:cubicBezTo>
                  <a:close/>
                </a:path>
              </a:pathLst>
            </a:custGeom>
            <a:solidFill>
              <a:srgbClr val="BF4200"/>
            </a:solidFill>
            <a:ln w="9525" cap="flat">
              <a:noFill/>
              <a:prstDash val="solid"/>
              <a:miter/>
            </a:ln>
          </p:spPr>
          <p:txBody>
            <a:bodyPr rtlCol="0" anchor="ctr"/>
            <a:lstStyle/>
            <a:p>
              <a:endParaRPr lang="zh-CN" altLang="en-US"/>
            </a:p>
          </p:txBody>
        </p:sp>
        <p:sp>
          <p:nvSpPr>
            <p:cNvPr id="570" name="îş1iḓé">
              <a:extLst>
                <a:ext uri="{FF2B5EF4-FFF2-40B4-BE49-F238E27FC236}">
                  <a16:creationId xmlns:a16="http://schemas.microsoft.com/office/drawing/2014/main" id="{B9C6AA89-8786-4F58-856F-68DF58DF5F67}"/>
                </a:ext>
              </a:extLst>
            </p:cNvPr>
            <p:cNvSpPr/>
            <p:nvPr/>
          </p:nvSpPr>
          <p:spPr>
            <a:xfrm>
              <a:off x="5893818" y="4928543"/>
              <a:ext cx="109594" cy="63588"/>
            </a:xfrm>
            <a:custGeom>
              <a:avLst/>
              <a:gdLst>
                <a:gd name="connsiteX0" fmla="*/ -336 w 36004"/>
                <a:gd name="connsiteY0" fmla="*/ 10196 h 20890"/>
                <a:gd name="connsiteX1" fmla="*/ 1188 w 36004"/>
                <a:gd name="connsiteY1" fmla="*/ 12482 h 20890"/>
                <a:gd name="connsiteX2" fmla="*/ 3474 w 36004"/>
                <a:gd name="connsiteY2" fmla="*/ 13815 h 20890"/>
                <a:gd name="connsiteX3" fmla="*/ 13761 w 36004"/>
                <a:gd name="connsiteY3" fmla="*/ 19721 h 20890"/>
                <a:gd name="connsiteX4" fmla="*/ 21476 w 36004"/>
                <a:gd name="connsiteY4" fmla="*/ 19721 h 20890"/>
                <a:gd name="connsiteX5" fmla="*/ 31763 w 36004"/>
                <a:gd name="connsiteY5" fmla="*/ 13815 h 20890"/>
                <a:gd name="connsiteX6" fmla="*/ 34049 w 36004"/>
                <a:gd name="connsiteY6" fmla="*/ 12482 h 20890"/>
                <a:gd name="connsiteX7" fmla="*/ 35668 w 36004"/>
                <a:gd name="connsiteY7" fmla="*/ 10196 h 20890"/>
                <a:gd name="connsiteX8" fmla="*/ 34049 w 36004"/>
                <a:gd name="connsiteY8" fmla="*/ 8005 h 20890"/>
                <a:gd name="connsiteX9" fmla="*/ 21476 w 36004"/>
                <a:gd name="connsiteY9" fmla="*/ 766 h 20890"/>
                <a:gd name="connsiteX10" fmla="*/ 13761 w 36004"/>
                <a:gd name="connsiteY10" fmla="*/ 766 h 20890"/>
                <a:gd name="connsiteX11" fmla="*/ 1188 w 36004"/>
                <a:gd name="connsiteY11" fmla="*/ 8005 h 20890"/>
                <a:gd name="connsiteX12" fmla="*/ -336 w 36004"/>
                <a:gd name="connsiteY12" fmla="*/ 10196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196"/>
                  </a:moveTo>
                  <a:cubicBezTo>
                    <a:pt x="-308" y="11186"/>
                    <a:pt x="283" y="12082"/>
                    <a:pt x="1188" y="12482"/>
                  </a:cubicBezTo>
                  <a:lnTo>
                    <a:pt x="3474" y="13815"/>
                  </a:lnTo>
                  <a:lnTo>
                    <a:pt x="13761" y="19721"/>
                  </a:lnTo>
                  <a:cubicBezTo>
                    <a:pt x="16161" y="21064"/>
                    <a:pt x="19076" y="21064"/>
                    <a:pt x="21476" y="19721"/>
                  </a:cubicBezTo>
                  <a:lnTo>
                    <a:pt x="31763" y="13815"/>
                  </a:lnTo>
                  <a:lnTo>
                    <a:pt x="34049" y="12482"/>
                  </a:lnTo>
                  <a:cubicBezTo>
                    <a:pt x="34992" y="12110"/>
                    <a:pt x="35630" y="11215"/>
                    <a:pt x="35668" y="10196"/>
                  </a:cubicBezTo>
                  <a:cubicBezTo>
                    <a:pt x="35573" y="9224"/>
                    <a:pt x="34944" y="8386"/>
                    <a:pt x="34049" y="8005"/>
                  </a:cubicBezTo>
                  <a:lnTo>
                    <a:pt x="21476" y="766"/>
                  </a:lnTo>
                  <a:cubicBezTo>
                    <a:pt x="19057" y="-472"/>
                    <a:pt x="16180" y="-472"/>
                    <a:pt x="13761" y="766"/>
                  </a:cubicBezTo>
                  <a:lnTo>
                    <a:pt x="1188" y="8005"/>
                  </a:lnTo>
                  <a:cubicBezTo>
                    <a:pt x="340" y="8424"/>
                    <a:pt x="-241" y="925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571" name="isḻîďe">
              <a:extLst>
                <a:ext uri="{FF2B5EF4-FFF2-40B4-BE49-F238E27FC236}">
                  <a16:creationId xmlns:a16="http://schemas.microsoft.com/office/drawing/2014/main" id="{4FC6CCDC-4DE5-4F53-875A-10F53FAFB9AC}"/>
                </a:ext>
              </a:extLst>
            </p:cNvPr>
            <p:cNvSpPr/>
            <p:nvPr/>
          </p:nvSpPr>
          <p:spPr>
            <a:xfrm>
              <a:off x="5895659" y="4929703"/>
              <a:ext cx="105618" cy="61101"/>
            </a:xfrm>
            <a:custGeom>
              <a:avLst/>
              <a:gdLst>
                <a:gd name="connsiteX0" fmla="*/ 1154 w 34698"/>
                <a:gd name="connsiteY0" fmla="*/ 12006 h 20073"/>
                <a:gd name="connsiteX1" fmla="*/ 13346 w 34698"/>
                <a:gd name="connsiteY1" fmla="*/ 19054 h 20073"/>
                <a:gd name="connsiteX2" fmla="*/ 20775 w 34698"/>
                <a:gd name="connsiteY2" fmla="*/ 19054 h 20073"/>
                <a:gd name="connsiteX3" fmla="*/ 32872 w 34698"/>
                <a:gd name="connsiteY3" fmla="*/ 12006 h 20073"/>
                <a:gd name="connsiteX4" fmla="*/ 34215 w 34698"/>
                <a:gd name="connsiteY4" fmla="*/ 9072 h 20073"/>
                <a:gd name="connsiteX5" fmla="*/ 32872 w 34698"/>
                <a:gd name="connsiteY5" fmla="*/ 7719 h 20073"/>
                <a:gd name="connsiteX6" fmla="*/ 20775 w 34698"/>
                <a:gd name="connsiteY6" fmla="*/ 766 h 20073"/>
                <a:gd name="connsiteX7" fmla="*/ 13346 w 34698"/>
                <a:gd name="connsiteY7" fmla="*/ 766 h 20073"/>
                <a:gd name="connsiteX8" fmla="*/ 1154 w 34698"/>
                <a:gd name="connsiteY8" fmla="*/ 7719 h 20073"/>
                <a:gd name="connsiteX9" fmla="*/ -189 w 34698"/>
                <a:gd name="connsiteY9" fmla="*/ 10653 h 20073"/>
                <a:gd name="connsiteX10" fmla="*/ 1154 w 34698"/>
                <a:gd name="connsiteY10"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698" h="20073">
                  <a:moveTo>
                    <a:pt x="1154" y="12006"/>
                  </a:moveTo>
                  <a:lnTo>
                    <a:pt x="13346" y="19054"/>
                  </a:lnTo>
                  <a:cubicBezTo>
                    <a:pt x="15689" y="20197"/>
                    <a:pt x="18432" y="20197"/>
                    <a:pt x="20775" y="19054"/>
                  </a:cubicBezTo>
                  <a:lnTo>
                    <a:pt x="32872" y="12006"/>
                  </a:lnTo>
                  <a:cubicBezTo>
                    <a:pt x="34053" y="11567"/>
                    <a:pt x="34663" y="10253"/>
                    <a:pt x="34215" y="9072"/>
                  </a:cubicBezTo>
                  <a:cubicBezTo>
                    <a:pt x="33986" y="8443"/>
                    <a:pt x="33491" y="7948"/>
                    <a:pt x="32872" y="7719"/>
                  </a:cubicBezTo>
                  <a:lnTo>
                    <a:pt x="20775" y="766"/>
                  </a:lnTo>
                  <a:cubicBezTo>
                    <a:pt x="18451" y="-472"/>
                    <a:pt x="15670" y="-472"/>
                    <a:pt x="13346" y="766"/>
                  </a:cubicBezTo>
                  <a:lnTo>
                    <a:pt x="1154" y="7719"/>
                  </a:lnTo>
                  <a:cubicBezTo>
                    <a:pt x="-27" y="8157"/>
                    <a:pt x="-637" y="9472"/>
                    <a:pt x="-189" y="10653"/>
                  </a:cubicBezTo>
                  <a:cubicBezTo>
                    <a:pt x="39" y="11281"/>
                    <a:pt x="535" y="11777"/>
                    <a:pt x="1154" y="12006"/>
                  </a:cubicBezTo>
                  <a:close/>
                </a:path>
              </a:pathLst>
            </a:custGeom>
            <a:solidFill>
              <a:srgbClr val="D1D9E8"/>
            </a:solidFill>
            <a:ln w="9525" cap="flat">
              <a:noFill/>
              <a:prstDash val="solid"/>
              <a:miter/>
            </a:ln>
          </p:spPr>
          <p:txBody>
            <a:bodyPr rtlCol="0" anchor="ctr"/>
            <a:lstStyle/>
            <a:p>
              <a:endParaRPr lang="zh-CN" altLang="en-US"/>
            </a:p>
          </p:txBody>
        </p:sp>
        <p:sp>
          <p:nvSpPr>
            <p:cNvPr id="572" name="îṡ1îdè">
              <a:extLst>
                <a:ext uri="{FF2B5EF4-FFF2-40B4-BE49-F238E27FC236}">
                  <a16:creationId xmlns:a16="http://schemas.microsoft.com/office/drawing/2014/main" id="{DC3669F8-BED4-4BDF-B40F-009C76F0649D}"/>
                </a:ext>
              </a:extLst>
            </p:cNvPr>
            <p:cNvSpPr/>
            <p:nvPr/>
          </p:nvSpPr>
          <p:spPr>
            <a:xfrm>
              <a:off x="5893818" y="4960072"/>
              <a:ext cx="109594" cy="53801"/>
            </a:xfrm>
            <a:custGeom>
              <a:avLst/>
              <a:gdLst>
                <a:gd name="connsiteX0" fmla="*/ -336 w 36004"/>
                <a:gd name="connsiteY0" fmla="*/ -163 h 17675"/>
                <a:gd name="connsiteX1" fmla="*/ -336 w 36004"/>
                <a:gd name="connsiteY1" fmla="*/ 7076 h 17675"/>
                <a:gd name="connsiteX2" fmla="*/ 1188 w 36004"/>
                <a:gd name="connsiteY2" fmla="*/ 9267 h 17675"/>
                <a:gd name="connsiteX3" fmla="*/ 13761 w 36004"/>
                <a:gd name="connsiteY3" fmla="*/ 16506 h 17675"/>
                <a:gd name="connsiteX4" fmla="*/ 21476 w 36004"/>
                <a:gd name="connsiteY4" fmla="*/ 16506 h 17675"/>
                <a:gd name="connsiteX5" fmla="*/ 34049 w 36004"/>
                <a:gd name="connsiteY5" fmla="*/ 9267 h 17675"/>
                <a:gd name="connsiteX6" fmla="*/ 35668 w 36004"/>
                <a:gd name="connsiteY6" fmla="*/ 7076 h 17675"/>
                <a:gd name="connsiteX7" fmla="*/ 35668 w 36004"/>
                <a:gd name="connsiteY7" fmla="*/ -163 h 17675"/>
                <a:gd name="connsiteX8" fmla="*/ 34049 w 36004"/>
                <a:gd name="connsiteY8" fmla="*/ 2123 h 17675"/>
                <a:gd name="connsiteX9" fmla="*/ 31763 w 36004"/>
                <a:gd name="connsiteY9" fmla="*/ 3457 h 17675"/>
                <a:gd name="connsiteX10" fmla="*/ 21476 w 36004"/>
                <a:gd name="connsiteY10" fmla="*/ 9362 h 17675"/>
                <a:gd name="connsiteX11" fmla="*/ 13761 w 36004"/>
                <a:gd name="connsiteY11" fmla="*/ 9362 h 17675"/>
                <a:gd name="connsiteX12" fmla="*/ 3474 w 36004"/>
                <a:gd name="connsiteY12" fmla="*/ 3457 h 17675"/>
                <a:gd name="connsiteX13" fmla="*/ 1188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98" y="8038"/>
                    <a:pt x="292" y="8896"/>
                    <a:pt x="1188" y="9267"/>
                  </a:cubicBezTo>
                  <a:lnTo>
                    <a:pt x="13761" y="16506"/>
                  </a:lnTo>
                  <a:cubicBezTo>
                    <a:pt x="16161" y="17849"/>
                    <a:pt x="19076" y="17849"/>
                    <a:pt x="21476" y="16506"/>
                  </a:cubicBezTo>
                  <a:lnTo>
                    <a:pt x="34049" y="9267"/>
                  </a:lnTo>
                  <a:cubicBezTo>
                    <a:pt x="34963" y="8905"/>
                    <a:pt x="35592" y="8058"/>
                    <a:pt x="35668" y="7076"/>
                  </a:cubicBezTo>
                  <a:lnTo>
                    <a:pt x="35668" y="-163"/>
                  </a:lnTo>
                  <a:cubicBezTo>
                    <a:pt x="35630" y="856"/>
                    <a:pt x="34992" y="1752"/>
                    <a:pt x="34049" y="2123"/>
                  </a:cubicBezTo>
                  <a:lnTo>
                    <a:pt x="31763" y="3457"/>
                  </a:lnTo>
                  <a:lnTo>
                    <a:pt x="21476" y="9362"/>
                  </a:lnTo>
                  <a:cubicBezTo>
                    <a:pt x="19076" y="10705"/>
                    <a:pt x="16161" y="10705"/>
                    <a:pt x="13761" y="9362"/>
                  </a:cubicBezTo>
                  <a:lnTo>
                    <a:pt x="3474" y="3457"/>
                  </a:lnTo>
                  <a:lnTo>
                    <a:pt x="1188" y="2123"/>
                  </a:lnTo>
                  <a:cubicBezTo>
                    <a:pt x="283" y="1723"/>
                    <a:pt x="-308"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573" name="íšḷïďê">
              <a:extLst>
                <a:ext uri="{FF2B5EF4-FFF2-40B4-BE49-F238E27FC236}">
                  <a16:creationId xmlns:a16="http://schemas.microsoft.com/office/drawing/2014/main" id="{39E2F128-1EE1-431C-BC46-57855AB8F697}"/>
                </a:ext>
              </a:extLst>
            </p:cNvPr>
            <p:cNvSpPr/>
            <p:nvPr/>
          </p:nvSpPr>
          <p:spPr>
            <a:xfrm>
              <a:off x="5970942" y="4973195"/>
              <a:ext cx="109740" cy="63350"/>
            </a:xfrm>
            <a:custGeom>
              <a:avLst/>
              <a:gdLst>
                <a:gd name="connsiteX0" fmla="*/ -336 w 36052"/>
                <a:gd name="connsiteY0" fmla="*/ 10196 h 20812"/>
                <a:gd name="connsiteX1" fmla="*/ 1188 w 36052"/>
                <a:gd name="connsiteY1" fmla="*/ 12482 h 20812"/>
                <a:gd name="connsiteX2" fmla="*/ 3569 w 36052"/>
                <a:gd name="connsiteY2" fmla="*/ 13815 h 20812"/>
                <a:gd name="connsiteX3" fmla="*/ 13856 w 36052"/>
                <a:gd name="connsiteY3" fmla="*/ 19721 h 20812"/>
                <a:gd name="connsiteX4" fmla="*/ 21476 w 36052"/>
                <a:gd name="connsiteY4" fmla="*/ 19721 h 20812"/>
                <a:gd name="connsiteX5" fmla="*/ 31763 w 36052"/>
                <a:gd name="connsiteY5" fmla="*/ 13815 h 20812"/>
                <a:gd name="connsiteX6" fmla="*/ 34144 w 36052"/>
                <a:gd name="connsiteY6" fmla="*/ 12482 h 20812"/>
                <a:gd name="connsiteX7" fmla="*/ 35573 w 36052"/>
                <a:gd name="connsiteY7" fmla="*/ 9434 h 20812"/>
                <a:gd name="connsiteX8" fmla="*/ 34144 w 36052"/>
                <a:gd name="connsiteY8" fmla="*/ 8005 h 20812"/>
                <a:gd name="connsiteX9" fmla="*/ 21476 w 36052"/>
                <a:gd name="connsiteY9" fmla="*/ 766 h 20812"/>
                <a:gd name="connsiteX10" fmla="*/ 13856 w 36052"/>
                <a:gd name="connsiteY10" fmla="*/ 766 h 20812"/>
                <a:gd name="connsiteX11" fmla="*/ 1188 w 36052"/>
                <a:gd name="connsiteY11" fmla="*/ 8005 h 20812"/>
                <a:gd name="connsiteX12" fmla="*/ -336 w 36052"/>
                <a:gd name="connsiteY12" fmla="*/ 10196 h 20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12">
                  <a:moveTo>
                    <a:pt x="-336" y="10196"/>
                  </a:moveTo>
                  <a:cubicBezTo>
                    <a:pt x="-270" y="11177"/>
                    <a:pt x="311" y="12044"/>
                    <a:pt x="1188" y="12482"/>
                  </a:cubicBezTo>
                  <a:lnTo>
                    <a:pt x="3569" y="13815"/>
                  </a:lnTo>
                  <a:lnTo>
                    <a:pt x="13856" y="19721"/>
                  </a:lnTo>
                  <a:cubicBezTo>
                    <a:pt x="16247" y="20959"/>
                    <a:pt x="19085" y="20959"/>
                    <a:pt x="21476" y="19721"/>
                  </a:cubicBezTo>
                  <a:lnTo>
                    <a:pt x="31763" y="13815"/>
                  </a:lnTo>
                  <a:lnTo>
                    <a:pt x="34144" y="12482"/>
                  </a:lnTo>
                  <a:cubicBezTo>
                    <a:pt x="35382" y="12034"/>
                    <a:pt x="36020" y="10662"/>
                    <a:pt x="35573" y="9434"/>
                  </a:cubicBezTo>
                  <a:cubicBezTo>
                    <a:pt x="35325" y="8767"/>
                    <a:pt x="34811" y="8243"/>
                    <a:pt x="34144" y="8005"/>
                  </a:cubicBezTo>
                  <a:lnTo>
                    <a:pt x="21476" y="766"/>
                  </a:lnTo>
                  <a:cubicBezTo>
                    <a:pt x="19085" y="-472"/>
                    <a:pt x="16247" y="-472"/>
                    <a:pt x="13856" y="766"/>
                  </a:cubicBezTo>
                  <a:lnTo>
                    <a:pt x="1188" y="8005"/>
                  </a:lnTo>
                  <a:cubicBezTo>
                    <a:pt x="340" y="8424"/>
                    <a:pt x="-241" y="925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574" name="iṥļidé">
              <a:extLst>
                <a:ext uri="{FF2B5EF4-FFF2-40B4-BE49-F238E27FC236}">
                  <a16:creationId xmlns:a16="http://schemas.microsoft.com/office/drawing/2014/main" id="{C6870AF5-C71C-4741-A1DD-5A5EA3F0EF1C}"/>
                </a:ext>
              </a:extLst>
            </p:cNvPr>
            <p:cNvSpPr/>
            <p:nvPr/>
          </p:nvSpPr>
          <p:spPr>
            <a:xfrm>
              <a:off x="5973073" y="4974281"/>
              <a:ext cx="105618" cy="61174"/>
            </a:xfrm>
            <a:custGeom>
              <a:avLst/>
              <a:gdLst>
                <a:gd name="connsiteX0" fmla="*/ 1154 w 34698"/>
                <a:gd name="connsiteY0" fmla="*/ 12029 h 20097"/>
                <a:gd name="connsiteX1" fmla="*/ 13251 w 34698"/>
                <a:gd name="connsiteY1" fmla="*/ 19078 h 20097"/>
                <a:gd name="connsiteX2" fmla="*/ 20680 w 34698"/>
                <a:gd name="connsiteY2" fmla="*/ 19078 h 20097"/>
                <a:gd name="connsiteX3" fmla="*/ 32872 w 34698"/>
                <a:gd name="connsiteY3" fmla="*/ 12029 h 20097"/>
                <a:gd name="connsiteX4" fmla="*/ 34215 w 34698"/>
                <a:gd name="connsiteY4" fmla="*/ 9086 h 20097"/>
                <a:gd name="connsiteX5" fmla="*/ 32872 w 34698"/>
                <a:gd name="connsiteY5" fmla="*/ 7743 h 20097"/>
                <a:gd name="connsiteX6" fmla="*/ 20680 w 34698"/>
                <a:gd name="connsiteY6" fmla="*/ 695 h 20097"/>
                <a:gd name="connsiteX7" fmla="*/ 13251 w 34698"/>
                <a:gd name="connsiteY7" fmla="*/ 695 h 20097"/>
                <a:gd name="connsiteX8" fmla="*/ 1154 w 34698"/>
                <a:gd name="connsiteY8" fmla="*/ 7743 h 20097"/>
                <a:gd name="connsiteX9" fmla="*/ -189 w 34698"/>
                <a:gd name="connsiteY9" fmla="*/ 10686 h 20097"/>
                <a:gd name="connsiteX10" fmla="*/ 1154 w 34698"/>
                <a:gd name="connsiteY10" fmla="*/ 12029 h 20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698" h="20097">
                  <a:moveTo>
                    <a:pt x="1154" y="12029"/>
                  </a:moveTo>
                  <a:lnTo>
                    <a:pt x="13251" y="19078"/>
                  </a:lnTo>
                  <a:cubicBezTo>
                    <a:pt x="15594" y="20221"/>
                    <a:pt x="18337" y="20221"/>
                    <a:pt x="20680" y="19078"/>
                  </a:cubicBezTo>
                  <a:lnTo>
                    <a:pt x="32872" y="12029"/>
                  </a:lnTo>
                  <a:cubicBezTo>
                    <a:pt x="34053" y="11591"/>
                    <a:pt x="34663" y="10277"/>
                    <a:pt x="34215" y="9086"/>
                  </a:cubicBezTo>
                  <a:cubicBezTo>
                    <a:pt x="33987" y="8467"/>
                    <a:pt x="33491" y="7972"/>
                    <a:pt x="32872" y="7743"/>
                  </a:cubicBezTo>
                  <a:lnTo>
                    <a:pt x="20680" y="695"/>
                  </a:lnTo>
                  <a:cubicBezTo>
                    <a:pt x="18337" y="-448"/>
                    <a:pt x="15594" y="-448"/>
                    <a:pt x="13251" y="695"/>
                  </a:cubicBezTo>
                  <a:lnTo>
                    <a:pt x="1154" y="7743"/>
                  </a:lnTo>
                  <a:cubicBezTo>
                    <a:pt x="-27" y="8181"/>
                    <a:pt x="-637" y="9496"/>
                    <a:pt x="-189" y="10686"/>
                  </a:cubicBezTo>
                  <a:cubicBezTo>
                    <a:pt x="40" y="11305"/>
                    <a:pt x="525" y="11801"/>
                    <a:pt x="1154" y="12029"/>
                  </a:cubicBezTo>
                  <a:close/>
                </a:path>
              </a:pathLst>
            </a:custGeom>
            <a:solidFill>
              <a:srgbClr val="D1D9E8"/>
            </a:solidFill>
            <a:ln w="9525" cap="flat">
              <a:noFill/>
              <a:prstDash val="solid"/>
              <a:miter/>
            </a:ln>
          </p:spPr>
          <p:txBody>
            <a:bodyPr rtlCol="0" anchor="ctr"/>
            <a:lstStyle/>
            <a:p>
              <a:endParaRPr lang="zh-CN" altLang="en-US"/>
            </a:p>
          </p:txBody>
        </p:sp>
        <p:sp>
          <p:nvSpPr>
            <p:cNvPr id="575" name="ïślíḋe">
              <a:extLst>
                <a:ext uri="{FF2B5EF4-FFF2-40B4-BE49-F238E27FC236}">
                  <a16:creationId xmlns:a16="http://schemas.microsoft.com/office/drawing/2014/main" id="{0F4A4764-9F9D-49CE-9DD8-4EC0046E8AE2}"/>
                </a:ext>
              </a:extLst>
            </p:cNvPr>
            <p:cNvSpPr/>
            <p:nvPr/>
          </p:nvSpPr>
          <p:spPr>
            <a:xfrm>
              <a:off x="5970942" y="5004724"/>
              <a:ext cx="109594" cy="53801"/>
            </a:xfrm>
            <a:custGeom>
              <a:avLst/>
              <a:gdLst>
                <a:gd name="connsiteX0" fmla="*/ -336 w 36004"/>
                <a:gd name="connsiteY0" fmla="*/ -163 h 17675"/>
                <a:gd name="connsiteX1" fmla="*/ -336 w 36004"/>
                <a:gd name="connsiteY1" fmla="*/ 7076 h 17675"/>
                <a:gd name="connsiteX2" fmla="*/ 1188 w 36004"/>
                <a:gd name="connsiteY2" fmla="*/ 9267 h 17675"/>
                <a:gd name="connsiteX3" fmla="*/ 13856 w 36004"/>
                <a:gd name="connsiteY3" fmla="*/ 16506 h 17675"/>
                <a:gd name="connsiteX4" fmla="*/ 21476 w 36004"/>
                <a:gd name="connsiteY4" fmla="*/ 16506 h 17675"/>
                <a:gd name="connsiteX5" fmla="*/ 34144 w 36004"/>
                <a:gd name="connsiteY5" fmla="*/ 9267 h 17675"/>
                <a:gd name="connsiteX6" fmla="*/ 35668 w 36004"/>
                <a:gd name="connsiteY6" fmla="*/ 7076 h 17675"/>
                <a:gd name="connsiteX7" fmla="*/ 35668 w 36004"/>
                <a:gd name="connsiteY7" fmla="*/ -163 h 17675"/>
                <a:gd name="connsiteX8" fmla="*/ 34144 w 36004"/>
                <a:gd name="connsiteY8" fmla="*/ 2123 h 17675"/>
                <a:gd name="connsiteX9" fmla="*/ 31763 w 36004"/>
                <a:gd name="connsiteY9" fmla="*/ 3457 h 17675"/>
                <a:gd name="connsiteX10" fmla="*/ 21476 w 36004"/>
                <a:gd name="connsiteY10" fmla="*/ 9362 h 17675"/>
                <a:gd name="connsiteX11" fmla="*/ 13856 w 36004"/>
                <a:gd name="connsiteY11" fmla="*/ 9362 h 17675"/>
                <a:gd name="connsiteX12" fmla="*/ 3569 w 36004"/>
                <a:gd name="connsiteY12" fmla="*/ 3457 h 17675"/>
                <a:gd name="connsiteX13" fmla="*/ 1188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79" y="8038"/>
                    <a:pt x="311" y="8877"/>
                    <a:pt x="1188" y="9267"/>
                  </a:cubicBezTo>
                  <a:lnTo>
                    <a:pt x="13856" y="16506"/>
                  </a:lnTo>
                  <a:cubicBezTo>
                    <a:pt x="16218" y="17849"/>
                    <a:pt x="19114" y="17849"/>
                    <a:pt x="21476" y="16506"/>
                  </a:cubicBezTo>
                  <a:lnTo>
                    <a:pt x="34144" y="9267"/>
                  </a:lnTo>
                  <a:cubicBezTo>
                    <a:pt x="35021" y="8877"/>
                    <a:pt x="35611" y="8038"/>
                    <a:pt x="35668" y="7076"/>
                  </a:cubicBezTo>
                  <a:lnTo>
                    <a:pt x="35668" y="-163"/>
                  </a:lnTo>
                  <a:cubicBezTo>
                    <a:pt x="35602" y="818"/>
                    <a:pt x="35021" y="1685"/>
                    <a:pt x="34144" y="2123"/>
                  </a:cubicBezTo>
                  <a:lnTo>
                    <a:pt x="31763" y="3457"/>
                  </a:lnTo>
                  <a:lnTo>
                    <a:pt x="21476" y="9362"/>
                  </a:lnTo>
                  <a:cubicBezTo>
                    <a:pt x="19085" y="10601"/>
                    <a:pt x="16247" y="10601"/>
                    <a:pt x="13856" y="9362"/>
                  </a:cubicBezTo>
                  <a:lnTo>
                    <a:pt x="3569" y="3457"/>
                  </a:lnTo>
                  <a:lnTo>
                    <a:pt x="1188"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576" name="iṥlîḓe">
              <a:extLst>
                <a:ext uri="{FF2B5EF4-FFF2-40B4-BE49-F238E27FC236}">
                  <a16:creationId xmlns:a16="http://schemas.microsoft.com/office/drawing/2014/main" id="{A21BA53E-C038-4BE7-82E0-B7375199128F}"/>
                </a:ext>
              </a:extLst>
            </p:cNvPr>
            <p:cNvSpPr/>
            <p:nvPr/>
          </p:nvSpPr>
          <p:spPr>
            <a:xfrm>
              <a:off x="6048352" y="5017749"/>
              <a:ext cx="109740" cy="63442"/>
            </a:xfrm>
            <a:custGeom>
              <a:avLst/>
              <a:gdLst>
                <a:gd name="connsiteX0" fmla="*/ -336 w 36052"/>
                <a:gd name="connsiteY0" fmla="*/ 10227 h 20842"/>
                <a:gd name="connsiteX1" fmla="*/ 1188 w 36052"/>
                <a:gd name="connsiteY1" fmla="*/ 12513 h 20842"/>
                <a:gd name="connsiteX2" fmla="*/ 3569 w 36052"/>
                <a:gd name="connsiteY2" fmla="*/ 13846 h 20842"/>
                <a:gd name="connsiteX3" fmla="*/ 13856 w 36052"/>
                <a:gd name="connsiteY3" fmla="*/ 19752 h 20842"/>
                <a:gd name="connsiteX4" fmla="*/ 21476 w 36052"/>
                <a:gd name="connsiteY4" fmla="*/ 19752 h 20842"/>
                <a:gd name="connsiteX5" fmla="*/ 31763 w 36052"/>
                <a:gd name="connsiteY5" fmla="*/ 13846 h 20842"/>
                <a:gd name="connsiteX6" fmla="*/ 34144 w 36052"/>
                <a:gd name="connsiteY6" fmla="*/ 12513 h 20842"/>
                <a:gd name="connsiteX7" fmla="*/ 35573 w 36052"/>
                <a:gd name="connsiteY7" fmla="*/ 9465 h 20842"/>
                <a:gd name="connsiteX8" fmla="*/ 34144 w 36052"/>
                <a:gd name="connsiteY8" fmla="*/ 8036 h 20842"/>
                <a:gd name="connsiteX9" fmla="*/ 21476 w 36052"/>
                <a:gd name="connsiteY9" fmla="*/ 702 h 20842"/>
                <a:gd name="connsiteX10" fmla="*/ 13856 w 36052"/>
                <a:gd name="connsiteY10" fmla="*/ 702 h 20842"/>
                <a:gd name="connsiteX11" fmla="*/ 1188 w 36052"/>
                <a:gd name="connsiteY11" fmla="*/ 8036 h 20842"/>
                <a:gd name="connsiteX12" fmla="*/ -336 w 36052"/>
                <a:gd name="connsiteY12" fmla="*/ 10227 h 20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2">
                  <a:moveTo>
                    <a:pt x="-336" y="10227"/>
                  </a:moveTo>
                  <a:cubicBezTo>
                    <a:pt x="-269" y="11208"/>
                    <a:pt x="312" y="12075"/>
                    <a:pt x="1188" y="12513"/>
                  </a:cubicBezTo>
                  <a:lnTo>
                    <a:pt x="3569" y="13846"/>
                  </a:lnTo>
                  <a:lnTo>
                    <a:pt x="13856" y="19752"/>
                  </a:lnTo>
                  <a:cubicBezTo>
                    <a:pt x="16247" y="20990"/>
                    <a:pt x="19085" y="20990"/>
                    <a:pt x="21476" y="19752"/>
                  </a:cubicBezTo>
                  <a:lnTo>
                    <a:pt x="31763" y="13846"/>
                  </a:lnTo>
                  <a:lnTo>
                    <a:pt x="34144" y="12513"/>
                  </a:lnTo>
                  <a:cubicBezTo>
                    <a:pt x="35382" y="12065"/>
                    <a:pt x="36021" y="10693"/>
                    <a:pt x="35573" y="9465"/>
                  </a:cubicBezTo>
                  <a:cubicBezTo>
                    <a:pt x="35325" y="8798"/>
                    <a:pt x="34811" y="8274"/>
                    <a:pt x="34144"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577" name="ísļïḍé">
              <a:extLst>
                <a:ext uri="{FF2B5EF4-FFF2-40B4-BE49-F238E27FC236}">
                  <a16:creationId xmlns:a16="http://schemas.microsoft.com/office/drawing/2014/main" id="{64555E74-C9E7-4A37-98AF-571D048AC279}"/>
                </a:ext>
              </a:extLst>
            </p:cNvPr>
            <p:cNvSpPr/>
            <p:nvPr/>
          </p:nvSpPr>
          <p:spPr>
            <a:xfrm>
              <a:off x="6050020" y="5018930"/>
              <a:ext cx="105463" cy="61104"/>
            </a:xfrm>
            <a:custGeom>
              <a:avLst/>
              <a:gdLst>
                <a:gd name="connsiteX0" fmla="*/ 1021 w 34647"/>
                <a:gd name="connsiteY0" fmla="*/ 12029 h 20074"/>
                <a:gd name="connsiteX1" fmla="*/ 13213 w 34647"/>
                <a:gd name="connsiteY1" fmla="*/ 18983 h 20074"/>
                <a:gd name="connsiteX2" fmla="*/ 20642 w 34647"/>
                <a:gd name="connsiteY2" fmla="*/ 18983 h 20074"/>
                <a:gd name="connsiteX3" fmla="*/ 32739 w 34647"/>
                <a:gd name="connsiteY3" fmla="*/ 12029 h 20074"/>
                <a:gd name="connsiteX4" fmla="*/ 32739 w 34647"/>
                <a:gd name="connsiteY4" fmla="*/ 7743 h 20074"/>
                <a:gd name="connsiteX5" fmla="*/ 20642 w 34647"/>
                <a:gd name="connsiteY5" fmla="*/ 695 h 20074"/>
                <a:gd name="connsiteX6" fmla="*/ 13213 w 34647"/>
                <a:gd name="connsiteY6" fmla="*/ 695 h 20074"/>
                <a:gd name="connsiteX7" fmla="*/ 1021 w 34647"/>
                <a:gd name="connsiteY7" fmla="*/ 7743 h 20074"/>
                <a:gd name="connsiteX8" fmla="*/ 1021 w 34647"/>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647" h="20074">
                  <a:moveTo>
                    <a:pt x="1021" y="12029"/>
                  </a:moveTo>
                  <a:lnTo>
                    <a:pt x="13213" y="18983"/>
                  </a:lnTo>
                  <a:cubicBezTo>
                    <a:pt x="15537" y="20221"/>
                    <a:pt x="18318" y="20221"/>
                    <a:pt x="20642" y="18983"/>
                  </a:cubicBezTo>
                  <a:lnTo>
                    <a:pt x="32739" y="12029"/>
                  </a:lnTo>
                  <a:cubicBezTo>
                    <a:pt x="34835" y="10791"/>
                    <a:pt x="34835" y="8886"/>
                    <a:pt x="32739" y="7743"/>
                  </a:cubicBezTo>
                  <a:lnTo>
                    <a:pt x="20642" y="695"/>
                  </a:lnTo>
                  <a:cubicBezTo>
                    <a:pt x="18299" y="-448"/>
                    <a:pt x="15556" y="-448"/>
                    <a:pt x="13213" y="695"/>
                  </a:cubicBezTo>
                  <a:lnTo>
                    <a:pt x="1021" y="7743"/>
                  </a:lnTo>
                  <a:cubicBezTo>
                    <a:pt x="-789" y="8886"/>
                    <a:pt x="-789" y="10791"/>
                    <a:pt x="1021" y="12029"/>
                  </a:cubicBezTo>
                  <a:close/>
                </a:path>
              </a:pathLst>
            </a:custGeom>
            <a:solidFill>
              <a:srgbClr val="D1D9E8"/>
            </a:solidFill>
            <a:ln w="9525" cap="flat">
              <a:noFill/>
              <a:prstDash val="solid"/>
              <a:miter/>
            </a:ln>
          </p:spPr>
          <p:txBody>
            <a:bodyPr rtlCol="0" anchor="ctr"/>
            <a:lstStyle/>
            <a:p>
              <a:endParaRPr lang="zh-CN" altLang="en-US"/>
            </a:p>
          </p:txBody>
        </p:sp>
        <p:sp>
          <p:nvSpPr>
            <p:cNvPr id="578" name="îşḷiďê">
              <a:extLst>
                <a:ext uri="{FF2B5EF4-FFF2-40B4-BE49-F238E27FC236}">
                  <a16:creationId xmlns:a16="http://schemas.microsoft.com/office/drawing/2014/main" id="{807FC88A-3169-46F4-9DA1-9F6C5E16B654}"/>
                </a:ext>
              </a:extLst>
            </p:cNvPr>
            <p:cNvSpPr/>
            <p:nvPr/>
          </p:nvSpPr>
          <p:spPr>
            <a:xfrm>
              <a:off x="6048352" y="5049375"/>
              <a:ext cx="109594" cy="53801"/>
            </a:xfrm>
            <a:custGeom>
              <a:avLst/>
              <a:gdLst>
                <a:gd name="connsiteX0" fmla="*/ -336 w 36004"/>
                <a:gd name="connsiteY0" fmla="*/ -163 h 17675"/>
                <a:gd name="connsiteX1" fmla="*/ -336 w 36004"/>
                <a:gd name="connsiteY1" fmla="*/ 7076 h 17675"/>
                <a:gd name="connsiteX2" fmla="*/ 1188 w 36004"/>
                <a:gd name="connsiteY2" fmla="*/ 9267 h 17675"/>
                <a:gd name="connsiteX3" fmla="*/ 13856 w 36004"/>
                <a:gd name="connsiteY3" fmla="*/ 16506 h 17675"/>
                <a:gd name="connsiteX4" fmla="*/ 21476 w 36004"/>
                <a:gd name="connsiteY4" fmla="*/ 16506 h 17675"/>
                <a:gd name="connsiteX5" fmla="*/ 34144 w 36004"/>
                <a:gd name="connsiteY5" fmla="*/ 9267 h 17675"/>
                <a:gd name="connsiteX6" fmla="*/ 35668 w 36004"/>
                <a:gd name="connsiteY6" fmla="*/ 6981 h 17675"/>
                <a:gd name="connsiteX7" fmla="*/ 35668 w 36004"/>
                <a:gd name="connsiteY7" fmla="*/ -163 h 17675"/>
                <a:gd name="connsiteX8" fmla="*/ 34144 w 36004"/>
                <a:gd name="connsiteY8" fmla="*/ 2123 h 17675"/>
                <a:gd name="connsiteX9" fmla="*/ 31763 w 36004"/>
                <a:gd name="connsiteY9" fmla="*/ 3457 h 17675"/>
                <a:gd name="connsiteX10" fmla="*/ 21476 w 36004"/>
                <a:gd name="connsiteY10" fmla="*/ 9362 h 17675"/>
                <a:gd name="connsiteX11" fmla="*/ 13856 w 36004"/>
                <a:gd name="connsiteY11" fmla="*/ 9362 h 17675"/>
                <a:gd name="connsiteX12" fmla="*/ 3569 w 36004"/>
                <a:gd name="connsiteY12" fmla="*/ 3457 h 17675"/>
                <a:gd name="connsiteX13" fmla="*/ 1188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79" y="8029"/>
                    <a:pt x="312" y="8876"/>
                    <a:pt x="1188" y="9267"/>
                  </a:cubicBezTo>
                  <a:lnTo>
                    <a:pt x="13856" y="16506"/>
                  </a:lnTo>
                  <a:cubicBezTo>
                    <a:pt x="16218" y="17849"/>
                    <a:pt x="19114" y="17849"/>
                    <a:pt x="21476" y="16506"/>
                  </a:cubicBezTo>
                  <a:lnTo>
                    <a:pt x="34144" y="9267"/>
                  </a:lnTo>
                  <a:cubicBezTo>
                    <a:pt x="35049" y="8867"/>
                    <a:pt x="35640" y="7971"/>
                    <a:pt x="35668" y="6981"/>
                  </a:cubicBezTo>
                  <a:lnTo>
                    <a:pt x="35668" y="-163"/>
                  </a:lnTo>
                  <a:cubicBezTo>
                    <a:pt x="35602" y="818"/>
                    <a:pt x="35021" y="1685"/>
                    <a:pt x="34144" y="2123"/>
                  </a:cubicBezTo>
                  <a:lnTo>
                    <a:pt x="31763" y="3457"/>
                  </a:lnTo>
                  <a:lnTo>
                    <a:pt x="21476" y="9362"/>
                  </a:lnTo>
                  <a:cubicBezTo>
                    <a:pt x="19085" y="10600"/>
                    <a:pt x="16247" y="10600"/>
                    <a:pt x="13856" y="9362"/>
                  </a:cubicBezTo>
                  <a:lnTo>
                    <a:pt x="3569" y="3457"/>
                  </a:lnTo>
                  <a:lnTo>
                    <a:pt x="1188" y="2123"/>
                  </a:lnTo>
                  <a:cubicBezTo>
                    <a:pt x="312"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579" name="ïṧḻíde">
              <a:extLst>
                <a:ext uri="{FF2B5EF4-FFF2-40B4-BE49-F238E27FC236}">
                  <a16:creationId xmlns:a16="http://schemas.microsoft.com/office/drawing/2014/main" id="{1261BA01-36F4-4554-8667-98B7167D33B7}"/>
                </a:ext>
              </a:extLst>
            </p:cNvPr>
            <p:cNvSpPr/>
            <p:nvPr/>
          </p:nvSpPr>
          <p:spPr>
            <a:xfrm>
              <a:off x="6125476" y="5062202"/>
              <a:ext cx="109362" cy="63588"/>
            </a:xfrm>
            <a:custGeom>
              <a:avLst/>
              <a:gdLst>
                <a:gd name="connsiteX0" fmla="*/ -336 w 35928"/>
                <a:gd name="connsiteY0" fmla="*/ 10291 h 20890"/>
                <a:gd name="connsiteX1" fmla="*/ 1283 w 35928"/>
                <a:gd name="connsiteY1" fmla="*/ 12482 h 20890"/>
                <a:gd name="connsiteX2" fmla="*/ 3569 w 35928"/>
                <a:gd name="connsiteY2" fmla="*/ 13911 h 20890"/>
                <a:gd name="connsiteX3" fmla="*/ 13856 w 35928"/>
                <a:gd name="connsiteY3" fmla="*/ 19721 h 20890"/>
                <a:gd name="connsiteX4" fmla="*/ 21571 w 35928"/>
                <a:gd name="connsiteY4" fmla="*/ 19721 h 20890"/>
                <a:gd name="connsiteX5" fmla="*/ 31858 w 35928"/>
                <a:gd name="connsiteY5" fmla="*/ 13911 h 20890"/>
                <a:gd name="connsiteX6" fmla="*/ 34144 w 35928"/>
                <a:gd name="connsiteY6" fmla="*/ 12482 h 20890"/>
                <a:gd name="connsiteX7" fmla="*/ 35402 w 35928"/>
                <a:gd name="connsiteY7" fmla="*/ 9358 h 20890"/>
                <a:gd name="connsiteX8" fmla="*/ 34144 w 35928"/>
                <a:gd name="connsiteY8" fmla="*/ 8101 h 20890"/>
                <a:gd name="connsiteX9" fmla="*/ 21571 w 35928"/>
                <a:gd name="connsiteY9" fmla="*/ 766 h 20890"/>
                <a:gd name="connsiteX10" fmla="*/ 13856 w 35928"/>
                <a:gd name="connsiteY10" fmla="*/ 766 h 20890"/>
                <a:gd name="connsiteX11" fmla="*/ 1283 w 35928"/>
                <a:gd name="connsiteY11" fmla="*/ 8101 h 20890"/>
                <a:gd name="connsiteX12" fmla="*/ -336 w 35928"/>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928" h="20890">
                  <a:moveTo>
                    <a:pt x="-336" y="10291"/>
                  </a:moveTo>
                  <a:cubicBezTo>
                    <a:pt x="-279" y="11282"/>
                    <a:pt x="350" y="12139"/>
                    <a:pt x="1283" y="12482"/>
                  </a:cubicBezTo>
                  <a:lnTo>
                    <a:pt x="3569" y="13911"/>
                  </a:lnTo>
                  <a:lnTo>
                    <a:pt x="13856" y="19721"/>
                  </a:lnTo>
                  <a:cubicBezTo>
                    <a:pt x="16256" y="21064"/>
                    <a:pt x="19171" y="21064"/>
                    <a:pt x="21571" y="19721"/>
                  </a:cubicBezTo>
                  <a:lnTo>
                    <a:pt x="31858" y="13911"/>
                  </a:lnTo>
                  <a:lnTo>
                    <a:pt x="34144" y="12482"/>
                  </a:lnTo>
                  <a:cubicBezTo>
                    <a:pt x="35354" y="11967"/>
                    <a:pt x="35916" y="10568"/>
                    <a:pt x="35402" y="9358"/>
                  </a:cubicBezTo>
                  <a:cubicBezTo>
                    <a:pt x="35164" y="8796"/>
                    <a:pt x="34706" y="8339"/>
                    <a:pt x="34144" y="8101"/>
                  </a:cubicBezTo>
                  <a:lnTo>
                    <a:pt x="21571" y="766"/>
                  </a:lnTo>
                  <a:cubicBezTo>
                    <a:pt x="19152" y="-472"/>
                    <a:pt x="16275" y="-472"/>
                    <a:pt x="13856" y="766"/>
                  </a:cubicBezTo>
                  <a:lnTo>
                    <a:pt x="1283" y="8101"/>
                  </a:lnTo>
                  <a:cubicBezTo>
                    <a:pt x="350" y="8443"/>
                    <a:pt x="-279" y="9300"/>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580" name="iS1íḓé">
              <a:extLst>
                <a:ext uri="{FF2B5EF4-FFF2-40B4-BE49-F238E27FC236}">
                  <a16:creationId xmlns:a16="http://schemas.microsoft.com/office/drawing/2014/main" id="{72738022-E8D0-4364-9428-F0050FAF5715}"/>
                </a:ext>
              </a:extLst>
            </p:cNvPr>
            <p:cNvSpPr/>
            <p:nvPr/>
          </p:nvSpPr>
          <p:spPr>
            <a:xfrm>
              <a:off x="6127360" y="5063362"/>
              <a:ext cx="105898" cy="61104"/>
            </a:xfrm>
            <a:custGeom>
              <a:avLst/>
              <a:gdLst>
                <a:gd name="connsiteX0" fmla="*/ 1235 w 34790"/>
                <a:gd name="connsiteY0" fmla="*/ 12006 h 20074"/>
                <a:gd name="connsiteX1" fmla="*/ 13332 w 34790"/>
                <a:gd name="connsiteY1" fmla="*/ 19054 h 20074"/>
                <a:gd name="connsiteX2" fmla="*/ 20761 w 34790"/>
                <a:gd name="connsiteY2" fmla="*/ 19054 h 20074"/>
                <a:gd name="connsiteX3" fmla="*/ 32953 w 34790"/>
                <a:gd name="connsiteY3" fmla="*/ 12006 h 20074"/>
                <a:gd name="connsiteX4" fmla="*/ 32953 w 34790"/>
                <a:gd name="connsiteY4" fmla="*/ 7719 h 20074"/>
                <a:gd name="connsiteX5" fmla="*/ 20761 w 34790"/>
                <a:gd name="connsiteY5" fmla="*/ 766 h 20074"/>
                <a:gd name="connsiteX6" fmla="*/ 13332 w 34790"/>
                <a:gd name="connsiteY6" fmla="*/ 766 h 20074"/>
                <a:gd name="connsiteX7" fmla="*/ 1235 w 34790"/>
                <a:gd name="connsiteY7" fmla="*/ 7719 h 20074"/>
                <a:gd name="connsiteX8" fmla="*/ 1235 w 34790"/>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4">
                  <a:moveTo>
                    <a:pt x="1235" y="12006"/>
                  </a:moveTo>
                  <a:lnTo>
                    <a:pt x="13332" y="19054"/>
                  </a:lnTo>
                  <a:cubicBezTo>
                    <a:pt x="15675" y="20197"/>
                    <a:pt x="18418" y="20197"/>
                    <a:pt x="20761" y="19054"/>
                  </a:cubicBezTo>
                  <a:lnTo>
                    <a:pt x="32953" y="12006"/>
                  </a:lnTo>
                  <a:cubicBezTo>
                    <a:pt x="34954" y="10863"/>
                    <a:pt x="34954" y="8957"/>
                    <a:pt x="32953" y="7719"/>
                  </a:cubicBezTo>
                  <a:lnTo>
                    <a:pt x="20761" y="766"/>
                  </a:lnTo>
                  <a:cubicBezTo>
                    <a:pt x="18437" y="-472"/>
                    <a:pt x="15656" y="-472"/>
                    <a:pt x="13332" y="766"/>
                  </a:cubicBezTo>
                  <a:lnTo>
                    <a:pt x="1235" y="7719"/>
                  </a:lnTo>
                  <a:cubicBezTo>
                    <a:pt x="-860" y="8957"/>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581" name="îṩliḑè">
              <a:extLst>
                <a:ext uri="{FF2B5EF4-FFF2-40B4-BE49-F238E27FC236}">
                  <a16:creationId xmlns:a16="http://schemas.microsoft.com/office/drawing/2014/main" id="{A8958DC7-B5F0-43E7-AFD5-C9CD2E185FFE}"/>
                </a:ext>
              </a:extLst>
            </p:cNvPr>
            <p:cNvSpPr/>
            <p:nvPr/>
          </p:nvSpPr>
          <p:spPr>
            <a:xfrm>
              <a:off x="6125464" y="5094023"/>
              <a:ext cx="111055" cy="54724"/>
            </a:xfrm>
            <a:custGeom>
              <a:avLst/>
              <a:gdLst>
                <a:gd name="connsiteX0" fmla="*/ -333 w 36484"/>
                <a:gd name="connsiteY0" fmla="*/ -163 h 17978"/>
                <a:gd name="connsiteX1" fmla="*/ -333 w 36484"/>
                <a:gd name="connsiteY1" fmla="*/ 7362 h 17978"/>
                <a:gd name="connsiteX2" fmla="*/ 1286 w 36484"/>
                <a:gd name="connsiteY2" fmla="*/ 9553 h 17978"/>
                <a:gd name="connsiteX3" fmla="*/ 14336 w 36484"/>
                <a:gd name="connsiteY3" fmla="*/ 16887 h 17978"/>
                <a:gd name="connsiteX4" fmla="*/ 22051 w 36484"/>
                <a:gd name="connsiteY4" fmla="*/ 16887 h 17978"/>
                <a:gd name="connsiteX5" fmla="*/ 34624 w 36484"/>
                <a:gd name="connsiteY5" fmla="*/ 9648 h 17978"/>
                <a:gd name="connsiteX6" fmla="*/ 36148 w 36484"/>
                <a:gd name="connsiteY6" fmla="*/ 7362 h 17978"/>
                <a:gd name="connsiteX7" fmla="*/ 36148 w 36484"/>
                <a:gd name="connsiteY7" fmla="*/ 218 h 17978"/>
                <a:gd name="connsiteX8" fmla="*/ 34624 w 36484"/>
                <a:gd name="connsiteY8" fmla="*/ 2409 h 17978"/>
                <a:gd name="connsiteX9" fmla="*/ 32338 w 36484"/>
                <a:gd name="connsiteY9" fmla="*/ 3838 h 17978"/>
                <a:gd name="connsiteX10" fmla="*/ 22051 w 36484"/>
                <a:gd name="connsiteY10" fmla="*/ 9648 h 17978"/>
                <a:gd name="connsiteX11" fmla="*/ 14336 w 36484"/>
                <a:gd name="connsiteY11" fmla="*/ 9648 h 17978"/>
                <a:gd name="connsiteX12" fmla="*/ 4049 w 36484"/>
                <a:gd name="connsiteY12" fmla="*/ 3838 h 17978"/>
                <a:gd name="connsiteX13" fmla="*/ 1763 w 36484"/>
                <a:gd name="connsiteY13" fmla="*/ 2409 h 17978"/>
                <a:gd name="connsiteX14" fmla="*/ -333 w 36484"/>
                <a:gd name="connsiteY14" fmla="*/ -163 h 17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484" h="17978">
                  <a:moveTo>
                    <a:pt x="-333" y="-163"/>
                  </a:moveTo>
                  <a:lnTo>
                    <a:pt x="-333" y="7362"/>
                  </a:lnTo>
                  <a:cubicBezTo>
                    <a:pt x="-238" y="8334"/>
                    <a:pt x="382" y="9172"/>
                    <a:pt x="1286" y="9553"/>
                  </a:cubicBezTo>
                  <a:lnTo>
                    <a:pt x="14336" y="16887"/>
                  </a:lnTo>
                  <a:cubicBezTo>
                    <a:pt x="16755" y="18125"/>
                    <a:pt x="19632" y="18125"/>
                    <a:pt x="22051" y="16887"/>
                  </a:cubicBezTo>
                  <a:lnTo>
                    <a:pt x="34624" y="9648"/>
                  </a:lnTo>
                  <a:cubicBezTo>
                    <a:pt x="35491" y="9200"/>
                    <a:pt x="36062" y="8334"/>
                    <a:pt x="36148" y="7362"/>
                  </a:cubicBezTo>
                  <a:lnTo>
                    <a:pt x="36148" y="218"/>
                  </a:lnTo>
                  <a:cubicBezTo>
                    <a:pt x="36110" y="1181"/>
                    <a:pt x="35519" y="2038"/>
                    <a:pt x="34624" y="2409"/>
                  </a:cubicBezTo>
                  <a:lnTo>
                    <a:pt x="32338" y="3838"/>
                  </a:lnTo>
                  <a:lnTo>
                    <a:pt x="22051" y="9648"/>
                  </a:lnTo>
                  <a:cubicBezTo>
                    <a:pt x="19651" y="10991"/>
                    <a:pt x="16736" y="10991"/>
                    <a:pt x="14336" y="9648"/>
                  </a:cubicBezTo>
                  <a:lnTo>
                    <a:pt x="4049" y="3838"/>
                  </a:lnTo>
                  <a:lnTo>
                    <a:pt x="1763" y="2409"/>
                  </a:lnTo>
                  <a:cubicBezTo>
                    <a:pt x="505" y="2219"/>
                    <a:pt x="-399" y="1104"/>
                    <a:pt x="-333" y="-163"/>
                  </a:cubicBezTo>
                  <a:close/>
                </a:path>
              </a:pathLst>
            </a:custGeom>
            <a:solidFill>
              <a:srgbClr val="BF4200"/>
            </a:solidFill>
            <a:ln w="9525" cap="flat">
              <a:noFill/>
              <a:prstDash val="solid"/>
              <a:miter/>
            </a:ln>
          </p:spPr>
          <p:txBody>
            <a:bodyPr rtlCol="0" anchor="ctr"/>
            <a:lstStyle/>
            <a:p>
              <a:endParaRPr lang="zh-CN" altLang="en-US"/>
            </a:p>
          </p:txBody>
        </p:sp>
        <p:sp>
          <p:nvSpPr>
            <p:cNvPr id="582" name="iṣ1îḍê">
              <a:extLst>
                <a:ext uri="{FF2B5EF4-FFF2-40B4-BE49-F238E27FC236}">
                  <a16:creationId xmlns:a16="http://schemas.microsoft.com/office/drawing/2014/main" id="{7C290668-8447-42D5-8A3F-B9DB325E8B40}"/>
                </a:ext>
              </a:extLst>
            </p:cNvPr>
            <p:cNvSpPr/>
            <p:nvPr/>
          </p:nvSpPr>
          <p:spPr>
            <a:xfrm>
              <a:off x="6202889" y="5107048"/>
              <a:ext cx="109740" cy="63445"/>
            </a:xfrm>
            <a:custGeom>
              <a:avLst/>
              <a:gdLst>
                <a:gd name="connsiteX0" fmla="*/ -336 w 36052"/>
                <a:gd name="connsiteY0" fmla="*/ 10227 h 20843"/>
                <a:gd name="connsiteX1" fmla="*/ 1188 w 36052"/>
                <a:gd name="connsiteY1" fmla="*/ 12513 h 20843"/>
                <a:gd name="connsiteX2" fmla="*/ 3569 w 36052"/>
                <a:gd name="connsiteY2" fmla="*/ 13846 h 20843"/>
                <a:gd name="connsiteX3" fmla="*/ 13856 w 36052"/>
                <a:gd name="connsiteY3" fmla="*/ 19752 h 20843"/>
                <a:gd name="connsiteX4" fmla="*/ 21476 w 36052"/>
                <a:gd name="connsiteY4" fmla="*/ 19752 h 20843"/>
                <a:gd name="connsiteX5" fmla="*/ 31763 w 36052"/>
                <a:gd name="connsiteY5" fmla="*/ 13846 h 20843"/>
                <a:gd name="connsiteX6" fmla="*/ 34144 w 36052"/>
                <a:gd name="connsiteY6" fmla="*/ 12513 h 20843"/>
                <a:gd name="connsiteX7" fmla="*/ 35573 w 36052"/>
                <a:gd name="connsiteY7" fmla="*/ 9465 h 20843"/>
                <a:gd name="connsiteX8" fmla="*/ 34144 w 36052"/>
                <a:gd name="connsiteY8" fmla="*/ 8036 h 20843"/>
                <a:gd name="connsiteX9" fmla="*/ 21476 w 36052"/>
                <a:gd name="connsiteY9" fmla="*/ 702 h 20843"/>
                <a:gd name="connsiteX10" fmla="*/ 13856 w 36052"/>
                <a:gd name="connsiteY10" fmla="*/ 702 h 20843"/>
                <a:gd name="connsiteX11" fmla="*/ 1188 w 36052"/>
                <a:gd name="connsiteY11" fmla="*/ 8036 h 20843"/>
                <a:gd name="connsiteX12" fmla="*/ -336 w 36052"/>
                <a:gd name="connsiteY12" fmla="*/ 10227 h 20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3">
                  <a:moveTo>
                    <a:pt x="-336" y="10227"/>
                  </a:moveTo>
                  <a:cubicBezTo>
                    <a:pt x="-270" y="11208"/>
                    <a:pt x="311" y="12075"/>
                    <a:pt x="1188" y="12513"/>
                  </a:cubicBezTo>
                  <a:lnTo>
                    <a:pt x="3569" y="13846"/>
                  </a:lnTo>
                  <a:lnTo>
                    <a:pt x="13856" y="19752"/>
                  </a:lnTo>
                  <a:cubicBezTo>
                    <a:pt x="16247" y="20990"/>
                    <a:pt x="19085" y="20990"/>
                    <a:pt x="21476" y="19752"/>
                  </a:cubicBezTo>
                  <a:lnTo>
                    <a:pt x="31763" y="13846"/>
                  </a:lnTo>
                  <a:lnTo>
                    <a:pt x="34144" y="12513"/>
                  </a:lnTo>
                  <a:cubicBezTo>
                    <a:pt x="35382" y="12065"/>
                    <a:pt x="36020" y="10694"/>
                    <a:pt x="35573" y="9465"/>
                  </a:cubicBezTo>
                  <a:cubicBezTo>
                    <a:pt x="35325" y="8798"/>
                    <a:pt x="34811" y="8274"/>
                    <a:pt x="34144"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583" name="islïḑe">
              <a:extLst>
                <a:ext uri="{FF2B5EF4-FFF2-40B4-BE49-F238E27FC236}">
                  <a16:creationId xmlns:a16="http://schemas.microsoft.com/office/drawing/2014/main" id="{835F0B99-CC58-4779-9C8C-AB007A1B8EE9}"/>
                </a:ext>
              </a:extLst>
            </p:cNvPr>
            <p:cNvSpPr/>
            <p:nvPr/>
          </p:nvSpPr>
          <p:spPr>
            <a:xfrm>
              <a:off x="6204700" y="5108811"/>
              <a:ext cx="105895" cy="61101"/>
            </a:xfrm>
            <a:custGeom>
              <a:avLst/>
              <a:gdLst>
                <a:gd name="connsiteX0" fmla="*/ 1164 w 34789"/>
                <a:gd name="connsiteY0" fmla="*/ 12029 h 20073"/>
                <a:gd name="connsiteX1" fmla="*/ 13356 w 34789"/>
                <a:gd name="connsiteY1" fmla="*/ 18983 h 20073"/>
                <a:gd name="connsiteX2" fmla="*/ 20785 w 34789"/>
                <a:gd name="connsiteY2" fmla="*/ 18983 h 20073"/>
                <a:gd name="connsiteX3" fmla="*/ 32882 w 34789"/>
                <a:gd name="connsiteY3" fmla="*/ 12029 h 20073"/>
                <a:gd name="connsiteX4" fmla="*/ 32882 w 34789"/>
                <a:gd name="connsiteY4" fmla="*/ 7743 h 20073"/>
                <a:gd name="connsiteX5" fmla="*/ 20785 w 34789"/>
                <a:gd name="connsiteY5" fmla="*/ 695 h 20073"/>
                <a:gd name="connsiteX6" fmla="*/ 13356 w 34789"/>
                <a:gd name="connsiteY6" fmla="*/ 695 h 20073"/>
                <a:gd name="connsiteX7" fmla="*/ 1164 w 34789"/>
                <a:gd name="connsiteY7" fmla="*/ 7743 h 20073"/>
                <a:gd name="connsiteX8" fmla="*/ 1164 w 34789"/>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89" h="20073">
                  <a:moveTo>
                    <a:pt x="1164" y="12029"/>
                  </a:moveTo>
                  <a:lnTo>
                    <a:pt x="13356" y="18983"/>
                  </a:lnTo>
                  <a:cubicBezTo>
                    <a:pt x="15680" y="20221"/>
                    <a:pt x="18461" y="20221"/>
                    <a:pt x="20785" y="18983"/>
                  </a:cubicBezTo>
                  <a:lnTo>
                    <a:pt x="32882" y="12029"/>
                  </a:lnTo>
                  <a:cubicBezTo>
                    <a:pt x="34977" y="10791"/>
                    <a:pt x="34977" y="8886"/>
                    <a:pt x="32882" y="7743"/>
                  </a:cubicBezTo>
                  <a:lnTo>
                    <a:pt x="20785" y="695"/>
                  </a:lnTo>
                  <a:cubicBezTo>
                    <a:pt x="18442" y="-448"/>
                    <a:pt x="15699" y="-448"/>
                    <a:pt x="13356" y="695"/>
                  </a:cubicBezTo>
                  <a:lnTo>
                    <a:pt x="1164" y="7743"/>
                  </a:lnTo>
                  <a:cubicBezTo>
                    <a:pt x="-836" y="8696"/>
                    <a:pt x="-836" y="10601"/>
                    <a:pt x="1164" y="12029"/>
                  </a:cubicBezTo>
                  <a:close/>
                </a:path>
              </a:pathLst>
            </a:custGeom>
            <a:solidFill>
              <a:srgbClr val="D1D9E8"/>
            </a:solidFill>
            <a:ln w="9525" cap="flat">
              <a:noFill/>
              <a:prstDash val="solid"/>
              <a:miter/>
            </a:ln>
          </p:spPr>
          <p:txBody>
            <a:bodyPr rtlCol="0" anchor="ctr"/>
            <a:lstStyle/>
            <a:p>
              <a:endParaRPr lang="zh-CN" altLang="en-US"/>
            </a:p>
          </p:txBody>
        </p:sp>
        <p:sp>
          <p:nvSpPr>
            <p:cNvPr id="584" name="ïṧľíḍè">
              <a:extLst>
                <a:ext uri="{FF2B5EF4-FFF2-40B4-BE49-F238E27FC236}">
                  <a16:creationId xmlns:a16="http://schemas.microsoft.com/office/drawing/2014/main" id="{014629D1-DD8E-4745-96AD-1139CA6D3498}"/>
                </a:ext>
              </a:extLst>
            </p:cNvPr>
            <p:cNvSpPr/>
            <p:nvPr/>
          </p:nvSpPr>
          <p:spPr>
            <a:xfrm>
              <a:off x="6202889" y="5138675"/>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3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3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2" y="7953"/>
                    <a:pt x="35668" y="6981"/>
                  </a:cubicBezTo>
                  <a:lnTo>
                    <a:pt x="35668" y="-163"/>
                  </a:lnTo>
                  <a:cubicBezTo>
                    <a:pt x="35602" y="818"/>
                    <a:pt x="35021" y="1685"/>
                    <a:pt x="34144" y="2123"/>
                  </a:cubicBezTo>
                  <a:lnTo>
                    <a:pt x="31763" y="3457"/>
                  </a:lnTo>
                  <a:lnTo>
                    <a:pt x="21476" y="9362"/>
                  </a:lnTo>
                  <a:cubicBezTo>
                    <a:pt x="19085" y="10601"/>
                    <a:pt x="16247" y="10601"/>
                    <a:pt x="13856" y="9362"/>
                  </a:cubicBezTo>
                  <a:lnTo>
                    <a:pt x="3569" y="3457"/>
                  </a:lnTo>
                  <a:lnTo>
                    <a:pt x="1188"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585" name="iṧľiḑé">
              <a:extLst>
                <a:ext uri="{FF2B5EF4-FFF2-40B4-BE49-F238E27FC236}">
                  <a16:creationId xmlns:a16="http://schemas.microsoft.com/office/drawing/2014/main" id="{6C4C83EE-FA58-49A5-8CC0-86D8DAD477DF}"/>
                </a:ext>
              </a:extLst>
            </p:cNvPr>
            <p:cNvSpPr/>
            <p:nvPr/>
          </p:nvSpPr>
          <p:spPr>
            <a:xfrm>
              <a:off x="6280010" y="5151502"/>
              <a:ext cx="109740" cy="63639"/>
            </a:xfrm>
            <a:custGeom>
              <a:avLst/>
              <a:gdLst>
                <a:gd name="connsiteX0" fmla="*/ -336 w 36052"/>
                <a:gd name="connsiteY0" fmla="*/ 10291 h 20907"/>
                <a:gd name="connsiteX1" fmla="*/ 1283 w 36052"/>
                <a:gd name="connsiteY1" fmla="*/ 12577 h 20907"/>
                <a:gd name="connsiteX2" fmla="*/ 3569 w 36052"/>
                <a:gd name="connsiteY2" fmla="*/ 13911 h 20907"/>
                <a:gd name="connsiteX3" fmla="*/ 13856 w 36052"/>
                <a:gd name="connsiteY3" fmla="*/ 19816 h 20907"/>
                <a:gd name="connsiteX4" fmla="*/ 21571 w 36052"/>
                <a:gd name="connsiteY4" fmla="*/ 19816 h 20907"/>
                <a:gd name="connsiteX5" fmla="*/ 31858 w 36052"/>
                <a:gd name="connsiteY5" fmla="*/ 13911 h 20907"/>
                <a:gd name="connsiteX6" fmla="*/ 34144 w 36052"/>
                <a:gd name="connsiteY6" fmla="*/ 12577 h 20907"/>
                <a:gd name="connsiteX7" fmla="*/ 35573 w 36052"/>
                <a:gd name="connsiteY7" fmla="*/ 9529 h 20907"/>
                <a:gd name="connsiteX8" fmla="*/ 34144 w 36052"/>
                <a:gd name="connsiteY8" fmla="*/ 8100 h 20907"/>
                <a:gd name="connsiteX9" fmla="*/ 21571 w 36052"/>
                <a:gd name="connsiteY9" fmla="*/ 766 h 20907"/>
                <a:gd name="connsiteX10" fmla="*/ 13856 w 36052"/>
                <a:gd name="connsiteY10" fmla="*/ 766 h 20907"/>
                <a:gd name="connsiteX11" fmla="*/ 1283 w 36052"/>
                <a:gd name="connsiteY11" fmla="*/ 8100 h 20907"/>
                <a:gd name="connsiteX12" fmla="*/ -336 w 36052"/>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907">
                  <a:moveTo>
                    <a:pt x="-336" y="10291"/>
                  </a:moveTo>
                  <a:cubicBezTo>
                    <a:pt x="-232" y="11282"/>
                    <a:pt x="378" y="12148"/>
                    <a:pt x="1283" y="12577"/>
                  </a:cubicBezTo>
                  <a:lnTo>
                    <a:pt x="3569" y="13911"/>
                  </a:lnTo>
                  <a:lnTo>
                    <a:pt x="13856" y="19816"/>
                  </a:lnTo>
                  <a:cubicBezTo>
                    <a:pt x="16275" y="21054"/>
                    <a:pt x="19152" y="21054"/>
                    <a:pt x="21571" y="19816"/>
                  </a:cubicBezTo>
                  <a:lnTo>
                    <a:pt x="31858" y="13911"/>
                  </a:lnTo>
                  <a:lnTo>
                    <a:pt x="34144" y="12577"/>
                  </a:lnTo>
                  <a:cubicBezTo>
                    <a:pt x="35382" y="12129"/>
                    <a:pt x="36020" y="10758"/>
                    <a:pt x="35573" y="9529"/>
                  </a:cubicBezTo>
                  <a:cubicBezTo>
                    <a:pt x="35325" y="8862"/>
                    <a:pt x="34811" y="8338"/>
                    <a:pt x="34144" y="8100"/>
                  </a:cubicBezTo>
                  <a:lnTo>
                    <a:pt x="21571" y="766"/>
                  </a:lnTo>
                  <a:cubicBezTo>
                    <a:pt x="19152" y="-472"/>
                    <a:pt x="16275" y="-472"/>
                    <a:pt x="13856" y="766"/>
                  </a:cubicBezTo>
                  <a:lnTo>
                    <a:pt x="1283" y="8100"/>
                  </a:lnTo>
                  <a:cubicBezTo>
                    <a:pt x="407" y="8510"/>
                    <a:pt x="-203" y="933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586" name="ïsľïḋê">
              <a:extLst>
                <a:ext uri="{FF2B5EF4-FFF2-40B4-BE49-F238E27FC236}">
                  <a16:creationId xmlns:a16="http://schemas.microsoft.com/office/drawing/2014/main" id="{D20FF1AE-4C86-41AD-ABD9-9B3110BE7C67}"/>
                </a:ext>
              </a:extLst>
            </p:cNvPr>
            <p:cNvSpPr/>
            <p:nvPr/>
          </p:nvSpPr>
          <p:spPr>
            <a:xfrm>
              <a:off x="6281967" y="5152881"/>
              <a:ext cx="105244" cy="61104"/>
            </a:xfrm>
            <a:custGeom>
              <a:avLst/>
              <a:gdLst>
                <a:gd name="connsiteX0" fmla="*/ 1021 w 34575"/>
                <a:gd name="connsiteY0" fmla="*/ 12029 h 20074"/>
                <a:gd name="connsiteX1" fmla="*/ 13118 w 34575"/>
                <a:gd name="connsiteY1" fmla="*/ 18983 h 20074"/>
                <a:gd name="connsiteX2" fmla="*/ 20547 w 34575"/>
                <a:gd name="connsiteY2" fmla="*/ 18983 h 20074"/>
                <a:gd name="connsiteX3" fmla="*/ 32739 w 34575"/>
                <a:gd name="connsiteY3" fmla="*/ 12029 h 20074"/>
                <a:gd name="connsiteX4" fmla="*/ 32739 w 34575"/>
                <a:gd name="connsiteY4" fmla="*/ 7743 h 20074"/>
                <a:gd name="connsiteX5" fmla="*/ 20547 w 34575"/>
                <a:gd name="connsiteY5" fmla="*/ 695 h 20074"/>
                <a:gd name="connsiteX6" fmla="*/ 13118 w 34575"/>
                <a:gd name="connsiteY6" fmla="*/ 695 h 20074"/>
                <a:gd name="connsiteX7" fmla="*/ 1021 w 34575"/>
                <a:gd name="connsiteY7" fmla="*/ 7743 h 20074"/>
                <a:gd name="connsiteX8" fmla="*/ 1021 w 34575"/>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575" h="20074">
                  <a:moveTo>
                    <a:pt x="1021" y="12029"/>
                  </a:moveTo>
                  <a:lnTo>
                    <a:pt x="13118" y="18983"/>
                  </a:lnTo>
                  <a:cubicBezTo>
                    <a:pt x="15442" y="20221"/>
                    <a:pt x="18223" y="20221"/>
                    <a:pt x="20547" y="18983"/>
                  </a:cubicBezTo>
                  <a:lnTo>
                    <a:pt x="32739" y="12029"/>
                  </a:lnTo>
                  <a:cubicBezTo>
                    <a:pt x="34740" y="10791"/>
                    <a:pt x="34740" y="8886"/>
                    <a:pt x="32739" y="7743"/>
                  </a:cubicBezTo>
                  <a:lnTo>
                    <a:pt x="20547" y="695"/>
                  </a:lnTo>
                  <a:cubicBezTo>
                    <a:pt x="18204" y="-448"/>
                    <a:pt x="15461" y="-448"/>
                    <a:pt x="13118" y="695"/>
                  </a:cubicBezTo>
                  <a:lnTo>
                    <a:pt x="1021" y="7743"/>
                  </a:lnTo>
                  <a:cubicBezTo>
                    <a:pt x="-789" y="8886"/>
                    <a:pt x="-789" y="10791"/>
                    <a:pt x="1021" y="12029"/>
                  </a:cubicBezTo>
                  <a:close/>
                </a:path>
              </a:pathLst>
            </a:custGeom>
            <a:solidFill>
              <a:srgbClr val="D1D9E8"/>
            </a:solidFill>
            <a:ln w="9525" cap="flat">
              <a:noFill/>
              <a:prstDash val="solid"/>
              <a:miter/>
            </a:ln>
          </p:spPr>
          <p:txBody>
            <a:bodyPr rtlCol="0" anchor="ctr"/>
            <a:lstStyle/>
            <a:p>
              <a:endParaRPr lang="zh-CN" altLang="en-US"/>
            </a:p>
          </p:txBody>
        </p:sp>
        <p:sp>
          <p:nvSpPr>
            <p:cNvPr id="587" name="íṥľíḓè">
              <a:extLst>
                <a:ext uri="{FF2B5EF4-FFF2-40B4-BE49-F238E27FC236}">
                  <a16:creationId xmlns:a16="http://schemas.microsoft.com/office/drawing/2014/main" id="{62F1AA72-40F8-455A-8A34-0D86FFF8AFA1}"/>
                </a:ext>
              </a:extLst>
            </p:cNvPr>
            <p:cNvSpPr/>
            <p:nvPr/>
          </p:nvSpPr>
          <p:spPr>
            <a:xfrm>
              <a:off x="6280010" y="5183323"/>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3 w 36099"/>
                <a:gd name="connsiteY6" fmla="*/ 6981 h 17597"/>
                <a:gd name="connsiteX7" fmla="*/ 35763 w 36099"/>
                <a:gd name="connsiteY7" fmla="*/ -163 h 17597"/>
                <a:gd name="connsiteX8" fmla="*/ 34144 w 36099"/>
                <a:gd name="connsiteY8" fmla="*/ 2123 h 17597"/>
                <a:gd name="connsiteX9" fmla="*/ 31858 w 36099"/>
                <a:gd name="connsiteY9" fmla="*/ 3457 h 17597"/>
                <a:gd name="connsiteX10" fmla="*/ 21571 w 36099"/>
                <a:gd name="connsiteY10" fmla="*/ 9362 h 17597"/>
                <a:gd name="connsiteX11" fmla="*/ 13856 w 36099"/>
                <a:gd name="connsiteY11" fmla="*/ 9362 h 17597"/>
                <a:gd name="connsiteX12" fmla="*/ 3569 w 36099"/>
                <a:gd name="connsiteY12" fmla="*/ 3457 h 17597"/>
                <a:gd name="connsiteX13" fmla="*/ 1283 w 36099"/>
                <a:gd name="connsiteY13" fmla="*/ 2123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03" y="8029"/>
                    <a:pt x="407" y="8857"/>
                    <a:pt x="1283" y="9267"/>
                  </a:cubicBezTo>
                  <a:lnTo>
                    <a:pt x="13856" y="16506"/>
                  </a:lnTo>
                  <a:cubicBezTo>
                    <a:pt x="16275" y="17744"/>
                    <a:pt x="19152" y="17744"/>
                    <a:pt x="21571" y="16506"/>
                  </a:cubicBezTo>
                  <a:lnTo>
                    <a:pt x="34144" y="9267"/>
                  </a:lnTo>
                  <a:cubicBezTo>
                    <a:pt x="35030" y="8829"/>
                    <a:pt x="35639" y="7962"/>
                    <a:pt x="35763" y="6981"/>
                  </a:cubicBezTo>
                  <a:lnTo>
                    <a:pt x="35763" y="-163"/>
                  </a:lnTo>
                  <a:cubicBezTo>
                    <a:pt x="35659" y="828"/>
                    <a:pt x="35049" y="1695"/>
                    <a:pt x="34144" y="2123"/>
                  </a:cubicBezTo>
                  <a:lnTo>
                    <a:pt x="31858" y="3457"/>
                  </a:lnTo>
                  <a:lnTo>
                    <a:pt x="21571" y="9362"/>
                  </a:lnTo>
                  <a:cubicBezTo>
                    <a:pt x="19152" y="10601"/>
                    <a:pt x="16275" y="10601"/>
                    <a:pt x="13856" y="9362"/>
                  </a:cubicBezTo>
                  <a:lnTo>
                    <a:pt x="3569" y="3457"/>
                  </a:lnTo>
                  <a:lnTo>
                    <a:pt x="1283" y="2123"/>
                  </a:lnTo>
                  <a:cubicBezTo>
                    <a:pt x="378" y="1695"/>
                    <a:pt x="-232"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588" name="ïsľide">
              <a:extLst>
                <a:ext uri="{FF2B5EF4-FFF2-40B4-BE49-F238E27FC236}">
                  <a16:creationId xmlns:a16="http://schemas.microsoft.com/office/drawing/2014/main" id="{FC26F811-B9E7-4396-BA1D-E793AEF14B45}"/>
                </a:ext>
              </a:extLst>
            </p:cNvPr>
            <p:cNvSpPr/>
            <p:nvPr/>
          </p:nvSpPr>
          <p:spPr>
            <a:xfrm>
              <a:off x="6357423" y="5196153"/>
              <a:ext cx="109594" cy="63639"/>
            </a:xfrm>
            <a:custGeom>
              <a:avLst/>
              <a:gdLst>
                <a:gd name="connsiteX0" fmla="*/ -336 w 36004"/>
                <a:gd name="connsiteY0" fmla="*/ 10291 h 20907"/>
                <a:gd name="connsiteX1" fmla="*/ 1188 w 36004"/>
                <a:gd name="connsiteY1" fmla="*/ 12577 h 20907"/>
                <a:gd name="connsiteX2" fmla="*/ 3569 w 36004"/>
                <a:gd name="connsiteY2" fmla="*/ 13910 h 20907"/>
                <a:gd name="connsiteX3" fmla="*/ 13856 w 36004"/>
                <a:gd name="connsiteY3" fmla="*/ 19816 h 20907"/>
                <a:gd name="connsiteX4" fmla="*/ 21476 w 36004"/>
                <a:gd name="connsiteY4" fmla="*/ 19816 h 20907"/>
                <a:gd name="connsiteX5" fmla="*/ 31763 w 36004"/>
                <a:gd name="connsiteY5" fmla="*/ 13910 h 20907"/>
                <a:gd name="connsiteX6" fmla="*/ 34144 w 36004"/>
                <a:gd name="connsiteY6" fmla="*/ 12577 h 20907"/>
                <a:gd name="connsiteX7" fmla="*/ 35668 w 36004"/>
                <a:gd name="connsiteY7" fmla="*/ 10291 h 20907"/>
                <a:gd name="connsiteX8" fmla="*/ 34144 w 36004"/>
                <a:gd name="connsiteY8" fmla="*/ 8100 h 20907"/>
                <a:gd name="connsiteX9" fmla="*/ 21476 w 36004"/>
                <a:gd name="connsiteY9" fmla="*/ 766 h 20907"/>
                <a:gd name="connsiteX10" fmla="*/ 13856 w 36004"/>
                <a:gd name="connsiteY10" fmla="*/ 766 h 20907"/>
                <a:gd name="connsiteX11" fmla="*/ 1188 w 36004"/>
                <a:gd name="connsiteY11" fmla="*/ 8100 h 20907"/>
                <a:gd name="connsiteX12" fmla="*/ -336 w 36004"/>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907">
                  <a:moveTo>
                    <a:pt x="-336" y="10291"/>
                  </a:moveTo>
                  <a:cubicBezTo>
                    <a:pt x="-269" y="11272"/>
                    <a:pt x="312" y="12139"/>
                    <a:pt x="1188" y="12577"/>
                  </a:cubicBezTo>
                  <a:lnTo>
                    <a:pt x="3569" y="13910"/>
                  </a:lnTo>
                  <a:lnTo>
                    <a:pt x="13856" y="19816"/>
                  </a:lnTo>
                  <a:cubicBezTo>
                    <a:pt x="16247" y="21054"/>
                    <a:pt x="19085" y="21054"/>
                    <a:pt x="21476" y="19816"/>
                  </a:cubicBezTo>
                  <a:lnTo>
                    <a:pt x="31763" y="13910"/>
                  </a:lnTo>
                  <a:lnTo>
                    <a:pt x="34144" y="12577"/>
                  </a:lnTo>
                  <a:cubicBezTo>
                    <a:pt x="35021" y="12139"/>
                    <a:pt x="35602" y="11272"/>
                    <a:pt x="35668" y="10291"/>
                  </a:cubicBezTo>
                  <a:cubicBezTo>
                    <a:pt x="35611" y="9339"/>
                    <a:pt x="35021" y="8491"/>
                    <a:pt x="34144" y="8100"/>
                  </a:cubicBezTo>
                  <a:lnTo>
                    <a:pt x="21476" y="766"/>
                  </a:lnTo>
                  <a:cubicBezTo>
                    <a:pt x="19085" y="-472"/>
                    <a:pt x="16247" y="-472"/>
                    <a:pt x="13856" y="766"/>
                  </a:cubicBezTo>
                  <a:lnTo>
                    <a:pt x="1188" y="8100"/>
                  </a:lnTo>
                  <a:cubicBezTo>
                    <a:pt x="312" y="8491"/>
                    <a:pt x="-279"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589" name="i$ļiḑê">
              <a:extLst>
                <a:ext uri="{FF2B5EF4-FFF2-40B4-BE49-F238E27FC236}">
                  <a16:creationId xmlns:a16="http://schemas.microsoft.com/office/drawing/2014/main" id="{7FEF0632-5819-4DD9-AD59-02EBA4BA15A8}"/>
                </a:ext>
              </a:extLst>
            </p:cNvPr>
            <p:cNvSpPr/>
            <p:nvPr/>
          </p:nvSpPr>
          <p:spPr>
            <a:xfrm>
              <a:off x="6359234" y="5197313"/>
              <a:ext cx="105898" cy="61104"/>
            </a:xfrm>
            <a:custGeom>
              <a:avLst/>
              <a:gdLst>
                <a:gd name="connsiteX0" fmla="*/ 1164 w 34790"/>
                <a:gd name="connsiteY0" fmla="*/ 12006 h 20074"/>
                <a:gd name="connsiteX1" fmla="*/ 13356 w 34790"/>
                <a:gd name="connsiteY1" fmla="*/ 19054 h 20074"/>
                <a:gd name="connsiteX2" fmla="*/ 20785 w 34790"/>
                <a:gd name="connsiteY2" fmla="*/ 19054 h 20074"/>
                <a:gd name="connsiteX3" fmla="*/ 32882 w 34790"/>
                <a:gd name="connsiteY3" fmla="*/ 12006 h 20074"/>
                <a:gd name="connsiteX4" fmla="*/ 32882 w 34790"/>
                <a:gd name="connsiteY4" fmla="*/ 7719 h 20074"/>
                <a:gd name="connsiteX5" fmla="*/ 20785 w 34790"/>
                <a:gd name="connsiteY5" fmla="*/ 766 h 20074"/>
                <a:gd name="connsiteX6" fmla="*/ 13356 w 34790"/>
                <a:gd name="connsiteY6" fmla="*/ 766 h 20074"/>
                <a:gd name="connsiteX7" fmla="*/ 1164 w 34790"/>
                <a:gd name="connsiteY7" fmla="*/ 7719 h 20074"/>
                <a:gd name="connsiteX8" fmla="*/ 1164 w 34790"/>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4">
                  <a:moveTo>
                    <a:pt x="1164" y="12006"/>
                  </a:moveTo>
                  <a:lnTo>
                    <a:pt x="13356" y="19054"/>
                  </a:lnTo>
                  <a:cubicBezTo>
                    <a:pt x="15699" y="20197"/>
                    <a:pt x="18442" y="20197"/>
                    <a:pt x="20785" y="19054"/>
                  </a:cubicBezTo>
                  <a:lnTo>
                    <a:pt x="32882" y="12006"/>
                  </a:lnTo>
                  <a:cubicBezTo>
                    <a:pt x="34978" y="10863"/>
                    <a:pt x="34978" y="8958"/>
                    <a:pt x="32882" y="7719"/>
                  </a:cubicBezTo>
                  <a:lnTo>
                    <a:pt x="20785" y="766"/>
                  </a:lnTo>
                  <a:cubicBezTo>
                    <a:pt x="18461" y="-472"/>
                    <a:pt x="15680" y="-472"/>
                    <a:pt x="13356" y="766"/>
                  </a:cubicBezTo>
                  <a:lnTo>
                    <a:pt x="1164" y="7719"/>
                  </a:lnTo>
                  <a:cubicBezTo>
                    <a:pt x="-836" y="8958"/>
                    <a:pt x="-836" y="10863"/>
                    <a:pt x="1164" y="12006"/>
                  </a:cubicBezTo>
                  <a:close/>
                </a:path>
              </a:pathLst>
            </a:custGeom>
            <a:solidFill>
              <a:srgbClr val="D1D9E8"/>
            </a:solidFill>
            <a:ln w="9525" cap="flat">
              <a:noFill/>
              <a:prstDash val="solid"/>
              <a:miter/>
            </a:ln>
          </p:spPr>
          <p:txBody>
            <a:bodyPr rtlCol="0" anchor="ctr"/>
            <a:lstStyle/>
            <a:p>
              <a:endParaRPr lang="zh-CN" altLang="en-US"/>
            </a:p>
          </p:txBody>
        </p:sp>
        <p:sp>
          <p:nvSpPr>
            <p:cNvPr id="590" name="íṡḻïďê">
              <a:extLst>
                <a:ext uri="{FF2B5EF4-FFF2-40B4-BE49-F238E27FC236}">
                  <a16:creationId xmlns:a16="http://schemas.microsoft.com/office/drawing/2014/main" id="{026DA0D2-F80F-40DD-ABE7-45E0118FF8AD}"/>
                </a:ext>
              </a:extLst>
            </p:cNvPr>
            <p:cNvSpPr/>
            <p:nvPr/>
          </p:nvSpPr>
          <p:spPr>
            <a:xfrm>
              <a:off x="6357423" y="5227971"/>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4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4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20"/>
                    <a:pt x="35582" y="7953"/>
                    <a:pt x="35668" y="6981"/>
                  </a:cubicBezTo>
                  <a:lnTo>
                    <a:pt x="35668" y="-163"/>
                  </a:lnTo>
                  <a:cubicBezTo>
                    <a:pt x="35602" y="819"/>
                    <a:pt x="35021" y="1685"/>
                    <a:pt x="34144" y="2124"/>
                  </a:cubicBezTo>
                  <a:lnTo>
                    <a:pt x="31763" y="3457"/>
                  </a:lnTo>
                  <a:lnTo>
                    <a:pt x="21476" y="9362"/>
                  </a:lnTo>
                  <a:cubicBezTo>
                    <a:pt x="19085" y="10601"/>
                    <a:pt x="16247" y="10601"/>
                    <a:pt x="13856" y="9362"/>
                  </a:cubicBezTo>
                  <a:lnTo>
                    <a:pt x="3569" y="3457"/>
                  </a:lnTo>
                  <a:lnTo>
                    <a:pt x="1188" y="2124"/>
                  </a:lnTo>
                  <a:cubicBezTo>
                    <a:pt x="312" y="1685"/>
                    <a:pt x="-269" y="819"/>
                    <a:pt x="-336" y="-163"/>
                  </a:cubicBezTo>
                  <a:close/>
                </a:path>
              </a:pathLst>
            </a:custGeom>
            <a:solidFill>
              <a:srgbClr val="BF4200"/>
            </a:solidFill>
            <a:ln w="9525" cap="flat">
              <a:noFill/>
              <a:prstDash val="solid"/>
              <a:miter/>
            </a:ln>
          </p:spPr>
          <p:txBody>
            <a:bodyPr rtlCol="0" anchor="ctr"/>
            <a:lstStyle/>
            <a:p>
              <a:endParaRPr lang="zh-CN" altLang="en-US"/>
            </a:p>
          </p:txBody>
        </p:sp>
        <p:sp>
          <p:nvSpPr>
            <p:cNvPr id="591" name="i$ḻíḓè">
              <a:extLst>
                <a:ext uri="{FF2B5EF4-FFF2-40B4-BE49-F238E27FC236}">
                  <a16:creationId xmlns:a16="http://schemas.microsoft.com/office/drawing/2014/main" id="{0FF5EF65-87DE-419E-A32E-011D6A1C6FCB}"/>
                </a:ext>
              </a:extLst>
            </p:cNvPr>
            <p:cNvSpPr/>
            <p:nvPr/>
          </p:nvSpPr>
          <p:spPr>
            <a:xfrm>
              <a:off x="6434544" y="5240801"/>
              <a:ext cx="109883" cy="63588"/>
            </a:xfrm>
            <a:custGeom>
              <a:avLst/>
              <a:gdLst>
                <a:gd name="connsiteX0" fmla="*/ -336 w 36099"/>
                <a:gd name="connsiteY0" fmla="*/ 10291 h 20890"/>
                <a:gd name="connsiteX1" fmla="*/ 1283 w 36099"/>
                <a:gd name="connsiteY1" fmla="*/ 12577 h 20890"/>
                <a:gd name="connsiteX2" fmla="*/ 3569 w 36099"/>
                <a:gd name="connsiteY2" fmla="*/ 13911 h 20890"/>
                <a:gd name="connsiteX3" fmla="*/ 13856 w 36099"/>
                <a:gd name="connsiteY3" fmla="*/ 19721 h 20890"/>
                <a:gd name="connsiteX4" fmla="*/ 21571 w 36099"/>
                <a:gd name="connsiteY4" fmla="*/ 19721 h 20890"/>
                <a:gd name="connsiteX5" fmla="*/ 31858 w 36099"/>
                <a:gd name="connsiteY5" fmla="*/ 13911 h 20890"/>
                <a:gd name="connsiteX6" fmla="*/ 34144 w 36099"/>
                <a:gd name="connsiteY6" fmla="*/ 12577 h 20890"/>
                <a:gd name="connsiteX7" fmla="*/ 35764 w 36099"/>
                <a:gd name="connsiteY7" fmla="*/ 10291 h 20890"/>
                <a:gd name="connsiteX8" fmla="*/ 34144 w 36099"/>
                <a:gd name="connsiteY8" fmla="*/ 8101 h 20890"/>
                <a:gd name="connsiteX9" fmla="*/ 21571 w 36099"/>
                <a:gd name="connsiteY9" fmla="*/ 766 h 20890"/>
                <a:gd name="connsiteX10" fmla="*/ 13856 w 36099"/>
                <a:gd name="connsiteY10" fmla="*/ 766 h 20890"/>
                <a:gd name="connsiteX11" fmla="*/ 1283 w 36099"/>
                <a:gd name="connsiteY11" fmla="*/ 8101 h 20890"/>
                <a:gd name="connsiteX12" fmla="*/ -336 w 36099"/>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99" h="20890">
                  <a:moveTo>
                    <a:pt x="-336" y="10291"/>
                  </a:moveTo>
                  <a:cubicBezTo>
                    <a:pt x="-269" y="11301"/>
                    <a:pt x="359" y="12187"/>
                    <a:pt x="1283" y="12577"/>
                  </a:cubicBezTo>
                  <a:lnTo>
                    <a:pt x="3569" y="13911"/>
                  </a:lnTo>
                  <a:lnTo>
                    <a:pt x="13856" y="19721"/>
                  </a:lnTo>
                  <a:cubicBezTo>
                    <a:pt x="16256" y="21064"/>
                    <a:pt x="19171" y="21064"/>
                    <a:pt x="21571" y="19721"/>
                  </a:cubicBezTo>
                  <a:lnTo>
                    <a:pt x="31858" y="13911"/>
                  </a:lnTo>
                  <a:lnTo>
                    <a:pt x="34144" y="12577"/>
                  </a:lnTo>
                  <a:cubicBezTo>
                    <a:pt x="35049" y="12149"/>
                    <a:pt x="35659" y="11282"/>
                    <a:pt x="35764" y="10291"/>
                  </a:cubicBezTo>
                  <a:cubicBezTo>
                    <a:pt x="35649" y="9329"/>
                    <a:pt x="35030" y="8491"/>
                    <a:pt x="34144" y="8101"/>
                  </a:cubicBezTo>
                  <a:lnTo>
                    <a:pt x="21571" y="766"/>
                  </a:lnTo>
                  <a:cubicBezTo>
                    <a:pt x="19152" y="-472"/>
                    <a:pt x="16275" y="-472"/>
                    <a:pt x="13856" y="766"/>
                  </a:cubicBezTo>
                  <a:lnTo>
                    <a:pt x="1283" y="8101"/>
                  </a:lnTo>
                  <a:cubicBezTo>
                    <a:pt x="369" y="8462"/>
                    <a:pt x="-260" y="9310"/>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592" name="íśḻíḑe">
              <a:extLst>
                <a:ext uri="{FF2B5EF4-FFF2-40B4-BE49-F238E27FC236}">
                  <a16:creationId xmlns:a16="http://schemas.microsoft.com/office/drawing/2014/main" id="{24D59B43-98DC-4493-84F9-D62FA869751C}"/>
                </a:ext>
              </a:extLst>
            </p:cNvPr>
            <p:cNvSpPr/>
            <p:nvPr/>
          </p:nvSpPr>
          <p:spPr>
            <a:xfrm>
              <a:off x="6436428" y="5241961"/>
              <a:ext cx="105898" cy="61101"/>
            </a:xfrm>
            <a:custGeom>
              <a:avLst/>
              <a:gdLst>
                <a:gd name="connsiteX0" fmla="*/ 1235 w 34790"/>
                <a:gd name="connsiteY0" fmla="*/ 12006 h 20073"/>
                <a:gd name="connsiteX1" fmla="*/ 13332 w 34790"/>
                <a:gd name="connsiteY1" fmla="*/ 19054 h 20073"/>
                <a:gd name="connsiteX2" fmla="*/ 20761 w 34790"/>
                <a:gd name="connsiteY2" fmla="*/ 19054 h 20073"/>
                <a:gd name="connsiteX3" fmla="*/ 32953 w 34790"/>
                <a:gd name="connsiteY3" fmla="*/ 12006 h 20073"/>
                <a:gd name="connsiteX4" fmla="*/ 32953 w 34790"/>
                <a:gd name="connsiteY4" fmla="*/ 7719 h 20073"/>
                <a:gd name="connsiteX5" fmla="*/ 20761 w 34790"/>
                <a:gd name="connsiteY5" fmla="*/ 766 h 20073"/>
                <a:gd name="connsiteX6" fmla="*/ 13332 w 34790"/>
                <a:gd name="connsiteY6" fmla="*/ 766 h 20073"/>
                <a:gd name="connsiteX7" fmla="*/ 1235 w 34790"/>
                <a:gd name="connsiteY7" fmla="*/ 7719 h 20073"/>
                <a:gd name="connsiteX8" fmla="*/ 1235 w 34790"/>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3">
                  <a:moveTo>
                    <a:pt x="1235" y="12006"/>
                  </a:moveTo>
                  <a:lnTo>
                    <a:pt x="13332" y="19054"/>
                  </a:lnTo>
                  <a:cubicBezTo>
                    <a:pt x="15675" y="20197"/>
                    <a:pt x="18418" y="20197"/>
                    <a:pt x="20761" y="19054"/>
                  </a:cubicBezTo>
                  <a:lnTo>
                    <a:pt x="32953" y="12006"/>
                  </a:lnTo>
                  <a:cubicBezTo>
                    <a:pt x="34954" y="10863"/>
                    <a:pt x="34954" y="8957"/>
                    <a:pt x="32953" y="7719"/>
                  </a:cubicBezTo>
                  <a:lnTo>
                    <a:pt x="20761" y="766"/>
                  </a:lnTo>
                  <a:cubicBezTo>
                    <a:pt x="18437" y="-472"/>
                    <a:pt x="15656" y="-472"/>
                    <a:pt x="13332" y="766"/>
                  </a:cubicBezTo>
                  <a:lnTo>
                    <a:pt x="1235" y="7719"/>
                  </a:lnTo>
                  <a:cubicBezTo>
                    <a:pt x="-860" y="8957"/>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593" name="îṩ1iḑè">
              <a:extLst>
                <a:ext uri="{FF2B5EF4-FFF2-40B4-BE49-F238E27FC236}">
                  <a16:creationId xmlns:a16="http://schemas.microsoft.com/office/drawing/2014/main" id="{33FC04AF-499E-45CE-999D-7075D5EA97C0}"/>
                </a:ext>
              </a:extLst>
            </p:cNvPr>
            <p:cNvSpPr/>
            <p:nvPr/>
          </p:nvSpPr>
          <p:spPr>
            <a:xfrm>
              <a:off x="6434544" y="5272623"/>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4 w 36099"/>
                <a:gd name="connsiteY6" fmla="*/ 6981 h 17597"/>
                <a:gd name="connsiteX7" fmla="*/ 35764 w 36099"/>
                <a:gd name="connsiteY7" fmla="*/ -163 h 17597"/>
                <a:gd name="connsiteX8" fmla="*/ 34144 w 36099"/>
                <a:gd name="connsiteY8" fmla="*/ 2123 h 17597"/>
                <a:gd name="connsiteX9" fmla="*/ 31858 w 36099"/>
                <a:gd name="connsiteY9" fmla="*/ 3457 h 17597"/>
                <a:gd name="connsiteX10" fmla="*/ 21571 w 36099"/>
                <a:gd name="connsiteY10" fmla="*/ 9267 h 17597"/>
                <a:gd name="connsiteX11" fmla="*/ 13856 w 36099"/>
                <a:gd name="connsiteY11" fmla="*/ 9267 h 17597"/>
                <a:gd name="connsiteX12" fmla="*/ 3569 w 36099"/>
                <a:gd name="connsiteY12" fmla="*/ 3457 h 17597"/>
                <a:gd name="connsiteX13" fmla="*/ 1283 w 36099"/>
                <a:gd name="connsiteY13" fmla="*/ 2123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41" y="8048"/>
                    <a:pt x="378" y="8886"/>
                    <a:pt x="1283" y="9267"/>
                  </a:cubicBezTo>
                  <a:lnTo>
                    <a:pt x="13856" y="16506"/>
                  </a:lnTo>
                  <a:cubicBezTo>
                    <a:pt x="16275" y="17744"/>
                    <a:pt x="19152" y="17744"/>
                    <a:pt x="21571" y="16506"/>
                  </a:cubicBezTo>
                  <a:lnTo>
                    <a:pt x="34144" y="9267"/>
                  </a:lnTo>
                  <a:cubicBezTo>
                    <a:pt x="35030" y="8829"/>
                    <a:pt x="35640" y="7962"/>
                    <a:pt x="35764" y="6981"/>
                  </a:cubicBezTo>
                  <a:lnTo>
                    <a:pt x="35764" y="-163"/>
                  </a:lnTo>
                  <a:cubicBezTo>
                    <a:pt x="35659" y="828"/>
                    <a:pt x="35049" y="1695"/>
                    <a:pt x="34144" y="2123"/>
                  </a:cubicBezTo>
                  <a:lnTo>
                    <a:pt x="31858" y="3457"/>
                  </a:lnTo>
                  <a:lnTo>
                    <a:pt x="21571" y="9267"/>
                  </a:lnTo>
                  <a:cubicBezTo>
                    <a:pt x="19171" y="10610"/>
                    <a:pt x="16256" y="10610"/>
                    <a:pt x="13856" y="9267"/>
                  </a:cubicBezTo>
                  <a:lnTo>
                    <a:pt x="3569" y="3457"/>
                  </a:lnTo>
                  <a:lnTo>
                    <a:pt x="1283" y="2123"/>
                  </a:lnTo>
                  <a:cubicBezTo>
                    <a:pt x="359" y="1733"/>
                    <a:pt x="-269" y="847"/>
                    <a:pt x="-336" y="-163"/>
                  </a:cubicBezTo>
                  <a:close/>
                </a:path>
              </a:pathLst>
            </a:custGeom>
            <a:solidFill>
              <a:srgbClr val="BF4200"/>
            </a:solidFill>
            <a:ln w="9525" cap="flat">
              <a:noFill/>
              <a:prstDash val="solid"/>
              <a:miter/>
            </a:ln>
          </p:spPr>
          <p:txBody>
            <a:bodyPr rtlCol="0" anchor="ctr"/>
            <a:lstStyle/>
            <a:p>
              <a:endParaRPr lang="zh-CN" altLang="en-US"/>
            </a:p>
          </p:txBody>
        </p:sp>
        <p:sp>
          <p:nvSpPr>
            <p:cNvPr id="594" name="ïSḷídè">
              <a:extLst>
                <a:ext uri="{FF2B5EF4-FFF2-40B4-BE49-F238E27FC236}">
                  <a16:creationId xmlns:a16="http://schemas.microsoft.com/office/drawing/2014/main" id="{1368FFB5-4917-434A-AA35-B07E56E16A54}"/>
                </a:ext>
              </a:extLst>
            </p:cNvPr>
            <p:cNvSpPr/>
            <p:nvPr/>
          </p:nvSpPr>
          <p:spPr>
            <a:xfrm>
              <a:off x="5235377" y="4638898"/>
              <a:ext cx="109594" cy="63639"/>
            </a:xfrm>
            <a:custGeom>
              <a:avLst/>
              <a:gdLst>
                <a:gd name="connsiteX0" fmla="*/ -336 w 36004"/>
                <a:gd name="connsiteY0" fmla="*/ 10291 h 20907"/>
                <a:gd name="connsiteX1" fmla="*/ 1188 w 36004"/>
                <a:gd name="connsiteY1" fmla="*/ 12577 h 20907"/>
                <a:gd name="connsiteX2" fmla="*/ 3569 w 36004"/>
                <a:gd name="connsiteY2" fmla="*/ 13910 h 20907"/>
                <a:gd name="connsiteX3" fmla="*/ 13856 w 36004"/>
                <a:gd name="connsiteY3" fmla="*/ 19816 h 20907"/>
                <a:gd name="connsiteX4" fmla="*/ 21476 w 36004"/>
                <a:gd name="connsiteY4" fmla="*/ 19816 h 20907"/>
                <a:gd name="connsiteX5" fmla="*/ 31763 w 36004"/>
                <a:gd name="connsiteY5" fmla="*/ 13910 h 20907"/>
                <a:gd name="connsiteX6" fmla="*/ 34144 w 36004"/>
                <a:gd name="connsiteY6" fmla="*/ 12577 h 20907"/>
                <a:gd name="connsiteX7" fmla="*/ 35668 w 36004"/>
                <a:gd name="connsiteY7" fmla="*/ 10291 h 20907"/>
                <a:gd name="connsiteX8" fmla="*/ 34144 w 36004"/>
                <a:gd name="connsiteY8" fmla="*/ 8100 h 20907"/>
                <a:gd name="connsiteX9" fmla="*/ 21476 w 36004"/>
                <a:gd name="connsiteY9" fmla="*/ 766 h 20907"/>
                <a:gd name="connsiteX10" fmla="*/ 13856 w 36004"/>
                <a:gd name="connsiteY10" fmla="*/ 766 h 20907"/>
                <a:gd name="connsiteX11" fmla="*/ 1188 w 36004"/>
                <a:gd name="connsiteY11" fmla="*/ 8100 h 20907"/>
                <a:gd name="connsiteX12" fmla="*/ -336 w 36004"/>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907">
                  <a:moveTo>
                    <a:pt x="-336" y="10291"/>
                  </a:moveTo>
                  <a:cubicBezTo>
                    <a:pt x="-270" y="11272"/>
                    <a:pt x="311" y="12139"/>
                    <a:pt x="1188" y="12577"/>
                  </a:cubicBezTo>
                  <a:lnTo>
                    <a:pt x="3569" y="13910"/>
                  </a:lnTo>
                  <a:lnTo>
                    <a:pt x="13856" y="19816"/>
                  </a:lnTo>
                  <a:cubicBezTo>
                    <a:pt x="16247" y="21054"/>
                    <a:pt x="19085" y="21054"/>
                    <a:pt x="21476" y="19816"/>
                  </a:cubicBezTo>
                  <a:lnTo>
                    <a:pt x="31763" y="13910"/>
                  </a:lnTo>
                  <a:lnTo>
                    <a:pt x="34144" y="12577"/>
                  </a:lnTo>
                  <a:cubicBezTo>
                    <a:pt x="35020" y="12139"/>
                    <a:pt x="35601" y="11272"/>
                    <a:pt x="35668" y="10291"/>
                  </a:cubicBezTo>
                  <a:cubicBezTo>
                    <a:pt x="35611" y="9339"/>
                    <a:pt x="35020" y="8491"/>
                    <a:pt x="34144" y="8100"/>
                  </a:cubicBezTo>
                  <a:lnTo>
                    <a:pt x="21476" y="766"/>
                  </a:lnTo>
                  <a:cubicBezTo>
                    <a:pt x="19085" y="-472"/>
                    <a:pt x="16247" y="-472"/>
                    <a:pt x="13856" y="766"/>
                  </a:cubicBezTo>
                  <a:lnTo>
                    <a:pt x="1188" y="8100"/>
                  </a:lnTo>
                  <a:cubicBezTo>
                    <a:pt x="311" y="8491"/>
                    <a:pt x="-279"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595" name="iṧļîḓê">
              <a:extLst>
                <a:ext uri="{FF2B5EF4-FFF2-40B4-BE49-F238E27FC236}">
                  <a16:creationId xmlns:a16="http://schemas.microsoft.com/office/drawing/2014/main" id="{F4784CA2-8CF3-4641-9E24-D97DC35F0074}"/>
                </a:ext>
              </a:extLst>
            </p:cNvPr>
            <p:cNvSpPr/>
            <p:nvPr/>
          </p:nvSpPr>
          <p:spPr>
            <a:xfrm>
              <a:off x="5237334" y="4640058"/>
              <a:ext cx="106330" cy="61104"/>
            </a:xfrm>
            <a:custGeom>
              <a:avLst/>
              <a:gdLst>
                <a:gd name="connsiteX0" fmla="*/ 1307 w 34932"/>
                <a:gd name="connsiteY0" fmla="*/ 12006 h 20074"/>
                <a:gd name="connsiteX1" fmla="*/ 13499 w 34932"/>
                <a:gd name="connsiteY1" fmla="*/ 19054 h 20074"/>
                <a:gd name="connsiteX2" fmla="*/ 20928 w 34932"/>
                <a:gd name="connsiteY2" fmla="*/ 19054 h 20074"/>
                <a:gd name="connsiteX3" fmla="*/ 33025 w 34932"/>
                <a:gd name="connsiteY3" fmla="*/ 12006 h 20074"/>
                <a:gd name="connsiteX4" fmla="*/ 33025 w 34932"/>
                <a:gd name="connsiteY4" fmla="*/ 7719 h 20074"/>
                <a:gd name="connsiteX5" fmla="*/ 20928 w 34932"/>
                <a:gd name="connsiteY5" fmla="*/ 766 h 20074"/>
                <a:gd name="connsiteX6" fmla="*/ 13499 w 34932"/>
                <a:gd name="connsiteY6" fmla="*/ 766 h 20074"/>
                <a:gd name="connsiteX7" fmla="*/ 1307 w 34932"/>
                <a:gd name="connsiteY7" fmla="*/ 7719 h 20074"/>
                <a:gd name="connsiteX8" fmla="*/ 1307 w 34932"/>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932" h="20074">
                  <a:moveTo>
                    <a:pt x="1307" y="12006"/>
                  </a:moveTo>
                  <a:lnTo>
                    <a:pt x="13499" y="19054"/>
                  </a:lnTo>
                  <a:cubicBezTo>
                    <a:pt x="15842" y="20197"/>
                    <a:pt x="18585" y="20197"/>
                    <a:pt x="20928" y="19054"/>
                  </a:cubicBezTo>
                  <a:lnTo>
                    <a:pt x="33025" y="12006"/>
                  </a:lnTo>
                  <a:cubicBezTo>
                    <a:pt x="35120" y="10863"/>
                    <a:pt x="35120" y="8958"/>
                    <a:pt x="33025" y="7719"/>
                  </a:cubicBezTo>
                  <a:lnTo>
                    <a:pt x="20928" y="766"/>
                  </a:lnTo>
                  <a:cubicBezTo>
                    <a:pt x="18604" y="-472"/>
                    <a:pt x="15823" y="-472"/>
                    <a:pt x="13499" y="766"/>
                  </a:cubicBezTo>
                  <a:lnTo>
                    <a:pt x="1307" y="7719"/>
                  </a:lnTo>
                  <a:cubicBezTo>
                    <a:pt x="-884" y="8958"/>
                    <a:pt x="-884" y="10863"/>
                    <a:pt x="1307" y="12006"/>
                  </a:cubicBezTo>
                  <a:close/>
                </a:path>
              </a:pathLst>
            </a:custGeom>
            <a:solidFill>
              <a:srgbClr val="D1D9E8"/>
            </a:solidFill>
            <a:ln w="9525" cap="flat">
              <a:noFill/>
              <a:prstDash val="solid"/>
              <a:miter/>
            </a:ln>
          </p:spPr>
          <p:txBody>
            <a:bodyPr rtlCol="0" anchor="ctr"/>
            <a:lstStyle/>
            <a:p>
              <a:endParaRPr lang="zh-CN" altLang="en-US"/>
            </a:p>
          </p:txBody>
        </p:sp>
        <p:sp>
          <p:nvSpPr>
            <p:cNvPr id="596" name="ïṣļîḋé">
              <a:extLst>
                <a:ext uri="{FF2B5EF4-FFF2-40B4-BE49-F238E27FC236}">
                  <a16:creationId xmlns:a16="http://schemas.microsoft.com/office/drawing/2014/main" id="{80240EE3-9ECB-4513-B93F-3A4EF117D7F2}"/>
                </a:ext>
              </a:extLst>
            </p:cNvPr>
            <p:cNvSpPr/>
            <p:nvPr/>
          </p:nvSpPr>
          <p:spPr>
            <a:xfrm>
              <a:off x="5235377" y="4670720"/>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4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4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20"/>
                    <a:pt x="35582" y="7953"/>
                    <a:pt x="35668" y="6981"/>
                  </a:cubicBezTo>
                  <a:lnTo>
                    <a:pt x="35668" y="-163"/>
                  </a:lnTo>
                  <a:cubicBezTo>
                    <a:pt x="35601" y="819"/>
                    <a:pt x="35020" y="1685"/>
                    <a:pt x="34144" y="2124"/>
                  </a:cubicBezTo>
                  <a:lnTo>
                    <a:pt x="31763" y="3457"/>
                  </a:lnTo>
                  <a:lnTo>
                    <a:pt x="21476" y="9362"/>
                  </a:lnTo>
                  <a:cubicBezTo>
                    <a:pt x="19085" y="10601"/>
                    <a:pt x="16247" y="10601"/>
                    <a:pt x="13856" y="9362"/>
                  </a:cubicBezTo>
                  <a:lnTo>
                    <a:pt x="3569" y="3457"/>
                  </a:lnTo>
                  <a:lnTo>
                    <a:pt x="1188" y="2124"/>
                  </a:lnTo>
                  <a:cubicBezTo>
                    <a:pt x="311" y="1685"/>
                    <a:pt x="-270" y="819"/>
                    <a:pt x="-336" y="-163"/>
                  </a:cubicBezTo>
                  <a:close/>
                </a:path>
              </a:pathLst>
            </a:custGeom>
            <a:solidFill>
              <a:srgbClr val="BF4200"/>
            </a:solidFill>
            <a:ln w="9525" cap="flat">
              <a:noFill/>
              <a:prstDash val="solid"/>
              <a:miter/>
            </a:ln>
          </p:spPr>
          <p:txBody>
            <a:bodyPr rtlCol="0" anchor="ctr"/>
            <a:lstStyle/>
            <a:p>
              <a:endParaRPr lang="zh-CN" altLang="en-US"/>
            </a:p>
          </p:txBody>
        </p:sp>
        <p:sp>
          <p:nvSpPr>
            <p:cNvPr id="597" name="íṡľiḓê">
              <a:extLst>
                <a:ext uri="{FF2B5EF4-FFF2-40B4-BE49-F238E27FC236}">
                  <a16:creationId xmlns:a16="http://schemas.microsoft.com/office/drawing/2014/main" id="{1541361F-2B11-46BD-93E1-3697F80889A5}"/>
                </a:ext>
              </a:extLst>
            </p:cNvPr>
            <p:cNvSpPr/>
            <p:nvPr/>
          </p:nvSpPr>
          <p:spPr>
            <a:xfrm>
              <a:off x="5312501" y="4683550"/>
              <a:ext cx="109362" cy="63588"/>
            </a:xfrm>
            <a:custGeom>
              <a:avLst/>
              <a:gdLst>
                <a:gd name="connsiteX0" fmla="*/ -336 w 35928"/>
                <a:gd name="connsiteY0" fmla="*/ 10291 h 20890"/>
                <a:gd name="connsiteX1" fmla="*/ 1283 w 35928"/>
                <a:gd name="connsiteY1" fmla="*/ 12482 h 20890"/>
                <a:gd name="connsiteX2" fmla="*/ 3569 w 35928"/>
                <a:gd name="connsiteY2" fmla="*/ 13911 h 20890"/>
                <a:gd name="connsiteX3" fmla="*/ 13856 w 35928"/>
                <a:gd name="connsiteY3" fmla="*/ 19721 h 20890"/>
                <a:gd name="connsiteX4" fmla="*/ 21571 w 35928"/>
                <a:gd name="connsiteY4" fmla="*/ 19721 h 20890"/>
                <a:gd name="connsiteX5" fmla="*/ 31858 w 35928"/>
                <a:gd name="connsiteY5" fmla="*/ 13911 h 20890"/>
                <a:gd name="connsiteX6" fmla="*/ 34144 w 35928"/>
                <a:gd name="connsiteY6" fmla="*/ 12482 h 20890"/>
                <a:gd name="connsiteX7" fmla="*/ 35401 w 35928"/>
                <a:gd name="connsiteY7" fmla="*/ 9358 h 20890"/>
                <a:gd name="connsiteX8" fmla="*/ 34144 w 35928"/>
                <a:gd name="connsiteY8" fmla="*/ 8101 h 20890"/>
                <a:gd name="connsiteX9" fmla="*/ 21571 w 35928"/>
                <a:gd name="connsiteY9" fmla="*/ 766 h 20890"/>
                <a:gd name="connsiteX10" fmla="*/ 13856 w 35928"/>
                <a:gd name="connsiteY10" fmla="*/ 766 h 20890"/>
                <a:gd name="connsiteX11" fmla="*/ 1283 w 35928"/>
                <a:gd name="connsiteY11" fmla="*/ 8101 h 20890"/>
                <a:gd name="connsiteX12" fmla="*/ -336 w 35928"/>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928" h="20890">
                  <a:moveTo>
                    <a:pt x="-336" y="10291"/>
                  </a:moveTo>
                  <a:cubicBezTo>
                    <a:pt x="-279" y="11282"/>
                    <a:pt x="349" y="12139"/>
                    <a:pt x="1283" y="12482"/>
                  </a:cubicBezTo>
                  <a:lnTo>
                    <a:pt x="3569" y="13911"/>
                  </a:lnTo>
                  <a:lnTo>
                    <a:pt x="13856" y="19721"/>
                  </a:lnTo>
                  <a:cubicBezTo>
                    <a:pt x="16256" y="21064"/>
                    <a:pt x="19171" y="21064"/>
                    <a:pt x="21571" y="19721"/>
                  </a:cubicBezTo>
                  <a:lnTo>
                    <a:pt x="31858" y="13911"/>
                  </a:lnTo>
                  <a:lnTo>
                    <a:pt x="34144" y="12482"/>
                  </a:lnTo>
                  <a:cubicBezTo>
                    <a:pt x="35354" y="11967"/>
                    <a:pt x="35916" y="10567"/>
                    <a:pt x="35401" y="9358"/>
                  </a:cubicBezTo>
                  <a:cubicBezTo>
                    <a:pt x="35163" y="8796"/>
                    <a:pt x="34706" y="8339"/>
                    <a:pt x="34144" y="8101"/>
                  </a:cubicBezTo>
                  <a:lnTo>
                    <a:pt x="21571" y="766"/>
                  </a:lnTo>
                  <a:cubicBezTo>
                    <a:pt x="19152" y="-472"/>
                    <a:pt x="16275" y="-472"/>
                    <a:pt x="13856" y="766"/>
                  </a:cubicBezTo>
                  <a:lnTo>
                    <a:pt x="1283" y="8101"/>
                  </a:lnTo>
                  <a:cubicBezTo>
                    <a:pt x="349" y="8443"/>
                    <a:pt x="-279" y="9300"/>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598" name="iŝḷíḑe">
              <a:extLst>
                <a:ext uri="{FF2B5EF4-FFF2-40B4-BE49-F238E27FC236}">
                  <a16:creationId xmlns:a16="http://schemas.microsoft.com/office/drawing/2014/main" id="{77DE56C7-E302-4358-99B1-148BFEFAE4A2}"/>
                </a:ext>
              </a:extLst>
            </p:cNvPr>
            <p:cNvSpPr/>
            <p:nvPr/>
          </p:nvSpPr>
          <p:spPr>
            <a:xfrm>
              <a:off x="5314385" y="4684710"/>
              <a:ext cx="105898" cy="61101"/>
            </a:xfrm>
            <a:custGeom>
              <a:avLst/>
              <a:gdLst>
                <a:gd name="connsiteX0" fmla="*/ 1235 w 34790"/>
                <a:gd name="connsiteY0" fmla="*/ 12006 h 20073"/>
                <a:gd name="connsiteX1" fmla="*/ 13332 w 34790"/>
                <a:gd name="connsiteY1" fmla="*/ 19054 h 20073"/>
                <a:gd name="connsiteX2" fmla="*/ 20762 w 34790"/>
                <a:gd name="connsiteY2" fmla="*/ 19054 h 20073"/>
                <a:gd name="connsiteX3" fmla="*/ 32954 w 34790"/>
                <a:gd name="connsiteY3" fmla="*/ 12006 h 20073"/>
                <a:gd name="connsiteX4" fmla="*/ 32954 w 34790"/>
                <a:gd name="connsiteY4" fmla="*/ 7719 h 20073"/>
                <a:gd name="connsiteX5" fmla="*/ 20762 w 34790"/>
                <a:gd name="connsiteY5" fmla="*/ 766 h 20073"/>
                <a:gd name="connsiteX6" fmla="*/ 13332 w 34790"/>
                <a:gd name="connsiteY6" fmla="*/ 766 h 20073"/>
                <a:gd name="connsiteX7" fmla="*/ 1235 w 34790"/>
                <a:gd name="connsiteY7" fmla="*/ 7719 h 20073"/>
                <a:gd name="connsiteX8" fmla="*/ 1235 w 34790"/>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3">
                  <a:moveTo>
                    <a:pt x="1235" y="12006"/>
                  </a:moveTo>
                  <a:lnTo>
                    <a:pt x="13332" y="19054"/>
                  </a:lnTo>
                  <a:cubicBezTo>
                    <a:pt x="15675" y="20197"/>
                    <a:pt x="18419" y="20197"/>
                    <a:pt x="20762" y="19054"/>
                  </a:cubicBezTo>
                  <a:lnTo>
                    <a:pt x="32954" y="12006"/>
                  </a:lnTo>
                  <a:cubicBezTo>
                    <a:pt x="34954" y="10863"/>
                    <a:pt x="34954" y="8957"/>
                    <a:pt x="32954" y="7719"/>
                  </a:cubicBezTo>
                  <a:lnTo>
                    <a:pt x="20762" y="766"/>
                  </a:lnTo>
                  <a:cubicBezTo>
                    <a:pt x="18437" y="-472"/>
                    <a:pt x="15656" y="-472"/>
                    <a:pt x="13332" y="766"/>
                  </a:cubicBezTo>
                  <a:lnTo>
                    <a:pt x="1235" y="7719"/>
                  </a:lnTo>
                  <a:cubicBezTo>
                    <a:pt x="-860" y="8957"/>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599" name="ï$ḻîďê">
              <a:extLst>
                <a:ext uri="{FF2B5EF4-FFF2-40B4-BE49-F238E27FC236}">
                  <a16:creationId xmlns:a16="http://schemas.microsoft.com/office/drawing/2014/main" id="{B0055F5A-AF39-4B01-A70F-99ACB4B041D6}"/>
                </a:ext>
              </a:extLst>
            </p:cNvPr>
            <p:cNvSpPr/>
            <p:nvPr/>
          </p:nvSpPr>
          <p:spPr>
            <a:xfrm>
              <a:off x="5312501" y="4715368"/>
              <a:ext cx="109594" cy="53564"/>
            </a:xfrm>
            <a:custGeom>
              <a:avLst/>
              <a:gdLst>
                <a:gd name="connsiteX0" fmla="*/ -336 w 36004"/>
                <a:gd name="connsiteY0" fmla="*/ -163 h 17597"/>
                <a:gd name="connsiteX1" fmla="*/ -336 w 36004"/>
                <a:gd name="connsiteY1" fmla="*/ 7076 h 17597"/>
                <a:gd name="connsiteX2" fmla="*/ 1283 w 36004"/>
                <a:gd name="connsiteY2" fmla="*/ 9267 h 17597"/>
                <a:gd name="connsiteX3" fmla="*/ 13856 w 36004"/>
                <a:gd name="connsiteY3" fmla="*/ 16506 h 17597"/>
                <a:gd name="connsiteX4" fmla="*/ 21571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028 h 17597"/>
                <a:gd name="connsiteX9" fmla="*/ 31858 w 36004"/>
                <a:gd name="connsiteY9" fmla="*/ 3457 h 17597"/>
                <a:gd name="connsiteX10" fmla="*/ 21571 w 36004"/>
                <a:gd name="connsiteY10" fmla="*/ 9267 h 17597"/>
                <a:gd name="connsiteX11" fmla="*/ 13856 w 36004"/>
                <a:gd name="connsiteY11" fmla="*/ 9267 h 17597"/>
                <a:gd name="connsiteX12" fmla="*/ 3569 w 36004"/>
                <a:gd name="connsiteY12" fmla="*/ 3457 h 17597"/>
                <a:gd name="connsiteX13" fmla="*/ 1283 w 36004"/>
                <a:gd name="connsiteY13" fmla="*/ 2028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48"/>
                    <a:pt x="387" y="8886"/>
                    <a:pt x="1283" y="9267"/>
                  </a:cubicBezTo>
                  <a:lnTo>
                    <a:pt x="13856" y="16506"/>
                  </a:lnTo>
                  <a:cubicBezTo>
                    <a:pt x="16275" y="17744"/>
                    <a:pt x="19152" y="17744"/>
                    <a:pt x="21571" y="16506"/>
                  </a:cubicBezTo>
                  <a:lnTo>
                    <a:pt x="34144" y="9267"/>
                  </a:lnTo>
                  <a:cubicBezTo>
                    <a:pt x="35011" y="8819"/>
                    <a:pt x="35582" y="7953"/>
                    <a:pt x="35668" y="6981"/>
                  </a:cubicBezTo>
                  <a:lnTo>
                    <a:pt x="35668" y="-163"/>
                  </a:lnTo>
                  <a:cubicBezTo>
                    <a:pt x="35630" y="800"/>
                    <a:pt x="35039" y="1657"/>
                    <a:pt x="34144" y="2028"/>
                  </a:cubicBezTo>
                  <a:lnTo>
                    <a:pt x="31858" y="3457"/>
                  </a:lnTo>
                  <a:lnTo>
                    <a:pt x="21571" y="9267"/>
                  </a:lnTo>
                  <a:cubicBezTo>
                    <a:pt x="19171" y="10610"/>
                    <a:pt x="16256" y="10610"/>
                    <a:pt x="13856" y="9267"/>
                  </a:cubicBezTo>
                  <a:lnTo>
                    <a:pt x="3569" y="3457"/>
                  </a:lnTo>
                  <a:lnTo>
                    <a:pt x="1283" y="2028"/>
                  </a:lnTo>
                  <a:cubicBezTo>
                    <a:pt x="349" y="1685"/>
                    <a:pt x="-279"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00" name="iṣlîḋê">
              <a:extLst>
                <a:ext uri="{FF2B5EF4-FFF2-40B4-BE49-F238E27FC236}">
                  <a16:creationId xmlns:a16="http://schemas.microsoft.com/office/drawing/2014/main" id="{F4B55C51-E311-4224-B2B8-D9AB67885FC6}"/>
                </a:ext>
              </a:extLst>
            </p:cNvPr>
            <p:cNvSpPr/>
            <p:nvPr/>
          </p:nvSpPr>
          <p:spPr>
            <a:xfrm>
              <a:off x="5389911" y="4728198"/>
              <a:ext cx="109594" cy="63588"/>
            </a:xfrm>
            <a:custGeom>
              <a:avLst/>
              <a:gdLst>
                <a:gd name="connsiteX0" fmla="*/ -336 w 36004"/>
                <a:gd name="connsiteY0" fmla="*/ 10291 h 20890"/>
                <a:gd name="connsiteX1" fmla="*/ 1188 w 36004"/>
                <a:gd name="connsiteY1" fmla="*/ 12482 h 20890"/>
                <a:gd name="connsiteX2" fmla="*/ 3569 w 36004"/>
                <a:gd name="connsiteY2" fmla="*/ 13911 h 20890"/>
                <a:gd name="connsiteX3" fmla="*/ 13856 w 36004"/>
                <a:gd name="connsiteY3" fmla="*/ 19721 h 20890"/>
                <a:gd name="connsiteX4" fmla="*/ 21476 w 36004"/>
                <a:gd name="connsiteY4" fmla="*/ 19721 h 20890"/>
                <a:gd name="connsiteX5" fmla="*/ 31763 w 36004"/>
                <a:gd name="connsiteY5" fmla="*/ 13911 h 20890"/>
                <a:gd name="connsiteX6" fmla="*/ 34144 w 36004"/>
                <a:gd name="connsiteY6" fmla="*/ 12482 h 20890"/>
                <a:gd name="connsiteX7" fmla="*/ 35668 w 36004"/>
                <a:gd name="connsiteY7" fmla="*/ 10291 h 20890"/>
                <a:gd name="connsiteX8" fmla="*/ 34144 w 36004"/>
                <a:gd name="connsiteY8" fmla="*/ 8005 h 20890"/>
                <a:gd name="connsiteX9" fmla="*/ 21476 w 36004"/>
                <a:gd name="connsiteY9" fmla="*/ 766 h 20890"/>
                <a:gd name="connsiteX10" fmla="*/ 13856 w 36004"/>
                <a:gd name="connsiteY10" fmla="*/ 766 h 20890"/>
                <a:gd name="connsiteX11" fmla="*/ 1188 w 36004"/>
                <a:gd name="connsiteY11" fmla="*/ 8005 h 20890"/>
                <a:gd name="connsiteX12" fmla="*/ -336 w 36004"/>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291"/>
                  </a:moveTo>
                  <a:cubicBezTo>
                    <a:pt x="-279" y="11244"/>
                    <a:pt x="311" y="12091"/>
                    <a:pt x="1188" y="12482"/>
                  </a:cubicBezTo>
                  <a:lnTo>
                    <a:pt x="3569" y="13911"/>
                  </a:lnTo>
                  <a:lnTo>
                    <a:pt x="13856" y="19721"/>
                  </a:lnTo>
                  <a:cubicBezTo>
                    <a:pt x="16218" y="21064"/>
                    <a:pt x="19114" y="21064"/>
                    <a:pt x="21476" y="19721"/>
                  </a:cubicBezTo>
                  <a:lnTo>
                    <a:pt x="31763" y="13911"/>
                  </a:lnTo>
                  <a:lnTo>
                    <a:pt x="34144" y="12482"/>
                  </a:lnTo>
                  <a:cubicBezTo>
                    <a:pt x="35021" y="12091"/>
                    <a:pt x="35611" y="11253"/>
                    <a:pt x="35668" y="10291"/>
                  </a:cubicBezTo>
                  <a:cubicBezTo>
                    <a:pt x="35602" y="9310"/>
                    <a:pt x="35021" y="8443"/>
                    <a:pt x="34144" y="8005"/>
                  </a:cubicBezTo>
                  <a:lnTo>
                    <a:pt x="21476" y="766"/>
                  </a:lnTo>
                  <a:cubicBezTo>
                    <a:pt x="19085" y="-472"/>
                    <a:pt x="16247" y="-472"/>
                    <a:pt x="13856" y="766"/>
                  </a:cubicBezTo>
                  <a:lnTo>
                    <a:pt x="1188" y="8005"/>
                  </a:lnTo>
                  <a:cubicBezTo>
                    <a:pt x="311" y="8443"/>
                    <a:pt x="-270" y="9310"/>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601" name="îšļiḍê">
              <a:extLst>
                <a:ext uri="{FF2B5EF4-FFF2-40B4-BE49-F238E27FC236}">
                  <a16:creationId xmlns:a16="http://schemas.microsoft.com/office/drawing/2014/main" id="{73C8149B-97EE-4EFF-82C8-04132849EF3A}"/>
                </a:ext>
              </a:extLst>
            </p:cNvPr>
            <p:cNvSpPr/>
            <p:nvPr/>
          </p:nvSpPr>
          <p:spPr>
            <a:xfrm>
              <a:off x="5391725" y="4729358"/>
              <a:ext cx="105895" cy="61101"/>
            </a:xfrm>
            <a:custGeom>
              <a:avLst/>
              <a:gdLst>
                <a:gd name="connsiteX0" fmla="*/ 1164 w 34789"/>
                <a:gd name="connsiteY0" fmla="*/ 12006 h 20073"/>
                <a:gd name="connsiteX1" fmla="*/ 13356 w 34789"/>
                <a:gd name="connsiteY1" fmla="*/ 19054 h 20073"/>
                <a:gd name="connsiteX2" fmla="*/ 20785 w 34789"/>
                <a:gd name="connsiteY2" fmla="*/ 19054 h 20073"/>
                <a:gd name="connsiteX3" fmla="*/ 32882 w 34789"/>
                <a:gd name="connsiteY3" fmla="*/ 12006 h 20073"/>
                <a:gd name="connsiteX4" fmla="*/ 32882 w 34789"/>
                <a:gd name="connsiteY4" fmla="*/ 7719 h 20073"/>
                <a:gd name="connsiteX5" fmla="*/ 20785 w 34789"/>
                <a:gd name="connsiteY5" fmla="*/ 766 h 20073"/>
                <a:gd name="connsiteX6" fmla="*/ 13356 w 34789"/>
                <a:gd name="connsiteY6" fmla="*/ 766 h 20073"/>
                <a:gd name="connsiteX7" fmla="*/ 1164 w 34789"/>
                <a:gd name="connsiteY7" fmla="*/ 7719 h 20073"/>
                <a:gd name="connsiteX8" fmla="*/ 1164 w 34789"/>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89" h="20073">
                  <a:moveTo>
                    <a:pt x="1164" y="12006"/>
                  </a:moveTo>
                  <a:lnTo>
                    <a:pt x="13356" y="19054"/>
                  </a:lnTo>
                  <a:cubicBezTo>
                    <a:pt x="15699" y="20197"/>
                    <a:pt x="18442" y="20197"/>
                    <a:pt x="20785" y="19054"/>
                  </a:cubicBezTo>
                  <a:lnTo>
                    <a:pt x="32882" y="12006"/>
                  </a:lnTo>
                  <a:cubicBezTo>
                    <a:pt x="34977" y="10863"/>
                    <a:pt x="34977" y="8957"/>
                    <a:pt x="32882" y="7719"/>
                  </a:cubicBezTo>
                  <a:lnTo>
                    <a:pt x="20785" y="766"/>
                  </a:lnTo>
                  <a:cubicBezTo>
                    <a:pt x="18461" y="-472"/>
                    <a:pt x="15680" y="-472"/>
                    <a:pt x="13356" y="766"/>
                  </a:cubicBezTo>
                  <a:lnTo>
                    <a:pt x="1164" y="7719"/>
                  </a:lnTo>
                  <a:cubicBezTo>
                    <a:pt x="-836" y="8957"/>
                    <a:pt x="-836" y="10863"/>
                    <a:pt x="1164" y="12006"/>
                  </a:cubicBezTo>
                  <a:close/>
                </a:path>
              </a:pathLst>
            </a:custGeom>
            <a:solidFill>
              <a:srgbClr val="D1D9E8"/>
            </a:solidFill>
            <a:ln w="9525" cap="flat">
              <a:noFill/>
              <a:prstDash val="solid"/>
              <a:miter/>
            </a:ln>
          </p:spPr>
          <p:txBody>
            <a:bodyPr rtlCol="0" anchor="ctr"/>
            <a:lstStyle/>
            <a:p>
              <a:endParaRPr lang="zh-CN" altLang="en-US"/>
            </a:p>
          </p:txBody>
        </p:sp>
        <p:sp>
          <p:nvSpPr>
            <p:cNvPr id="602" name="íşlíḓe">
              <a:extLst>
                <a:ext uri="{FF2B5EF4-FFF2-40B4-BE49-F238E27FC236}">
                  <a16:creationId xmlns:a16="http://schemas.microsoft.com/office/drawing/2014/main" id="{385FD81E-1524-4918-9FAD-69C91E06C98F}"/>
                </a:ext>
              </a:extLst>
            </p:cNvPr>
            <p:cNvSpPr/>
            <p:nvPr/>
          </p:nvSpPr>
          <p:spPr>
            <a:xfrm>
              <a:off x="5389911" y="4760019"/>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028 h 17597"/>
                <a:gd name="connsiteX9" fmla="*/ 31763 w 36004"/>
                <a:gd name="connsiteY9" fmla="*/ 3457 h 17597"/>
                <a:gd name="connsiteX10" fmla="*/ 21476 w 36004"/>
                <a:gd name="connsiteY10" fmla="*/ 9267 h 17597"/>
                <a:gd name="connsiteX11" fmla="*/ 13856 w 36004"/>
                <a:gd name="connsiteY11" fmla="*/ 9267 h 17597"/>
                <a:gd name="connsiteX12" fmla="*/ 3569 w 36004"/>
                <a:gd name="connsiteY12" fmla="*/ 3457 h 17597"/>
                <a:gd name="connsiteX13" fmla="*/ 1188 w 36004"/>
                <a:gd name="connsiteY13" fmla="*/ 2028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2" y="7953"/>
                    <a:pt x="35668" y="6981"/>
                  </a:cubicBezTo>
                  <a:lnTo>
                    <a:pt x="35668" y="-163"/>
                  </a:lnTo>
                  <a:cubicBezTo>
                    <a:pt x="35611" y="790"/>
                    <a:pt x="35021" y="1638"/>
                    <a:pt x="34144" y="2028"/>
                  </a:cubicBezTo>
                  <a:lnTo>
                    <a:pt x="31763" y="3457"/>
                  </a:lnTo>
                  <a:lnTo>
                    <a:pt x="21476" y="9267"/>
                  </a:lnTo>
                  <a:cubicBezTo>
                    <a:pt x="19114" y="10610"/>
                    <a:pt x="16218" y="10610"/>
                    <a:pt x="13856" y="9267"/>
                  </a:cubicBezTo>
                  <a:lnTo>
                    <a:pt x="3569" y="3457"/>
                  </a:lnTo>
                  <a:lnTo>
                    <a:pt x="1188" y="2028"/>
                  </a:lnTo>
                  <a:cubicBezTo>
                    <a:pt x="311" y="1638"/>
                    <a:pt x="-279" y="799"/>
                    <a:pt x="-336" y="-163"/>
                  </a:cubicBezTo>
                  <a:close/>
                </a:path>
              </a:pathLst>
            </a:custGeom>
            <a:solidFill>
              <a:srgbClr val="BF4200"/>
            </a:solidFill>
            <a:ln w="9525" cap="flat">
              <a:noFill/>
              <a:prstDash val="solid"/>
              <a:miter/>
            </a:ln>
          </p:spPr>
          <p:txBody>
            <a:bodyPr rtlCol="0" anchor="ctr"/>
            <a:lstStyle/>
            <a:p>
              <a:endParaRPr lang="zh-CN" altLang="en-US"/>
            </a:p>
          </p:txBody>
        </p:sp>
        <p:sp>
          <p:nvSpPr>
            <p:cNvPr id="603" name="ïṧľïḋè">
              <a:extLst>
                <a:ext uri="{FF2B5EF4-FFF2-40B4-BE49-F238E27FC236}">
                  <a16:creationId xmlns:a16="http://schemas.microsoft.com/office/drawing/2014/main" id="{2CA55B2C-5953-43DF-B3BE-2FE9239D1699}"/>
                </a:ext>
              </a:extLst>
            </p:cNvPr>
            <p:cNvSpPr/>
            <p:nvPr/>
          </p:nvSpPr>
          <p:spPr>
            <a:xfrm>
              <a:off x="5467035" y="4772849"/>
              <a:ext cx="109883" cy="63588"/>
            </a:xfrm>
            <a:custGeom>
              <a:avLst/>
              <a:gdLst>
                <a:gd name="connsiteX0" fmla="*/ -336 w 36099"/>
                <a:gd name="connsiteY0" fmla="*/ 10196 h 20890"/>
                <a:gd name="connsiteX1" fmla="*/ 1283 w 36099"/>
                <a:gd name="connsiteY1" fmla="*/ 12482 h 20890"/>
                <a:gd name="connsiteX2" fmla="*/ 3569 w 36099"/>
                <a:gd name="connsiteY2" fmla="*/ 13815 h 20890"/>
                <a:gd name="connsiteX3" fmla="*/ 13856 w 36099"/>
                <a:gd name="connsiteY3" fmla="*/ 19721 h 20890"/>
                <a:gd name="connsiteX4" fmla="*/ 21571 w 36099"/>
                <a:gd name="connsiteY4" fmla="*/ 19721 h 20890"/>
                <a:gd name="connsiteX5" fmla="*/ 31858 w 36099"/>
                <a:gd name="connsiteY5" fmla="*/ 13815 h 20890"/>
                <a:gd name="connsiteX6" fmla="*/ 34144 w 36099"/>
                <a:gd name="connsiteY6" fmla="*/ 12482 h 20890"/>
                <a:gd name="connsiteX7" fmla="*/ 35764 w 36099"/>
                <a:gd name="connsiteY7" fmla="*/ 10196 h 20890"/>
                <a:gd name="connsiteX8" fmla="*/ 34144 w 36099"/>
                <a:gd name="connsiteY8" fmla="*/ 8005 h 20890"/>
                <a:gd name="connsiteX9" fmla="*/ 21571 w 36099"/>
                <a:gd name="connsiteY9" fmla="*/ 766 h 20890"/>
                <a:gd name="connsiteX10" fmla="*/ 13856 w 36099"/>
                <a:gd name="connsiteY10" fmla="*/ 766 h 20890"/>
                <a:gd name="connsiteX11" fmla="*/ 1283 w 36099"/>
                <a:gd name="connsiteY11" fmla="*/ 8005 h 20890"/>
                <a:gd name="connsiteX12" fmla="*/ -336 w 36099"/>
                <a:gd name="connsiteY12" fmla="*/ 10196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99" h="20890">
                  <a:moveTo>
                    <a:pt x="-336" y="10196"/>
                  </a:moveTo>
                  <a:cubicBezTo>
                    <a:pt x="-251" y="11196"/>
                    <a:pt x="369" y="12072"/>
                    <a:pt x="1283" y="12482"/>
                  </a:cubicBezTo>
                  <a:lnTo>
                    <a:pt x="3569" y="13815"/>
                  </a:lnTo>
                  <a:lnTo>
                    <a:pt x="13856" y="19721"/>
                  </a:lnTo>
                  <a:cubicBezTo>
                    <a:pt x="16256" y="21064"/>
                    <a:pt x="19171" y="21064"/>
                    <a:pt x="21571" y="19721"/>
                  </a:cubicBezTo>
                  <a:lnTo>
                    <a:pt x="31858" y="13815"/>
                  </a:lnTo>
                  <a:lnTo>
                    <a:pt x="34144" y="12482"/>
                  </a:lnTo>
                  <a:cubicBezTo>
                    <a:pt x="35059" y="12072"/>
                    <a:pt x="35678" y="11196"/>
                    <a:pt x="35764" y="10196"/>
                  </a:cubicBezTo>
                  <a:cubicBezTo>
                    <a:pt x="35630" y="9243"/>
                    <a:pt x="35021" y="8414"/>
                    <a:pt x="34144" y="8005"/>
                  </a:cubicBezTo>
                  <a:lnTo>
                    <a:pt x="21571" y="766"/>
                  </a:lnTo>
                  <a:cubicBezTo>
                    <a:pt x="19152" y="-472"/>
                    <a:pt x="16275" y="-472"/>
                    <a:pt x="13856" y="766"/>
                  </a:cubicBezTo>
                  <a:lnTo>
                    <a:pt x="1283" y="8005"/>
                  </a:lnTo>
                  <a:cubicBezTo>
                    <a:pt x="407" y="8414"/>
                    <a:pt x="-203" y="924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604" name="ïŝlíḑé">
              <a:extLst>
                <a:ext uri="{FF2B5EF4-FFF2-40B4-BE49-F238E27FC236}">
                  <a16:creationId xmlns:a16="http://schemas.microsoft.com/office/drawing/2014/main" id="{DAEEEF72-7BDB-4737-B2D4-07055EB0FFE2}"/>
                </a:ext>
              </a:extLst>
            </p:cNvPr>
            <p:cNvSpPr/>
            <p:nvPr/>
          </p:nvSpPr>
          <p:spPr>
            <a:xfrm>
              <a:off x="5469281" y="4774009"/>
              <a:ext cx="106114" cy="61101"/>
            </a:xfrm>
            <a:custGeom>
              <a:avLst/>
              <a:gdLst>
                <a:gd name="connsiteX0" fmla="*/ 1307 w 34861"/>
                <a:gd name="connsiteY0" fmla="*/ 12006 h 20073"/>
                <a:gd name="connsiteX1" fmla="*/ 13403 w 34861"/>
                <a:gd name="connsiteY1" fmla="*/ 19054 h 20073"/>
                <a:gd name="connsiteX2" fmla="*/ 20833 w 34861"/>
                <a:gd name="connsiteY2" fmla="*/ 19054 h 20073"/>
                <a:gd name="connsiteX3" fmla="*/ 33025 w 34861"/>
                <a:gd name="connsiteY3" fmla="*/ 12006 h 20073"/>
                <a:gd name="connsiteX4" fmla="*/ 33025 w 34861"/>
                <a:gd name="connsiteY4" fmla="*/ 7719 h 20073"/>
                <a:gd name="connsiteX5" fmla="*/ 20833 w 34861"/>
                <a:gd name="connsiteY5" fmla="*/ 766 h 20073"/>
                <a:gd name="connsiteX6" fmla="*/ 13403 w 34861"/>
                <a:gd name="connsiteY6" fmla="*/ 766 h 20073"/>
                <a:gd name="connsiteX7" fmla="*/ 1307 w 34861"/>
                <a:gd name="connsiteY7" fmla="*/ 7719 h 20073"/>
                <a:gd name="connsiteX8" fmla="*/ 1307 w 34861"/>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861" h="20073">
                  <a:moveTo>
                    <a:pt x="1307" y="12006"/>
                  </a:moveTo>
                  <a:lnTo>
                    <a:pt x="13403" y="19054"/>
                  </a:lnTo>
                  <a:cubicBezTo>
                    <a:pt x="15747" y="20197"/>
                    <a:pt x="18490" y="20197"/>
                    <a:pt x="20833" y="19054"/>
                  </a:cubicBezTo>
                  <a:lnTo>
                    <a:pt x="33025" y="12006"/>
                  </a:lnTo>
                  <a:cubicBezTo>
                    <a:pt x="35025" y="10862"/>
                    <a:pt x="35025" y="8958"/>
                    <a:pt x="33025" y="7719"/>
                  </a:cubicBezTo>
                  <a:lnTo>
                    <a:pt x="20833" y="766"/>
                  </a:lnTo>
                  <a:cubicBezTo>
                    <a:pt x="18509" y="-472"/>
                    <a:pt x="15728" y="-472"/>
                    <a:pt x="13403" y="766"/>
                  </a:cubicBezTo>
                  <a:lnTo>
                    <a:pt x="1307" y="7719"/>
                  </a:lnTo>
                  <a:cubicBezTo>
                    <a:pt x="-884" y="8958"/>
                    <a:pt x="-884" y="10862"/>
                    <a:pt x="1307" y="12006"/>
                  </a:cubicBezTo>
                  <a:close/>
                </a:path>
              </a:pathLst>
            </a:custGeom>
            <a:solidFill>
              <a:srgbClr val="D1D9E8"/>
            </a:solidFill>
            <a:ln w="9525" cap="flat">
              <a:noFill/>
              <a:prstDash val="solid"/>
              <a:miter/>
            </a:ln>
          </p:spPr>
          <p:txBody>
            <a:bodyPr rtlCol="0" anchor="ctr"/>
            <a:lstStyle/>
            <a:p>
              <a:endParaRPr lang="zh-CN" altLang="en-US"/>
            </a:p>
          </p:txBody>
        </p:sp>
        <p:sp>
          <p:nvSpPr>
            <p:cNvPr id="605" name="ïśḷïḑé">
              <a:extLst>
                <a:ext uri="{FF2B5EF4-FFF2-40B4-BE49-F238E27FC236}">
                  <a16:creationId xmlns:a16="http://schemas.microsoft.com/office/drawing/2014/main" id="{DCA095AD-F522-4457-8E0D-1A943A8DDC7F}"/>
                </a:ext>
              </a:extLst>
            </p:cNvPr>
            <p:cNvSpPr/>
            <p:nvPr/>
          </p:nvSpPr>
          <p:spPr>
            <a:xfrm>
              <a:off x="5467035" y="4804378"/>
              <a:ext cx="109883" cy="54383"/>
            </a:xfrm>
            <a:custGeom>
              <a:avLst/>
              <a:gdLst>
                <a:gd name="connsiteX0" fmla="*/ -336 w 36099"/>
                <a:gd name="connsiteY0" fmla="*/ -163 h 17866"/>
                <a:gd name="connsiteX1" fmla="*/ -336 w 36099"/>
                <a:gd name="connsiteY1" fmla="*/ 7267 h 17866"/>
                <a:gd name="connsiteX2" fmla="*/ 1283 w 36099"/>
                <a:gd name="connsiteY2" fmla="*/ 9553 h 17866"/>
                <a:gd name="connsiteX3" fmla="*/ 13856 w 36099"/>
                <a:gd name="connsiteY3" fmla="*/ 16697 h 17866"/>
                <a:gd name="connsiteX4" fmla="*/ 21571 w 36099"/>
                <a:gd name="connsiteY4" fmla="*/ 16697 h 17866"/>
                <a:gd name="connsiteX5" fmla="*/ 34144 w 36099"/>
                <a:gd name="connsiteY5" fmla="*/ 9553 h 17866"/>
                <a:gd name="connsiteX6" fmla="*/ 35764 w 36099"/>
                <a:gd name="connsiteY6" fmla="*/ 7267 h 17866"/>
                <a:gd name="connsiteX7" fmla="*/ 35764 w 36099"/>
                <a:gd name="connsiteY7" fmla="*/ 28 h 17866"/>
                <a:gd name="connsiteX8" fmla="*/ 34144 w 36099"/>
                <a:gd name="connsiteY8" fmla="*/ 2314 h 17866"/>
                <a:gd name="connsiteX9" fmla="*/ 31858 w 36099"/>
                <a:gd name="connsiteY9" fmla="*/ 3647 h 17866"/>
                <a:gd name="connsiteX10" fmla="*/ 21571 w 36099"/>
                <a:gd name="connsiteY10" fmla="*/ 9553 h 17866"/>
                <a:gd name="connsiteX11" fmla="*/ 13856 w 36099"/>
                <a:gd name="connsiteY11" fmla="*/ 9553 h 17866"/>
                <a:gd name="connsiteX12" fmla="*/ 3569 w 36099"/>
                <a:gd name="connsiteY12" fmla="*/ 3647 h 17866"/>
                <a:gd name="connsiteX13" fmla="*/ 1283 w 36099"/>
                <a:gd name="connsiteY13" fmla="*/ 2314 h 17866"/>
                <a:gd name="connsiteX14" fmla="*/ -336 w 36099"/>
                <a:gd name="connsiteY14" fmla="*/ -163 h 178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866">
                  <a:moveTo>
                    <a:pt x="-336" y="-163"/>
                  </a:moveTo>
                  <a:lnTo>
                    <a:pt x="-336" y="7267"/>
                  </a:lnTo>
                  <a:cubicBezTo>
                    <a:pt x="-232" y="8257"/>
                    <a:pt x="378" y="9124"/>
                    <a:pt x="1283" y="9553"/>
                  </a:cubicBezTo>
                  <a:lnTo>
                    <a:pt x="13856" y="16697"/>
                  </a:lnTo>
                  <a:cubicBezTo>
                    <a:pt x="16256" y="18040"/>
                    <a:pt x="19171" y="18040"/>
                    <a:pt x="21571" y="16697"/>
                  </a:cubicBezTo>
                  <a:lnTo>
                    <a:pt x="34144" y="9553"/>
                  </a:lnTo>
                  <a:cubicBezTo>
                    <a:pt x="35030" y="9115"/>
                    <a:pt x="35640" y="8248"/>
                    <a:pt x="35764" y="7267"/>
                  </a:cubicBezTo>
                  <a:lnTo>
                    <a:pt x="35764" y="28"/>
                  </a:lnTo>
                  <a:cubicBezTo>
                    <a:pt x="35678" y="1028"/>
                    <a:pt x="35059" y="1904"/>
                    <a:pt x="34144" y="2314"/>
                  </a:cubicBezTo>
                  <a:lnTo>
                    <a:pt x="31858" y="3647"/>
                  </a:lnTo>
                  <a:lnTo>
                    <a:pt x="21571" y="9553"/>
                  </a:lnTo>
                  <a:cubicBezTo>
                    <a:pt x="19171" y="10896"/>
                    <a:pt x="16256" y="10896"/>
                    <a:pt x="13856" y="9553"/>
                  </a:cubicBezTo>
                  <a:lnTo>
                    <a:pt x="3569" y="3647"/>
                  </a:lnTo>
                  <a:lnTo>
                    <a:pt x="1283" y="2314"/>
                  </a:lnTo>
                  <a:cubicBezTo>
                    <a:pt x="311" y="1876"/>
                    <a:pt x="-317" y="904"/>
                    <a:pt x="-336" y="-163"/>
                  </a:cubicBezTo>
                  <a:close/>
                </a:path>
              </a:pathLst>
            </a:custGeom>
            <a:solidFill>
              <a:srgbClr val="BF4200"/>
            </a:solidFill>
            <a:ln w="9525" cap="flat">
              <a:noFill/>
              <a:prstDash val="solid"/>
              <a:miter/>
            </a:ln>
          </p:spPr>
          <p:txBody>
            <a:bodyPr rtlCol="0" anchor="ctr"/>
            <a:lstStyle/>
            <a:p>
              <a:endParaRPr lang="zh-CN" altLang="en-US"/>
            </a:p>
          </p:txBody>
        </p:sp>
        <p:sp>
          <p:nvSpPr>
            <p:cNvPr id="606" name="íš1îḍê">
              <a:extLst>
                <a:ext uri="{FF2B5EF4-FFF2-40B4-BE49-F238E27FC236}">
                  <a16:creationId xmlns:a16="http://schemas.microsoft.com/office/drawing/2014/main" id="{F44EB2E2-10A2-408B-9946-D6CBC333992E}"/>
                </a:ext>
              </a:extLst>
            </p:cNvPr>
            <p:cNvSpPr/>
            <p:nvPr/>
          </p:nvSpPr>
          <p:spPr>
            <a:xfrm>
              <a:off x="5544448" y="4817498"/>
              <a:ext cx="108580" cy="63588"/>
            </a:xfrm>
            <a:custGeom>
              <a:avLst/>
              <a:gdLst>
                <a:gd name="connsiteX0" fmla="*/ -336 w 35671"/>
                <a:gd name="connsiteY0" fmla="*/ 10196 h 20890"/>
                <a:gd name="connsiteX1" fmla="*/ 1187 w 35671"/>
                <a:gd name="connsiteY1" fmla="*/ 12482 h 20890"/>
                <a:gd name="connsiteX2" fmla="*/ 3569 w 35671"/>
                <a:gd name="connsiteY2" fmla="*/ 13815 h 20890"/>
                <a:gd name="connsiteX3" fmla="*/ 13856 w 35671"/>
                <a:gd name="connsiteY3" fmla="*/ 19721 h 20890"/>
                <a:gd name="connsiteX4" fmla="*/ 21476 w 35671"/>
                <a:gd name="connsiteY4" fmla="*/ 19721 h 20890"/>
                <a:gd name="connsiteX5" fmla="*/ 31763 w 35671"/>
                <a:gd name="connsiteY5" fmla="*/ 13815 h 20890"/>
                <a:gd name="connsiteX6" fmla="*/ 33763 w 35671"/>
                <a:gd name="connsiteY6" fmla="*/ 12482 h 20890"/>
                <a:gd name="connsiteX7" fmla="*/ 35192 w 35671"/>
                <a:gd name="connsiteY7" fmla="*/ 9434 h 20890"/>
                <a:gd name="connsiteX8" fmla="*/ 33763 w 35671"/>
                <a:gd name="connsiteY8" fmla="*/ 8005 h 20890"/>
                <a:gd name="connsiteX9" fmla="*/ 21095 w 35671"/>
                <a:gd name="connsiteY9" fmla="*/ 766 h 20890"/>
                <a:gd name="connsiteX10" fmla="*/ 13475 w 35671"/>
                <a:gd name="connsiteY10" fmla="*/ 766 h 20890"/>
                <a:gd name="connsiteX11" fmla="*/ 807 w 35671"/>
                <a:gd name="connsiteY11" fmla="*/ 8005 h 20890"/>
                <a:gd name="connsiteX12" fmla="*/ -336 w 35671"/>
                <a:gd name="connsiteY12" fmla="*/ 10196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671" h="20890">
                  <a:moveTo>
                    <a:pt x="-336" y="10196"/>
                  </a:moveTo>
                  <a:cubicBezTo>
                    <a:pt x="-270" y="11177"/>
                    <a:pt x="311" y="12044"/>
                    <a:pt x="1187" y="12482"/>
                  </a:cubicBezTo>
                  <a:lnTo>
                    <a:pt x="3569" y="13815"/>
                  </a:lnTo>
                  <a:lnTo>
                    <a:pt x="13856" y="19721"/>
                  </a:lnTo>
                  <a:cubicBezTo>
                    <a:pt x="16218" y="21064"/>
                    <a:pt x="19114" y="21064"/>
                    <a:pt x="21476" y="19721"/>
                  </a:cubicBezTo>
                  <a:lnTo>
                    <a:pt x="31763" y="13815"/>
                  </a:lnTo>
                  <a:lnTo>
                    <a:pt x="33763" y="12482"/>
                  </a:lnTo>
                  <a:cubicBezTo>
                    <a:pt x="35001" y="12034"/>
                    <a:pt x="35639" y="10662"/>
                    <a:pt x="35192" y="9434"/>
                  </a:cubicBezTo>
                  <a:cubicBezTo>
                    <a:pt x="34944" y="8767"/>
                    <a:pt x="34430" y="8243"/>
                    <a:pt x="33763" y="8005"/>
                  </a:cubicBezTo>
                  <a:lnTo>
                    <a:pt x="21095" y="766"/>
                  </a:lnTo>
                  <a:cubicBezTo>
                    <a:pt x="18704" y="-472"/>
                    <a:pt x="15866" y="-472"/>
                    <a:pt x="13475" y="766"/>
                  </a:cubicBezTo>
                  <a:lnTo>
                    <a:pt x="807" y="8005"/>
                  </a:lnTo>
                  <a:cubicBezTo>
                    <a:pt x="102" y="8510"/>
                    <a:pt x="-317" y="9329"/>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607" name="işlïdé">
              <a:extLst>
                <a:ext uri="{FF2B5EF4-FFF2-40B4-BE49-F238E27FC236}">
                  <a16:creationId xmlns:a16="http://schemas.microsoft.com/office/drawing/2014/main" id="{6619F2D5-9748-40DC-BF5B-137274BF8AA8}"/>
                </a:ext>
              </a:extLst>
            </p:cNvPr>
            <p:cNvSpPr/>
            <p:nvPr/>
          </p:nvSpPr>
          <p:spPr>
            <a:xfrm>
              <a:off x="5546981" y="4818877"/>
              <a:ext cx="105798" cy="61174"/>
            </a:xfrm>
            <a:custGeom>
              <a:avLst/>
              <a:gdLst>
                <a:gd name="connsiteX0" fmla="*/ 1022 w 34757"/>
                <a:gd name="connsiteY0" fmla="*/ 12029 h 20097"/>
                <a:gd name="connsiteX1" fmla="*/ 13119 w 34757"/>
                <a:gd name="connsiteY1" fmla="*/ 19078 h 20097"/>
                <a:gd name="connsiteX2" fmla="*/ 20548 w 34757"/>
                <a:gd name="connsiteY2" fmla="*/ 19078 h 20097"/>
                <a:gd name="connsiteX3" fmla="*/ 32931 w 34757"/>
                <a:gd name="connsiteY3" fmla="*/ 12029 h 20097"/>
                <a:gd name="connsiteX4" fmla="*/ 34274 w 34757"/>
                <a:gd name="connsiteY4" fmla="*/ 9086 h 20097"/>
                <a:gd name="connsiteX5" fmla="*/ 32931 w 34757"/>
                <a:gd name="connsiteY5" fmla="*/ 7743 h 20097"/>
                <a:gd name="connsiteX6" fmla="*/ 20834 w 34757"/>
                <a:gd name="connsiteY6" fmla="*/ 695 h 20097"/>
                <a:gd name="connsiteX7" fmla="*/ 13405 w 34757"/>
                <a:gd name="connsiteY7" fmla="*/ 695 h 20097"/>
                <a:gd name="connsiteX8" fmla="*/ 1308 w 34757"/>
                <a:gd name="connsiteY8" fmla="*/ 7743 h 20097"/>
                <a:gd name="connsiteX9" fmla="*/ -245 w 34757"/>
                <a:gd name="connsiteY9" fmla="*/ 10572 h 20097"/>
                <a:gd name="connsiteX10" fmla="*/ 1022 w 34757"/>
                <a:gd name="connsiteY10" fmla="*/ 12029 h 20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757" h="20097">
                  <a:moveTo>
                    <a:pt x="1022" y="12029"/>
                  </a:moveTo>
                  <a:lnTo>
                    <a:pt x="13119" y="19078"/>
                  </a:lnTo>
                  <a:cubicBezTo>
                    <a:pt x="15462" y="20221"/>
                    <a:pt x="18205" y="20221"/>
                    <a:pt x="20548" y="19078"/>
                  </a:cubicBezTo>
                  <a:lnTo>
                    <a:pt x="32931" y="12029"/>
                  </a:lnTo>
                  <a:cubicBezTo>
                    <a:pt x="34112" y="11591"/>
                    <a:pt x="34721" y="10277"/>
                    <a:pt x="34274" y="9086"/>
                  </a:cubicBezTo>
                  <a:cubicBezTo>
                    <a:pt x="34045" y="8467"/>
                    <a:pt x="33550" y="7972"/>
                    <a:pt x="32931" y="7743"/>
                  </a:cubicBezTo>
                  <a:lnTo>
                    <a:pt x="20834" y="695"/>
                  </a:lnTo>
                  <a:cubicBezTo>
                    <a:pt x="18491" y="-448"/>
                    <a:pt x="15748" y="-448"/>
                    <a:pt x="13405" y="695"/>
                  </a:cubicBezTo>
                  <a:lnTo>
                    <a:pt x="1308" y="7743"/>
                  </a:lnTo>
                  <a:cubicBezTo>
                    <a:pt x="98" y="8096"/>
                    <a:pt x="-597" y="9362"/>
                    <a:pt x="-245" y="10572"/>
                  </a:cubicBezTo>
                  <a:cubicBezTo>
                    <a:pt x="-64" y="11229"/>
                    <a:pt x="403" y="11753"/>
                    <a:pt x="1022" y="12029"/>
                  </a:cubicBezTo>
                  <a:close/>
                </a:path>
              </a:pathLst>
            </a:custGeom>
            <a:solidFill>
              <a:srgbClr val="D1D9E8"/>
            </a:solidFill>
            <a:ln w="9525" cap="flat">
              <a:noFill/>
              <a:prstDash val="solid"/>
              <a:miter/>
            </a:ln>
          </p:spPr>
          <p:txBody>
            <a:bodyPr rtlCol="0" anchor="ctr"/>
            <a:lstStyle/>
            <a:p>
              <a:endParaRPr lang="zh-CN" altLang="en-US"/>
            </a:p>
          </p:txBody>
        </p:sp>
        <p:sp>
          <p:nvSpPr>
            <p:cNvPr id="608" name="ïṡľïḓe">
              <a:extLst>
                <a:ext uri="{FF2B5EF4-FFF2-40B4-BE49-F238E27FC236}">
                  <a16:creationId xmlns:a16="http://schemas.microsoft.com/office/drawing/2014/main" id="{C1108CB1-773F-4B71-906F-37D562CFEBF7}"/>
                </a:ext>
              </a:extLst>
            </p:cNvPr>
            <p:cNvSpPr/>
            <p:nvPr/>
          </p:nvSpPr>
          <p:spPr>
            <a:xfrm>
              <a:off x="5544448" y="4849030"/>
              <a:ext cx="109594" cy="53801"/>
            </a:xfrm>
            <a:custGeom>
              <a:avLst/>
              <a:gdLst>
                <a:gd name="connsiteX0" fmla="*/ -336 w 36004"/>
                <a:gd name="connsiteY0" fmla="*/ -163 h 17675"/>
                <a:gd name="connsiteX1" fmla="*/ -336 w 36004"/>
                <a:gd name="connsiteY1" fmla="*/ 7076 h 17675"/>
                <a:gd name="connsiteX2" fmla="*/ 1187 w 36004"/>
                <a:gd name="connsiteY2" fmla="*/ 9267 h 17675"/>
                <a:gd name="connsiteX3" fmla="*/ 13856 w 36004"/>
                <a:gd name="connsiteY3" fmla="*/ 16506 h 17675"/>
                <a:gd name="connsiteX4" fmla="*/ 21476 w 36004"/>
                <a:gd name="connsiteY4" fmla="*/ 16506 h 17675"/>
                <a:gd name="connsiteX5" fmla="*/ 34144 w 36004"/>
                <a:gd name="connsiteY5" fmla="*/ 9267 h 17675"/>
                <a:gd name="connsiteX6" fmla="*/ 35668 w 36004"/>
                <a:gd name="connsiteY6" fmla="*/ 7076 h 17675"/>
                <a:gd name="connsiteX7" fmla="*/ 35668 w 36004"/>
                <a:gd name="connsiteY7" fmla="*/ -163 h 17675"/>
                <a:gd name="connsiteX8" fmla="*/ 34144 w 36004"/>
                <a:gd name="connsiteY8" fmla="*/ 2123 h 17675"/>
                <a:gd name="connsiteX9" fmla="*/ 31763 w 36004"/>
                <a:gd name="connsiteY9" fmla="*/ 3457 h 17675"/>
                <a:gd name="connsiteX10" fmla="*/ 21476 w 36004"/>
                <a:gd name="connsiteY10" fmla="*/ 9362 h 17675"/>
                <a:gd name="connsiteX11" fmla="*/ 13856 w 36004"/>
                <a:gd name="connsiteY11" fmla="*/ 9362 h 17675"/>
                <a:gd name="connsiteX12" fmla="*/ 3569 w 36004"/>
                <a:gd name="connsiteY12" fmla="*/ 3457 h 17675"/>
                <a:gd name="connsiteX13" fmla="*/ 1187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98" y="8038"/>
                    <a:pt x="292" y="8896"/>
                    <a:pt x="1187" y="9267"/>
                  </a:cubicBezTo>
                  <a:lnTo>
                    <a:pt x="13856" y="16506"/>
                  </a:lnTo>
                  <a:cubicBezTo>
                    <a:pt x="16218" y="17849"/>
                    <a:pt x="19114" y="17849"/>
                    <a:pt x="21476" y="16506"/>
                  </a:cubicBezTo>
                  <a:lnTo>
                    <a:pt x="34144" y="9267"/>
                  </a:lnTo>
                  <a:cubicBezTo>
                    <a:pt x="35020" y="8877"/>
                    <a:pt x="35611" y="8038"/>
                    <a:pt x="35668" y="7076"/>
                  </a:cubicBezTo>
                  <a:lnTo>
                    <a:pt x="35668" y="-163"/>
                  </a:lnTo>
                  <a:cubicBezTo>
                    <a:pt x="35601" y="818"/>
                    <a:pt x="35020" y="1685"/>
                    <a:pt x="34144" y="2123"/>
                  </a:cubicBezTo>
                  <a:lnTo>
                    <a:pt x="31763" y="3457"/>
                  </a:lnTo>
                  <a:lnTo>
                    <a:pt x="21476" y="9362"/>
                  </a:lnTo>
                  <a:cubicBezTo>
                    <a:pt x="19114" y="10705"/>
                    <a:pt x="16218" y="10705"/>
                    <a:pt x="13856" y="9362"/>
                  </a:cubicBezTo>
                  <a:lnTo>
                    <a:pt x="3569" y="3457"/>
                  </a:lnTo>
                  <a:lnTo>
                    <a:pt x="1187"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09" name="îSľïḓé">
              <a:extLst>
                <a:ext uri="{FF2B5EF4-FFF2-40B4-BE49-F238E27FC236}">
                  <a16:creationId xmlns:a16="http://schemas.microsoft.com/office/drawing/2014/main" id="{CB080CA6-48D3-487E-B017-66E668AEB09A}"/>
                </a:ext>
              </a:extLst>
            </p:cNvPr>
            <p:cNvSpPr/>
            <p:nvPr/>
          </p:nvSpPr>
          <p:spPr>
            <a:xfrm>
              <a:off x="5621569" y="4862207"/>
              <a:ext cx="109740" cy="63289"/>
            </a:xfrm>
            <a:custGeom>
              <a:avLst/>
              <a:gdLst>
                <a:gd name="connsiteX0" fmla="*/ -336 w 36052"/>
                <a:gd name="connsiteY0" fmla="*/ 10177 h 20792"/>
                <a:gd name="connsiteX1" fmla="*/ 1283 w 36052"/>
                <a:gd name="connsiteY1" fmla="*/ 12463 h 20792"/>
                <a:gd name="connsiteX2" fmla="*/ 3569 w 36052"/>
                <a:gd name="connsiteY2" fmla="*/ 13796 h 20792"/>
                <a:gd name="connsiteX3" fmla="*/ 13856 w 36052"/>
                <a:gd name="connsiteY3" fmla="*/ 19702 h 20792"/>
                <a:gd name="connsiteX4" fmla="*/ 21571 w 36052"/>
                <a:gd name="connsiteY4" fmla="*/ 19702 h 20792"/>
                <a:gd name="connsiteX5" fmla="*/ 31858 w 36052"/>
                <a:gd name="connsiteY5" fmla="*/ 13796 h 20792"/>
                <a:gd name="connsiteX6" fmla="*/ 34144 w 36052"/>
                <a:gd name="connsiteY6" fmla="*/ 12463 h 20792"/>
                <a:gd name="connsiteX7" fmla="*/ 35573 w 36052"/>
                <a:gd name="connsiteY7" fmla="*/ 9415 h 20792"/>
                <a:gd name="connsiteX8" fmla="*/ 34144 w 36052"/>
                <a:gd name="connsiteY8" fmla="*/ 7986 h 20792"/>
                <a:gd name="connsiteX9" fmla="*/ 21571 w 36052"/>
                <a:gd name="connsiteY9" fmla="*/ 652 h 20792"/>
                <a:gd name="connsiteX10" fmla="*/ 13856 w 36052"/>
                <a:gd name="connsiteY10" fmla="*/ 652 h 20792"/>
                <a:gd name="connsiteX11" fmla="*/ 1283 w 36052"/>
                <a:gd name="connsiteY11" fmla="*/ 7986 h 20792"/>
                <a:gd name="connsiteX12" fmla="*/ -336 w 36052"/>
                <a:gd name="connsiteY12" fmla="*/ 10177 h 20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792">
                  <a:moveTo>
                    <a:pt x="-336" y="10177"/>
                  </a:moveTo>
                  <a:cubicBezTo>
                    <a:pt x="-231" y="11167"/>
                    <a:pt x="378" y="12034"/>
                    <a:pt x="1283" y="12463"/>
                  </a:cubicBezTo>
                  <a:lnTo>
                    <a:pt x="3569" y="13796"/>
                  </a:lnTo>
                  <a:lnTo>
                    <a:pt x="13856" y="19702"/>
                  </a:lnTo>
                  <a:cubicBezTo>
                    <a:pt x="16275" y="20940"/>
                    <a:pt x="19152" y="20940"/>
                    <a:pt x="21571" y="19702"/>
                  </a:cubicBezTo>
                  <a:lnTo>
                    <a:pt x="31858" y="13796"/>
                  </a:lnTo>
                  <a:lnTo>
                    <a:pt x="34144" y="12463"/>
                  </a:lnTo>
                  <a:cubicBezTo>
                    <a:pt x="35382" y="12015"/>
                    <a:pt x="36021" y="10643"/>
                    <a:pt x="35573" y="9415"/>
                  </a:cubicBezTo>
                  <a:cubicBezTo>
                    <a:pt x="35325" y="8748"/>
                    <a:pt x="34811" y="8224"/>
                    <a:pt x="34144" y="7986"/>
                  </a:cubicBezTo>
                  <a:lnTo>
                    <a:pt x="21571" y="652"/>
                  </a:lnTo>
                  <a:cubicBezTo>
                    <a:pt x="19114" y="-434"/>
                    <a:pt x="16314" y="-434"/>
                    <a:pt x="13856" y="652"/>
                  </a:cubicBezTo>
                  <a:lnTo>
                    <a:pt x="1283" y="7986"/>
                  </a:lnTo>
                  <a:cubicBezTo>
                    <a:pt x="407" y="8396"/>
                    <a:pt x="-203" y="9224"/>
                    <a:pt x="-336" y="10177"/>
                  </a:cubicBezTo>
                  <a:close/>
                </a:path>
              </a:pathLst>
            </a:custGeom>
            <a:solidFill>
              <a:srgbClr val="FFFFFF"/>
            </a:solidFill>
            <a:ln w="9525" cap="flat">
              <a:noFill/>
              <a:prstDash val="solid"/>
              <a:miter/>
            </a:ln>
          </p:spPr>
          <p:txBody>
            <a:bodyPr rtlCol="0" anchor="ctr"/>
            <a:lstStyle/>
            <a:p>
              <a:endParaRPr lang="zh-CN" altLang="en-US"/>
            </a:p>
          </p:txBody>
        </p:sp>
        <p:sp>
          <p:nvSpPr>
            <p:cNvPr id="610" name="îṡliḋe">
              <a:extLst>
                <a:ext uri="{FF2B5EF4-FFF2-40B4-BE49-F238E27FC236}">
                  <a16:creationId xmlns:a16="http://schemas.microsoft.com/office/drawing/2014/main" id="{9B4634F1-59C4-4D48-861E-BC65E604013D}"/>
                </a:ext>
              </a:extLst>
            </p:cNvPr>
            <p:cNvSpPr/>
            <p:nvPr/>
          </p:nvSpPr>
          <p:spPr>
            <a:xfrm>
              <a:off x="5623672" y="4863236"/>
              <a:ext cx="105679" cy="61104"/>
            </a:xfrm>
            <a:custGeom>
              <a:avLst/>
              <a:gdLst>
                <a:gd name="connsiteX0" fmla="*/ 1164 w 34718"/>
                <a:gd name="connsiteY0" fmla="*/ 12029 h 20074"/>
                <a:gd name="connsiteX1" fmla="*/ 13356 w 34718"/>
                <a:gd name="connsiteY1" fmla="*/ 18983 h 20074"/>
                <a:gd name="connsiteX2" fmla="*/ 20785 w 34718"/>
                <a:gd name="connsiteY2" fmla="*/ 18983 h 20074"/>
                <a:gd name="connsiteX3" fmla="*/ 32882 w 34718"/>
                <a:gd name="connsiteY3" fmla="*/ 12029 h 20074"/>
                <a:gd name="connsiteX4" fmla="*/ 32882 w 34718"/>
                <a:gd name="connsiteY4" fmla="*/ 7743 h 20074"/>
                <a:gd name="connsiteX5" fmla="*/ 20785 w 34718"/>
                <a:gd name="connsiteY5" fmla="*/ 695 h 20074"/>
                <a:gd name="connsiteX6" fmla="*/ 13356 w 34718"/>
                <a:gd name="connsiteY6" fmla="*/ 695 h 20074"/>
                <a:gd name="connsiteX7" fmla="*/ 1164 w 34718"/>
                <a:gd name="connsiteY7" fmla="*/ 7743 h 20074"/>
                <a:gd name="connsiteX8" fmla="*/ 1164 w 34718"/>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18" h="20074">
                  <a:moveTo>
                    <a:pt x="1164" y="12029"/>
                  </a:moveTo>
                  <a:lnTo>
                    <a:pt x="13356" y="18983"/>
                  </a:lnTo>
                  <a:cubicBezTo>
                    <a:pt x="15680" y="20221"/>
                    <a:pt x="18461" y="20221"/>
                    <a:pt x="20785" y="18983"/>
                  </a:cubicBezTo>
                  <a:lnTo>
                    <a:pt x="32882" y="12029"/>
                  </a:lnTo>
                  <a:cubicBezTo>
                    <a:pt x="34882" y="10791"/>
                    <a:pt x="34882" y="8886"/>
                    <a:pt x="32882" y="7743"/>
                  </a:cubicBezTo>
                  <a:lnTo>
                    <a:pt x="20785" y="695"/>
                  </a:lnTo>
                  <a:cubicBezTo>
                    <a:pt x="18442" y="-448"/>
                    <a:pt x="15699" y="-448"/>
                    <a:pt x="13356" y="695"/>
                  </a:cubicBezTo>
                  <a:lnTo>
                    <a:pt x="1164" y="7743"/>
                  </a:lnTo>
                  <a:cubicBezTo>
                    <a:pt x="-836" y="8886"/>
                    <a:pt x="-836" y="10791"/>
                    <a:pt x="1164" y="12029"/>
                  </a:cubicBezTo>
                  <a:close/>
                </a:path>
              </a:pathLst>
            </a:custGeom>
            <a:solidFill>
              <a:srgbClr val="D1D9E8"/>
            </a:solidFill>
            <a:ln w="9525" cap="flat">
              <a:noFill/>
              <a:prstDash val="solid"/>
              <a:miter/>
            </a:ln>
          </p:spPr>
          <p:txBody>
            <a:bodyPr rtlCol="0" anchor="ctr"/>
            <a:lstStyle/>
            <a:p>
              <a:endParaRPr lang="zh-CN" altLang="en-US"/>
            </a:p>
          </p:txBody>
        </p:sp>
        <p:sp>
          <p:nvSpPr>
            <p:cNvPr id="611" name="iṣlîdê">
              <a:extLst>
                <a:ext uri="{FF2B5EF4-FFF2-40B4-BE49-F238E27FC236}">
                  <a16:creationId xmlns:a16="http://schemas.microsoft.com/office/drawing/2014/main" id="{8430C535-2B5F-41B9-9C60-19F3D87ACE9F}"/>
                </a:ext>
              </a:extLst>
            </p:cNvPr>
            <p:cNvSpPr/>
            <p:nvPr/>
          </p:nvSpPr>
          <p:spPr>
            <a:xfrm>
              <a:off x="5621569" y="4893678"/>
              <a:ext cx="109883" cy="53804"/>
            </a:xfrm>
            <a:custGeom>
              <a:avLst/>
              <a:gdLst>
                <a:gd name="connsiteX0" fmla="*/ -336 w 36099"/>
                <a:gd name="connsiteY0" fmla="*/ -163 h 17676"/>
                <a:gd name="connsiteX1" fmla="*/ -336 w 36099"/>
                <a:gd name="connsiteY1" fmla="*/ 7076 h 17676"/>
                <a:gd name="connsiteX2" fmla="*/ 1283 w 36099"/>
                <a:gd name="connsiteY2" fmla="*/ 9267 h 17676"/>
                <a:gd name="connsiteX3" fmla="*/ 13856 w 36099"/>
                <a:gd name="connsiteY3" fmla="*/ 16506 h 17676"/>
                <a:gd name="connsiteX4" fmla="*/ 21571 w 36099"/>
                <a:gd name="connsiteY4" fmla="*/ 16506 h 17676"/>
                <a:gd name="connsiteX5" fmla="*/ 34144 w 36099"/>
                <a:gd name="connsiteY5" fmla="*/ 9267 h 17676"/>
                <a:gd name="connsiteX6" fmla="*/ 35764 w 36099"/>
                <a:gd name="connsiteY6" fmla="*/ 6981 h 17676"/>
                <a:gd name="connsiteX7" fmla="*/ 35764 w 36099"/>
                <a:gd name="connsiteY7" fmla="*/ -163 h 17676"/>
                <a:gd name="connsiteX8" fmla="*/ 34144 w 36099"/>
                <a:gd name="connsiteY8" fmla="*/ 2124 h 17676"/>
                <a:gd name="connsiteX9" fmla="*/ 31858 w 36099"/>
                <a:gd name="connsiteY9" fmla="*/ 3457 h 17676"/>
                <a:gd name="connsiteX10" fmla="*/ 21571 w 36099"/>
                <a:gd name="connsiteY10" fmla="*/ 9362 h 17676"/>
                <a:gd name="connsiteX11" fmla="*/ 13856 w 36099"/>
                <a:gd name="connsiteY11" fmla="*/ 9362 h 17676"/>
                <a:gd name="connsiteX12" fmla="*/ 3569 w 36099"/>
                <a:gd name="connsiteY12" fmla="*/ 3457 h 17676"/>
                <a:gd name="connsiteX13" fmla="*/ 1283 w 36099"/>
                <a:gd name="connsiteY13" fmla="*/ 2124 h 17676"/>
                <a:gd name="connsiteX14" fmla="*/ -336 w 36099"/>
                <a:gd name="connsiteY14" fmla="*/ -163 h 17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676">
                  <a:moveTo>
                    <a:pt x="-336" y="-163"/>
                  </a:moveTo>
                  <a:lnTo>
                    <a:pt x="-336" y="7076"/>
                  </a:lnTo>
                  <a:cubicBezTo>
                    <a:pt x="-222" y="8039"/>
                    <a:pt x="397" y="8877"/>
                    <a:pt x="1283" y="9267"/>
                  </a:cubicBezTo>
                  <a:lnTo>
                    <a:pt x="13856" y="16506"/>
                  </a:lnTo>
                  <a:cubicBezTo>
                    <a:pt x="16256" y="17849"/>
                    <a:pt x="19171" y="17849"/>
                    <a:pt x="21571" y="16506"/>
                  </a:cubicBezTo>
                  <a:lnTo>
                    <a:pt x="34144" y="9267"/>
                  </a:lnTo>
                  <a:cubicBezTo>
                    <a:pt x="35087" y="8896"/>
                    <a:pt x="35725" y="8001"/>
                    <a:pt x="35764" y="6981"/>
                  </a:cubicBezTo>
                  <a:lnTo>
                    <a:pt x="35764" y="-163"/>
                  </a:lnTo>
                  <a:cubicBezTo>
                    <a:pt x="35697" y="847"/>
                    <a:pt x="35068" y="1733"/>
                    <a:pt x="34144" y="2124"/>
                  </a:cubicBezTo>
                  <a:lnTo>
                    <a:pt x="31858" y="3457"/>
                  </a:lnTo>
                  <a:lnTo>
                    <a:pt x="21571" y="9362"/>
                  </a:lnTo>
                  <a:cubicBezTo>
                    <a:pt x="19152" y="10601"/>
                    <a:pt x="16275" y="10601"/>
                    <a:pt x="13856" y="9362"/>
                  </a:cubicBezTo>
                  <a:lnTo>
                    <a:pt x="3569" y="3457"/>
                  </a:lnTo>
                  <a:lnTo>
                    <a:pt x="1283" y="2124"/>
                  </a:lnTo>
                  <a:cubicBezTo>
                    <a:pt x="378" y="1695"/>
                    <a:pt x="-231"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12" name="ïṩľîḓè">
              <a:extLst>
                <a:ext uri="{FF2B5EF4-FFF2-40B4-BE49-F238E27FC236}">
                  <a16:creationId xmlns:a16="http://schemas.microsoft.com/office/drawing/2014/main" id="{5904289F-9349-4BC6-A53C-5CE1184EACD1}"/>
                </a:ext>
              </a:extLst>
            </p:cNvPr>
            <p:cNvSpPr/>
            <p:nvPr/>
          </p:nvSpPr>
          <p:spPr>
            <a:xfrm>
              <a:off x="5698982" y="4906703"/>
              <a:ext cx="109740" cy="63445"/>
            </a:xfrm>
            <a:custGeom>
              <a:avLst/>
              <a:gdLst>
                <a:gd name="connsiteX0" fmla="*/ -336 w 36052"/>
                <a:gd name="connsiteY0" fmla="*/ 10227 h 20843"/>
                <a:gd name="connsiteX1" fmla="*/ 1188 w 36052"/>
                <a:gd name="connsiteY1" fmla="*/ 12513 h 20843"/>
                <a:gd name="connsiteX2" fmla="*/ 3569 w 36052"/>
                <a:gd name="connsiteY2" fmla="*/ 13846 h 20843"/>
                <a:gd name="connsiteX3" fmla="*/ 13856 w 36052"/>
                <a:gd name="connsiteY3" fmla="*/ 19752 h 20843"/>
                <a:gd name="connsiteX4" fmla="*/ 21476 w 36052"/>
                <a:gd name="connsiteY4" fmla="*/ 19752 h 20843"/>
                <a:gd name="connsiteX5" fmla="*/ 31763 w 36052"/>
                <a:gd name="connsiteY5" fmla="*/ 13846 h 20843"/>
                <a:gd name="connsiteX6" fmla="*/ 34144 w 36052"/>
                <a:gd name="connsiteY6" fmla="*/ 12513 h 20843"/>
                <a:gd name="connsiteX7" fmla="*/ 35573 w 36052"/>
                <a:gd name="connsiteY7" fmla="*/ 9465 h 20843"/>
                <a:gd name="connsiteX8" fmla="*/ 34144 w 36052"/>
                <a:gd name="connsiteY8" fmla="*/ 8036 h 20843"/>
                <a:gd name="connsiteX9" fmla="*/ 21476 w 36052"/>
                <a:gd name="connsiteY9" fmla="*/ 702 h 20843"/>
                <a:gd name="connsiteX10" fmla="*/ 13856 w 36052"/>
                <a:gd name="connsiteY10" fmla="*/ 702 h 20843"/>
                <a:gd name="connsiteX11" fmla="*/ 1188 w 36052"/>
                <a:gd name="connsiteY11" fmla="*/ 8036 h 20843"/>
                <a:gd name="connsiteX12" fmla="*/ -336 w 36052"/>
                <a:gd name="connsiteY12" fmla="*/ 10227 h 20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3">
                  <a:moveTo>
                    <a:pt x="-336" y="10227"/>
                  </a:moveTo>
                  <a:cubicBezTo>
                    <a:pt x="-270" y="11208"/>
                    <a:pt x="311" y="12075"/>
                    <a:pt x="1188" y="12513"/>
                  </a:cubicBezTo>
                  <a:lnTo>
                    <a:pt x="3569" y="13846"/>
                  </a:lnTo>
                  <a:lnTo>
                    <a:pt x="13856" y="19752"/>
                  </a:lnTo>
                  <a:cubicBezTo>
                    <a:pt x="16247" y="20990"/>
                    <a:pt x="19085" y="20990"/>
                    <a:pt x="21476" y="19752"/>
                  </a:cubicBezTo>
                  <a:lnTo>
                    <a:pt x="31763" y="13846"/>
                  </a:lnTo>
                  <a:lnTo>
                    <a:pt x="34144" y="12513"/>
                  </a:lnTo>
                  <a:cubicBezTo>
                    <a:pt x="35382" y="12065"/>
                    <a:pt x="36020" y="10694"/>
                    <a:pt x="35573" y="9465"/>
                  </a:cubicBezTo>
                  <a:cubicBezTo>
                    <a:pt x="35325" y="8798"/>
                    <a:pt x="34811" y="8274"/>
                    <a:pt x="34144"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613" name="ïşļîḍe">
              <a:extLst>
                <a:ext uri="{FF2B5EF4-FFF2-40B4-BE49-F238E27FC236}">
                  <a16:creationId xmlns:a16="http://schemas.microsoft.com/office/drawing/2014/main" id="{19EBC936-FBE5-494E-B7FE-55F953952D56}"/>
                </a:ext>
              </a:extLst>
            </p:cNvPr>
            <p:cNvSpPr/>
            <p:nvPr/>
          </p:nvSpPr>
          <p:spPr>
            <a:xfrm>
              <a:off x="5701012" y="4907887"/>
              <a:ext cx="106260" cy="61101"/>
            </a:xfrm>
            <a:custGeom>
              <a:avLst/>
              <a:gdLst>
                <a:gd name="connsiteX0" fmla="*/ 1378 w 34909"/>
                <a:gd name="connsiteY0" fmla="*/ 12029 h 20073"/>
                <a:gd name="connsiteX1" fmla="*/ 13475 w 34909"/>
                <a:gd name="connsiteY1" fmla="*/ 18982 h 20073"/>
                <a:gd name="connsiteX2" fmla="*/ 20904 w 34909"/>
                <a:gd name="connsiteY2" fmla="*/ 18982 h 20073"/>
                <a:gd name="connsiteX3" fmla="*/ 33001 w 34909"/>
                <a:gd name="connsiteY3" fmla="*/ 12029 h 20073"/>
                <a:gd name="connsiteX4" fmla="*/ 33001 w 34909"/>
                <a:gd name="connsiteY4" fmla="*/ 7743 h 20073"/>
                <a:gd name="connsiteX5" fmla="*/ 20904 w 34909"/>
                <a:gd name="connsiteY5" fmla="*/ 695 h 20073"/>
                <a:gd name="connsiteX6" fmla="*/ 13475 w 34909"/>
                <a:gd name="connsiteY6" fmla="*/ 695 h 20073"/>
                <a:gd name="connsiteX7" fmla="*/ 1378 w 34909"/>
                <a:gd name="connsiteY7" fmla="*/ 7743 h 20073"/>
                <a:gd name="connsiteX8" fmla="*/ 1378 w 34909"/>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909" h="20073">
                  <a:moveTo>
                    <a:pt x="1378" y="12029"/>
                  </a:moveTo>
                  <a:lnTo>
                    <a:pt x="13475" y="18982"/>
                  </a:lnTo>
                  <a:cubicBezTo>
                    <a:pt x="15799" y="20221"/>
                    <a:pt x="18580" y="20221"/>
                    <a:pt x="20904" y="18982"/>
                  </a:cubicBezTo>
                  <a:lnTo>
                    <a:pt x="33001" y="12029"/>
                  </a:lnTo>
                  <a:cubicBezTo>
                    <a:pt x="35097" y="10791"/>
                    <a:pt x="35097" y="8886"/>
                    <a:pt x="33001" y="7743"/>
                  </a:cubicBezTo>
                  <a:lnTo>
                    <a:pt x="20904" y="695"/>
                  </a:lnTo>
                  <a:cubicBezTo>
                    <a:pt x="18561" y="-448"/>
                    <a:pt x="15818" y="-448"/>
                    <a:pt x="13475" y="695"/>
                  </a:cubicBezTo>
                  <a:lnTo>
                    <a:pt x="1378" y="7743"/>
                  </a:lnTo>
                  <a:cubicBezTo>
                    <a:pt x="-908" y="8886"/>
                    <a:pt x="-908" y="10791"/>
                    <a:pt x="1378" y="12029"/>
                  </a:cubicBezTo>
                  <a:close/>
                </a:path>
              </a:pathLst>
            </a:custGeom>
            <a:solidFill>
              <a:srgbClr val="D1D9E8"/>
            </a:solidFill>
            <a:ln w="9525" cap="flat">
              <a:noFill/>
              <a:prstDash val="solid"/>
              <a:miter/>
            </a:ln>
          </p:spPr>
          <p:txBody>
            <a:bodyPr rtlCol="0" anchor="ctr"/>
            <a:lstStyle/>
            <a:p>
              <a:endParaRPr lang="zh-CN" altLang="en-US"/>
            </a:p>
          </p:txBody>
        </p:sp>
        <p:sp>
          <p:nvSpPr>
            <p:cNvPr id="614" name="isļîḋé">
              <a:extLst>
                <a:ext uri="{FF2B5EF4-FFF2-40B4-BE49-F238E27FC236}">
                  <a16:creationId xmlns:a16="http://schemas.microsoft.com/office/drawing/2014/main" id="{0E3F959E-C2A4-42E6-9D9E-34B06BE75793}"/>
                </a:ext>
              </a:extLst>
            </p:cNvPr>
            <p:cNvSpPr/>
            <p:nvPr/>
          </p:nvSpPr>
          <p:spPr>
            <a:xfrm>
              <a:off x="5698982" y="4938329"/>
              <a:ext cx="109594" cy="53801"/>
            </a:xfrm>
            <a:custGeom>
              <a:avLst/>
              <a:gdLst>
                <a:gd name="connsiteX0" fmla="*/ -336 w 36004"/>
                <a:gd name="connsiteY0" fmla="*/ -163 h 17675"/>
                <a:gd name="connsiteX1" fmla="*/ -336 w 36004"/>
                <a:gd name="connsiteY1" fmla="*/ 7076 h 17675"/>
                <a:gd name="connsiteX2" fmla="*/ 1188 w 36004"/>
                <a:gd name="connsiteY2" fmla="*/ 9267 h 17675"/>
                <a:gd name="connsiteX3" fmla="*/ 13856 w 36004"/>
                <a:gd name="connsiteY3" fmla="*/ 16506 h 17675"/>
                <a:gd name="connsiteX4" fmla="*/ 21476 w 36004"/>
                <a:gd name="connsiteY4" fmla="*/ 16506 h 17675"/>
                <a:gd name="connsiteX5" fmla="*/ 34144 w 36004"/>
                <a:gd name="connsiteY5" fmla="*/ 9267 h 17675"/>
                <a:gd name="connsiteX6" fmla="*/ 35668 w 36004"/>
                <a:gd name="connsiteY6" fmla="*/ 6981 h 17675"/>
                <a:gd name="connsiteX7" fmla="*/ 35668 w 36004"/>
                <a:gd name="connsiteY7" fmla="*/ -163 h 17675"/>
                <a:gd name="connsiteX8" fmla="*/ 34144 w 36004"/>
                <a:gd name="connsiteY8" fmla="*/ 2123 h 17675"/>
                <a:gd name="connsiteX9" fmla="*/ 31763 w 36004"/>
                <a:gd name="connsiteY9" fmla="*/ 3457 h 17675"/>
                <a:gd name="connsiteX10" fmla="*/ 21476 w 36004"/>
                <a:gd name="connsiteY10" fmla="*/ 9362 h 17675"/>
                <a:gd name="connsiteX11" fmla="*/ 13856 w 36004"/>
                <a:gd name="connsiteY11" fmla="*/ 9362 h 17675"/>
                <a:gd name="connsiteX12" fmla="*/ 3569 w 36004"/>
                <a:gd name="connsiteY12" fmla="*/ 3457 h 17675"/>
                <a:gd name="connsiteX13" fmla="*/ 1188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41" y="8019"/>
                    <a:pt x="340" y="8848"/>
                    <a:pt x="1188" y="9267"/>
                  </a:cubicBezTo>
                  <a:lnTo>
                    <a:pt x="13856" y="16506"/>
                  </a:lnTo>
                  <a:cubicBezTo>
                    <a:pt x="16218" y="17849"/>
                    <a:pt x="19114" y="17849"/>
                    <a:pt x="21476" y="16506"/>
                  </a:cubicBezTo>
                  <a:lnTo>
                    <a:pt x="34144" y="9267"/>
                  </a:lnTo>
                  <a:cubicBezTo>
                    <a:pt x="35021" y="8829"/>
                    <a:pt x="35602" y="7962"/>
                    <a:pt x="35668" y="6981"/>
                  </a:cubicBezTo>
                  <a:lnTo>
                    <a:pt x="35668" y="-163"/>
                  </a:lnTo>
                  <a:cubicBezTo>
                    <a:pt x="35602" y="818"/>
                    <a:pt x="35021" y="1685"/>
                    <a:pt x="34144" y="2123"/>
                  </a:cubicBezTo>
                  <a:lnTo>
                    <a:pt x="31763" y="3457"/>
                  </a:lnTo>
                  <a:lnTo>
                    <a:pt x="21476" y="9362"/>
                  </a:lnTo>
                  <a:cubicBezTo>
                    <a:pt x="19085" y="10601"/>
                    <a:pt x="16247" y="10601"/>
                    <a:pt x="13856" y="9362"/>
                  </a:cubicBezTo>
                  <a:lnTo>
                    <a:pt x="3569" y="3457"/>
                  </a:lnTo>
                  <a:lnTo>
                    <a:pt x="1188"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15" name="íṥ1îďe">
              <a:extLst>
                <a:ext uri="{FF2B5EF4-FFF2-40B4-BE49-F238E27FC236}">
                  <a16:creationId xmlns:a16="http://schemas.microsoft.com/office/drawing/2014/main" id="{60F2A2A9-0765-4B50-B849-578BC7A19F05}"/>
                </a:ext>
              </a:extLst>
            </p:cNvPr>
            <p:cNvSpPr/>
            <p:nvPr/>
          </p:nvSpPr>
          <p:spPr>
            <a:xfrm>
              <a:off x="5776395" y="4951354"/>
              <a:ext cx="109447" cy="63445"/>
            </a:xfrm>
            <a:custGeom>
              <a:avLst/>
              <a:gdLst>
                <a:gd name="connsiteX0" fmla="*/ -336 w 35956"/>
                <a:gd name="connsiteY0" fmla="*/ 10227 h 20843"/>
                <a:gd name="connsiteX1" fmla="*/ 1187 w 35956"/>
                <a:gd name="connsiteY1" fmla="*/ 12513 h 20843"/>
                <a:gd name="connsiteX2" fmla="*/ 3569 w 35956"/>
                <a:gd name="connsiteY2" fmla="*/ 13846 h 20843"/>
                <a:gd name="connsiteX3" fmla="*/ 13856 w 35956"/>
                <a:gd name="connsiteY3" fmla="*/ 19752 h 20843"/>
                <a:gd name="connsiteX4" fmla="*/ 21476 w 35956"/>
                <a:gd name="connsiteY4" fmla="*/ 19752 h 20843"/>
                <a:gd name="connsiteX5" fmla="*/ 31763 w 35956"/>
                <a:gd name="connsiteY5" fmla="*/ 13846 h 20843"/>
                <a:gd name="connsiteX6" fmla="*/ 34049 w 35956"/>
                <a:gd name="connsiteY6" fmla="*/ 12513 h 20843"/>
                <a:gd name="connsiteX7" fmla="*/ 35477 w 35956"/>
                <a:gd name="connsiteY7" fmla="*/ 9465 h 20843"/>
                <a:gd name="connsiteX8" fmla="*/ 34049 w 35956"/>
                <a:gd name="connsiteY8" fmla="*/ 8036 h 20843"/>
                <a:gd name="connsiteX9" fmla="*/ 21476 w 35956"/>
                <a:gd name="connsiteY9" fmla="*/ 702 h 20843"/>
                <a:gd name="connsiteX10" fmla="*/ 13856 w 35956"/>
                <a:gd name="connsiteY10" fmla="*/ 702 h 20843"/>
                <a:gd name="connsiteX11" fmla="*/ 1187 w 35956"/>
                <a:gd name="connsiteY11" fmla="*/ 8036 h 20843"/>
                <a:gd name="connsiteX12" fmla="*/ -336 w 35956"/>
                <a:gd name="connsiteY12" fmla="*/ 10227 h 20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956" h="20843">
                  <a:moveTo>
                    <a:pt x="-336" y="10227"/>
                  </a:moveTo>
                  <a:cubicBezTo>
                    <a:pt x="-270" y="11208"/>
                    <a:pt x="311" y="12075"/>
                    <a:pt x="1187" y="12513"/>
                  </a:cubicBezTo>
                  <a:lnTo>
                    <a:pt x="3569" y="13846"/>
                  </a:lnTo>
                  <a:lnTo>
                    <a:pt x="13856" y="19752"/>
                  </a:lnTo>
                  <a:cubicBezTo>
                    <a:pt x="16247" y="20990"/>
                    <a:pt x="19085" y="20990"/>
                    <a:pt x="21476" y="19752"/>
                  </a:cubicBezTo>
                  <a:lnTo>
                    <a:pt x="31763" y="13846"/>
                  </a:lnTo>
                  <a:lnTo>
                    <a:pt x="34049" y="12513"/>
                  </a:lnTo>
                  <a:cubicBezTo>
                    <a:pt x="35287" y="12065"/>
                    <a:pt x="35925" y="10693"/>
                    <a:pt x="35477" y="9465"/>
                  </a:cubicBezTo>
                  <a:cubicBezTo>
                    <a:pt x="35230" y="8798"/>
                    <a:pt x="34716" y="8274"/>
                    <a:pt x="34049" y="8036"/>
                  </a:cubicBezTo>
                  <a:lnTo>
                    <a:pt x="21476" y="702"/>
                  </a:lnTo>
                  <a:cubicBezTo>
                    <a:pt x="19066" y="-451"/>
                    <a:pt x="16266" y="-451"/>
                    <a:pt x="13856" y="702"/>
                  </a:cubicBezTo>
                  <a:lnTo>
                    <a:pt x="1187"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616" name="î$ļiḑè">
              <a:extLst>
                <a:ext uri="{FF2B5EF4-FFF2-40B4-BE49-F238E27FC236}">
                  <a16:creationId xmlns:a16="http://schemas.microsoft.com/office/drawing/2014/main" id="{88D6D309-2A1D-4D45-BE40-8E4949588D4A}"/>
                </a:ext>
              </a:extLst>
            </p:cNvPr>
            <p:cNvSpPr/>
            <p:nvPr/>
          </p:nvSpPr>
          <p:spPr>
            <a:xfrm>
              <a:off x="5778206" y="4952535"/>
              <a:ext cx="105898" cy="61101"/>
            </a:xfrm>
            <a:custGeom>
              <a:avLst/>
              <a:gdLst>
                <a:gd name="connsiteX0" fmla="*/ 1164 w 34790"/>
                <a:gd name="connsiteY0" fmla="*/ 12029 h 20073"/>
                <a:gd name="connsiteX1" fmla="*/ 13356 w 34790"/>
                <a:gd name="connsiteY1" fmla="*/ 18983 h 20073"/>
                <a:gd name="connsiteX2" fmla="*/ 20785 w 34790"/>
                <a:gd name="connsiteY2" fmla="*/ 18983 h 20073"/>
                <a:gd name="connsiteX3" fmla="*/ 32882 w 34790"/>
                <a:gd name="connsiteY3" fmla="*/ 12029 h 20073"/>
                <a:gd name="connsiteX4" fmla="*/ 32882 w 34790"/>
                <a:gd name="connsiteY4" fmla="*/ 7743 h 20073"/>
                <a:gd name="connsiteX5" fmla="*/ 20785 w 34790"/>
                <a:gd name="connsiteY5" fmla="*/ 695 h 20073"/>
                <a:gd name="connsiteX6" fmla="*/ 13356 w 34790"/>
                <a:gd name="connsiteY6" fmla="*/ 695 h 20073"/>
                <a:gd name="connsiteX7" fmla="*/ 1164 w 34790"/>
                <a:gd name="connsiteY7" fmla="*/ 7743 h 20073"/>
                <a:gd name="connsiteX8" fmla="*/ 1164 w 34790"/>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3">
                  <a:moveTo>
                    <a:pt x="1164" y="12029"/>
                  </a:moveTo>
                  <a:lnTo>
                    <a:pt x="13356" y="18983"/>
                  </a:lnTo>
                  <a:cubicBezTo>
                    <a:pt x="15680" y="20221"/>
                    <a:pt x="18461" y="20221"/>
                    <a:pt x="20785" y="18983"/>
                  </a:cubicBezTo>
                  <a:lnTo>
                    <a:pt x="32882" y="12029"/>
                  </a:lnTo>
                  <a:cubicBezTo>
                    <a:pt x="34978" y="10791"/>
                    <a:pt x="34978" y="8886"/>
                    <a:pt x="32882" y="7743"/>
                  </a:cubicBezTo>
                  <a:lnTo>
                    <a:pt x="20785" y="695"/>
                  </a:lnTo>
                  <a:cubicBezTo>
                    <a:pt x="18442" y="-448"/>
                    <a:pt x="15699" y="-448"/>
                    <a:pt x="13356" y="695"/>
                  </a:cubicBezTo>
                  <a:lnTo>
                    <a:pt x="1164" y="7743"/>
                  </a:lnTo>
                  <a:cubicBezTo>
                    <a:pt x="-836" y="8886"/>
                    <a:pt x="-836" y="10791"/>
                    <a:pt x="1164" y="12029"/>
                  </a:cubicBezTo>
                  <a:close/>
                </a:path>
              </a:pathLst>
            </a:custGeom>
            <a:solidFill>
              <a:srgbClr val="D1D9E8"/>
            </a:solidFill>
            <a:ln w="9525" cap="flat">
              <a:noFill/>
              <a:prstDash val="solid"/>
              <a:miter/>
            </a:ln>
          </p:spPr>
          <p:txBody>
            <a:bodyPr rtlCol="0" anchor="ctr"/>
            <a:lstStyle/>
            <a:p>
              <a:endParaRPr lang="zh-CN" altLang="en-US"/>
            </a:p>
          </p:txBody>
        </p:sp>
        <p:sp>
          <p:nvSpPr>
            <p:cNvPr id="617" name="íṡľîďe">
              <a:extLst>
                <a:ext uri="{FF2B5EF4-FFF2-40B4-BE49-F238E27FC236}">
                  <a16:creationId xmlns:a16="http://schemas.microsoft.com/office/drawing/2014/main" id="{4683B326-926F-4565-96B7-87D320D4241E}"/>
                </a:ext>
              </a:extLst>
            </p:cNvPr>
            <p:cNvSpPr/>
            <p:nvPr/>
          </p:nvSpPr>
          <p:spPr>
            <a:xfrm>
              <a:off x="5776395" y="4982978"/>
              <a:ext cx="109594" cy="53564"/>
            </a:xfrm>
            <a:custGeom>
              <a:avLst/>
              <a:gdLst>
                <a:gd name="connsiteX0" fmla="*/ -336 w 36004"/>
                <a:gd name="connsiteY0" fmla="*/ -163 h 17597"/>
                <a:gd name="connsiteX1" fmla="*/ -336 w 36004"/>
                <a:gd name="connsiteY1" fmla="*/ 7076 h 17597"/>
                <a:gd name="connsiteX2" fmla="*/ 1187 w 36004"/>
                <a:gd name="connsiteY2" fmla="*/ 9267 h 17597"/>
                <a:gd name="connsiteX3" fmla="*/ 13856 w 36004"/>
                <a:gd name="connsiteY3" fmla="*/ 16506 h 17597"/>
                <a:gd name="connsiteX4" fmla="*/ 21476 w 36004"/>
                <a:gd name="connsiteY4" fmla="*/ 16506 h 17597"/>
                <a:gd name="connsiteX5" fmla="*/ 34049 w 36004"/>
                <a:gd name="connsiteY5" fmla="*/ 9267 h 17597"/>
                <a:gd name="connsiteX6" fmla="*/ 35668 w 36004"/>
                <a:gd name="connsiteY6" fmla="*/ 6981 h 17597"/>
                <a:gd name="connsiteX7" fmla="*/ 35668 w 36004"/>
                <a:gd name="connsiteY7" fmla="*/ -163 h 17597"/>
                <a:gd name="connsiteX8" fmla="*/ 34049 w 36004"/>
                <a:gd name="connsiteY8" fmla="*/ 2123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7 w 36004"/>
                <a:gd name="connsiteY13" fmla="*/ 2123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7" y="9267"/>
                  </a:cubicBezTo>
                  <a:lnTo>
                    <a:pt x="13856" y="16506"/>
                  </a:lnTo>
                  <a:cubicBezTo>
                    <a:pt x="16247" y="17744"/>
                    <a:pt x="19085" y="17744"/>
                    <a:pt x="21476" y="16506"/>
                  </a:cubicBezTo>
                  <a:lnTo>
                    <a:pt x="34049" y="9267"/>
                  </a:lnTo>
                  <a:cubicBezTo>
                    <a:pt x="34963" y="8857"/>
                    <a:pt x="35582" y="7981"/>
                    <a:pt x="35668" y="6981"/>
                  </a:cubicBezTo>
                  <a:lnTo>
                    <a:pt x="35668" y="-163"/>
                  </a:lnTo>
                  <a:cubicBezTo>
                    <a:pt x="35601" y="847"/>
                    <a:pt x="34982" y="1733"/>
                    <a:pt x="34049" y="2123"/>
                  </a:cubicBezTo>
                  <a:lnTo>
                    <a:pt x="31763" y="3457"/>
                  </a:lnTo>
                  <a:lnTo>
                    <a:pt x="21476" y="9362"/>
                  </a:lnTo>
                  <a:cubicBezTo>
                    <a:pt x="19085" y="10601"/>
                    <a:pt x="16247" y="10601"/>
                    <a:pt x="13856" y="9362"/>
                  </a:cubicBezTo>
                  <a:lnTo>
                    <a:pt x="3569" y="3457"/>
                  </a:lnTo>
                  <a:lnTo>
                    <a:pt x="1187"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18" name="îşlïďê">
              <a:extLst>
                <a:ext uri="{FF2B5EF4-FFF2-40B4-BE49-F238E27FC236}">
                  <a16:creationId xmlns:a16="http://schemas.microsoft.com/office/drawing/2014/main" id="{BE9778D8-5F71-4834-8199-B96716F673B5}"/>
                </a:ext>
              </a:extLst>
            </p:cNvPr>
            <p:cNvSpPr/>
            <p:nvPr/>
          </p:nvSpPr>
          <p:spPr>
            <a:xfrm>
              <a:off x="5853516" y="4996003"/>
              <a:ext cx="109740" cy="63442"/>
            </a:xfrm>
            <a:custGeom>
              <a:avLst/>
              <a:gdLst>
                <a:gd name="connsiteX0" fmla="*/ -336 w 36052"/>
                <a:gd name="connsiteY0" fmla="*/ 10227 h 20842"/>
                <a:gd name="connsiteX1" fmla="*/ 1283 w 36052"/>
                <a:gd name="connsiteY1" fmla="*/ 12513 h 20842"/>
                <a:gd name="connsiteX2" fmla="*/ 3569 w 36052"/>
                <a:gd name="connsiteY2" fmla="*/ 13846 h 20842"/>
                <a:gd name="connsiteX3" fmla="*/ 13856 w 36052"/>
                <a:gd name="connsiteY3" fmla="*/ 19752 h 20842"/>
                <a:gd name="connsiteX4" fmla="*/ 21476 w 36052"/>
                <a:gd name="connsiteY4" fmla="*/ 19752 h 20842"/>
                <a:gd name="connsiteX5" fmla="*/ 31763 w 36052"/>
                <a:gd name="connsiteY5" fmla="*/ 13846 h 20842"/>
                <a:gd name="connsiteX6" fmla="*/ 34144 w 36052"/>
                <a:gd name="connsiteY6" fmla="*/ 12513 h 20842"/>
                <a:gd name="connsiteX7" fmla="*/ 35573 w 36052"/>
                <a:gd name="connsiteY7" fmla="*/ 9465 h 20842"/>
                <a:gd name="connsiteX8" fmla="*/ 34144 w 36052"/>
                <a:gd name="connsiteY8" fmla="*/ 8036 h 20842"/>
                <a:gd name="connsiteX9" fmla="*/ 21476 w 36052"/>
                <a:gd name="connsiteY9" fmla="*/ 702 h 20842"/>
                <a:gd name="connsiteX10" fmla="*/ 13856 w 36052"/>
                <a:gd name="connsiteY10" fmla="*/ 702 h 20842"/>
                <a:gd name="connsiteX11" fmla="*/ 1283 w 36052"/>
                <a:gd name="connsiteY11" fmla="*/ 8036 h 20842"/>
                <a:gd name="connsiteX12" fmla="*/ -336 w 36052"/>
                <a:gd name="connsiteY12" fmla="*/ 10227 h 20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2">
                  <a:moveTo>
                    <a:pt x="-336" y="10227"/>
                  </a:moveTo>
                  <a:cubicBezTo>
                    <a:pt x="-269" y="11236"/>
                    <a:pt x="350" y="12122"/>
                    <a:pt x="1283" y="12513"/>
                  </a:cubicBezTo>
                  <a:lnTo>
                    <a:pt x="3569" y="13846"/>
                  </a:lnTo>
                  <a:lnTo>
                    <a:pt x="13856" y="19752"/>
                  </a:lnTo>
                  <a:cubicBezTo>
                    <a:pt x="16247" y="20990"/>
                    <a:pt x="19085" y="20990"/>
                    <a:pt x="21476" y="19752"/>
                  </a:cubicBezTo>
                  <a:lnTo>
                    <a:pt x="31763" y="13846"/>
                  </a:lnTo>
                  <a:lnTo>
                    <a:pt x="34144" y="12513"/>
                  </a:lnTo>
                  <a:cubicBezTo>
                    <a:pt x="35382" y="12065"/>
                    <a:pt x="36021" y="10693"/>
                    <a:pt x="35573" y="9465"/>
                  </a:cubicBezTo>
                  <a:cubicBezTo>
                    <a:pt x="35325" y="8798"/>
                    <a:pt x="34811" y="8274"/>
                    <a:pt x="34144" y="8036"/>
                  </a:cubicBezTo>
                  <a:lnTo>
                    <a:pt x="21476" y="702"/>
                  </a:lnTo>
                  <a:cubicBezTo>
                    <a:pt x="19066" y="-451"/>
                    <a:pt x="16266" y="-451"/>
                    <a:pt x="13856" y="702"/>
                  </a:cubicBezTo>
                  <a:lnTo>
                    <a:pt x="1283" y="8036"/>
                  </a:lnTo>
                  <a:cubicBezTo>
                    <a:pt x="378" y="8417"/>
                    <a:pt x="-241" y="9255"/>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619" name="ïSḻiďe">
              <a:extLst>
                <a:ext uri="{FF2B5EF4-FFF2-40B4-BE49-F238E27FC236}">
                  <a16:creationId xmlns:a16="http://schemas.microsoft.com/office/drawing/2014/main" id="{7E62B54D-12EE-44FB-9EE6-EE308A611986}"/>
                </a:ext>
              </a:extLst>
            </p:cNvPr>
            <p:cNvSpPr/>
            <p:nvPr/>
          </p:nvSpPr>
          <p:spPr>
            <a:xfrm>
              <a:off x="5855400" y="4997184"/>
              <a:ext cx="105898" cy="61104"/>
            </a:xfrm>
            <a:custGeom>
              <a:avLst/>
              <a:gdLst>
                <a:gd name="connsiteX0" fmla="*/ 1235 w 34790"/>
                <a:gd name="connsiteY0" fmla="*/ 12029 h 20074"/>
                <a:gd name="connsiteX1" fmla="*/ 13332 w 34790"/>
                <a:gd name="connsiteY1" fmla="*/ 18983 h 20074"/>
                <a:gd name="connsiteX2" fmla="*/ 20761 w 34790"/>
                <a:gd name="connsiteY2" fmla="*/ 18983 h 20074"/>
                <a:gd name="connsiteX3" fmla="*/ 32954 w 34790"/>
                <a:gd name="connsiteY3" fmla="*/ 12029 h 20074"/>
                <a:gd name="connsiteX4" fmla="*/ 32954 w 34790"/>
                <a:gd name="connsiteY4" fmla="*/ 7743 h 20074"/>
                <a:gd name="connsiteX5" fmla="*/ 20761 w 34790"/>
                <a:gd name="connsiteY5" fmla="*/ 695 h 20074"/>
                <a:gd name="connsiteX6" fmla="*/ 13332 w 34790"/>
                <a:gd name="connsiteY6" fmla="*/ 695 h 20074"/>
                <a:gd name="connsiteX7" fmla="*/ 1235 w 34790"/>
                <a:gd name="connsiteY7" fmla="*/ 7743 h 20074"/>
                <a:gd name="connsiteX8" fmla="*/ 1235 w 34790"/>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4">
                  <a:moveTo>
                    <a:pt x="1235" y="12029"/>
                  </a:moveTo>
                  <a:lnTo>
                    <a:pt x="13332" y="18983"/>
                  </a:lnTo>
                  <a:cubicBezTo>
                    <a:pt x="15656" y="20221"/>
                    <a:pt x="18437" y="20221"/>
                    <a:pt x="20761" y="18983"/>
                  </a:cubicBezTo>
                  <a:lnTo>
                    <a:pt x="32954" y="12029"/>
                  </a:lnTo>
                  <a:cubicBezTo>
                    <a:pt x="34954" y="10791"/>
                    <a:pt x="34954" y="8886"/>
                    <a:pt x="32954" y="7743"/>
                  </a:cubicBezTo>
                  <a:lnTo>
                    <a:pt x="20761" y="695"/>
                  </a:lnTo>
                  <a:cubicBezTo>
                    <a:pt x="18419" y="-448"/>
                    <a:pt x="15675" y="-448"/>
                    <a:pt x="13332" y="695"/>
                  </a:cubicBezTo>
                  <a:lnTo>
                    <a:pt x="1235" y="7743"/>
                  </a:lnTo>
                  <a:cubicBezTo>
                    <a:pt x="-860" y="8886"/>
                    <a:pt x="-860" y="10601"/>
                    <a:pt x="1235" y="12029"/>
                  </a:cubicBezTo>
                  <a:close/>
                </a:path>
              </a:pathLst>
            </a:custGeom>
            <a:solidFill>
              <a:srgbClr val="D1D9E8"/>
            </a:solidFill>
            <a:ln w="9525" cap="flat">
              <a:noFill/>
              <a:prstDash val="solid"/>
              <a:miter/>
            </a:ln>
          </p:spPr>
          <p:txBody>
            <a:bodyPr rtlCol="0" anchor="ctr"/>
            <a:lstStyle/>
            <a:p>
              <a:endParaRPr lang="zh-CN" altLang="en-US"/>
            </a:p>
          </p:txBody>
        </p:sp>
        <p:sp>
          <p:nvSpPr>
            <p:cNvPr id="620" name="îṩľïḋè">
              <a:extLst>
                <a:ext uri="{FF2B5EF4-FFF2-40B4-BE49-F238E27FC236}">
                  <a16:creationId xmlns:a16="http://schemas.microsoft.com/office/drawing/2014/main" id="{33E5153B-1132-4428-92AF-849E36B8523C}"/>
                </a:ext>
              </a:extLst>
            </p:cNvPr>
            <p:cNvSpPr/>
            <p:nvPr/>
          </p:nvSpPr>
          <p:spPr>
            <a:xfrm>
              <a:off x="5853516" y="5027629"/>
              <a:ext cx="109594" cy="53564"/>
            </a:xfrm>
            <a:custGeom>
              <a:avLst/>
              <a:gdLst>
                <a:gd name="connsiteX0" fmla="*/ -336 w 36004"/>
                <a:gd name="connsiteY0" fmla="*/ -163 h 17597"/>
                <a:gd name="connsiteX1" fmla="*/ -336 w 36004"/>
                <a:gd name="connsiteY1" fmla="*/ 7076 h 17597"/>
                <a:gd name="connsiteX2" fmla="*/ 1283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3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283 w 36004"/>
                <a:gd name="connsiteY13" fmla="*/ 2123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48"/>
                    <a:pt x="378" y="8886"/>
                    <a:pt x="1283" y="9267"/>
                  </a:cubicBezTo>
                  <a:lnTo>
                    <a:pt x="13856" y="16506"/>
                  </a:lnTo>
                  <a:cubicBezTo>
                    <a:pt x="16247" y="17744"/>
                    <a:pt x="19085" y="17744"/>
                    <a:pt x="21476" y="16506"/>
                  </a:cubicBezTo>
                  <a:lnTo>
                    <a:pt x="34144" y="9267"/>
                  </a:lnTo>
                  <a:cubicBezTo>
                    <a:pt x="35011" y="8819"/>
                    <a:pt x="35583" y="7953"/>
                    <a:pt x="35668" y="6981"/>
                  </a:cubicBezTo>
                  <a:lnTo>
                    <a:pt x="35668" y="-163"/>
                  </a:lnTo>
                  <a:cubicBezTo>
                    <a:pt x="35602" y="818"/>
                    <a:pt x="35021" y="1685"/>
                    <a:pt x="34144" y="2123"/>
                  </a:cubicBezTo>
                  <a:lnTo>
                    <a:pt x="31763" y="3457"/>
                  </a:lnTo>
                  <a:lnTo>
                    <a:pt x="21476" y="9362"/>
                  </a:lnTo>
                  <a:cubicBezTo>
                    <a:pt x="19085" y="10600"/>
                    <a:pt x="16247" y="10600"/>
                    <a:pt x="13856" y="9362"/>
                  </a:cubicBezTo>
                  <a:lnTo>
                    <a:pt x="3569" y="3457"/>
                  </a:lnTo>
                  <a:lnTo>
                    <a:pt x="1283" y="2123"/>
                  </a:lnTo>
                  <a:cubicBezTo>
                    <a:pt x="350" y="1733"/>
                    <a:pt x="-269" y="847"/>
                    <a:pt x="-336" y="-163"/>
                  </a:cubicBezTo>
                  <a:close/>
                </a:path>
              </a:pathLst>
            </a:custGeom>
            <a:solidFill>
              <a:srgbClr val="BF4200"/>
            </a:solidFill>
            <a:ln w="9525" cap="flat">
              <a:noFill/>
              <a:prstDash val="solid"/>
              <a:miter/>
            </a:ln>
          </p:spPr>
          <p:txBody>
            <a:bodyPr rtlCol="0" anchor="ctr"/>
            <a:lstStyle/>
            <a:p>
              <a:endParaRPr lang="zh-CN" altLang="en-US"/>
            </a:p>
          </p:txBody>
        </p:sp>
        <p:sp>
          <p:nvSpPr>
            <p:cNvPr id="621" name="ïṡļídé">
              <a:extLst>
                <a:ext uri="{FF2B5EF4-FFF2-40B4-BE49-F238E27FC236}">
                  <a16:creationId xmlns:a16="http://schemas.microsoft.com/office/drawing/2014/main" id="{5C3D1EE0-2E15-41EA-87BC-C53FE833ED6B}"/>
                </a:ext>
              </a:extLst>
            </p:cNvPr>
            <p:cNvSpPr/>
            <p:nvPr/>
          </p:nvSpPr>
          <p:spPr>
            <a:xfrm>
              <a:off x="5930929" y="5040456"/>
              <a:ext cx="109594" cy="63639"/>
            </a:xfrm>
            <a:custGeom>
              <a:avLst/>
              <a:gdLst>
                <a:gd name="connsiteX0" fmla="*/ -336 w 36004"/>
                <a:gd name="connsiteY0" fmla="*/ 10291 h 20907"/>
                <a:gd name="connsiteX1" fmla="*/ 1188 w 36004"/>
                <a:gd name="connsiteY1" fmla="*/ 12577 h 20907"/>
                <a:gd name="connsiteX2" fmla="*/ 3569 w 36004"/>
                <a:gd name="connsiteY2" fmla="*/ 13911 h 20907"/>
                <a:gd name="connsiteX3" fmla="*/ 13856 w 36004"/>
                <a:gd name="connsiteY3" fmla="*/ 19816 h 20907"/>
                <a:gd name="connsiteX4" fmla="*/ 21476 w 36004"/>
                <a:gd name="connsiteY4" fmla="*/ 19816 h 20907"/>
                <a:gd name="connsiteX5" fmla="*/ 31763 w 36004"/>
                <a:gd name="connsiteY5" fmla="*/ 13911 h 20907"/>
                <a:gd name="connsiteX6" fmla="*/ 34144 w 36004"/>
                <a:gd name="connsiteY6" fmla="*/ 12577 h 20907"/>
                <a:gd name="connsiteX7" fmla="*/ 35668 w 36004"/>
                <a:gd name="connsiteY7" fmla="*/ 10291 h 20907"/>
                <a:gd name="connsiteX8" fmla="*/ 34144 w 36004"/>
                <a:gd name="connsiteY8" fmla="*/ 8101 h 20907"/>
                <a:gd name="connsiteX9" fmla="*/ 21476 w 36004"/>
                <a:gd name="connsiteY9" fmla="*/ 766 h 20907"/>
                <a:gd name="connsiteX10" fmla="*/ 13856 w 36004"/>
                <a:gd name="connsiteY10" fmla="*/ 766 h 20907"/>
                <a:gd name="connsiteX11" fmla="*/ 1188 w 36004"/>
                <a:gd name="connsiteY11" fmla="*/ 8101 h 20907"/>
                <a:gd name="connsiteX12" fmla="*/ -336 w 36004"/>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907">
                  <a:moveTo>
                    <a:pt x="-336" y="10291"/>
                  </a:moveTo>
                  <a:cubicBezTo>
                    <a:pt x="-270" y="11272"/>
                    <a:pt x="311" y="12139"/>
                    <a:pt x="1188" y="12577"/>
                  </a:cubicBezTo>
                  <a:lnTo>
                    <a:pt x="3569" y="13911"/>
                  </a:lnTo>
                  <a:lnTo>
                    <a:pt x="13856" y="19816"/>
                  </a:lnTo>
                  <a:cubicBezTo>
                    <a:pt x="16247" y="21054"/>
                    <a:pt x="19085" y="21054"/>
                    <a:pt x="21476" y="19816"/>
                  </a:cubicBezTo>
                  <a:lnTo>
                    <a:pt x="31763" y="13911"/>
                  </a:lnTo>
                  <a:lnTo>
                    <a:pt x="34144" y="12577"/>
                  </a:lnTo>
                  <a:cubicBezTo>
                    <a:pt x="35021" y="12139"/>
                    <a:pt x="35602" y="11272"/>
                    <a:pt x="35668" y="10291"/>
                  </a:cubicBezTo>
                  <a:cubicBezTo>
                    <a:pt x="35611" y="9339"/>
                    <a:pt x="35021" y="8491"/>
                    <a:pt x="34144" y="8101"/>
                  </a:cubicBezTo>
                  <a:lnTo>
                    <a:pt x="21476" y="766"/>
                  </a:lnTo>
                  <a:cubicBezTo>
                    <a:pt x="19085" y="-472"/>
                    <a:pt x="16247" y="-472"/>
                    <a:pt x="13856" y="766"/>
                  </a:cubicBezTo>
                  <a:lnTo>
                    <a:pt x="1188" y="8101"/>
                  </a:lnTo>
                  <a:cubicBezTo>
                    <a:pt x="311" y="8491"/>
                    <a:pt x="-279"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622" name="îṧliḋe">
              <a:extLst>
                <a:ext uri="{FF2B5EF4-FFF2-40B4-BE49-F238E27FC236}">
                  <a16:creationId xmlns:a16="http://schemas.microsoft.com/office/drawing/2014/main" id="{7AD30AA5-2E9C-4BC3-81CC-F2287C3A14D8}"/>
                </a:ext>
              </a:extLst>
            </p:cNvPr>
            <p:cNvSpPr/>
            <p:nvPr/>
          </p:nvSpPr>
          <p:spPr>
            <a:xfrm>
              <a:off x="5932747" y="5041835"/>
              <a:ext cx="106760" cy="61101"/>
            </a:xfrm>
            <a:custGeom>
              <a:avLst/>
              <a:gdLst>
                <a:gd name="connsiteX0" fmla="*/ 1448 w 35073"/>
                <a:gd name="connsiteY0" fmla="*/ 12029 h 20073"/>
                <a:gd name="connsiteX1" fmla="*/ 13640 w 35073"/>
                <a:gd name="connsiteY1" fmla="*/ 18983 h 20073"/>
                <a:gd name="connsiteX2" fmla="*/ 21069 w 35073"/>
                <a:gd name="connsiteY2" fmla="*/ 18983 h 20073"/>
                <a:gd name="connsiteX3" fmla="*/ 33166 w 35073"/>
                <a:gd name="connsiteY3" fmla="*/ 12029 h 20073"/>
                <a:gd name="connsiteX4" fmla="*/ 33166 w 35073"/>
                <a:gd name="connsiteY4" fmla="*/ 7648 h 20073"/>
                <a:gd name="connsiteX5" fmla="*/ 20498 w 35073"/>
                <a:gd name="connsiteY5" fmla="*/ 695 h 20073"/>
                <a:gd name="connsiteX6" fmla="*/ 13068 w 35073"/>
                <a:gd name="connsiteY6" fmla="*/ 695 h 20073"/>
                <a:gd name="connsiteX7" fmla="*/ 876 w 35073"/>
                <a:gd name="connsiteY7" fmla="*/ 7648 h 20073"/>
                <a:gd name="connsiteX8" fmla="*/ -29 w 35073"/>
                <a:gd name="connsiteY8" fmla="*/ 10886 h 20073"/>
                <a:gd name="connsiteX9" fmla="*/ 1448 w 35073"/>
                <a:gd name="connsiteY9"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5073" h="20073">
                  <a:moveTo>
                    <a:pt x="1448" y="12029"/>
                  </a:moveTo>
                  <a:lnTo>
                    <a:pt x="13640" y="18983"/>
                  </a:lnTo>
                  <a:cubicBezTo>
                    <a:pt x="15964" y="20221"/>
                    <a:pt x="18745" y="20221"/>
                    <a:pt x="21069" y="18983"/>
                  </a:cubicBezTo>
                  <a:lnTo>
                    <a:pt x="33166" y="12029"/>
                  </a:lnTo>
                  <a:cubicBezTo>
                    <a:pt x="35261" y="10791"/>
                    <a:pt x="35261" y="8886"/>
                    <a:pt x="33166" y="7648"/>
                  </a:cubicBezTo>
                  <a:lnTo>
                    <a:pt x="20498" y="695"/>
                  </a:lnTo>
                  <a:cubicBezTo>
                    <a:pt x="18154" y="-448"/>
                    <a:pt x="15411" y="-448"/>
                    <a:pt x="13068" y="695"/>
                  </a:cubicBezTo>
                  <a:lnTo>
                    <a:pt x="876" y="7648"/>
                  </a:lnTo>
                  <a:cubicBezTo>
                    <a:pt x="-267" y="8296"/>
                    <a:pt x="-676" y="9743"/>
                    <a:pt x="-29" y="10886"/>
                  </a:cubicBezTo>
                  <a:cubicBezTo>
                    <a:pt x="285" y="11458"/>
                    <a:pt x="819" y="11867"/>
                    <a:pt x="1448" y="12029"/>
                  </a:cubicBezTo>
                  <a:close/>
                </a:path>
              </a:pathLst>
            </a:custGeom>
            <a:solidFill>
              <a:srgbClr val="D1D9E8"/>
            </a:solidFill>
            <a:ln w="9525" cap="flat">
              <a:noFill/>
              <a:prstDash val="solid"/>
              <a:miter/>
            </a:ln>
          </p:spPr>
          <p:txBody>
            <a:bodyPr rtlCol="0" anchor="ctr"/>
            <a:lstStyle/>
            <a:p>
              <a:endParaRPr lang="zh-CN" altLang="en-US"/>
            </a:p>
          </p:txBody>
        </p:sp>
        <p:sp>
          <p:nvSpPr>
            <p:cNvPr id="623" name="ïṩlídè">
              <a:extLst>
                <a:ext uri="{FF2B5EF4-FFF2-40B4-BE49-F238E27FC236}">
                  <a16:creationId xmlns:a16="http://schemas.microsoft.com/office/drawing/2014/main" id="{86C90858-DFD3-48AA-95A3-B6B0EA3BF0BF}"/>
                </a:ext>
              </a:extLst>
            </p:cNvPr>
            <p:cNvSpPr/>
            <p:nvPr/>
          </p:nvSpPr>
          <p:spPr>
            <a:xfrm>
              <a:off x="5930929" y="5072277"/>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4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4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20"/>
                    <a:pt x="35582" y="7953"/>
                    <a:pt x="35668" y="6981"/>
                  </a:cubicBezTo>
                  <a:lnTo>
                    <a:pt x="35668" y="-163"/>
                  </a:lnTo>
                  <a:cubicBezTo>
                    <a:pt x="35602" y="818"/>
                    <a:pt x="35021" y="1685"/>
                    <a:pt x="34144" y="2124"/>
                  </a:cubicBezTo>
                  <a:lnTo>
                    <a:pt x="31763" y="3457"/>
                  </a:lnTo>
                  <a:lnTo>
                    <a:pt x="21476" y="9362"/>
                  </a:lnTo>
                  <a:cubicBezTo>
                    <a:pt x="19085" y="10601"/>
                    <a:pt x="16247" y="10601"/>
                    <a:pt x="13856" y="9362"/>
                  </a:cubicBezTo>
                  <a:lnTo>
                    <a:pt x="3569" y="3457"/>
                  </a:lnTo>
                  <a:lnTo>
                    <a:pt x="1188" y="2124"/>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24" name="iśļíḓê">
              <a:extLst>
                <a:ext uri="{FF2B5EF4-FFF2-40B4-BE49-F238E27FC236}">
                  <a16:creationId xmlns:a16="http://schemas.microsoft.com/office/drawing/2014/main" id="{8B720D40-DE24-4A09-8F98-497196DF7E34}"/>
                </a:ext>
              </a:extLst>
            </p:cNvPr>
            <p:cNvSpPr/>
            <p:nvPr/>
          </p:nvSpPr>
          <p:spPr>
            <a:xfrm>
              <a:off x="6008053" y="5085108"/>
              <a:ext cx="109883" cy="63639"/>
            </a:xfrm>
            <a:custGeom>
              <a:avLst/>
              <a:gdLst>
                <a:gd name="connsiteX0" fmla="*/ -336 w 36099"/>
                <a:gd name="connsiteY0" fmla="*/ 10291 h 20907"/>
                <a:gd name="connsiteX1" fmla="*/ 1283 w 36099"/>
                <a:gd name="connsiteY1" fmla="*/ 12577 h 20907"/>
                <a:gd name="connsiteX2" fmla="*/ 3569 w 36099"/>
                <a:gd name="connsiteY2" fmla="*/ 13911 h 20907"/>
                <a:gd name="connsiteX3" fmla="*/ 13856 w 36099"/>
                <a:gd name="connsiteY3" fmla="*/ 19816 h 20907"/>
                <a:gd name="connsiteX4" fmla="*/ 21571 w 36099"/>
                <a:gd name="connsiteY4" fmla="*/ 19816 h 20907"/>
                <a:gd name="connsiteX5" fmla="*/ 31858 w 36099"/>
                <a:gd name="connsiteY5" fmla="*/ 13911 h 20907"/>
                <a:gd name="connsiteX6" fmla="*/ 34144 w 36099"/>
                <a:gd name="connsiteY6" fmla="*/ 12577 h 20907"/>
                <a:gd name="connsiteX7" fmla="*/ 35764 w 36099"/>
                <a:gd name="connsiteY7" fmla="*/ 10291 h 20907"/>
                <a:gd name="connsiteX8" fmla="*/ 34144 w 36099"/>
                <a:gd name="connsiteY8" fmla="*/ 8100 h 20907"/>
                <a:gd name="connsiteX9" fmla="*/ 21571 w 36099"/>
                <a:gd name="connsiteY9" fmla="*/ 766 h 20907"/>
                <a:gd name="connsiteX10" fmla="*/ 13856 w 36099"/>
                <a:gd name="connsiteY10" fmla="*/ 766 h 20907"/>
                <a:gd name="connsiteX11" fmla="*/ 1283 w 36099"/>
                <a:gd name="connsiteY11" fmla="*/ 8100 h 20907"/>
                <a:gd name="connsiteX12" fmla="*/ -336 w 36099"/>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99" h="20907">
                  <a:moveTo>
                    <a:pt x="-336" y="10291"/>
                  </a:moveTo>
                  <a:cubicBezTo>
                    <a:pt x="-270" y="11301"/>
                    <a:pt x="359" y="12187"/>
                    <a:pt x="1283" y="12577"/>
                  </a:cubicBezTo>
                  <a:lnTo>
                    <a:pt x="3569" y="13911"/>
                  </a:lnTo>
                  <a:lnTo>
                    <a:pt x="13856" y="19816"/>
                  </a:lnTo>
                  <a:cubicBezTo>
                    <a:pt x="16275" y="21054"/>
                    <a:pt x="19152" y="21054"/>
                    <a:pt x="21571" y="19816"/>
                  </a:cubicBezTo>
                  <a:lnTo>
                    <a:pt x="31858" y="13911"/>
                  </a:lnTo>
                  <a:lnTo>
                    <a:pt x="34144" y="12577"/>
                  </a:lnTo>
                  <a:cubicBezTo>
                    <a:pt x="35049" y="12149"/>
                    <a:pt x="35659" y="11282"/>
                    <a:pt x="35764" y="10291"/>
                  </a:cubicBezTo>
                  <a:cubicBezTo>
                    <a:pt x="35649" y="9329"/>
                    <a:pt x="35030" y="8491"/>
                    <a:pt x="34144" y="8100"/>
                  </a:cubicBezTo>
                  <a:lnTo>
                    <a:pt x="21571" y="766"/>
                  </a:lnTo>
                  <a:cubicBezTo>
                    <a:pt x="19152" y="-472"/>
                    <a:pt x="16275" y="-472"/>
                    <a:pt x="13856" y="766"/>
                  </a:cubicBezTo>
                  <a:lnTo>
                    <a:pt x="1283" y="8100"/>
                  </a:lnTo>
                  <a:cubicBezTo>
                    <a:pt x="369" y="8462"/>
                    <a:pt x="-260" y="9310"/>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625" name="iṥlíḑe">
              <a:extLst>
                <a:ext uri="{FF2B5EF4-FFF2-40B4-BE49-F238E27FC236}">
                  <a16:creationId xmlns:a16="http://schemas.microsoft.com/office/drawing/2014/main" id="{A4FEA2B0-8C41-4D06-9801-8402CDD16068}"/>
                </a:ext>
              </a:extLst>
            </p:cNvPr>
            <p:cNvSpPr/>
            <p:nvPr/>
          </p:nvSpPr>
          <p:spPr>
            <a:xfrm>
              <a:off x="6009938" y="5086267"/>
              <a:ext cx="105895" cy="61101"/>
            </a:xfrm>
            <a:custGeom>
              <a:avLst/>
              <a:gdLst>
                <a:gd name="connsiteX0" fmla="*/ 1235 w 34789"/>
                <a:gd name="connsiteY0" fmla="*/ 12006 h 20073"/>
                <a:gd name="connsiteX1" fmla="*/ 13332 w 34789"/>
                <a:gd name="connsiteY1" fmla="*/ 19054 h 20073"/>
                <a:gd name="connsiteX2" fmla="*/ 20761 w 34789"/>
                <a:gd name="connsiteY2" fmla="*/ 19054 h 20073"/>
                <a:gd name="connsiteX3" fmla="*/ 32953 w 34789"/>
                <a:gd name="connsiteY3" fmla="*/ 12006 h 20073"/>
                <a:gd name="connsiteX4" fmla="*/ 32953 w 34789"/>
                <a:gd name="connsiteY4" fmla="*/ 7719 h 20073"/>
                <a:gd name="connsiteX5" fmla="*/ 20761 w 34789"/>
                <a:gd name="connsiteY5" fmla="*/ 766 h 20073"/>
                <a:gd name="connsiteX6" fmla="*/ 13332 w 34789"/>
                <a:gd name="connsiteY6" fmla="*/ 766 h 20073"/>
                <a:gd name="connsiteX7" fmla="*/ 1235 w 34789"/>
                <a:gd name="connsiteY7" fmla="*/ 7719 h 20073"/>
                <a:gd name="connsiteX8" fmla="*/ 1235 w 34789"/>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89" h="20073">
                  <a:moveTo>
                    <a:pt x="1235" y="12006"/>
                  </a:moveTo>
                  <a:lnTo>
                    <a:pt x="13332" y="19054"/>
                  </a:lnTo>
                  <a:cubicBezTo>
                    <a:pt x="15675" y="20197"/>
                    <a:pt x="18418" y="20197"/>
                    <a:pt x="20761" y="19054"/>
                  </a:cubicBezTo>
                  <a:lnTo>
                    <a:pt x="32953" y="12006"/>
                  </a:lnTo>
                  <a:cubicBezTo>
                    <a:pt x="34954" y="10863"/>
                    <a:pt x="34954" y="8957"/>
                    <a:pt x="32953" y="7719"/>
                  </a:cubicBezTo>
                  <a:lnTo>
                    <a:pt x="20761" y="766"/>
                  </a:lnTo>
                  <a:cubicBezTo>
                    <a:pt x="18437" y="-472"/>
                    <a:pt x="15656" y="-472"/>
                    <a:pt x="13332" y="766"/>
                  </a:cubicBezTo>
                  <a:lnTo>
                    <a:pt x="1235" y="7719"/>
                  </a:lnTo>
                  <a:cubicBezTo>
                    <a:pt x="-860" y="8957"/>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626" name="iṥ1ïḓé">
              <a:extLst>
                <a:ext uri="{FF2B5EF4-FFF2-40B4-BE49-F238E27FC236}">
                  <a16:creationId xmlns:a16="http://schemas.microsoft.com/office/drawing/2014/main" id="{F1D60A0B-47E4-4BE7-84CE-A60B4CC23647}"/>
                </a:ext>
              </a:extLst>
            </p:cNvPr>
            <p:cNvSpPr/>
            <p:nvPr/>
          </p:nvSpPr>
          <p:spPr>
            <a:xfrm>
              <a:off x="6008053" y="5116929"/>
              <a:ext cx="109015" cy="53564"/>
            </a:xfrm>
            <a:custGeom>
              <a:avLst/>
              <a:gdLst>
                <a:gd name="connsiteX0" fmla="*/ -336 w 35814"/>
                <a:gd name="connsiteY0" fmla="*/ -163 h 17597"/>
                <a:gd name="connsiteX1" fmla="*/ -336 w 35814"/>
                <a:gd name="connsiteY1" fmla="*/ 7076 h 17597"/>
                <a:gd name="connsiteX2" fmla="*/ 1283 w 35814"/>
                <a:gd name="connsiteY2" fmla="*/ 9267 h 17597"/>
                <a:gd name="connsiteX3" fmla="*/ 13856 w 35814"/>
                <a:gd name="connsiteY3" fmla="*/ 16506 h 17597"/>
                <a:gd name="connsiteX4" fmla="*/ 21571 w 35814"/>
                <a:gd name="connsiteY4" fmla="*/ 16506 h 17597"/>
                <a:gd name="connsiteX5" fmla="*/ 33858 w 35814"/>
                <a:gd name="connsiteY5" fmla="*/ 9362 h 17597"/>
                <a:gd name="connsiteX6" fmla="*/ 35478 w 35814"/>
                <a:gd name="connsiteY6" fmla="*/ 7076 h 17597"/>
                <a:gd name="connsiteX7" fmla="*/ 35478 w 35814"/>
                <a:gd name="connsiteY7" fmla="*/ -163 h 17597"/>
                <a:gd name="connsiteX8" fmla="*/ 33858 w 35814"/>
                <a:gd name="connsiteY8" fmla="*/ 2123 h 17597"/>
                <a:gd name="connsiteX9" fmla="*/ 31572 w 35814"/>
                <a:gd name="connsiteY9" fmla="*/ 3457 h 17597"/>
                <a:gd name="connsiteX10" fmla="*/ 21285 w 35814"/>
                <a:gd name="connsiteY10" fmla="*/ 9362 h 17597"/>
                <a:gd name="connsiteX11" fmla="*/ 13570 w 35814"/>
                <a:gd name="connsiteY11" fmla="*/ 9362 h 17597"/>
                <a:gd name="connsiteX12" fmla="*/ 3283 w 35814"/>
                <a:gd name="connsiteY12" fmla="*/ 3457 h 17597"/>
                <a:gd name="connsiteX13" fmla="*/ 997 w 35814"/>
                <a:gd name="connsiteY13" fmla="*/ 2123 h 17597"/>
                <a:gd name="connsiteX14" fmla="*/ -336 w 3581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5814" h="17597">
                  <a:moveTo>
                    <a:pt x="-336" y="-163"/>
                  </a:moveTo>
                  <a:lnTo>
                    <a:pt x="-336" y="7076"/>
                  </a:lnTo>
                  <a:cubicBezTo>
                    <a:pt x="-241" y="8048"/>
                    <a:pt x="387" y="8886"/>
                    <a:pt x="1283" y="9267"/>
                  </a:cubicBezTo>
                  <a:lnTo>
                    <a:pt x="13856" y="16506"/>
                  </a:lnTo>
                  <a:cubicBezTo>
                    <a:pt x="16275" y="17744"/>
                    <a:pt x="19152" y="17744"/>
                    <a:pt x="21571" y="16506"/>
                  </a:cubicBezTo>
                  <a:lnTo>
                    <a:pt x="33858" y="9362"/>
                  </a:lnTo>
                  <a:cubicBezTo>
                    <a:pt x="34744" y="8924"/>
                    <a:pt x="35354" y="8058"/>
                    <a:pt x="35478" y="7076"/>
                  </a:cubicBezTo>
                  <a:lnTo>
                    <a:pt x="35478" y="-163"/>
                  </a:lnTo>
                  <a:cubicBezTo>
                    <a:pt x="35373" y="828"/>
                    <a:pt x="34763" y="1695"/>
                    <a:pt x="33858" y="2123"/>
                  </a:cubicBezTo>
                  <a:lnTo>
                    <a:pt x="31572" y="3457"/>
                  </a:lnTo>
                  <a:lnTo>
                    <a:pt x="21285" y="9362"/>
                  </a:lnTo>
                  <a:cubicBezTo>
                    <a:pt x="18866" y="10601"/>
                    <a:pt x="15989" y="10601"/>
                    <a:pt x="13570" y="9362"/>
                  </a:cubicBezTo>
                  <a:lnTo>
                    <a:pt x="3283" y="3457"/>
                  </a:lnTo>
                  <a:lnTo>
                    <a:pt x="997" y="2123"/>
                  </a:lnTo>
                  <a:cubicBezTo>
                    <a:pt x="178" y="1647"/>
                    <a:pt x="-327" y="780"/>
                    <a:pt x="-336" y="-163"/>
                  </a:cubicBezTo>
                  <a:close/>
                </a:path>
              </a:pathLst>
            </a:custGeom>
            <a:solidFill>
              <a:srgbClr val="BF4200"/>
            </a:solidFill>
            <a:ln w="9525" cap="flat">
              <a:noFill/>
              <a:prstDash val="solid"/>
              <a:miter/>
            </a:ln>
          </p:spPr>
          <p:txBody>
            <a:bodyPr rtlCol="0" anchor="ctr"/>
            <a:lstStyle/>
            <a:p>
              <a:endParaRPr lang="zh-CN" altLang="en-US"/>
            </a:p>
          </p:txBody>
        </p:sp>
        <p:sp>
          <p:nvSpPr>
            <p:cNvPr id="627" name="îṡḻïḋe">
              <a:extLst>
                <a:ext uri="{FF2B5EF4-FFF2-40B4-BE49-F238E27FC236}">
                  <a16:creationId xmlns:a16="http://schemas.microsoft.com/office/drawing/2014/main" id="{1A52E50A-AA9B-435E-8219-9295451422B7}"/>
                </a:ext>
              </a:extLst>
            </p:cNvPr>
            <p:cNvSpPr/>
            <p:nvPr/>
          </p:nvSpPr>
          <p:spPr>
            <a:xfrm>
              <a:off x="6085464" y="5129759"/>
              <a:ext cx="109362" cy="63588"/>
            </a:xfrm>
            <a:custGeom>
              <a:avLst/>
              <a:gdLst>
                <a:gd name="connsiteX0" fmla="*/ -336 w 35928"/>
                <a:gd name="connsiteY0" fmla="*/ 10291 h 20890"/>
                <a:gd name="connsiteX1" fmla="*/ 1188 w 35928"/>
                <a:gd name="connsiteY1" fmla="*/ 12482 h 20890"/>
                <a:gd name="connsiteX2" fmla="*/ 3569 w 35928"/>
                <a:gd name="connsiteY2" fmla="*/ 13911 h 20890"/>
                <a:gd name="connsiteX3" fmla="*/ 13856 w 35928"/>
                <a:gd name="connsiteY3" fmla="*/ 19721 h 20890"/>
                <a:gd name="connsiteX4" fmla="*/ 21476 w 35928"/>
                <a:gd name="connsiteY4" fmla="*/ 19721 h 20890"/>
                <a:gd name="connsiteX5" fmla="*/ 31763 w 35928"/>
                <a:gd name="connsiteY5" fmla="*/ 13911 h 20890"/>
                <a:gd name="connsiteX6" fmla="*/ 34144 w 35928"/>
                <a:gd name="connsiteY6" fmla="*/ 12482 h 20890"/>
                <a:gd name="connsiteX7" fmla="*/ 35402 w 35928"/>
                <a:gd name="connsiteY7" fmla="*/ 9357 h 20890"/>
                <a:gd name="connsiteX8" fmla="*/ 34144 w 35928"/>
                <a:gd name="connsiteY8" fmla="*/ 8100 h 20890"/>
                <a:gd name="connsiteX9" fmla="*/ 21476 w 35928"/>
                <a:gd name="connsiteY9" fmla="*/ 766 h 20890"/>
                <a:gd name="connsiteX10" fmla="*/ 13856 w 35928"/>
                <a:gd name="connsiteY10" fmla="*/ 766 h 20890"/>
                <a:gd name="connsiteX11" fmla="*/ 1188 w 35928"/>
                <a:gd name="connsiteY11" fmla="*/ 8100 h 20890"/>
                <a:gd name="connsiteX12" fmla="*/ -336 w 35928"/>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928" h="20890">
                  <a:moveTo>
                    <a:pt x="-336" y="10291"/>
                  </a:moveTo>
                  <a:cubicBezTo>
                    <a:pt x="-298" y="11253"/>
                    <a:pt x="292" y="12110"/>
                    <a:pt x="1188" y="12482"/>
                  </a:cubicBezTo>
                  <a:lnTo>
                    <a:pt x="3569" y="13911"/>
                  </a:lnTo>
                  <a:lnTo>
                    <a:pt x="13856" y="19721"/>
                  </a:lnTo>
                  <a:cubicBezTo>
                    <a:pt x="16218" y="21064"/>
                    <a:pt x="19114" y="21064"/>
                    <a:pt x="21476" y="19721"/>
                  </a:cubicBezTo>
                  <a:lnTo>
                    <a:pt x="31763" y="13911"/>
                  </a:lnTo>
                  <a:lnTo>
                    <a:pt x="34144" y="12482"/>
                  </a:lnTo>
                  <a:cubicBezTo>
                    <a:pt x="35354" y="11967"/>
                    <a:pt x="35916" y="10567"/>
                    <a:pt x="35402" y="9357"/>
                  </a:cubicBezTo>
                  <a:cubicBezTo>
                    <a:pt x="35164" y="8796"/>
                    <a:pt x="34706" y="8338"/>
                    <a:pt x="34144" y="8100"/>
                  </a:cubicBezTo>
                  <a:lnTo>
                    <a:pt x="21476" y="766"/>
                  </a:lnTo>
                  <a:cubicBezTo>
                    <a:pt x="19085" y="-472"/>
                    <a:pt x="16247" y="-472"/>
                    <a:pt x="13856" y="766"/>
                  </a:cubicBezTo>
                  <a:lnTo>
                    <a:pt x="1188" y="8100"/>
                  </a:lnTo>
                  <a:cubicBezTo>
                    <a:pt x="292" y="8472"/>
                    <a:pt x="-298"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628" name="îṧḷîḋé">
              <a:extLst>
                <a:ext uri="{FF2B5EF4-FFF2-40B4-BE49-F238E27FC236}">
                  <a16:creationId xmlns:a16="http://schemas.microsoft.com/office/drawing/2014/main" id="{01824EF5-CDFF-40F4-829F-6868A6E02889}"/>
                </a:ext>
              </a:extLst>
            </p:cNvPr>
            <p:cNvSpPr/>
            <p:nvPr/>
          </p:nvSpPr>
          <p:spPr>
            <a:xfrm>
              <a:off x="6087348" y="5130919"/>
              <a:ext cx="105825" cy="61101"/>
            </a:xfrm>
            <a:custGeom>
              <a:avLst/>
              <a:gdLst>
                <a:gd name="connsiteX0" fmla="*/ 1235 w 34766"/>
                <a:gd name="connsiteY0" fmla="*/ 12006 h 20073"/>
                <a:gd name="connsiteX1" fmla="*/ 13332 w 34766"/>
                <a:gd name="connsiteY1" fmla="*/ 19054 h 20073"/>
                <a:gd name="connsiteX2" fmla="*/ 20761 w 34766"/>
                <a:gd name="connsiteY2" fmla="*/ 19054 h 20073"/>
                <a:gd name="connsiteX3" fmla="*/ 32858 w 34766"/>
                <a:gd name="connsiteY3" fmla="*/ 12006 h 20073"/>
                <a:gd name="connsiteX4" fmla="*/ 32858 w 34766"/>
                <a:gd name="connsiteY4" fmla="*/ 7719 h 20073"/>
                <a:gd name="connsiteX5" fmla="*/ 20761 w 34766"/>
                <a:gd name="connsiteY5" fmla="*/ 766 h 20073"/>
                <a:gd name="connsiteX6" fmla="*/ 13332 w 34766"/>
                <a:gd name="connsiteY6" fmla="*/ 766 h 20073"/>
                <a:gd name="connsiteX7" fmla="*/ 1235 w 34766"/>
                <a:gd name="connsiteY7" fmla="*/ 7719 h 20073"/>
                <a:gd name="connsiteX8" fmla="*/ 1235 w 34766"/>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6" h="20073">
                  <a:moveTo>
                    <a:pt x="1235" y="12006"/>
                  </a:moveTo>
                  <a:lnTo>
                    <a:pt x="13332" y="19054"/>
                  </a:lnTo>
                  <a:cubicBezTo>
                    <a:pt x="15675" y="20197"/>
                    <a:pt x="18419" y="20197"/>
                    <a:pt x="20761" y="19054"/>
                  </a:cubicBezTo>
                  <a:lnTo>
                    <a:pt x="32858" y="12006"/>
                  </a:lnTo>
                  <a:cubicBezTo>
                    <a:pt x="34954" y="10863"/>
                    <a:pt x="34954" y="8958"/>
                    <a:pt x="32858" y="7719"/>
                  </a:cubicBezTo>
                  <a:lnTo>
                    <a:pt x="20761" y="766"/>
                  </a:lnTo>
                  <a:cubicBezTo>
                    <a:pt x="18437" y="-472"/>
                    <a:pt x="15656" y="-472"/>
                    <a:pt x="13332" y="766"/>
                  </a:cubicBezTo>
                  <a:lnTo>
                    <a:pt x="1235" y="7719"/>
                  </a:lnTo>
                  <a:cubicBezTo>
                    <a:pt x="-860" y="8958"/>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629" name="ï$ľiḑê">
              <a:extLst>
                <a:ext uri="{FF2B5EF4-FFF2-40B4-BE49-F238E27FC236}">
                  <a16:creationId xmlns:a16="http://schemas.microsoft.com/office/drawing/2014/main" id="{E49469B0-52B4-4C30-98A4-87D2551D6F5E}"/>
                </a:ext>
              </a:extLst>
            </p:cNvPr>
            <p:cNvSpPr/>
            <p:nvPr/>
          </p:nvSpPr>
          <p:spPr>
            <a:xfrm>
              <a:off x="6085464" y="5161577"/>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028 h 17597"/>
                <a:gd name="connsiteX9" fmla="*/ 31763 w 36004"/>
                <a:gd name="connsiteY9" fmla="*/ 3457 h 17597"/>
                <a:gd name="connsiteX10" fmla="*/ 21476 w 36004"/>
                <a:gd name="connsiteY10" fmla="*/ 9267 h 17597"/>
                <a:gd name="connsiteX11" fmla="*/ 13856 w 36004"/>
                <a:gd name="connsiteY11" fmla="*/ 9267 h 17597"/>
                <a:gd name="connsiteX12" fmla="*/ 3569 w 36004"/>
                <a:gd name="connsiteY12" fmla="*/ 3457 h 17597"/>
                <a:gd name="connsiteX13" fmla="*/ 1188 w 36004"/>
                <a:gd name="connsiteY13" fmla="*/ 2028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3" y="7953"/>
                    <a:pt x="35668" y="6981"/>
                  </a:cubicBezTo>
                  <a:lnTo>
                    <a:pt x="35668" y="-163"/>
                  </a:lnTo>
                  <a:cubicBezTo>
                    <a:pt x="35630" y="799"/>
                    <a:pt x="35040" y="1656"/>
                    <a:pt x="34144" y="2028"/>
                  </a:cubicBezTo>
                  <a:lnTo>
                    <a:pt x="31763" y="3457"/>
                  </a:lnTo>
                  <a:lnTo>
                    <a:pt x="21476" y="9267"/>
                  </a:lnTo>
                  <a:cubicBezTo>
                    <a:pt x="19114" y="10610"/>
                    <a:pt x="16218" y="10610"/>
                    <a:pt x="13856" y="9267"/>
                  </a:cubicBezTo>
                  <a:lnTo>
                    <a:pt x="3569" y="3457"/>
                  </a:lnTo>
                  <a:lnTo>
                    <a:pt x="1188" y="2028"/>
                  </a:lnTo>
                  <a:cubicBezTo>
                    <a:pt x="292" y="1656"/>
                    <a:pt x="-298" y="799"/>
                    <a:pt x="-336" y="-163"/>
                  </a:cubicBezTo>
                  <a:close/>
                </a:path>
              </a:pathLst>
            </a:custGeom>
            <a:solidFill>
              <a:srgbClr val="BF4200"/>
            </a:solidFill>
            <a:ln w="9525" cap="flat">
              <a:noFill/>
              <a:prstDash val="solid"/>
              <a:miter/>
            </a:ln>
          </p:spPr>
          <p:txBody>
            <a:bodyPr rtlCol="0" anchor="ctr"/>
            <a:lstStyle/>
            <a:p>
              <a:endParaRPr lang="zh-CN" altLang="en-US"/>
            </a:p>
          </p:txBody>
        </p:sp>
        <p:sp>
          <p:nvSpPr>
            <p:cNvPr id="630" name="ïṥḷïdé">
              <a:extLst>
                <a:ext uri="{FF2B5EF4-FFF2-40B4-BE49-F238E27FC236}">
                  <a16:creationId xmlns:a16="http://schemas.microsoft.com/office/drawing/2014/main" id="{BCE871EA-5762-420C-BA15-8937A527E99D}"/>
                </a:ext>
              </a:extLst>
            </p:cNvPr>
            <p:cNvSpPr/>
            <p:nvPr/>
          </p:nvSpPr>
          <p:spPr>
            <a:xfrm>
              <a:off x="6162588" y="5174407"/>
              <a:ext cx="109883" cy="63639"/>
            </a:xfrm>
            <a:custGeom>
              <a:avLst/>
              <a:gdLst>
                <a:gd name="connsiteX0" fmla="*/ -336 w 36099"/>
                <a:gd name="connsiteY0" fmla="*/ 10291 h 20907"/>
                <a:gd name="connsiteX1" fmla="*/ 1283 w 36099"/>
                <a:gd name="connsiteY1" fmla="*/ 12577 h 20907"/>
                <a:gd name="connsiteX2" fmla="*/ 3569 w 36099"/>
                <a:gd name="connsiteY2" fmla="*/ 13910 h 20907"/>
                <a:gd name="connsiteX3" fmla="*/ 13856 w 36099"/>
                <a:gd name="connsiteY3" fmla="*/ 19816 h 20907"/>
                <a:gd name="connsiteX4" fmla="*/ 21571 w 36099"/>
                <a:gd name="connsiteY4" fmla="*/ 19816 h 20907"/>
                <a:gd name="connsiteX5" fmla="*/ 31858 w 36099"/>
                <a:gd name="connsiteY5" fmla="*/ 13910 h 20907"/>
                <a:gd name="connsiteX6" fmla="*/ 34144 w 36099"/>
                <a:gd name="connsiteY6" fmla="*/ 12577 h 20907"/>
                <a:gd name="connsiteX7" fmla="*/ 35764 w 36099"/>
                <a:gd name="connsiteY7" fmla="*/ 10291 h 20907"/>
                <a:gd name="connsiteX8" fmla="*/ 34144 w 36099"/>
                <a:gd name="connsiteY8" fmla="*/ 8100 h 20907"/>
                <a:gd name="connsiteX9" fmla="*/ 21571 w 36099"/>
                <a:gd name="connsiteY9" fmla="*/ 766 h 20907"/>
                <a:gd name="connsiteX10" fmla="*/ 13856 w 36099"/>
                <a:gd name="connsiteY10" fmla="*/ 766 h 20907"/>
                <a:gd name="connsiteX11" fmla="*/ 1283 w 36099"/>
                <a:gd name="connsiteY11" fmla="*/ 8100 h 20907"/>
                <a:gd name="connsiteX12" fmla="*/ -336 w 36099"/>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99" h="20907">
                  <a:moveTo>
                    <a:pt x="-336" y="10291"/>
                  </a:moveTo>
                  <a:cubicBezTo>
                    <a:pt x="-231" y="11282"/>
                    <a:pt x="378" y="12148"/>
                    <a:pt x="1283" y="12577"/>
                  </a:cubicBezTo>
                  <a:lnTo>
                    <a:pt x="3569" y="13910"/>
                  </a:lnTo>
                  <a:lnTo>
                    <a:pt x="13856" y="19816"/>
                  </a:lnTo>
                  <a:cubicBezTo>
                    <a:pt x="16275" y="21054"/>
                    <a:pt x="19152" y="21054"/>
                    <a:pt x="21571" y="19816"/>
                  </a:cubicBezTo>
                  <a:lnTo>
                    <a:pt x="31858" y="13910"/>
                  </a:lnTo>
                  <a:lnTo>
                    <a:pt x="34144" y="12577"/>
                  </a:lnTo>
                  <a:cubicBezTo>
                    <a:pt x="35049" y="12148"/>
                    <a:pt x="35659" y="11282"/>
                    <a:pt x="35764" y="10291"/>
                  </a:cubicBezTo>
                  <a:cubicBezTo>
                    <a:pt x="35649" y="9329"/>
                    <a:pt x="35030" y="8491"/>
                    <a:pt x="34144" y="8100"/>
                  </a:cubicBezTo>
                  <a:lnTo>
                    <a:pt x="21571" y="766"/>
                  </a:lnTo>
                  <a:cubicBezTo>
                    <a:pt x="19152" y="-472"/>
                    <a:pt x="16275" y="-472"/>
                    <a:pt x="13856" y="766"/>
                  </a:cubicBezTo>
                  <a:lnTo>
                    <a:pt x="1283" y="8100"/>
                  </a:lnTo>
                  <a:cubicBezTo>
                    <a:pt x="397" y="8491"/>
                    <a:pt x="-222"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631" name="í$1idê">
              <a:extLst>
                <a:ext uri="{FF2B5EF4-FFF2-40B4-BE49-F238E27FC236}">
                  <a16:creationId xmlns:a16="http://schemas.microsoft.com/office/drawing/2014/main" id="{A4A8BBE0-2AAC-412A-BF69-594C6D620E0E}"/>
                </a:ext>
              </a:extLst>
            </p:cNvPr>
            <p:cNvSpPr/>
            <p:nvPr/>
          </p:nvSpPr>
          <p:spPr>
            <a:xfrm>
              <a:off x="6164907" y="5175567"/>
              <a:ext cx="106330" cy="61104"/>
            </a:xfrm>
            <a:custGeom>
              <a:avLst/>
              <a:gdLst>
                <a:gd name="connsiteX0" fmla="*/ 1378 w 34932"/>
                <a:gd name="connsiteY0" fmla="*/ 12006 h 20074"/>
                <a:gd name="connsiteX1" fmla="*/ 13475 w 34932"/>
                <a:gd name="connsiteY1" fmla="*/ 19054 h 20074"/>
                <a:gd name="connsiteX2" fmla="*/ 21000 w 34932"/>
                <a:gd name="connsiteY2" fmla="*/ 19054 h 20074"/>
                <a:gd name="connsiteX3" fmla="*/ 33096 w 34932"/>
                <a:gd name="connsiteY3" fmla="*/ 12006 h 20074"/>
                <a:gd name="connsiteX4" fmla="*/ 33096 w 34932"/>
                <a:gd name="connsiteY4" fmla="*/ 7719 h 20074"/>
                <a:gd name="connsiteX5" fmla="*/ 21000 w 34932"/>
                <a:gd name="connsiteY5" fmla="*/ 766 h 20074"/>
                <a:gd name="connsiteX6" fmla="*/ 13475 w 34932"/>
                <a:gd name="connsiteY6" fmla="*/ 766 h 20074"/>
                <a:gd name="connsiteX7" fmla="*/ 1378 w 34932"/>
                <a:gd name="connsiteY7" fmla="*/ 7719 h 20074"/>
                <a:gd name="connsiteX8" fmla="*/ 1378 w 34932"/>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932" h="20074">
                  <a:moveTo>
                    <a:pt x="1378" y="12006"/>
                  </a:moveTo>
                  <a:lnTo>
                    <a:pt x="13475" y="19054"/>
                  </a:lnTo>
                  <a:cubicBezTo>
                    <a:pt x="15856" y="20197"/>
                    <a:pt x="18618" y="20197"/>
                    <a:pt x="21000" y="19054"/>
                  </a:cubicBezTo>
                  <a:lnTo>
                    <a:pt x="33096" y="12006"/>
                  </a:lnTo>
                  <a:cubicBezTo>
                    <a:pt x="35097" y="10863"/>
                    <a:pt x="35097" y="8958"/>
                    <a:pt x="33096" y="7719"/>
                  </a:cubicBezTo>
                  <a:lnTo>
                    <a:pt x="21000" y="766"/>
                  </a:lnTo>
                  <a:cubicBezTo>
                    <a:pt x="18647" y="-472"/>
                    <a:pt x="15828" y="-472"/>
                    <a:pt x="13475" y="766"/>
                  </a:cubicBezTo>
                  <a:lnTo>
                    <a:pt x="1378" y="7719"/>
                  </a:lnTo>
                  <a:cubicBezTo>
                    <a:pt x="-908" y="9148"/>
                    <a:pt x="-908" y="10863"/>
                    <a:pt x="1378" y="12006"/>
                  </a:cubicBezTo>
                  <a:close/>
                </a:path>
              </a:pathLst>
            </a:custGeom>
            <a:solidFill>
              <a:srgbClr val="D1D9E8"/>
            </a:solidFill>
            <a:ln w="9525" cap="flat">
              <a:noFill/>
              <a:prstDash val="solid"/>
              <a:miter/>
            </a:ln>
          </p:spPr>
          <p:txBody>
            <a:bodyPr rtlCol="0" anchor="ctr"/>
            <a:lstStyle/>
            <a:p>
              <a:endParaRPr lang="zh-CN" altLang="en-US"/>
            </a:p>
          </p:txBody>
        </p:sp>
        <p:sp>
          <p:nvSpPr>
            <p:cNvPr id="632" name="išļîḓé">
              <a:extLst>
                <a:ext uri="{FF2B5EF4-FFF2-40B4-BE49-F238E27FC236}">
                  <a16:creationId xmlns:a16="http://schemas.microsoft.com/office/drawing/2014/main" id="{3ADA038C-636B-4D3B-8AD0-476FC5796898}"/>
                </a:ext>
              </a:extLst>
            </p:cNvPr>
            <p:cNvSpPr/>
            <p:nvPr/>
          </p:nvSpPr>
          <p:spPr>
            <a:xfrm>
              <a:off x="6162588" y="5206229"/>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4 w 36099"/>
                <a:gd name="connsiteY6" fmla="*/ 6981 h 17597"/>
                <a:gd name="connsiteX7" fmla="*/ 35764 w 36099"/>
                <a:gd name="connsiteY7" fmla="*/ -163 h 17597"/>
                <a:gd name="connsiteX8" fmla="*/ 34144 w 36099"/>
                <a:gd name="connsiteY8" fmla="*/ 2124 h 17597"/>
                <a:gd name="connsiteX9" fmla="*/ 31858 w 36099"/>
                <a:gd name="connsiteY9" fmla="*/ 3457 h 17597"/>
                <a:gd name="connsiteX10" fmla="*/ 21571 w 36099"/>
                <a:gd name="connsiteY10" fmla="*/ 9362 h 17597"/>
                <a:gd name="connsiteX11" fmla="*/ 13856 w 36099"/>
                <a:gd name="connsiteY11" fmla="*/ 9362 h 17597"/>
                <a:gd name="connsiteX12" fmla="*/ 3569 w 36099"/>
                <a:gd name="connsiteY12" fmla="*/ 3457 h 17597"/>
                <a:gd name="connsiteX13" fmla="*/ 1283 w 36099"/>
                <a:gd name="connsiteY13" fmla="*/ 2124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03" y="8029"/>
                    <a:pt x="407" y="8858"/>
                    <a:pt x="1283" y="9267"/>
                  </a:cubicBezTo>
                  <a:lnTo>
                    <a:pt x="13856" y="16506"/>
                  </a:lnTo>
                  <a:cubicBezTo>
                    <a:pt x="16275" y="17744"/>
                    <a:pt x="19152" y="17744"/>
                    <a:pt x="21571" y="16506"/>
                  </a:cubicBezTo>
                  <a:lnTo>
                    <a:pt x="34144" y="9267"/>
                  </a:lnTo>
                  <a:cubicBezTo>
                    <a:pt x="35030" y="8829"/>
                    <a:pt x="35640" y="7972"/>
                    <a:pt x="35764" y="6981"/>
                  </a:cubicBezTo>
                  <a:lnTo>
                    <a:pt x="35764" y="-163"/>
                  </a:lnTo>
                  <a:cubicBezTo>
                    <a:pt x="35659" y="828"/>
                    <a:pt x="35049" y="1695"/>
                    <a:pt x="34144" y="2124"/>
                  </a:cubicBezTo>
                  <a:lnTo>
                    <a:pt x="31858" y="3457"/>
                  </a:lnTo>
                  <a:lnTo>
                    <a:pt x="21571" y="9362"/>
                  </a:lnTo>
                  <a:cubicBezTo>
                    <a:pt x="19152" y="10601"/>
                    <a:pt x="16275" y="10601"/>
                    <a:pt x="13856" y="9362"/>
                  </a:cubicBezTo>
                  <a:lnTo>
                    <a:pt x="3569" y="3457"/>
                  </a:lnTo>
                  <a:lnTo>
                    <a:pt x="1283" y="2124"/>
                  </a:lnTo>
                  <a:cubicBezTo>
                    <a:pt x="378" y="1695"/>
                    <a:pt x="-231"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33" name="íṡ1íḓê">
              <a:extLst>
                <a:ext uri="{FF2B5EF4-FFF2-40B4-BE49-F238E27FC236}">
                  <a16:creationId xmlns:a16="http://schemas.microsoft.com/office/drawing/2014/main" id="{0B87FBBC-EF02-4613-A4D9-E95EE405E58C}"/>
                </a:ext>
              </a:extLst>
            </p:cNvPr>
            <p:cNvSpPr/>
            <p:nvPr/>
          </p:nvSpPr>
          <p:spPr>
            <a:xfrm>
              <a:off x="6240001" y="5219056"/>
              <a:ext cx="109594" cy="63588"/>
            </a:xfrm>
            <a:custGeom>
              <a:avLst/>
              <a:gdLst>
                <a:gd name="connsiteX0" fmla="*/ -336 w 36004"/>
                <a:gd name="connsiteY0" fmla="*/ 10291 h 20890"/>
                <a:gd name="connsiteX1" fmla="*/ 1188 w 36004"/>
                <a:gd name="connsiteY1" fmla="*/ 12482 h 20890"/>
                <a:gd name="connsiteX2" fmla="*/ 3569 w 36004"/>
                <a:gd name="connsiteY2" fmla="*/ 13911 h 20890"/>
                <a:gd name="connsiteX3" fmla="*/ 13856 w 36004"/>
                <a:gd name="connsiteY3" fmla="*/ 19721 h 20890"/>
                <a:gd name="connsiteX4" fmla="*/ 21476 w 36004"/>
                <a:gd name="connsiteY4" fmla="*/ 19721 h 20890"/>
                <a:gd name="connsiteX5" fmla="*/ 31763 w 36004"/>
                <a:gd name="connsiteY5" fmla="*/ 13911 h 20890"/>
                <a:gd name="connsiteX6" fmla="*/ 34144 w 36004"/>
                <a:gd name="connsiteY6" fmla="*/ 12482 h 20890"/>
                <a:gd name="connsiteX7" fmla="*/ 35668 w 36004"/>
                <a:gd name="connsiteY7" fmla="*/ 10291 h 20890"/>
                <a:gd name="connsiteX8" fmla="*/ 34144 w 36004"/>
                <a:gd name="connsiteY8" fmla="*/ 8005 h 20890"/>
                <a:gd name="connsiteX9" fmla="*/ 21476 w 36004"/>
                <a:gd name="connsiteY9" fmla="*/ 766 h 20890"/>
                <a:gd name="connsiteX10" fmla="*/ 13856 w 36004"/>
                <a:gd name="connsiteY10" fmla="*/ 766 h 20890"/>
                <a:gd name="connsiteX11" fmla="*/ 1188 w 36004"/>
                <a:gd name="connsiteY11" fmla="*/ 8005 h 20890"/>
                <a:gd name="connsiteX12" fmla="*/ -336 w 36004"/>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291"/>
                  </a:moveTo>
                  <a:cubicBezTo>
                    <a:pt x="-279" y="11244"/>
                    <a:pt x="311" y="12091"/>
                    <a:pt x="1188" y="12482"/>
                  </a:cubicBezTo>
                  <a:lnTo>
                    <a:pt x="3569" y="13911"/>
                  </a:lnTo>
                  <a:lnTo>
                    <a:pt x="13856" y="19721"/>
                  </a:lnTo>
                  <a:cubicBezTo>
                    <a:pt x="16218" y="21064"/>
                    <a:pt x="19114" y="21064"/>
                    <a:pt x="21476" y="19721"/>
                  </a:cubicBezTo>
                  <a:lnTo>
                    <a:pt x="31763" y="13911"/>
                  </a:lnTo>
                  <a:lnTo>
                    <a:pt x="34144" y="12482"/>
                  </a:lnTo>
                  <a:cubicBezTo>
                    <a:pt x="35021" y="12091"/>
                    <a:pt x="35611" y="11253"/>
                    <a:pt x="35668" y="10291"/>
                  </a:cubicBezTo>
                  <a:cubicBezTo>
                    <a:pt x="35602" y="9310"/>
                    <a:pt x="35021" y="8443"/>
                    <a:pt x="34144" y="8005"/>
                  </a:cubicBezTo>
                  <a:lnTo>
                    <a:pt x="21476" y="766"/>
                  </a:lnTo>
                  <a:cubicBezTo>
                    <a:pt x="19085" y="-472"/>
                    <a:pt x="16247" y="-472"/>
                    <a:pt x="13856" y="766"/>
                  </a:cubicBezTo>
                  <a:lnTo>
                    <a:pt x="1188" y="8005"/>
                  </a:lnTo>
                  <a:cubicBezTo>
                    <a:pt x="311" y="8443"/>
                    <a:pt x="-270" y="9310"/>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634" name="iṥľîḑè">
              <a:extLst>
                <a:ext uri="{FF2B5EF4-FFF2-40B4-BE49-F238E27FC236}">
                  <a16:creationId xmlns:a16="http://schemas.microsoft.com/office/drawing/2014/main" id="{0BD6F299-61C4-4F1D-A889-908C1DCA85BA}"/>
                </a:ext>
              </a:extLst>
            </p:cNvPr>
            <p:cNvSpPr/>
            <p:nvPr/>
          </p:nvSpPr>
          <p:spPr>
            <a:xfrm>
              <a:off x="6241885" y="5220218"/>
              <a:ext cx="105825" cy="61101"/>
            </a:xfrm>
            <a:custGeom>
              <a:avLst/>
              <a:gdLst>
                <a:gd name="connsiteX0" fmla="*/ 1235 w 34766"/>
                <a:gd name="connsiteY0" fmla="*/ 12006 h 20073"/>
                <a:gd name="connsiteX1" fmla="*/ 13332 w 34766"/>
                <a:gd name="connsiteY1" fmla="*/ 19054 h 20073"/>
                <a:gd name="connsiteX2" fmla="*/ 20761 w 34766"/>
                <a:gd name="connsiteY2" fmla="*/ 19054 h 20073"/>
                <a:gd name="connsiteX3" fmla="*/ 32858 w 34766"/>
                <a:gd name="connsiteY3" fmla="*/ 12006 h 20073"/>
                <a:gd name="connsiteX4" fmla="*/ 32858 w 34766"/>
                <a:gd name="connsiteY4" fmla="*/ 7719 h 20073"/>
                <a:gd name="connsiteX5" fmla="*/ 20761 w 34766"/>
                <a:gd name="connsiteY5" fmla="*/ 766 h 20073"/>
                <a:gd name="connsiteX6" fmla="*/ 13332 w 34766"/>
                <a:gd name="connsiteY6" fmla="*/ 766 h 20073"/>
                <a:gd name="connsiteX7" fmla="*/ 1235 w 34766"/>
                <a:gd name="connsiteY7" fmla="*/ 7719 h 20073"/>
                <a:gd name="connsiteX8" fmla="*/ 1235 w 34766"/>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6" h="20073">
                  <a:moveTo>
                    <a:pt x="1235" y="12006"/>
                  </a:moveTo>
                  <a:lnTo>
                    <a:pt x="13332" y="19054"/>
                  </a:lnTo>
                  <a:cubicBezTo>
                    <a:pt x="15675" y="20197"/>
                    <a:pt x="18418" y="20197"/>
                    <a:pt x="20761" y="19054"/>
                  </a:cubicBezTo>
                  <a:lnTo>
                    <a:pt x="32858" y="12006"/>
                  </a:lnTo>
                  <a:cubicBezTo>
                    <a:pt x="34954" y="10863"/>
                    <a:pt x="34954" y="8957"/>
                    <a:pt x="32858" y="7719"/>
                  </a:cubicBezTo>
                  <a:lnTo>
                    <a:pt x="20761" y="766"/>
                  </a:lnTo>
                  <a:cubicBezTo>
                    <a:pt x="18437" y="-472"/>
                    <a:pt x="15656" y="-472"/>
                    <a:pt x="13332" y="766"/>
                  </a:cubicBezTo>
                  <a:lnTo>
                    <a:pt x="1235" y="7719"/>
                  </a:lnTo>
                  <a:cubicBezTo>
                    <a:pt x="-860" y="8957"/>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635" name="ïšḻidè">
              <a:extLst>
                <a:ext uri="{FF2B5EF4-FFF2-40B4-BE49-F238E27FC236}">
                  <a16:creationId xmlns:a16="http://schemas.microsoft.com/office/drawing/2014/main" id="{A7576B87-6F2E-4CC2-8FC7-0DED50BDAD78}"/>
                </a:ext>
              </a:extLst>
            </p:cNvPr>
            <p:cNvSpPr/>
            <p:nvPr/>
          </p:nvSpPr>
          <p:spPr>
            <a:xfrm>
              <a:off x="6240001" y="5250877"/>
              <a:ext cx="109594" cy="53564"/>
            </a:xfrm>
            <a:custGeom>
              <a:avLst/>
              <a:gdLst>
                <a:gd name="connsiteX0" fmla="*/ -336 w 36004"/>
                <a:gd name="connsiteY0" fmla="*/ -163 h 17597"/>
                <a:gd name="connsiteX1" fmla="*/ -336 w 36004"/>
                <a:gd name="connsiteY1" fmla="*/ 6981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028 h 17597"/>
                <a:gd name="connsiteX9" fmla="*/ 31763 w 36004"/>
                <a:gd name="connsiteY9" fmla="*/ 3457 h 17597"/>
                <a:gd name="connsiteX10" fmla="*/ 21476 w 36004"/>
                <a:gd name="connsiteY10" fmla="*/ 9267 h 17597"/>
                <a:gd name="connsiteX11" fmla="*/ 13856 w 36004"/>
                <a:gd name="connsiteY11" fmla="*/ 9267 h 17597"/>
                <a:gd name="connsiteX12" fmla="*/ 3569 w 36004"/>
                <a:gd name="connsiteY12" fmla="*/ 3457 h 17597"/>
                <a:gd name="connsiteX13" fmla="*/ 1188 w 36004"/>
                <a:gd name="connsiteY13" fmla="*/ 2028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6981"/>
                  </a:lnTo>
                  <a:cubicBezTo>
                    <a:pt x="-270" y="7962"/>
                    <a:pt x="311" y="8829"/>
                    <a:pt x="1188" y="9267"/>
                  </a:cubicBezTo>
                  <a:lnTo>
                    <a:pt x="13856" y="16506"/>
                  </a:lnTo>
                  <a:cubicBezTo>
                    <a:pt x="16247" y="17744"/>
                    <a:pt x="19085" y="17744"/>
                    <a:pt x="21476" y="16506"/>
                  </a:cubicBezTo>
                  <a:lnTo>
                    <a:pt x="34144" y="9267"/>
                  </a:lnTo>
                  <a:cubicBezTo>
                    <a:pt x="35011" y="8819"/>
                    <a:pt x="35582" y="7953"/>
                    <a:pt x="35668" y="6981"/>
                  </a:cubicBezTo>
                  <a:lnTo>
                    <a:pt x="35668" y="-163"/>
                  </a:lnTo>
                  <a:cubicBezTo>
                    <a:pt x="35611" y="790"/>
                    <a:pt x="35021" y="1638"/>
                    <a:pt x="34144" y="2028"/>
                  </a:cubicBezTo>
                  <a:lnTo>
                    <a:pt x="31763" y="3457"/>
                  </a:lnTo>
                  <a:lnTo>
                    <a:pt x="21476" y="9267"/>
                  </a:lnTo>
                  <a:cubicBezTo>
                    <a:pt x="19114" y="10610"/>
                    <a:pt x="16218" y="10610"/>
                    <a:pt x="13856" y="9267"/>
                  </a:cubicBezTo>
                  <a:lnTo>
                    <a:pt x="3569" y="3457"/>
                  </a:lnTo>
                  <a:lnTo>
                    <a:pt x="1188" y="2028"/>
                  </a:lnTo>
                  <a:cubicBezTo>
                    <a:pt x="311" y="1638"/>
                    <a:pt x="-279" y="800"/>
                    <a:pt x="-336" y="-163"/>
                  </a:cubicBezTo>
                  <a:close/>
                </a:path>
              </a:pathLst>
            </a:custGeom>
            <a:solidFill>
              <a:srgbClr val="BF4200"/>
            </a:solidFill>
            <a:ln w="9525" cap="flat">
              <a:noFill/>
              <a:prstDash val="solid"/>
              <a:miter/>
            </a:ln>
          </p:spPr>
          <p:txBody>
            <a:bodyPr rtlCol="0" anchor="ctr"/>
            <a:lstStyle/>
            <a:p>
              <a:endParaRPr lang="zh-CN" altLang="en-US"/>
            </a:p>
          </p:txBody>
        </p:sp>
        <p:sp>
          <p:nvSpPr>
            <p:cNvPr id="636" name="ïṧlíḍe">
              <a:extLst>
                <a:ext uri="{FF2B5EF4-FFF2-40B4-BE49-F238E27FC236}">
                  <a16:creationId xmlns:a16="http://schemas.microsoft.com/office/drawing/2014/main" id="{F06E6E87-8409-43F4-80C0-7C96DDFCA79F}"/>
                </a:ext>
              </a:extLst>
            </p:cNvPr>
            <p:cNvSpPr/>
            <p:nvPr/>
          </p:nvSpPr>
          <p:spPr>
            <a:xfrm>
              <a:off x="6319441" y="5266803"/>
              <a:ext cx="146416" cy="84551"/>
            </a:xfrm>
            <a:custGeom>
              <a:avLst/>
              <a:gdLst>
                <a:gd name="connsiteX0" fmla="*/ -336 w 48101"/>
                <a:gd name="connsiteY0" fmla="*/ 9941 h 27777"/>
                <a:gd name="connsiteX1" fmla="*/ 1188 w 48101"/>
                <a:gd name="connsiteY1" fmla="*/ 12227 h 27777"/>
                <a:gd name="connsiteX2" fmla="*/ 3569 w 48101"/>
                <a:gd name="connsiteY2" fmla="*/ 13560 h 27777"/>
                <a:gd name="connsiteX3" fmla="*/ 25857 w 48101"/>
                <a:gd name="connsiteY3" fmla="*/ 26800 h 27777"/>
                <a:gd name="connsiteX4" fmla="*/ 33573 w 48101"/>
                <a:gd name="connsiteY4" fmla="*/ 26800 h 27777"/>
                <a:gd name="connsiteX5" fmla="*/ 43860 w 48101"/>
                <a:gd name="connsiteY5" fmla="*/ 20799 h 27777"/>
                <a:gd name="connsiteX6" fmla="*/ 46241 w 48101"/>
                <a:gd name="connsiteY6" fmla="*/ 19466 h 27777"/>
                <a:gd name="connsiteX7" fmla="*/ 47765 w 48101"/>
                <a:gd name="connsiteY7" fmla="*/ 17847 h 27777"/>
                <a:gd name="connsiteX8" fmla="*/ 47765 w 48101"/>
                <a:gd name="connsiteY8" fmla="*/ 16704 h 27777"/>
                <a:gd name="connsiteX9" fmla="*/ 46241 w 48101"/>
                <a:gd name="connsiteY9" fmla="*/ 14989 h 27777"/>
                <a:gd name="connsiteX10" fmla="*/ 21476 w 48101"/>
                <a:gd name="connsiteY10" fmla="*/ 702 h 27777"/>
                <a:gd name="connsiteX11" fmla="*/ 13856 w 48101"/>
                <a:gd name="connsiteY11" fmla="*/ 702 h 27777"/>
                <a:gd name="connsiteX12" fmla="*/ 1188 w 48101"/>
                <a:gd name="connsiteY12" fmla="*/ 8036 h 27777"/>
                <a:gd name="connsiteX13" fmla="*/ -336 w 48101"/>
                <a:gd name="connsiteY13" fmla="*/ 9941 h 27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8101" h="27777">
                  <a:moveTo>
                    <a:pt x="-336" y="9941"/>
                  </a:moveTo>
                  <a:cubicBezTo>
                    <a:pt x="-269" y="10922"/>
                    <a:pt x="311" y="11789"/>
                    <a:pt x="1188" y="12227"/>
                  </a:cubicBezTo>
                  <a:lnTo>
                    <a:pt x="3569" y="13560"/>
                  </a:lnTo>
                  <a:lnTo>
                    <a:pt x="25857" y="26800"/>
                  </a:lnTo>
                  <a:cubicBezTo>
                    <a:pt x="28315" y="27886"/>
                    <a:pt x="31115" y="27886"/>
                    <a:pt x="33573" y="26800"/>
                  </a:cubicBezTo>
                  <a:lnTo>
                    <a:pt x="43860" y="20799"/>
                  </a:lnTo>
                  <a:lnTo>
                    <a:pt x="46241" y="19466"/>
                  </a:lnTo>
                  <a:cubicBezTo>
                    <a:pt x="46955" y="19161"/>
                    <a:pt x="47508" y="18580"/>
                    <a:pt x="47765" y="17847"/>
                  </a:cubicBezTo>
                  <a:lnTo>
                    <a:pt x="47765" y="16704"/>
                  </a:lnTo>
                  <a:cubicBezTo>
                    <a:pt x="47479" y="15961"/>
                    <a:pt x="46946" y="15351"/>
                    <a:pt x="46241" y="14989"/>
                  </a:cubicBezTo>
                  <a:lnTo>
                    <a:pt x="21476" y="702"/>
                  </a:lnTo>
                  <a:cubicBezTo>
                    <a:pt x="19066" y="-451"/>
                    <a:pt x="16266" y="-451"/>
                    <a:pt x="13856" y="702"/>
                  </a:cubicBezTo>
                  <a:lnTo>
                    <a:pt x="1188" y="8036"/>
                  </a:lnTo>
                  <a:cubicBezTo>
                    <a:pt x="416" y="8398"/>
                    <a:pt x="-155" y="9103"/>
                    <a:pt x="-336" y="9941"/>
                  </a:cubicBezTo>
                  <a:close/>
                </a:path>
              </a:pathLst>
            </a:custGeom>
            <a:solidFill>
              <a:srgbClr val="FFFFFF"/>
            </a:solidFill>
            <a:ln w="9525" cap="flat">
              <a:noFill/>
              <a:prstDash val="solid"/>
              <a:miter/>
            </a:ln>
          </p:spPr>
          <p:txBody>
            <a:bodyPr rtlCol="0" anchor="ctr"/>
            <a:lstStyle/>
            <a:p>
              <a:endParaRPr lang="zh-CN" altLang="en-US"/>
            </a:p>
          </p:txBody>
        </p:sp>
        <p:sp>
          <p:nvSpPr>
            <p:cNvPr id="637" name="ïṩḷiḑè">
              <a:extLst>
                <a:ext uri="{FF2B5EF4-FFF2-40B4-BE49-F238E27FC236}">
                  <a16:creationId xmlns:a16="http://schemas.microsoft.com/office/drawing/2014/main" id="{144B36BB-DEDA-4168-A288-9E973391AED3}"/>
                </a:ext>
              </a:extLst>
            </p:cNvPr>
            <p:cNvSpPr/>
            <p:nvPr/>
          </p:nvSpPr>
          <p:spPr>
            <a:xfrm>
              <a:off x="6321325" y="5267113"/>
              <a:ext cx="142645" cy="82338"/>
            </a:xfrm>
            <a:custGeom>
              <a:avLst/>
              <a:gdLst>
                <a:gd name="connsiteX0" fmla="*/ 25429 w 46862"/>
                <a:gd name="connsiteY0" fmla="*/ 26031 h 27050"/>
                <a:gd name="connsiteX1" fmla="*/ 1235 w 46862"/>
                <a:gd name="connsiteY1" fmla="*/ 12029 h 27050"/>
                <a:gd name="connsiteX2" fmla="*/ 1235 w 46862"/>
                <a:gd name="connsiteY2" fmla="*/ 7743 h 27050"/>
                <a:gd name="connsiteX3" fmla="*/ 13332 w 46862"/>
                <a:gd name="connsiteY3" fmla="*/ 695 h 27050"/>
                <a:gd name="connsiteX4" fmla="*/ 20761 w 46862"/>
                <a:gd name="connsiteY4" fmla="*/ 695 h 27050"/>
                <a:gd name="connsiteX5" fmla="*/ 44955 w 46862"/>
                <a:gd name="connsiteY5" fmla="*/ 14696 h 27050"/>
                <a:gd name="connsiteX6" fmla="*/ 44955 w 46862"/>
                <a:gd name="connsiteY6" fmla="*/ 18983 h 27050"/>
                <a:gd name="connsiteX7" fmla="*/ 32858 w 46862"/>
                <a:gd name="connsiteY7" fmla="*/ 26031 h 27050"/>
                <a:gd name="connsiteX8" fmla="*/ 25429 w 46862"/>
                <a:gd name="connsiteY8" fmla="*/ 26031 h 27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862" h="27050">
                  <a:moveTo>
                    <a:pt x="25429" y="26031"/>
                  </a:moveTo>
                  <a:lnTo>
                    <a:pt x="1235" y="12029"/>
                  </a:lnTo>
                  <a:cubicBezTo>
                    <a:pt x="-860" y="10791"/>
                    <a:pt x="-860" y="8886"/>
                    <a:pt x="1235" y="7743"/>
                  </a:cubicBezTo>
                  <a:lnTo>
                    <a:pt x="13332" y="695"/>
                  </a:lnTo>
                  <a:cubicBezTo>
                    <a:pt x="15675" y="-448"/>
                    <a:pt x="18418" y="-448"/>
                    <a:pt x="20761" y="695"/>
                  </a:cubicBezTo>
                  <a:lnTo>
                    <a:pt x="44955" y="14696"/>
                  </a:lnTo>
                  <a:cubicBezTo>
                    <a:pt x="47051" y="15935"/>
                    <a:pt x="47051" y="17840"/>
                    <a:pt x="44955" y="18983"/>
                  </a:cubicBezTo>
                  <a:lnTo>
                    <a:pt x="32858" y="26031"/>
                  </a:lnTo>
                  <a:cubicBezTo>
                    <a:pt x="30515" y="27174"/>
                    <a:pt x="27772" y="27174"/>
                    <a:pt x="25429" y="26031"/>
                  </a:cubicBezTo>
                  <a:close/>
                </a:path>
              </a:pathLst>
            </a:custGeom>
            <a:solidFill>
              <a:srgbClr val="D1D9E8"/>
            </a:solidFill>
            <a:ln w="9525" cap="flat">
              <a:noFill/>
              <a:prstDash val="solid"/>
              <a:miter/>
            </a:ln>
          </p:spPr>
          <p:txBody>
            <a:bodyPr rtlCol="0" anchor="ctr"/>
            <a:lstStyle/>
            <a:p>
              <a:endParaRPr lang="zh-CN" altLang="en-US"/>
            </a:p>
          </p:txBody>
        </p:sp>
        <p:sp>
          <p:nvSpPr>
            <p:cNvPr id="638" name="ï$ľïḓe">
              <a:extLst>
                <a:ext uri="{FF2B5EF4-FFF2-40B4-BE49-F238E27FC236}">
                  <a16:creationId xmlns:a16="http://schemas.microsoft.com/office/drawing/2014/main" id="{43370BBD-4A7E-4ECB-8A96-8EE709E31B3B}"/>
                </a:ext>
              </a:extLst>
            </p:cNvPr>
            <p:cNvSpPr/>
            <p:nvPr/>
          </p:nvSpPr>
          <p:spPr>
            <a:xfrm>
              <a:off x="6319441" y="5297558"/>
              <a:ext cx="145256" cy="75599"/>
            </a:xfrm>
            <a:custGeom>
              <a:avLst/>
              <a:gdLst>
                <a:gd name="connsiteX0" fmla="*/ -336 w 47720"/>
                <a:gd name="connsiteY0" fmla="*/ -163 h 24836"/>
                <a:gd name="connsiteX1" fmla="*/ -336 w 47720"/>
                <a:gd name="connsiteY1" fmla="*/ 7172 h 24836"/>
                <a:gd name="connsiteX2" fmla="*/ 1188 w 47720"/>
                <a:gd name="connsiteY2" fmla="*/ 9457 h 24836"/>
                <a:gd name="connsiteX3" fmla="*/ 25857 w 47720"/>
                <a:gd name="connsiteY3" fmla="*/ 23745 h 24836"/>
                <a:gd name="connsiteX4" fmla="*/ 33573 w 47720"/>
                <a:gd name="connsiteY4" fmla="*/ 23745 h 24836"/>
                <a:gd name="connsiteX5" fmla="*/ 45860 w 47720"/>
                <a:gd name="connsiteY5" fmla="*/ 16697 h 24836"/>
                <a:gd name="connsiteX6" fmla="*/ 47384 w 47720"/>
                <a:gd name="connsiteY6" fmla="*/ 15077 h 24836"/>
                <a:gd name="connsiteX7" fmla="*/ 47384 w 47720"/>
                <a:gd name="connsiteY7" fmla="*/ 7172 h 24836"/>
                <a:gd name="connsiteX8" fmla="*/ 45860 w 47720"/>
                <a:gd name="connsiteY8" fmla="*/ 8791 h 24836"/>
                <a:gd name="connsiteX9" fmla="*/ 43479 w 47720"/>
                <a:gd name="connsiteY9" fmla="*/ 10124 h 24836"/>
                <a:gd name="connsiteX10" fmla="*/ 33192 w 47720"/>
                <a:gd name="connsiteY10" fmla="*/ 16125 h 24836"/>
                <a:gd name="connsiteX11" fmla="*/ 25476 w 47720"/>
                <a:gd name="connsiteY11" fmla="*/ 16125 h 24836"/>
                <a:gd name="connsiteX12" fmla="*/ 3188 w 47720"/>
                <a:gd name="connsiteY12" fmla="*/ 3171 h 24836"/>
                <a:gd name="connsiteX13" fmla="*/ 807 w 47720"/>
                <a:gd name="connsiteY13" fmla="*/ 1838 h 24836"/>
                <a:gd name="connsiteX14" fmla="*/ -336 w 47720"/>
                <a:gd name="connsiteY14" fmla="*/ -163 h 24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7720" h="24836">
                  <a:moveTo>
                    <a:pt x="-336" y="-163"/>
                  </a:moveTo>
                  <a:lnTo>
                    <a:pt x="-336" y="7172"/>
                  </a:lnTo>
                  <a:cubicBezTo>
                    <a:pt x="-308" y="8162"/>
                    <a:pt x="283" y="9057"/>
                    <a:pt x="1188" y="9457"/>
                  </a:cubicBezTo>
                  <a:lnTo>
                    <a:pt x="25857" y="23745"/>
                  </a:lnTo>
                  <a:cubicBezTo>
                    <a:pt x="28277" y="24983"/>
                    <a:pt x="31153" y="24983"/>
                    <a:pt x="33573" y="23745"/>
                  </a:cubicBezTo>
                  <a:lnTo>
                    <a:pt x="45860" y="16697"/>
                  </a:lnTo>
                  <a:cubicBezTo>
                    <a:pt x="46536" y="16344"/>
                    <a:pt x="47070" y="15773"/>
                    <a:pt x="47384" y="15077"/>
                  </a:cubicBezTo>
                  <a:lnTo>
                    <a:pt x="47384" y="7172"/>
                  </a:lnTo>
                  <a:cubicBezTo>
                    <a:pt x="47127" y="7905"/>
                    <a:pt x="46574" y="8486"/>
                    <a:pt x="45860" y="8791"/>
                  </a:cubicBezTo>
                  <a:lnTo>
                    <a:pt x="43479" y="10124"/>
                  </a:lnTo>
                  <a:lnTo>
                    <a:pt x="33192" y="16125"/>
                  </a:lnTo>
                  <a:cubicBezTo>
                    <a:pt x="30734" y="17211"/>
                    <a:pt x="27934" y="17211"/>
                    <a:pt x="25476" y="16125"/>
                  </a:cubicBezTo>
                  <a:lnTo>
                    <a:pt x="3188" y="3171"/>
                  </a:lnTo>
                  <a:lnTo>
                    <a:pt x="807" y="1838"/>
                  </a:lnTo>
                  <a:cubicBezTo>
                    <a:pt x="149" y="1371"/>
                    <a:pt x="-260" y="637"/>
                    <a:pt x="-336" y="-163"/>
                  </a:cubicBezTo>
                  <a:close/>
                </a:path>
              </a:pathLst>
            </a:custGeom>
            <a:solidFill>
              <a:srgbClr val="BF4200"/>
            </a:solidFill>
            <a:ln w="9525" cap="flat">
              <a:noFill/>
              <a:prstDash val="solid"/>
              <a:miter/>
            </a:ln>
          </p:spPr>
          <p:txBody>
            <a:bodyPr rtlCol="0" anchor="ctr"/>
            <a:lstStyle/>
            <a:p>
              <a:endParaRPr lang="zh-CN" altLang="en-US"/>
            </a:p>
          </p:txBody>
        </p:sp>
        <p:sp>
          <p:nvSpPr>
            <p:cNvPr id="639" name="ïśḷïḓé">
              <a:extLst>
                <a:ext uri="{FF2B5EF4-FFF2-40B4-BE49-F238E27FC236}">
                  <a16:creationId xmlns:a16="http://schemas.microsoft.com/office/drawing/2014/main" id="{DD71FC37-7805-41ED-9226-57575B6EDB5F}"/>
                </a:ext>
              </a:extLst>
            </p:cNvPr>
            <p:cNvSpPr/>
            <p:nvPr/>
          </p:nvSpPr>
          <p:spPr>
            <a:xfrm>
              <a:off x="5155355" y="4683839"/>
              <a:ext cx="140036" cy="81035"/>
            </a:xfrm>
            <a:custGeom>
              <a:avLst/>
              <a:gdLst>
                <a:gd name="connsiteX0" fmla="*/ -336 w 46005"/>
                <a:gd name="connsiteY0" fmla="*/ 10196 h 26622"/>
                <a:gd name="connsiteX1" fmla="*/ 1188 w 46005"/>
                <a:gd name="connsiteY1" fmla="*/ 12482 h 26622"/>
                <a:gd name="connsiteX2" fmla="*/ 3569 w 46005"/>
                <a:gd name="connsiteY2" fmla="*/ 13815 h 26622"/>
                <a:gd name="connsiteX3" fmla="*/ 23762 w 46005"/>
                <a:gd name="connsiteY3" fmla="*/ 25531 h 26622"/>
                <a:gd name="connsiteX4" fmla="*/ 31477 w 46005"/>
                <a:gd name="connsiteY4" fmla="*/ 25531 h 26622"/>
                <a:gd name="connsiteX5" fmla="*/ 41669 w 46005"/>
                <a:gd name="connsiteY5" fmla="*/ 19530 h 26622"/>
                <a:gd name="connsiteX6" fmla="*/ 44146 w 46005"/>
                <a:gd name="connsiteY6" fmla="*/ 18197 h 26622"/>
                <a:gd name="connsiteX7" fmla="*/ 45669 w 46005"/>
                <a:gd name="connsiteY7" fmla="*/ 16578 h 26622"/>
                <a:gd name="connsiteX8" fmla="*/ 45669 w 46005"/>
                <a:gd name="connsiteY8" fmla="*/ 15435 h 26622"/>
                <a:gd name="connsiteX9" fmla="*/ 44146 w 46005"/>
                <a:gd name="connsiteY9" fmla="*/ 13720 h 26622"/>
                <a:gd name="connsiteX10" fmla="*/ 21476 w 46005"/>
                <a:gd name="connsiteY10" fmla="*/ 766 h 26622"/>
                <a:gd name="connsiteX11" fmla="*/ 13856 w 46005"/>
                <a:gd name="connsiteY11" fmla="*/ 766 h 26622"/>
                <a:gd name="connsiteX12" fmla="*/ 1188 w 46005"/>
                <a:gd name="connsiteY12" fmla="*/ 8005 h 26622"/>
                <a:gd name="connsiteX13" fmla="*/ -336 w 46005"/>
                <a:gd name="connsiteY13" fmla="*/ 10196 h 26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005" h="26622">
                  <a:moveTo>
                    <a:pt x="-336" y="10196"/>
                  </a:moveTo>
                  <a:cubicBezTo>
                    <a:pt x="-308" y="11186"/>
                    <a:pt x="283" y="12082"/>
                    <a:pt x="1188" y="12482"/>
                  </a:cubicBezTo>
                  <a:lnTo>
                    <a:pt x="3569" y="13815"/>
                  </a:lnTo>
                  <a:lnTo>
                    <a:pt x="23762" y="25531"/>
                  </a:lnTo>
                  <a:cubicBezTo>
                    <a:pt x="26181" y="26769"/>
                    <a:pt x="29058" y="26769"/>
                    <a:pt x="31477" y="25531"/>
                  </a:cubicBezTo>
                  <a:lnTo>
                    <a:pt x="41669" y="19530"/>
                  </a:lnTo>
                  <a:lnTo>
                    <a:pt x="44146" y="18197"/>
                  </a:lnTo>
                  <a:cubicBezTo>
                    <a:pt x="44860" y="17892"/>
                    <a:pt x="45412" y="17311"/>
                    <a:pt x="45669" y="16578"/>
                  </a:cubicBezTo>
                  <a:lnTo>
                    <a:pt x="45669" y="15435"/>
                  </a:lnTo>
                  <a:cubicBezTo>
                    <a:pt x="45365" y="14711"/>
                    <a:pt x="44822" y="14111"/>
                    <a:pt x="44146" y="13720"/>
                  </a:cubicBezTo>
                  <a:lnTo>
                    <a:pt x="21476" y="766"/>
                  </a:lnTo>
                  <a:cubicBezTo>
                    <a:pt x="19085" y="-472"/>
                    <a:pt x="16247" y="-472"/>
                    <a:pt x="13856" y="766"/>
                  </a:cubicBezTo>
                  <a:lnTo>
                    <a:pt x="1188" y="8005"/>
                  </a:lnTo>
                  <a:cubicBezTo>
                    <a:pt x="340" y="8424"/>
                    <a:pt x="-241" y="925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640" name="iṣḷîḋe">
              <a:extLst>
                <a:ext uri="{FF2B5EF4-FFF2-40B4-BE49-F238E27FC236}">
                  <a16:creationId xmlns:a16="http://schemas.microsoft.com/office/drawing/2014/main" id="{0A985908-C8E8-453F-BA69-52026F72DDEA}"/>
                </a:ext>
              </a:extLst>
            </p:cNvPr>
            <p:cNvSpPr/>
            <p:nvPr/>
          </p:nvSpPr>
          <p:spPr>
            <a:xfrm>
              <a:off x="5158067" y="4684926"/>
              <a:ext cx="136018" cy="78570"/>
            </a:xfrm>
            <a:custGeom>
              <a:avLst/>
              <a:gdLst>
                <a:gd name="connsiteX0" fmla="*/ 23252 w 44685"/>
                <a:gd name="connsiteY0" fmla="*/ 24793 h 25812"/>
                <a:gd name="connsiteX1" fmla="*/ 1154 w 44685"/>
                <a:gd name="connsiteY1" fmla="*/ 12029 h 25812"/>
                <a:gd name="connsiteX2" fmla="*/ -189 w 44685"/>
                <a:gd name="connsiteY2" fmla="*/ 9096 h 25812"/>
                <a:gd name="connsiteX3" fmla="*/ 1154 w 44685"/>
                <a:gd name="connsiteY3" fmla="*/ 7743 h 25812"/>
                <a:gd name="connsiteX4" fmla="*/ 13250 w 44685"/>
                <a:gd name="connsiteY4" fmla="*/ 695 h 25812"/>
                <a:gd name="connsiteX5" fmla="*/ 20680 w 44685"/>
                <a:gd name="connsiteY5" fmla="*/ 695 h 25812"/>
                <a:gd name="connsiteX6" fmla="*/ 42778 w 44685"/>
                <a:gd name="connsiteY6" fmla="*/ 13458 h 25812"/>
                <a:gd name="connsiteX7" fmla="*/ 42778 w 44685"/>
                <a:gd name="connsiteY7" fmla="*/ 17744 h 25812"/>
                <a:gd name="connsiteX8" fmla="*/ 30681 w 44685"/>
                <a:gd name="connsiteY8" fmla="*/ 24793 h 25812"/>
                <a:gd name="connsiteX9" fmla="*/ 23252 w 44685"/>
                <a:gd name="connsiteY9" fmla="*/ 24793 h 25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4685" h="25812">
                  <a:moveTo>
                    <a:pt x="23252" y="24793"/>
                  </a:moveTo>
                  <a:lnTo>
                    <a:pt x="1154" y="12029"/>
                  </a:lnTo>
                  <a:cubicBezTo>
                    <a:pt x="-27" y="11591"/>
                    <a:pt x="-637" y="10277"/>
                    <a:pt x="-189" y="9096"/>
                  </a:cubicBezTo>
                  <a:cubicBezTo>
                    <a:pt x="39" y="8467"/>
                    <a:pt x="535" y="7972"/>
                    <a:pt x="1154" y="7743"/>
                  </a:cubicBezTo>
                  <a:lnTo>
                    <a:pt x="13250" y="695"/>
                  </a:lnTo>
                  <a:cubicBezTo>
                    <a:pt x="15594" y="-448"/>
                    <a:pt x="18337" y="-448"/>
                    <a:pt x="20680" y="695"/>
                  </a:cubicBezTo>
                  <a:lnTo>
                    <a:pt x="42778" y="13458"/>
                  </a:lnTo>
                  <a:cubicBezTo>
                    <a:pt x="44873" y="14696"/>
                    <a:pt x="44873" y="16601"/>
                    <a:pt x="42778" y="17744"/>
                  </a:cubicBezTo>
                  <a:lnTo>
                    <a:pt x="30681" y="24793"/>
                  </a:lnTo>
                  <a:cubicBezTo>
                    <a:pt x="28338" y="25936"/>
                    <a:pt x="25595" y="25936"/>
                    <a:pt x="23252" y="24793"/>
                  </a:cubicBezTo>
                  <a:close/>
                </a:path>
              </a:pathLst>
            </a:custGeom>
            <a:solidFill>
              <a:srgbClr val="D1D9E8"/>
            </a:solidFill>
            <a:ln w="9525" cap="flat">
              <a:noFill/>
              <a:prstDash val="solid"/>
              <a:miter/>
            </a:ln>
          </p:spPr>
          <p:txBody>
            <a:bodyPr rtlCol="0" anchor="ctr"/>
            <a:lstStyle/>
            <a:p>
              <a:endParaRPr lang="zh-CN" altLang="en-US"/>
            </a:p>
          </p:txBody>
        </p:sp>
        <p:sp>
          <p:nvSpPr>
            <p:cNvPr id="641" name="ïSḷíďê">
              <a:extLst>
                <a:ext uri="{FF2B5EF4-FFF2-40B4-BE49-F238E27FC236}">
                  <a16:creationId xmlns:a16="http://schemas.microsoft.com/office/drawing/2014/main" id="{6E5D467F-B04A-4FF8-AF4F-83AD1A4304B3}"/>
                </a:ext>
              </a:extLst>
            </p:cNvPr>
            <p:cNvSpPr/>
            <p:nvPr/>
          </p:nvSpPr>
          <p:spPr>
            <a:xfrm>
              <a:off x="5155355" y="4715368"/>
              <a:ext cx="140036" cy="71249"/>
            </a:xfrm>
            <a:custGeom>
              <a:avLst/>
              <a:gdLst>
                <a:gd name="connsiteX0" fmla="*/ -336 w 46005"/>
                <a:gd name="connsiteY0" fmla="*/ -163 h 23407"/>
                <a:gd name="connsiteX1" fmla="*/ -336 w 46005"/>
                <a:gd name="connsiteY1" fmla="*/ 7076 h 23407"/>
                <a:gd name="connsiteX2" fmla="*/ 1188 w 46005"/>
                <a:gd name="connsiteY2" fmla="*/ 9267 h 23407"/>
                <a:gd name="connsiteX3" fmla="*/ 23762 w 46005"/>
                <a:gd name="connsiteY3" fmla="*/ 22317 h 23407"/>
                <a:gd name="connsiteX4" fmla="*/ 31477 w 46005"/>
                <a:gd name="connsiteY4" fmla="*/ 22317 h 23407"/>
                <a:gd name="connsiteX5" fmla="*/ 44146 w 46005"/>
                <a:gd name="connsiteY5" fmla="*/ 14982 h 23407"/>
                <a:gd name="connsiteX6" fmla="*/ 45669 w 46005"/>
                <a:gd name="connsiteY6" fmla="*/ 13363 h 23407"/>
                <a:gd name="connsiteX7" fmla="*/ 45669 w 46005"/>
                <a:gd name="connsiteY7" fmla="*/ 6219 h 23407"/>
                <a:gd name="connsiteX8" fmla="*/ 44146 w 46005"/>
                <a:gd name="connsiteY8" fmla="*/ 7838 h 23407"/>
                <a:gd name="connsiteX9" fmla="*/ 41669 w 46005"/>
                <a:gd name="connsiteY9" fmla="*/ 9172 h 23407"/>
                <a:gd name="connsiteX10" fmla="*/ 31477 w 46005"/>
                <a:gd name="connsiteY10" fmla="*/ 15173 h 23407"/>
                <a:gd name="connsiteX11" fmla="*/ 23762 w 46005"/>
                <a:gd name="connsiteY11" fmla="*/ 15173 h 23407"/>
                <a:gd name="connsiteX12" fmla="*/ 3569 w 46005"/>
                <a:gd name="connsiteY12" fmla="*/ 3457 h 23407"/>
                <a:gd name="connsiteX13" fmla="*/ 1188 w 46005"/>
                <a:gd name="connsiteY13" fmla="*/ 2124 h 23407"/>
                <a:gd name="connsiteX14" fmla="*/ -336 w 46005"/>
                <a:gd name="connsiteY14" fmla="*/ -163 h 234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6005" h="23407">
                  <a:moveTo>
                    <a:pt x="-336" y="-163"/>
                  </a:moveTo>
                  <a:lnTo>
                    <a:pt x="-336" y="7076"/>
                  </a:lnTo>
                  <a:cubicBezTo>
                    <a:pt x="-279" y="8029"/>
                    <a:pt x="311" y="8877"/>
                    <a:pt x="1188" y="9267"/>
                  </a:cubicBezTo>
                  <a:lnTo>
                    <a:pt x="23762" y="22317"/>
                  </a:lnTo>
                  <a:cubicBezTo>
                    <a:pt x="26181" y="23555"/>
                    <a:pt x="29058" y="23555"/>
                    <a:pt x="31477" y="22317"/>
                  </a:cubicBezTo>
                  <a:lnTo>
                    <a:pt x="44146" y="14982"/>
                  </a:lnTo>
                  <a:cubicBezTo>
                    <a:pt x="44822" y="14630"/>
                    <a:pt x="45355" y="14058"/>
                    <a:pt x="45669" y="13363"/>
                  </a:cubicBezTo>
                  <a:lnTo>
                    <a:pt x="45669" y="6219"/>
                  </a:lnTo>
                  <a:cubicBezTo>
                    <a:pt x="45412" y="6953"/>
                    <a:pt x="44860" y="7534"/>
                    <a:pt x="44146" y="7838"/>
                  </a:cubicBezTo>
                  <a:lnTo>
                    <a:pt x="41669" y="9172"/>
                  </a:lnTo>
                  <a:lnTo>
                    <a:pt x="31477" y="15173"/>
                  </a:lnTo>
                  <a:cubicBezTo>
                    <a:pt x="29058" y="16411"/>
                    <a:pt x="26181" y="16411"/>
                    <a:pt x="23762" y="15173"/>
                  </a:cubicBezTo>
                  <a:lnTo>
                    <a:pt x="3569" y="3457"/>
                  </a:lnTo>
                  <a:lnTo>
                    <a:pt x="1188" y="2124"/>
                  </a:lnTo>
                  <a:cubicBezTo>
                    <a:pt x="283" y="1723"/>
                    <a:pt x="-308"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42" name="íšḻiḍè">
              <a:extLst>
                <a:ext uri="{FF2B5EF4-FFF2-40B4-BE49-F238E27FC236}">
                  <a16:creationId xmlns:a16="http://schemas.microsoft.com/office/drawing/2014/main" id="{5112F7A3-11EE-4E83-B891-3E71A0CE2ADE}"/>
                </a:ext>
              </a:extLst>
            </p:cNvPr>
            <p:cNvSpPr/>
            <p:nvPr/>
          </p:nvSpPr>
          <p:spPr>
            <a:xfrm>
              <a:off x="5264952" y="4746465"/>
              <a:ext cx="109594" cy="63639"/>
            </a:xfrm>
            <a:custGeom>
              <a:avLst/>
              <a:gdLst>
                <a:gd name="connsiteX0" fmla="*/ -336 w 36004"/>
                <a:gd name="connsiteY0" fmla="*/ 10291 h 20907"/>
                <a:gd name="connsiteX1" fmla="*/ 1188 w 36004"/>
                <a:gd name="connsiteY1" fmla="*/ 12577 h 20907"/>
                <a:gd name="connsiteX2" fmla="*/ 3569 w 36004"/>
                <a:gd name="connsiteY2" fmla="*/ 13911 h 20907"/>
                <a:gd name="connsiteX3" fmla="*/ 13856 w 36004"/>
                <a:gd name="connsiteY3" fmla="*/ 19816 h 20907"/>
                <a:gd name="connsiteX4" fmla="*/ 21476 w 36004"/>
                <a:gd name="connsiteY4" fmla="*/ 19816 h 20907"/>
                <a:gd name="connsiteX5" fmla="*/ 31763 w 36004"/>
                <a:gd name="connsiteY5" fmla="*/ 13911 h 20907"/>
                <a:gd name="connsiteX6" fmla="*/ 34144 w 36004"/>
                <a:gd name="connsiteY6" fmla="*/ 12577 h 20907"/>
                <a:gd name="connsiteX7" fmla="*/ 35668 w 36004"/>
                <a:gd name="connsiteY7" fmla="*/ 10291 h 20907"/>
                <a:gd name="connsiteX8" fmla="*/ 34144 w 36004"/>
                <a:gd name="connsiteY8" fmla="*/ 8100 h 20907"/>
                <a:gd name="connsiteX9" fmla="*/ 21476 w 36004"/>
                <a:gd name="connsiteY9" fmla="*/ 766 h 20907"/>
                <a:gd name="connsiteX10" fmla="*/ 13856 w 36004"/>
                <a:gd name="connsiteY10" fmla="*/ 766 h 20907"/>
                <a:gd name="connsiteX11" fmla="*/ 1188 w 36004"/>
                <a:gd name="connsiteY11" fmla="*/ 8100 h 20907"/>
                <a:gd name="connsiteX12" fmla="*/ -336 w 36004"/>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907">
                  <a:moveTo>
                    <a:pt x="-336" y="10291"/>
                  </a:moveTo>
                  <a:cubicBezTo>
                    <a:pt x="-270" y="11272"/>
                    <a:pt x="311" y="12139"/>
                    <a:pt x="1188" y="12577"/>
                  </a:cubicBezTo>
                  <a:lnTo>
                    <a:pt x="3569" y="13911"/>
                  </a:lnTo>
                  <a:lnTo>
                    <a:pt x="13856" y="19816"/>
                  </a:lnTo>
                  <a:cubicBezTo>
                    <a:pt x="16247" y="21054"/>
                    <a:pt x="19085" y="21054"/>
                    <a:pt x="21476" y="19816"/>
                  </a:cubicBezTo>
                  <a:lnTo>
                    <a:pt x="31763" y="13911"/>
                  </a:lnTo>
                  <a:lnTo>
                    <a:pt x="34144" y="12577"/>
                  </a:lnTo>
                  <a:cubicBezTo>
                    <a:pt x="35021" y="12139"/>
                    <a:pt x="35602" y="11272"/>
                    <a:pt x="35668" y="10291"/>
                  </a:cubicBezTo>
                  <a:cubicBezTo>
                    <a:pt x="35611" y="9339"/>
                    <a:pt x="35021" y="8491"/>
                    <a:pt x="34144" y="8100"/>
                  </a:cubicBezTo>
                  <a:lnTo>
                    <a:pt x="21476" y="766"/>
                  </a:lnTo>
                  <a:cubicBezTo>
                    <a:pt x="19085" y="-472"/>
                    <a:pt x="16247" y="-472"/>
                    <a:pt x="13856" y="766"/>
                  </a:cubicBezTo>
                  <a:lnTo>
                    <a:pt x="1188" y="8100"/>
                  </a:lnTo>
                  <a:cubicBezTo>
                    <a:pt x="311" y="8491"/>
                    <a:pt x="-279"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643" name="işḻiḓè">
              <a:extLst>
                <a:ext uri="{FF2B5EF4-FFF2-40B4-BE49-F238E27FC236}">
                  <a16:creationId xmlns:a16="http://schemas.microsoft.com/office/drawing/2014/main" id="{C9DD8A0B-C777-471D-BD71-92398E24CDC1}"/>
                </a:ext>
              </a:extLst>
            </p:cNvPr>
            <p:cNvSpPr/>
            <p:nvPr/>
          </p:nvSpPr>
          <p:spPr>
            <a:xfrm>
              <a:off x="5266763" y="4747624"/>
              <a:ext cx="105895" cy="61101"/>
            </a:xfrm>
            <a:custGeom>
              <a:avLst/>
              <a:gdLst>
                <a:gd name="connsiteX0" fmla="*/ 1164 w 34789"/>
                <a:gd name="connsiteY0" fmla="*/ 12006 h 20073"/>
                <a:gd name="connsiteX1" fmla="*/ 13356 w 34789"/>
                <a:gd name="connsiteY1" fmla="*/ 19054 h 20073"/>
                <a:gd name="connsiteX2" fmla="*/ 20785 w 34789"/>
                <a:gd name="connsiteY2" fmla="*/ 19054 h 20073"/>
                <a:gd name="connsiteX3" fmla="*/ 32882 w 34789"/>
                <a:gd name="connsiteY3" fmla="*/ 12006 h 20073"/>
                <a:gd name="connsiteX4" fmla="*/ 32882 w 34789"/>
                <a:gd name="connsiteY4" fmla="*/ 7719 h 20073"/>
                <a:gd name="connsiteX5" fmla="*/ 20785 w 34789"/>
                <a:gd name="connsiteY5" fmla="*/ 766 h 20073"/>
                <a:gd name="connsiteX6" fmla="*/ 13356 w 34789"/>
                <a:gd name="connsiteY6" fmla="*/ 766 h 20073"/>
                <a:gd name="connsiteX7" fmla="*/ 1164 w 34789"/>
                <a:gd name="connsiteY7" fmla="*/ 7719 h 20073"/>
                <a:gd name="connsiteX8" fmla="*/ 1164 w 34789"/>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89" h="20073">
                  <a:moveTo>
                    <a:pt x="1164" y="12006"/>
                  </a:moveTo>
                  <a:lnTo>
                    <a:pt x="13356" y="19054"/>
                  </a:lnTo>
                  <a:cubicBezTo>
                    <a:pt x="15699" y="20197"/>
                    <a:pt x="18442" y="20197"/>
                    <a:pt x="20785" y="19054"/>
                  </a:cubicBezTo>
                  <a:lnTo>
                    <a:pt x="32882" y="12006"/>
                  </a:lnTo>
                  <a:cubicBezTo>
                    <a:pt x="34977" y="10863"/>
                    <a:pt x="34977" y="8958"/>
                    <a:pt x="32882" y="7719"/>
                  </a:cubicBezTo>
                  <a:lnTo>
                    <a:pt x="20785" y="766"/>
                  </a:lnTo>
                  <a:cubicBezTo>
                    <a:pt x="18461" y="-472"/>
                    <a:pt x="15680" y="-472"/>
                    <a:pt x="13356" y="766"/>
                  </a:cubicBezTo>
                  <a:lnTo>
                    <a:pt x="1164" y="7719"/>
                  </a:lnTo>
                  <a:cubicBezTo>
                    <a:pt x="-836" y="8958"/>
                    <a:pt x="-836" y="10863"/>
                    <a:pt x="1164" y="12006"/>
                  </a:cubicBezTo>
                  <a:close/>
                </a:path>
              </a:pathLst>
            </a:custGeom>
            <a:solidFill>
              <a:srgbClr val="D1D9E8"/>
            </a:solidFill>
            <a:ln w="9525" cap="flat">
              <a:noFill/>
              <a:prstDash val="solid"/>
              <a:miter/>
            </a:ln>
          </p:spPr>
          <p:txBody>
            <a:bodyPr rtlCol="0" anchor="ctr"/>
            <a:lstStyle/>
            <a:p>
              <a:endParaRPr lang="zh-CN" altLang="en-US"/>
            </a:p>
          </p:txBody>
        </p:sp>
        <p:sp>
          <p:nvSpPr>
            <p:cNvPr id="644" name="ïS1îḋê">
              <a:extLst>
                <a:ext uri="{FF2B5EF4-FFF2-40B4-BE49-F238E27FC236}">
                  <a16:creationId xmlns:a16="http://schemas.microsoft.com/office/drawing/2014/main" id="{92E2943E-2894-49B0-8E20-F4DF33812B67}"/>
                </a:ext>
              </a:extLst>
            </p:cNvPr>
            <p:cNvSpPr/>
            <p:nvPr/>
          </p:nvSpPr>
          <p:spPr>
            <a:xfrm>
              <a:off x="5264952" y="4778286"/>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3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3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2" y="7953"/>
                    <a:pt x="35668" y="6981"/>
                  </a:cubicBezTo>
                  <a:lnTo>
                    <a:pt x="35668" y="-163"/>
                  </a:lnTo>
                  <a:cubicBezTo>
                    <a:pt x="35602" y="818"/>
                    <a:pt x="35021" y="1685"/>
                    <a:pt x="34144" y="2123"/>
                  </a:cubicBezTo>
                  <a:lnTo>
                    <a:pt x="31763" y="3457"/>
                  </a:lnTo>
                  <a:lnTo>
                    <a:pt x="21476" y="9362"/>
                  </a:lnTo>
                  <a:cubicBezTo>
                    <a:pt x="19085" y="10601"/>
                    <a:pt x="16247" y="10601"/>
                    <a:pt x="13856" y="9362"/>
                  </a:cubicBezTo>
                  <a:lnTo>
                    <a:pt x="3569" y="3457"/>
                  </a:lnTo>
                  <a:lnTo>
                    <a:pt x="1188"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45" name="íS1ïḋê">
              <a:extLst>
                <a:ext uri="{FF2B5EF4-FFF2-40B4-BE49-F238E27FC236}">
                  <a16:creationId xmlns:a16="http://schemas.microsoft.com/office/drawing/2014/main" id="{95B4C2E7-5FBF-43A1-8DED-B325DC39224F}"/>
                </a:ext>
              </a:extLst>
            </p:cNvPr>
            <p:cNvSpPr/>
            <p:nvPr/>
          </p:nvSpPr>
          <p:spPr>
            <a:xfrm>
              <a:off x="5342073" y="4791116"/>
              <a:ext cx="109883" cy="63588"/>
            </a:xfrm>
            <a:custGeom>
              <a:avLst/>
              <a:gdLst>
                <a:gd name="connsiteX0" fmla="*/ -336 w 36099"/>
                <a:gd name="connsiteY0" fmla="*/ 10291 h 20890"/>
                <a:gd name="connsiteX1" fmla="*/ 1283 w 36099"/>
                <a:gd name="connsiteY1" fmla="*/ 12577 h 20890"/>
                <a:gd name="connsiteX2" fmla="*/ 3569 w 36099"/>
                <a:gd name="connsiteY2" fmla="*/ 13910 h 20890"/>
                <a:gd name="connsiteX3" fmla="*/ 13856 w 36099"/>
                <a:gd name="connsiteY3" fmla="*/ 19721 h 20890"/>
                <a:gd name="connsiteX4" fmla="*/ 21571 w 36099"/>
                <a:gd name="connsiteY4" fmla="*/ 19721 h 20890"/>
                <a:gd name="connsiteX5" fmla="*/ 31858 w 36099"/>
                <a:gd name="connsiteY5" fmla="*/ 13910 h 20890"/>
                <a:gd name="connsiteX6" fmla="*/ 34144 w 36099"/>
                <a:gd name="connsiteY6" fmla="*/ 12577 h 20890"/>
                <a:gd name="connsiteX7" fmla="*/ 35764 w 36099"/>
                <a:gd name="connsiteY7" fmla="*/ 10291 h 20890"/>
                <a:gd name="connsiteX8" fmla="*/ 34144 w 36099"/>
                <a:gd name="connsiteY8" fmla="*/ 8100 h 20890"/>
                <a:gd name="connsiteX9" fmla="*/ 21571 w 36099"/>
                <a:gd name="connsiteY9" fmla="*/ 766 h 20890"/>
                <a:gd name="connsiteX10" fmla="*/ 13856 w 36099"/>
                <a:gd name="connsiteY10" fmla="*/ 766 h 20890"/>
                <a:gd name="connsiteX11" fmla="*/ 1283 w 36099"/>
                <a:gd name="connsiteY11" fmla="*/ 8100 h 20890"/>
                <a:gd name="connsiteX12" fmla="*/ -336 w 36099"/>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99" h="20890">
                  <a:moveTo>
                    <a:pt x="-336" y="10291"/>
                  </a:moveTo>
                  <a:cubicBezTo>
                    <a:pt x="-270" y="11301"/>
                    <a:pt x="359" y="12186"/>
                    <a:pt x="1283" y="12577"/>
                  </a:cubicBezTo>
                  <a:lnTo>
                    <a:pt x="3569" y="13910"/>
                  </a:lnTo>
                  <a:lnTo>
                    <a:pt x="13856" y="19721"/>
                  </a:lnTo>
                  <a:cubicBezTo>
                    <a:pt x="16256" y="21064"/>
                    <a:pt x="19171" y="21064"/>
                    <a:pt x="21571" y="19721"/>
                  </a:cubicBezTo>
                  <a:lnTo>
                    <a:pt x="31858" y="13910"/>
                  </a:lnTo>
                  <a:lnTo>
                    <a:pt x="34144" y="12577"/>
                  </a:lnTo>
                  <a:cubicBezTo>
                    <a:pt x="35049" y="12148"/>
                    <a:pt x="35659" y="11282"/>
                    <a:pt x="35764" y="10291"/>
                  </a:cubicBezTo>
                  <a:cubicBezTo>
                    <a:pt x="35687" y="9310"/>
                    <a:pt x="35059" y="8462"/>
                    <a:pt x="34144" y="8100"/>
                  </a:cubicBezTo>
                  <a:lnTo>
                    <a:pt x="21571" y="766"/>
                  </a:lnTo>
                  <a:cubicBezTo>
                    <a:pt x="19152" y="-472"/>
                    <a:pt x="16275" y="-472"/>
                    <a:pt x="13856" y="766"/>
                  </a:cubicBezTo>
                  <a:lnTo>
                    <a:pt x="1283" y="8100"/>
                  </a:lnTo>
                  <a:cubicBezTo>
                    <a:pt x="349" y="8443"/>
                    <a:pt x="-279" y="9301"/>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646" name="íślîḋé">
              <a:extLst>
                <a:ext uri="{FF2B5EF4-FFF2-40B4-BE49-F238E27FC236}">
                  <a16:creationId xmlns:a16="http://schemas.microsoft.com/office/drawing/2014/main" id="{86554CDE-F7D6-477C-943D-AC85A5DC4CE5}"/>
                </a:ext>
              </a:extLst>
            </p:cNvPr>
            <p:cNvSpPr/>
            <p:nvPr/>
          </p:nvSpPr>
          <p:spPr>
            <a:xfrm>
              <a:off x="5343957" y="4792273"/>
              <a:ext cx="105895" cy="61104"/>
            </a:xfrm>
            <a:custGeom>
              <a:avLst/>
              <a:gdLst>
                <a:gd name="connsiteX0" fmla="*/ 1235 w 34789"/>
                <a:gd name="connsiteY0" fmla="*/ 12006 h 20074"/>
                <a:gd name="connsiteX1" fmla="*/ 13332 w 34789"/>
                <a:gd name="connsiteY1" fmla="*/ 19054 h 20074"/>
                <a:gd name="connsiteX2" fmla="*/ 20761 w 34789"/>
                <a:gd name="connsiteY2" fmla="*/ 19054 h 20074"/>
                <a:gd name="connsiteX3" fmla="*/ 32953 w 34789"/>
                <a:gd name="connsiteY3" fmla="*/ 12006 h 20074"/>
                <a:gd name="connsiteX4" fmla="*/ 32953 w 34789"/>
                <a:gd name="connsiteY4" fmla="*/ 7719 h 20074"/>
                <a:gd name="connsiteX5" fmla="*/ 20761 w 34789"/>
                <a:gd name="connsiteY5" fmla="*/ 766 h 20074"/>
                <a:gd name="connsiteX6" fmla="*/ 13332 w 34789"/>
                <a:gd name="connsiteY6" fmla="*/ 766 h 20074"/>
                <a:gd name="connsiteX7" fmla="*/ 1235 w 34789"/>
                <a:gd name="connsiteY7" fmla="*/ 7719 h 20074"/>
                <a:gd name="connsiteX8" fmla="*/ 1235 w 34789"/>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89" h="20074">
                  <a:moveTo>
                    <a:pt x="1235" y="12006"/>
                  </a:moveTo>
                  <a:lnTo>
                    <a:pt x="13332" y="19054"/>
                  </a:lnTo>
                  <a:cubicBezTo>
                    <a:pt x="15675" y="20197"/>
                    <a:pt x="18418" y="20197"/>
                    <a:pt x="20761" y="19054"/>
                  </a:cubicBezTo>
                  <a:lnTo>
                    <a:pt x="32953" y="12006"/>
                  </a:lnTo>
                  <a:cubicBezTo>
                    <a:pt x="34954" y="10863"/>
                    <a:pt x="34954" y="8958"/>
                    <a:pt x="32953" y="7719"/>
                  </a:cubicBezTo>
                  <a:lnTo>
                    <a:pt x="20761" y="766"/>
                  </a:lnTo>
                  <a:cubicBezTo>
                    <a:pt x="18437" y="-472"/>
                    <a:pt x="15656" y="-472"/>
                    <a:pt x="13332" y="766"/>
                  </a:cubicBezTo>
                  <a:lnTo>
                    <a:pt x="1235" y="7719"/>
                  </a:lnTo>
                  <a:cubicBezTo>
                    <a:pt x="-860" y="8958"/>
                    <a:pt x="-860" y="11244"/>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647" name="îṥľîḍê">
              <a:extLst>
                <a:ext uri="{FF2B5EF4-FFF2-40B4-BE49-F238E27FC236}">
                  <a16:creationId xmlns:a16="http://schemas.microsoft.com/office/drawing/2014/main" id="{7C52CAFB-58F4-4E3B-8132-A428B6FF5FE7}"/>
                </a:ext>
              </a:extLst>
            </p:cNvPr>
            <p:cNvSpPr/>
            <p:nvPr/>
          </p:nvSpPr>
          <p:spPr>
            <a:xfrm>
              <a:off x="5342073" y="4822934"/>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4 w 36099"/>
                <a:gd name="connsiteY6" fmla="*/ 6981 h 17597"/>
                <a:gd name="connsiteX7" fmla="*/ 35764 w 36099"/>
                <a:gd name="connsiteY7" fmla="*/ -163 h 17597"/>
                <a:gd name="connsiteX8" fmla="*/ 34144 w 36099"/>
                <a:gd name="connsiteY8" fmla="*/ 2124 h 17597"/>
                <a:gd name="connsiteX9" fmla="*/ 31858 w 36099"/>
                <a:gd name="connsiteY9" fmla="*/ 3457 h 17597"/>
                <a:gd name="connsiteX10" fmla="*/ 21571 w 36099"/>
                <a:gd name="connsiteY10" fmla="*/ 9267 h 17597"/>
                <a:gd name="connsiteX11" fmla="*/ 13856 w 36099"/>
                <a:gd name="connsiteY11" fmla="*/ 9267 h 17597"/>
                <a:gd name="connsiteX12" fmla="*/ 3569 w 36099"/>
                <a:gd name="connsiteY12" fmla="*/ 3457 h 17597"/>
                <a:gd name="connsiteX13" fmla="*/ 1283 w 36099"/>
                <a:gd name="connsiteY13" fmla="*/ 2124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41" y="8048"/>
                    <a:pt x="387" y="8886"/>
                    <a:pt x="1283" y="9267"/>
                  </a:cubicBezTo>
                  <a:lnTo>
                    <a:pt x="13856" y="16506"/>
                  </a:lnTo>
                  <a:cubicBezTo>
                    <a:pt x="16275" y="17744"/>
                    <a:pt x="19152" y="17744"/>
                    <a:pt x="21571" y="16506"/>
                  </a:cubicBezTo>
                  <a:lnTo>
                    <a:pt x="34144" y="9267"/>
                  </a:lnTo>
                  <a:cubicBezTo>
                    <a:pt x="35030" y="8829"/>
                    <a:pt x="35640" y="7972"/>
                    <a:pt x="35764" y="6981"/>
                  </a:cubicBezTo>
                  <a:lnTo>
                    <a:pt x="35764" y="-163"/>
                  </a:lnTo>
                  <a:cubicBezTo>
                    <a:pt x="35659" y="828"/>
                    <a:pt x="35049" y="1695"/>
                    <a:pt x="34144" y="2124"/>
                  </a:cubicBezTo>
                  <a:lnTo>
                    <a:pt x="31858" y="3457"/>
                  </a:lnTo>
                  <a:lnTo>
                    <a:pt x="21571" y="9267"/>
                  </a:lnTo>
                  <a:cubicBezTo>
                    <a:pt x="19171" y="10610"/>
                    <a:pt x="16256" y="10610"/>
                    <a:pt x="13856" y="9267"/>
                  </a:cubicBezTo>
                  <a:lnTo>
                    <a:pt x="3569" y="3457"/>
                  </a:lnTo>
                  <a:lnTo>
                    <a:pt x="1283" y="2124"/>
                  </a:lnTo>
                  <a:cubicBezTo>
                    <a:pt x="349" y="1733"/>
                    <a:pt x="-270" y="847"/>
                    <a:pt x="-336" y="-163"/>
                  </a:cubicBezTo>
                  <a:close/>
                </a:path>
              </a:pathLst>
            </a:custGeom>
            <a:solidFill>
              <a:srgbClr val="BF4200"/>
            </a:solidFill>
            <a:ln w="9525" cap="flat">
              <a:noFill/>
              <a:prstDash val="solid"/>
              <a:miter/>
            </a:ln>
          </p:spPr>
          <p:txBody>
            <a:bodyPr rtlCol="0" anchor="ctr"/>
            <a:lstStyle/>
            <a:p>
              <a:endParaRPr lang="zh-CN" altLang="en-US"/>
            </a:p>
          </p:txBody>
        </p:sp>
        <p:sp>
          <p:nvSpPr>
            <p:cNvPr id="648" name="íṧḷîḑê">
              <a:extLst>
                <a:ext uri="{FF2B5EF4-FFF2-40B4-BE49-F238E27FC236}">
                  <a16:creationId xmlns:a16="http://schemas.microsoft.com/office/drawing/2014/main" id="{E6E6DCE7-D015-40F4-9037-D1F2C6B589F7}"/>
                </a:ext>
              </a:extLst>
            </p:cNvPr>
            <p:cNvSpPr/>
            <p:nvPr/>
          </p:nvSpPr>
          <p:spPr>
            <a:xfrm>
              <a:off x="5419486" y="4835764"/>
              <a:ext cx="109362" cy="63588"/>
            </a:xfrm>
            <a:custGeom>
              <a:avLst/>
              <a:gdLst>
                <a:gd name="connsiteX0" fmla="*/ -336 w 35928"/>
                <a:gd name="connsiteY0" fmla="*/ 10291 h 20890"/>
                <a:gd name="connsiteX1" fmla="*/ 1188 w 35928"/>
                <a:gd name="connsiteY1" fmla="*/ 12482 h 20890"/>
                <a:gd name="connsiteX2" fmla="*/ 3569 w 35928"/>
                <a:gd name="connsiteY2" fmla="*/ 13911 h 20890"/>
                <a:gd name="connsiteX3" fmla="*/ 13856 w 35928"/>
                <a:gd name="connsiteY3" fmla="*/ 19721 h 20890"/>
                <a:gd name="connsiteX4" fmla="*/ 21476 w 35928"/>
                <a:gd name="connsiteY4" fmla="*/ 19721 h 20890"/>
                <a:gd name="connsiteX5" fmla="*/ 31763 w 35928"/>
                <a:gd name="connsiteY5" fmla="*/ 13911 h 20890"/>
                <a:gd name="connsiteX6" fmla="*/ 34144 w 35928"/>
                <a:gd name="connsiteY6" fmla="*/ 12482 h 20890"/>
                <a:gd name="connsiteX7" fmla="*/ 35402 w 35928"/>
                <a:gd name="connsiteY7" fmla="*/ 9358 h 20890"/>
                <a:gd name="connsiteX8" fmla="*/ 34144 w 35928"/>
                <a:gd name="connsiteY8" fmla="*/ 8101 h 20890"/>
                <a:gd name="connsiteX9" fmla="*/ 21476 w 35928"/>
                <a:gd name="connsiteY9" fmla="*/ 766 h 20890"/>
                <a:gd name="connsiteX10" fmla="*/ 13856 w 35928"/>
                <a:gd name="connsiteY10" fmla="*/ 766 h 20890"/>
                <a:gd name="connsiteX11" fmla="*/ 1188 w 35928"/>
                <a:gd name="connsiteY11" fmla="*/ 8101 h 20890"/>
                <a:gd name="connsiteX12" fmla="*/ -336 w 35928"/>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928" h="20890">
                  <a:moveTo>
                    <a:pt x="-336" y="10291"/>
                  </a:moveTo>
                  <a:cubicBezTo>
                    <a:pt x="-298" y="11253"/>
                    <a:pt x="292" y="12110"/>
                    <a:pt x="1188" y="12482"/>
                  </a:cubicBezTo>
                  <a:lnTo>
                    <a:pt x="3569" y="13911"/>
                  </a:lnTo>
                  <a:lnTo>
                    <a:pt x="13856" y="19721"/>
                  </a:lnTo>
                  <a:cubicBezTo>
                    <a:pt x="16218" y="21064"/>
                    <a:pt x="19114" y="21064"/>
                    <a:pt x="21476" y="19721"/>
                  </a:cubicBezTo>
                  <a:lnTo>
                    <a:pt x="31763" y="13911"/>
                  </a:lnTo>
                  <a:lnTo>
                    <a:pt x="34144" y="12482"/>
                  </a:lnTo>
                  <a:cubicBezTo>
                    <a:pt x="35354" y="11967"/>
                    <a:pt x="35916" y="10567"/>
                    <a:pt x="35402" y="9358"/>
                  </a:cubicBezTo>
                  <a:cubicBezTo>
                    <a:pt x="35164" y="8796"/>
                    <a:pt x="34706" y="8339"/>
                    <a:pt x="34144" y="8101"/>
                  </a:cubicBezTo>
                  <a:lnTo>
                    <a:pt x="21476" y="766"/>
                  </a:lnTo>
                  <a:cubicBezTo>
                    <a:pt x="19085" y="-472"/>
                    <a:pt x="16247" y="-472"/>
                    <a:pt x="13856" y="766"/>
                  </a:cubicBezTo>
                  <a:lnTo>
                    <a:pt x="1188" y="8101"/>
                  </a:lnTo>
                  <a:cubicBezTo>
                    <a:pt x="292" y="8472"/>
                    <a:pt x="-298"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649" name="îsḷíḓe">
              <a:extLst>
                <a:ext uri="{FF2B5EF4-FFF2-40B4-BE49-F238E27FC236}">
                  <a16:creationId xmlns:a16="http://schemas.microsoft.com/office/drawing/2014/main" id="{F2E462A9-0F7E-4F64-9A3E-520814826E2C}"/>
                </a:ext>
              </a:extLst>
            </p:cNvPr>
            <p:cNvSpPr/>
            <p:nvPr/>
          </p:nvSpPr>
          <p:spPr>
            <a:xfrm>
              <a:off x="5421370" y="4836924"/>
              <a:ext cx="105825" cy="61101"/>
            </a:xfrm>
            <a:custGeom>
              <a:avLst/>
              <a:gdLst>
                <a:gd name="connsiteX0" fmla="*/ 1235 w 34766"/>
                <a:gd name="connsiteY0" fmla="*/ 12006 h 20073"/>
                <a:gd name="connsiteX1" fmla="*/ 13332 w 34766"/>
                <a:gd name="connsiteY1" fmla="*/ 19054 h 20073"/>
                <a:gd name="connsiteX2" fmla="*/ 20762 w 34766"/>
                <a:gd name="connsiteY2" fmla="*/ 19054 h 20073"/>
                <a:gd name="connsiteX3" fmla="*/ 32858 w 34766"/>
                <a:gd name="connsiteY3" fmla="*/ 12006 h 20073"/>
                <a:gd name="connsiteX4" fmla="*/ 32858 w 34766"/>
                <a:gd name="connsiteY4" fmla="*/ 7719 h 20073"/>
                <a:gd name="connsiteX5" fmla="*/ 20762 w 34766"/>
                <a:gd name="connsiteY5" fmla="*/ 766 h 20073"/>
                <a:gd name="connsiteX6" fmla="*/ 13332 w 34766"/>
                <a:gd name="connsiteY6" fmla="*/ 766 h 20073"/>
                <a:gd name="connsiteX7" fmla="*/ 1235 w 34766"/>
                <a:gd name="connsiteY7" fmla="*/ 7719 h 20073"/>
                <a:gd name="connsiteX8" fmla="*/ 1235 w 34766"/>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6" h="20073">
                  <a:moveTo>
                    <a:pt x="1235" y="12006"/>
                  </a:moveTo>
                  <a:lnTo>
                    <a:pt x="13332" y="19054"/>
                  </a:lnTo>
                  <a:cubicBezTo>
                    <a:pt x="15675" y="20197"/>
                    <a:pt x="18419" y="20197"/>
                    <a:pt x="20762" y="19054"/>
                  </a:cubicBezTo>
                  <a:lnTo>
                    <a:pt x="32858" y="12006"/>
                  </a:lnTo>
                  <a:cubicBezTo>
                    <a:pt x="34954" y="10863"/>
                    <a:pt x="34954" y="8957"/>
                    <a:pt x="32858" y="7719"/>
                  </a:cubicBezTo>
                  <a:lnTo>
                    <a:pt x="20762" y="766"/>
                  </a:lnTo>
                  <a:cubicBezTo>
                    <a:pt x="18437" y="-472"/>
                    <a:pt x="15656" y="-472"/>
                    <a:pt x="13332" y="766"/>
                  </a:cubicBezTo>
                  <a:lnTo>
                    <a:pt x="1235" y="7719"/>
                  </a:lnTo>
                  <a:cubicBezTo>
                    <a:pt x="-860" y="8957"/>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650" name="isḷïďê">
              <a:extLst>
                <a:ext uri="{FF2B5EF4-FFF2-40B4-BE49-F238E27FC236}">
                  <a16:creationId xmlns:a16="http://schemas.microsoft.com/office/drawing/2014/main" id="{EDEE4D96-BA89-4F73-9AA3-6E38E95DFAA0}"/>
                </a:ext>
              </a:extLst>
            </p:cNvPr>
            <p:cNvSpPr/>
            <p:nvPr/>
          </p:nvSpPr>
          <p:spPr>
            <a:xfrm>
              <a:off x="5419486" y="4867586"/>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028 h 17597"/>
                <a:gd name="connsiteX9" fmla="*/ 31763 w 36004"/>
                <a:gd name="connsiteY9" fmla="*/ 3457 h 17597"/>
                <a:gd name="connsiteX10" fmla="*/ 21476 w 36004"/>
                <a:gd name="connsiteY10" fmla="*/ 9267 h 17597"/>
                <a:gd name="connsiteX11" fmla="*/ 13856 w 36004"/>
                <a:gd name="connsiteY11" fmla="*/ 9267 h 17597"/>
                <a:gd name="connsiteX12" fmla="*/ 3569 w 36004"/>
                <a:gd name="connsiteY12" fmla="*/ 3457 h 17597"/>
                <a:gd name="connsiteX13" fmla="*/ 1188 w 36004"/>
                <a:gd name="connsiteY13" fmla="*/ 2028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3" y="7953"/>
                    <a:pt x="35668" y="6981"/>
                  </a:cubicBezTo>
                  <a:lnTo>
                    <a:pt x="35668" y="-163"/>
                  </a:lnTo>
                  <a:cubicBezTo>
                    <a:pt x="35630" y="800"/>
                    <a:pt x="35040" y="1657"/>
                    <a:pt x="34144" y="2028"/>
                  </a:cubicBezTo>
                  <a:lnTo>
                    <a:pt x="31763" y="3457"/>
                  </a:lnTo>
                  <a:lnTo>
                    <a:pt x="21476" y="9267"/>
                  </a:lnTo>
                  <a:cubicBezTo>
                    <a:pt x="19114" y="10610"/>
                    <a:pt x="16218" y="10610"/>
                    <a:pt x="13856" y="9267"/>
                  </a:cubicBezTo>
                  <a:lnTo>
                    <a:pt x="3569" y="3457"/>
                  </a:lnTo>
                  <a:lnTo>
                    <a:pt x="1188" y="2028"/>
                  </a:lnTo>
                  <a:cubicBezTo>
                    <a:pt x="292" y="1657"/>
                    <a:pt x="-298" y="800"/>
                    <a:pt x="-336" y="-163"/>
                  </a:cubicBezTo>
                  <a:close/>
                </a:path>
              </a:pathLst>
            </a:custGeom>
            <a:solidFill>
              <a:srgbClr val="BF4200"/>
            </a:solidFill>
            <a:ln w="9525" cap="flat">
              <a:noFill/>
              <a:prstDash val="solid"/>
              <a:miter/>
            </a:ln>
          </p:spPr>
          <p:txBody>
            <a:bodyPr rtlCol="0" anchor="ctr"/>
            <a:lstStyle/>
            <a:p>
              <a:endParaRPr lang="zh-CN" altLang="en-US"/>
            </a:p>
          </p:txBody>
        </p:sp>
        <p:sp>
          <p:nvSpPr>
            <p:cNvPr id="651" name="ïṥļiḓe">
              <a:extLst>
                <a:ext uri="{FF2B5EF4-FFF2-40B4-BE49-F238E27FC236}">
                  <a16:creationId xmlns:a16="http://schemas.microsoft.com/office/drawing/2014/main" id="{FDBD5F0D-4AD6-49D8-BCE2-BD4968C67C91}"/>
                </a:ext>
              </a:extLst>
            </p:cNvPr>
            <p:cNvSpPr/>
            <p:nvPr/>
          </p:nvSpPr>
          <p:spPr>
            <a:xfrm>
              <a:off x="5496607" y="4880416"/>
              <a:ext cx="109883" cy="63588"/>
            </a:xfrm>
            <a:custGeom>
              <a:avLst/>
              <a:gdLst>
                <a:gd name="connsiteX0" fmla="*/ -336 w 36099"/>
                <a:gd name="connsiteY0" fmla="*/ 10196 h 20890"/>
                <a:gd name="connsiteX1" fmla="*/ 1283 w 36099"/>
                <a:gd name="connsiteY1" fmla="*/ 12482 h 20890"/>
                <a:gd name="connsiteX2" fmla="*/ 3569 w 36099"/>
                <a:gd name="connsiteY2" fmla="*/ 13815 h 20890"/>
                <a:gd name="connsiteX3" fmla="*/ 13856 w 36099"/>
                <a:gd name="connsiteY3" fmla="*/ 19721 h 20890"/>
                <a:gd name="connsiteX4" fmla="*/ 21571 w 36099"/>
                <a:gd name="connsiteY4" fmla="*/ 19721 h 20890"/>
                <a:gd name="connsiteX5" fmla="*/ 31858 w 36099"/>
                <a:gd name="connsiteY5" fmla="*/ 13815 h 20890"/>
                <a:gd name="connsiteX6" fmla="*/ 34144 w 36099"/>
                <a:gd name="connsiteY6" fmla="*/ 12482 h 20890"/>
                <a:gd name="connsiteX7" fmla="*/ 35764 w 36099"/>
                <a:gd name="connsiteY7" fmla="*/ 10196 h 20890"/>
                <a:gd name="connsiteX8" fmla="*/ 34144 w 36099"/>
                <a:gd name="connsiteY8" fmla="*/ 8005 h 20890"/>
                <a:gd name="connsiteX9" fmla="*/ 21571 w 36099"/>
                <a:gd name="connsiteY9" fmla="*/ 766 h 20890"/>
                <a:gd name="connsiteX10" fmla="*/ 13856 w 36099"/>
                <a:gd name="connsiteY10" fmla="*/ 766 h 20890"/>
                <a:gd name="connsiteX11" fmla="*/ 1283 w 36099"/>
                <a:gd name="connsiteY11" fmla="*/ 8005 h 20890"/>
                <a:gd name="connsiteX12" fmla="*/ -336 w 36099"/>
                <a:gd name="connsiteY12" fmla="*/ 10196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99" h="20890">
                  <a:moveTo>
                    <a:pt x="-336" y="10196"/>
                  </a:moveTo>
                  <a:cubicBezTo>
                    <a:pt x="-251" y="11196"/>
                    <a:pt x="369" y="12072"/>
                    <a:pt x="1283" y="12482"/>
                  </a:cubicBezTo>
                  <a:lnTo>
                    <a:pt x="3569" y="13815"/>
                  </a:lnTo>
                  <a:lnTo>
                    <a:pt x="13856" y="19721"/>
                  </a:lnTo>
                  <a:cubicBezTo>
                    <a:pt x="16256" y="21064"/>
                    <a:pt x="19171" y="21064"/>
                    <a:pt x="21571" y="19721"/>
                  </a:cubicBezTo>
                  <a:lnTo>
                    <a:pt x="31858" y="13815"/>
                  </a:lnTo>
                  <a:lnTo>
                    <a:pt x="34144" y="12482"/>
                  </a:lnTo>
                  <a:cubicBezTo>
                    <a:pt x="35059" y="12072"/>
                    <a:pt x="35678" y="11196"/>
                    <a:pt x="35764" y="10196"/>
                  </a:cubicBezTo>
                  <a:cubicBezTo>
                    <a:pt x="35630" y="9243"/>
                    <a:pt x="35021" y="8415"/>
                    <a:pt x="34144" y="8005"/>
                  </a:cubicBezTo>
                  <a:lnTo>
                    <a:pt x="21571" y="766"/>
                  </a:lnTo>
                  <a:cubicBezTo>
                    <a:pt x="19152" y="-472"/>
                    <a:pt x="16275" y="-472"/>
                    <a:pt x="13856" y="766"/>
                  </a:cubicBezTo>
                  <a:lnTo>
                    <a:pt x="1283" y="8005"/>
                  </a:lnTo>
                  <a:cubicBezTo>
                    <a:pt x="407" y="8415"/>
                    <a:pt x="-203" y="924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652" name="iṣḷíḍè">
              <a:extLst>
                <a:ext uri="{FF2B5EF4-FFF2-40B4-BE49-F238E27FC236}">
                  <a16:creationId xmlns:a16="http://schemas.microsoft.com/office/drawing/2014/main" id="{E86FD64F-15B9-435C-91B2-904E53EAA6C4}"/>
                </a:ext>
              </a:extLst>
            </p:cNvPr>
            <p:cNvSpPr/>
            <p:nvPr/>
          </p:nvSpPr>
          <p:spPr>
            <a:xfrm>
              <a:off x="5498710" y="4881575"/>
              <a:ext cx="105679" cy="61101"/>
            </a:xfrm>
            <a:custGeom>
              <a:avLst/>
              <a:gdLst>
                <a:gd name="connsiteX0" fmla="*/ 1164 w 34718"/>
                <a:gd name="connsiteY0" fmla="*/ 12006 h 20073"/>
                <a:gd name="connsiteX1" fmla="*/ 13260 w 34718"/>
                <a:gd name="connsiteY1" fmla="*/ 19054 h 20073"/>
                <a:gd name="connsiteX2" fmla="*/ 20785 w 34718"/>
                <a:gd name="connsiteY2" fmla="*/ 19054 h 20073"/>
                <a:gd name="connsiteX3" fmla="*/ 32882 w 34718"/>
                <a:gd name="connsiteY3" fmla="*/ 12006 h 20073"/>
                <a:gd name="connsiteX4" fmla="*/ 32882 w 34718"/>
                <a:gd name="connsiteY4" fmla="*/ 7719 h 20073"/>
                <a:gd name="connsiteX5" fmla="*/ 20785 w 34718"/>
                <a:gd name="connsiteY5" fmla="*/ 766 h 20073"/>
                <a:gd name="connsiteX6" fmla="*/ 13260 w 34718"/>
                <a:gd name="connsiteY6" fmla="*/ 766 h 20073"/>
                <a:gd name="connsiteX7" fmla="*/ 1164 w 34718"/>
                <a:gd name="connsiteY7" fmla="*/ 7719 h 20073"/>
                <a:gd name="connsiteX8" fmla="*/ 1164 w 34718"/>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18" h="20073">
                  <a:moveTo>
                    <a:pt x="1164" y="12006"/>
                  </a:moveTo>
                  <a:lnTo>
                    <a:pt x="13260" y="19054"/>
                  </a:lnTo>
                  <a:cubicBezTo>
                    <a:pt x="15642" y="20197"/>
                    <a:pt x="18404" y="20197"/>
                    <a:pt x="20785" y="19054"/>
                  </a:cubicBezTo>
                  <a:lnTo>
                    <a:pt x="32882" y="12006"/>
                  </a:lnTo>
                  <a:cubicBezTo>
                    <a:pt x="34882" y="10863"/>
                    <a:pt x="34882" y="8957"/>
                    <a:pt x="32882" y="7719"/>
                  </a:cubicBezTo>
                  <a:lnTo>
                    <a:pt x="20785" y="766"/>
                  </a:lnTo>
                  <a:cubicBezTo>
                    <a:pt x="18433" y="-472"/>
                    <a:pt x="15613" y="-472"/>
                    <a:pt x="13260" y="766"/>
                  </a:cubicBezTo>
                  <a:lnTo>
                    <a:pt x="1164" y="7719"/>
                  </a:lnTo>
                  <a:cubicBezTo>
                    <a:pt x="-836" y="8957"/>
                    <a:pt x="-836" y="10481"/>
                    <a:pt x="1164" y="12006"/>
                  </a:cubicBezTo>
                  <a:close/>
                </a:path>
              </a:pathLst>
            </a:custGeom>
            <a:solidFill>
              <a:srgbClr val="D1D9E8"/>
            </a:solidFill>
            <a:ln w="9525" cap="flat">
              <a:noFill/>
              <a:prstDash val="solid"/>
              <a:miter/>
            </a:ln>
          </p:spPr>
          <p:txBody>
            <a:bodyPr rtlCol="0" anchor="ctr"/>
            <a:lstStyle/>
            <a:p>
              <a:endParaRPr lang="zh-CN" altLang="en-US"/>
            </a:p>
          </p:txBody>
        </p:sp>
        <p:sp>
          <p:nvSpPr>
            <p:cNvPr id="653" name="ïṡļiḍè">
              <a:extLst>
                <a:ext uri="{FF2B5EF4-FFF2-40B4-BE49-F238E27FC236}">
                  <a16:creationId xmlns:a16="http://schemas.microsoft.com/office/drawing/2014/main" id="{1A8CD1FC-72C2-4F65-825F-4CCF48E49DDA}"/>
                </a:ext>
              </a:extLst>
            </p:cNvPr>
            <p:cNvSpPr/>
            <p:nvPr/>
          </p:nvSpPr>
          <p:spPr>
            <a:xfrm>
              <a:off x="5496607" y="4911945"/>
              <a:ext cx="109883" cy="53804"/>
            </a:xfrm>
            <a:custGeom>
              <a:avLst/>
              <a:gdLst>
                <a:gd name="connsiteX0" fmla="*/ -336 w 36099"/>
                <a:gd name="connsiteY0" fmla="*/ -163 h 17676"/>
                <a:gd name="connsiteX1" fmla="*/ -336 w 36099"/>
                <a:gd name="connsiteY1" fmla="*/ 7076 h 17676"/>
                <a:gd name="connsiteX2" fmla="*/ 1283 w 36099"/>
                <a:gd name="connsiteY2" fmla="*/ 9362 h 17676"/>
                <a:gd name="connsiteX3" fmla="*/ 13856 w 36099"/>
                <a:gd name="connsiteY3" fmla="*/ 16506 h 17676"/>
                <a:gd name="connsiteX4" fmla="*/ 21571 w 36099"/>
                <a:gd name="connsiteY4" fmla="*/ 16506 h 17676"/>
                <a:gd name="connsiteX5" fmla="*/ 34144 w 36099"/>
                <a:gd name="connsiteY5" fmla="*/ 9362 h 17676"/>
                <a:gd name="connsiteX6" fmla="*/ 35764 w 36099"/>
                <a:gd name="connsiteY6" fmla="*/ 7076 h 17676"/>
                <a:gd name="connsiteX7" fmla="*/ 35764 w 36099"/>
                <a:gd name="connsiteY7" fmla="*/ -163 h 17676"/>
                <a:gd name="connsiteX8" fmla="*/ 34144 w 36099"/>
                <a:gd name="connsiteY8" fmla="*/ 2124 h 17676"/>
                <a:gd name="connsiteX9" fmla="*/ 31858 w 36099"/>
                <a:gd name="connsiteY9" fmla="*/ 3457 h 17676"/>
                <a:gd name="connsiteX10" fmla="*/ 21571 w 36099"/>
                <a:gd name="connsiteY10" fmla="*/ 9362 h 17676"/>
                <a:gd name="connsiteX11" fmla="*/ 13856 w 36099"/>
                <a:gd name="connsiteY11" fmla="*/ 9362 h 17676"/>
                <a:gd name="connsiteX12" fmla="*/ 3569 w 36099"/>
                <a:gd name="connsiteY12" fmla="*/ 3457 h 17676"/>
                <a:gd name="connsiteX13" fmla="*/ 1283 w 36099"/>
                <a:gd name="connsiteY13" fmla="*/ 2124 h 17676"/>
                <a:gd name="connsiteX14" fmla="*/ -336 w 36099"/>
                <a:gd name="connsiteY14" fmla="*/ -163 h 17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676">
                  <a:moveTo>
                    <a:pt x="-336" y="-163"/>
                  </a:moveTo>
                  <a:lnTo>
                    <a:pt x="-336" y="7076"/>
                  </a:lnTo>
                  <a:cubicBezTo>
                    <a:pt x="-231" y="8067"/>
                    <a:pt x="378" y="8934"/>
                    <a:pt x="1283" y="9362"/>
                  </a:cubicBezTo>
                  <a:lnTo>
                    <a:pt x="13856" y="16506"/>
                  </a:lnTo>
                  <a:cubicBezTo>
                    <a:pt x="16256" y="17849"/>
                    <a:pt x="19171" y="17849"/>
                    <a:pt x="21571" y="16506"/>
                  </a:cubicBezTo>
                  <a:lnTo>
                    <a:pt x="34144" y="9362"/>
                  </a:lnTo>
                  <a:cubicBezTo>
                    <a:pt x="35030" y="8924"/>
                    <a:pt x="35640" y="8058"/>
                    <a:pt x="35764" y="7076"/>
                  </a:cubicBezTo>
                  <a:lnTo>
                    <a:pt x="35764" y="-163"/>
                  </a:lnTo>
                  <a:cubicBezTo>
                    <a:pt x="35678" y="838"/>
                    <a:pt x="35059" y="1714"/>
                    <a:pt x="34144" y="2124"/>
                  </a:cubicBezTo>
                  <a:lnTo>
                    <a:pt x="31858" y="3457"/>
                  </a:lnTo>
                  <a:lnTo>
                    <a:pt x="21571" y="9362"/>
                  </a:lnTo>
                  <a:cubicBezTo>
                    <a:pt x="19171" y="10706"/>
                    <a:pt x="16256" y="10706"/>
                    <a:pt x="13856" y="9362"/>
                  </a:cubicBezTo>
                  <a:lnTo>
                    <a:pt x="3569" y="3457"/>
                  </a:lnTo>
                  <a:lnTo>
                    <a:pt x="1283" y="2124"/>
                  </a:lnTo>
                  <a:cubicBezTo>
                    <a:pt x="369" y="1714"/>
                    <a:pt x="-251" y="83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54" name="ïşľiḋe">
              <a:extLst>
                <a:ext uri="{FF2B5EF4-FFF2-40B4-BE49-F238E27FC236}">
                  <a16:creationId xmlns:a16="http://schemas.microsoft.com/office/drawing/2014/main" id="{9DFCAFCB-A2AB-477E-A052-326F741B0EB4}"/>
                </a:ext>
              </a:extLst>
            </p:cNvPr>
            <p:cNvSpPr/>
            <p:nvPr/>
          </p:nvSpPr>
          <p:spPr>
            <a:xfrm>
              <a:off x="5574020" y="4925064"/>
              <a:ext cx="109594" cy="63588"/>
            </a:xfrm>
            <a:custGeom>
              <a:avLst/>
              <a:gdLst>
                <a:gd name="connsiteX0" fmla="*/ -336 w 36004"/>
                <a:gd name="connsiteY0" fmla="*/ 10196 h 20890"/>
                <a:gd name="connsiteX1" fmla="*/ 1188 w 36004"/>
                <a:gd name="connsiteY1" fmla="*/ 12482 h 20890"/>
                <a:gd name="connsiteX2" fmla="*/ 3569 w 36004"/>
                <a:gd name="connsiteY2" fmla="*/ 13815 h 20890"/>
                <a:gd name="connsiteX3" fmla="*/ 13856 w 36004"/>
                <a:gd name="connsiteY3" fmla="*/ 19721 h 20890"/>
                <a:gd name="connsiteX4" fmla="*/ 21476 w 36004"/>
                <a:gd name="connsiteY4" fmla="*/ 19721 h 20890"/>
                <a:gd name="connsiteX5" fmla="*/ 31763 w 36004"/>
                <a:gd name="connsiteY5" fmla="*/ 13815 h 20890"/>
                <a:gd name="connsiteX6" fmla="*/ 34144 w 36004"/>
                <a:gd name="connsiteY6" fmla="*/ 12482 h 20890"/>
                <a:gd name="connsiteX7" fmla="*/ 35668 w 36004"/>
                <a:gd name="connsiteY7" fmla="*/ 10196 h 20890"/>
                <a:gd name="connsiteX8" fmla="*/ 34144 w 36004"/>
                <a:gd name="connsiteY8" fmla="*/ 8005 h 20890"/>
                <a:gd name="connsiteX9" fmla="*/ 21476 w 36004"/>
                <a:gd name="connsiteY9" fmla="*/ 766 h 20890"/>
                <a:gd name="connsiteX10" fmla="*/ 13856 w 36004"/>
                <a:gd name="connsiteY10" fmla="*/ 766 h 20890"/>
                <a:gd name="connsiteX11" fmla="*/ 1188 w 36004"/>
                <a:gd name="connsiteY11" fmla="*/ 8005 h 20890"/>
                <a:gd name="connsiteX12" fmla="*/ -336 w 36004"/>
                <a:gd name="connsiteY12" fmla="*/ 10196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196"/>
                  </a:moveTo>
                  <a:cubicBezTo>
                    <a:pt x="-308" y="11186"/>
                    <a:pt x="283" y="12082"/>
                    <a:pt x="1188" y="12482"/>
                  </a:cubicBezTo>
                  <a:lnTo>
                    <a:pt x="3569" y="13815"/>
                  </a:lnTo>
                  <a:lnTo>
                    <a:pt x="13856" y="19721"/>
                  </a:lnTo>
                  <a:cubicBezTo>
                    <a:pt x="16218" y="21064"/>
                    <a:pt x="19114" y="21064"/>
                    <a:pt x="21476" y="19721"/>
                  </a:cubicBezTo>
                  <a:lnTo>
                    <a:pt x="31763" y="13815"/>
                  </a:lnTo>
                  <a:lnTo>
                    <a:pt x="34144" y="12482"/>
                  </a:lnTo>
                  <a:cubicBezTo>
                    <a:pt x="35049" y="12082"/>
                    <a:pt x="35640" y="11186"/>
                    <a:pt x="35668" y="10196"/>
                  </a:cubicBezTo>
                  <a:cubicBezTo>
                    <a:pt x="35573" y="9253"/>
                    <a:pt x="34992" y="8424"/>
                    <a:pt x="34144" y="8005"/>
                  </a:cubicBezTo>
                  <a:lnTo>
                    <a:pt x="21476" y="766"/>
                  </a:lnTo>
                  <a:cubicBezTo>
                    <a:pt x="19085" y="-472"/>
                    <a:pt x="16247" y="-472"/>
                    <a:pt x="13856" y="766"/>
                  </a:cubicBezTo>
                  <a:lnTo>
                    <a:pt x="1188" y="8005"/>
                  </a:lnTo>
                  <a:cubicBezTo>
                    <a:pt x="340" y="8424"/>
                    <a:pt x="-241" y="925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655" name="iṧļïḍe">
              <a:extLst>
                <a:ext uri="{FF2B5EF4-FFF2-40B4-BE49-F238E27FC236}">
                  <a16:creationId xmlns:a16="http://schemas.microsoft.com/office/drawing/2014/main" id="{4A3228A8-801D-42EA-8183-C649E0274FF3}"/>
                </a:ext>
              </a:extLst>
            </p:cNvPr>
            <p:cNvSpPr/>
            <p:nvPr/>
          </p:nvSpPr>
          <p:spPr>
            <a:xfrm>
              <a:off x="5576154" y="4926151"/>
              <a:ext cx="105329" cy="61174"/>
            </a:xfrm>
            <a:custGeom>
              <a:avLst/>
              <a:gdLst>
                <a:gd name="connsiteX0" fmla="*/ 1154 w 34603"/>
                <a:gd name="connsiteY0" fmla="*/ 12029 h 20097"/>
                <a:gd name="connsiteX1" fmla="*/ 13251 w 34603"/>
                <a:gd name="connsiteY1" fmla="*/ 19078 h 20097"/>
                <a:gd name="connsiteX2" fmla="*/ 20680 w 34603"/>
                <a:gd name="connsiteY2" fmla="*/ 19078 h 20097"/>
                <a:gd name="connsiteX3" fmla="*/ 32777 w 34603"/>
                <a:gd name="connsiteY3" fmla="*/ 12029 h 20097"/>
                <a:gd name="connsiteX4" fmla="*/ 34120 w 34603"/>
                <a:gd name="connsiteY4" fmla="*/ 9096 h 20097"/>
                <a:gd name="connsiteX5" fmla="*/ 32777 w 34603"/>
                <a:gd name="connsiteY5" fmla="*/ 7743 h 20097"/>
                <a:gd name="connsiteX6" fmla="*/ 20680 w 34603"/>
                <a:gd name="connsiteY6" fmla="*/ 695 h 20097"/>
                <a:gd name="connsiteX7" fmla="*/ 13251 w 34603"/>
                <a:gd name="connsiteY7" fmla="*/ 695 h 20097"/>
                <a:gd name="connsiteX8" fmla="*/ 1154 w 34603"/>
                <a:gd name="connsiteY8" fmla="*/ 7743 h 20097"/>
                <a:gd name="connsiteX9" fmla="*/ -189 w 34603"/>
                <a:gd name="connsiteY9" fmla="*/ 10686 h 20097"/>
                <a:gd name="connsiteX10" fmla="*/ 1154 w 34603"/>
                <a:gd name="connsiteY10" fmla="*/ 12029 h 20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603" h="20097">
                  <a:moveTo>
                    <a:pt x="1154" y="12029"/>
                  </a:moveTo>
                  <a:lnTo>
                    <a:pt x="13251" y="19078"/>
                  </a:lnTo>
                  <a:cubicBezTo>
                    <a:pt x="15594" y="20221"/>
                    <a:pt x="18337" y="20221"/>
                    <a:pt x="20680" y="19078"/>
                  </a:cubicBezTo>
                  <a:lnTo>
                    <a:pt x="32777" y="12029"/>
                  </a:lnTo>
                  <a:cubicBezTo>
                    <a:pt x="33958" y="11591"/>
                    <a:pt x="34568" y="10277"/>
                    <a:pt x="34120" y="9096"/>
                  </a:cubicBezTo>
                  <a:cubicBezTo>
                    <a:pt x="33891" y="8467"/>
                    <a:pt x="33396" y="7971"/>
                    <a:pt x="32777" y="7743"/>
                  </a:cubicBezTo>
                  <a:lnTo>
                    <a:pt x="20680" y="695"/>
                  </a:lnTo>
                  <a:cubicBezTo>
                    <a:pt x="18337" y="-448"/>
                    <a:pt x="15594" y="-448"/>
                    <a:pt x="13251" y="695"/>
                  </a:cubicBezTo>
                  <a:lnTo>
                    <a:pt x="1154" y="7743"/>
                  </a:lnTo>
                  <a:cubicBezTo>
                    <a:pt x="-27" y="8181"/>
                    <a:pt x="-637" y="9496"/>
                    <a:pt x="-189" y="10686"/>
                  </a:cubicBezTo>
                  <a:cubicBezTo>
                    <a:pt x="40" y="11305"/>
                    <a:pt x="535" y="11801"/>
                    <a:pt x="1154" y="12029"/>
                  </a:cubicBezTo>
                  <a:close/>
                </a:path>
              </a:pathLst>
            </a:custGeom>
            <a:solidFill>
              <a:srgbClr val="D1D9E8"/>
            </a:solidFill>
            <a:ln w="9525" cap="flat">
              <a:noFill/>
              <a:prstDash val="solid"/>
              <a:miter/>
            </a:ln>
          </p:spPr>
          <p:txBody>
            <a:bodyPr rtlCol="0" anchor="ctr"/>
            <a:lstStyle/>
            <a:p>
              <a:endParaRPr lang="zh-CN" altLang="en-US"/>
            </a:p>
          </p:txBody>
        </p:sp>
        <p:sp>
          <p:nvSpPr>
            <p:cNvPr id="656" name="ïṣḷîḓê">
              <a:extLst>
                <a:ext uri="{FF2B5EF4-FFF2-40B4-BE49-F238E27FC236}">
                  <a16:creationId xmlns:a16="http://schemas.microsoft.com/office/drawing/2014/main" id="{BA439B61-7F3F-4D9A-908C-F9CA5E484FE0}"/>
                </a:ext>
              </a:extLst>
            </p:cNvPr>
            <p:cNvSpPr/>
            <p:nvPr/>
          </p:nvSpPr>
          <p:spPr>
            <a:xfrm>
              <a:off x="5574020" y="4956596"/>
              <a:ext cx="109594" cy="53801"/>
            </a:xfrm>
            <a:custGeom>
              <a:avLst/>
              <a:gdLst>
                <a:gd name="connsiteX0" fmla="*/ -336 w 36004"/>
                <a:gd name="connsiteY0" fmla="*/ -163 h 17675"/>
                <a:gd name="connsiteX1" fmla="*/ -336 w 36004"/>
                <a:gd name="connsiteY1" fmla="*/ 7076 h 17675"/>
                <a:gd name="connsiteX2" fmla="*/ 1188 w 36004"/>
                <a:gd name="connsiteY2" fmla="*/ 9267 h 17675"/>
                <a:gd name="connsiteX3" fmla="*/ 13856 w 36004"/>
                <a:gd name="connsiteY3" fmla="*/ 16506 h 17675"/>
                <a:gd name="connsiteX4" fmla="*/ 21476 w 36004"/>
                <a:gd name="connsiteY4" fmla="*/ 16506 h 17675"/>
                <a:gd name="connsiteX5" fmla="*/ 34144 w 36004"/>
                <a:gd name="connsiteY5" fmla="*/ 9267 h 17675"/>
                <a:gd name="connsiteX6" fmla="*/ 35668 w 36004"/>
                <a:gd name="connsiteY6" fmla="*/ 7076 h 17675"/>
                <a:gd name="connsiteX7" fmla="*/ 35668 w 36004"/>
                <a:gd name="connsiteY7" fmla="*/ -163 h 17675"/>
                <a:gd name="connsiteX8" fmla="*/ 34144 w 36004"/>
                <a:gd name="connsiteY8" fmla="*/ 2123 h 17675"/>
                <a:gd name="connsiteX9" fmla="*/ 31763 w 36004"/>
                <a:gd name="connsiteY9" fmla="*/ 3457 h 17675"/>
                <a:gd name="connsiteX10" fmla="*/ 21476 w 36004"/>
                <a:gd name="connsiteY10" fmla="*/ 9362 h 17675"/>
                <a:gd name="connsiteX11" fmla="*/ 13856 w 36004"/>
                <a:gd name="connsiteY11" fmla="*/ 9362 h 17675"/>
                <a:gd name="connsiteX12" fmla="*/ 3569 w 36004"/>
                <a:gd name="connsiteY12" fmla="*/ 3457 h 17675"/>
                <a:gd name="connsiteX13" fmla="*/ 1188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98" y="8038"/>
                    <a:pt x="292" y="8896"/>
                    <a:pt x="1188" y="9267"/>
                  </a:cubicBezTo>
                  <a:lnTo>
                    <a:pt x="13856" y="16506"/>
                  </a:lnTo>
                  <a:cubicBezTo>
                    <a:pt x="16218" y="17849"/>
                    <a:pt x="19114" y="17849"/>
                    <a:pt x="21476" y="16506"/>
                  </a:cubicBezTo>
                  <a:lnTo>
                    <a:pt x="34144" y="9267"/>
                  </a:lnTo>
                  <a:cubicBezTo>
                    <a:pt x="35021" y="8877"/>
                    <a:pt x="35611" y="8038"/>
                    <a:pt x="35668" y="7076"/>
                  </a:cubicBezTo>
                  <a:lnTo>
                    <a:pt x="35668" y="-163"/>
                  </a:lnTo>
                  <a:cubicBezTo>
                    <a:pt x="35640" y="828"/>
                    <a:pt x="35049" y="1723"/>
                    <a:pt x="34144" y="2123"/>
                  </a:cubicBezTo>
                  <a:lnTo>
                    <a:pt x="31763" y="3457"/>
                  </a:lnTo>
                  <a:lnTo>
                    <a:pt x="21476" y="9362"/>
                  </a:lnTo>
                  <a:cubicBezTo>
                    <a:pt x="19114" y="10705"/>
                    <a:pt x="16218" y="10705"/>
                    <a:pt x="13856" y="9362"/>
                  </a:cubicBezTo>
                  <a:lnTo>
                    <a:pt x="3569" y="3457"/>
                  </a:lnTo>
                  <a:lnTo>
                    <a:pt x="1188" y="2123"/>
                  </a:lnTo>
                  <a:cubicBezTo>
                    <a:pt x="283" y="1723"/>
                    <a:pt x="-308"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57" name="í$1îḍê">
              <a:extLst>
                <a:ext uri="{FF2B5EF4-FFF2-40B4-BE49-F238E27FC236}">
                  <a16:creationId xmlns:a16="http://schemas.microsoft.com/office/drawing/2014/main" id="{44A90F4F-D014-4067-9638-028F0A54C08F}"/>
                </a:ext>
              </a:extLst>
            </p:cNvPr>
            <p:cNvSpPr/>
            <p:nvPr/>
          </p:nvSpPr>
          <p:spPr>
            <a:xfrm>
              <a:off x="5651433" y="4969481"/>
              <a:ext cx="109450" cy="63292"/>
            </a:xfrm>
            <a:custGeom>
              <a:avLst/>
              <a:gdLst>
                <a:gd name="connsiteX0" fmla="*/ -336 w 35957"/>
                <a:gd name="connsiteY0" fmla="*/ 10177 h 20793"/>
                <a:gd name="connsiteX1" fmla="*/ 1188 w 35957"/>
                <a:gd name="connsiteY1" fmla="*/ 12463 h 20793"/>
                <a:gd name="connsiteX2" fmla="*/ 3474 w 35957"/>
                <a:gd name="connsiteY2" fmla="*/ 13796 h 20793"/>
                <a:gd name="connsiteX3" fmla="*/ 13761 w 35957"/>
                <a:gd name="connsiteY3" fmla="*/ 19702 h 20793"/>
                <a:gd name="connsiteX4" fmla="*/ 21476 w 35957"/>
                <a:gd name="connsiteY4" fmla="*/ 19702 h 20793"/>
                <a:gd name="connsiteX5" fmla="*/ 31763 w 35957"/>
                <a:gd name="connsiteY5" fmla="*/ 13796 h 20793"/>
                <a:gd name="connsiteX6" fmla="*/ 34049 w 35957"/>
                <a:gd name="connsiteY6" fmla="*/ 12463 h 20793"/>
                <a:gd name="connsiteX7" fmla="*/ 35478 w 35957"/>
                <a:gd name="connsiteY7" fmla="*/ 9415 h 20793"/>
                <a:gd name="connsiteX8" fmla="*/ 34049 w 35957"/>
                <a:gd name="connsiteY8" fmla="*/ 7986 h 20793"/>
                <a:gd name="connsiteX9" fmla="*/ 21476 w 35957"/>
                <a:gd name="connsiteY9" fmla="*/ 652 h 20793"/>
                <a:gd name="connsiteX10" fmla="*/ 13761 w 35957"/>
                <a:gd name="connsiteY10" fmla="*/ 652 h 20793"/>
                <a:gd name="connsiteX11" fmla="*/ 1188 w 35957"/>
                <a:gd name="connsiteY11" fmla="*/ 7986 h 20793"/>
                <a:gd name="connsiteX12" fmla="*/ -336 w 35957"/>
                <a:gd name="connsiteY12" fmla="*/ 10177 h 20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957" h="20793">
                  <a:moveTo>
                    <a:pt x="-336" y="10177"/>
                  </a:moveTo>
                  <a:cubicBezTo>
                    <a:pt x="-269" y="11158"/>
                    <a:pt x="312" y="12025"/>
                    <a:pt x="1188" y="12463"/>
                  </a:cubicBezTo>
                  <a:lnTo>
                    <a:pt x="3474" y="13796"/>
                  </a:lnTo>
                  <a:lnTo>
                    <a:pt x="13761" y="19702"/>
                  </a:lnTo>
                  <a:cubicBezTo>
                    <a:pt x="16180" y="20940"/>
                    <a:pt x="19057" y="20940"/>
                    <a:pt x="21476" y="19702"/>
                  </a:cubicBezTo>
                  <a:lnTo>
                    <a:pt x="31763" y="13796"/>
                  </a:lnTo>
                  <a:lnTo>
                    <a:pt x="34049" y="12463"/>
                  </a:lnTo>
                  <a:cubicBezTo>
                    <a:pt x="35287" y="12015"/>
                    <a:pt x="35925" y="10644"/>
                    <a:pt x="35478" y="9415"/>
                  </a:cubicBezTo>
                  <a:cubicBezTo>
                    <a:pt x="35230" y="8748"/>
                    <a:pt x="34716" y="8224"/>
                    <a:pt x="34049" y="7986"/>
                  </a:cubicBezTo>
                  <a:lnTo>
                    <a:pt x="21476" y="652"/>
                  </a:lnTo>
                  <a:cubicBezTo>
                    <a:pt x="19019" y="-434"/>
                    <a:pt x="16218" y="-434"/>
                    <a:pt x="13761" y="652"/>
                  </a:cubicBezTo>
                  <a:lnTo>
                    <a:pt x="1188" y="7986"/>
                  </a:lnTo>
                  <a:cubicBezTo>
                    <a:pt x="340" y="8405"/>
                    <a:pt x="-241" y="9234"/>
                    <a:pt x="-336" y="10177"/>
                  </a:cubicBezTo>
                  <a:close/>
                </a:path>
              </a:pathLst>
            </a:custGeom>
            <a:solidFill>
              <a:srgbClr val="FFFFFF"/>
            </a:solidFill>
            <a:ln w="9525" cap="flat">
              <a:noFill/>
              <a:prstDash val="solid"/>
              <a:miter/>
            </a:ln>
          </p:spPr>
          <p:txBody>
            <a:bodyPr rtlCol="0" anchor="ctr"/>
            <a:lstStyle/>
            <a:p>
              <a:endParaRPr lang="zh-CN" altLang="en-US"/>
            </a:p>
          </p:txBody>
        </p:sp>
        <p:sp>
          <p:nvSpPr>
            <p:cNvPr id="658" name="ïsļîḑè">
              <a:extLst>
                <a:ext uri="{FF2B5EF4-FFF2-40B4-BE49-F238E27FC236}">
                  <a16:creationId xmlns:a16="http://schemas.microsoft.com/office/drawing/2014/main" id="{626CCB04-3878-4271-8E53-E03773F2F1F5}"/>
                </a:ext>
              </a:extLst>
            </p:cNvPr>
            <p:cNvSpPr/>
            <p:nvPr/>
          </p:nvSpPr>
          <p:spPr>
            <a:xfrm>
              <a:off x="5653275" y="4970802"/>
              <a:ext cx="105618" cy="61104"/>
            </a:xfrm>
            <a:custGeom>
              <a:avLst/>
              <a:gdLst>
                <a:gd name="connsiteX0" fmla="*/ 1154 w 34698"/>
                <a:gd name="connsiteY0" fmla="*/ 12029 h 20074"/>
                <a:gd name="connsiteX1" fmla="*/ 13346 w 34698"/>
                <a:gd name="connsiteY1" fmla="*/ 18983 h 20074"/>
                <a:gd name="connsiteX2" fmla="*/ 20776 w 34698"/>
                <a:gd name="connsiteY2" fmla="*/ 18983 h 20074"/>
                <a:gd name="connsiteX3" fmla="*/ 32872 w 34698"/>
                <a:gd name="connsiteY3" fmla="*/ 12029 h 20074"/>
                <a:gd name="connsiteX4" fmla="*/ 34215 w 34698"/>
                <a:gd name="connsiteY4" fmla="*/ 9086 h 20074"/>
                <a:gd name="connsiteX5" fmla="*/ 32872 w 34698"/>
                <a:gd name="connsiteY5" fmla="*/ 7743 h 20074"/>
                <a:gd name="connsiteX6" fmla="*/ 20776 w 34698"/>
                <a:gd name="connsiteY6" fmla="*/ 695 h 20074"/>
                <a:gd name="connsiteX7" fmla="*/ 13346 w 34698"/>
                <a:gd name="connsiteY7" fmla="*/ 695 h 20074"/>
                <a:gd name="connsiteX8" fmla="*/ 1154 w 34698"/>
                <a:gd name="connsiteY8" fmla="*/ 7743 h 20074"/>
                <a:gd name="connsiteX9" fmla="*/ -189 w 34698"/>
                <a:gd name="connsiteY9" fmla="*/ 10686 h 20074"/>
                <a:gd name="connsiteX10" fmla="*/ 1154 w 34698"/>
                <a:gd name="connsiteY10"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698" h="20074">
                  <a:moveTo>
                    <a:pt x="1154" y="12029"/>
                  </a:moveTo>
                  <a:lnTo>
                    <a:pt x="13346" y="18983"/>
                  </a:lnTo>
                  <a:cubicBezTo>
                    <a:pt x="15670" y="20221"/>
                    <a:pt x="18451" y="20221"/>
                    <a:pt x="20776" y="18983"/>
                  </a:cubicBezTo>
                  <a:lnTo>
                    <a:pt x="32872" y="12029"/>
                  </a:lnTo>
                  <a:cubicBezTo>
                    <a:pt x="34053" y="11591"/>
                    <a:pt x="34663" y="10277"/>
                    <a:pt x="34215" y="9086"/>
                  </a:cubicBezTo>
                  <a:cubicBezTo>
                    <a:pt x="33987" y="8467"/>
                    <a:pt x="33491" y="7972"/>
                    <a:pt x="32872" y="7743"/>
                  </a:cubicBezTo>
                  <a:lnTo>
                    <a:pt x="20776" y="695"/>
                  </a:lnTo>
                  <a:cubicBezTo>
                    <a:pt x="18432" y="-448"/>
                    <a:pt x="15689" y="-448"/>
                    <a:pt x="13346" y="695"/>
                  </a:cubicBezTo>
                  <a:lnTo>
                    <a:pt x="1154" y="7743"/>
                  </a:lnTo>
                  <a:cubicBezTo>
                    <a:pt x="-27" y="8181"/>
                    <a:pt x="-637" y="9496"/>
                    <a:pt x="-189" y="10686"/>
                  </a:cubicBezTo>
                  <a:cubicBezTo>
                    <a:pt x="40" y="11306"/>
                    <a:pt x="525" y="11801"/>
                    <a:pt x="1154" y="12029"/>
                  </a:cubicBezTo>
                  <a:close/>
                </a:path>
              </a:pathLst>
            </a:custGeom>
            <a:solidFill>
              <a:srgbClr val="D1D9E8"/>
            </a:solidFill>
            <a:ln w="9525" cap="flat">
              <a:noFill/>
              <a:prstDash val="solid"/>
              <a:miter/>
            </a:ln>
          </p:spPr>
          <p:txBody>
            <a:bodyPr rtlCol="0" anchor="ctr"/>
            <a:lstStyle/>
            <a:p>
              <a:endParaRPr lang="zh-CN" altLang="en-US"/>
            </a:p>
          </p:txBody>
        </p:sp>
        <p:sp>
          <p:nvSpPr>
            <p:cNvPr id="659" name="îşḷíďê">
              <a:extLst>
                <a:ext uri="{FF2B5EF4-FFF2-40B4-BE49-F238E27FC236}">
                  <a16:creationId xmlns:a16="http://schemas.microsoft.com/office/drawing/2014/main" id="{1FDECEB1-D88C-4EFA-B7B2-90984D19E57C}"/>
                </a:ext>
              </a:extLst>
            </p:cNvPr>
            <p:cNvSpPr/>
            <p:nvPr/>
          </p:nvSpPr>
          <p:spPr>
            <a:xfrm>
              <a:off x="5651433" y="5000955"/>
              <a:ext cx="109594" cy="53801"/>
            </a:xfrm>
            <a:custGeom>
              <a:avLst/>
              <a:gdLst>
                <a:gd name="connsiteX0" fmla="*/ -336 w 36004"/>
                <a:gd name="connsiteY0" fmla="*/ -163 h 17675"/>
                <a:gd name="connsiteX1" fmla="*/ -336 w 36004"/>
                <a:gd name="connsiteY1" fmla="*/ 7076 h 17675"/>
                <a:gd name="connsiteX2" fmla="*/ 1188 w 36004"/>
                <a:gd name="connsiteY2" fmla="*/ 9267 h 17675"/>
                <a:gd name="connsiteX3" fmla="*/ 13761 w 36004"/>
                <a:gd name="connsiteY3" fmla="*/ 16506 h 17675"/>
                <a:gd name="connsiteX4" fmla="*/ 21476 w 36004"/>
                <a:gd name="connsiteY4" fmla="*/ 16506 h 17675"/>
                <a:gd name="connsiteX5" fmla="*/ 34049 w 36004"/>
                <a:gd name="connsiteY5" fmla="*/ 9267 h 17675"/>
                <a:gd name="connsiteX6" fmla="*/ 35668 w 36004"/>
                <a:gd name="connsiteY6" fmla="*/ 6981 h 17675"/>
                <a:gd name="connsiteX7" fmla="*/ 35668 w 36004"/>
                <a:gd name="connsiteY7" fmla="*/ -163 h 17675"/>
                <a:gd name="connsiteX8" fmla="*/ 34049 w 36004"/>
                <a:gd name="connsiteY8" fmla="*/ 2123 h 17675"/>
                <a:gd name="connsiteX9" fmla="*/ 31763 w 36004"/>
                <a:gd name="connsiteY9" fmla="*/ 3457 h 17675"/>
                <a:gd name="connsiteX10" fmla="*/ 21476 w 36004"/>
                <a:gd name="connsiteY10" fmla="*/ 9362 h 17675"/>
                <a:gd name="connsiteX11" fmla="*/ 13761 w 36004"/>
                <a:gd name="connsiteY11" fmla="*/ 9362 h 17675"/>
                <a:gd name="connsiteX12" fmla="*/ 3474 w 36004"/>
                <a:gd name="connsiteY12" fmla="*/ 3457 h 17675"/>
                <a:gd name="connsiteX13" fmla="*/ 1188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79" y="8038"/>
                    <a:pt x="312" y="8877"/>
                    <a:pt x="1188" y="9267"/>
                  </a:cubicBezTo>
                  <a:lnTo>
                    <a:pt x="13761" y="16506"/>
                  </a:lnTo>
                  <a:cubicBezTo>
                    <a:pt x="16161" y="17849"/>
                    <a:pt x="19076" y="17849"/>
                    <a:pt x="21476" y="16506"/>
                  </a:cubicBezTo>
                  <a:lnTo>
                    <a:pt x="34049" y="9267"/>
                  </a:lnTo>
                  <a:cubicBezTo>
                    <a:pt x="34992" y="8896"/>
                    <a:pt x="35630" y="8000"/>
                    <a:pt x="35668" y="6981"/>
                  </a:cubicBezTo>
                  <a:lnTo>
                    <a:pt x="35668" y="-163"/>
                  </a:lnTo>
                  <a:cubicBezTo>
                    <a:pt x="35602" y="847"/>
                    <a:pt x="34982" y="1733"/>
                    <a:pt x="34049" y="2123"/>
                  </a:cubicBezTo>
                  <a:lnTo>
                    <a:pt x="31763" y="3457"/>
                  </a:lnTo>
                  <a:lnTo>
                    <a:pt x="21476" y="9362"/>
                  </a:lnTo>
                  <a:cubicBezTo>
                    <a:pt x="19057" y="10601"/>
                    <a:pt x="16180" y="10601"/>
                    <a:pt x="13761" y="9362"/>
                  </a:cubicBezTo>
                  <a:lnTo>
                    <a:pt x="3474" y="3457"/>
                  </a:lnTo>
                  <a:lnTo>
                    <a:pt x="1188" y="2123"/>
                  </a:lnTo>
                  <a:cubicBezTo>
                    <a:pt x="312"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60" name="íṣlíďê">
              <a:extLst>
                <a:ext uri="{FF2B5EF4-FFF2-40B4-BE49-F238E27FC236}">
                  <a16:creationId xmlns:a16="http://schemas.microsoft.com/office/drawing/2014/main" id="{E5329D14-67AB-4AED-84AB-82C45109985E}"/>
                </a:ext>
              </a:extLst>
            </p:cNvPr>
            <p:cNvSpPr/>
            <p:nvPr/>
          </p:nvSpPr>
          <p:spPr>
            <a:xfrm>
              <a:off x="5728554" y="5014269"/>
              <a:ext cx="109740" cy="63445"/>
            </a:xfrm>
            <a:custGeom>
              <a:avLst/>
              <a:gdLst>
                <a:gd name="connsiteX0" fmla="*/ -336 w 36052"/>
                <a:gd name="connsiteY0" fmla="*/ 10227 h 20843"/>
                <a:gd name="connsiteX1" fmla="*/ 1188 w 36052"/>
                <a:gd name="connsiteY1" fmla="*/ 12513 h 20843"/>
                <a:gd name="connsiteX2" fmla="*/ 3569 w 36052"/>
                <a:gd name="connsiteY2" fmla="*/ 13846 h 20843"/>
                <a:gd name="connsiteX3" fmla="*/ 13856 w 36052"/>
                <a:gd name="connsiteY3" fmla="*/ 19752 h 20843"/>
                <a:gd name="connsiteX4" fmla="*/ 21476 w 36052"/>
                <a:gd name="connsiteY4" fmla="*/ 19752 h 20843"/>
                <a:gd name="connsiteX5" fmla="*/ 31763 w 36052"/>
                <a:gd name="connsiteY5" fmla="*/ 13846 h 20843"/>
                <a:gd name="connsiteX6" fmla="*/ 34144 w 36052"/>
                <a:gd name="connsiteY6" fmla="*/ 12513 h 20843"/>
                <a:gd name="connsiteX7" fmla="*/ 35573 w 36052"/>
                <a:gd name="connsiteY7" fmla="*/ 9465 h 20843"/>
                <a:gd name="connsiteX8" fmla="*/ 34144 w 36052"/>
                <a:gd name="connsiteY8" fmla="*/ 8036 h 20843"/>
                <a:gd name="connsiteX9" fmla="*/ 21476 w 36052"/>
                <a:gd name="connsiteY9" fmla="*/ 702 h 20843"/>
                <a:gd name="connsiteX10" fmla="*/ 13856 w 36052"/>
                <a:gd name="connsiteY10" fmla="*/ 702 h 20843"/>
                <a:gd name="connsiteX11" fmla="*/ 1188 w 36052"/>
                <a:gd name="connsiteY11" fmla="*/ 8036 h 20843"/>
                <a:gd name="connsiteX12" fmla="*/ -336 w 36052"/>
                <a:gd name="connsiteY12" fmla="*/ 10227 h 20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3">
                  <a:moveTo>
                    <a:pt x="-336" y="10227"/>
                  </a:moveTo>
                  <a:cubicBezTo>
                    <a:pt x="-269" y="11208"/>
                    <a:pt x="312" y="12075"/>
                    <a:pt x="1188" y="12513"/>
                  </a:cubicBezTo>
                  <a:lnTo>
                    <a:pt x="3569" y="13846"/>
                  </a:lnTo>
                  <a:lnTo>
                    <a:pt x="13856" y="19752"/>
                  </a:lnTo>
                  <a:cubicBezTo>
                    <a:pt x="16247" y="20990"/>
                    <a:pt x="19085" y="20990"/>
                    <a:pt x="21476" y="19752"/>
                  </a:cubicBezTo>
                  <a:lnTo>
                    <a:pt x="31763" y="13846"/>
                  </a:lnTo>
                  <a:lnTo>
                    <a:pt x="34144" y="12513"/>
                  </a:lnTo>
                  <a:cubicBezTo>
                    <a:pt x="35382" y="12065"/>
                    <a:pt x="36021" y="10694"/>
                    <a:pt x="35573" y="9465"/>
                  </a:cubicBezTo>
                  <a:cubicBezTo>
                    <a:pt x="35325" y="8798"/>
                    <a:pt x="34811" y="8274"/>
                    <a:pt x="34144"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661" name="î$lïḓê">
              <a:extLst>
                <a:ext uri="{FF2B5EF4-FFF2-40B4-BE49-F238E27FC236}">
                  <a16:creationId xmlns:a16="http://schemas.microsoft.com/office/drawing/2014/main" id="{74E15D61-C4AC-4BF2-B973-A05FC1A2D2F7}"/>
                </a:ext>
              </a:extLst>
            </p:cNvPr>
            <p:cNvSpPr/>
            <p:nvPr/>
          </p:nvSpPr>
          <p:spPr>
            <a:xfrm>
              <a:off x="5730441" y="5015450"/>
              <a:ext cx="105898" cy="61104"/>
            </a:xfrm>
            <a:custGeom>
              <a:avLst/>
              <a:gdLst>
                <a:gd name="connsiteX0" fmla="*/ 1235 w 34790"/>
                <a:gd name="connsiteY0" fmla="*/ 12029 h 20074"/>
                <a:gd name="connsiteX1" fmla="*/ 13332 w 34790"/>
                <a:gd name="connsiteY1" fmla="*/ 18983 h 20074"/>
                <a:gd name="connsiteX2" fmla="*/ 20761 w 34790"/>
                <a:gd name="connsiteY2" fmla="*/ 18983 h 20074"/>
                <a:gd name="connsiteX3" fmla="*/ 32953 w 34790"/>
                <a:gd name="connsiteY3" fmla="*/ 12029 h 20074"/>
                <a:gd name="connsiteX4" fmla="*/ 32953 w 34790"/>
                <a:gd name="connsiteY4" fmla="*/ 7743 h 20074"/>
                <a:gd name="connsiteX5" fmla="*/ 20761 w 34790"/>
                <a:gd name="connsiteY5" fmla="*/ 695 h 20074"/>
                <a:gd name="connsiteX6" fmla="*/ 13332 w 34790"/>
                <a:gd name="connsiteY6" fmla="*/ 695 h 20074"/>
                <a:gd name="connsiteX7" fmla="*/ 1235 w 34790"/>
                <a:gd name="connsiteY7" fmla="*/ 7743 h 20074"/>
                <a:gd name="connsiteX8" fmla="*/ 1235 w 34790"/>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4">
                  <a:moveTo>
                    <a:pt x="1235" y="12029"/>
                  </a:moveTo>
                  <a:lnTo>
                    <a:pt x="13332" y="18983"/>
                  </a:lnTo>
                  <a:cubicBezTo>
                    <a:pt x="15656" y="20221"/>
                    <a:pt x="18437" y="20221"/>
                    <a:pt x="20761" y="18983"/>
                  </a:cubicBezTo>
                  <a:lnTo>
                    <a:pt x="32953" y="12029"/>
                  </a:lnTo>
                  <a:cubicBezTo>
                    <a:pt x="34954" y="10791"/>
                    <a:pt x="34954" y="8886"/>
                    <a:pt x="32953" y="7743"/>
                  </a:cubicBezTo>
                  <a:lnTo>
                    <a:pt x="20761" y="695"/>
                  </a:lnTo>
                  <a:cubicBezTo>
                    <a:pt x="18418" y="-448"/>
                    <a:pt x="15675" y="-448"/>
                    <a:pt x="13332" y="695"/>
                  </a:cubicBezTo>
                  <a:lnTo>
                    <a:pt x="1235" y="7743"/>
                  </a:lnTo>
                  <a:cubicBezTo>
                    <a:pt x="-860" y="8886"/>
                    <a:pt x="-860" y="10791"/>
                    <a:pt x="1235" y="12029"/>
                  </a:cubicBezTo>
                  <a:close/>
                </a:path>
              </a:pathLst>
            </a:custGeom>
            <a:solidFill>
              <a:srgbClr val="D1D9E8"/>
            </a:solidFill>
            <a:ln w="9525" cap="flat">
              <a:noFill/>
              <a:prstDash val="solid"/>
              <a:miter/>
            </a:ln>
          </p:spPr>
          <p:txBody>
            <a:bodyPr rtlCol="0" anchor="ctr"/>
            <a:lstStyle/>
            <a:p>
              <a:endParaRPr lang="zh-CN" altLang="en-US"/>
            </a:p>
          </p:txBody>
        </p:sp>
        <p:sp>
          <p:nvSpPr>
            <p:cNvPr id="662" name="îṩḷîḓe">
              <a:extLst>
                <a:ext uri="{FF2B5EF4-FFF2-40B4-BE49-F238E27FC236}">
                  <a16:creationId xmlns:a16="http://schemas.microsoft.com/office/drawing/2014/main" id="{0C1A9DF4-16AD-46B3-822A-B2396D4A45A4}"/>
                </a:ext>
              </a:extLst>
            </p:cNvPr>
            <p:cNvSpPr/>
            <p:nvPr/>
          </p:nvSpPr>
          <p:spPr>
            <a:xfrm>
              <a:off x="5728554" y="5045893"/>
              <a:ext cx="109594" cy="53804"/>
            </a:xfrm>
            <a:custGeom>
              <a:avLst/>
              <a:gdLst>
                <a:gd name="connsiteX0" fmla="*/ -336 w 36004"/>
                <a:gd name="connsiteY0" fmla="*/ -163 h 17676"/>
                <a:gd name="connsiteX1" fmla="*/ -336 w 36004"/>
                <a:gd name="connsiteY1" fmla="*/ 7076 h 17676"/>
                <a:gd name="connsiteX2" fmla="*/ 1188 w 36004"/>
                <a:gd name="connsiteY2" fmla="*/ 9267 h 17676"/>
                <a:gd name="connsiteX3" fmla="*/ 13856 w 36004"/>
                <a:gd name="connsiteY3" fmla="*/ 16506 h 17676"/>
                <a:gd name="connsiteX4" fmla="*/ 21476 w 36004"/>
                <a:gd name="connsiteY4" fmla="*/ 16506 h 17676"/>
                <a:gd name="connsiteX5" fmla="*/ 34144 w 36004"/>
                <a:gd name="connsiteY5" fmla="*/ 9267 h 17676"/>
                <a:gd name="connsiteX6" fmla="*/ 35668 w 36004"/>
                <a:gd name="connsiteY6" fmla="*/ 6981 h 17676"/>
                <a:gd name="connsiteX7" fmla="*/ 35668 w 36004"/>
                <a:gd name="connsiteY7" fmla="*/ -163 h 17676"/>
                <a:gd name="connsiteX8" fmla="*/ 34144 w 36004"/>
                <a:gd name="connsiteY8" fmla="*/ 2124 h 17676"/>
                <a:gd name="connsiteX9" fmla="*/ 31763 w 36004"/>
                <a:gd name="connsiteY9" fmla="*/ 3457 h 17676"/>
                <a:gd name="connsiteX10" fmla="*/ 21476 w 36004"/>
                <a:gd name="connsiteY10" fmla="*/ 9362 h 17676"/>
                <a:gd name="connsiteX11" fmla="*/ 13856 w 36004"/>
                <a:gd name="connsiteY11" fmla="*/ 9362 h 17676"/>
                <a:gd name="connsiteX12" fmla="*/ 3569 w 36004"/>
                <a:gd name="connsiteY12" fmla="*/ 3457 h 17676"/>
                <a:gd name="connsiteX13" fmla="*/ 1188 w 36004"/>
                <a:gd name="connsiteY13" fmla="*/ 2124 h 17676"/>
                <a:gd name="connsiteX14" fmla="*/ -336 w 36004"/>
                <a:gd name="connsiteY14" fmla="*/ -163 h 17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6">
                  <a:moveTo>
                    <a:pt x="-336" y="-163"/>
                  </a:moveTo>
                  <a:lnTo>
                    <a:pt x="-336" y="7076"/>
                  </a:lnTo>
                  <a:cubicBezTo>
                    <a:pt x="-279" y="8029"/>
                    <a:pt x="312" y="8877"/>
                    <a:pt x="1188" y="9267"/>
                  </a:cubicBezTo>
                  <a:lnTo>
                    <a:pt x="13856" y="16506"/>
                  </a:lnTo>
                  <a:cubicBezTo>
                    <a:pt x="16218" y="17849"/>
                    <a:pt x="19114" y="17849"/>
                    <a:pt x="21476" y="16506"/>
                  </a:cubicBezTo>
                  <a:lnTo>
                    <a:pt x="34144" y="9267"/>
                  </a:lnTo>
                  <a:cubicBezTo>
                    <a:pt x="35049" y="8867"/>
                    <a:pt x="35640" y="7972"/>
                    <a:pt x="35668" y="6981"/>
                  </a:cubicBezTo>
                  <a:lnTo>
                    <a:pt x="35668" y="-163"/>
                  </a:lnTo>
                  <a:cubicBezTo>
                    <a:pt x="35602" y="819"/>
                    <a:pt x="35021" y="1685"/>
                    <a:pt x="34144" y="2124"/>
                  </a:cubicBezTo>
                  <a:lnTo>
                    <a:pt x="31763" y="3457"/>
                  </a:lnTo>
                  <a:lnTo>
                    <a:pt x="21476" y="9362"/>
                  </a:lnTo>
                  <a:cubicBezTo>
                    <a:pt x="19085" y="10601"/>
                    <a:pt x="16247" y="10601"/>
                    <a:pt x="13856" y="9362"/>
                  </a:cubicBezTo>
                  <a:lnTo>
                    <a:pt x="3569" y="3457"/>
                  </a:lnTo>
                  <a:lnTo>
                    <a:pt x="1188" y="2124"/>
                  </a:lnTo>
                  <a:cubicBezTo>
                    <a:pt x="312" y="1685"/>
                    <a:pt x="-269" y="819"/>
                    <a:pt x="-336" y="-163"/>
                  </a:cubicBezTo>
                  <a:close/>
                </a:path>
              </a:pathLst>
            </a:custGeom>
            <a:solidFill>
              <a:srgbClr val="BF4200"/>
            </a:solidFill>
            <a:ln w="9525" cap="flat">
              <a:noFill/>
              <a:prstDash val="solid"/>
              <a:miter/>
            </a:ln>
          </p:spPr>
          <p:txBody>
            <a:bodyPr rtlCol="0" anchor="ctr"/>
            <a:lstStyle/>
            <a:p>
              <a:endParaRPr lang="zh-CN" altLang="en-US"/>
            </a:p>
          </p:txBody>
        </p:sp>
        <p:sp>
          <p:nvSpPr>
            <p:cNvPr id="663" name="íṡļíḋe">
              <a:extLst>
                <a:ext uri="{FF2B5EF4-FFF2-40B4-BE49-F238E27FC236}">
                  <a16:creationId xmlns:a16="http://schemas.microsoft.com/office/drawing/2014/main" id="{2CCCE401-C154-44EA-8C40-BDB98AC0155A}"/>
                </a:ext>
              </a:extLst>
            </p:cNvPr>
            <p:cNvSpPr/>
            <p:nvPr/>
          </p:nvSpPr>
          <p:spPr>
            <a:xfrm>
              <a:off x="5805967" y="5058921"/>
              <a:ext cx="109740" cy="63445"/>
            </a:xfrm>
            <a:custGeom>
              <a:avLst/>
              <a:gdLst>
                <a:gd name="connsiteX0" fmla="*/ -336 w 36052"/>
                <a:gd name="connsiteY0" fmla="*/ 10227 h 20843"/>
                <a:gd name="connsiteX1" fmla="*/ 1188 w 36052"/>
                <a:gd name="connsiteY1" fmla="*/ 12513 h 20843"/>
                <a:gd name="connsiteX2" fmla="*/ 3569 w 36052"/>
                <a:gd name="connsiteY2" fmla="*/ 13846 h 20843"/>
                <a:gd name="connsiteX3" fmla="*/ 13856 w 36052"/>
                <a:gd name="connsiteY3" fmla="*/ 19752 h 20843"/>
                <a:gd name="connsiteX4" fmla="*/ 21476 w 36052"/>
                <a:gd name="connsiteY4" fmla="*/ 19752 h 20843"/>
                <a:gd name="connsiteX5" fmla="*/ 31763 w 36052"/>
                <a:gd name="connsiteY5" fmla="*/ 13846 h 20843"/>
                <a:gd name="connsiteX6" fmla="*/ 34144 w 36052"/>
                <a:gd name="connsiteY6" fmla="*/ 12513 h 20843"/>
                <a:gd name="connsiteX7" fmla="*/ 35573 w 36052"/>
                <a:gd name="connsiteY7" fmla="*/ 9465 h 20843"/>
                <a:gd name="connsiteX8" fmla="*/ 34144 w 36052"/>
                <a:gd name="connsiteY8" fmla="*/ 8036 h 20843"/>
                <a:gd name="connsiteX9" fmla="*/ 21476 w 36052"/>
                <a:gd name="connsiteY9" fmla="*/ 702 h 20843"/>
                <a:gd name="connsiteX10" fmla="*/ 13856 w 36052"/>
                <a:gd name="connsiteY10" fmla="*/ 702 h 20843"/>
                <a:gd name="connsiteX11" fmla="*/ 1188 w 36052"/>
                <a:gd name="connsiteY11" fmla="*/ 8036 h 20843"/>
                <a:gd name="connsiteX12" fmla="*/ -336 w 36052"/>
                <a:gd name="connsiteY12" fmla="*/ 10227 h 20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3">
                  <a:moveTo>
                    <a:pt x="-336" y="10227"/>
                  </a:moveTo>
                  <a:cubicBezTo>
                    <a:pt x="-270" y="11208"/>
                    <a:pt x="311" y="12075"/>
                    <a:pt x="1188" y="12513"/>
                  </a:cubicBezTo>
                  <a:lnTo>
                    <a:pt x="3569" y="13846"/>
                  </a:lnTo>
                  <a:lnTo>
                    <a:pt x="13856" y="19752"/>
                  </a:lnTo>
                  <a:cubicBezTo>
                    <a:pt x="16247" y="20990"/>
                    <a:pt x="19085" y="20990"/>
                    <a:pt x="21476" y="19752"/>
                  </a:cubicBezTo>
                  <a:lnTo>
                    <a:pt x="31763" y="13846"/>
                  </a:lnTo>
                  <a:lnTo>
                    <a:pt x="34144" y="12513"/>
                  </a:lnTo>
                  <a:cubicBezTo>
                    <a:pt x="35382" y="12065"/>
                    <a:pt x="36020" y="10694"/>
                    <a:pt x="35573" y="9465"/>
                  </a:cubicBezTo>
                  <a:cubicBezTo>
                    <a:pt x="35325" y="8798"/>
                    <a:pt x="34811" y="8274"/>
                    <a:pt x="34144"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664" name="îṥliḋè">
              <a:extLst>
                <a:ext uri="{FF2B5EF4-FFF2-40B4-BE49-F238E27FC236}">
                  <a16:creationId xmlns:a16="http://schemas.microsoft.com/office/drawing/2014/main" id="{22695C9E-1F0D-4BD0-A71D-FD591A1A026A}"/>
                </a:ext>
              </a:extLst>
            </p:cNvPr>
            <p:cNvSpPr/>
            <p:nvPr/>
          </p:nvSpPr>
          <p:spPr>
            <a:xfrm>
              <a:off x="5807781" y="5060102"/>
              <a:ext cx="105895" cy="61101"/>
            </a:xfrm>
            <a:custGeom>
              <a:avLst/>
              <a:gdLst>
                <a:gd name="connsiteX0" fmla="*/ 1164 w 34789"/>
                <a:gd name="connsiteY0" fmla="*/ 12029 h 20073"/>
                <a:gd name="connsiteX1" fmla="*/ 13356 w 34789"/>
                <a:gd name="connsiteY1" fmla="*/ 18982 h 20073"/>
                <a:gd name="connsiteX2" fmla="*/ 20785 w 34789"/>
                <a:gd name="connsiteY2" fmla="*/ 18982 h 20073"/>
                <a:gd name="connsiteX3" fmla="*/ 32882 w 34789"/>
                <a:gd name="connsiteY3" fmla="*/ 12029 h 20073"/>
                <a:gd name="connsiteX4" fmla="*/ 32882 w 34789"/>
                <a:gd name="connsiteY4" fmla="*/ 7743 h 20073"/>
                <a:gd name="connsiteX5" fmla="*/ 20785 w 34789"/>
                <a:gd name="connsiteY5" fmla="*/ 695 h 20073"/>
                <a:gd name="connsiteX6" fmla="*/ 13356 w 34789"/>
                <a:gd name="connsiteY6" fmla="*/ 695 h 20073"/>
                <a:gd name="connsiteX7" fmla="*/ 1164 w 34789"/>
                <a:gd name="connsiteY7" fmla="*/ 7743 h 20073"/>
                <a:gd name="connsiteX8" fmla="*/ 1164 w 34789"/>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89" h="20073">
                  <a:moveTo>
                    <a:pt x="1164" y="12029"/>
                  </a:moveTo>
                  <a:lnTo>
                    <a:pt x="13356" y="18982"/>
                  </a:lnTo>
                  <a:cubicBezTo>
                    <a:pt x="15680" y="20221"/>
                    <a:pt x="18461" y="20221"/>
                    <a:pt x="20785" y="18982"/>
                  </a:cubicBezTo>
                  <a:lnTo>
                    <a:pt x="32882" y="12029"/>
                  </a:lnTo>
                  <a:cubicBezTo>
                    <a:pt x="34977" y="10791"/>
                    <a:pt x="34977" y="8886"/>
                    <a:pt x="32882" y="7743"/>
                  </a:cubicBezTo>
                  <a:lnTo>
                    <a:pt x="20785" y="695"/>
                  </a:lnTo>
                  <a:cubicBezTo>
                    <a:pt x="18442" y="-448"/>
                    <a:pt x="15699" y="-448"/>
                    <a:pt x="13356" y="695"/>
                  </a:cubicBezTo>
                  <a:lnTo>
                    <a:pt x="1164" y="7743"/>
                  </a:lnTo>
                  <a:cubicBezTo>
                    <a:pt x="-836" y="8981"/>
                    <a:pt x="-836" y="10791"/>
                    <a:pt x="1164" y="12029"/>
                  </a:cubicBezTo>
                  <a:close/>
                </a:path>
              </a:pathLst>
            </a:custGeom>
            <a:solidFill>
              <a:srgbClr val="D1D9E8"/>
            </a:solidFill>
            <a:ln w="9525" cap="flat">
              <a:noFill/>
              <a:prstDash val="solid"/>
              <a:miter/>
            </a:ln>
          </p:spPr>
          <p:txBody>
            <a:bodyPr rtlCol="0" anchor="ctr"/>
            <a:lstStyle/>
            <a:p>
              <a:endParaRPr lang="zh-CN" altLang="en-US"/>
            </a:p>
          </p:txBody>
        </p:sp>
        <p:sp>
          <p:nvSpPr>
            <p:cNvPr id="665" name="íṡḷïde">
              <a:extLst>
                <a:ext uri="{FF2B5EF4-FFF2-40B4-BE49-F238E27FC236}">
                  <a16:creationId xmlns:a16="http://schemas.microsoft.com/office/drawing/2014/main" id="{DC597F75-2CD6-4096-BF3E-BA3CB2001104}"/>
                </a:ext>
              </a:extLst>
            </p:cNvPr>
            <p:cNvSpPr/>
            <p:nvPr/>
          </p:nvSpPr>
          <p:spPr>
            <a:xfrm>
              <a:off x="5805967" y="5090544"/>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3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3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2" y="7953"/>
                    <a:pt x="35668" y="6981"/>
                  </a:cubicBezTo>
                  <a:lnTo>
                    <a:pt x="35668" y="-163"/>
                  </a:lnTo>
                  <a:cubicBezTo>
                    <a:pt x="35602" y="818"/>
                    <a:pt x="35021" y="1685"/>
                    <a:pt x="34144" y="2123"/>
                  </a:cubicBezTo>
                  <a:lnTo>
                    <a:pt x="31763" y="3457"/>
                  </a:lnTo>
                  <a:lnTo>
                    <a:pt x="21476" y="9362"/>
                  </a:lnTo>
                  <a:cubicBezTo>
                    <a:pt x="19085" y="10601"/>
                    <a:pt x="16247" y="10601"/>
                    <a:pt x="13856" y="9362"/>
                  </a:cubicBezTo>
                  <a:lnTo>
                    <a:pt x="3569" y="3457"/>
                  </a:lnTo>
                  <a:lnTo>
                    <a:pt x="1188"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66" name="îšliďe">
              <a:extLst>
                <a:ext uri="{FF2B5EF4-FFF2-40B4-BE49-F238E27FC236}">
                  <a16:creationId xmlns:a16="http://schemas.microsoft.com/office/drawing/2014/main" id="{D018562C-4818-4980-9C0B-3CCA69D26A11}"/>
                </a:ext>
              </a:extLst>
            </p:cNvPr>
            <p:cNvSpPr/>
            <p:nvPr/>
          </p:nvSpPr>
          <p:spPr>
            <a:xfrm>
              <a:off x="5883091" y="5103721"/>
              <a:ext cx="109740" cy="63292"/>
            </a:xfrm>
            <a:custGeom>
              <a:avLst/>
              <a:gdLst>
                <a:gd name="connsiteX0" fmla="*/ -336 w 36052"/>
                <a:gd name="connsiteY0" fmla="*/ 10177 h 20793"/>
                <a:gd name="connsiteX1" fmla="*/ 1283 w 36052"/>
                <a:gd name="connsiteY1" fmla="*/ 12463 h 20793"/>
                <a:gd name="connsiteX2" fmla="*/ 3569 w 36052"/>
                <a:gd name="connsiteY2" fmla="*/ 13796 h 20793"/>
                <a:gd name="connsiteX3" fmla="*/ 13856 w 36052"/>
                <a:gd name="connsiteY3" fmla="*/ 19702 h 20793"/>
                <a:gd name="connsiteX4" fmla="*/ 21571 w 36052"/>
                <a:gd name="connsiteY4" fmla="*/ 19702 h 20793"/>
                <a:gd name="connsiteX5" fmla="*/ 31858 w 36052"/>
                <a:gd name="connsiteY5" fmla="*/ 13796 h 20793"/>
                <a:gd name="connsiteX6" fmla="*/ 34144 w 36052"/>
                <a:gd name="connsiteY6" fmla="*/ 12463 h 20793"/>
                <a:gd name="connsiteX7" fmla="*/ 35573 w 36052"/>
                <a:gd name="connsiteY7" fmla="*/ 9415 h 20793"/>
                <a:gd name="connsiteX8" fmla="*/ 34144 w 36052"/>
                <a:gd name="connsiteY8" fmla="*/ 7986 h 20793"/>
                <a:gd name="connsiteX9" fmla="*/ 21571 w 36052"/>
                <a:gd name="connsiteY9" fmla="*/ 652 h 20793"/>
                <a:gd name="connsiteX10" fmla="*/ 13856 w 36052"/>
                <a:gd name="connsiteY10" fmla="*/ 652 h 20793"/>
                <a:gd name="connsiteX11" fmla="*/ 1283 w 36052"/>
                <a:gd name="connsiteY11" fmla="*/ 7986 h 20793"/>
                <a:gd name="connsiteX12" fmla="*/ -336 w 36052"/>
                <a:gd name="connsiteY12" fmla="*/ 10177 h 20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793">
                  <a:moveTo>
                    <a:pt x="-336" y="10177"/>
                  </a:moveTo>
                  <a:cubicBezTo>
                    <a:pt x="-270" y="11186"/>
                    <a:pt x="359" y="12072"/>
                    <a:pt x="1283" y="12463"/>
                  </a:cubicBezTo>
                  <a:lnTo>
                    <a:pt x="3569" y="13796"/>
                  </a:lnTo>
                  <a:lnTo>
                    <a:pt x="13856" y="19702"/>
                  </a:lnTo>
                  <a:cubicBezTo>
                    <a:pt x="16275" y="20940"/>
                    <a:pt x="19152" y="20940"/>
                    <a:pt x="21571" y="19702"/>
                  </a:cubicBezTo>
                  <a:lnTo>
                    <a:pt x="31858" y="13796"/>
                  </a:lnTo>
                  <a:lnTo>
                    <a:pt x="34144" y="12463"/>
                  </a:lnTo>
                  <a:cubicBezTo>
                    <a:pt x="35382" y="12015"/>
                    <a:pt x="36020" y="10643"/>
                    <a:pt x="35573" y="9415"/>
                  </a:cubicBezTo>
                  <a:cubicBezTo>
                    <a:pt x="35325" y="8748"/>
                    <a:pt x="34811" y="8224"/>
                    <a:pt x="34144" y="7986"/>
                  </a:cubicBezTo>
                  <a:lnTo>
                    <a:pt x="21571" y="652"/>
                  </a:lnTo>
                  <a:cubicBezTo>
                    <a:pt x="19114" y="-434"/>
                    <a:pt x="16313" y="-434"/>
                    <a:pt x="13856" y="652"/>
                  </a:cubicBezTo>
                  <a:lnTo>
                    <a:pt x="1283" y="7986"/>
                  </a:lnTo>
                  <a:cubicBezTo>
                    <a:pt x="378" y="8367"/>
                    <a:pt x="-241" y="9205"/>
                    <a:pt x="-336" y="10177"/>
                  </a:cubicBezTo>
                  <a:close/>
                </a:path>
              </a:pathLst>
            </a:custGeom>
            <a:solidFill>
              <a:srgbClr val="FFFFFF"/>
            </a:solidFill>
            <a:ln w="9525" cap="flat">
              <a:noFill/>
              <a:prstDash val="solid"/>
              <a:miter/>
            </a:ln>
          </p:spPr>
          <p:txBody>
            <a:bodyPr rtlCol="0" anchor="ctr"/>
            <a:lstStyle/>
            <a:p>
              <a:endParaRPr lang="zh-CN" altLang="en-US"/>
            </a:p>
          </p:txBody>
        </p:sp>
        <p:sp>
          <p:nvSpPr>
            <p:cNvPr id="667" name="î$ľïďe">
              <a:extLst>
                <a:ext uri="{FF2B5EF4-FFF2-40B4-BE49-F238E27FC236}">
                  <a16:creationId xmlns:a16="http://schemas.microsoft.com/office/drawing/2014/main" id="{6A2B2681-E49D-4696-AFF7-72BB55DD3CD5}"/>
                </a:ext>
              </a:extLst>
            </p:cNvPr>
            <p:cNvSpPr/>
            <p:nvPr/>
          </p:nvSpPr>
          <p:spPr>
            <a:xfrm>
              <a:off x="5884975" y="5104750"/>
              <a:ext cx="105898" cy="61101"/>
            </a:xfrm>
            <a:custGeom>
              <a:avLst/>
              <a:gdLst>
                <a:gd name="connsiteX0" fmla="*/ 1235 w 34790"/>
                <a:gd name="connsiteY0" fmla="*/ 12029 h 20073"/>
                <a:gd name="connsiteX1" fmla="*/ 13332 w 34790"/>
                <a:gd name="connsiteY1" fmla="*/ 18983 h 20073"/>
                <a:gd name="connsiteX2" fmla="*/ 20762 w 34790"/>
                <a:gd name="connsiteY2" fmla="*/ 18983 h 20073"/>
                <a:gd name="connsiteX3" fmla="*/ 32954 w 34790"/>
                <a:gd name="connsiteY3" fmla="*/ 12029 h 20073"/>
                <a:gd name="connsiteX4" fmla="*/ 32954 w 34790"/>
                <a:gd name="connsiteY4" fmla="*/ 7743 h 20073"/>
                <a:gd name="connsiteX5" fmla="*/ 20762 w 34790"/>
                <a:gd name="connsiteY5" fmla="*/ 695 h 20073"/>
                <a:gd name="connsiteX6" fmla="*/ 13332 w 34790"/>
                <a:gd name="connsiteY6" fmla="*/ 695 h 20073"/>
                <a:gd name="connsiteX7" fmla="*/ 1235 w 34790"/>
                <a:gd name="connsiteY7" fmla="*/ 7743 h 20073"/>
                <a:gd name="connsiteX8" fmla="*/ 1235 w 34790"/>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3">
                  <a:moveTo>
                    <a:pt x="1235" y="12029"/>
                  </a:moveTo>
                  <a:lnTo>
                    <a:pt x="13332" y="18983"/>
                  </a:lnTo>
                  <a:cubicBezTo>
                    <a:pt x="15656" y="20221"/>
                    <a:pt x="18437" y="20221"/>
                    <a:pt x="20762" y="18983"/>
                  </a:cubicBezTo>
                  <a:lnTo>
                    <a:pt x="32954" y="12029"/>
                  </a:lnTo>
                  <a:cubicBezTo>
                    <a:pt x="34954" y="10791"/>
                    <a:pt x="34954" y="8886"/>
                    <a:pt x="32954" y="7743"/>
                  </a:cubicBezTo>
                  <a:lnTo>
                    <a:pt x="20762" y="695"/>
                  </a:lnTo>
                  <a:cubicBezTo>
                    <a:pt x="18419" y="-448"/>
                    <a:pt x="15675" y="-448"/>
                    <a:pt x="13332" y="695"/>
                  </a:cubicBezTo>
                  <a:lnTo>
                    <a:pt x="1235" y="7743"/>
                  </a:lnTo>
                  <a:cubicBezTo>
                    <a:pt x="-860" y="8886"/>
                    <a:pt x="-860" y="10791"/>
                    <a:pt x="1235" y="12029"/>
                  </a:cubicBezTo>
                  <a:close/>
                </a:path>
              </a:pathLst>
            </a:custGeom>
            <a:solidFill>
              <a:srgbClr val="D1D9E8"/>
            </a:solidFill>
            <a:ln w="9525" cap="flat">
              <a:noFill/>
              <a:prstDash val="solid"/>
              <a:miter/>
            </a:ln>
          </p:spPr>
          <p:txBody>
            <a:bodyPr rtlCol="0" anchor="ctr"/>
            <a:lstStyle/>
            <a:p>
              <a:endParaRPr lang="zh-CN" altLang="en-US"/>
            </a:p>
          </p:txBody>
        </p:sp>
        <p:sp>
          <p:nvSpPr>
            <p:cNvPr id="668" name="îşlîďé">
              <a:extLst>
                <a:ext uri="{FF2B5EF4-FFF2-40B4-BE49-F238E27FC236}">
                  <a16:creationId xmlns:a16="http://schemas.microsoft.com/office/drawing/2014/main" id="{C6D203AF-485E-478E-9DE8-61F5ADA07333}"/>
                </a:ext>
              </a:extLst>
            </p:cNvPr>
            <p:cNvSpPr/>
            <p:nvPr/>
          </p:nvSpPr>
          <p:spPr>
            <a:xfrm>
              <a:off x="5883091" y="5135195"/>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4 w 36099"/>
                <a:gd name="connsiteY6" fmla="*/ 6981 h 17597"/>
                <a:gd name="connsiteX7" fmla="*/ 35764 w 36099"/>
                <a:gd name="connsiteY7" fmla="*/ -163 h 17597"/>
                <a:gd name="connsiteX8" fmla="*/ 34144 w 36099"/>
                <a:gd name="connsiteY8" fmla="*/ 2123 h 17597"/>
                <a:gd name="connsiteX9" fmla="*/ 31858 w 36099"/>
                <a:gd name="connsiteY9" fmla="*/ 3457 h 17597"/>
                <a:gd name="connsiteX10" fmla="*/ 21571 w 36099"/>
                <a:gd name="connsiteY10" fmla="*/ 9362 h 17597"/>
                <a:gd name="connsiteX11" fmla="*/ 13856 w 36099"/>
                <a:gd name="connsiteY11" fmla="*/ 9362 h 17597"/>
                <a:gd name="connsiteX12" fmla="*/ 3569 w 36099"/>
                <a:gd name="connsiteY12" fmla="*/ 3457 h 17597"/>
                <a:gd name="connsiteX13" fmla="*/ 1283 w 36099"/>
                <a:gd name="connsiteY13" fmla="*/ 2123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41" y="8048"/>
                    <a:pt x="387" y="8886"/>
                    <a:pt x="1283" y="9267"/>
                  </a:cubicBezTo>
                  <a:lnTo>
                    <a:pt x="13856" y="16506"/>
                  </a:lnTo>
                  <a:cubicBezTo>
                    <a:pt x="16275" y="17744"/>
                    <a:pt x="19152" y="17744"/>
                    <a:pt x="21571" y="16506"/>
                  </a:cubicBezTo>
                  <a:lnTo>
                    <a:pt x="34144" y="9267"/>
                  </a:lnTo>
                  <a:cubicBezTo>
                    <a:pt x="35030" y="8829"/>
                    <a:pt x="35640" y="7962"/>
                    <a:pt x="35764" y="6981"/>
                  </a:cubicBezTo>
                  <a:lnTo>
                    <a:pt x="35764" y="-163"/>
                  </a:lnTo>
                  <a:cubicBezTo>
                    <a:pt x="35659" y="828"/>
                    <a:pt x="35049" y="1695"/>
                    <a:pt x="34144" y="2123"/>
                  </a:cubicBezTo>
                  <a:lnTo>
                    <a:pt x="31858" y="3457"/>
                  </a:lnTo>
                  <a:lnTo>
                    <a:pt x="21571" y="9362"/>
                  </a:lnTo>
                  <a:cubicBezTo>
                    <a:pt x="19152" y="10601"/>
                    <a:pt x="16275" y="10601"/>
                    <a:pt x="13856" y="9362"/>
                  </a:cubicBezTo>
                  <a:lnTo>
                    <a:pt x="3569" y="3457"/>
                  </a:lnTo>
                  <a:lnTo>
                    <a:pt x="1283" y="2123"/>
                  </a:lnTo>
                  <a:cubicBezTo>
                    <a:pt x="349" y="1733"/>
                    <a:pt x="-270" y="847"/>
                    <a:pt x="-336" y="-163"/>
                  </a:cubicBezTo>
                  <a:close/>
                </a:path>
              </a:pathLst>
            </a:custGeom>
            <a:solidFill>
              <a:srgbClr val="BF4200"/>
            </a:solidFill>
            <a:ln w="9525" cap="flat">
              <a:noFill/>
              <a:prstDash val="solid"/>
              <a:miter/>
            </a:ln>
          </p:spPr>
          <p:txBody>
            <a:bodyPr rtlCol="0" anchor="ctr"/>
            <a:lstStyle/>
            <a:p>
              <a:endParaRPr lang="zh-CN" altLang="en-US"/>
            </a:p>
          </p:txBody>
        </p:sp>
        <p:sp>
          <p:nvSpPr>
            <p:cNvPr id="669" name="íşľiďè">
              <a:extLst>
                <a:ext uri="{FF2B5EF4-FFF2-40B4-BE49-F238E27FC236}">
                  <a16:creationId xmlns:a16="http://schemas.microsoft.com/office/drawing/2014/main" id="{AF2055F2-0EB7-4959-A7C9-F5F21E2F1214}"/>
                </a:ext>
              </a:extLst>
            </p:cNvPr>
            <p:cNvSpPr/>
            <p:nvPr/>
          </p:nvSpPr>
          <p:spPr>
            <a:xfrm>
              <a:off x="5960501" y="5148023"/>
              <a:ext cx="109594" cy="63639"/>
            </a:xfrm>
            <a:custGeom>
              <a:avLst/>
              <a:gdLst>
                <a:gd name="connsiteX0" fmla="*/ -336 w 36004"/>
                <a:gd name="connsiteY0" fmla="*/ 10291 h 20907"/>
                <a:gd name="connsiteX1" fmla="*/ 1188 w 36004"/>
                <a:gd name="connsiteY1" fmla="*/ 12577 h 20907"/>
                <a:gd name="connsiteX2" fmla="*/ 3569 w 36004"/>
                <a:gd name="connsiteY2" fmla="*/ 13910 h 20907"/>
                <a:gd name="connsiteX3" fmla="*/ 13856 w 36004"/>
                <a:gd name="connsiteY3" fmla="*/ 19816 h 20907"/>
                <a:gd name="connsiteX4" fmla="*/ 21476 w 36004"/>
                <a:gd name="connsiteY4" fmla="*/ 19816 h 20907"/>
                <a:gd name="connsiteX5" fmla="*/ 31763 w 36004"/>
                <a:gd name="connsiteY5" fmla="*/ 13910 h 20907"/>
                <a:gd name="connsiteX6" fmla="*/ 34144 w 36004"/>
                <a:gd name="connsiteY6" fmla="*/ 12577 h 20907"/>
                <a:gd name="connsiteX7" fmla="*/ 35668 w 36004"/>
                <a:gd name="connsiteY7" fmla="*/ 10291 h 20907"/>
                <a:gd name="connsiteX8" fmla="*/ 34144 w 36004"/>
                <a:gd name="connsiteY8" fmla="*/ 8100 h 20907"/>
                <a:gd name="connsiteX9" fmla="*/ 21476 w 36004"/>
                <a:gd name="connsiteY9" fmla="*/ 766 h 20907"/>
                <a:gd name="connsiteX10" fmla="*/ 13856 w 36004"/>
                <a:gd name="connsiteY10" fmla="*/ 766 h 20907"/>
                <a:gd name="connsiteX11" fmla="*/ 1188 w 36004"/>
                <a:gd name="connsiteY11" fmla="*/ 8100 h 20907"/>
                <a:gd name="connsiteX12" fmla="*/ -336 w 36004"/>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907">
                  <a:moveTo>
                    <a:pt x="-336" y="10291"/>
                  </a:moveTo>
                  <a:cubicBezTo>
                    <a:pt x="-269" y="11272"/>
                    <a:pt x="312" y="12139"/>
                    <a:pt x="1188" y="12577"/>
                  </a:cubicBezTo>
                  <a:lnTo>
                    <a:pt x="3569" y="13910"/>
                  </a:lnTo>
                  <a:lnTo>
                    <a:pt x="13856" y="19816"/>
                  </a:lnTo>
                  <a:cubicBezTo>
                    <a:pt x="16247" y="21054"/>
                    <a:pt x="19085" y="21054"/>
                    <a:pt x="21476" y="19816"/>
                  </a:cubicBezTo>
                  <a:lnTo>
                    <a:pt x="31763" y="13910"/>
                  </a:lnTo>
                  <a:lnTo>
                    <a:pt x="34144" y="12577"/>
                  </a:lnTo>
                  <a:cubicBezTo>
                    <a:pt x="35021" y="12139"/>
                    <a:pt x="35602" y="11272"/>
                    <a:pt x="35668" y="10291"/>
                  </a:cubicBezTo>
                  <a:cubicBezTo>
                    <a:pt x="35611" y="9339"/>
                    <a:pt x="35021" y="8491"/>
                    <a:pt x="34144" y="8100"/>
                  </a:cubicBezTo>
                  <a:lnTo>
                    <a:pt x="21476" y="766"/>
                  </a:lnTo>
                  <a:cubicBezTo>
                    <a:pt x="19085" y="-472"/>
                    <a:pt x="16247" y="-472"/>
                    <a:pt x="13856" y="766"/>
                  </a:cubicBezTo>
                  <a:lnTo>
                    <a:pt x="1188" y="8100"/>
                  </a:lnTo>
                  <a:cubicBezTo>
                    <a:pt x="312" y="8491"/>
                    <a:pt x="-279"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670" name="îṩḻïḍè">
              <a:extLst>
                <a:ext uri="{FF2B5EF4-FFF2-40B4-BE49-F238E27FC236}">
                  <a16:creationId xmlns:a16="http://schemas.microsoft.com/office/drawing/2014/main" id="{51C4106F-D0D8-4C42-8B3A-7D8503DDAE9B}"/>
                </a:ext>
              </a:extLst>
            </p:cNvPr>
            <p:cNvSpPr/>
            <p:nvPr/>
          </p:nvSpPr>
          <p:spPr>
            <a:xfrm>
              <a:off x="5962388" y="5149401"/>
              <a:ext cx="105825" cy="61104"/>
            </a:xfrm>
            <a:custGeom>
              <a:avLst/>
              <a:gdLst>
                <a:gd name="connsiteX0" fmla="*/ 1235 w 34766"/>
                <a:gd name="connsiteY0" fmla="*/ 12029 h 20074"/>
                <a:gd name="connsiteX1" fmla="*/ 13332 w 34766"/>
                <a:gd name="connsiteY1" fmla="*/ 18983 h 20074"/>
                <a:gd name="connsiteX2" fmla="*/ 20761 w 34766"/>
                <a:gd name="connsiteY2" fmla="*/ 18983 h 20074"/>
                <a:gd name="connsiteX3" fmla="*/ 32858 w 34766"/>
                <a:gd name="connsiteY3" fmla="*/ 12029 h 20074"/>
                <a:gd name="connsiteX4" fmla="*/ 32858 w 34766"/>
                <a:gd name="connsiteY4" fmla="*/ 7743 h 20074"/>
                <a:gd name="connsiteX5" fmla="*/ 20761 w 34766"/>
                <a:gd name="connsiteY5" fmla="*/ 695 h 20074"/>
                <a:gd name="connsiteX6" fmla="*/ 13332 w 34766"/>
                <a:gd name="connsiteY6" fmla="*/ 695 h 20074"/>
                <a:gd name="connsiteX7" fmla="*/ 1235 w 34766"/>
                <a:gd name="connsiteY7" fmla="*/ 8219 h 20074"/>
                <a:gd name="connsiteX8" fmla="*/ 1235 w 34766"/>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6" h="20074">
                  <a:moveTo>
                    <a:pt x="1235" y="12029"/>
                  </a:moveTo>
                  <a:lnTo>
                    <a:pt x="13332" y="18983"/>
                  </a:lnTo>
                  <a:cubicBezTo>
                    <a:pt x="15656" y="20221"/>
                    <a:pt x="18437" y="20221"/>
                    <a:pt x="20761" y="18983"/>
                  </a:cubicBezTo>
                  <a:lnTo>
                    <a:pt x="32858" y="12029"/>
                  </a:lnTo>
                  <a:cubicBezTo>
                    <a:pt x="34954" y="10791"/>
                    <a:pt x="34954" y="8886"/>
                    <a:pt x="32858" y="7743"/>
                  </a:cubicBezTo>
                  <a:lnTo>
                    <a:pt x="20761" y="695"/>
                  </a:lnTo>
                  <a:cubicBezTo>
                    <a:pt x="18418" y="-448"/>
                    <a:pt x="15675" y="-448"/>
                    <a:pt x="13332" y="695"/>
                  </a:cubicBezTo>
                  <a:lnTo>
                    <a:pt x="1235" y="8219"/>
                  </a:lnTo>
                  <a:cubicBezTo>
                    <a:pt x="-860" y="8886"/>
                    <a:pt x="-860" y="10791"/>
                    <a:pt x="1235" y="12029"/>
                  </a:cubicBezTo>
                  <a:close/>
                </a:path>
              </a:pathLst>
            </a:custGeom>
            <a:solidFill>
              <a:srgbClr val="D1D9E8"/>
            </a:solidFill>
            <a:ln w="9525" cap="flat">
              <a:noFill/>
              <a:prstDash val="solid"/>
              <a:miter/>
            </a:ln>
          </p:spPr>
          <p:txBody>
            <a:bodyPr rtlCol="0" anchor="ctr"/>
            <a:lstStyle/>
            <a:p>
              <a:endParaRPr lang="zh-CN" altLang="en-US"/>
            </a:p>
          </p:txBody>
        </p:sp>
        <p:sp>
          <p:nvSpPr>
            <p:cNvPr id="671" name="iṧlîdê">
              <a:extLst>
                <a:ext uri="{FF2B5EF4-FFF2-40B4-BE49-F238E27FC236}">
                  <a16:creationId xmlns:a16="http://schemas.microsoft.com/office/drawing/2014/main" id="{C7E544C9-1BAB-47B8-8CE7-7DB9F4C35D3D}"/>
                </a:ext>
              </a:extLst>
            </p:cNvPr>
            <p:cNvSpPr/>
            <p:nvPr/>
          </p:nvSpPr>
          <p:spPr>
            <a:xfrm>
              <a:off x="5960501" y="5179844"/>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3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3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2" y="7953"/>
                    <a:pt x="35668" y="6981"/>
                  </a:cubicBezTo>
                  <a:lnTo>
                    <a:pt x="35668" y="-163"/>
                  </a:lnTo>
                  <a:cubicBezTo>
                    <a:pt x="35602" y="818"/>
                    <a:pt x="35021" y="1685"/>
                    <a:pt x="34144" y="2123"/>
                  </a:cubicBezTo>
                  <a:lnTo>
                    <a:pt x="31763" y="3457"/>
                  </a:lnTo>
                  <a:lnTo>
                    <a:pt x="21476" y="9362"/>
                  </a:lnTo>
                  <a:cubicBezTo>
                    <a:pt x="19085" y="10600"/>
                    <a:pt x="16247" y="10600"/>
                    <a:pt x="13856" y="9362"/>
                  </a:cubicBezTo>
                  <a:lnTo>
                    <a:pt x="3569" y="3457"/>
                  </a:lnTo>
                  <a:lnTo>
                    <a:pt x="1188" y="2123"/>
                  </a:lnTo>
                  <a:cubicBezTo>
                    <a:pt x="312"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72" name="ïṡľíḓe">
              <a:extLst>
                <a:ext uri="{FF2B5EF4-FFF2-40B4-BE49-F238E27FC236}">
                  <a16:creationId xmlns:a16="http://schemas.microsoft.com/office/drawing/2014/main" id="{B7750526-DD03-4A46-AE84-88136F1A0B35}"/>
                </a:ext>
              </a:extLst>
            </p:cNvPr>
            <p:cNvSpPr/>
            <p:nvPr/>
          </p:nvSpPr>
          <p:spPr>
            <a:xfrm>
              <a:off x="6037625" y="5192674"/>
              <a:ext cx="109883" cy="63639"/>
            </a:xfrm>
            <a:custGeom>
              <a:avLst/>
              <a:gdLst>
                <a:gd name="connsiteX0" fmla="*/ -336 w 36099"/>
                <a:gd name="connsiteY0" fmla="*/ 10291 h 20907"/>
                <a:gd name="connsiteX1" fmla="*/ 1283 w 36099"/>
                <a:gd name="connsiteY1" fmla="*/ 12577 h 20907"/>
                <a:gd name="connsiteX2" fmla="*/ 3569 w 36099"/>
                <a:gd name="connsiteY2" fmla="*/ 13911 h 20907"/>
                <a:gd name="connsiteX3" fmla="*/ 13856 w 36099"/>
                <a:gd name="connsiteY3" fmla="*/ 19816 h 20907"/>
                <a:gd name="connsiteX4" fmla="*/ 21571 w 36099"/>
                <a:gd name="connsiteY4" fmla="*/ 19816 h 20907"/>
                <a:gd name="connsiteX5" fmla="*/ 31858 w 36099"/>
                <a:gd name="connsiteY5" fmla="*/ 13911 h 20907"/>
                <a:gd name="connsiteX6" fmla="*/ 34144 w 36099"/>
                <a:gd name="connsiteY6" fmla="*/ 12577 h 20907"/>
                <a:gd name="connsiteX7" fmla="*/ 35764 w 36099"/>
                <a:gd name="connsiteY7" fmla="*/ 10291 h 20907"/>
                <a:gd name="connsiteX8" fmla="*/ 34144 w 36099"/>
                <a:gd name="connsiteY8" fmla="*/ 8101 h 20907"/>
                <a:gd name="connsiteX9" fmla="*/ 21571 w 36099"/>
                <a:gd name="connsiteY9" fmla="*/ 766 h 20907"/>
                <a:gd name="connsiteX10" fmla="*/ 13856 w 36099"/>
                <a:gd name="connsiteY10" fmla="*/ 766 h 20907"/>
                <a:gd name="connsiteX11" fmla="*/ 1283 w 36099"/>
                <a:gd name="connsiteY11" fmla="*/ 8101 h 20907"/>
                <a:gd name="connsiteX12" fmla="*/ -336 w 36099"/>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99" h="20907">
                  <a:moveTo>
                    <a:pt x="-336" y="10291"/>
                  </a:moveTo>
                  <a:cubicBezTo>
                    <a:pt x="-231" y="11282"/>
                    <a:pt x="378" y="12149"/>
                    <a:pt x="1283" y="12577"/>
                  </a:cubicBezTo>
                  <a:lnTo>
                    <a:pt x="3569" y="13911"/>
                  </a:lnTo>
                  <a:lnTo>
                    <a:pt x="13856" y="19816"/>
                  </a:lnTo>
                  <a:cubicBezTo>
                    <a:pt x="16275" y="21054"/>
                    <a:pt x="19152" y="21054"/>
                    <a:pt x="21571" y="19816"/>
                  </a:cubicBezTo>
                  <a:lnTo>
                    <a:pt x="31858" y="13911"/>
                  </a:lnTo>
                  <a:lnTo>
                    <a:pt x="34144" y="12577"/>
                  </a:lnTo>
                  <a:cubicBezTo>
                    <a:pt x="35049" y="12149"/>
                    <a:pt x="35659" y="11282"/>
                    <a:pt x="35764" y="10291"/>
                  </a:cubicBezTo>
                  <a:cubicBezTo>
                    <a:pt x="35649" y="9329"/>
                    <a:pt x="35030" y="8491"/>
                    <a:pt x="34144" y="8101"/>
                  </a:cubicBezTo>
                  <a:lnTo>
                    <a:pt x="21571" y="766"/>
                  </a:lnTo>
                  <a:cubicBezTo>
                    <a:pt x="19152" y="-472"/>
                    <a:pt x="16275" y="-472"/>
                    <a:pt x="13856" y="766"/>
                  </a:cubicBezTo>
                  <a:lnTo>
                    <a:pt x="1283" y="8101"/>
                  </a:lnTo>
                  <a:cubicBezTo>
                    <a:pt x="397" y="8491"/>
                    <a:pt x="-222"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673" name="ïṧļiḑè">
              <a:extLst>
                <a:ext uri="{FF2B5EF4-FFF2-40B4-BE49-F238E27FC236}">
                  <a16:creationId xmlns:a16="http://schemas.microsoft.com/office/drawing/2014/main" id="{2601025A-5EBB-497B-9C89-F1E7AED59B3B}"/>
                </a:ext>
              </a:extLst>
            </p:cNvPr>
            <p:cNvSpPr/>
            <p:nvPr/>
          </p:nvSpPr>
          <p:spPr>
            <a:xfrm>
              <a:off x="6039729" y="5193834"/>
              <a:ext cx="105679" cy="61104"/>
            </a:xfrm>
            <a:custGeom>
              <a:avLst/>
              <a:gdLst>
                <a:gd name="connsiteX0" fmla="*/ 1164 w 34718"/>
                <a:gd name="connsiteY0" fmla="*/ 12006 h 20074"/>
                <a:gd name="connsiteX1" fmla="*/ 13260 w 34718"/>
                <a:gd name="connsiteY1" fmla="*/ 19054 h 20074"/>
                <a:gd name="connsiteX2" fmla="*/ 20690 w 34718"/>
                <a:gd name="connsiteY2" fmla="*/ 19054 h 20074"/>
                <a:gd name="connsiteX3" fmla="*/ 32882 w 34718"/>
                <a:gd name="connsiteY3" fmla="*/ 12006 h 20074"/>
                <a:gd name="connsiteX4" fmla="*/ 32882 w 34718"/>
                <a:gd name="connsiteY4" fmla="*/ 7719 h 20074"/>
                <a:gd name="connsiteX5" fmla="*/ 20690 w 34718"/>
                <a:gd name="connsiteY5" fmla="*/ 766 h 20074"/>
                <a:gd name="connsiteX6" fmla="*/ 13260 w 34718"/>
                <a:gd name="connsiteY6" fmla="*/ 766 h 20074"/>
                <a:gd name="connsiteX7" fmla="*/ 1164 w 34718"/>
                <a:gd name="connsiteY7" fmla="*/ 7719 h 20074"/>
                <a:gd name="connsiteX8" fmla="*/ 1164 w 34718"/>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18" h="20074">
                  <a:moveTo>
                    <a:pt x="1164" y="12006"/>
                  </a:moveTo>
                  <a:lnTo>
                    <a:pt x="13260" y="19054"/>
                  </a:lnTo>
                  <a:cubicBezTo>
                    <a:pt x="15604" y="20197"/>
                    <a:pt x="18347" y="20197"/>
                    <a:pt x="20690" y="19054"/>
                  </a:cubicBezTo>
                  <a:lnTo>
                    <a:pt x="32882" y="12006"/>
                  </a:lnTo>
                  <a:cubicBezTo>
                    <a:pt x="34882" y="10863"/>
                    <a:pt x="34882" y="8957"/>
                    <a:pt x="32882" y="7719"/>
                  </a:cubicBezTo>
                  <a:lnTo>
                    <a:pt x="20690" y="766"/>
                  </a:lnTo>
                  <a:cubicBezTo>
                    <a:pt x="18366" y="-472"/>
                    <a:pt x="15585" y="-472"/>
                    <a:pt x="13260" y="766"/>
                  </a:cubicBezTo>
                  <a:lnTo>
                    <a:pt x="1164" y="7719"/>
                  </a:lnTo>
                  <a:cubicBezTo>
                    <a:pt x="-836" y="8957"/>
                    <a:pt x="-836" y="10863"/>
                    <a:pt x="1164" y="12006"/>
                  </a:cubicBezTo>
                  <a:close/>
                </a:path>
              </a:pathLst>
            </a:custGeom>
            <a:solidFill>
              <a:srgbClr val="D1D9E8"/>
            </a:solidFill>
            <a:ln w="9525" cap="flat">
              <a:noFill/>
              <a:prstDash val="solid"/>
              <a:miter/>
            </a:ln>
          </p:spPr>
          <p:txBody>
            <a:bodyPr rtlCol="0" anchor="ctr"/>
            <a:lstStyle/>
            <a:p>
              <a:endParaRPr lang="zh-CN" altLang="en-US"/>
            </a:p>
          </p:txBody>
        </p:sp>
        <p:sp>
          <p:nvSpPr>
            <p:cNvPr id="674" name="íṧľiḍe">
              <a:extLst>
                <a:ext uri="{FF2B5EF4-FFF2-40B4-BE49-F238E27FC236}">
                  <a16:creationId xmlns:a16="http://schemas.microsoft.com/office/drawing/2014/main" id="{F054CE81-D558-407B-9AE3-7056834DF129}"/>
                </a:ext>
              </a:extLst>
            </p:cNvPr>
            <p:cNvSpPr/>
            <p:nvPr/>
          </p:nvSpPr>
          <p:spPr>
            <a:xfrm>
              <a:off x="6037625" y="5224492"/>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4 w 36099"/>
                <a:gd name="connsiteY6" fmla="*/ 6981 h 17597"/>
                <a:gd name="connsiteX7" fmla="*/ 35764 w 36099"/>
                <a:gd name="connsiteY7" fmla="*/ -163 h 17597"/>
                <a:gd name="connsiteX8" fmla="*/ 34144 w 36099"/>
                <a:gd name="connsiteY8" fmla="*/ 2124 h 17597"/>
                <a:gd name="connsiteX9" fmla="*/ 31858 w 36099"/>
                <a:gd name="connsiteY9" fmla="*/ 3457 h 17597"/>
                <a:gd name="connsiteX10" fmla="*/ 21571 w 36099"/>
                <a:gd name="connsiteY10" fmla="*/ 9362 h 17597"/>
                <a:gd name="connsiteX11" fmla="*/ 13856 w 36099"/>
                <a:gd name="connsiteY11" fmla="*/ 9362 h 17597"/>
                <a:gd name="connsiteX12" fmla="*/ 3569 w 36099"/>
                <a:gd name="connsiteY12" fmla="*/ 3457 h 17597"/>
                <a:gd name="connsiteX13" fmla="*/ 1283 w 36099"/>
                <a:gd name="connsiteY13" fmla="*/ 2124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03" y="8029"/>
                    <a:pt x="407" y="8858"/>
                    <a:pt x="1283" y="9267"/>
                  </a:cubicBezTo>
                  <a:lnTo>
                    <a:pt x="13856" y="16506"/>
                  </a:lnTo>
                  <a:cubicBezTo>
                    <a:pt x="16275" y="17744"/>
                    <a:pt x="19152" y="17744"/>
                    <a:pt x="21571" y="16506"/>
                  </a:cubicBezTo>
                  <a:lnTo>
                    <a:pt x="34144" y="9267"/>
                  </a:lnTo>
                  <a:cubicBezTo>
                    <a:pt x="35030" y="8829"/>
                    <a:pt x="35640" y="7972"/>
                    <a:pt x="35764" y="6981"/>
                  </a:cubicBezTo>
                  <a:lnTo>
                    <a:pt x="35764" y="-163"/>
                  </a:lnTo>
                  <a:cubicBezTo>
                    <a:pt x="35659" y="828"/>
                    <a:pt x="35049" y="1695"/>
                    <a:pt x="34144" y="2124"/>
                  </a:cubicBezTo>
                  <a:lnTo>
                    <a:pt x="31858" y="3457"/>
                  </a:lnTo>
                  <a:lnTo>
                    <a:pt x="21571" y="9362"/>
                  </a:lnTo>
                  <a:cubicBezTo>
                    <a:pt x="19152" y="10601"/>
                    <a:pt x="16275" y="10601"/>
                    <a:pt x="13856" y="9362"/>
                  </a:cubicBezTo>
                  <a:lnTo>
                    <a:pt x="3569" y="3457"/>
                  </a:lnTo>
                  <a:lnTo>
                    <a:pt x="1283" y="2124"/>
                  </a:lnTo>
                  <a:cubicBezTo>
                    <a:pt x="378" y="1695"/>
                    <a:pt x="-231"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75" name="îṣ1ïḍé">
              <a:extLst>
                <a:ext uri="{FF2B5EF4-FFF2-40B4-BE49-F238E27FC236}">
                  <a16:creationId xmlns:a16="http://schemas.microsoft.com/office/drawing/2014/main" id="{D8C151B5-9B97-401A-B8D4-A061285543E6}"/>
                </a:ext>
              </a:extLst>
            </p:cNvPr>
            <p:cNvSpPr/>
            <p:nvPr/>
          </p:nvSpPr>
          <p:spPr>
            <a:xfrm>
              <a:off x="6115038" y="5237322"/>
              <a:ext cx="109594" cy="63588"/>
            </a:xfrm>
            <a:custGeom>
              <a:avLst/>
              <a:gdLst>
                <a:gd name="connsiteX0" fmla="*/ -336 w 36004"/>
                <a:gd name="connsiteY0" fmla="*/ 10291 h 20890"/>
                <a:gd name="connsiteX1" fmla="*/ 1188 w 36004"/>
                <a:gd name="connsiteY1" fmla="*/ 12577 h 20890"/>
                <a:gd name="connsiteX2" fmla="*/ 3569 w 36004"/>
                <a:gd name="connsiteY2" fmla="*/ 13911 h 20890"/>
                <a:gd name="connsiteX3" fmla="*/ 13856 w 36004"/>
                <a:gd name="connsiteY3" fmla="*/ 19721 h 20890"/>
                <a:gd name="connsiteX4" fmla="*/ 21476 w 36004"/>
                <a:gd name="connsiteY4" fmla="*/ 19721 h 20890"/>
                <a:gd name="connsiteX5" fmla="*/ 31763 w 36004"/>
                <a:gd name="connsiteY5" fmla="*/ 13911 h 20890"/>
                <a:gd name="connsiteX6" fmla="*/ 34144 w 36004"/>
                <a:gd name="connsiteY6" fmla="*/ 12577 h 20890"/>
                <a:gd name="connsiteX7" fmla="*/ 35668 w 36004"/>
                <a:gd name="connsiteY7" fmla="*/ 10291 h 20890"/>
                <a:gd name="connsiteX8" fmla="*/ 34144 w 36004"/>
                <a:gd name="connsiteY8" fmla="*/ 8100 h 20890"/>
                <a:gd name="connsiteX9" fmla="*/ 21476 w 36004"/>
                <a:gd name="connsiteY9" fmla="*/ 766 h 20890"/>
                <a:gd name="connsiteX10" fmla="*/ 13856 w 36004"/>
                <a:gd name="connsiteY10" fmla="*/ 766 h 20890"/>
                <a:gd name="connsiteX11" fmla="*/ 1188 w 36004"/>
                <a:gd name="connsiteY11" fmla="*/ 8100 h 20890"/>
                <a:gd name="connsiteX12" fmla="*/ -336 w 36004"/>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291"/>
                  </a:moveTo>
                  <a:cubicBezTo>
                    <a:pt x="-270" y="11272"/>
                    <a:pt x="311" y="12139"/>
                    <a:pt x="1188" y="12577"/>
                  </a:cubicBezTo>
                  <a:lnTo>
                    <a:pt x="3569" y="13911"/>
                  </a:lnTo>
                  <a:lnTo>
                    <a:pt x="13856" y="19721"/>
                  </a:lnTo>
                  <a:cubicBezTo>
                    <a:pt x="16218" y="21064"/>
                    <a:pt x="19114" y="21064"/>
                    <a:pt x="21476" y="19721"/>
                  </a:cubicBezTo>
                  <a:lnTo>
                    <a:pt x="31763" y="13911"/>
                  </a:lnTo>
                  <a:lnTo>
                    <a:pt x="34144" y="12577"/>
                  </a:lnTo>
                  <a:cubicBezTo>
                    <a:pt x="35021" y="12139"/>
                    <a:pt x="35601" y="11272"/>
                    <a:pt x="35668" y="10291"/>
                  </a:cubicBezTo>
                  <a:cubicBezTo>
                    <a:pt x="35630" y="9329"/>
                    <a:pt x="35039" y="8472"/>
                    <a:pt x="34144" y="8100"/>
                  </a:cubicBezTo>
                  <a:lnTo>
                    <a:pt x="21476" y="766"/>
                  </a:lnTo>
                  <a:cubicBezTo>
                    <a:pt x="19085" y="-472"/>
                    <a:pt x="16247" y="-472"/>
                    <a:pt x="13856" y="766"/>
                  </a:cubicBezTo>
                  <a:lnTo>
                    <a:pt x="1188" y="8100"/>
                  </a:lnTo>
                  <a:cubicBezTo>
                    <a:pt x="292" y="8472"/>
                    <a:pt x="-298"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676" name="íšḷiḑe">
              <a:extLst>
                <a:ext uri="{FF2B5EF4-FFF2-40B4-BE49-F238E27FC236}">
                  <a16:creationId xmlns:a16="http://schemas.microsoft.com/office/drawing/2014/main" id="{1037291F-0716-424B-A57C-00E4980973B9}"/>
                </a:ext>
              </a:extLst>
            </p:cNvPr>
            <p:cNvSpPr/>
            <p:nvPr/>
          </p:nvSpPr>
          <p:spPr>
            <a:xfrm>
              <a:off x="6116923" y="5238482"/>
              <a:ext cx="105825" cy="61101"/>
            </a:xfrm>
            <a:custGeom>
              <a:avLst/>
              <a:gdLst>
                <a:gd name="connsiteX0" fmla="*/ 1235 w 34766"/>
                <a:gd name="connsiteY0" fmla="*/ 12006 h 20073"/>
                <a:gd name="connsiteX1" fmla="*/ 13332 w 34766"/>
                <a:gd name="connsiteY1" fmla="*/ 19054 h 20073"/>
                <a:gd name="connsiteX2" fmla="*/ 20762 w 34766"/>
                <a:gd name="connsiteY2" fmla="*/ 19054 h 20073"/>
                <a:gd name="connsiteX3" fmla="*/ 32858 w 34766"/>
                <a:gd name="connsiteY3" fmla="*/ 12006 h 20073"/>
                <a:gd name="connsiteX4" fmla="*/ 32858 w 34766"/>
                <a:gd name="connsiteY4" fmla="*/ 7719 h 20073"/>
                <a:gd name="connsiteX5" fmla="*/ 20762 w 34766"/>
                <a:gd name="connsiteY5" fmla="*/ 766 h 20073"/>
                <a:gd name="connsiteX6" fmla="*/ 13332 w 34766"/>
                <a:gd name="connsiteY6" fmla="*/ 766 h 20073"/>
                <a:gd name="connsiteX7" fmla="*/ 1235 w 34766"/>
                <a:gd name="connsiteY7" fmla="*/ 7719 h 20073"/>
                <a:gd name="connsiteX8" fmla="*/ 1235 w 34766"/>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6" h="20073">
                  <a:moveTo>
                    <a:pt x="1235" y="12006"/>
                  </a:moveTo>
                  <a:lnTo>
                    <a:pt x="13332" y="19054"/>
                  </a:lnTo>
                  <a:cubicBezTo>
                    <a:pt x="15675" y="20197"/>
                    <a:pt x="18419" y="20197"/>
                    <a:pt x="20762" y="19054"/>
                  </a:cubicBezTo>
                  <a:lnTo>
                    <a:pt x="32858" y="12006"/>
                  </a:lnTo>
                  <a:cubicBezTo>
                    <a:pt x="34954" y="10863"/>
                    <a:pt x="34954" y="8957"/>
                    <a:pt x="32858" y="7719"/>
                  </a:cubicBezTo>
                  <a:lnTo>
                    <a:pt x="20762" y="766"/>
                  </a:lnTo>
                  <a:cubicBezTo>
                    <a:pt x="18437" y="-472"/>
                    <a:pt x="15656" y="-472"/>
                    <a:pt x="13332" y="766"/>
                  </a:cubicBezTo>
                  <a:lnTo>
                    <a:pt x="1235" y="7719"/>
                  </a:lnTo>
                  <a:cubicBezTo>
                    <a:pt x="-860" y="8957"/>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677" name="îSḻíḑé">
              <a:extLst>
                <a:ext uri="{FF2B5EF4-FFF2-40B4-BE49-F238E27FC236}">
                  <a16:creationId xmlns:a16="http://schemas.microsoft.com/office/drawing/2014/main" id="{CDE79BD5-D885-4BA8-BD04-3A9194680DED}"/>
                </a:ext>
              </a:extLst>
            </p:cNvPr>
            <p:cNvSpPr/>
            <p:nvPr/>
          </p:nvSpPr>
          <p:spPr>
            <a:xfrm>
              <a:off x="6115038" y="5268854"/>
              <a:ext cx="109594" cy="53564"/>
            </a:xfrm>
            <a:custGeom>
              <a:avLst/>
              <a:gdLst>
                <a:gd name="connsiteX0" fmla="*/ -336 w 36004"/>
                <a:gd name="connsiteY0" fmla="*/ -67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4 h 17597"/>
                <a:gd name="connsiteX9" fmla="*/ 31763 w 36004"/>
                <a:gd name="connsiteY9" fmla="*/ 3457 h 17597"/>
                <a:gd name="connsiteX10" fmla="*/ 21476 w 36004"/>
                <a:gd name="connsiteY10" fmla="*/ 9267 h 17597"/>
                <a:gd name="connsiteX11" fmla="*/ 13856 w 36004"/>
                <a:gd name="connsiteY11" fmla="*/ 9267 h 17597"/>
                <a:gd name="connsiteX12" fmla="*/ 3569 w 36004"/>
                <a:gd name="connsiteY12" fmla="*/ 3457 h 17597"/>
                <a:gd name="connsiteX13" fmla="*/ 1188 w 36004"/>
                <a:gd name="connsiteY13" fmla="*/ 2124 h 17597"/>
                <a:gd name="connsiteX14" fmla="*/ -336 w 36004"/>
                <a:gd name="connsiteY14" fmla="*/ -67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67"/>
                  </a:moveTo>
                  <a:lnTo>
                    <a:pt x="-336" y="7076"/>
                  </a:lnTo>
                  <a:cubicBezTo>
                    <a:pt x="-241" y="8019"/>
                    <a:pt x="340" y="8848"/>
                    <a:pt x="1188" y="9267"/>
                  </a:cubicBezTo>
                  <a:lnTo>
                    <a:pt x="13856" y="16506"/>
                  </a:lnTo>
                  <a:cubicBezTo>
                    <a:pt x="16247" y="17744"/>
                    <a:pt x="19085" y="17744"/>
                    <a:pt x="21476" y="16506"/>
                  </a:cubicBezTo>
                  <a:lnTo>
                    <a:pt x="34144" y="9267"/>
                  </a:lnTo>
                  <a:cubicBezTo>
                    <a:pt x="35011" y="8820"/>
                    <a:pt x="35582" y="7953"/>
                    <a:pt x="35668" y="6981"/>
                  </a:cubicBezTo>
                  <a:lnTo>
                    <a:pt x="35668" y="-163"/>
                  </a:lnTo>
                  <a:cubicBezTo>
                    <a:pt x="35601" y="818"/>
                    <a:pt x="35021" y="1685"/>
                    <a:pt x="34144" y="2124"/>
                  </a:cubicBezTo>
                  <a:lnTo>
                    <a:pt x="31763" y="3457"/>
                  </a:lnTo>
                  <a:lnTo>
                    <a:pt x="21476" y="9267"/>
                  </a:lnTo>
                  <a:cubicBezTo>
                    <a:pt x="19114" y="10610"/>
                    <a:pt x="16218" y="10610"/>
                    <a:pt x="13856" y="9267"/>
                  </a:cubicBezTo>
                  <a:lnTo>
                    <a:pt x="3569" y="3457"/>
                  </a:lnTo>
                  <a:lnTo>
                    <a:pt x="1188" y="2124"/>
                  </a:lnTo>
                  <a:cubicBezTo>
                    <a:pt x="340" y="1704"/>
                    <a:pt x="-241" y="876"/>
                    <a:pt x="-336" y="-67"/>
                  </a:cubicBezTo>
                  <a:close/>
                </a:path>
              </a:pathLst>
            </a:custGeom>
            <a:solidFill>
              <a:srgbClr val="BF4200"/>
            </a:solidFill>
            <a:ln w="9525" cap="flat">
              <a:noFill/>
              <a:prstDash val="solid"/>
              <a:miter/>
            </a:ln>
          </p:spPr>
          <p:txBody>
            <a:bodyPr rtlCol="0" anchor="ctr"/>
            <a:lstStyle/>
            <a:p>
              <a:endParaRPr lang="zh-CN" altLang="en-US"/>
            </a:p>
          </p:txBody>
        </p:sp>
        <p:sp>
          <p:nvSpPr>
            <p:cNvPr id="678" name="iš1íḋe">
              <a:extLst>
                <a:ext uri="{FF2B5EF4-FFF2-40B4-BE49-F238E27FC236}">
                  <a16:creationId xmlns:a16="http://schemas.microsoft.com/office/drawing/2014/main" id="{DC56CF55-22A2-4E42-BA2B-9663F7CCB87B}"/>
                </a:ext>
              </a:extLst>
            </p:cNvPr>
            <p:cNvSpPr/>
            <p:nvPr/>
          </p:nvSpPr>
          <p:spPr>
            <a:xfrm>
              <a:off x="6193030" y="5281879"/>
              <a:ext cx="197152" cy="113892"/>
            </a:xfrm>
            <a:custGeom>
              <a:avLst/>
              <a:gdLst>
                <a:gd name="connsiteX0" fmla="*/ -336 w 64769"/>
                <a:gd name="connsiteY0" fmla="*/ 10227 h 37416"/>
                <a:gd name="connsiteX1" fmla="*/ 1188 w 64769"/>
                <a:gd name="connsiteY1" fmla="*/ 12513 h 37416"/>
                <a:gd name="connsiteX2" fmla="*/ 3569 w 64769"/>
                <a:gd name="connsiteY2" fmla="*/ 13846 h 37416"/>
                <a:gd name="connsiteX3" fmla="*/ 42431 w 64769"/>
                <a:gd name="connsiteY3" fmla="*/ 36325 h 37416"/>
                <a:gd name="connsiteX4" fmla="*/ 50241 w 64769"/>
                <a:gd name="connsiteY4" fmla="*/ 36325 h 37416"/>
                <a:gd name="connsiteX5" fmla="*/ 60433 w 64769"/>
                <a:gd name="connsiteY5" fmla="*/ 30420 h 37416"/>
                <a:gd name="connsiteX6" fmla="*/ 62814 w 64769"/>
                <a:gd name="connsiteY6" fmla="*/ 28991 h 37416"/>
                <a:gd name="connsiteX7" fmla="*/ 64434 w 64769"/>
                <a:gd name="connsiteY7" fmla="*/ 27372 h 37416"/>
                <a:gd name="connsiteX8" fmla="*/ 64434 w 64769"/>
                <a:gd name="connsiteY8" fmla="*/ 26229 h 37416"/>
                <a:gd name="connsiteX9" fmla="*/ 62814 w 64769"/>
                <a:gd name="connsiteY9" fmla="*/ 24514 h 37416"/>
                <a:gd name="connsiteX10" fmla="*/ 21476 w 64769"/>
                <a:gd name="connsiteY10" fmla="*/ 702 h 37416"/>
                <a:gd name="connsiteX11" fmla="*/ 13856 w 64769"/>
                <a:gd name="connsiteY11" fmla="*/ 702 h 37416"/>
                <a:gd name="connsiteX12" fmla="*/ 1188 w 64769"/>
                <a:gd name="connsiteY12" fmla="*/ 8036 h 37416"/>
                <a:gd name="connsiteX13" fmla="*/ -336 w 64769"/>
                <a:gd name="connsiteY13" fmla="*/ 10227 h 37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4769" h="37416">
                  <a:moveTo>
                    <a:pt x="-336" y="10227"/>
                  </a:moveTo>
                  <a:cubicBezTo>
                    <a:pt x="-270" y="11208"/>
                    <a:pt x="311" y="12075"/>
                    <a:pt x="1188" y="12513"/>
                  </a:cubicBezTo>
                  <a:lnTo>
                    <a:pt x="3569" y="13846"/>
                  </a:lnTo>
                  <a:lnTo>
                    <a:pt x="42431" y="36325"/>
                  </a:lnTo>
                  <a:cubicBezTo>
                    <a:pt x="44888" y="37563"/>
                    <a:pt x="47784" y="37563"/>
                    <a:pt x="50241" y="36325"/>
                  </a:cubicBezTo>
                  <a:lnTo>
                    <a:pt x="60433" y="30420"/>
                  </a:lnTo>
                  <a:lnTo>
                    <a:pt x="62814" y="28991"/>
                  </a:lnTo>
                  <a:cubicBezTo>
                    <a:pt x="63529" y="28658"/>
                    <a:pt x="64100" y="28086"/>
                    <a:pt x="64434" y="27372"/>
                  </a:cubicBezTo>
                  <a:lnTo>
                    <a:pt x="64434" y="26229"/>
                  </a:lnTo>
                  <a:cubicBezTo>
                    <a:pt x="64024" y="25543"/>
                    <a:pt x="63472" y="24962"/>
                    <a:pt x="62814" y="24514"/>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679" name="ïṡḷîḑé">
              <a:extLst>
                <a:ext uri="{FF2B5EF4-FFF2-40B4-BE49-F238E27FC236}">
                  <a16:creationId xmlns:a16="http://schemas.microsoft.com/office/drawing/2014/main" id="{78B57CDF-5E88-4107-997B-E4B49BD1AAAB}"/>
                </a:ext>
              </a:extLst>
            </p:cNvPr>
            <p:cNvSpPr/>
            <p:nvPr/>
          </p:nvSpPr>
          <p:spPr>
            <a:xfrm>
              <a:off x="6194336" y="5282771"/>
              <a:ext cx="193168" cy="111545"/>
            </a:xfrm>
            <a:custGeom>
              <a:avLst/>
              <a:gdLst>
                <a:gd name="connsiteX0" fmla="*/ 42193 w 63460"/>
                <a:gd name="connsiteY0" fmla="*/ 35651 h 36645"/>
                <a:gd name="connsiteX1" fmla="*/ 1235 w 63460"/>
                <a:gd name="connsiteY1" fmla="*/ 12029 h 36645"/>
                <a:gd name="connsiteX2" fmla="*/ 1235 w 63460"/>
                <a:gd name="connsiteY2" fmla="*/ 7743 h 36645"/>
                <a:gd name="connsiteX3" fmla="*/ 13332 w 63460"/>
                <a:gd name="connsiteY3" fmla="*/ 695 h 36645"/>
                <a:gd name="connsiteX4" fmla="*/ 20761 w 63460"/>
                <a:gd name="connsiteY4" fmla="*/ 695 h 36645"/>
                <a:gd name="connsiteX5" fmla="*/ 61624 w 63460"/>
                <a:gd name="connsiteY5" fmla="*/ 24317 h 36645"/>
                <a:gd name="connsiteX6" fmla="*/ 61624 w 63460"/>
                <a:gd name="connsiteY6" fmla="*/ 28603 h 36645"/>
                <a:gd name="connsiteX7" fmla="*/ 49432 w 63460"/>
                <a:gd name="connsiteY7" fmla="*/ 35556 h 36645"/>
                <a:gd name="connsiteX8" fmla="*/ 42193 w 63460"/>
                <a:gd name="connsiteY8" fmla="*/ 35651 h 36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3460" h="36645">
                  <a:moveTo>
                    <a:pt x="42193" y="35651"/>
                  </a:moveTo>
                  <a:lnTo>
                    <a:pt x="1235" y="12029"/>
                  </a:lnTo>
                  <a:cubicBezTo>
                    <a:pt x="-860" y="10791"/>
                    <a:pt x="-860" y="8886"/>
                    <a:pt x="1235" y="7743"/>
                  </a:cubicBezTo>
                  <a:lnTo>
                    <a:pt x="13332" y="695"/>
                  </a:lnTo>
                  <a:cubicBezTo>
                    <a:pt x="15675" y="-448"/>
                    <a:pt x="18418" y="-448"/>
                    <a:pt x="20761" y="695"/>
                  </a:cubicBezTo>
                  <a:lnTo>
                    <a:pt x="61624" y="24317"/>
                  </a:lnTo>
                  <a:cubicBezTo>
                    <a:pt x="63624" y="25460"/>
                    <a:pt x="63624" y="27364"/>
                    <a:pt x="61624" y="28603"/>
                  </a:cubicBezTo>
                  <a:lnTo>
                    <a:pt x="49432" y="35556"/>
                  </a:lnTo>
                  <a:cubicBezTo>
                    <a:pt x="47174" y="36756"/>
                    <a:pt x="44479" y="36794"/>
                    <a:pt x="42193" y="35651"/>
                  </a:cubicBezTo>
                  <a:close/>
                </a:path>
              </a:pathLst>
            </a:custGeom>
            <a:solidFill>
              <a:srgbClr val="D1D9E8"/>
            </a:solidFill>
            <a:ln w="9525" cap="flat">
              <a:noFill/>
              <a:prstDash val="solid"/>
              <a:miter/>
            </a:ln>
          </p:spPr>
          <p:txBody>
            <a:bodyPr rtlCol="0" anchor="ctr"/>
            <a:lstStyle/>
            <a:p>
              <a:endParaRPr lang="zh-CN" altLang="en-US"/>
            </a:p>
          </p:txBody>
        </p:sp>
        <p:sp>
          <p:nvSpPr>
            <p:cNvPr id="680" name="ïšľiďè">
              <a:extLst>
                <a:ext uri="{FF2B5EF4-FFF2-40B4-BE49-F238E27FC236}">
                  <a16:creationId xmlns:a16="http://schemas.microsoft.com/office/drawing/2014/main" id="{9E09C8D2-B3D1-40DC-8B3A-94E7720F6400}"/>
                </a:ext>
              </a:extLst>
            </p:cNvPr>
            <p:cNvSpPr/>
            <p:nvPr/>
          </p:nvSpPr>
          <p:spPr>
            <a:xfrm>
              <a:off x="6193030" y="5313503"/>
              <a:ext cx="197152" cy="104011"/>
            </a:xfrm>
            <a:custGeom>
              <a:avLst/>
              <a:gdLst>
                <a:gd name="connsiteX0" fmla="*/ -336 w 64769"/>
                <a:gd name="connsiteY0" fmla="*/ -163 h 34170"/>
                <a:gd name="connsiteX1" fmla="*/ -336 w 64769"/>
                <a:gd name="connsiteY1" fmla="*/ 6981 h 34170"/>
                <a:gd name="connsiteX2" fmla="*/ 1188 w 64769"/>
                <a:gd name="connsiteY2" fmla="*/ 9267 h 34170"/>
                <a:gd name="connsiteX3" fmla="*/ 42431 w 64769"/>
                <a:gd name="connsiteY3" fmla="*/ 33080 h 34170"/>
                <a:gd name="connsiteX4" fmla="*/ 50241 w 64769"/>
                <a:gd name="connsiteY4" fmla="*/ 33080 h 34170"/>
                <a:gd name="connsiteX5" fmla="*/ 62814 w 64769"/>
                <a:gd name="connsiteY5" fmla="*/ 25841 h 34170"/>
                <a:gd name="connsiteX6" fmla="*/ 64434 w 64769"/>
                <a:gd name="connsiteY6" fmla="*/ 24126 h 34170"/>
                <a:gd name="connsiteX7" fmla="*/ 64434 w 64769"/>
                <a:gd name="connsiteY7" fmla="*/ 16982 h 34170"/>
                <a:gd name="connsiteX8" fmla="*/ 62814 w 64769"/>
                <a:gd name="connsiteY8" fmla="*/ 18602 h 34170"/>
                <a:gd name="connsiteX9" fmla="*/ 60433 w 64769"/>
                <a:gd name="connsiteY9" fmla="*/ 20030 h 34170"/>
                <a:gd name="connsiteX10" fmla="*/ 50241 w 64769"/>
                <a:gd name="connsiteY10" fmla="*/ 25936 h 34170"/>
                <a:gd name="connsiteX11" fmla="*/ 42431 w 64769"/>
                <a:gd name="connsiteY11" fmla="*/ 25936 h 34170"/>
                <a:gd name="connsiteX12" fmla="*/ 3569 w 64769"/>
                <a:gd name="connsiteY12" fmla="*/ 3457 h 34170"/>
                <a:gd name="connsiteX13" fmla="*/ 1664 w 64769"/>
                <a:gd name="connsiteY13" fmla="*/ 1933 h 34170"/>
                <a:gd name="connsiteX14" fmla="*/ -336 w 64769"/>
                <a:gd name="connsiteY14" fmla="*/ -163 h 341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4769" h="34170">
                  <a:moveTo>
                    <a:pt x="-336" y="-163"/>
                  </a:moveTo>
                  <a:lnTo>
                    <a:pt x="-336" y="6981"/>
                  </a:lnTo>
                  <a:cubicBezTo>
                    <a:pt x="-251" y="7953"/>
                    <a:pt x="321" y="8819"/>
                    <a:pt x="1188" y="9267"/>
                  </a:cubicBezTo>
                  <a:lnTo>
                    <a:pt x="42431" y="33080"/>
                  </a:lnTo>
                  <a:cubicBezTo>
                    <a:pt x="44888" y="34318"/>
                    <a:pt x="47784" y="34318"/>
                    <a:pt x="50241" y="33080"/>
                  </a:cubicBezTo>
                  <a:lnTo>
                    <a:pt x="62814" y="25841"/>
                  </a:lnTo>
                  <a:cubicBezTo>
                    <a:pt x="63472" y="25393"/>
                    <a:pt x="64024" y="24812"/>
                    <a:pt x="64434" y="24126"/>
                  </a:cubicBezTo>
                  <a:lnTo>
                    <a:pt x="64434" y="16982"/>
                  </a:lnTo>
                  <a:cubicBezTo>
                    <a:pt x="64100" y="17697"/>
                    <a:pt x="63529" y="18268"/>
                    <a:pt x="62814" y="18602"/>
                  </a:cubicBezTo>
                  <a:lnTo>
                    <a:pt x="60433" y="20030"/>
                  </a:lnTo>
                  <a:lnTo>
                    <a:pt x="50241" y="25936"/>
                  </a:lnTo>
                  <a:cubicBezTo>
                    <a:pt x="47784" y="27174"/>
                    <a:pt x="44888" y="27174"/>
                    <a:pt x="42431" y="25936"/>
                  </a:cubicBezTo>
                  <a:lnTo>
                    <a:pt x="3569" y="3457"/>
                  </a:lnTo>
                  <a:lnTo>
                    <a:pt x="1664" y="1933"/>
                  </a:lnTo>
                  <a:cubicBezTo>
                    <a:pt x="654" y="1666"/>
                    <a:pt x="-117" y="856"/>
                    <a:pt x="-336" y="-163"/>
                  </a:cubicBezTo>
                  <a:close/>
                </a:path>
              </a:pathLst>
            </a:custGeom>
            <a:solidFill>
              <a:srgbClr val="BF4200"/>
            </a:solidFill>
            <a:ln w="9525" cap="flat">
              <a:noFill/>
              <a:prstDash val="solid"/>
              <a:miter/>
            </a:ln>
          </p:spPr>
          <p:txBody>
            <a:bodyPr rtlCol="0" anchor="ctr"/>
            <a:lstStyle/>
            <a:p>
              <a:endParaRPr lang="zh-CN" altLang="en-US"/>
            </a:p>
          </p:txBody>
        </p:sp>
        <p:sp>
          <p:nvSpPr>
            <p:cNvPr id="681" name="ïsḻïdê">
              <a:extLst>
                <a:ext uri="{FF2B5EF4-FFF2-40B4-BE49-F238E27FC236}">
                  <a16:creationId xmlns:a16="http://schemas.microsoft.com/office/drawing/2014/main" id="{C1B49851-FEA6-4150-9B6E-C504E9726A6E}"/>
                </a:ext>
              </a:extLst>
            </p:cNvPr>
            <p:cNvSpPr/>
            <p:nvPr/>
          </p:nvSpPr>
          <p:spPr>
            <a:xfrm>
              <a:off x="5077942" y="4728490"/>
              <a:ext cx="197155" cy="113803"/>
            </a:xfrm>
            <a:custGeom>
              <a:avLst/>
              <a:gdLst>
                <a:gd name="connsiteX0" fmla="*/ -336 w 64770"/>
                <a:gd name="connsiteY0" fmla="*/ 10291 h 37387"/>
                <a:gd name="connsiteX1" fmla="*/ 1188 w 64770"/>
                <a:gd name="connsiteY1" fmla="*/ 12577 h 37387"/>
                <a:gd name="connsiteX2" fmla="*/ 3569 w 64770"/>
                <a:gd name="connsiteY2" fmla="*/ 13910 h 37387"/>
                <a:gd name="connsiteX3" fmla="*/ 42431 w 64770"/>
                <a:gd name="connsiteY3" fmla="*/ 36390 h 37387"/>
                <a:gd name="connsiteX4" fmla="*/ 50242 w 64770"/>
                <a:gd name="connsiteY4" fmla="*/ 36390 h 37387"/>
                <a:gd name="connsiteX5" fmla="*/ 60433 w 64770"/>
                <a:gd name="connsiteY5" fmla="*/ 30389 h 37387"/>
                <a:gd name="connsiteX6" fmla="*/ 62814 w 64770"/>
                <a:gd name="connsiteY6" fmla="*/ 29055 h 37387"/>
                <a:gd name="connsiteX7" fmla="*/ 64434 w 64770"/>
                <a:gd name="connsiteY7" fmla="*/ 27436 h 37387"/>
                <a:gd name="connsiteX8" fmla="*/ 64434 w 64770"/>
                <a:gd name="connsiteY8" fmla="*/ 26293 h 37387"/>
                <a:gd name="connsiteX9" fmla="*/ 62814 w 64770"/>
                <a:gd name="connsiteY9" fmla="*/ 24579 h 37387"/>
                <a:gd name="connsiteX10" fmla="*/ 21476 w 64770"/>
                <a:gd name="connsiteY10" fmla="*/ 766 h 37387"/>
                <a:gd name="connsiteX11" fmla="*/ 13856 w 64770"/>
                <a:gd name="connsiteY11" fmla="*/ 766 h 37387"/>
                <a:gd name="connsiteX12" fmla="*/ 1188 w 64770"/>
                <a:gd name="connsiteY12" fmla="*/ 8100 h 37387"/>
                <a:gd name="connsiteX13" fmla="*/ -336 w 64770"/>
                <a:gd name="connsiteY13" fmla="*/ 10291 h 37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4770" h="37387">
                  <a:moveTo>
                    <a:pt x="-336" y="10291"/>
                  </a:moveTo>
                  <a:cubicBezTo>
                    <a:pt x="-269" y="11272"/>
                    <a:pt x="312" y="12139"/>
                    <a:pt x="1188" y="12577"/>
                  </a:cubicBezTo>
                  <a:lnTo>
                    <a:pt x="3569" y="13910"/>
                  </a:lnTo>
                  <a:lnTo>
                    <a:pt x="42431" y="36390"/>
                  </a:lnTo>
                  <a:cubicBezTo>
                    <a:pt x="44917" y="37504"/>
                    <a:pt x="47756" y="37504"/>
                    <a:pt x="50242" y="36390"/>
                  </a:cubicBezTo>
                  <a:lnTo>
                    <a:pt x="60433" y="30389"/>
                  </a:lnTo>
                  <a:lnTo>
                    <a:pt x="62814" y="29055"/>
                  </a:lnTo>
                  <a:cubicBezTo>
                    <a:pt x="63529" y="28722"/>
                    <a:pt x="64100" y="28150"/>
                    <a:pt x="64434" y="27436"/>
                  </a:cubicBezTo>
                  <a:lnTo>
                    <a:pt x="64434" y="26293"/>
                  </a:lnTo>
                  <a:cubicBezTo>
                    <a:pt x="64081" y="25569"/>
                    <a:pt x="63510" y="24979"/>
                    <a:pt x="62814" y="24579"/>
                  </a:cubicBezTo>
                  <a:lnTo>
                    <a:pt x="21476" y="766"/>
                  </a:lnTo>
                  <a:cubicBezTo>
                    <a:pt x="19085" y="-472"/>
                    <a:pt x="16247" y="-472"/>
                    <a:pt x="13856" y="766"/>
                  </a:cubicBezTo>
                  <a:lnTo>
                    <a:pt x="1188" y="8100"/>
                  </a:lnTo>
                  <a:cubicBezTo>
                    <a:pt x="292" y="8472"/>
                    <a:pt x="-298"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682" name="íṣ1íḑé">
              <a:extLst>
                <a:ext uri="{FF2B5EF4-FFF2-40B4-BE49-F238E27FC236}">
                  <a16:creationId xmlns:a16="http://schemas.microsoft.com/office/drawing/2014/main" id="{9B53E33C-2B14-4EBF-BD57-48DE1888EA20}"/>
                </a:ext>
              </a:extLst>
            </p:cNvPr>
            <p:cNvSpPr/>
            <p:nvPr/>
          </p:nvSpPr>
          <p:spPr>
            <a:xfrm>
              <a:off x="5079829" y="4729647"/>
              <a:ext cx="193168" cy="111551"/>
            </a:xfrm>
            <a:custGeom>
              <a:avLst/>
              <a:gdLst>
                <a:gd name="connsiteX0" fmla="*/ 42002 w 63460"/>
                <a:gd name="connsiteY0" fmla="*/ 35628 h 36647"/>
                <a:gd name="connsiteX1" fmla="*/ 1235 w 63460"/>
                <a:gd name="connsiteY1" fmla="*/ 12006 h 36647"/>
                <a:gd name="connsiteX2" fmla="*/ 1235 w 63460"/>
                <a:gd name="connsiteY2" fmla="*/ 7719 h 36647"/>
                <a:gd name="connsiteX3" fmla="*/ 13332 w 63460"/>
                <a:gd name="connsiteY3" fmla="*/ 766 h 36647"/>
                <a:gd name="connsiteX4" fmla="*/ 20761 w 63460"/>
                <a:gd name="connsiteY4" fmla="*/ 766 h 36647"/>
                <a:gd name="connsiteX5" fmla="*/ 61624 w 63460"/>
                <a:gd name="connsiteY5" fmla="*/ 24293 h 36647"/>
                <a:gd name="connsiteX6" fmla="*/ 61624 w 63460"/>
                <a:gd name="connsiteY6" fmla="*/ 28579 h 36647"/>
                <a:gd name="connsiteX7" fmla="*/ 49432 w 63460"/>
                <a:gd name="connsiteY7" fmla="*/ 35628 h 36647"/>
                <a:gd name="connsiteX8" fmla="*/ 42002 w 63460"/>
                <a:gd name="connsiteY8" fmla="*/ 35628 h 366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3460" h="36647">
                  <a:moveTo>
                    <a:pt x="42002" y="35628"/>
                  </a:moveTo>
                  <a:lnTo>
                    <a:pt x="1235" y="12006"/>
                  </a:lnTo>
                  <a:cubicBezTo>
                    <a:pt x="-860" y="10863"/>
                    <a:pt x="-860" y="8958"/>
                    <a:pt x="1235" y="7719"/>
                  </a:cubicBezTo>
                  <a:lnTo>
                    <a:pt x="13332" y="766"/>
                  </a:lnTo>
                  <a:cubicBezTo>
                    <a:pt x="15656" y="-472"/>
                    <a:pt x="18437" y="-472"/>
                    <a:pt x="20761" y="766"/>
                  </a:cubicBezTo>
                  <a:lnTo>
                    <a:pt x="61624" y="24293"/>
                  </a:lnTo>
                  <a:cubicBezTo>
                    <a:pt x="63624" y="25531"/>
                    <a:pt x="63624" y="27436"/>
                    <a:pt x="61624" y="28579"/>
                  </a:cubicBezTo>
                  <a:lnTo>
                    <a:pt x="49432" y="35628"/>
                  </a:lnTo>
                  <a:cubicBezTo>
                    <a:pt x="47089" y="36771"/>
                    <a:pt x="44345" y="36771"/>
                    <a:pt x="42002" y="35628"/>
                  </a:cubicBezTo>
                  <a:close/>
                </a:path>
              </a:pathLst>
            </a:custGeom>
            <a:solidFill>
              <a:srgbClr val="D1D9E8"/>
            </a:solidFill>
            <a:ln w="9525" cap="flat">
              <a:noFill/>
              <a:prstDash val="solid"/>
              <a:miter/>
            </a:ln>
          </p:spPr>
          <p:txBody>
            <a:bodyPr rtlCol="0" anchor="ctr"/>
            <a:lstStyle/>
            <a:p>
              <a:endParaRPr lang="zh-CN" altLang="en-US"/>
            </a:p>
          </p:txBody>
        </p:sp>
        <p:sp>
          <p:nvSpPr>
            <p:cNvPr id="683" name="íşlïdé">
              <a:extLst>
                <a:ext uri="{FF2B5EF4-FFF2-40B4-BE49-F238E27FC236}">
                  <a16:creationId xmlns:a16="http://schemas.microsoft.com/office/drawing/2014/main" id="{EA9BC7D7-1709-4AB1-8AE2-3512F967DFF1}"/>
                </a:ext>
              </a:extLst>
            </p:cNvPr>
            <p:cNvSpPr/>
            <p:nvPr/>
          </p:nvSpPr>
          <p:spPr>
            <a:xfrm>
              <a:off x="5077942" y="4760308"/>
              <a:ext cx="197155" cy="104011"/>
            </a:xfrm>
            <a:custGeom>
              <a:avLst/>
              <a:gdLst>
                <a:gd name="connsiteX0" fmla="*/ -336 w 64770"/>
                <a:gd name="connsiteY0" fmla="*/ -163 h 34170"/>
                <a:gd name="connsiteX1" fmla="*/ -336 w 64770"/>
                <a:gd name="connsiteY1" fmla="*/ 6981 h 34170"/>
                <a:gd name="connsiteX2" fmla="*/ 1188 w 64770"/>
                <a:gd name="connsiteY2" fmla="*/ 9267 h 34170"/>
                <a:gd name="connsiteX3" fmla="*/ 42431 w 64770"/>
                <a:gd name="connsiteY3" fmla="*/ 33080 h 34170"/>
                <a:gd name="connsiteX4" fmla="*/ 50242 w 64770"/>
                <a:gd name="connsiteY4" fmla="*/ 33080 h 34170"/>
                <a:gd name="connsiteX5" fmla="*/ 62814 w 64770"/>
                <a:gd name="connsiteY5" fmla="*/ 25745 h 34170"/>
                <a:gd name="connsiteX6" fmla="*/ 64434 w 64770"/>
                <a:gd name="connsiteY6" fmla="*/ 24126 h 34170"/>
                <a:gd name="connsiteX7" fmla="*/ 64434 w 64770"/>
                <a:gd name="connsiteY7" fmla="*/ 16982 h 34170"/>
                <a:gd name="connsiteX8" fmla="*/ 62814 w 64770"/>
                <a:gd name="connsiteY8" fmla="*/ 18602 h 34170"/>
                <a:gd name="connsiteX9" fmla="*/ 60433 w 64770"/>
                <a:gd name="connsiteY9" fmla="*/ 19935 h 34170"/>
                <a:gd name="connsiteX10" fmla="*/ 50242 w 64770"/>
                <a:gd name="connsiteY10" fmla="*/ 25936 h 34170"/>
                <a:gd name="connsiteX11" fmla="*/ 42431 w 64770"/>
                <a:gd name="connsiteY11" fmla="*/ 25936 h 34170"/>
                <a:gd name="connsiteX12" fmla="*/ 3569 w 64770"/>
                <a:gd name="connsiteY12" fmla="*/ 3457 h 34170"/>
                <a:gd name="connsiteX13" fmla="*/ 1188 w 64770"/>
                <a:gd name="connsiteY13" fmla="*/ 2123 h 34170"/>
                <a:gd name="connsiteX14" fmla="*/ -336 w 64770"/>
                <a:gd name="connsiteY14" fmla="*/ -163 h 341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4770" h="34170">
                  <a:moveTo>
                    <a:pt x="-336" y="-163"/>
                  </a:moveTo>
                  <a:lnTo>
                    <a:pt x="-336" y="6981"/>
                  </a:lnTo>
                  <a:cubicBezTo>
                    <a:pt x="-251" y="7953"/>
                    <a:pt x="321" y="8819"/>
                    <a:pt x="1188" y="9267"/>
                  </a:cubicBezTo>
                  <a:lnTo>
                    <a:pt x="42431" y="33080"/>
                  </a:lnTo>
                  <a:cubicBezTo>
                    <a:pt x="44889" y="34318"/>
                    <a:pt x="47784" y="34318"/>
                    <a:pt x="50242" y="33080"/>
                  </a:cubicBezTo>
                  <a:lnTo>
                    <a:pt x="62814" y="25745"/>
                  </a:lnTo>
                  <a:cubicBezTo>
                    <a:pt x="63491" y="25355"/>
                    <a:pt x="64043" y="24802"/>
                    <a:pt x="64434" y="24126"/>
                  </a:cubicBezTo>
                  <a:lnTo>
                    <a:pt x="64434" y="16982"/>
                  </a:lnTo>
                  <a:cubicBezTo>
                    <a:pt x="64100" y="17697"/>
                    <a:pt x="63529" y="18268"/>
                    <a:pt x="62814" y="18602"/>
                  </a:cubicBezTo>
                  <a:lnTo>
                    <a:pt x="60433" y="19935"/>
                  </a:lnTo>
                  <a:lnTo>
                    <a:pt x="50242" y="25936"/>
                  </a:lnTo>
                  <a:cubicBezTo>
                    <a:pt x="47756" y="27050"/>
                    <a:pt x="44917" y="27050"/>
                    <a:pt x="42431" y="25936"/>
                  </a:cubicBezTo>
                  <a:lnTo>
                    <a:pt x="3569" y="3457"/>
                  </a:lnTo>
                  <a:lnTo>
                    <a:pt x="1188" y="2123"/>
                  </a:lnTo>
                  <a:cubicBezTo>
                    <a:pt x="312"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84" name="iślïďê">
              <a:extLst>
                <a:ext uri="{FF2B5EF4-FFF2-40B4-BE49-F238E27FC236}">
                  <a16:creationId xmlns:a16="http://schemas.microsoft.com/office/drawing/2014/main" id="{3D1DC968-F4F3-416F-8BB7-C3430AEC4C14}"/>
                </a:ext>
              </a:extLst>
            </p:cNvPr>
            <p:cNvSpPr/>
            <p:nvPr/>
          </p:nvSpPr>
          <p:spPr>
            <a:xfrm>
              <a:off x="5242335" y="4824456"/>
              <a:ext cx="109594" cy="63588"/>
            </a:xfrm>
            <a:custGeom>
              <a:avLst/>
              <a:gdLst>
                <a:gd name="connsiteX0" fmla="*/ -336 w 36004"/>
                <a:gd name="connsiteY0" fmla="*/ 10196 h 20890"/>
                <a:gd name="connsiteX1" fmla="*/ 1188 w 36004"/>
                <a:gd name="connsiteY1" fmla="*/ 12482 h 20890"/>
                <a:gd name="connsiteX2" fmla="*/ 3569 w 36004"/>
                <a:gd name="connsiteY2" fmla="*/ 13815 h 20890"/>
                <a:gd name="connsiteX3" fmla="*/ 13761 w 36004"/>
                <a:gd name="connsiteY3" fmla="*/ 19721 h 20890"/>
                <a:gd name="connsiteX4" fmla="*/ 21476 w 36004"/>
                <a:gd name="connsiteY4" fmla="*/ 19721 h 20890"/>
                <a:gd name="connsiteX5" fmla="*/ 31763 w 36004"/>
                <a:gd name="connsiteY5" fmla="*/ 13815 h 20890"/>
                <a:gd name="connsiteX6" fmla="*/ 34049 w 36004"/>
                <a:gd name="connsiteY6" fmla="*/ 12482 h 20890"/>
                <a:gd name="connsiteX7" fmla="*/ 35668 w 36004"/>
                <a:gd name="connsiteY7" fmla="*/ 10196 h 20890"/>
                <a:gd name="connsiteX8" fmla="*/ 34049 w 36004"/>
                <a:gd name="connsiteY8" fmla="*/ 8005 h 20890"/>
                <a:gd name="connsiteX9" fmla="*/ 21476 w 36004"/>
                <a:gd name="connsiteY9" fmla="*/ 766 h 20890"/>
                <a:gd name="connsiteX10" fmla="*/ 13761 w 36004"/>
                <a:gd name="connsiteY10" fmla="*/ 766 h 20890"/>
                <a:gd name="connsiteX11" fmla="*/ 1188 w 36004"/>
                <a:gd name="connsiteY11" fmla="*/ 8005 h 20890"/>
                <a:gd name="connsiteX12" fmla="*/ -336 w 36004"/>
                <a:gd name="connsiteY12" fmla="*/ 10196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196"/>
                  </a:moveTo>
                  <a:cubicBezTo>
                    <a:pt x="-308" y="11186"/>
                    <a:pt x="283" y="12082"/>
                    <a:pt x="1188" y="12482"/>
                  </a:cubicBezTo>
                  <a:lnTo>
                    <a:pt x="3569" y="13815"/>
                  </a:lnTo>
                  <a:lnTo>
                    <a:pt x="13761" y="19721"/>
                  </a:lnTo>
                  <a:cubicBezTo>
                    <a:pt x="16161" y="21064"/>
                    <a:pt x="19076" y="21064"/>
                    <a:pt x="21476" y="19721"/>
                  </a:cubicBezTo>
                  <a:lnTo>
                    <a:pt x="31763" y="13815"/>
                  </a:lnTo>
                  <a:lnTo>
                    <a:pt x="34049" y="12482"/>
                  </a:lnTo>
                  <a:cubicBezTo>
                    <a:pt x="34992" y="12110"/>
                    <a:pt x="35630" y="11215"/>
                    <a:pt x="35668" y="10196"/>
                  </a:cubicBezTo>
                  <a:cubicBezTo>
                    <a:pt x="35573" y="9224"/>
                    <a:pt x="34944" y="8386"/>
                    <a:pt x="34049" y="8005"/>
                  </a:cubicBezTo>
                  <a:lnTo>
                    <a:pt x="21476" y="766"/>
                  </a:lnTo>
                  <a:cubicBezTo>
                    <a:pt x="19057" y="-472"/>
                    <a:pt x="16180" y="-472"/>
                    <a:pt x="13761" y="766"/>
                  </a:cubicBezTo>
                  <a:lnTo>
                    <a:pt x="1188" y="8005"/>
                  </a:lnTo>
                  <a:cubicBezTo>
                    <a:pt x="340" y="8424"/>
                    <a:pt x="-241" y="925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685" name="îŝľiḋê">
              <a:extLst>
                <a:ext uri="{FF2B5EF4-FFF2-40B4-BE49-F238E27FC236}">
                  <a16:creationId xmlns:a16="http://schemas.microsoft.com/office/drawing/2014/main" id="{2CD46AD2-BFFA-4AF0-A818-58D68D482447}"/>
                </a:ext>
              </a:extLst>
            </p:cNvPr>
            <p:cNvSpPr/>
            <p:nvPr/>
          </p:nvSpPr>
          <p:spPr>
            <a:xfrm>
              <a:off x="5245337" y="4825038"/>
              <a:ext cx="105618" cy="61104"/>
            </a:xfrm>
            <a:custGeom>
              <a:avLst/>
              <a:gdLst>
                <a:gd name="connsiteX0" fmla="*/ 1154 w 34698"/>
                <a:gd name="connsiteY0" fmla="*/ 12006 h 20074"/>
                <a:gd name="connsiteX1" fmla="*/ 13346 w 34698"/>
                <a:gd name="connsiteY1" fmla="*/ 19054 h 20074"/>
                <a:gd name="connsiteX2" fmla="*/ 20776 w 34698"/>
                <a:gd name="connsiteY2" fmla="*/ 19054 h 20074"/>
                <a:gd name="connsiteX3" fmla="*/ 32872 w 34698"/>
                <a:gd name="connsiteY3" fmla="*/ 12006 h 20074"/>
                <a:gd name="connsiteX4" fmla="*/ 34215 w 34698"/>
                <a:gd name="connsiteY4" fmla="*/ 9062 h 20074"/>
                <a:gd name="connsiteX5" fmla="*/ 32872 w 34698"/>
                <a:gd name="connsiteY5" fmla="*/ 7719 h 20074"/>
                <a:gd name="connsiteX6" fmla="*/ 20776 w 34698"/>
                <a:gd name="connsiteY6" fmla="*/ 766 h 20074"/>
                <a:gd name="connsiteX7" fmla="*/ 13346 w 34698"/>
                <a:gd name="connsiteY7" fmla="*/ 766 h 20074"/>
                <a:gd name="connsiteX8" fmla="*/ 1154 w 34698"/>
                <a:gd name="connsiteY8" fmla="*/ 7719 h 20074"/>
                <a:gd name="connsiteX9" fmla="*/ -189 w 34698"/>
                <a:gd name="connsiteY9" fmla="*/ 10663 h 20074"/>
                <a:gd name="connsiteX10" fmla="*/ 1154 w 34698"/>
                <a:gd name="connsiteY10"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698" h="20074">
                  <a:moveTo>
                    <a:pt x="1154" y="12006"/>
                  </a:moveTo>
                  <a:lnTo>
                    <a:pt x="13346" y="19054"/>
                  </a:lnTo>
                  <a:cubicBezTo>
                    <a:pt x="15689" y="20197"/>
                    <a:pt x="18432" y="20197"/>
                    <a:pt x="20776" y="19054"/>
                  </a:cubicBezTo>
                  <a:lnTo>
                    <a:pt x="32872" y="12006"/>
                  </a:lnTo>
                  <a:cubicBezTo>
                    <a:pt x="34053" y="11567"/>
                    <a:pt x="34663" y="10253"/>
                    <a:pt x="34215" y="9062"/>
                  </a:cubicBezTo>
                  <a:cubicBezTo>
                    <a:pt x="33987" y="8443"/>
                    <a:pt x="33491" y="7948"/>
                    <a:pt x="32872" y="7719"/>
                  </a:cubicBezTo>
                  <a:lnTo>
                    <a:pt x="20776" y="766"/>
                  </a:lnTo>
                  <a:cubicBezTo>
                    <a:pt x="18451" y="-472"/>
                    <a:pt x="15670" y="-472"/>
                    <a:pt x="13346" y="766"/>
                  </a:cubicBezTo>
                  <a:lnTo>
                    <a:pt x="1154" y="7719"/>
                  </a:lnTo>
                  <a:cubicBezTo>
                    <a:pt x="-27" y="8158"/>
                    <a:pt x="-637" y="9472"/>
                    <a:pt x="-189" y="10663"/>
                  </a:cubicBezTo>
                  <a:cubicBezTo>
                    <a:pt x="40" y="11282"/>
                    <a:pt x="535" y="11777"/>
                    <a:pt x="1154" y="12006"/>
                  </a:cubicBezTo>
                  <a:close/>
                </a:path>
              </a:pathLst>
            </a:custGeom>
            <a:solidFill>
              <a:srgbClr val="D1D9E8"/>
            </a:solidFill>
            <a:ln w="9525" cap="flat">
              <a:noFill/>
              <a:prstDash val="solid"/>
              <a:miter/>
            </a:ln>
          </p:spPr>
          <p:txBody>
            <a:bodyPr rtlCol="0" anchor="ctr"/>
            <a:lstStyle/>
            <a:p>
              <a:endParaRPr lang="zh-CN" altLang="en-US"/>
            </a:p>
          </p:txBody>
        </p:sp>
        <p:sp>
          <p:nvSpPr>
            <p:cNvPr id="686" name="ïṣ1îḍé">
              <a:extLst>
                <a:ext uri="{FF2B5EF4-FFF2-40B4-BE49-F238E27FC236}">
                  <a16:creationId xmlns:a16="http://schemas.microsoft.com/office/drawing/2014/main" id="{5104BFC3-0139-48FD-95C5-6EDB188634FE}"/>
                </a:ext>
              </a:extLst>
            </p:cNvPr>
            <p:cNvSpPr/>
            <p:nvPr/>
          </p:nvSpPr>
          <p:spPr>
            <a:xfrm>
              <a:off x="5242335" y="4855988"/>
              <a:ext cx="109594" cy="53801"/>
            </a:xfrm>
            <a:custGeom>
              <a:avLst/>
              <a:gdLst>
                <a:gd name="connsiteX0" fmla="*/ -336 w 36004"/>
                <a:gd name="connsiteY0" fmla="*/ -163 h 17675"/>
                <a:gd name="connsiteX1" fmla="*/ -336 w 36004"/>
                <a:gd name="connsiteY1" fmla="*/ 7076 h 17675"/>
                <a:gd name="connsiteX2" fmla="*/ 1188 w 36004"/>
                <a:gd name="connsiteY2" fmla="*/ 9267 h 17675"/>
                <a:gd name="connsiteX3" fmla="*/ 13761 w 36004"/>
                <a:gd name="connsiteY3" fmla="*/ 16506 h 17675"/>
                <a:gd name="connsiteX4" fmla="*/ 21476 w 36004"/>
                <a:gd name="connsiteY4" fmla="*/ 16506 h 17675"/>
                <a:gd name="connsiteX5" fmla="*/ 34049 w 36004"/>
                <a:gd name="connsiteY5" fmla="*/ 9267 h 17675"/>
                <a:gd name="connsiteX6" fmla="*/ 35668 w 36004"/>
                <a:gd name="connsiteY6" fmla="*/ 7076 h 17675"/>
                <a:gd name="connsiteX7" fmla="*/ 35668 w 36004"/>
                <a:gd name="connsiteY7" fmla="*/ -163 h 17675"/>
                <a:gd name="connsiteX8" fmla="*/ 34049 w 36004"/>
                <a:gd name="connsiteY8" fmla="*/ 2123 h 17675"/>
                <a:gd name="connsiteX9" fmla="*/ 31763 w 36004"/>
                <a:gd name="connsiteY9" fmla="*/ 3457 h 17675"/>
                <a:gd name="connsiteX10" fmla="*/ 21476 w 36004"/>
                <a:gd name="connsiteY10" fmla="*/ 9362 h 17675"/>
                <a:gd name="connsiteX11" fmla="*/ 13761 w 36004"/>
                <a:gd name="connsiteY11" fmla="*/ 9362 h 17675"/>
                <a:gd name="connsiteX12" fmla="*/ 3569 w 36004"/>
                <a:gd name="connsiteY12" fmla="*/ 3457 h 17675"/>
                <a:gd name="connsiteX13" fmla="*/ 1188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98" y="8038"/>
                    <a:pt x="292" y="8896"/>
                    <a:pt x="1188" y="9267"/>
                  </a:cubicBezTo>
                  <a:lnTo>
                    <a:pt x="13761" y="16506"/>
                  </a:lnTo>
                  <a:cubicBezTo>
                    <a:pt x="16161" y="17849"/>
                    <a:pt x="19076" y="17849"/>
                    <a:pt x="21476" y="16506"/>
                  </a:cubicBezTo>
                  <a:lnTo>
                    <a:pt x="34049" y="9267"/>
                  </a:lnTo>
                  <a:cubicBezTo>
                    <a:pt x="34963" y="8905"/>
                    <a:pt x="35592" y="8058"/>
                    <a:pt x="35668" y="7076"/>
                  </a:cubicBezTo>
                  <a:lnTo>
                    <a:pt x="35668" y="-163"/>
                  </a:lnTo>
                  <a:cubicBezTo>
                    <a:pt x="35630" y="856"/>
                    <a:pt x="34992" y="1752"/>
                    <a:pt x="34049" y="2123"/>
                  </a:cubicBezTo>
                  <a:lnTo>
                    <a:pt x="31763" y="3457"/>
                  </a:lnTo>
                  <a:lnTo>
                    <a:pt x="21476" y="9362"/>
                  </a:lnTo>
                  <a:cubicBezTo>
                    <a:pt x="19076" y="10705"/>
                    <a:pt x="16161" y="10705"/>
                    <a:pt x="13761" y="9362"/>
                  </a:cubicBezTo>
                  <a:lnTo>
                    <a:pt x="3569" y="3457"/>
                  </a:lnTo>
                  <a:lnTo>
                    <a:pt x="1188" y="2123"/>
                  </a:lnTo>
                  <a:cubicBezTo>
                    <a:pt x="283" y="1723"/>
                    <a:pt x="-308"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87" name="îśḷídé">
              <a:extLst>
                <a:ext uri="{FF2B5EF4-FFF2-40B4-BE49-F238E27FC236}">
                  <a16:creationId xmlns:a16="http://schemas.microsoft.com/office/drawing/2014/main" id="{6436A32B-0D02-4123-BFE8-6B33460164D2}"/>
                </a:ext>
              </a:extLst>
            </p:cNvPr>
            <p:cNvSpPr/>
            <p:nvPr/>
          </p:nvSpPr>
          <p:spPr>
            <a:xfrm>
              <a:off x="5320619" y="4868526"/>
              <a:ext cx="109740" cy="63588"/>
            </a:xfrm>
            <a:custGeom>
              <a:avLst/>
              <a:gdLst>
                <a:gd name="connsiteX0" fmla="*/ -336 w 36052"/>
                <a:gd name="connsiteY0" fmla="*/ 10196 h 20890"/>
                <a:gd name="connsiteX1" fmla="*/ 1187 w 36052"/>
                <a:gd name="connsiteY1" fmla="*/ 12482 h 20890"/>
                <a:gd name="connsiteX2" fmla="*/ 3569 w 36052"/>
                <a:gd name="connsiteY2" fmla="*/ 13815 h 20890"/>
                <a:gd name="connsiteX3" fmla="*/ 13856 w 36052"/>
                <a:gd name="connsiteY3" fmla="*/ 19721 h 20890"/>
                <a:gd name="connsiteX4" fmla="*/ 21476 w 36052"/>
                <a:gd name="connsiteY4" fmla="*/ 19721 h 20890"/>
                <a:gd name="connsiteX5" fmla="*/ 31763 w 36052"/>
                <a:gd name="connsiteY5" fmla="*/ 13815 h 20890"/>
                <a:gd name="connsiteX6" fmla="*/ 34144 w 36052"/>
                <a:gd name="connsiteY6" fmla="*/ 12482 h 20890"/>
                <a:gd name="connsiteX7" fmla="*/ 35573 w 36052"/>
                <a:gd name="connsiteY7" fmla="*/ 9434 h 20890"/>
                <a:gd name="connsiteX8" fmla="*/ 34144 w 36052"/>
                <a:gd name="connsiteY8" fmla="*/ 8005 h 20890"/>
                <a:gd name="connsiteX9" fmla="*/ 21476 w 36052"/>
                <a:gd name="connsiteY9" fmla="*/ 766 h 20890"/>
                <a:gd name="connsiteX10" fmla="*/ 13856 w 36052"/>
                <a:gd name="connsiteY10" fmla="*/ 766 h 20890"/>
                <a:gd name="connsiteX11" fmla="*/ 1187 w 36052"/>
                <a:gd name="connsiteY11" fmla="*/ 8005 h 20890"/>
                <a:gd name="connsiteX12" fmla="*/ -336 w 36052"/>
                <a:gd name="connsiteY12" fmla="*/ 10196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90">
                  <a:moveTo>
                    <a:pt x="-336" y="10196"/>
                  </a:moveTo>
                  <a:cubicBezTo>
                    <a:pt x="-270" y="11177"/>
                    <a:pt x="311" y="12044"/>
                    <a:pt x="1187" y="12482"/>
                  </a:cubicBezTo>
                  <a:lnTo>
                    <a:pt x="3569" y="13815"/>
                  </a:lnTo>
                  <a:lnTo>
                    <a:pt x="13856" y="19721"/>
                  </a:lnTo>
                  <a:cubicBezTo>
                    <a:pt x="16218" y="21064"/>
                    <a:pt x="19114" y="21064"/>
                    <a:pt x="21476" y="19721"/>
                  </a:cubicBezTo>
                  <a:lnTo>
                    <a:pt x="31763" y="13815"/>
                  </a:lnTo>
                  <a:lnTo>
                    <a:pt x="34144" y="12482"/>
                  </a:lnTo>
                  <a:cubicBezTo>
                    <a:pt x="35382" y="12034"/>
                    <a:pt x="36020" y="10663"/>
                    <a:pt x="35573" y="9434"/>
                  </a:cubicBezTo>
                  <a:cubicBezTo>
                    <a:pt x="35325" y="8767"/>
                    <a:pt x="34811" y="8243"/>
                    <a:pt x="34144" y="8005"/>
                  </a:cubicBezTo>
                  <a:lnTo>
                    <a:pt x="21476" y="766"/>
                  </a:lnTo>
                  <a:cubicBezTo>
                    <a:pt x="19085" y="-472"/>
                    <a:pt x="16247" y="-472"/>
                    <a:pt x="13856" y="766"/>
                  </a:cubicBezTo>
                  <a:lnTo>
                    <a:pt x="1187" y="8005"/>
                  </a:lnTo>
                  <a:cubicBezTo>
                    <a:pt x="340" y="8424"/>
                    <a:pt x="-241" y="925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688" name="ïṥḻiḋé">
              <a:extLst>
                <a:ext uri="{FF2B5EF4-FFF2-40B4-BE49-F238E27FC236}">
                  <a16:creationId xmlns:a16="http://schemas.microsoft.com/office/drawing/2014/main" id="{61085068-60E7-435A-89A5-08209D0F5E53}"/>
                </a:ext>
              </a:extLst>
            </p:cNvPr>
            <p:cNvSpPr/>
            <p:nvPr/>
          </p:nvSpPr>
          <p:spPr>
            <a:xfrm>
              <a:off x="5322750" y="4869616"/>
              <a:ext cx="105618" cy="61174"/>
            </a:xfrm>
            <a:custGeom>
              <a:avLst/>
              <a:gdLst>
                <a:gd name="connsiteX0" fmla="*/ 1154 w 34698"/>
                <a:gd name="connsiteY0" fmla="*/ 12029 h 20097"/>
                <a:gd name="connsiteX1" fmla="*/ 13251 w 34698"/>
                <a:gd name="connsiteY1" fmla="*/ 19078 h 20097"/>
                <a:gd name="connsiteX2" fmla="*/ 20680 w 34698"/>
                <a:gd name="connsiteY2" fmla="*/ 19078 h 20097"/>
                <a:gd name="connsiteX3" fmla="*/ 32872 w 34698"/>
                <a:gd name="connsiteY3" fmla="*/ 12029 h 20097"/>
                <a:gd name="connsiteX4" fmla="*/ 34215 w 34698"/>
                <a:gd name="connsiteY4" fmla="*/ 9086 h 20097"/>
                <a:gd name="connsiteX5" fmla="*/ 32872 w 34698"/>
                <a:gd name="connsiteY5" fmla="*/ 7743 h 20097"/>
                <a:gd name="connsiteX6" fmla="*/ 20680 w 34698"/>
                <a:gd name="connsiteY6" fmla="*/ 695 h 20097"/>
                <a:gd name="connsiteX7" fmla="*/ 13251 w 34698"/>
                <a:gd name="connsiteY7" fmla="*/ 695 h 20097"/>
                <a:gd name="connsiteX8" fmla="*/ 1154 w 34698"/>
                <a:gd name="connsiteY8" fmla="*/ 7743 h 20097"/>
                <a:gd name="connsiteX9" fmla="*/ -189 w 34698"/>
                <a:gd name="connsiteY9" fmla="*/ 10677 h 20097"/>
                <a:gd name="connsiteX10" fmla="*/ 1154 w 34698"/>
                <a:gd name="connsiteY10" fmla="*/ 12029 h 20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698" h="20097">
                  <a:moveTo>
                    <a:pt x="1154" y="12029"/>
                  </a:moveTo>
                  <a:lnTo>
                    <a:pt x="13251" y="19078"/>
                  </a:lnTo>
                  <a:cubicBezTo>
                    <a:pt x="15594" y="20221"/>
                    <a:pt x="18337" y="20221"/>
                    <a:pt x="20680" y="19078"/>
                  </a:cubicBezTo>
                  <a:lnTo>
                    <a:pt x="32872" y="12029"/>
                  </a:lnTo>
                  <a:cubicBezTo>
                    <a:pt x="34053" y="11591"/>
                    <a:pt x="34663" y="10277"/>
                    <a:pt x="34215" y="9086"/>
                  </a:cubicBezTo>
                  <a:cubicBezTo>
                    <a:pt x="33987" y="8467"/>
                    <a:pt x="33501" y="7972"/>
                    <a:pt x="32872" y="7743"/>
                  </a:cubicBezTo>
                  <a:lnTo>
                    <a:pt x="20680" y="695"/>
                  </a:lnTo>
                  <a:cubicBezTo>
                    <a:pt x="18337" y="-448"/>
                    <a:pt x="15594" y="-448"/>
                    <a:pt x="13251" y="695"/>
                  </a:cubicBezTo>
                  <a:lnTo>
                    <a:pt x="1154" y="7743"/>
                  </a:lnTo>
                  <a:cubicBezTo>
                    <a:pt x="-27" y="8181"/>
                    <a:pt x="-637" y="9496"/>
                    <a:pt x="-189" y="10677"/>
                  </a:cubicBezTo>
                  <a:cubicBezTo>
                    <a:pt x="39" y="11306"/>
                    <a:pt x="535" y="11801"/>
                    <a:pt x="1154" y="12029"/>
                  </a:cubicBezTo>
                  <a:close/>
                </a:path>
              </a:pathLst>
            </a:custGeom>
            <a:solidFill>
              <a:srgbClr val="D1D9E8"/>
            </a:solidFill>
            <a:ln w="9525" cap="flat">
              <a:noFill/>
              <a:prstDash val="solid"/>
              <a:miter/>
            </a:ln>
          </p:spPr>
          <p:txBody>
            <a:bodyPr rtlCol="0" anchor="ctr"/>
            <a:lstStyle/>
            <a:p>
              <a:endParaRPr lang="zh-CN" altLang="en-US"/>
            </a:p>
          </p:txBody>
        </p:sp>
        <p:sp>
          <p:nvSpPr>
            <p:cNvPr id="689" name="ísḷïdé">
              <a:extLst>
                <a:ext uri="{FF2B5EF4-FFF2-40B4-BE49-F238E27FC236}">
                  <a16:creationId xmlns:a16="http://schemas.microsoft.com/office/drawing/2014/main" id="{53144D4E-1884-4F2D-A03B-01E3343AB803}"/>
                </a:ext>
              </a:extLst>
            </p:cNvPr>
            <p:cNvSpPr/>
            <p:nvPr/>
          </p:nvSpPr>
          <p:spPr>
            <a:xfrm>
              <a:off x="5320619" y="4900058"/>
              <a:ext cx="109594" cy="53804"/>
            </a:xfrm>
            <a:custGeom>
              <a:avLst/>
              <a:gdLst>
                <a:gd name="connsiteX0" fmla="*/ -336 w 36004"/>
                <a:gd name="connsiteY0" fmla="*/ -163 h 17676"/>
                <a:gd name="connsiteX1" fmla="*/ -336 w 36004"/>
                <a:gd name="connsiteY1" fmla="*/ 7076 h 17676"/>
                <a:gd name="connsiteX2" fmla="*/ 1187 w 36004"/>
                <a:gd name="connsiteY2" fmla="*/ 9267 h 17676"/>
                <a:gd name="connsiteX3" fmla="*/ 13856 w 36004"/>
                <a:gd name="connsiteY3" fmla="*/ 16506 h 17676"/>
                <a:gd name="connsiteX4" fmla="*/ 21476 w 36004"/>
                <a:gd name="connsiteY4" fmla="*/ 16506 h 17676"/>
                <a:gd name="connsiteX5" fmla="*/ 34144 w 36004"/>
                <a:gd name="connsiteY5" fmla="*/ 9267 h 17676"/>
                <a:gd name="connsiteX6" fmla="*/ 35668 w 36004"/>
                <a:gd name="connsiteY6" fmla="*/ 7076 h 17676"/>
                <a:gd name="connsiteX7" fmla="*/ 35668 w 36004"/>
                <a:gd name="connsiteY7" fmla="*/ -163 h 17676"/>
                <a:gd name="connsiteX8" fmla="*/ 34144 w 36004"/>
                <a:gd name="connsiteY8" fmla="*/ 2124 h 17676"/>
                <a:gd name="connsiteX9" fmla="*/ 31763 w 36004"/>
                <a:gd name="connsiteY9" fmla="*/ 3457 h 17676"/>
                <a:gd name="connsiteX10" fmla="*/ 21476 w 36004"/>
                <a:gd name="connsiteY10" fmla="*/ 9362 h 17676"/>
                <a:gd name="connsiteX11" fmla="*/ 13856 w 36004"/>
                <a:gd name="connsiteY11" fmla="*/ 9362 h 17676"/>
                <a:gd name="connsiteX12" fmla="*/ 3569 w 36004"/>
                <a:gd name="connsiteY12" fmla="*/ 3457 h 17676"/>
                <a:gd name="connsiteX13" fmla="*/ 1187 w 36004"/>
                <a:gd name="connsiteY13" fmla="*/ 2124 h 17676"/>
                <a:gd name="connsiteX14" fmla="*/ -336 w 36004"/>
                <a:gd name="connsiteY14" fmla="*/ -163 h 17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6">
                  <a:moveTo>
                    <a:pt x="-336" y="-163"/>
                  </a:moveTo>
                  <a:lnTo>
                    <a:pt x="-336" y="7076"/>
                  </a:lnTo>
                  <a:cubicBezTo>
                    <a:pt x="-279" y="8029"/>
                    <a:pt x="311" y="8877"/>
                    <a:pt x="1187" y="9267"/>
                  </a:cubicBezTo>
                  <a:lnTo>
                    <a:pt x="13856" y="16506"/>
                  </a:lnTo>
                  <a:cubicBezTo>
                    <a:pt x="16218" y="17849"/>
                    <a:pt x="19114" y="17849"/>
                    <a:pt x="21476" y="16506"/>
                  </a:cubicBezTo>
                  <a:lnTo>
                    <a:pt x="34144" y="9267"/>
                  </a:lnTo>
                  <a:cubicBezTo>
                    <a:pt x="35020" y="8877"/>
                    <a:pt x="35611" y="8039"/>
                    <a:pt x="35668" y="7076"/>
                  </a:cubicBezTo>
                  <a:lnTo>
                    <a:pt x="35668" y="-163"/>
                  </a:lnTo>
                  <a:cubicBezTo>
                    <a:pt x="35601" y="818"/>
                    <a:pt x="35020" y="1685"/>
                    <a:pt x="34144" y="2124"/>
                  </a:cubicBezTo>
                  <a:lnTo>
                    <a:pt x="31763" y="3457"/>
                  </a:lnTo>
                  <a:lnTo>
                    <a:pt x="21476" y="9362"/>
                  </a:lnTo>
                  <a:cubicBezTo>
                    <a:pt x="19114" y="10706"/>
                    <a:pt x="16218" y="10706"/>
                    <a:pt x="13856" y="9362"/>
                  </a:cubicBezTo>
                  <a:lnTo>
                    <a:pt x="3569" y="3457"/>
                  </a:lnTo>
                  <a:lnTo>
                    <a:pt x="1187" y="2124"/>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90" name="išlïdè">
              <a:extLst>
                <a:ext uri="{FF2B5EF4-FFF2-40B4-BE49-F238E27FC236}">
                  <a16:creationId xmlns:a16="http://schemas.microsoft.com/office/drawing/2014/main" id="{4A128708-420C-4622-B4B8-E5D440F0D2A1}"/>
                </a:ext>
              </a:extLst>
            </p:cNvPr>
            <p:cNvSpPr/>
            <p:nvPr/>
          </p:nvSpPr>
          <p:spPr>
            <a:xfrm>
              <a:off x="5398029" y="4913083"/>
              <a:ext cx="109740" cy="63445"/>
            </a:xfrm>
            <a:custGeom>
              <a:avLst/>
              <a:gdLst>
                <a:gd name="connsiteX0" fmla="*/ -336 w 36052"/>
                <a:gd name="connsiteY0" fmla="*/ 10227 h 20843"/>
                <a:gd name="connsiteX1" fmla="*/ 1188 w 36052"/>
                <a:gd name="connsiteY1" fmla="*/ 12513 h 20843"/>
                <a:gd name="connsiteX2" fmla="*/ 3569 w 36052"/>
                <a:gd name="connsiteY2" fmla="*/ 13846 h 20843"/>
                <a:gd name="connsiteX3" fmla="*/ 13856 w 36052"/>
                <a:gd name="connsiteY3" fmla="*/ 19752 h 20843"/>
                <a:gd name="connsiteX4" fmla="*/ 21476 w 36052"/>
                <a:gd name="connsiteY4" fmla="*/ 19752 h 20843"/>
                <a:gd name="connsiteX5" fmla="*/ 31763 w 36052"/>
                <a:gd name="connsiteY5" fmla="*/ 13846 h 20843"/>
                <a:gd name="connsiteX6" fmla="*/ 34144 w 36052"/>
                <a:gd name="connsiteY6" fmla="*/ 12513 h 20843"/>
                <a:gd name="connsiteX7" fmla="*/ 35573 w 36052"/>
                <a:gd name="connsiteY7" fmla="*/ 9465 h 20843"/>
                <a:gd name="connsiteX8" fmla="*/ 34144 w 36052"/>
                <a:gd name="connsiteY8" fmla="*/ 8036 h 20843"/>
                <a:gd name="connsiteX9" fmla="*/ 21476 w 36052"/>
                <a:gd name="connsiteY9" fmla="*/ 702 h 20843"/>
                <a:gd name="connsiteX10" fmla="*/ 13856 w 36052"/>
                <a:gd name="connsiteY10" fmla="*/ 702 h 20843"/>
                <a:gd name="connsiteX11" fmla="*/ 1188 w 36052"/>
                <a:gd name="connsiteY11" fmla="*/ 8036 h 20843"/>
                <a:gd name="connsiteX12" fmla="*/ -336 w 36052"/>
                <a:gd name="connsiteY12" fmla="*/ 10227 h 20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3">
                  <a:moveTo>
                    <a:pt x="-336" y="10227"/>
                  </a:moveTo>
                  <a:cubicBezTo>
                    <a:pt x="-269" y="11208"/>
                    <a:pt x="311" y="12075"/>
                    <a:pt x="1188" y="12513"/>
                  </a:cubicBezTo>
                  <a:lnTo>
                    <a:pt x="3569" y="13846"/>
                  </a:lnTo>
                  <a:lnTo>
                    <a:pt x="13856" y="19752"/>
                  </a:lnTo>
                  <a:cubicBezTo>
                    <a:pt x="16247" y="20990"/>
                    <a:pt x="19085" y="20990"/>
                    <a:pt x="21476" y="19752"/>
                  </a:cubicBezTo>
                  <a:lnTo>
                    <a:pt x="31763" y="13846"/>
                  </a:lnTo>
                  <a:lnTo>
                    <a:pt x="34144" y="12513"/>
                  </a:lnTo>
                  <a:cubicBezTo>
                    <a:pt x="35382" y="12065"/>
                    <a:pt x="36021" y="10694"/>
                    <a:pt x="35573" y="9465"/>
                  </a:cubicBezTo>
                  <a:cubicBezTo>
                    <a:pt x="35325" y="8798"/>
                    <a:pt x="34811" y="8274"/>
                    <a:pt x="34144"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691" name="í$ľíḑê">
              <a:extLst>
                <a:ext uri="{FF2B5EF4-FFF2-40B4-BE49-F238E27FC236}">
                  <a16:creationId xmlns:a16="http://schemas.microsoft.com/office/drawing/2014/main" id="{EC4C8923-3078-4C79-B984-5AB592B55BAB}"/>
                </a:ext>
              </a:extLst>
            </p:cNvPr>
            <p:cNvSpPr/>
            <p:nvPr/>
          </p:nvSpPr>
          <p:spPr>
            <a:xfrm>
              <a:off x="5399843" y="4914264"/>
              <a:ext cx="105898" cy="61101"/>
            </a:xfrm>
            <a:custGeom>
              <a:avLst/>
              <a:gdLst>
                <a:gd name="connsiteX0" fmla="*/ 1164 w 34790"/>
                <a:gd name="connsiteY0" fmla="*/ 12029 h 20073"/>
                <a:gd name="connsiteX1" fmla="*/ 13356 w 34790"/>
                <a:gd name="connsiteY1" fmla="*/ 18982 h 20073"/>
                <a:gd name="connsiteX2" fmla="*/ 20785 w 34790"/>
                <a:gd name="connsiteY2" fmla="*/ 18982 h 20073"/>
                <a:gd name="connsiteX3" fmla="*/ 32882 w 34790"/>
                <a:gd name="connsiteY3" fmla="*/ 12029 h 20073"/>
                <a:gd name="connsiteX4" fmla="*/ 32882 w 34790"/>
                <a:gd name="connsiteY4" fmla="*/ 7743 h 20073"/>
                <a:gd name="connsiteX5" fmla="*/ 20785 w 34790"/>
                <a:gd name="connsiteY5" fmla="*/ 695 h 20073"/>
                <a:gd name="connsiteX6" fmla="*/ 13356 w 34790"/>
                <a:gd name="connsiteY6" fmla="*/ 695 h 20073"/>
                <a:gd name="connsiteX7" fmla="*/ 1164 w 34790"/>
                <a:gd name="connsiteY7" fmla="*/ 7743 h 20073"/>
                <a:gd name="connsiteX8" fmla="*/ 1164 w 34790"/>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3">
                  <a:moveTo>
                    <a:pt x="1164" y="12029"/>
                  </a:moveTo>
                  <a:lnTo>
                    <a:pt x="13356" y="18982"/>
                  </a:lnTo>
                  <a:cubicBezTo>
                    <a:pt x="15680" y="20221"/>
                    <a:pt x="18461" y="20221"/>
                    <a:pt x="20785" y="18982"/>
                  </a:cubicBezTo>
                  <a:lnTo>
                    <a:pt x="32882" y="12029"/>
                  </a:lnTo>
                  <a:cubicBezTo>
                    <a:pt x="34978" y="10791"/>
                    <a:pt x="34978" y="8886"/>
                    <a:pt x="32882" y="7743"/>
                  </a:cubicBezTo>
                  <a:lnTo>
                    <a:pt x="20785" y="695"/>
                  </a:lnTo>
                  <a:cubicBezTo>
                    <a:pt x="18442" y="-448"/>
                    <a:pt x="15699" y="-448"/>
                    <a:pt x="13356" y="695"/>
                  </a:cubicBezTo>
                  <a:lnTo>
                    <a:pt x="1164" y="7743"/>
                  </a:lnTo>
                  <a:cubicBezTo>
                    <a:pt x="-836" y="9267"/>
                    <a:pt x="-836" y="10791"/>
                    <a:pt x="1164" y="12029"/>
                  </a:cubicBezTo>
                  <a:close/>
                </a:path>
              </a:pathLst>
            </a:custGeom>
            <a:solidFill>
              <a:srgbClr val="D1D9E8"/>
            </a:solidFill>
            <a:ln w="9525" cap="flat">
              <a:noFill/>
              <a:prstDash val="solid"/>
              <a:miter/>
            </a:ln>
          </p:spPr>
          <p:txBody>
            <a:bodyPr rtlCol="0" anchor="ctr"/>
            <a:lstStyle/>
            <a:p>
              <a:endParaRPr lang="zh-CN" altLang="en-US"/>
            </a:p>
          </p:txBody>
        </p:sp>
        <p:sp>
          <p:nvSpPr>
            <p:cNvPr id="692" name="îšľîdê">
              <a:extLst>
                <a:ext uri="{FF2B5EF4-FFF2-40B4-BE49-F238E27FC236}">
                  <a16:creationId xmlns:a16="http://schemas.microsoft.com/office/drawing/2014/main" id="{0EBE916F-CBE6-4D8C-8396-1826B9917480}"/>
                </a:ext>
              </a:extLst>
            </p:cNvPr>
            <p:cNvSpPr/>
            <p:nvPr/>
          </p:nvSpPr>
          <p:spPr>
            <a:xfrm>
              <a:off x="5398029" y="4944707"/>
              <a:ext cx="109594" cy="53801"/>
            </a:xfrm>
            <a:custGeom>
              <a:avLst/>
              <a:gdLst>
                <a:gd name="connsiteX0" fmla="*/ -336 w 36004"/>
                <a:gd name="connsiteY0" fmla="*/ -163 h 17675"/>
                <a:gd name="connsiteX1" fmla="*/ -336 w 36004"/>
                <a:gd name="connsiteY1" fmla="*/ 7076 h 17675"/>
                <a:gd name="connsiteX2" fmla="*/ 1188 w 36004"/>
                <a:gd name="connsiteY2" fmla="*/ 9267 h 17675"/>
                <a:gd name="connsiteX3" fmla="*/ 13856 w 36004"/>
                <a:gd name="connsiteY3" fmla="*/ 16506 h 17675"/>
                <a:gd name="connsiteX4" fmla="*/ 21476 w 36004"/>
                <a:gd name="connsiteY4" fmla="*/ 16506 h 17675"/>
                <a:gd name="connsiteX5" fmla="*/ 34144 w 36004"/>
                <a:gd name="connsiteY5" fmla="*/ 9267 h 17675"/>
                <a:gd name="connsiteX6" fmla="*/ 35668 w 36004"/>
                <a:gd name="connsiteY6" fmla="*/ 6981 h 17675"/>
                <a:gd name="connsiteX7" fmla="*/ 35668 w 36004"/>
                <a:gd name="connsiteY7" fmla="*/ -163 h 17675"/>
                <a:gd name="connsiteX8" fmla="*/ 34144 w 36004"/>
                <a:gd name="connsiteY8" fmla="*/ 2123 h 17675"/>
                <a:gd name="connsiteX9" fmla="*/ 31763 w 36004"/>
                <a:gd name="connsiteY9" fmla="*/ 3457 h 17675"/>
                <a:gd name="connsiteX10" fmla="*/ 21476 w 36004"/>
                <a:gd name="connsiteY10" fmla="*/ 9362 h 17675"/>
                <a:gd name="connsiteX11" fmla="*/ 13856 w 36004"/>
                <a:gd name="connsiteY11" fmla="*/ 9362 h 17675"/>
                <a:gd name="connsiteX12" fmla="*/ 3569 w 36004"/>
                <a:gd name="connsiteY12" fmla="*/ 3457 h 17675"/>
                <a:gd name="connsiteX13" fmla="*/ 1188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79" y="8038"/>
                    <a:pt x="311" y="8877"/>
                    <a:pt x="1188" y="9267"/>
                  </a:cubicBezTo>
                  <a:lnTo>
                    <a:pt x="13856" y="16506"/>
                  </a:lnTo>
                  <a:cubicBezTo>
                    <a:pt x="16218" y="17849"/>
                    <a:pt x="19114" y="17849"/>
                    <a:pt x="21476" y="16506"/>
                  </a:cubicBezTo>
                  <a:lnTo>
                    <a:pt x="34144" y="9267"/>
                  </a:lnTo>
                  <a:cubicBezTo>
                    <a:pt x="35049" y="8867"/>
                    <a:pt x="35640" y="7972"/>
                    <a:pt x="35668" y="6981"/>
                  </a:cubicBezTo>
                  <a:lnTo>
                    <a:pt x="35668" y="-163"/>
                  </a:lnTo>
                  <a:cubicBezTo>
                    <a:pt x="35602" y="818"/>
                    <a:pt x="35021" y="1685"/>
                    <a:pt x="34144" y="2123"/>
                  </a:cubicBezTo>
                  <a:lnTo>
                    <a:pt x="31763" y="3457"/>
                  </a:lnTo>
                  <a:lnTo>
                    <a:pt x="21476" y="9362"/>
                  </a:lnTo>
                  <a:cubicBezTo>
                    <a:pt x="19085" y="10601"/>
                    <a:pt x="16247" y="10601"/>
                    <a:pt x="13856" y="9362"/>
                  </a:cubicBezTo>
                  <a:lnTo>
                    <a:pt x="3569" y="3457"/>
                  </a:lnTo>
                  <a:lnTo>
                    <a:pt x="1188" y="2123"/>
                  </a:lnTo>
                  <a:cubicBezTo>
                    <a:pt x="311"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93" name="îṧ1îdè">
              <a:extLst>
                <a:ext uri="{FF2B5EF4-FFF2-40B4-BE49-F238E27FC236}">
                  <a16:creationId xmlns:a16="http://schemas.microsoft.com/office/drawing/2014/main" id="{F5B38880-B596-4876-B564-E91B5B98F1F6}"/>
                </a:ext>
              </a:extLst>
            </p:cNvPr>
            <p:cNvSpPr/>
            <p:nvPr/>
          </p:nvSpPr>
          <p:spPr>
            <a:xfrm>
              <a:off x="5474282" y="4957884"/>
              <a:ext cx="109740" cy="63292"/>
            </a:xfrm>
            <a:custGeom>
              <a:avLst/>
              <a:gdLst>
                <a:gd name="connsiteX0" fmla="*/ -336 w 36052"/>
                <a:gd name="connsiteY0" fmla="*/ 10177 h 20793"/>
                <a:gd name="connsiteX1" fmla="*/ 1283 w 36052"/>
                <a:gd name="connsiteY1" fmla="*/ 12463 h 20793"/>
                <a:gd name="connsiteX2" fmla="*/ 3569 w 36052"/>
                <a:gd name="connsiteY2" fmla="*/ 13796 h 20793"/>
                <a:gd name="connsiteX3" fmla="*/ 13856 w 36052"/>
                <a:gd name="connsiteY3" fmla="*/ 19702 h 20793"/>
                <a:gd name="connsiteX4" fmla="*/ 21571 w 36052"/>
                <a:gd name="connsiteY4" fmla="*/ 19702 h 20793"/>
                <a:gd name="connsiteX5" fmla="*/ 31858 w 36052"/>
                <a:gd name="connsiteY5" fmla="*/ 13796 h 20793"/>
                <a:gd name="connsiteX6" fmla="*/ 34144 w 36052"/>
                <a:gd name="connsiteY6" fmla="*/ 12463 h 20793"/>
                <a:gd name="connsiteX7" fmla="*/ 35573 w 36052"/>
                <a:gd name="connsiteY7" fmla="*/ 9415 h 20793"/>
                <a:gd name="connsiteX8" fmla="*/ 34144 w 36052"/>
                <a:gd name="connsiteY8" fmla="*/ 7986 h 20793"/>
                <a:gd name="connsiteX9" fmla="*/ 21571 w 36052"/>
                <a:gd name="connsiteY9" fmla="*/ 652 h 20793"/>
                <a:gd name="connsiteX10" fmla="*/ 13856 w 36052"/>
                <a:gd name="connsiteY10" fmla="*/ 652 h 20793"/>
                <a:gd name="connsiteX11" fmla="*/ 1283 w 36052"/>
                <a:gd name="connsiteY11" fmla="*/ 7986 h 20793"/>
                <a:gd name="connsiteX12" fmla="*/ -336 w 36052"/>
                <a:gd name="connsiteY12" fmla="*/ 10177 h 20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793">
                  <a:moveTo>
                    <a:pt x="-336" y="10177"/>
                  </a:moveTo>
                  <a:cubicBezTo>
                    <a:pt x="-270" y="11186"/>
                    <a:pt x="359" y="12072"/>
                    <a:pt x="1283" y="12463"/>
                  </a:cubicBezTo>
                  <a:lnTo>
                    <a:pt x="3569" y="13796"/>
                  </a:lnTo>
                  <a:lnTo>
                    <a:pt x="13856" y="19702"/>
                  </a:lnTo>
                  <a:cubicBezTo>
                    <a:pt x="16275" y="20940"/>
                    <a:pt x="19152" y="20940"/>
                    <a:pt x="21571" y="19702"/>
                  </a:cubicBezTo>
                  <a:lnTo>
                    <a:pt x="31858" y="13796"/>
                  </a:lnTo>
                  <a:lnTo>
                    <a:pt x="34144" y="12463"/>
                  </a:lnTo>
                  <a:cubicBezTo>
                    <a:pt x="35382" y="12015"/>
                    <a:pt x="36020" y="10643"/>
                    <a:pt x="35573" y="9415"/>
                  </a:cubicBezTo>
                  <a:cubicBezTo>
                    <a:pt x="35325" y="8748"/>
                    <a:pt x="34811" y="8224"/>
                    <a:pt x="34144" y="7986"/>
                  </a:cubicBezTo>
                  <a:lnTo>
                    <a:pt x="21571" y="652"/>
                  </a:lnTo>
                  <a:cubicBezTo>
                    <a:pt x="19114" y="-434"/>
                    <a:pt x="16313" y="-434"/>
                    <a:pt x="13856" y="652"/>
                  </a:cubicBezTo>
                  <a:lnTo>
                    <a:pt x="1283" y="7986"/>
                  </a:lnTo>
                  <a:cubicBezTo>
                    <a:pt x="387" y="8367"/>
                    <a:pt x="-241" y="9205"/>
                    <a:pt x="-336" y="10177"/>
                  </a:cubicBezTo>
                  <a:close/>
                </a:path>
              </a:pathLst>
            </a:custGeom>
            <a:solidFill>
              <a:srgbClr val="FFFFFF"/>
            </a:solidFill>
            <a:ln w="9525" cap="flat">
              <a:noFill/>
              <a:prstDash val="solid"/>
              <a:miter/>
            </a:ln>
          </p:spPr>
          <p:txBody>
            <a:bodyPr rtlCol="0" anchor="ctr"/>
            <a:lstStyle/>
            <a:p>
              <a:endParaRPr lang="zh-CN" altLang="en-US"/>
            </a:p>
          </p:txBody>
        </p:sp>
        <p:sp>
          <p:nvSpPr>
            <p:cNvPr id="694" name="iṩľïḑe">
              <a:extLst>
                <a:ext uri="{FF2B5EF4-FFF2-40B4-BE49-F238E27FC236}">
                  <a16:creationId xmlns:a16="http://schemas.microsoft.com/office/drawing/2014/main" id="{4ADD2ACB-B330-443B-AE8E-5D8C2ECFE2B0}"/>
                </a:ext>
              </a:extLst>
            </p:cNvPr>
            <p:cNvSpPr/>
            <p:nvPr/>
          </p:nvSpPr>
          <p:spPr>
            <a:xfrm>
              <a:off x="5476167" y="4958913"/>
              <a:ext cx="106766" cy="61101"/>
            </a:xfrm>
            <a:custGeom>
              <a:avLst/>
              <a:gdLst>
                <a:gd name="connsiteX0" fmla="*/ 1521 w 35075"/>
                <a:gd name="connsiteY0" fmla="*/ 12029 h 20073"/>
                <a:gd name="connsiteX1" fmla="*/ 13618 w 35075"/>
                <a:gd name="connsiteY1" fmla="*/ 18983 h 20073"/>
                <a:gd name="connsiteX2" fmla="*/ 21047 w 35075"/>
                <a:gd name="connsiteY2" fmla="*/ 18983 h 20073"/>
                <a:gd name="connsiteX3" fmla="*/ 33239 w 35075"/>
                <a:gd name="connsiteY3" fmla="*/ 12029 h 20073"/>
                <a:gd name="connsiteX4" fmla="*/ 33239 w 35075"/>
                <a:gd name="connsiteY4" fmla="*/ 7743 h 20073"/>
                <a:gd name="connsiteX5" fmla="*/ 21047 w 35075"/>
                <a:gd name="connsiteY5" fmla="*/ 695 h 20073"/>
                <a:gd name="connsiteX6" fmla="*/ 13618 w 35075"/>
                <a:gd name="connsiteY6" fmla="*/ 695 h 20073"/>
                <a:gd name="connsiteX7" fmla="*/ 1521 w 35075"/>
                <a:gd name="connsiteY7" fmla="*/ 7743 h 20073"/>
                <a:gd name="connsiteX8" fmla="*/ 1521 w 35075"/>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075" h="20073">
                  <a:moveTo>
                    <a:pt x="1521" y="12029"/>
                  </a:moveTo>
                  <a:lnTo>
                    <a:pt x="13618" y="18983"/>
                  </a:lnTo>
                  <a:cubicBezTo>
                    <a:pt x="15942" y="20221"/>
                    <a:pt x="18723" y="20221"/>
                    <a:pt x="21047" y="18983"/>
                  </a:cubicBezTo>
                  <a:lnTo>
                    <a:pt x="33239" y="12029"/>
                  </a:lnTo>
                  <a:cubicBezTo>
                    <a:pt x="35239" y="10791"/>
                    <a:pt x="35239" y="8886"/>
                    <a:pt x="33239" y="7743"/>
                  </a:cubicBezTo>
                  <a:lnTo>
                    <a:pt x="21047" y="695"/>
                  </a:lnTo>
                  <a:cubicBezTo>
                    <a:pt x="18704" y="-448"/>
                    <a:pt x="15961" y="-448"/>
                    <a:pt x="13618" y="695"/>
                  </a:cubicBezTo>
                  <a:lnTo>
                    <a:pt x="1521" y="7743"/>
                  </a:lnTo>
                  <a:cubicBezTo>
                    <a:pt x="-955" y="8886"/>
                    <a:pt x="-955" y="10791"/>
                    <a:pt x="1521" y="12029"/>
                  </a:cubicBezTo>
                  <a:close/>
                </a:path>
              </a:pathLst>
            </a:custGeom>
            <a:solidFill>
              <a:srgbClr val="D1D9E8"/>
            </a:solidFill>
            <a:ln w="9525" cap="flat">
              <a:noFill/>
              <a:prstDash val="solid"/>
              <a:miter/>
            </a:ln>
          </p:spPr>
          <p:txBody>
            <a:bodyPr rtlCol="0" anchor="ctr"/>
            <a:lstStyle/>
            <a:p>
              <a:endParaRPr lang="zh-CN" altLang="en-US"/>
            </a:p>
          </p:txBody>
        </p:sp>
        <p:sp>
          <p:nvSpPr>
            <p:cNvPr id="695" name="ïšľíḍé">
              <a:extLst>
                <a:ext uri="{FF2B5EF4-FFF2-40B4-BE49-F238E27FC236}">
                  <a16:creationId xmlns:a16="http://schemas.microsoft.com/office/drawing/2014/main" id="{4B600CE1-1803-48E4-A7D2-C51D6A2F264E}"/>
                </a:ext>
              </a:extLst>
            </p:cNvPr>
            <p:cNvSpPr/>
            <p:nvPr/>
          </p:nvSpPr>
          <p:spPr>
            <a:xfrm>
              <a:off x="5474282" y="4989358"/>
              <a:ext cx="109883" cy="53801"/>
            </a:xfrm>
            <a:custGeom>
              <a:avLst/>
              <a:gdLst>
                <a:gd name="connsiteX0" fmla="*/ -336 w 36099"/>
                <a:gd name="connsiteY0" fmla="*/ -163 h 17675"/>
                <a:gd name="connsiteX1" fmla="*/ -336 w 36099"/>
                <a:gd name="connsiteY1" fmla="*/ 7076 h 17675"/>
                <a:gd name="connsiteX2" fmla="*/ 1283 w 36099"/>
                <a:gd name="connsiteY2" fmla="*/ 9267 h 17675"/>
                <a:gd name="connsiteX3" fmla="*/ 13856 w 36099"/>
                <a:gd name="connsiteY3" fmla="*/ 16506 h 17675"/>
                <a:gd name="connsiteX4" fmla="*/ 21571 w 36099"/>
                <a:gd name="connsiteY4" fmla="*/ 16506 h 17675"/>
                <a:gd name="connsiteX5" fmla="*/ 34144 w 36099"/>
                <a:gd name="connsiteY5" fmla="*/ 9267 h 17675"/>
                <a:gd name="connsiteX6" fmla="*/ 35764 w 36099"/>
                <a:gd name="connsiteY6" fmla="*/ 6981 h 17675"/>
                <a:gd name="connsiteX7" fmla="*/ 35764 w 36099"/>
                <a:gd name="connsiteY7" fmla="*/ -163 h 17675"/>
                <a:gd name="connsiteX8" fmla="*/ 34144 w 36099"/>
                <a:gd name="connsiteY8" fmla="*/ 2123 h 17675"/>
                <a:gd name="connsiteX9" fmla="*/ 31858 w 36099"/>
                <a:gd name="connsiteY9" fmla="*/ 3457 h 17675"/>
                <a:gd name="connsiteX10" fmla="*/ 21571 w 36099"/>
                <a:gd name="connsiteY10" fmla="*/ 9362 h 17675"/>
                <a:gd name="connsiteX11" fmla="*/ 13856 w 36099"/>
                <a:gd name="connsiteY11" fmla="*/ 9362 h 17675"/>
                <a:gd name="connsiteX12" fmla="*/ 3569 w 36099"/>
                <a:gd name="connsiteY12" fmla="*/ 3457 h 17675"/>
                <a:gd name="connsiteX13" fmla="*/ 1283 w 36099"/>
                <a:gd name="connsiteY13" fmla="*/ 2123 h 17675"/>
                <a:gd name="connsiteX14" fmla="*/ -336 w 36099"/>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675">
                  <a:moveTo>
                    <a:pt x="-336" y="-163"/>
                  </a:moveTo>
                  <a:lnTo>
                    <a:pt x="-336" y="7076"/>
                  </a:lnTo>
                  <a:cubicBezTo>
                    <a:pt x="-241" y="8048"/>
                    <a:pt x="387" y="8886"/>
                    <a:pt x="1283" y="9267"/>
                  </a:cubicBezTo>
                  <a:lnTo>
                    <a:pt x="13856" y="16506"/>
                  </a:lnTo>
                  <a:cubicBezTo>
                    <a:pt x="16256" y="17849"/>
                    <a:pt x="19171" y="17849"/>
                    <a:pt x="21571" y="16506"/>
                  </a:cubicBezTo>
                  <a:lnTo>
                    <a:pt x="34144" y="9267"/>
                  </a:lnTo>
                  <a:cubicBezTo>
                    <a:pt x="35049" y="8839"/>
                    <a:pt x="35659" y="7972"/>
                    <a:pt x="35764" y="6981"/>
                  </a:cubicBezTo>
                  <a:lnTo>
                    <a:pt x="35764" y="-163"/>
                  </a:lnTo>
                  <a:cubicBezTo>
                    <a:pt x="35659" y="828"/>
                    <a:pt x="35049" y="1695"/>
                    <a:pt x="34144" y="2123"/>
                  </a:cubicBezTo>
                  <a:lnTo>
                    <a:pt x="31858" y="3457"/>
                  </a:lnTo>
                  <a:lnTo>
                    <a:pt x="21571" y="9362"/>
                  </a:lnTo>
                  <a:cubicBezTo>
                    <a:pt x="19152" y="10601"/>
                    <a:pt x="16275" y="10601"/>
                    <a:pt x="13856" y="9362"/>
                  </a:cubicBezTo>
                  <a:lnTo>
                    <a:pt x="3569" y="3457"/>
                  </a:lnTo>
                  <a:lnTo>
                    <a:pt x="1283" y="2123"/>
                  </a:lnTo>
                  <a:cubicBezTo>
                    <a:pt x="359" y="1733"/>
                    <a:pt x="-270" y="847"/>
                    <a:pt x="-336" y="-163"/>
                  </a:cubicBezTo>
                  <a:close/>
                </a:path>
              </a:pathLst>
            </a:custGeom>
            <a:solidFill>
              <a:srgbClr val="BF4200"/>
            </a:solidFill>
            <a:ln w="9525" cap="flat">
              <a:noFill/>
              <a:prstDash val="solid"/>
              <a:miter/>
            </a:ln>
          </p:spPr>
          <p:txBody>
            <a:bodyPr rtlCol="0" anchor="ctr"/>
            <a:lstStyle/>
            <a:p>
              <a:endParaRPr lang="zh-CN" altLang="en-US"/>
            </a:p>
          </p:txBody>
        </p:sp>
        <p:sp>
          <p:nvSpPr>
            <p:cNvPr id="696" name="íṣ1íḓê">
              <a:extLst>
                <a:ext uri="{FF2B5EF4-FFF2-40B4-BE49-F238E27FC236}">
                  <a16:creationId xmlns:a16="http://schemas.microsoft.com/office/drawing/2014/main" id="{829E2809-2336-47A9-A924-26018F3E6733}"/>
                </a:ext>
              </a:extLst>
            </p:cNvPr>
            <p:cNvSpPr/>
            <p:nvPr/>
          </p:nvSpPr>
          <p:spPr>
            <a:xfrm>
              <a:off x="5552566" y="5002383"/>
              <a:ext cx="109740" cy="63442"/>
            </a:xfrm>
            <a:custGeom>
              <a:avLst/>
              <a:gdLst>
                <a:gd name="connsiteX0" fmla="*/ -336 w 36052"/>
                <a:gd name="connsiteY0" fmla="*/ 10227 h 20842"/>
                <a:gd name="connsiteX1" fmla="*/ 1187 w 36052"/>
                <a:gd name="connsiteY1" fmla="*/ 12513 h 20842"/>
                <a:gd name="connsiteX2" fmla="*/ 3569 w 36052"/>
                <a:gd name="connsiteY2" fmla="*/ 13846 h 20842"/>
                <a:gd name="connsiteX3" fmla="*/ 13856 w 36052"/>
                <a:gd name="connsiteY3" fmla="*/ 19752 h 20842"/>
                <a:gd name="connsiteX4" fmla="*/ 21476 w 36052"/>
                <a:gd name="connsiteY4" fmla="*/ 19752 h 20842"/>
                <a:gd name="connsiteX5" fmla="*/ 31763 w 36052"/>
                <a:gd name="connsiteY5" fmla="*/ 13846 h 20842"/>
                <a:gd name="connsiteX6" fmla="*/ 34144 w 36052"/>
                <a:gd name="connsiteY6" fmla="*/ 12513 h 20842"/>
                <a:gd name="connsiteX7" fmla="*/ 35573 w 36052"/>
                <a:gd name="connsiteY7" fmla="*/ 9465 h 20842"/>
                <a:gd name="connsiteX8" fmla="*/ 34144 w 36052"/>
                <a:gd name="connsiteY8" fmla="*/ 8036 h 20842"/>
                <a:gd name="connsiteX9" fmla="*/ 21476 w 36052"/>
                <a:gd name="connsiteY9" fmla="*/ 702 h 20842"/>
                <a:gd name="connsiteX10" fmla="*/ 13856 w 36052"/>
                <a:gd name="connsiteY10" fmla="*/ 702 h 20842"/>
                <a:gd name="connsiteX11" fmla="*/ 1187 w 36052"/>
                <a:gd name="connsiteY11" fmla="*/ 8036 h 20842"/>
                <a:gd name="connsiteX12" fmla="*/ -336 w 36052"/>
                <a:gd name="connsiteY12" fmla="*/ 10227 h 20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2">
                  <a:moveTo>
                    <a:pt x="-336" y="10227"/>
                  </a:moveTo>
                  <a:cubicBezTo>
                    <a:pt x="-270" y="11208"/>
                    <a:pt x="311" y="12075"/>
                    <a:pt x="1187" y="12513"/>
                  </a:cubicBezTo>
                  <a:lnTo>
                    <a:pt x="3569" y="13846"/>
                  </a:lnTo>
                  <a:lnTo>
                    <a:pt x="13856" y="19752"/>
                  </a:lnTo>
                  <a:cubicBezTo>
                    <a:pt x="16247" y="20990"/>
                    <a:pt x="19085" y="20990"/>
                    <a:pt x="21476" y="19752"/>
                  </a:cubicBezTo>
                  <a:lnTo>
                    <a:pt x="31763" y="13846"/>
                  </a:lnTo>
                  <a:lnTo>
                    <a:pt x="34144" y="12513"/>
                  </a:lnTo>
                  <a:cubicBezTo>
                    <a:pt x="35382" y="12065"/>
                    <a:pt x="36020" y="10693"/>
                    <a:pt x="35573" y="9465"/>
                  </a:cubicBezTo>
                  <a:cubicBezTo>
                    <a:pt x="35325" y="8798"/>
                    <a:pt x="34811" y="8274"/>
                    <a:pt x="34144" y="8036"/>
                  </a:cubicBezTo>
                  <a:lnTo>
                    <a:pt x="21476" y="702"/>
                  </a:lnTo>
                  <a:cubicBezTo>
                    <a:pt x="19066" y="-451"/>
                    <a:pt x="16266" y="-451"/>
                    <a:pt x="13856" y="702"/>
                  </a:cubicBezTo>
                  <a:lnTo>
                    <a:pt x="1187"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697" name="iṥḻïḓè">
              <a:extLst>
                <a:ext uri="{FF2B5EF4-FFF2-40B4-BE49-F238E27FC236}">
                  <a16:creationId xmlns:a16="http://schemas.microsoft.com/office/drawing/2014/main" id="{5E55F4F6-DA3B-442B-8E33-9C37EB5265CC}"/>
                </a:ext>
              </a:extLst>
            </p:cNvPr>
            <p:cNvSpPr/>
            <p:nvPr/>
          </p:nvSpPr>
          <p:spPr>
            <a:xfrm>
              <a:off x="5554450" y="5003564"/>
              <a:ext cx="105825" cy="61104"/>
            </a:xfrm>
            <a:custGeom>
              <a:avLst/>
              <a:gdLst>
                <a:gd name="connsiteX0" fmla="*/ 1235 w 34766"/>
                <a:gd name="connsiteY0" fmla="*/ 12029 h 20074"/>
                <a:gd name="connsiteX1" fmla="*/ 13332 w 34766"/>
                <a:gd name="connsiteY1" fmla="*/ 18983 h 20074"/>
                <a:gd name="connsiteX2" fmla="*/ 20762 w 34766"/>
                <a:gd name="connsiteY2" fmla="*/ 18983 h 20074"/>
                <a:gd name="connsiteX3" fmla="*/ 32858 w 34766"/>
                <a:gd name="connsiteY3" fmla="*/ 12029 h 20074"/>
                <a:gd name="connsiteX4" fmla="*/ 32858 w 34766"/>
                <a:gd name="connsiteY4" fmla="*/ 7743 h 20074"/>
                <a:gd name="connsiteX5" fmla="*/ 20762 w 34766"/>
                <a:gd name="connsiteY5" fmla="*/ 695 h 20074"/>
                <a:gd name="connsiteX6" fmla="*/ 13332 w 34766"/>
                <a:gd name="connsiteY6" fmla="*/ 695 h 20074"/>
                <a:gd name="connsiteX7" fmla="*/ 1235 w 34766"/>
                <a:gd name="connsiteY7" fmla="*/ 7743 h 20074"/>
                <a:gd name="connsiteX8" fmla="*/ 1235 w 34766"/>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6" h="20074">
                  <a:moveTo>
                    <a:pt x="1235" y="12029"/>
                  </a:moveTo>
                  <a:lnTo>
                    <a:pt x="13332" y="18983"/>
                  </a:lnTo>
                  <a:cubicBezTo>
                    <a:pt x="15656" y="20221"/>
                    <a:pt x="18437" y="20221"/>
                    <a:pt x="20762" y="18983"/>
                  </a:cubicBezTo>
                  <a:lnTo>
                    <a:pt x="32858" y="12029"/>
                  </a:lnTo>
                  <a:cubicBezTo>
                    <a:pt x="34954" y="10791"/>
                    <a:pt x="34954" y="8886"/>
                    <a:pt x="32858" y="7743"/>
                  </a:cubicBezTo>
                  <a:lnTo>
                    <a:pt x="20762" y="695"/>
                  </a:lnTo>
                  <a:cubicBezTo>
                    <a:pt x="18419" y="-448"/>
                    <a:pt x="15675" y="-448"/>
                    <a:pt x="13332" y="695"/>
                  </a:cubicBezTo>
                  <a:lnTo>
                    <a:pt x="1235" y="7743"/>
                  </a:lnTo>
                  <a:cubicBezTo>
                    <a:pt x="-860" y="8505"/>
                    <a:pt x="-860" y="10791"/>
                    <a:pt x="1235" y="12029"/>
                  </a:cubicBezTo>
                  <a:close/>
                </a:path>
              </a:pathLst>
            </a:custGeom>
            <a:solidFill>
              <a:srgbClr val="D1D9E8"/>
            </a:solidFill>
            <a:ln w="9525" cap="flat">
              <a:noFill/>
              <a:prstDash val="solid"/>
              <a:miter/>
            </a:ln>
          </p:spPr>
          <p:txBody>
            <a:bodyPr rtlCol="0" anchor="ctr"/>
            <a:lstStyle/>
            <a:p>
              <a:endParaRPr lang="zh-CN" altLang="en-US"/>
            </a:p>
          </p:txBody>
        </p:sp>
        <p:sp>
          <p:nvSpPr>
            <p:cNvPr id="698" name="iṧ1idè">
              <a:extLst>
                <a:ext uri="{FF2B5EF4-FFF2-40B4-BE49-F238E27FC236}">
                  <a16:creationId xmlns:a16="http://schemas.microsoft.com/office/drawing/2014/main" id="{DD6D111A-2534-4BDF-897E-49E58700A2A2}"/>
                </a:ext>
              </a:extLst>
            </p:cNvPr>
            <p:cNvSpPr/>
            <p:nvPr/>
          </p:nvSpPr>
          <p:spPr>
            <a:xfrm>
              <a:off x="5552566" y="5034006"/>
              <a:ext cx="109594" cy="53564"/>
            </a:xfrm>
            <a:custGeom>
              <a:avLst/>
              <a:gdLst>
                <a:gd name="connsiteX0" fmla="*/ -336 w 36004"/>
                <a:gd name="connsiteY0" fmla="*/ -163 h 17597"/>
                <a:gd name="connsiteX1" fmla="*/ -336 w 36004"/>
                <a:gd name="connsiteY1" fmla="*/ 7076 h 17597"/>
                <a:gd name="connsiteX2" fmla="*/ 1187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3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7 w 36004"/>
                <a:gd name="connsiteY13" fmla="*/ 2123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7" y="9267"/>
                  </a:cubicBezTo>
                  <a:lnTo>
                    <a:pt x="13856" y="16506"/>
                  </a:lnTo>
                  <a:cubicBezTo>
                    <a:pt x="16247" y="17744"/>
                    <a:pt x="19085" y="17744"/>
                    <a:pt x="21476" y="16506"/>
                  </a:cubicBezTo>
                  <a:lnTo>
                    <a:pt x="34144" y="9267"/>
                  </a:lnTo>
                  <a:cubicBezTo>
                    <a:pt x="35011" y="8819"/>
                    <a:pt x="35582" y="7953"/>
                    <a:pt x="35668" y="6981"/>
                  </a:cubicBezTo>
                  <a:lnTo>
                    <a:pt x="35668" y="-163"/>
                  </a:lnTo>
                  <a:cubicBezTo>
                    <a:pt x="35601" y="818"/>
                    <a:pt x="35020" y="1685"/>
                    <a:pt x="34144" y="2123"/>
                  </a:cubicBezTo>
                  <a:lnTo>
                    <a:pt x="31763" y="3457"/>
                  </a:lnTo>
                  <a:lnTo>
                    <a:pt x="21476" y="9362"/>
                  </a:lnTo>
                  <a:cubicBezTo>
                    <a:pt x="19085" y="10600"/>
                    <a:pt x="16247" y="10600"/>
                    <a:pt x="13856" y="9362"/>
                  </a:cubicBezTo>
                  <a:lnTo>
                    <a:pt x="3569" y="3457"/>
                  </a:lnTo>
                  <a:lnTo>
                    <a:pt x="1187"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99" name="îṩḷïďé">
              <a:extLst>
                <a:ext uri="{FF2B5EF4-FFF2-40B4-BE49-F238E27FC236}">
                  <a16:creationId xmlns:a16="http://schemas.microsoft.com/office/drawing/2014/main" id="{649061F3-B284-4E64-9A0C-F84B8CD2EC0E}"/>
                </a:ext>
              </a:extLst>
            </p:cNvPr>
            <p:cNvSpPr/>
            <p:nvPr/>
          </p:nvSpPr>
          <p:spPr>
            <a:xfrm>
              <a:off x="5629687" y="5046836"/>
              <a:ext cx="109740" cy="63639"/>
            </a:xfrm>
            <a:custGeom>
              <a:avLst/>
              <a:gdLst>
                <a:gd name="connsiteX0" fmla="*/ -336 w 36052"/>
                <a:gd name="connsiteY0" fmla="*/ 10291 h 20907"/>
                <a:gd name="connsiteX1" fmla="*/ 1283 w 36052"/>
                <a:gd name="connsiteY1" fmla="*/ 12577 h 20907"/>
                <a:gd name="connsiteX2" fmla="*/ 3569 w 36052"/>
                <a:gd name="connsiteY2" fmla="*/ 13911 h 20907"/>
                <a:gd name="connsiteX3" fmla="*/ 13856 w 36052"/>
                <a:gd name="connsiteY3" fmla="*/ 19816 h 20907"/>
                <a:gd name="connsiteX4" fmla="*/ 21571 w 36052"/>
                <a:gd name="connsiteY4" fmla="*/ 19816 h 20907"/>
                <a:gd name="connsiteX5" fmla="*/ 31858 w 36052"/>
                <a:gd name="connsiteY5" fmla="*/ 13911 h 20907"/>
                <a:gd name="connsiteX6" fmla="*/ 34144 w 36052"/>
                <a:gd name="connsiteY6" fmla="*/ 12577 h 20907"/>
                <a:gd name="connsiteX7" fmla="*/ 35573 w 36052"/>
                <a:gd name="connsiteY7" fmla="*/ 9529 h 20907"/>
                <a:gd name="connsiteX8" fmla="*/ 34144 w 36052"/>
                <a:gd name="connsiteY8" fmla="*/ 8101 h 20907"/>
                <a:gd name="connsiteX9" fmla="*/ 21571 w 36052"/>
                <a:gd name="connsiteY9" fmla="*/ 766 h 20907"/>
                <a:gd name="connsiteX10" fmla="*/ 13856 w 36052"/>
                <a:gd name="connsiteY10" fmla="*/ 766 h 20907"/>
                <a:gd name="connsiteX11" fmla="*/ 1283 w 36052"/>
                <a:gd name="connsiteY11" fmla="*/ 8101 h 20907"/>
                <a:gd name="connsiteX12" fmla="*/ -336 w 36052"/>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907">
                  <a:moveTo>
                    <a:pt x="-336" y="10291"/>
                  </a:moveTo>
                  <a:cubicBezTo>
                    <a:pt x="-231" y="11282"/>
                    <a:pt x="378" y="12149"/>
                    <a:pt x="1283" y="12577"/>
                  </a:cubicBezTo>
                  <a:lnTo>
                    <a:pt x="3569" y="13911"/>
                  </a:lnTo>
                  <a:lnTo>
                    <a:pt x="13856" y="19816"/>
                  </a:lnTo>
                  <a:cubicBezTo>
                    <a:pt x="16275" y="21054"/>
                    <a:pt x="19152" y="21054"/>
                    <a:pt x="21571" y="19816"/>
                  </a:cubicBezTo>
                  <a:lnTo>
                    <a:pt x="31858" y="13911"/>
                  </a:lnTo>
                  <a:lnTo>
                    <a:pt x="34144" y="12577"/>
                  </a:lnTo>
                  <a:cubicBezTo>
                    <a:pt x="35382" y="12129"/>
                    <a:pt x="36021" y="10758"/>
                    <a:pt x="35573" y="9529"/>
                  </a:cubicBezTo>
                  <a:cubicBezTo>
                    <a:pt x="35325" y="8862"/>
                    <a:pt x="34811" y="8339"/>
                    <a:pt x="34144" y="8101"/>
                  </a:cubicBezTo>
                  <a:lnTo>
                    <a:pt x="21571" y="766"/>
                  </a:lnTo>
                  <a:cubicBezTo>
                    <a:pt x="19152" y="-472"/>
                    <a:pt x="16275" y="-472"/>
                    <a:pt x="13856" y="766"/>
                  </a:cubicBezTo>
                  <a:lnTo>
                    <a:pt x="1283" y="8101"/>
                  </a:lnTo>
                  <a:cubicBezTo>
                    <a:pt x="407" y="8510"/>
                    <a:pt x="-203" y="933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700" name="iŝļíḍé">
              <a:extLst>
                <a:ext uri="{FF2B5EF4-FFF2-40B4-BE49-F238E27FC236}">
                  <a16:creationId xmlns:a16="http://schemas.microsoft.com/office/drawing/2014/main" id="{84D6CD58-E516-415C-96FC-2D75C5043732}"/>
                </a:ext>
              </a:extLst>
            </p:cNvPr>
            <p:cNvSpPr/>
            <p:nvPr/>
          </p:nvSpPr>
          <p:spPr>
            <a:xfrm>
              <a:off x="5631791" y="5048215"/>
              <a:ext cx="105679" cy="61101"/>
            </a:xfrm>
            <a:custGeom>
              <a:avLst/>
              <a:gdLst>
                <a:gd name="connsiteX0" fmla="*/ 1164 w 34718"/>
                <a:gd name="connsiteY0" fmla="*/ 12029 h 20073"/>
                <a:gd name="connsiteX1" fmla="*/ 13260 w 34718"/>
                <a:gd name="connsiteY1" fmla="*/ 18983 h 20073"/>
                <a:gd name="connsiteX2" fmla="*/ 20690 w 34718"/>
                <a:gd name="connsiteY2" fmla="*/ 18983 h 20073"/>
                <a:gd name="connsiteX3" fmla="*/ 32882 w 34718"/>
                <a:gd name="connsiteY3" fmla="*/ 12029 h 20073"/>
                <a:gd name="connsiteX4" fmla="*/ 32882 w 34718"/>
                <a:gd name="connsiteY4" fmla="*/ 7743 h 20073"/>
                <a:gd name="connsiteX5" fmla="*/ 20690 w 34718"/>
                <a:gd name="connsiteY5" fmla="*/ 695 h 20073"/>
                <a:gd name="connsiteX6" fmla="*/ 13260 w 34718"/>
                <a:gd name="connsiteY6" fmla="*/ 695 h 20073"/>
                <a:gd name="connsiteX7" fmla="*/ 1164 w 34718"/>
                <a:gd name="connsiteY7" fmla="*/ 7743 h 20073"/>
                <a:gd name="connsiteX8" fmla="*/ 1164 w 34718"/>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18" h="20073">
                  <a:moveTo>
                    <a:pt x="1164" y="12029"/>
                  </a:moveTo>
                  <a:lnTo>
                    <a:pt x="13260" y="18983"/>
                  </a:lnTo>
                  <a:cubicBezTo>
                    <a:pt x="15585" y="20221"/>
                    <a:pt x="18366" y="20221"/>
                    <a:pt x="20690" y="18983"/>
                  </a:cubicBezTo>
                  <a:lnTo>
                    <a:pt x="32882" y="12029"/>
                  </a:lnTo>
                  <a:cubicBezTo>
                    <a:pt x="34882" y="10791"/>
                    <a:pt x="34882" y="8886"/>
                    <a:pt x="32882" y="7743"/>
                  </a:cubicBezTo>
                  <a:lnTo>
                    <a:pt x="20690" y="695"/>
                  </a:lnTo>
                  <a:cubicBezTo>
                    <a:pt x="18347" y="-448"/>
                    <a:pt x="15604" y="-448"/>
                    <a:pt x="13260" y="695"/>
                  </a:cubicBezTo>
                  <a:lnTo>
                    <a:pt x="1164" y="7743"/>
                  </a:lnTo>
                  <a:cubicBezTo>
                    <a:pt x="-836" y="8886"/>
                    <a:pt x="-836" y="10791"/>
                    <a:pt x="1164" y="12029"/>
                  </a:cubicBezTo>
                  <a:close/>
                </a:path>
              </a:pathLst>
            </a:custGeom>
            <a:solidFill>
              <a:srgbClr val="D1D9E8"/>
            </a:solidFill>
            <a:ln w="9525" cap="flat">
              <a:noFill/>
              <a:prstDash val="solid"/>
              <a:miter/>
            </a:ln>
          </p:spPr>
          <p:txBody>
            <a:bodyPr rtlCol="0" anchor="ctr"/>
            <a:lstStyle/>
            <a:p>
              <a:endParaRPr lang="zh-CN" altLang="en-US"/>
            </a:p>
          </p:txBody>
        </p:sp>
        <p:sp>
          <p:nvSpPr>
            <p:cNvPr id="701" name="íśľïḍè">
              <a:extLst>
                <a:ext uri="{FF2B5EF4-FFF2-40B4-BE49-F238E27FC236}">
                  <a16:creationId xmlns:a16="http://schemas.microsoft.com/office/drawing/2014/main" id="{1FA15F51-98B4-44E8-84CC-9B5580DCA6D2}"/>
                </a:ext>
              </a:extLst>
            </p:cNvPr>
            <p:cNvSpPr/>
            <p:nvPr/>
          </p:nvSpPr>
          <p:spPr>
            <a:xfrm>
              <a:off x="5629687" y="5078658"/>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4 w 36099"/>
                <a:gd name="connsiteY6" fmla="*/ 6981 h 17597"/>
                <a:gd name="connsiteX7" fmla="*/ 35764 w 36099"/>
                <a:gd name="connsiteY7" fmla="*/ -163 h 17597"/>
                <a:gd name="connsiteX8" fmla="*/ 34144 w 36099"/>
                <a:gd name="connsiteY8" fmla="*/ 2124 h 17597"/>
                <a:gd name="connsiteX9" fmla="*/ 31858 w 36099"/>
                <a:gd name="connsiteY9" fmla="*/ 3457 h 17597"/>
                <a:gd name="connsiteX10" fmla="*/ 21571 w 36099"/>
                <a:gd name="connsiteY10" fmla="*/ 9362 h 17597"/>
                <a:gd name="connsiteX11" fmla="*/ 13856 w 36099"/>
                <a:gd name="connsiteY11" fmla="*/ 9362 h 17597"/>
                <a:gd name="connsiteX12" fmla="*/ 3569 w 36099"/>
                <a:gd name="connsiteY12" fmla="*/ 3457 h 17597"/>
                <a:gd name="connsiteX13" fmla="*/ 1283 w 36099"/>
                <a:gd name="connsiteY13" fmla="*/ 2124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03" y="8029"/>
                    <a:pt x="407" y="8858"/>
                    <a:pt x="1283" y="9267"/>
                  </a:cubicBezTo>
                  <a:lnTo>
                    <a:pt x="13856" y="16506"/>
                  </a:lnTo>
                  <a:cubicBezTo>
                    <a:pt x="16275" y="17744"/>
                    <a:pt x="19152" y="17744"/>
                    <a:pt x="21571" y="16506"/>
                  </a:cubicBezTo>
                  <a:lnTo>
                    <a:pt x="34144" y="9267"/>
                  </a:lnTo>
                  <a:cubicBezTo>
                    <a:pt x="35030" y="8829"/>
                    <a:pt x="35640" y="7972"/>
                    <a:pt x="35764" y="6981"/>
                  </a:cubicBezTo>
                  <a:lnTo>
                    <a:pt x="35764" y="-163"/>
                  </a:lnTo>
                  <a:cubicBezTo>
                    <a:pt x="35659" y="828"/>
                    <a:pt x="35049" y="1695"/>
                    <a:pt x="34144" y="2124"/>
                  </a:cubicBezTo>
                  <a:lnTo>
                    <a:pt x="31858" y="3457"/>
                  </a:lnTo>
                  <a:lnTo>
                    <a:pt x="21571" y="9362"/>
                  </a:lnTo>
                  <a:cubicBezTo>
                    <a:pt x="19152" y="10601"/>
                    <a:pt x="16275" y="10601"/>
                    <a:pt x="13856" y="9362"/>
                  </a:cubicBezTo>
                  <a:lnTo>
                    <a:pt x="3569" y="3457"/>
                  </a:lnTo>
                  <a:lnTo>
                    <a:pt x="1283" y="2124"/>
                  </a:lnTo>
                  <a:cubicBezTo>
                    <a:pt x="378" y="1695"/>
                    <a:pt x="-231"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02" name="îṡḻiḍè">
              <a:extLst>
                <a:ext uri="{FF2B5EF4-FFF2-40B4-BE49-F238E27FC236}">
                  <a16:creationId xmlns:a16="http://schemas.microsoft.com/office/drawing/2014/main" id="{38BF5413-1691-43E3-9BB7-047D417A7722}"/>
                </a:ext>
              </a:extLst>
            </p:cNvPr>
            <p:cNvSpPr/>
            <p:nvPr/>
          </p:nvSpPr>
          <p:spPr>
            <a:xfrm>
              <a:off x="5706230" y="5091488"/>
              <a:ext cx="109594" cy="63639"/>
            </a:xfrm>
            <a:custGeom>
              <a:avLst/>
              <a:gdLst>
                <a:gd name="connsiteX0" fmla="*/ -336 w 36004"/>
                <a:gd name="connsiteY0" fmla="*/ 10291 h 20907"/>
                <a:gd name="connsiteX1" fmla="*/ 1188 w 36004"/>
                <a:gd name="connsiteY1" fmla="*/ 12577 h 20907"/>
                <a:gd name="connsiteX2" fmla="*/ 3569 w 36004"/>
                <a:gd name="connsiteY2" fmla="*/ 13911 h 20907"/>
                <a:gd name="connsiteX3" fmla="*/ 13856 w 36004"/>
                <a:gd name="connsiteY3" fmla="*/ 19816 h 20907"/>
                <a:gd name="connsiteX4" fmla="*/ 21476 w 36004"/>
                <a:gd name="connsiteY4" fmla="*/ 19816 h 20907"/>
                <a:gd name="connsiteX5" fmla="*/ 31763 w 36004"/>
                <a:gd name="connsiteY5" fmla="*/ 13911 h 20907"/>
                <a:gd name="connsiteX6" fmla="*/ 34144 w 36004"/>
                <a:gd name="connsiteY6" fmla="*/ 12577 h 20907"/>
                <a:gd name="connsiteX7" fmla="*/ 35668 w 36004"/>
                <a:gd name="connsiteY7" fmla="*/ 10291 h 20907"/>
                <a:gd name="connsiteX8" fmla="*/ 34144 w 36004"/>
                <a:gd name="connsiteY8" fmla="*/ 8100 h 20907"/>
                <a:gd name="connsiteX9" fmla="*/ 21476 w 36004"/>
                <a:gd name="connsiteY9" fmla="*/ 766 h 20907"/>
                <a:gd name="connsiteX10" fmla="*/ 13856 w 36004"/>
                <a:gd name="connsiteY10" fmla="*/ 766 h 20907"/>
                <a:gd name="connsiteX11" fmla="*/ 1188 w 36004"/>
                <a:gd name="connsiteY11" fmla="*/ 8100 h 20907"/>
                <a:gd name="connsiteX12" fmla="*/ -336 w 36004"/>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907">
                  <a:moveTo>
                    <a:pt x="-336" y="10291"/>
                  </a:moveTo>
                  <a:cubicBezTo>
                    <a:pt x="-270" y="11272"/>
                    <a:pt x="311" y="12139"/>
                    <a:pt x="1188" y="12577"/>
                  </a:cubicBezTo>
                  <a:lnTo>
                    <a:pt x="3569" y="13911"/>
                  </a:lnTo>
                  <a:lnTo>
                    <a:pt x="13856" y="19816"/>
                  </a:lnTo>
                  <a:cubicBezTo>
                    <a:pt x="16247" y="21054"/>
                    <a:pt x="19085" y="21054"/>
                    <a:pt x="21476" y="19816"/>
                  </a:cubicBezTo>
                  <a:lnTo>
                    <a:pt x="31763" y="13911"/>
                  </a:lnTo>
                  <a:lnTo>
                    <a:pt x="34144" y="12577"/>
                  </a:lnTo>
                  <a:cubicBezTo>
                    <a:pt x="35021" y="12139"/>
                    <a:pt x="35602" y="11272"/>
                    <a:pt x="35668" y="10291"/>
                  </a:cubicBezTo>
                  <a:cubicBezTo>
                    <a:pt x="35611" y="9339"/>
                    <a:pt x="35021" y="8491"/>
                    <a:pt x="34144" y="8100"/>
                  </a:cubicBezTo>
                  <a:lnTo>
                    <a:pt x="21476" y="766"/>
                  </a:lnTo>
                  <a:cubicBezTo>
                    <a:pt x="19085" y="-472"/>
                    <a:pt x="16247" y="-472"/>
                    <a:pt x="13856" y="766"/>
                  </a:cubicBezTo>
                  <a:lnTo>
                    <a:pt x="1188" y="8100"/>
                  </a:lnTo>
                  <a:cubicBezTo>
                    <a:pt x="311" y="8491"/>
                    <a:pt x="-279"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703" name="ísḷiḑê">
              <a:extLst>
                <a:ext uri="{FF2B5EF4-FFF2-40B4-BE49-F238E27FC236}">
                  <a16:creationId xmlns:a16="http://schemas.microsoft.com/office/drawing/2014/main" id="{18557B00-E9C7-4D8C-A348-9AD6131757A5}"/>
                </a:ext>
              </a:extLst>
            </p:cNvPr>
            <p:cNvSpPr/>
            <p:nvPr/>
          </p:nvSpPr>
          <p:spPr>
            <a:xfrm>
              <a:off x="5708114" y="5092647"/>
              <a:ext cx="106693" cy="61101"/>
            </a:xfrm>
            <a:custGeom>
              <a:avLst/>
              <a:gdLst>
                <a:gd name="connsiteX0" fmla="*/ 1521 w 35051"/>
                <a:gd name="connsiteY0" fmla="*/ 12006 h 20073"/>
                <a:gd name="connsiteX1" fmla="*/ 13618 w 35051"/>
                <a:gd name="connsiteY1" fmla="*/ 19054 h 20073"/>
                <a:gd name="connsiteX2" fmla="*/ 21047 w 35051"/>
                <a:gd name="connsiteY2" fmla="*/ 19054 h 20073"/>
                <a:gd name="connsiteX3" fmla="*/ 33144 w 35051"/>
                <a:gd name="connsiteY3" fmla="*/ 12006 h 20073"/>
                <a:gd name="connsiteX4" fmla="*/ 33144 w 35051"/>
                <a:gd name="connsiteY4" fmla="*/ 7719 h 20073"/>
                <a:gd name="connsiteX5" fmla="*/ 21047 w 35051"/>
                <a:gd name="connsiteY5" fmla="*/ 766 h 20073"/>
                <a:gd name="connsiteX6" fmla="*/ 13618 w 35051"/>
                <a:gd name="connsiteY6" fmla="*/ 766 h 20073"/>
                <a:gd name="connsiteX7" fmla="*/ 1521 w 35051"/>
                <a:gd name="connsiteY7" fmla="*/ 7719 h 20073"/>
                <a:gd name="connsiteX8" fmla="*/ 1521 w 35051"/>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051" h="20073">
                  <a:moveTo>
                    <a:pt x="1521" y="12006"/>
                  </a:moveTo>
                  <a:lnTo>
                    <a:pt x="13618" y="19054"/>
                  </a:lnTo>
                  <a:cubicBezTo>
                    <a:pt x="15961" y="20197"/>
                    <a:pt x="18704" y="20197"/>
                    <a:pt x="21047" y="19054"/>
                  </a:cubicBezTo>
                  <a:lnTo>
                    <a:pt x="33144" y="12006"/>
                  </a:lnTo>
                  <a:cubicBezTo>
                    <a:pt x="35239" y="10863"/>
                    <a:pt x="35239" y="8957"/>
                    <a:pt x="33144" y="7719"/>
                  </a:cubicBezTo>
                  <a:lnTo>
                    <a:pt x="21047" y="766"/>
                  </a:lnTo>
                  <a:cubicBezTo>
                    <a:pt x="18723" y="-472"/>
                    <a:pt x="15942" y="-472"/>
                    <a:pt x="13618" y="766"/>
                  </a:cubicBezTo>
                  <a:lnTo>
                    <a:pt x="1521" y="7719"/>
                  </a:lnTo>
                  <a:cubicBezTo>
                    <a:pt x="-955" y="8957"/>
                    <a:pt x="-955" y="10863"/>
                    <a:pt x="1521" y="12006"/>
                  </a:cubicBezTo>
                  <a:close/>
                </a:path>
              </a:pathLst>
            </a:custGeom>
            <a:solidFill>
              <a:srgbClr val="D1D9E8"/>
            </a:solidFill>
            <a:ln w="9525" cap="flat">
              <a:noFill/>
              <a:prstDash val="solid"/>
              <a:miter/>
            </a:ln>
          </p:spPr>
          <p:txBody>
            <a:bodyPr rtlCol="0" anchor="ctr"/>
            <a:lstStyle/>
            <a:p>
              <a:endParaRPr lang="zh-CN" altLang="en-US"/>
            </a:p>
          </p:txBody>
        </p:sp>
        <p:sp>
          <p:nvSpPr>
            <p:cNvPr id="704" name="ïşḷiḓê">
              <a:extLst>
                <a:ext uri="{FF2B5EF4-FFF2-40B4-BE49-F238E27FC236}">
                  <a16:creationId xmlns:a16="http://schemas.microsoft.com/office/drawing/2014/main" id="{88E711A4-B166-45BB-AEB6-C435E71E7153}"/>
                </a:ext>
              </a:extLst>
            </p:cNvPr>
            <p:cNvSpPr/>
            <p:nvPr/>
          </p:nvSpPr>
          <p:spPr>
            <a:xfrm>
              <a:off x="5706230" y="5123306"/>
              <a:ext cx="109594" cy="54142"/>
            </a:xfrm>
            <a:custGeom>
              <a:avLst/>
              <a:gdLst>
                <a:gd name="connsiteX0" fmla="*/ -336 w 36004"/>
                <a:gd name="connsiteY0" fmla="*/ -163 h 17787"/>
                <a:gd name="connsiteX1" fmla="*/ -336 w 36004"/>
                <a:gd name="connsiteY1" fmla="*/ 7267 h 17787"/>
                <a:gd name="connsiteX2" fmla="*/ 1188 w 36004"/>
                <a:gd name="connsiteY2" fmla="*/ 9458 h 17787"/>
                <a:gd name="connsiteX3" fmla="*/ 13856 w 36004"/>
                <a:gd name="connsiteY3" fmla="*/ 16697 h 17787"/>
                <a:gd name="connsiteX4" fmla="*/ 21476 w 36004"/>
                <a:gd name="connsiteY4" fmla="*/ 16697 h 17787"/>
                <a:gd name="connsiteX5" fmla="*/ 34144 w 36004"/>
                <a:gd name="connsiteY5" fmla="*/ 9458 h 17787"/>
                <a:gd name="connsiteX6" fmla="*/ 35668 w 36004"/>
                <a:gd name="connsiteY6" fmla="*/ 7172 h 17787"/>
                <a:gd name="connsiteX7" fmla="*/ 35668 w 36004"/>
                <a:gd name="connsiteY7" fmla="*/ 28 h 17787"/>
                <a:gd name="connsiteX8" fmla="*/ 34144 w 36004"/>
                <a:gd name="connsiteY8" fmla="*/ 2314 h 17787"/>
                <a:gd name="connsiteX9" fmla="*/ 31763 w 36004"/>
                <a:gd name="connsiteY9" fmla="*/ 3647 h 17787"/>
                <a:gd name="connsiteX10" fmla="*/ 21476 w 36004"/>
                <a:gd name="connsiteY10" fmla="*/ 9553 h 17787"/>
                <a:gd name="connsiteX11" fmla="*/ 13856 w 36004"/>
                <a:gd name="connsiteY11" fmla="*/ 9553 h 17787"/>
                <a:gd name="connsiteX12" fmla="*/ 3569 w 36004"/>
                <a:gd name="connsiteY12" fmla="*/ 3647 h 17787"/>
                <a:gd name="connsiteX13" fmla="*/ 1188 w 36004"/>
                <a:gd name="connsiteY13" fmla="*/ 2314 h 17787"/>
                <a:gd name="connsiteX14" fmla="*/ -336 w 36004"/>
                <a:gd name="connsiteY14" fmla="*/ -163 h 17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787">
                  <a:moveTo>
                    <a:pt x="-336" y="-163"/>
                  </a:moveTo>
                  <a:lnTo>
                    <a:pt x="-336" y="7267"/>
                  </a:lnTo>
                  <a:cubicBezTo>
                    <a:pt x="-241" y="8210"/>
                    <a:pt x="340" y="9039"/>
                    <a:pt x="1188" y="9458"/>
                  </a:cubicBezTo>
                  <a:lnTo>
                    <a:pt x="13856" y="16697"/>
                  </a:lnTo>
                  <a:cubicBezTo>
                    <a:pt x="16247" y="17935"/>
                    <a:pt x="19085" y="17935"/>
                    <a:pt x="21476" y="16697"/>
                  </a:cubicBezTo>
                  <a:lnTo>
                    <a:pt x="34144" y="9458"/>
                  </a:lnTo>
                  <a:cubicBezTo>
                    <a:pt x="35011" y="9010"/>
                    <a:pt x="35582" y="8143"/>
                    <a:pt x="35668" y="7172"/>
                  </a:cubicBezTo>
                  <a:lnTo>
                    <a:pt x="35668" y="28"/>
                  </a:lnTo>
                  <a:cubicBezTo>
                    <a:pt x="35602" y="1009"/>
                    <a:pt x="35021" y="1876"/>
                    <a:pt x="34144" y="2314"/>
                  </a:cubicBezTo>
                  <a:lnTo>
                    <a:pt x="31763" y="3647"/>
                  </a:lnTo>
                  <a:lnTo>
                    <a:pt x="21476" y="9553"/>
                  </a:lnTo>
                  <a:cubicBezTo>
                    <a:pt x="19085" y="10791"/>
                    <a:pt x="16247" y="10791"/>
                    <a:pt x="13856" y="9553"/>
                  </a:cubicBezTo>
                  <a:lnTo>
                    <a:pt x="3569" y="3647"/>
                  </a:lnTo>
                  <a:lnTo>
                    <a:pt x="1188" y="2314"/>
                  </a:lnTo>
                  <a:cubicBezTo>
                    <a:pt x="254" y="1847"/>
                    <a:pt x="-336" y="885"/>
                    <a:pt x="-336" y="-163"/>
                  </a:cubicBezTo>
                  <a:close/>
                </a:path>
              </a:pathLst>
            </a:custGeom>
            <a:solidFill>
              <a:srgbClr val="BF4200"/>
            </a:solidFill>
            <a:ln w="9525" cap="flat">
              <a:noFill/>
              <a:prstDash val="solid"/>
              <a:miter/>
            </a:ln>
          </p:spPr>
          <p:txBody>
            <a:bodyPr rtlCol="0" anchor="ctr"/>
            <a:lstStyle/>
            <a:p>
              <a:endParaRPr lang="zh-CN" altLang="en-US"/>
            </a:p>
          </p:txBody>
        </p:sp>
        <p:sp>
          <p:nvSpPr>
            <p:cNvPr id="705" name="ïṩḷîḋe">
              <a:extLst>
                <a:ext uri="{FF2B5EF4-FFF2-40B4-BE49-F238E27FC236}">
                  <a16:creationId xmlns:a16="http://schemas.microsoft.com/office/drawing/2014/main" id="{CA04ECC8-0A7E-4661-86D6-300386EEE136}"/>
                </a:ext>
              </a:extLst>
            </p:cNvPr>
            <p:cNvSpPr/>
            <p:nvPr/>
          </p:nvSpPr>
          <p:spPr>
            <a:xfrm>
              <a:off x="5784224" y="5136136"/>
              <a:ext cx="109883" cy="63639"/>
            </a:xfrm>
            <a:custGeom>
              <a:avLst/>
              <a:gdLst>
                <a:gd name="connsiteX0" fmla="*/ -336 w 36099"/>
                <a:gd name="connsiteY0" fmla="*/ 10291 h 20907"/>
                <a:gd name="connsiteX1" fmla="*/ 1283 w 36099"/>
                <a:gd name="connsiteY1" fmla="*/ 12577 h 20907"/>
                <a:gd name="connsiteX2" fmla="*/ 3569 w 36099"/>
                <a:gd name="connsiteY2" fmla="*/ 13911 h 20907"/>
                <a:gd name="connsiteX3" fmla="*/ 13856 w 36099"/>
                <a:gd name="connsiteY3" fmla="*/ 19816 h 20907"/>
                <a:gd name="connsiteX4" fmla="*/ 21571 w 36099"/>
                <a:gd name="connsiteY4" fmla="*/ 19816 h 20907"/>
                <a:gd name="connsiteX5" fmla="*/ 31858 w 36099"/>
                <a:gd name="connsiteY5" fmla="*/ 13911 h 20907"/>
                <a:gd name="connsiteX6" fmla="*/ 34144 w 36099"/>
                <a:gd name="connsiteY6" fmla="*/ 12577 h 20907"/>
                <a:gd name="connsiteX7" fmla="*/ 35764 w 36099"/>
                <a:gd name="connsiteY7" fmla="*/ 10291 h 20907"/>
                <a:gd name="connsiteX8" fmla="*/ 34144 w 36099"/>
                <a:gd name="connsiteY8" fmla="*/ 8100 h 20907"/>
                <a:gd name="connsiteX9" fmla="*/ 21571 w 36099"/>
                <a:gd name="connsiteY9" fmla="*/ 766 h 20907"/>
                <a:gd name="connsiteX10" fmla="*/ 13856 w 36099"/>
                <a:gd name="connsiteY10" fmla="*/ 766 h 20907"/>
                <a:gd name="connsiteX11" fmla="*/ 1283 w 36099"/>
                <a:gd name="connsiteY11" fmla="*/ 8100 h 20907"/>
                <a:gd name="connsiteX12" fmla="*/ -336 w 36099"/>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99" h="20907">
                  <a:moveTo>
                    <a:pt x="-336" y="10291"/>
                  </a:moveTo>
                  <a:cubicBezTo>
                    <a:pt x="-232" y="11282"/>
                    <a:pt x="378" y="12148"/>
                    <a:pt x="1283" y="12577"/>
                  </a:cubicBezTo>
                  <a:lnTo>
                    <a:pt x="3569" y="13911"/>
                  </a:lnTo>
                  <a:lnTo>
                    <a:pt x="13856" y="19816"/>
                  </a:lnTo>
                  <a:cubicBezTo>
                    <a:pt x="16275" y="21054"/>
                    <a:pt x="19152" y="21054"/>
                    <a:pt x="21571" y="19816"/>
                  </a:cubicBezTo>
                  <a:lnTo>
                    <a:pt x="31858" y="13911"/>
                  </a:lnTo>
                  <a:lnTo>
                    <a:pt x="34144" y="12577"/>
                  </a:lnTo>
                  <a:cubicBezTo>
                    <a:pt x="35077" y="12187"/>
                    <a:pt x="35697" y="11301"/>
                    <a:pt x="35764" y="10291"/>
                  </a:cubicBezTo>
                  <a:cubicBezTo>
                    <a:pt x="35687" y="9310"/>
                    <a:pt x="35059" y="8462"/>
                    <a:pt x="34144" y="8100"/>
                  </a:cubicBezTo>
                  <a:lnTo>
                    <a:pt x="21571" y="766"/>
                  </a:lnTo>
                  <a:cubicBezTo>
                    <a:pt x="19152" y="-472"/>
                    <a:pt x="16275" y="-472"/>
                    <a:pt x="13856" y="766"/>
                  </a:cubicBezTo>
                  <a:lnTo>
                    <a:pt x="1283" y="8100"/>
                  </a:lnTo>
                  <a:cubicBezTo>
                    <a:pt x="397" y="8491"/>
                    <a:pt x="-222"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706" name="íṧ1iḑè">
              <a:extLst>
                <a:ext uri="{FF2B5EF4-FFF2-40B4-BE49-F238E27FC236}">
                  <a16:creationId xmlns:a16="http://schemas.microsoft.com/office/drawing/2014/main" id="{4A5EE799-FEDC-454A-B8F7-D23BCDB04B26}"/>
                </a:ext>
              </a:extLst>
            </p:cNvPr>
            <p:cNvSpPr/>
            <p:nvPr/>
          </p:nvSpPr>
          <p:spPr>
            <a:xfrm>
              <a:off x="5786395" y="5137296"/>
              <a:ext cx="105828" cy="61682"/>
            </a:xfrm>
            <a:custGeom>
              <a:avLst/>
              <a:gdLst>
                <a:gd name="connsiteX0" fmla="*/ 1141 w 34767"/>
                <a:gd name="connsiteY0" fmla="*/ 12196 h 20264"/>
                <a:gd name="connsiteX1" fmla="*/ 13333 w 34767"/>
                <a:gd name="connsiteY1" fmla="*/ 19244 h 20264"/>
                <a:gd name="connsiteX2" fmla="*/ 20763 w 34767"/>
                <a:gd name="connsiteY2" fmla="*/ 19244 h 20264"/>
                <a:gd name="connsiteX3" fmla="*/ 32859 w 34767"/>
                <a:gd name="connsiteY3" fmla="*/ 12196 h 20264"/>
                <a:gd name="connsiteX4" fmla="*/ 32859 w 34767"/>
                <a:gd name="connsiteY4" fmla="*/ 7910 h 20264"/>
                <a:gd name="connsiteX5" fmla="*/ 20953 w 34767"/>
                <a:gd name="connsiteY5" fmla="*/ 766 h 20264"/>
                <a:gd name="connsiteX6" fmla="*/ 13523 w 34767"/>
                <a:gd name="connsiteY6" fmla="*/ 766 h 20264"/>
                <a:gd name="connsiteX7" fmla="*/ 1331 w 34767"/>
                <a:gd name="connsiteY7" fmla="*/ 7719 h 20264"/>
                <a:gd name="connsiteX8" fmla="*/ 1141 w 34767"/>
                <a:gd name="connsiteY8" fmla="*/ 12196 h 20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7" h="20264">
                  <a:moveTo>
                    <a:pt x="1141" y="12196"/>
                  </a:moveTo>
                  <a:lnTo>
                    <a:pt x="13333" y="19244"/>
                  </a:lnTo>
                  <a:cubicBezTo>
                    <a:pt x="15676" y="20387"/>
                    <a:pt x="18419" y="20387"/>
                    <a:pt x="20763" y="19244"/>
                  </a:cubicBezTo>
                  <a:lnTo>
                    <a:pt x="32859" y="12196"/>
                  </a:lnTo>
                  <a:cubicBezTo>
                    <a:pt x="34955" y="11053"/>
                    <a:pt x="34955" y="9148"/>
                    <a:pt x="32859" y="7910"/>
                  </a:cubicBezTo>
                  <a:lnTo>
                    <a:pt x="20953" y="766"/>
                  </a:lnTo>
                  <a:cubicBezTo>
                    <a:pt x="18629" y="-472"/>
                    <a:pt x="15847" y="-472"/>
                    <a:pt x="13523" y="766"/>
                  </a:cubicBezTo>
                  <a:lnTo>
                    <a:pt x="1331" y="7719"/>
                  </a:lnTo>
                  <a:cubicBezTo>
                    <a:pt x="-859" y="8958"/>
                    <a:pt x="-859" y="10862"/>
                    <a:pt x="1141" y="12196"/>
                  </a:cubicBezTo>
                  <a:close/>
                </a:path>
              </a:pathLst>
            </a:custGeom>
            <a:solidFill>
              <a:srgbClr val="D1D9E8"/>
            </a:solidFill>
            <a:ln w="9525" cap="flat">
              <a:noFill/>
              <a:prstDash val="solid"/>
              <a:miter/>
            </a:ln>
          </p:spPr>
          <p:txBody>
            <a:bodyPr rtlCol="0" anchor="ctr"/>
            <a:lstStyle/>
            <a:p>
              <a:endParaRPr lang="zh-CN" altLang="en-US"/>
            </a:p>
          </p:txBody>
        </p:sp>
        <p:sp>
          <p:nvSpPr>
            <p:cNvPr id="707" name="ïṡľîḋé">
              <a:extLst>
                <a:ext uri="{FF2B5EF4-FFF2-40B4-BE49-F238E27FC236}">
                  <a16:creationId xmlns:a16="http://schemas.microsoft.com/office/drawing/2014/main" id="{7CC78594-D98B-42FD-844E-239DC8C7754A}"/>
                </a:ext>
              </a:extLst>
            </p:cNvPr>
            <p:cNvSpPr/>
            <p:nvPr/>
          </p:nvSpPr>
          <p:spPr>
            <a:xfrm>
              <a:off x="5784224" y="5167957"/>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4 w 36099"/>
                <a:gd name="connsiteY6" fmla="*/ 6981 h 17597"/>
                <a:gd name="connsiteX7" fmla="*/ 35764 w 36099"/>
                <a:gd name="connsiteY7" fmla="*/ -163 h 17597"/>
                <a:gd name="connsiteX8" fmla="*/ 34144 w 36099"/>
                <a:gd name="connsiteY8" fmla="*/ 2123 h 17597"/>
                <a:gd name="connsiteX9" fmla="*/ 31858 w 36099"/>
                <a:gd name="connsiteY9" fmla="*/ 3457 h 17597"/>
                <a:gd name="connsiteX10" fmla="*/ 21571 w 36099"/>
                <a:gd name="connsiteY10" fmla="*/ 9362 h 17597"/>
                <a:gd name="connsiteX11" fmla="*/ 13856 w 36099"/>
                <a:gd name="connsiteY11" fmla="*/ 9362 h 17597"/>
                <a:gd name="connsiteX12" fmla="*/ 3569 w 36099"/>
                <a:gd name="connsiteY12" fmla="*/ 3457 h 17597"/>
                <a:gd name="connsiteX13" fmla="*/ 1283 w 36099"/>
                <a:gd name="connsiteY13" fmla="*/ 2123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03" y="8029"/>
                    <a:pt x="407" y="8857"/>
                    <a:pt x="1283" y="9267"/>
                  </a:cubicBezTo>
                  <a:lnTo>
                    <a:pt x="13856" y="16506"/>
                  </a:lnTo>
                  <a:cubicBezTo>
                    <a:pt x="16275" y="17744"/>
                    <a:pt x="19152" y="17744"/>
                    <a:pt x="21571" y="16506"/>
                  </a:cubicBezTo>
                  <a:lnTo>
                    <a:pt x="34144" y="9267"/>
                  </a:lnTo>
                  <a:cubicBezTo>
                    <a:pt x="35059" y="8857"/>
                    <a:pt x="35678" y="7981"/>
                    <a:pt x="35764" y="6981"/>
                  </a:cubicBezTo>
                  <a:lnTo>
                    <a:pt x="35764" y="-163"/>
                  </a:lnTo>
                  <a:cubicBezTo>
                    <a:pt x="35697" y="847"/>
                    <a:pt x="35077" y="1733"/>
                    <a:pt x="34144" y="2123"/>
                  </a:cubicBezTo>
                  <a:lnTo>
                    <a:pt x="31858" y="3457"/>
                  </a:lnTo>
                  <a:lnTo>
                    <a:pt x="21571" y="9362"/>
                  </a:lnTo>
                  <a:cubicBezTo>
                    <a:pt x="19152" y="10601"/>
                    <a:pt x="16275" y="10601"/>
                    <a:pt x="13856" y="9362"/>
                  </a:cubicBezTo>
                  <a:lnTo>
                    <a:pt x="3569" y="3457"/>
                  </a:lnTo>
                  <a:lnTo>
                    <a:pt x="1283" y="2123"/>
                  </a:lnTo>
                  <a:cubicBezTo>
                    <a:pt x="378" y="1695"/>
                    <a:pt x="-232"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08" name="íṩ1íḍê">
              <a:extLst>
                <a:ext uri="{FF2B5EF4-FFF2-40B4-BE49-F238E27FC236}">
                  <a16:creationId xmlns:a16="http://schemas.microsoft.com/office/drawing/2014/main" id="{32DBC4E1-F499-4602-A8C0-21D91E071DC1}"/>
                </a:ext>
              </a:extLst>
            </p:cNvPr>
            <p:cNvSpPr/>
            <p:nvPr/>
          </p:nvSpPr>
          <p:spPr>
            <a:xfrm>
              <a:off x="5861634" y="5180787"/>
              <a:ext cx="109362" cy="63588"/>
            </a:xfrm>
            <a:custGeom>
              <a:avLst/>
              <a:gdLst>
                <a:gd name="connsiteX0" fmla="*/ -336 w 35928"/>
                <a:gd name="connsiteY0" fmla="*/ 10291 h 20890"/>
                <a:gd name="connsiteX1" fmla="*/ 1188 w 35928"/>
                <a:gd name="connsiteY1" fmla="*/ 12482 h 20890"/>
                <a:gd name="connsiteX2" fmla="*/ 3569 w 35928"/>
                <a:gd name="connsiteY2" fmla="*/ 13910 h 20890"/>
                <a:gd name="connsiteX3" fmla="*/ 13856 w 35928"/>
                <a:gd name="connsiteY3" fmla="*/ 19721 h 20890"/>
                <a:gd name="connsiteX4" fmla="*/ 21476 w 35928"/>
                <a:gd name="connsiteY4" fmla="*/ 19721 h 20890"/>
                <a:gd name="connsiteX5" fmla="*/ 31763 w 35928"/>
                <a:gd name="connsiteY5" fmla="*/ 13910 h 20890"/>
                <a:gd name="connsiteX6" fmla="*/ 34144 w 35928"/>
                <a:gd name="connsiteY6" fmla="*/ 12482 h 20890"/>
                <a:gd name="connsiteX7" fmla="*/ 35402 w 35928"/>
                <a:gd name="connsiteY7" fmla="*/ 9358 h 20890"/>
                <a:gd name="connsiteX8" fmla="*/ 34144 w 35928"/>
                <a:gd name="connsiteY8" fmla="*/ 8100 h 20890"/>
                <a:gd name="connsiteX9" fmla="*/ 21476 w 35928"/>
                <a:gd name="connsiteY9" fmla="*/ 766 h 20890"/>
                <a:gd name="connsiteX10" fmla="*/ 13856 w 35928"/>
                <a:gd name="connsiteY10" fmla="*/ 766 h 20890"/>
                <a:gd name="connsiteX11" fmla="*/ 1188 w 35928"/>
                <a:gd name="connsiteY11" fmla="*/ 8100 h 20890"/>
                <a:gd name="connsiteX12" fmla="*/ -336 w 35928"/>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928" h="20890">
                  <a:moveTo>
                    <a:pt x="-336" y="10291"/>
                  </a:moveTo>
                  <a:cubicBezTo>
                    <a:pt x="-298" y="11253"/>
                    <a:pt x="292" y="12110"/>
                    <a:pt x="1188" y="12482"/>
                  </a:cubicBezTo>
                  <a:lnTo>
                    <a:pt x="3569" y="13910"/>
                  </a:lnTo>
                  <a:lnTo>
                    <a:pt x="13856" y="19721"/>
                  </a:lnTo>
                  <a:cubicBezTo>
                    <a:pt x="16218" y="21064"/>
                    <a:pt x="19114" y="21064"/>
                    <a:pt x="21476" y="19721"/>
                  </a:cubicBezTo>
                  <a:lnTo>
                    <a:pt x="31763" y="13910"/>
                  </a:lnTo>
                  <a:lnTo>
                    <a:pt x="34144" y="12482"/>
                  </a:lnTo>
                  <a:cubicBezTo>
                    <a:pt x="35354" y="11968"/>
                    <a:pt x="35916" y="10567"/>
                    <a:pt x="35402" y="9358"/>
                  </a:cubicBezTo>
                  <a:cubicBezTo>
                    <a:pt x="35164" y="8796"/>
                    <a:pt x="34706" y="8338"/>
                    <a:pt x="34144" y="8100"/>
                  </a:cubicBezTo>
                  <a:lnTo>
                    <a:pt x="21476" y="766"/>
                  </a:lnTo>
                  <a:cubicBezTo>
                    <a:pt x="19085" y="-472"/>
                    <a:pt x="16247" y="-472"/>
                    <a:pt x="13856" y="766"/>
                  </a:cubicBezTo>
                  <a:lnTo>
                    <a:pt x="1188" y="8100"/>
                  </a:lnTo>
                  <a:cubicBezTo>
                    <a:pt x="292" y="8472"/>
                    <a:pt x="-298"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709" name="ïS1ïḍé">
              <a:extLst>
                <a:ext uri="{FF2B5EF4-FFF2-40B4-BE49-F238E27FC236}">
                  <a16:creationId xmlns:a16="http://schemas.microsoft.com/office/drawing/2014/main" id="{9D66241F-5565-4851-BC76-A89778898827}"/>
                </a:ext>
              </a:extLst>
            </p:cNvPr>
            <p:cNvSpPr/>
            <p:nvPr/>
          </p:nvSpPr>
          <p:spPr>
            <a:xfrm>
              <a:off x="5863519" y="5181944"/>
              <a:ext cx="105898" cy="61104"/>
            </a:xfrm>
            <a:custGeom>
              <a:avLst/>
              <a:gdLst>
                <a:gd name="connsiteX0" fmla="*/ 1235 w 34790"/>
                <a:gd name="connsiteY0" fmla="*/ 12006 h 20074"/>
                <a:gd name="connsiteX1" fmla="*/ 13332 w 34790"/>
                <a:gd name="connsiteY1" fmla="*/ 19054 h 20074"/>
                <a:gd name="connsiteX2" fmla="*/ 20762 w 34790"/>
                <a:gd name="connsiteY2" fmla="*/ 19054 h 20074"/>
                <a:gd name="connsiteX3" fmla="*/ 32954 w 34790"/>
                <a:gd name="connsiteY3" fmla="*/ 12006 h 20074"/>
                <a:gd name="connsiteX4" fmla="*/ 32954 w 34790"/>
                <a:gd name="connsiteY4" fmla="*/ 7719 h 20074"/>
                <a:gd name="connsiteX5" fmla="*/ 20762 w 34790"/>
                <a:gd name="connsiteY5" fmla="*/ 766 h 20074"/>
                <a:gd name="connsiteX6" fmla="*/ 13332 w 34790"/>
                <a:gd name="connsiteY6" fmla="*/ 766 h 20074"/>
                <a:gd name="connsiteX7" fmla="*/ 1235 w 34790"/>
                <a:gd name="connsiteY7" fmla="*/ 7719 h 20074"/>
                <a:gd name="connsiteX8" fmla="*/ 1235 w 34790"/>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4">
                  <a:moveTo>
                    <a:pt x="1235" y="12006"/>
                  </a:moveTo>
                  <a:lnTo>
                    <a:pt x="13332" y="19054"/>
                  </a:lnTo>
                  <a:cubicBezTo>
                    <a:pt x="15675" y="20197"/>
                    <a:pt x="18419" y="20197"/>
                    <a:pt x="20762" y="19054"/>
                  </a:cubicBezTo>
                  <a:lnTo>
                    <a:pt x="32954" y="12006"/>
                  </a:lnTo>
                  <a:cubicBezTo>
                    <a:pt x="34954" y="10863"/>
                    <a:pt x="34954" y="8958"/>
                    <a:pt x="32954" y="7719"/>
                  </a:cubicBezTo>
                  <a:lnTo>
                    <a:pt x="20762" y="766"/>
                  </a:lnTo>
                  <a:cubicBezTo>
                    <a:pt x="18437" y="-472"/>
                    <a:pt x="15656" y="-472"/>
                    <a:pt x="13332" y="766"/>
                  </a:cubicBezTo>
                  <a:lnTo>
                    <a:pt x="1235" y="7719"/>
                  </a:lnTo>
                  <a:cubicBezTo>
                    <a:pt x="-860" y="8958"/>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710" name="ïṡļîďê">
              <a:extLst>
                <a:ext uri="{FF2B5EF4-FFF2-40B4-BE49-F238E27FC236}">
                  <a16:creationId xmlns:a16="http://schemas.microsoft.com/office/drawing/2014/main" id="{0FAA26E7-5C15-4DD0-B9A3-032D8165BDF5}"/>
                </a:ext>
              </a:extLst>
            </p:cNvPr>
            <p:cNvSpPr/>
            <p:nvPr/>
          </p:nvSpPr>
          <p:spPr>
            <a:xfrm>
              <a:off x="5861634" y="5212606"/>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028 h 17597"/>
                <a:gd name="connsiteX9" fmla="*/ 31763 w 36004"/>
                <a:gd name="connsiteY9" fmla="*/ 3457 h 17597"/>
                <a:gd name="connsiteX10" fmla="*/ 21476 w 36004"/>
                <a:gd name="connsiteY10" fmla="*/ 9267 h 17597"/>
                <a:gd name="connsiteX11" fmla="*/ 13856 w 36004"/>
                <a:gd name="connsiteY11" fmla="*/ 9267 h 17597"/>
                <a:gd name="connsiteX12" fmla="*/ 3569 w 36004"/>
                <a:gd name="connsiteY12" fmla="*/ 3457 h 17597"/>
                <a:gd name="connsiteX13" fmla="*/ 1188 w 36004"/>
                <a:gd name="connsiteY13" fmla="*/ 2028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20"/>
                    <a:pt x="35583" y="7953"/>
                    <a:pt x="35668" y="6981"/>
                  </a:cubicBezTo>
                  <a:lnTo>
                    <a:pt x="35668" y="-163"/>
                  </a:lnTo>
                  <a:cubicBezTo>
                    <a:pt x="35630" y="800"/>
                    <a:pt x="35040" y="1657"/>
                    <a:pt x="34144" y="2028"/>
                  </a:cubicBezTo>
                  <a:lnTo>
                    <a:pt x="31763" y="3457"/>
                  </a:lnTo>
                  <a:lnTo>
                    <a:pt x="21476" y="9267"/>
                  </a:lnTo>
                  <a:cubicBezTo>
                    <a:pt x="19114" y="10610"/>
                    <a:pt x="16218" y="10610"/>
                    <a:pt x="13856" y="9267"/>
                  </a:cubicBezTo>
                  <a:lnTo>
                    <a:pt x="3569" y="3457"/>
                  </a:lnTo>
                  <a:lnTo>
                    <a:pt x="1188" y="2028"/>
                  </a:lnTo>
                  <a:cubicBezTo>
                    <a:pt x="292" y="1657"/>
                    <a:pt x="-298" y="800"/>
                    <a:pt x="-336" y="-163"/>
                  </a:cubicBezTo>
                  <a:close/>
                </a:path>
              </a:pathLst>
            </a:custGeom>
            <a:solidFill>
              <a:srgbClr val="BF4200"/>
            </a:solidFill>
            <a:ln w="9525" cap="flat">
              <a:noFill/>
              <a:prstDash val="solid"/>
              <a:miter/>
            </a:ln>
          </p:spPr>
          <p:txBody>
            <a:bodyPr rtlCol="0" anchor="ctr"/>
            <a:lstStyle/>
            <a:p>
              <a:endParaRPr lang="zh-CN" altLang="en-US"/>
            </a:p>
          </p:txBody>
        </p:sp>
        <p:sp>
          <p:nvSpPr>
            <p:cNvPr id="711" name="î$1ïḓé">
              <a:extLst>
                <a:ext uri="{FF2B5EF4-FFF2-40B4-BE49-F238E27FC236}">
                  <a16:creationId xmlns:a16="http://schemas.microsoft.com/office/drawing/2014/main" id="{36CC1510-06C2-4A52-91E8-9B6439EFC445}"/>
                </a:ext>
              </a:extLst>
            </p:cNvPr>
            <p:cNvSpPr/>
            <p:nvPr/>
          </p:nvSpPr>
          <p:spPr>
            <a:xfrm>
              <a:off x="5938177" y="5225436"/>
              <a:ext cx="109594" cy="63588"/>
            </a:xfrm>
            <a:custGeom>
              <a:avLst/>
              <a:gdLst>
                <a:gd name="connsiteX0" fmla="*/ -336 w 36004"/>
                <a:gd name="connsiteY0" fmla="*/ 10291 h 20890"/>
                <a:gd name="connsiteX1" fmla="*/ 1188 w 36004"/>
                <a:gd name="connsiteY1" fmla="*/ 12482 h 20890"/>
                <a:gd name="connsiteX2" fmla="*/ 3569 w 36004"/>
                <a:gd name="connsiteY2" fmla="*/ 13911 h 20890"/>
                <a:gd name="connsiteX3" fmla="*/ 13856 w 36004"/>
                <a:gd name="connsiteY3" fmla="*/ 19721 h 20890"/>
                <a:gd name="connsiteX4" fmla="*/ 21476 w 36004"/>
                <a:gd name="connsiteY4" fmla="*/ 19721 h 20890"/>
                <a:gd name="connsiteX5" fmla="*/ 31763 w 36004"/>
                <a:gd name="connsiteY5" fmla="*/ 13911 h 20890"/>
                <a:gd name="connsiteX6" fmla="*/ 34144 w 36004"/>
                <a:gd name="connsiteY6" fmla="*/ 12482 h 20890"/>
                <a:gd name="connsiteX7" fmla="*/ 35668 w 36004"/>
                <a:gd name="connsiteY7" fmla="*/ 10291 h 20890"/>
                <a:gd name="connsiteX8" fmla="*/ 34144 w 36004"/>
                <a:gd name="connsiteY8" fmla="*/ 8005 h 20890"/>
                <a:gd name="connsiteX9" fmla="*/ 21476 w 36004"/>
                <a:gd name="connsiteY9" fmla="*/ 766 h 20890"/>
                <a:gd name="connsiteX10" fmla="*/ 13856 w 36004"/>
                <a:gd name="connsiteY10" fmla="*/ 766 h 20890"/>
                <a:gd name="connsiteX11" fmla="*/ 1188 w 36004"/>
                <a:gd name="connsiteY11" fmla="*/ 8005 h 20890"/>
                <a:gd name="connsiteX12" fmla="*/ -336 w 36004"/>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291"/>
                  </a:moveTo>
                  <a:cubicBezTo>
                    <a:pt x="-279" y="11244"/>
                    <a:pt x="311" y="12091"/>
                    <a:pt x="1188" y="12482"/>
                  </a:cubicBezTo>
                  <a:lnTo>
                    <a:pt x="3569" y="13911"/>
                  </a:lnTo>
                  <a:lnTo>
                    <a:pt x="13856" y="19721"/>
                  </a:lnTo>
                  <a:cubicBezTo>
                    <a:pt x="16218" y="21064"/>
                    <a:pt x="19114" y="21064"/>
                    <a:pt x="21476" y="19721"/>
                  </a:cubicBezTo>
                  <a:lnTo>
                    <a:pt x="31763" y="13911"/>
                  </a:lnTo>
                  <a:lnTo>
                    <a:pt x="34144" y="12482"/>
                  </a:lnTo>
                  <a:cubicBezTo>
                    <a:pt x="35021" y="12091"/>
                    <a:pt x="35611" y="11253"/>
                    <a:pt x="35668" y="10291"/>
                  </a:cubicBezTo>
                  <a:cubicBezTo>
                    <a:pt x="35602" y="9310"/>
                    <a:pt x="35021" y="8443"/>
                    <a:pt x="34144" y="8005"/>
                  </a:cubicBezTo>
                  <a:lnTo>
                    <a:pt x="21476" y="766"/>
                  </a:lnTo>
                  <a:cubicBezTo>
                    <a:pt x="19085" y="-472"/>
                    <a:pt x="16247" y="-472"/>
                    <a:pt x="13856" y="766"/>
                  </a:cubicBezTo>
                  <a:lnTo>
                    <a:pt x="1188" y="8005"/>
                  </a:lnTo>
                  <a:cubicBezTo>
                    <a:pt x="311" y="8443"/>
                    <a:pt x="-270" y="9310"/>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712" name="íśļídè">
              <a:extLst>
                <a:ext uri="{FF2B5EF4-FFF2-40B4-BE49-F238E27FC236}">
                  <a16:creationId xmlns:a16="http://schemas.microsoft.com/office/drawing/2014/main" id="{E1AC06DC-F730-4EA8-B4CD-4F038A553FBD}"/>
                </a:ext>
              </a:extLst>
            </p:cNvPr>
            <p:cNvSpPr/>
            <p:nvPr/>
          </p:nvSpPr>
          <p:spPr>
            <a:xfrm>
              <a:off x="5939991" y="5226595"/>
              <a:ext cx="106766" cy="61101"/>
            </a:xfrm>
            <a:custGeom>
              <a:avLst/>
              <a:gdLst>
                <a:gd name="connsiteX0" fmla="*/ 1450 w 35075"/>
                <a:gd name="connsiteY0" fmla="*/ 12006 h 20073"/>
                <a:gd name="connsiteX1" fmla="*/ 13642 w 35075"/>
                <a:gd name="connsiteY1" fmla="*/ 19054 h 20073"/>
                <a:gd name="connsiteX2" fmla="*/ 21071 w 35075"/>
                <a:gd name="connsiteY2" fmla="*/ 19054 h 20073"/>
                <a:gd name="connsiteX3" fmla="*/ 33168 w 35075"/>
                <a:gd name="connsiteY3" fmla="*/ 12006 h 20073"/>
                <a:gd name="connsiteX4" fmla="*/ 33168 w 35075"/>
                <a:gd name="connsiteY4" fmla="*/ 7719 h 20073"/>
                <a:gd name="connsiteX5" fmla="*/ 21071 w 35075"/>
                <a:gd name="connsiteY5" fmla="*/ 766 h 20073"/>
                <a:gd name="connsiteX6" fmla="*/ 13642 w 35075"/>
                <a:gd name="connsiteY6" fmla="*/ 766 h 20073"/>
                <a:gd name="connsiteX7" fmla="*/ 1450 w 35075"/>
                <a:gd name="connsiteY7" fmla="*/ 7719 h 20073"/>
                <a:gd name="connsiteX8" fmla="*/ 1450 w 35075"/>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075" h="20073">
                  <a:moveTo>
                    <a:pt x="1450" y="12006"/>
                  </a:moveTo>
                  <a:lnTo>
                    <a:pt x="13642" y="19054"/>
                  </a:lnTo>
                  <a:cubicBezTo>
                    <a:pt x="15985" y="20197"/>
                    <a:pt x="18728" y="20197"/>
                    <a:pt x="21071" y="19054"/>
                  </a:cubicBezTo>
                  <a:lnTo>
                    <a:pt x="33168" y="12006"/>
                  </a:lnTo>
                  <a:cubicBezTo>
                    <a:pt x="35263" y="10863"/>
                    <a:pt x="35263" y="8957"/>
                    <a:pt x="33168" y="7719"/>
                  </a:cubicBezTo>
                  <a:lnTo>
                    <a:pt x="21071" y="766"/>
                  </a:lnTo>
                  <a:cubicBezTo>
                    <a:pt x="18747" y="-472"/>
                    <a:pt x="15966" y="-472"/>
                    <a:pt x="13642" y="766"/>
                  </a:cubicBezTo>
                  <a:lnTo>
                    <a:pt x="1450" y="7719"/>
                  </a:lnTo>
                  <a:cubicBezTo>
                    <a:pt x="-932" y="8957"/>
                    <a:pt x="-932" y="10863"/>
                    <a:pt x="1450" y="12006"/>
                  </a:cubicBezTo>
                  <a:close/>
                </a:path>
              </a:pathLst>
            </a:custGeom>
            <a:solidFill>
              <a:srgbClr val="D1D9E8"/>
            </a:solidFill>
            <a:ln w="9525" cap="flat">
              <a:noFill/>
              <a:prstDash val="solid"/>
              <a:miter/>
            </a:ln>
          </p:spPr>
          <p:txBody>
            <a:bodyPr rtlCol="0" anchor="ctr"/>
            <a:lstStyle/>
            <a:p>
              <a:endParaRPr lang="zh-CN" altLang="en-US"/>
            </a:p>
          </p:txBody>
        </p:sp>
        <p:sp>
          <p:nvSpPr>
            <p:cNvPr id="713" name="íṡļiḓe">
              <a:extLst>
                <a:ext uri="{FF2B5EF4-FFF2-40B4-BE49-F238E27FC236}">
                  <a16:creationId xmlns:a16="http://schemas.microsoft.com/office/drawing/2014/main" id="{ABCBD151-9D9E-46AB-9A37-DB31ACD09BDE}"/>
                </a:ext>
              </a:extLst>
            </p:cNvPr>
            <p:cNvSpPr/>
            <p:nvPr/>
          </p:nvSpPr>
          <p:spPr>
            <a:xfrm>
              <a:off x="5938177" y="5257257"/>
              <a:ext cx="109594" cy="53564"/>
            </a:xfrm>
            <a:custGeom>
              <a:avLst/>
              <a:gdLst>
                <a:gd name="connsiteX0" fmla="*/ -336 w 36004"/>
                <a:gd name="connsiteY0" fmla="*/ -163 h 17597"/>
                <a:gd name="connsiteX1" fmla="*/ -336 w 36004"/>
                <a:gd name="connsiteY1" fmla="*/ 6981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028 h 17597"/>
                <a:gd name="connsiteX9" fmla="*/ 31763 w 36004"/>
                <a:gd name="connsiteY9" fmla="*/ 3457 h 17597"/>
                <a:gd name="connsiteX10" fmla="*/ 21476 w 36004"/>
                <a:gd name="connsiteY10" fmla="*/ 9267 h 17597"/>
                <a:gd name="connsiteX11" fmla="*/ 13856 w 36004"/>
                <a:gd name="connsiteY11" fmla="*/ 9267 h 17597"/>
                <a:gd name="connsiteX12" fmla="*/ 3569 w 36004"/>
                <a:gd name="connsiteY12" fmla="*/ 3457 h 17597"/>
                <a:gd name="connsiteX13" fmla="*/ 1188 w 36004"/>
                <a:gd name="connsiteY13" fmla="*/ 2028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6981"/>
                  </a:lnTo>
                  <a:cubicBezTo>
                    <a:pt x="-270" y="7962"/>
                    <a:pt x="311" y="8829"/>
                    <a:pt x="1188" y="9267"/>
                  </a:cubicBezTo>
                  <a:lnTo>
                    <a:pt x="13856" y="16506"/>
                  </a:lnTo>
                  <a:cubicBezTo>
                    <a:pt x="16247" y="17744"/>
                    <a:pt x="19085" y="17744"/>
                    <a:pt x="21476" y="16506"/>
                  </a:cubicBezTo>
                  <a:lnTo>
                    <a:pt x="34144" y="9267"/>
                  </a:lnTo>
                  <a:cubicBezTo>
                    <a:pt x="35011" y="8819"/>
                    <a:pt x="35582" y="7953"/>
                    <a:pt x="35668" y="6981"/>
                  </a:cubicBezTo>
                  <a:lnTo>
                    <a:pt x="35668" y="-163"/>
                  </a:lnTo>
                  <a:cubicBezTo>
                    <a:pt x="35611" y="790"/>
                    <a:pt x="35021" y="1638"/>
                    <a:pt x="34144" y="2028"/>
                  </a:cubicBezTo>
                  <a:lnTo>
                    <a:pt x="31763" y="3457"/>
                  </a:lnTo>
                  <a:lnTo>
                    <a:pt x="21476" y="9267"/>
                  </a:lnTo>
                  <a:cubicBezTo>
                    <a:pt x="19114" y="10610"/>
                    <a:pt x="16218" y="10610"/>
                    <a:pt x="13856" y="9267"/>
                  </a:cubicBezTo>
                  <a:lnTo>
                    <a:pt x="3569" y="3457"/>
                  </a:lnTo>
                  <a:lnTo>
                    <a:pt x="1188" y="2028"/>
                  </a:lnTo>
                  <a:cubicBezTo>
                    <a:pt x="311" y="1638"/>
                    <a:pt x="-279" y="800"/>
                    <a:pt x="-336" y="-163"/>
                  </a:cubicBezTo>
                  <a:close/>
                </a:path>
              </a:pathLst>
            </a:custGeom>
            <a:solidFill>
              <a:srgbClr val="BF4200"/>
            </a:solidFill>
            <a:ln w="9525" cap="flat">
              <a:noFill/>
              <a:prstDash val="solid"/>
              <a:miter/>
            </a:ln>
          </p:spPr>
          <p:txBody>
            <a:bodyPr rtlCol="0" anchor="ctr"/>
            <a:lstStyle/>
            <a:p>
              <a:endParaRPr lang="zh-CN" altLang="en-US"/>
            </a:p>
          </p:txBody>
        </p:sp>
        <p:sp>
          <p:nvSpPr>
            <p:cNvPr id="714" name="ïṥ1iḓè">
              <a:extLst>
                <a:ext uri="{FF2B5EF4-FFF2-40B4-BE49-F238E27FC236}">
                  <a16:creationId xmlns:a16="http://schemas.microsoft.com/office/drawing/2014/main" id="{88DA513E-BD49-44D4-AAD5-CD6C1BA9C2EC}"/>
                </a:ext>
              </a:extLst>
            </p:cNvPr>
            <p:cNvSpPr/>
            <p:nvPr/>
          </p:nvSpPr>
          <p:spPr>
            <a:xfrm>
              <a:off x="6016172" y="5270087"/>
              <a:ext cx="109594" cy="63588"/>
            </a:xfrm>
            <a:custGeom>
              <a:avLst/>
              <a:gdLst>
                <a:gd name="connsiteX0" fmla="*/ -336 w 36004"/>
                <a:gd name="connsiteY0" fmla="*/ 10196 h 20890"/>
                <a:gd name="connsiteX1" fmla="*/ 1283 w 36004"/>
                <a:gd name="connsiteY1" fmla="*/ 12482 h 20890"/>
                <a:gd name="connsiteX2" fmla="*/ 3569 w 36004"/>
                <a:gd name="connsiteY2" fmla="*/ 13815 h 20890"/>
                <a:gd name="connsiteX3" fmla="*/ 13856 w 36004"/>
                <a:gd name="connsiteY3" fmla="*/ 19721 h 20890"/>
                <a:gd name="connsiteX4" fmla="*/ 21571 w 36004"/>
                <a:gd name="connsiteY4" fmla="*/ 19721 h 20890"/>
                <a:gd name="connsiteX5" fmla="*/ 31858 w 36004"/>
                <a:gd name="connsiteY5" fmla="*/ 13815 h 20890"/>
                <a:gd name="connsiteX6" fmla="*/ 34144 w 36004"/>
                <a:gd name="connsiteY6" fmla="*/ 12482 h 20890"/>
                <a:gd name="connsiteX7" fmla="*/ 35668 w 36004"/>
                <a:gd name="connsiteY7" fmla="*/ 10196 h 20890"/>
                <a:gd name="connsiteX8" fmla="*/ 34144 w 36004"/>
                <a:gd name="connsiteY8" fmla="*/ 8005 h 20890"/>
                <a:gd name="connsiteX9" fmla="*/ 21571 w 36004"/>
                <a:gd name="connsiteY9" fmla="*/ 766 h 20890"/>
                <a:gd name="connsiteX10" fmla="*/ 13856 w 36004"/>
                <a:gd name="connsiteY10" fmla="*/ 766 h 20890"/>
                <a:gd name="connsiteX11" fmla="*/ 1283 w 36004"/>
                <a:gd name="connsiteY11" fmla="*/ 8005 h 20890"/>
                <a:gd name="connsiteX12" fmla="*/ -336 w 36004"/>
                <a:gd name="connsiteY12" fmla="*/ 10196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196"/>
                  </a:moveTo>
                  <a:cubicBezTo>
                    <a:pt x="-298" y="11215"/>
                    <a:pt x="340" y="12110"/>
                    <a:pt x="1283" y="12482"/>
                  </a:cubicBezTo>
                  <a:lnTo>
                    <a:pt x="3569" y="13815"/>
                  </a:lnTo>
                  <a:lnTo>
                    <a:pt x="13856" y="19721"/>
                  </a:lnTo>
                  <a:cubicBezTo>
                    <a:pt x="16256" y="21064"/>
                    <a:pt x="19171" y="21064"/>
                    <a:pt x="21571" y="19721"/>
                  </a:cubicBezTo>
                  <a:lnTo>
                    <a:pt x="31858" y="13815"/>
                  </a:lnTo>
                  <a:lnTo>
                    <a:pt x="34144" y="12482"/>
                  </a:lnTo>
                  <a:cubicBezTo>
                    <a:pt x="35049" y="12082"/>
                    <a:pt x="35640" y="11186"/>
                    <a:pt x="35668" y="10196"/>
                  </a:cubicBezTo>
                  <a:cubicBezTo>
                    <a:pt x="35573" y="9253"/>
                    <a:pt x="34992" y="8424"/>
                    <a:pt x="34144" y="8005"/>
                  </a:cubicBezTo>
                  <a:lnTo>
                    <a:pt x="21571" y="766"/>
                  </a:lnTo>
                  <a:cubicBezTo>
                    <a:pt x="19152" y="-472"/>
                    <a:pt x="16275" y="-472"/>
                    <a:pt x="13856" y="766"/>
                  </a:cubicBezTo>
                  <a:lnTo>
                    <a:pt x="1283" y="8005"/>
                  </a:lnTo>
                  <a:cubicBezTo>
                    <a:pt x="378" y="8386"/>
                    <a:pt x="-241" y="9224"/>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715" name="ïṣľîḋe">
              <a:extLst>
                <a:ext uri="{FF2B5EF4-FFF2-40B4-BE49-F238E27FC236}">
                  <a16:creationId xmlns:a16="http://schemas.microsoft.com/office/drawing/2014/main" id="{FDB4F631-4094-441E-8CCA-6713AA610FCE}"/>
                </a:ext>
              </a:extLst>
            </p:cNvPr>
            <p:cNvSpPr/>
            <p:nvPr/>
          </p:nvSpPr>
          <p:spPr>
            <a:xfrm>
              <a:off x="6018302" y="5271247"/>
              <a:ext cx="105618" cy="61101"/>
            </a:xfrm>
            <a:custGeom>
              <a:avLst/>
              <a:gdLst>
                <a:gd name="connsiteX0" fmla="*/ 1154 w 34698"/>
                <a:gd name="connsiteY0" fmla="*/ 12006 h 20073"/>
                <a:gd name="connsiteX1" fmla="*/ 13251 w 34698"/>
                <a:gd name="connsiteY1" fmla="*/ 19054 h 20073"/>
                <a:gd name="connsiteX2" fmla="*/ 20680 w 34698"/>
                <a:gd name="connsiteY2" fmla="*/ 19054 h 20073"/>
                <a:gd name="connsiteX3" fmla="*/ 32872 w 34698"/>
                <a:gd name="connsiteY3" fmla="*/ 12006 h 20073"/>
                <a:gd name="connsiteX4" fmla="*/ 34215 w 34698"/>
                <a:gd name="connsiteY4" fmla="*/ 9072 h 20073"/>
                <a:gd name="connsiteX5" fmla="*/ 32872 w 34698"/>
                <a:gd name="connsiteY5" fmla="*/ 7719 h 20073"/>
                <a:gd name="connsiteX6" fmla="*/ 20680 w 34698"/>
                <a:gd name="connsiteY6" fmla="*/ 766 h 20073"/>
                <a:gd name="connsiteX7" fmla="*/ 13251 w 34698"/>
                <a:gd name="connsiteY7" fmla="*/ 766 h 20073"/>
                <a:gd name="connsiteX8" fmla="*/ 1154 w 34698"/>
                <a:gd name="connsiteY8" fmla="*/ 7719 h 20073"/>
                <a:gd name="connsiteX9" fmla="*/ -189 w 34698"/>
                <a:gd name="connsiteY9" fmla="*/ 10653 h 20073"/>
                <a:gd name="connsiteX10" fmla="*/ 1154 w 34698"/>
                <a:gd name="connsiteY10"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698" h="20073">
                  <a:moveTo>
                    <a:pt x="1154" y="12006"/>
                  </a:moveTo>
                  <a:lnTo>
                    <a:pt x="13251" y="19054"/>
                  </a:lnTo>
                  <a:cubicBezTo>
                    <a:pt x="15594" y="20197"/>
                    <a:pt x="18337" y="20197"/>
                    <a:pt x="20680" y="19054"/>
                  </a:cubicBezTo>
                  <a:lnTo>
                    <a:pt x="32872" y="12006"/>
                  </a:lnTo>
                  <a:cubicBezTo>
                    <a:pt x="34053" y="11567"/>
                    <a:pt x="34663" y="10253"/>
                    <a:pt x="34215" y="9072"/>
                  </a:cubicBezTo>
                  <a:cubicBezTo>
                    <a:pt x="33987" y="8443"/>
                    <a:pt x="33491" y="7948"/>
                    <a:pt x="32872" y="7719"/>
                  </a:cubicBezTo>
                  <a:lnTo>
                    <a:pt x="20680" y="766"/>
                  </a:lnTo>
                  <a:cubicBezTo>
                    <a:pt x="18356" y="-472"/>
                    <a:pt x="15575" y="-472"/>
                    <a:pt x="13251" y="766"/>
                  </a:cubicBezTo>
                  <a:lnTo>
                    <a:pt x="1154" y="7719"/>
                  </a:lnTo>
                  <a:cubicBezTo>
                    <a:pt x="-27" y="8158"/>
                    <a:pt x="-637" y="9472"/>
                    <a:pt x="-189" y="10653"/>
                  </a:cubicBezTo>
                  <a:cubicBezTo>
                    <a:pt x="40" y="11281"/>
                    <a:pt x="535" y="11777"/>
                    <a:pt x="1154" y="12006"/>
                  </a:cubicBezTo>
                  <a:close/>
                </a:path>
              </a:pathLst>
            </a:custGeom>
            <a:solidFill>
              <a:srgbClr val="D1D9E8"/>
            </a:solidFill>
            <a:ln w="9525" cap="flat">
              <a:noFill/>
              <a:prstDash val="solid"/>
              <a:miter/>
            </a:ln>
          </p:spPr>
          <p:txBody>
            <a:bodyPr rtlCol="0" anchor="ctr"/>
            <a:lstStyle/>
            <a:p>
              <a:endParaRPr lang="zh-CN" altLang="en-US"/>
            </a:p>
          </p:txBody>
        </p:sp>
        <p:sp>
          <p:nvSpPr>
            <p:cNvPr id="716" name="ïṡľíďe">
              <a:extLst>
                <a:ext uri="{FF2B5EF4-FFF2-40B4-BE49-F238E27FC236}">
                  <a16:creationId xmlns:a16="http://schemas.microsoft.com/office/drawing/2014/main" id="{9BAFDF80-C007-4444-8CA6-988D5E1FE504}"/>
                </a:ext>
              </a:extLst>
            </p:cNvPr>
            <p:cNvSpPr/>
            <p:nvPr/>
          </p:nvSpPr>
          <p:spPr>
            <a:xfrm>
              <a:off x="6016172" y="5301616"/>
              <a:ext cx="109594" cy="53801"/>
            </a:xfrm>
            <a:custGeom>
              <a:avLst/>
              <a:gdLst>
                <a:gd name="connsiteX0" fmla="*/ -336 w 36004"/>
                <a:gd name="connsiteY0" fmla="*/ -163 h 17675"/>
                <a:gd name="connsiteX1" fmla="*/ -336 w 36004"/>
                <a:gd name="connsiteY1" fmla="*/ 7076 h 17675"/>
                <a:gd name="connsiteX2" fmla="*/ 1283 w 36004"/>
                <a:gd name="connsiteY2" fmla="*/ 9267 h 17675"/>
                <a:gd name="connsiteX3" fmla="*/ 13856 w 36004"/>
                <a:gd name="connsiteY3" fmla="*/ 16506 h 17675"/>
                <a:gd name="connsiteX4" fmla="*/ 21571 w 36004"/>
                <a:gd name="connsiteY4" fmla="*/ 16506 h 17675"/>
                <a:gd name="connsiteX5" fmla="*/ 34144 w 36004"/>
                <a:gd name="connsiteY5" fmla="*/ 9267 h 17675"/>
                <a:gd name="connsiteX6" fmla="*/ 35668 w 36004"/>
                <a:gd name="connsiteY6" fmla="*/ 7076 h 17675"/>
                <a:gd name="connsiteX7" fmla="*/ 35668 w 36004"/>
                <a:gd name="connsiteY7" fmla="*/ -163 h 17675"/>
                <a:gd name="connsiteX8" fmla="*/ 34144 w 36004"/>
                <a:gd name="connsiteY8" fmla="*/ 2123 h 17675"/>
                <a:gd name="connsiteX9" fmla="*/ 31858 w 36004"/>
                <a:gd name="connsiteY9" fmla="*/ 3457 h 17675"/>
                <a:gd name="connsiteX10" fmla="*/ 21571 w 36004"/>
                <a:gd name="connsiteY10" fmla="*/ 9362 h 17675"/>
                <a:gd name="connsiteX11" fmla="*/ 13856 w 36004"/>
                <a:gd name="connsiteY11" fmla="*/ 9362 h 17675"/>
                <a:gd name="connsiteX12" fmla="*/ 3569 w 36004"/>
                <a:gd name="connsiteY12" fmla="*/ 3457 h 17675"/>
                <a:gd name="connsiteX13" fmla="*/ 1283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79" y="8067"/>
                    <a:pt x="349" y="8924"/>
                    <a:pt x="1283" y="9267"/>
                  </a:cubicBezTo>
                  <a:lnTo>
                    <a:pt x="13856" y="16506"/>
                  </a:lnTo>
                  <a:cubicBezTo>
                    <a:pt x="16256" y="17849"/>
                    <a:pt x="19171" y="17849"/>
                    <a:pt x="21571" y="16506"/>
                  </a:cubicBezTo>
                  <a:lnTo>
                    <a:pt x="34144" y="9267"/>
                  </a:lnTo>
                  <a:cubicBezTo>
                    <a:pt x="35021" y="8877"/>
                    <a:pt x="35611" y="8029"/>
                    <a:pt x="35668" y="7076"/>
                  </a:cubicBezTo>
                  <a:lnTo>
                    <a:pt x="35668" y="-163"/>
                  </a:lnTo>
                  <a:cubicBezTo>
                    <a:pt x="35640" y="828"/>
                    <a:pt x="35049" y="1723"/>
                    <a:pt x="34144" y="2123"/>
                  </a:cubicBezTo>
                  <a:lnTo>
                    <a:pt x="31858" y="3457"/>
                  </a:lnTo>
                  <a:lnTo>
                    <a:pt x="21571" y="9362"/>
                  </a:lnTo>
                  <a:cubicBezTo>
                    <a:pt x="19171" y="10705"/>
                    <a:pt x="16256" y="10705"/>
                    <a:pt x="13856" y="9362"/>
                  </a:cubicBezTo>
                  <a:lnTo>
                    <a:pt x="3569" y="3457"/>
                  </a:lnTo>
                  <a:lnTo>
                    <a:pt x="1283" y="2123"/>
                  </a:lnTo>
                  <a:cubicBezTo>
                    <a:pt x="340" y="1752"/>
                    <a:pt x="-298" y="856"/>
                    <a:pt x="-336" y="-163"/>
                  </a:cubicBezTo>
                  <a:close/>
                </a:path>
              </a:pathLst>
            </a:custGeom>
            <a:solidFill>
              <a:srgbClr val="BF4200"/>
            </a:solidFill>
            <a:ln w="9525" cap="flat">
              <a:noFill/>
              <a:prstDash val="solid"/>
              <a:miter/>
            </a:ln>
          </p:spPr>
          <p:txBody>
            <a:bodyPr rtlCol="0" anchor="ctr"/>
            <a:lstStyle/>
            <a:p>
              <a:endParaRPr lang="zh-CN" altLang="en-US"/>
            </a:p>
          </p:txBody>
        </p:sp>
        <p:sp>
          <p:nvSpPr>
            <p:cNvPr id="717" name="îṩḷíďe">
              <a:extLst>
                <a:ext uri="{FF2B5EF4-FFF2-40B4-BE49-F238E27FC236}">
                  <a16:creationId xmlns:a16="http://schemas.microsoft.com/office/drawing/2014/main" id="{A16F4784-E2F8-4468-BD19-2E135638C365}"/>
                </a:ext>
              </a:extLst>
            </p:cNvPr>
            <p:cNvSpPr/>
            <p:nvPr/>
          </p:nvSpPr>
          <p:spPr>
            <a:xfrm>
              <a:off x="6093582" y="5314735"/>
              <a:ext cx="109740" cy="63588"/>
            </a:xfrm>
            <a:custGeom>
              <a:avLst/>
              <a:gdLst>
                <a:gd name="connsiteX0" fmla="*/ -336 w 36052"/>
                <a:gd name="connsiteY0" fmla="*/ 10196 h 20890"/>
                <a:gd name="connsiteX1" fmla="*/ 1188 w 36052"/>
                <a:gd name="connsiteY1" fmla="*/ 12482 h 20890"/>
                <a:gd name="connsiteX2" fmla="*/ 3569 w 36052"/>
                <a:gd name="connsiteY2" fmla="*/ 13815 h 20890"/>
                <a:gd name="connsiteX3" fmla="*/ 13856 w 36052"/>
                <a:gd name="connsiteY3" fmla="*/ 19721 h 20890"/>
                <a:gd name="connsiteX4" fmla="*/ 21476 w 36052"/>
                <a:gd name="connsiteY4" fmla="*/ 19721 h 20890"/>
                <a:gd name="connsiteX5" fmla="*/ 31763 w 36052"/>
                <a:gd name="connsiteY5" fmla="*/ 13815 h 20890"/>
                <a:gd name="connsiteX6" fmla="*/ 34144 w 36052"/>
                <a:gd name="connsiteY6" fmla="*/ 12482 h 20890"/>
                <a:gd name="connsiteX7" fmla="*/ 35573 w 36052"/>
                <a:gd name="connsiteY7" fmla="*/ 9434 h 20890"/>
                <a:gd name="connsiteX8" fmla="*/ 34144 w 36052"/>
                <a:gd name="connsiteY8" fmla="*/ 8005 h 20890"/>
                <a:gd name="connsiteX9" fmla="*/ 21476 w 36052"/>
                <a:gd name="connsiteY9" fmla="*/ 766 h 20890"/>
                <a:gd name="connsiteX10" fmla="*/ 13856 w 36052"/>
                <a:gd name="connsiteY10" fmla="*/ 766 h 20890"/>
                <a:gd name="connsiteX11" fmla="*/ 1188 w 36052"/>
                <a:gd name="connsiteY11" fmla="*/ 8005 h 20890"/>
                <a:gd name="connsiteX12" fmla="*/ -336 w 36052"/>
                <a:gd name="connsiteY12" fmla="*/ 10196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90">
                  <a:moveTo>
                    <a:pt x="-336" y="10196"/>
                  </a:moveTo>
                  <a:cubicBezTo>
                    <a:pt x="-269" y="11177"/>
                    <a:pt x="312" y="12044"/>
                    <a:pt x="1188" y="12482"/>
                  </a:cubicBezTo>
                  <a:lnTo>
                    <a:pt x="3569" y="13815"/>
                  </a:lnTo>
                  <a:lnTo>
                    <a:pt x="13856" y="19721"/>
                  </a:lnTo>
                  <a:cubicBezTo>
                    <a:pt x="16218" y="21064"/>
                    <a:pt x="19114" y="21064"/>
                    <a:pt x="21476" y="19721"/>
                  </a:cubicBezTo>
                  <a:lnTo>
                    <a:pt x="31763" y="13815"/>
                  </a:lnTo>
                  <a:lnTo>
                    <a:pt x="34144" y="12482"/>
                  </a:lnTo>
                  <a:cubicBezTo>
                    <a:pt x="35382" y="12034"/>
                    <a:pt x="36021" y="10663"/>
                    <a:pt x="35573" y="9434"/>
                  </a:cubicBezTo>
                  <a:cubicBezTo>
                    <a:pt x="35325" y="8767"/>
                    <a:pt x="34811" y="8243"/>
                    <a:pt x="34144" y="8005"/>
                  </a:cubicBezTo>
                  <a:lnTo>
                    <a:pt x="21476" y="766"/>
                  </a:lnTo>
                  <a:cubicBezTo>
                    <a:pt x="19085" y="-472"/>
                    <a:pt x="16247" y="-472"/>
                    <a:pt x="13856" y="766"/>
                  </a:cubicBezTo>
                  <a:lnTo>
                    <a:pt x="1188" y="8005"/>
                  </a:lnTo>
                  <a:cubicBezTo>
                    <a:pt x="340" y="8424"/>
                    <a:pt x="-241" y="925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718" name="iṡḻïḍe">
              <a:extLst>
                <a:ext uri="{FF2B5EF4-FFF2-40B4-BE49-F238E27FC236}">
                  <a16:creationId xmlns:a16="http://schemas.microsoft.com/office/drawing/2014/main" id="{C4177F47-5A50-47EE-AD7D-DDCB2E3BE2F5}"/>
                </a:ext>
              </a:extLst>
            </p:cNvPr>
            <p:cNvSpPr/>
            <p:nvPr/>
          </p:nvSpPr>
          <p:spPr>
            <a:xfrm>
              <a:off x="6095426" y="5315822"/>
              <a:ext cx="105618" cy="61174"/>
            </a:xfrm>
            <a:custGeom>
              <a:avLst/>
              <a:gdLst>
                <a:gd name="connsiteX0" fmla="*/ 1154 w 34698"/>
                <a:gd name="connsiteY0" fmla="*/ 12030 h 20097"/>
                <a:gd name="connsiteX1" fmla="*/ 13346 w 34698"/>
                <a:gd name="connsiteY1" fmla="*/ 19078 h 20097"/>
                <a:gd name="connsiteX2" fmla="*/ 20776 w 34698"/>
                <a:gd name="connsiteY2" fmla="*/ 19078 h 20097"/>
                <a:gd name="connsiteX3" fmla="*/ 32872 w 34698"/>
                <a:gd name="connsiteY3" fmla="*/ 12030 h 20097"/>
                <a:gd name="connsiteX4" fmla="*/ 34215 w 34698"/>
                <a:gd name="connsiteY4" fmla="*/ 9096 h 20097"/>
                <a:gd name="connsiteX5" fmla="*/ 32872 w 34698"/>
                <a:gd name="connsiteY5" fmla="*/ 7743 h 20097"/>
                <a:gd name="connsiteX6" fmla="*/ 20776 w 34698"/>
                <a:gd name="connsiteY6" fmla="*/ 695 h 20097"/>
                <a:gd name="connsiteX7" fmla="*/ 13346 w 34698"/>
                <a:gd name="connsiteY7" fmla="*/ 695 h 20097"/>
                <a:gd name="connsiteX8" fmla="*/ 1154 w 34698"/>
                <a:gd name="connsiteY8" fmla="*/ 7743 h 20097"/>
                <a:gd name="connsiteX9" fmla="*/ -189 w 34698"/>
                <a:gd name="connsiteY9" fmla="*/ 10686 h 20097"/>
                <a:gd name="connsiteX10" fmla="*/ 1154 w 34698"/>
                <a:gd name="connsiteY10" fmla="*/ 12030 h 20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698" h="20097">
                  <a:moveTo>
                    <a:pt x="1154" y="12030"/>
                  </a:moveTo>
                  <a:lnTo>
                    <a:pt x="13346" y="19078"/>
                  </a:lnTo>
                  <a:cubicBezTo>
                    <a:pt x="15689" y="20221"/>
                    <a:pt x="18432" y="20221"/>
                    <a:pt x="20776" y="19078"/>
                  </a:cubicBezTo>
                  <a:lnTo>
                    <a:pt x="32872" y="12030"/>
                  </a:lnTo>
                  <a:cubicBezTo>
                    <a:pt x="34053" y="11591"/>
                    <a:pt x="34663" y="10277"/>
                    <a:pt x="34215" y="9096"/>
                  </a:cubicBezTo>
                  <a:cubicBezTo>
                    <a:pt x="33987" y="8467"/>
                    <a:pt x="33491" y="7972"/>
                    <a:pt x="32872" y="7743"/>
                  </a:cubicBezTo>
                  <a:lnTo>
                    <a:pt x="20776" y="695"/>
                  </a:lnTo>
                  <a:cubicBezTo>
                    <a:pt x="18432" y="-448"/>
                    <a:pt x="15689" y="-448"/>
                    <a:pt x="13346" y="695"/>
                  </a:cubicBezTo>
                  <a:lnTo>
                    <a:pt x="1154" y="7743"/>
                  </a:lnTo>
                  <a:cubicBezTo>
                    <a:pt x="-27" y="8181"/>
                    <a:pt x="-637" y="9496"/>
                    <a:pt x="-189" y="10686"/>
                  </a:cubicBezTo>
                  <a:cubicBezTo>
                    <a:pt x="40" y="11305"/>
                    <a:pt x="525" y="11801"/>
                    <a:pt x="1154" y="12030"/>
                  </a:cubicBezTo>
                  <a:close/>
                </a:path>
              </a:pathLst>
            </a:custGeom>
            <a:solidFill>
              <a:srgbClr val="D1D9E8"/>
            </a:solidFill>
            <a:ln w="9525" cap="flat">
              <a:noFill/>
              <a:prstDash val="solid"/>
              <a:miter/>
            </a:ln>
          </p:spPr>
          <p:txBody>
            <a:bodyPr rtlCol="0" anchor="ctr"/>
            <a:lstStyle/>
            <a:p>
              <a:endParaRPr lang="zh-CN" altLang="en-US"/>
            </a:p>
          </p:txBody>
        </p:sp>
        <p:sp>
          <p:nvSpPr>
            <p:cNvPr id="719" name="ïšḷíḓè">
              <a:extLst>
                <a:ext uri="{FF2B5EF4-FFF2-40B4-BE49-F238E27FC236}">
                  <a16:creationId xmlns:a16="http://schemas.microsoft.com/office/drawing/2014/main" id="{AE9A3FCB-D92D-4FE3-B558-873297612735}"/>
                </a:ext>
              </a:extLst>
            </p:cNvPr>
            <p:cNvSpPr/>
            <p:nvPr/>
          </p:nvSpPr>
          <p:spPr>
            <a:xfrm>
              <a:off x="6093582" y="5346267"/>
              <a:ext cx="109594" cy="53801"/>
            </a:xfrm>
            <a:custGeom>
              <a:avLst/>
              <a:gdLst>
                <a:gd name="connsiteX0" fmla="*/ -336 w 36004"/>
                <a:gd name="connsiteY0" fmla="*/ -163 h 17675"/>
                <a:gd name="connsiteX1" fmla="*/ -336 w 36004"/>
                <a:gd name="connsiteY1" fmla="*/ 7076 h 17675"/>
                <a:gd name="connsiteX2" fmla="*/ 1188 w 36004"/>
                <a:gd name="connsiteY2" fmla="*/ 9267 h 17675"/>
                <a:gd name="connsiteX3" fmla="*/ 13856 w 36004"/>
                <a:gd name="connsiteY3" fmla="*/ 16506 h 17675"/>
                <a:gd name="connsiteX4" fmla="*/ 21476 w 36004"/>
                <a:gd name="connsiteY4" fmla="*/ 16506 h 17675"/>
                <a:gd name="connsiteX5" fmla="*/ 34144 w 36004"/>
                <a:gd name="connsiteY5" fmla="*/ 9267 h 17675"/>
                <a:gd name="connsiteX6" fmla="*/ 35668 w 36004"/>
                <a:gd name="connsiteY6" fmla="*/ 7076 h 17675"/>
                <a:gd name="connsiteX7" fmla="*/ 35668 w 36004"/>
                <a:gd name="connsiteY7" fmla="*/ -163 h 17675"/>
                <a:gd name="connsiteX8" fmla="*/ 34144 w 36004"/>
                <a:gd name="connsiteY8" fmla="*/ 2123 h 17675"/>
                <a:gd name="connsiteX9" fmla="*/ 31763 w 36004"/>
                <a:gd name="connsiteY9" fmla="*/ 3457 h 17675"/>
                <a:gd name="connsiteX10" fmla="*/ 21476 w 36004"/>
                <a:gd name="connsiteY10" fmla="*/ 9362 h 17675"/>
                <a:gd name="connsiteX11" fmla="*/ 13856 w 36004"/>
                <a:gd name="connsiteY11" fmla="*/ 9362 h 17675"/>
                <a:gd name="connsiteX12" fmla="*/ 3569 w 36004"/>
                <a:gd name="connsiteY12" fmla="*/ 3457 h 17675"/>
                <a:gd name="connsiteX13" fmla="*/ 1188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79" y="8038"/>
                    <a:pt x="312" y="8877"/>
                    <a:pt x="1188" y="9267"/>
                  </a:cubicBezTo>
                  <a:lnTo>
                    <a:pt x="13856" y="16506"/>
                  </a:lnTo>
                  <a:cubicBezTo>
                    <a:pt x="16218" y="17849"/>
                    <a:pt x="19114" y="17849"/>
                    <a:pt x="21476" y="16506"/>
                  </a:cubicBezTo>
                  <a:lnTo>
                    <a:pt x="34144" y="9267"/>
                  </a:lnTo>
                  <a:cubicBezTo>
                    <a:pt x="35021" y="8877"/>
                    <a:pt x="35611" y="8038"/>
                    <a:pt x="35668" y="7076"/>
                  </a:cubicBezTo>
                  <a:lnTo>
                    <a:pt x="35668" y="-163"/>
                  </a:lnTo>
                  <a:cubicBezTo>
                    <a:pt x="35602" y="818"/>
                    <a:pt x="35021" y="1685"/>
                    <a:pt x="34144" y="2123"/>
                  </a:cubicBezTo>
                  <a:lnTo>
                    <a:pt x="31763" y="3457"/>
                  </a:lnTo>
                  <a:lnTo>
                    <a:pt x="21476" y="9362"/>
                  </a:lnTo>
                  <a:cubicBezTo>
                    <a:pt x="19114" y="10705"/>
                    <a:pt x="16218" y="10705"/>
                    <a:pt x="13856" y="9362"/>
                  </a:cubicBezTo>
                  <a:lnTo>
                    <a:pt x="3569" y="3457"/>
                  </a:lnTo>
                  <a:lnTo>
                    <a:pt x="1188" y="2123"/>
                  </a:lnTo>
                  <a:cubicBezTo>
                    <a:pt x="312"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20" name="ïṣľïďe">
              <a:extLst>
                <a:ext uri="{FF2B5EF4-FFF2-40B4-BE49-F238E27FC236}">
                  <a16:creationId xmlns:a16="http://schemas.microsoft.com/office/drawing/2014/main" id="{2327C3B3-EC49-4358-AEF6-30541FC1F3CB}"/>
                </a:ext>
              </a:extLst>
            </p:cNvPr>
            <p:cNvSpPr/>
            <p:nvPr/>
          </p:nvSpPr>
          <p:spPr>
            <a:xfrm>
              <a:off x="6170124" y="5359384"/>
              <a:ext cx="140036" cy="80688"/>
            </a:xfrm>
            <a:custGeom>
              <a:avLst/>
              <a:gdLst>
                <a:gd name="connsiteX0" fmla="*/ -336 w 46005"/>
                <a:gd name="connsiteY0" fmla="*/ 10196 h 26508"/>
                <a:gd name="connsiteX1" fmla="*/ 1283 w 46005"/>
                <a:gd name="connsiteY1" fmla="*/ 12482 h 26508"/>
                <a:gd name="connsiteX2" fmla="*/ 3569 w 46005"/>
                <a:gd name="connsiteY2" fmla="*/ 13815 h 26508"/>
                <a:gd name="connsiteX3" fmla="*/ 23762 w 46005"/>
                <a:gd name="connsiteY3" fmla="*/ 25531 h 26508"/>
                <a:gd name="connsiteX4" fmla="*/ 31477 w 46005"/>
                <a:gd name="connsiteY4" fmla="*/ 25531 h 26508"/>
                <a:gd name="connsiteX5" fmla="*/ 41764 w 46005"/>
                <a:gd name="connsiteY5" fmla="*/ 19530 h 26508"/>
                <a:gd name="connsiteX6" fmla="*/ 44146 w 46005"/>
                <a:gd name="connsiteY6" fmla="*/ 18197 h 26508"/>
                <a:gd name="connsiteX7" fmla="*/ 45669 w 46005"/>
                <a:gd name="connsiteY7" fmla="*/ 16578 h 26508"/>
                <a:gd name="connsiteX8" fmla="*/ 45669 w 46005"/>
                <a:gd name="connsiteY8" fmla="*/ 15435 h 26508"/>
                <a:gd name="connsiteX9" fmla="*/ 44146 w 46005"/>
                <a:gd name="connsiteY9" fmla="*/ 13720 h 26508"/>
                <a:gd name="connsiteX10" fmla="*/ 21571 w 46005"/>
                <a:gd name="connsiteY10" fmla="*/ 766 h 26508"/>
                <a:gd name="connsiteX11" fmla="*/ 13856 w 46005"/>
                <a:gd name="connsiteY11" fmla="*/ 766 h 26508"/>
                <a:gd name="connsiteX12" fmla="*/ 1283 w 46005"/>
                <a:gd name="connsiteY12" fmla="*/ 8005 h 26508"/>
                <a:gd name="connsiteX13" fmla="*/ -336 w 46005"/>
                <a:gd name="connsiteY13" fmla="*/ 10196 h 26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005" h="26508">
                  <a:moveTo>
                    <a:pt x="-336" y="10196"/>
                  </a:moveTo>
                  <a:cubicBezTo>
                    <a:pt x="-270" y="11206"/>
                    <a:pt x="359" y="12091"/>
                    <a:pt x="1283" y="12482"/>
                  </a:cubicBezTo>
                  <a:lnTo>
                    <a:pt x="3569" y="13815"/>
                  </a:lnTo>
                  <a:lnTo>
                    <a:pt x="23762" y="25531"/>
                  </a:lnTo>
                  <a:cubicBezTo>
                    <a:pt x="26219" y="26617"/>
                    <a:pt x="29020" y="26617"/>
                    <a:pt x="31477" y="25531"/>
                  </a:cubicBezTo>
                  <a:lnTo>
                    <a:pt x="41764" y="19530"/>
                  </a:lnTo>
                  <a:lnTo>
                    <a:pt x="44146" y="18197"/>
                  </a:lnTo>
                  <a:cubicBezTo>
                    <a:pt x="44860" y="17892"/>
                    <a:pt x="45412" y="17311"/>
                    <a:pt x="45669" y="16578"/>
                  </a:cubicBezTo>
                  <a:lnTo>
                    <a:pt x="45669" y="15435"/>
                  </a:lnTo>
                  <a:cubicBezTo>
                    <a:pt x="45384" y="14692"/>
                    <a:pt x="44841" y="14082"/>
                    <a:pt x="44146" y="13720"/>
                  </a:cubicBezTo>
                  <a:lnTo>
                    <a:pt x="21571" y="766"/>
                  </a:lnTo>
                  <a:cubicBezTo>
                    <a:pt x="19152" y="-472"/>
                    <a:pt x="16275" y="-472"/>
                    <a:pt x="13856" y="766"/>
                  </a:cubicBezTo>
                  <a:lnTo>
                    <a:pt x="1283" y="8005"/>
                  </a:lnTo>
                  <a:cubicBezTo>
                    <a:pt x="387" y="8386"/>
                    <a:pt x="-241" y="9224"/>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721" name="iṧ1íḑé">
              <a:extLst>
                <a:ext uri="{FF2B5EF4-FFF2-40B4-BE49-F238E27FC236}">
                  <a16:creationId xmlns:a16="http://schemas.microsoft.com/office/drawing/2014/main" id="{2B4EA32B-C625-4A74-9EB3-91D7A807A7E0}"/>
                </a:ext>
              </a:extLst>
            </p:cNvPr>
            <p:cNvSpPr/>
            <p:nvPr/>
          </p:nvSpPr>
          <p:spPr>
            <a:xfrm>
              <a:off x="6172836" y="5359892"/>
              <a:ext cx="136018" cy="78570"/>
            </a:xfrm>
            <a:custGeom>
              <a:avLst/>
              <a:gdLst>
                <a:gd name="connsiteX0" fmla="*/ 23252 w 44685"/>
                <a:gd name="connsiteY0" fmla="*/ 24793 h 25812"/>
                <a:gd name="connsiteX1" fmla="*/ 1154 w 44685"/>
                <a:gd name="connsiteY1" fmla="*/ 12029 h 25812"/>
                <a:gd name="connsiteX2" fmla="*/ -189 w 44685"/>
                <a:gd name="connsiteY2" fmla="*/ 9096 h 25812"/>
                <a:gd name="connsiteX3" fmla="*/ 1154 w 44685"/>
                <a:gd name="connsiteY3" fmla="*/ 7743 h 25812"/>
                <a:gd name="connsiteX4" fmla="*/ 13250 w 44685"/>
                <a:gd name="connsiteY4" fmla="*/ 695 h 25812"/>
                <a:gd name="connsiteX5" fmla="*/ 20680 w 44685"/>
                <a:gd name="connsiteY5" fmla="*/ 695 h 25812"/>
                <a:gd name="connsiteX6" fmla="*/ 42778 w 44685"/>
                <a:gd name="connsiteY6" fmla="*/ 13458 h 25812"/>
                <a:gd name="connsiteX7" fmla="*/ 42778 w 44685"/>
                <a:gd name="connsiteY7" fmla="*/ 17744 h 25812"/>
                <a:gd name="connsiteX8" fmla="*/ 30681 w 44685"/>
                <a:gd name="connsiteY8" fmla="*/ 24793 h 25812"/>
                <a:gd name="connsiteX9" fmla="*/ 23252 w 44685"/>
                <a:gd name="connsiteY9" fmla="*/ 24793 h 25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4685" h="25812">
                  <a:moveTo>
                    <a:pt x="23252" y="24793"/>
                  </a:moveTo>
                  <a:lnTo>
                    <a:pt x="1154" y="12029"/>
                  </a:lnTo>
                  <a:cubicBezTo>
                    <a:pt x="-27" y="11591"/>
                    <a:pt x="-637" y="10277"/>
                    <a:pt x="-189" y="9096"/>
                  </a:cubicBezTo>
                  <a:cubicBezTo>
                    <a:pt x="39" y="8467"/>
                    <a:pt x="535" y="7972"/>
                    <a:pt x="1154" y="7743"/>
                  </a:cubicBezTo>
                  <a:lnTo>
                    <a:pt x="13250" y="695"/>
                  </a:lnTo>
                  <a:cubicBezTo>
                    <a:pt x="15594" y="-448"/>
                    <a:pt x="18337" y="-448"/>
                    <a:pt x="20680" y="695"/>
                  </a:cubicBezTo>
                  <a:lnTo>
                    <a:pt x="42778" y="13458"/>
                  </a:lnTo>
                  <a:cubicBezTo>
                    <a:pt x="44873" y="14696"/>
                    <a:pt x="44873" y="16601"/>
                    <a:pt x="42778" y="17744"/>
                  </a:cubicBezTo>
                  <a:lnTo>
                    <a:pt x="30681" y="24793"/>
                  </a:lnTo>
                  <a:cubicBezTo>
                    <a:pt x="28338" y="25936"/>
                    <a:pt x="25595" y="25936"/>
                    <a:pt x="23252" y="24793"/>
                  </a:cubicBezTo>
                  <a:close/>
                </a:path>
              </a:pathLst>
            </a:custGeom>
            <a:solidFill>
              <a:srgbClr val="D1D9E8"/>
            </a:solidFill>
            <a:ln w="9525" cap="flat">
              <a:noFill/>
              <a:prstDash val="solid"/>
              <a:miter/>
            </a:ln>
          </p:spPr>
          <p:txBody>
            <a:bodyPr rtlCol="0" anchor="ctr"/>
            <a:lstStyle/>
            <a:p>
              <a:endParaRPr lang="zh-CN" altLang="en-US"/>
            </a:p>
          </p:txBody>
        </p:sp>
        <p:sp>
          <p:nvSpPr>
            <p:cNvPr id="722" name="ïšľíḍe">
              <a:extLst>
                <a:ext uri="{FF2B5EF4-FFF2-40B4-BE49-F238E27FC236}">
                  <a16:creationId xmlns:a16="http://schemas.microsoft.com/office/drawing/2014/main" id="{3C6EFFCF-C920-4B79-9C79-BED7046010F3}"/>
                </a:ext>
              </a:extLst>
            </p:cNvPr>
            <p:cNvSpPr/>
            <p:nvPr/>
          </p:nvSpPr>
          <p:spPr>
            <a:xfrm>
              <a:off x="6170124" y="5390916"/>
              <a:ext cx="140036" cy="71249"/>
            </a:xfrm>
            <a:custGeom>
              <a:avLst/>
              <a:gdLst>
                <a:gd name="connsiteX0" fmla="*/ -336 w 46005"/>
                <a:gd name="connsiteY0" fmla="*/ -163 h 23407"/>
                <a:gd name="connsiteX1" fmla="*/ -336 w 46005"/>
                <a:gd name="connsiteY1" fmla="*/ 7076 h 23407"/>
                <a:gd name="connsiteX2" fmla="*/ 1283 w 46005"/>
                <a:gd name="connsiteY2" fmla="*/ 9267 h 23407"/>
                <a:gd name="connsiteX3" fmla="*/ 23762 w 46005"/>
                <a:gd name="connsiteY3" fmla="*/ 22316 h 23407"/>
                <a:gd name="connsiteX4" fmla="*/ 31477 w 46005"/>
                <a:gd name="connsiteY4" fmla="*/ 22316 h 23407"/>
                <a:gd name="connsiteX5" fmla="*/ 44146 w 46005"/>
                <a:gd name="connsiteY5" fmla="*/ 14982 h 23407"/>
                <a:gd name="connsiteX6" fmla="*/ 45669 w 46005"/>
                <a:gd name="connsiteY6" fmla="*/ 13363 h 23407"/>
                <a:gd name="connsiteX7" fmla="*/ 45669 w 46005"/>
                <a:gd name="connsiteY7" fmla="*/ 6219 h 23407"/>
                <a:gd name="connsiteX8" fmla="*/ 44146 w 46005"/>
                <a:gd name="connsiteY8" fmla="*/ 7838 h 23407"/>
                <a:gd name="connsiteX9" fmla="*/ 41764 w 46005"/>
                <a:gd name="connsiteY9" fmla="*/ 9172 h 23407"/>
                <a:gd name="connsiteX10" fmla="*/ 31477 w 46005"/>
                <a:gd name="connsiteY10" fmla="*/ 15172 h 23407"/>
                <a:gd name="connsiteX11" fmla="*/ 23762 w 46005"/>
                <a:gd name="connsiteY11" fmla="*/ 15172 h 23407"/>
                <a:gd name="connsiteX12" fmla="*/ 3569 w 46005"/>
                <a:gd name="connsiteY12" fmla="*/ 3457 h 23407"/>
                <a:gd name="connsiteX13" fmla="*/ 1283 w 46005"/>
                <a:gd name="connsiteY13" fmla="*/ 2123 h 23407"/>
                <a:gd name="connsiteX14" fmla="*/ -336 w 46005"/>
                <a:gd name="connsiteY14" fmla="*/ -163 h 234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6005" h="23407">
                  <a:moveTo>
                    <a:pt x="-336" y="-163"/>
                  </a:moveTo>
                  <a:lnTo>
                    <a:pt x="-336" y="7076"/>
                  </a:lnTo>
                  <a:cubicBezTo>
                    <a:pt x="-260" y="8057"/>
                    <a:pt x="369" y="8905"/>
                    <a:pt x="1283" y="9267"/>
                  </a:cubicBezTo>
                  <a:lnTo>
                    <a:pt x="23762" y="22316"/>
                  </a:lnTo>
                  <a:cubicBezTo>
                    <a:pt x="26181" y="23555"/>
                    <a:pt x="29058" y="23555"/>
                    <a:pt x="31477" y="22316"/>
                  </a:cubicBezTo>
                  <a:lnTo>
                    <a:pt x="44146" y="14982"/>
                  </a:lnTo>
                  <a:cubicBezTo>
                    <a:pt x="44822" y="14629"/>
                    <a:pt x="45355" y="14058"/>
                    <a:pt x="45669" y="13363"/>
                  </a:cubicBezTo>
                  <a:lnTo>
                    <a:pt x="45669" y="6219"/>
                  </a:lnTo>
                  <a:cubicBezTo>
                    <a:pt x="45412" y="6952"/>
                    <a:pt x="44860" y="7533"/>
                    <a:pt x="44146" y="7838"/>
                  </a:cubicBezTo>
                  <a:lnTo>
                    <a:pt x="41764" y="9172"/>
                  </a:lnTo>
                  <a:lnTo>
                    <a:pt x="31477" y="15172"/>
                  </a:lnTo>
                  <a:cubicBezTo>
                    <a:pt x="29020" y="16258"/>
                    <a:pt x="26219" y="16258"/>
                    <a:pt x="23762" y="15172"/>
                  </a:cubicBezTo>
                  <a:lnTo>
                    <a:pt x="3569" y="3457"/>
                  </a:lnTo>
                  <a:lnTo>
                    <a:pt x="1283" y="2123"/>
                  </a:lnTo>
                  <a:cubicBezTo>
                    <a:pt x="359" y="1733"/>
                    <a:pt x="-270" y="847"/>
                    <a:pt x="-336" y="-163"/>
                  </a:cubicBezTo>
                  <a:close/>
                </a:path>
              </a:pathLst>
            </a:custGeom>
            <a:solidFill>
              <a:srgbClr val="BF4200"/>
            </a:solidFill>
            <a:ln w="9525" cap="flat">
              <a:noFill/>
              <a:prstDash val="solid"/>
              <a:miter/>
            </a:ln>
          </p:spPr>
          <p:txBody>
            <a:bodyPr rtlCol="0" anchor="ctr"/>
            <a:lstStyle/>
            <a:p>
              <a:endParaRPr lang="zh-CN" altLang="en-US"/>
            </a:p>
          </p:txBody>
        </p:sp>
        <p:sp>
          <p:nvSpPr>
            <p:cNvPr id="723" name="îṩļïďè">
              <a:extLst>
                <a:ext uri="{FF2B5EF4-FFF2-40B4-BE49-F238E27FC236}">
                  <a16:creationId xmlns:a16="http://schemas.microsoft.com/office/drawing/2014/main" id="{BFD1DF04-B970-4585-B02D-9EE43FC8FBFC}"/>
                </a:ext>
              </a:extLst>
            </p:cNvPr>
            <p:cNvSpPr/>
            <p:nvPr/>
          </p:nvSpPr>
          <p:spPr>
            <a:xfrm>
              <a:off x="4999080" y="4774588"/>
              <a:ext cx="140036" cy="81035"/>
            </a:xfrm>
            <a:custGeom>
              <a:avLst/>
              <a:gdLst>
                <a:gd name="connsiteX0" fmla="*/ -336 w 46005"/>
                <a:gd name="connsiteY0" fmla="*/ 10291 h 26622"/>
                <a:gd name="connsiteX1" fmla="*/ 1283 w 46005"/>
                <a:gd name="connsiteY1" fmla="*/ 12577 h 26622"/>
                <a:gd name="connsiteX2" fmla="*/ 3569 w 46005"/>
                <a:gd name="connsiteY2" fmla="*/ 13911 h 26622"/>
                <a:gd name="connsiteX3" fmla="*/ 23762 w 46005"/>
                <a:gd name="connsiteY3" fmla="*/ 25531 h 26622"/>
                <a:gd name="connsiteX4" fmla="*/ 31572 w 46005"/>
                <a:gd name="connsiteY4" fmla="*/ 25531 h 26622"/>
                <a:gd name="connsiteX5" fmla="*/ 41764 w 46005"/>
                <a:gd name="connsiteY5" fmla="*/ 19625 h 26622"/>
                <a:gd name="connsiteX6" fmla="*/ 44146 w 46005"/>
                <a:gd name="connsiteY6" fmla="*/ 18292 h 26622"/>
                <a:gd name="connsiteX7" fmla="*/ 45670 w 46005"/>
                <a:gd name="connsiteY7" fmla="*/ 16578 h 26622"/>
                <a:gd name="connsiteX8" fmla="*/ 45670 w 46005"/>
                <a:gd name="connsiteY8" fmla="*/ 15530 h 26622"/>
                <a:gd name="connsiteX9" fmla="*/ 44146 w 46005"/>
                <a:gd name="connsiteY9" fmla="*/ 13815 h 26622"/>
                <a:gd name="connsiteX10" fmla="*/ 21571 w 46005"/>
                <a:gd name="connsiteY10" fmla="*/ 766 h 26622"/>
                <a:gd name="connsiteX11" fmla="*/ 13856 w 46005"/>
                <a:gd name="connsiteY11" fmla="*/ 766 h 26622"/>
                <a:gd name="connsiteX12" fmla="*/ 1283 w 46005"/>
                <a:gd name="connsiteY12" fmla="*/ 8100 h 26622"/>
                <a:gd name="connsiteX13" fmla="*/ -336 w 46005"/>
                <a:gd name="connsiteY13" fmla="*/ 10291 h 26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005" h="26622">
                  <a:moveTo>
                    <a:pt x="-336" y="10291"/>
                  </a:moveTo>
                  <a:cubicBezTo>
                    <a:pt x="-231" y="11282"/>
                    <a:pt x="378" y="12148"/>
                    <a:pt x="1283" y="12577"/>
                  </a:cubicBezTo>
                  <a:lnTo>
                    <a:pt x="3569" y="13911"/>
                  </a:lnTo>
                  <a:lnTo>
                    <a:pt x="23762" y="25531"/>
                  </a:lnTo>
                  <a:cubicBezTo>
                    <a:pt x="26220" y="26769"/>
                    <a:pt x="29115" y="26769"/>
                    <a:pt x="31572" y="25531"/>
                  </a:cubicBezTo>
                  <a:lnTo>
                    <a:pt x="41764" y="19625"/>
                  </a:lnTo>
                  <a:lnTo>
                    <a:pt x="44146" y="18292"/>
                  </a:lnTo>
                  <a:cubicBezTo>
                    <a:pt x="44850" y="17930"/>
                    <a:pt x="45384" y="17321"/>
                    <a:pt x="45670" y="16578"/>
                  </a:cubicBezTo>
                  <a:lnTo>
                    <a:pt x="45670" y="15530"/>
                  </a:lnTo>
                  <a:cubicBezTo>
                    <a:pt x="45384" y="14787"/>
                    <a:pt x="44850" y="14177"/>
                    <a:pt x="44146" y="13815"/>
                  </a:cubicBezTo>
                  <a:lnTo>
                    <a:pt x="21571" y="766"/>
                  </a:lnTo>
                  <a:cubicBezTo>
                    <a:pt x="19152" y="-472"/>
                    <a:pt x="16275" y="-472"/>
                    <a:pt x="13856" y="766"/>
                  </a:cubicBezTo>
                  <a:lnTo>
                    <a:pt x="1283" y="8100"/>
                  </a:lnTo>
                  <a:cubicBezTo>
                    <a:pt x="397" y="8491"/>
                    <a:pt x="-222"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724" name="í$líḓè">
              <a:extLst>
                <a:ext uri="{FF2B5EF4-FFF2-40B4-BE49-F238E27FC236}">
                  <a16:creationId xmlns:a16="http://schemas.microsoft.com/office/drawing/2014/main" id="{42BB5702-613B-4259-BD74-D0CA2FFDF602}"/>
                </a:ext>
              </a:extLst>
            </p:cNvPr>
            <p:cNvSpPr/>
            <p:nvPr/>
          </p:nvSpPr>
          <p:spPr>
            <a:xfrm>
              <a:off x="5001183" y="4775747"/>
              <a:ext cx="136121" cy="78716"/>
            </a:xfrm>
            <a:custGeom>
              <a:avLst/>
              <a:gdLst>
                <a:gd name="connsiteX0" fmla="*/ 23262 w 44719"/>
                <a:gd name="connsiteY0" fmla="*/ 24769 h 25860"/>
                <a:gd name="connsiteX1" fmla="*/ 1164 w 44719"/>
                <a:gd name="connsiteY1" fmla="*/ 12006 h 25860"/>
                <a:gd name="connsiteX2" fmla="*/ 1164 w 44719"/>
                <a:gd name="connsiteY2" fmla="*/ 7719 h 25860"/>
                <a:gd name="connsiteX3" fmla="*/ 13356 w 44719"/>
                <a:gd name="connsiteY3" fmla="*/ 766 h 25860"/>
                <a:gd name="connsiteX4" fmla="*/ 20785 w 44719"/>
                <a:gd name="connsiteY4" fmla="*/ 766 h 25860"/>
                <a:gd name="connsiteX5" fmla="*/ 42883 w 44719"/>
                <a:gd name="connsiteY5" fmla="*/ 13530 h 25860"/>
                <a:gd name="connsiteX6" fmla="*/ 42883 w 44719"/>
                <a:gd name="connsiteY6" fmla="*/ 17816 h 25860"/>
                <a:gd name="connsiteX7" fmla="*/ 30691 w 44719"/>
                <a:gd name="connsiteY7" fmla="*/ 24769 h 25860"/>
                <a:gd name="connsiteX8" fmla="*/ 23262 w 44719"/>
                <a:gd name="connsiteY8" fmla="*/ 24769 h 25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719" h="25860">
                  <a:moveTo>
                    <a:pt x="23262" y="24769"/>
                  </a:moveTo>
                  <a:lnTo>
                    <a:pt x="1164" y="12006"/>
                  </a:lnTo>
                  <a:cubicBezTo>
                    <a:pt x="-836" y="10863"/>
                    <a:pt x="-836" y="8958"/>
                    <a:pt x="1164" y="7719"/>
                  </a:cubicBezTo>
                  <a:lnTo>
                    <a:pt x="13356" y="766"/>
                  </a:lnTo>
                  <a:cubicBezTo>
                    <a:pt x="15680" y="-472"/>
                    <a:pt x="18461" y="-472"/>
                    <a:pt x="20785" y="766"/>
                  </a:cubicBezTo>
                  <a:lnTo>
                    <a:pt x="42883" y="13530"/>
                  </a:lnTo>
                  <a:cubicBezTo>
                    <a:pt x="44884" y="14673"/>
                    <a:pt x="44884" y="16577"/>
                    <a:pt x="42883" y="17816"/>
                  </a:cubicBezTo>
                  <a:lnTo>
                    <a:pt x="30691" y="24769"/>
                  </a:lnTo>
                  <a:cubicBezTo>
                    <a:pt x="28367" y="26007"/>
                    <a:pt x="25586" y="26007"/>
                    <a:pt x="23262" y="24769"/>
                  </a:cubicBezTo>
                  <a:close/>
                </a:path>
              </a:pathLst>
            </a:custGeom>
            <a:solidFill>
              <a:srgbClr val="D1D9E8"/>
            </a:solidFill>
            <a:ln w="9525" cap="flat">
              <a:noFill/>
              <a:prstDash val="solid"/>
              <a:miter/>
            </a:ln>
          </p:spPr>
          <p:txBody>
            <a:bodyPr rtlCol="0" anchor="ctr"/>
            <a:lstStyle/>
            <a:p>
              <a:endParaRPr lang="zh-CN" altLang="en-US"/>
            </a:p>
          </p:txBody>
        </p:sp>
        <p:sp>
          <p:nvSpPr>
            <p:cNvPr id="725" name="íṥḷïḑè">
              <a:extLst>
                <a:ext uri="{FF2B5EF4-FFF2-40B4-BE49-F238E27FC236}">
                  <a16:creationId xmlns:a16="http://schemas.microsoft.com/office/drawing/2014/main" id="{F932B142-4D32-465F-8D6B-35AEC0A91430}"/>
                </a:ext>
              </a:extLst>
            </p:cNvPr>
            <p:cNvSpPr/>
            <p:nvPr/>
          </p:nvSpPr>
          <p:spPr>
            <a:xfrm>
              <a:off x="4999080" y="4806409"/>
              <a:ext cx="140036" cy="69806"/>
            </a:xfrm>
            <a:custGeom>
              <a:avLst/>
              <a:gdLst>
                <a:gd name="connsiteX0" fmla="*/ -336 w 46005"/>
                <a:gd name="connsiteY0" fmla="*/ -163 h 22933"/>
                <a:gd name="connsiteX1" fmla="*/ -336 w 46005"/>
                <a:gd name="connsiteY1" fmla="*/ 6600 h 22933"/>
                <a:gd name="connsiteX2" fmla="*/ 1283 w 46005"/>
                <a:gd name="connsiteY2" fmla="*/ 8886 h 22933"/>
                <a:gd name="connsiteX3" fmla="*/ 23762 w 46005"/>
                <a:gd name="connsiteY3" fmla="*/ 21935 h 22933"/>
                <a:gd name="connsiteX4" fmla="*/ 31572 w 46005"/>
                <a:gd name="connsiteY4" fmla="*/ 21935 h 22933"/>
                <a:gd name="connsiteX5" fmla="*/ 44146 w 46005"/>
                <a:gd name="connsiteY5" fmla="*/ 14601 h 22933"/>
                <a:gd name="connsiteX6" fmla="*/ 45670 w 46005"/>
                <a:gd name="connsiteY6" fmla="*/ 12982 h 22933"/>
                <a:gd name="connsiteX7" fmla="*/ 45670 w 46005"/>
                <a:gd name="connsiteY7" fmla="*/ 6600 h 22933"/>
                <a:gd name="connsiteX8" fmla="*/ 44146 w 46005"/>
                <a:gd name="connsiteY8" fmla="*/ 8314 h 22933"/>
                <a:gd name="connsiteX9" fmla="*/ 41764 w 46005"/>
                <a:gd name="connsiteY9" fmla="*/ 9648 h 22933"/>
                <a:gd name="connsiteX10" fmla="*/ 31572 w 46005"/>
                <a:gd name="connsiteY10" fmla="*/ 15554 h 22933"/>
                <a:gd name="connsiteX11" fmla="*/ 23762 w 46005"/>
                <a:gd name="connsiteY11" fmla="*/ 15554 h 22933"/>
                <a:gd name="connsiteX12" fmla="*/ 3379 w 46005"/>
                <a:gd name="connsiteY12" fmla="*/ 3457 h 22933"/>
                <a:gd name="connsiteX13" fmla="*/ 1093 w 46005"/>
                <a:gd name="connsiteY13" fmla="*/ 2123 h 22933"/>
                <a:gd name="connsiteX14" fmla="*/ -336 w 46005"/>
                <a:gd name="connsiteY14" fmla="*/ -163 h 229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6005" h="22933">
                  <a:moveTo>
                    <a:pt x="-336" y="-163"/>
                  </a:moveTo>
                  <a:lnTo>
                    <a:pt x="-336" y="6600"/>
                  </a:lnTo>
                  <a:cubicBezTo>
                    <a:pt x="-213" y="7581"/>
                    <a:pt x="397" y="8448"/>
                    <a:pt x="1283" y="8886"/>
                  </a:cubicBezTo>
                  <a:lnTo>
                    <a:pt x="23762" y="21935"/>
                  </a:lnTo>
                  <a:cubicBezTo>
                    <a:pt x="26248" y="23050"/>
                    <a:pt x="29087" y="23050"/>
                    <a:pt x="31572" y="21935"/>
                  </a:cubicBezTo>
                  <a:lnTo>
                    <a:pt x="44146" y="14601"/>
                  </a:lnTo>
                  <a:cubicBezTo>
                    <a:pt x="44822" y="14249"/>
                    <a:pt x="45355" y="13677"/>
                    <a:pt x="45670" y="12982"/>
                  </a:cubicBezTo>
                  <a:lnTo>
                    <a:pt x="45670" y="6600"/>
                  </a:lnTo>
                  <a:cubicBezTo>
                    <a:pt x="45384" y="7343"/>
                    <a:pt x="44850" y="7953"/>
                    <a:pt x="44146" y="8314"/>
                  </a:cubicBezTo>
                  <a:lnTo>
                    <a:pt x="41764" y="9648"/>
                  </a:lnTo>
                  <a:lnTo>
                    <a:pt x="31572" y="15554"/>
                  </a:lnTo>
                  <a:cubicBezTo>
                    <a:pt x="29115" y="16792"/>
                    <a:pt x="26220" y="16792"/>
                    <a:pt x="23762" y="15554"/>
                  </a:cubicBezTo>
                  <a:lnTo>
                    <a:pt x="3379" y="3457"/>
                  </a:lnTo>
                  <a:lnTo>
                    <a:pt x="1093" y="2123"/>
                  </a:lnTo>
                  <a:cubicBezTo>
                    <a:pt x="264" y="1647"/>
                    <a:pt x="-269" y="790"/>
                    <a:pt x="-336" y="-163"/>
                  </a:cubicBezTo>
                  <a:close/>
                </a:path>
              </a:pathLst>
            </a:custGeom>
            <a:solidFill>
              <a:srgbClr val="BF4200"/>
            </a:solidFill>
            <a:ln w="9525" cap="flat">
              <a:noFill/>
              <a:prstDash val="solid"/>
              <a:miter/>
            </a:ln>
          </p:spPr>
          <p:txBody>
            <a:bodyPr rtlCol="0" anchor="ctr"/>
            <a:lstStyle/>
            <a:p>
              <a:endParaRPr lang="zh-CN" altLang="en-US"/>
            </a:p>
          </p:txBody>
        </p:sp>
        <p:sp>
          <p:nvSpPr>
            <p:cNvPr id="726" name="îšļîde">
              <a:extLst>
                <a:ext uri="{FF2B5EF4-FFF2-40B4-BE49-F238E27FC236}">
                  <a16:creationId xmlns:a16="http://schemas.microsoft.com/office/drawing/2014/main" id="{E682B62B-E71D-4ED0-85D1-5DB3ECBA7565}"/>
                </a:ext>
              </a:extLst>
            </p:cNvPr>
            <p:cNvSpPr/>
            <p:nvPr/>
          </p:nvSpPr>
          <p:spPr>
            <a:xfrm>
              <a:off x="5107806" y="4836635"/>
              <a:ext cx="109594" cy="63639"/>
            </a:xfrm>
            <a:custGeom>
              <a:avLst/>
              <a:gdLst>
                <a:gd name="connsiteX0" fmla="*/ -336 w 36004"/>
                <a:gd name="connsiteY0" fmla="*/ 10291 h 20907"/>
                <a:gd name="connsiteX1" fmla="*/ 1188 w 36004"/>
                <a:gd name="connsiteY1" fmla="*/ 12577 h 20907"/>
                <a:gd name="connsiteX2" fmla="*/ 3569 w 36004"/>
                <a:gd name="connsiteY2" fmla="*/ 13911 h 20907"/>
                <a:gd name="connsiteX3" fmla="*/ 13856 w 36004"/>
                <a:gd name="connsiteY3" fmla="*/ 19816 h 20907"/>
                <a:gd name="connsiteX4" fmla="*/ 21476 w 36004"/>
                <a:gd name="connsiteY4" fmla="*/ 19816 h 20907"/>
                <a:gd name="connsiteX5" fmla="*/ 31763 w 36004"/>
                <a:gd name="connsiteY5" fmla="*/ 13911 h 20907"/>
                <a:gd name="connsiteX6" fmla="*/ 34144 w 36004"/>
                <a:gd name="connsiteY6" fmla="*/ 12577 h 20907"/>
                <a:gd name="connsiteX7" fmla="*/ 35668 w 36004"/>
                <a:gd name="connsiteY7" fmla="*/ 10291 h 20907"/>
                <a:gd name="connsiteX8" fmla="*/ 34144 w 36004"/>
                <a:gd name="connsiteY8" fmla="*/ 8101 h 20907"/>
                <a:gd name="connsiteX9" fmla="*/ 21476 w 36004"/>
                <a:gd name="connsiteY9" fmla="*/ 766 h 20907"/>
                <a:gd name="connsiteX10" fmla="*/ 13856 w 36004"/>
                <a:gd name="connsiteY10" fmla="*/ 766 h 20907"/>
                <a:gd name="connsiteX11" fmla="*/ 1188 w 36004"/>
                <a:gd name="connsiteY11" fmla="*/ 8101 h 20907"/>
                <a:gd name="connsiteX12" fmla="*/ -336 w 36004"/>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907">
                  <a:moveTo>
                    <a:pt x="-336" y="10291"/>
                  </a:moveTo>
                  <a:cubicBezTo>
                    <a:pt x="-269" y="11272"/>
                    <a:pt x="312" y="12139"/>
                    <a:pt x="1188" y="12577"/>
                  </a:cubicBezTo>
                  <a:lnTo>
                    <a:pt x="3569" y="13911"/>
                  </a:lnTo>
                  <a:lnTo>
                    <a:pt x="13856" y="19816"/>
                  </a:lnTo>
                  <a:cubicBezTo>
                    <a:pt x="16247" y="21054"/>
                    <a:pt x="19085" y="21054"/>
                    <a:pt x="21476" y="19816"/>
                  </a:cubicBezTo>
                  <a:lnTo>
                    <a:pt x="31763" y="13911"/>
                  </a:lnTo>
                  <a:lnTo>
                    <a:pt x="34144" y="12577"/>
                  </a:lnTo>
                  <a:cubicBezTo>
                    <a:pt x="35021" y="12139"/>
                    <a:pt x="35602" y="11272"/>
                    <a:pt x="35668" y="10291"/>
                  </a:cubicBezTo>
                  <a:cubicBezTo>
                    <a:pt x="35611" y="9339"/>
                    <a:pt x="35021" y="8491"/>
                    <a:pt x="34144" y="8101"/>
                  </a:cubicBezTo>
                  <a:lnTo>
                    <a:pt x="21476" y="766"/>
                  </a:lnTo>
                  <a:cubicBezTo>
                    <a:pt x="19085" y="-472"/>
                    <a:pt x="16247" y="-472"/>
                    <a:pt x="13856" y="766"/>
                  </a:cubicBezTo>
                  <a:lnTo>
                    <a:pt x="1188" y="8101"/>
                  </a:lnTo>
                  <a:cubicBezTo>
                    <a:pt x="312" y="8491"/>
                    <a:pt x="-279"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727" name="iŝḻíḓé">
              <a:extLst>
                <a:ext uri="{FF2B5EF4-FFF2-40B4-BE49-F238E27FC236}">
                  <a16:creationId xmlns:a16="http://schemas.microsoft.com/office/drawing/2014/main" id="{00958AEB-AB5F-43DE-AA7E-849008BF07A8}"/>
                </a:ext>
              </a:extLst>
            </p:cNvPr>
            <p:cNvSpPr/>
            <p:nvPr/>
          </p:nvSpPr>
          <p:spPr>
            <a:xfrm>
              <a:off x="5109690" y="4837795"/>
              <a:ext cx="105898" cy="61104"/>
            </a:xfrm>
            <a:custGeom>
              <a:avLst/>
              <a:gdLst>
                <a:gd name="connsiteX0" fmla="*/ 1235 w 34790"/>
                <a:gd name="connsiteY0" fmla="*/ 12006 h 20074"/>
                <a:gd name="connsiteX1" fmla="*/ 13332 w 34790"/>
                <a:gd name="connsiteY1" fmla="*/ 19054 h 20074"/>
                <a:gd name="connsiteX2" fmla="*/ 20762 w 34790"/>
                <a:gd name="connsiteY2" fmla="*/ 19054 h 20074"/>
                <a:gd name="connsiteX3" fmla="*/ 32954 w 34790"/>
                <a:gd name="connsiteY3" fmla="*/ 12006 h 20074"/>
                <a:gd name="connsiteX4" fmla="*/ 32954 w 34790"/>
                <a:gd name="connsiteY4" fmla="*/ 7719 h 20074"/>
                <a:gd name="connsiteX5" fmla="*/ 20762 w 34790"/>
                <a:gd name="connsiteY5" fmla="*/ 766 h 20074"/>
                <a:gd name="connsiteX6" fmla="*/ 13332 w 34790"/>
                <a:gd name="connsiteY6" fmla="*/ 766 h 20074"/>
                <a:gd name="connsiteX7" fmla="*/ 1235 w 34790"/>
                <a:gd name="connsiteY7" fmla="*/ 7719 h 20074"/>
                <a:gd name="connsiteX8" fmla="*/ 1235 w 34790"/>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4">
                  <a:moveTo>
                    <a:pt x="1235" y="12006"/>
                  </a:moveTo>
                  <a:lnTo>
                    <a:pt x="13332" y="19054"/>
                  </a:lnTo>
                  <a:cubicBezTo>
                    <a:pt x="15675" y="20197"/>
                    <a:pt x="18419" y="20197"/>
                    <a:pt x="20762" y="19054"/>
                  </a:cubicBezTo>
                  <a:lnTo>
                    <a:pt x="32954" y="12006"/>
                  </a:lnTo>
                  <a:cubicBezTo>
                    <a:pt x="34954" y="10863"/>
                    <a:pt x="34954" y="8957"/>
                    <a:pt x="32954" y="7719"/>
                  </a:cubicBezTo>
                  <a:lnTo>
                    <a:pt x="20762" y="766"/>
                  </a:lnTo>
                  <a:cubicBezTo>
                    <a:pt x="18437" y="-472"/>
                    <a:pt x="15656" y="-472"/>
                    <a:pt x="13332" y="766"/>
                  </a:cubicBezTo>
                  <a:lnTo>
                    <a:pt x="1235" y="7719"/>
                  </a:lnTo>
                  <a:cubicBezTo>
                    <a:pt x="-860" y="8957"/>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728" name="îṡľíḓe">
              <a:extLst>
                <a:ext uri="{FF2B5EF4-FFF2-40B4-BE49-F238E27FC236}">
                  <a16:creationId xmlns:a16="http://schemas.microsoft.com/office/drawing/2014/main" id="{CE218FC2-88ED-4F75-A550-5B1D498B5BC5}"/>
                </a:ext>
              </a:extLst>
            </p:cNvPr>
            <p:cNvSpPr/>
            <p:nvPr/>
          </p:nvSpPr>
          <p:spPr>
            <a:xfrm>
              <a:off x="5107806" y="4868453"/>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4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4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3" y="7953"/>
                    <a:pt x="35668" y="6981"/>
                  </a:cubicBezTo>
                  <a:lnTo>
                    <a:pt x="35668" y="-163"/>
                  </a:lnTo>
                  <a:cubicBezTo>
                    <a:pt x="35602" y="818"/>
                    <a:pt x="35021" y="1685"/>
                    <a:pt x="34144" y="2124"/>
                  </a:cubicBezTo>
                  <a:lnTo>
                    <a:pt x="31763" y="3457"/>
                  </a:lnTo>
                  <a:lnTo>
                    <a:pt x="21476" y="9362"/>
                  </a:lnTo>
                  <a:cubicBezTo>
                    <a:pt x="19085" y="10601"/>
                    <a:pt x="16247" y="10601"/>
                    <a:pt x="13856" y="9362"/>
                  </a:cubicBezTo>
                  <a:lnTo>
                    <a:pt x="3569" y="3457"/>
                  </a:lnTo>
                  <a:lnTo>
                    <a:pt x="1188" y="2124"/>
                  </a:lnTo>
                  <a:cubicBezTo>
                    <a:pt x="312"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29" name="ïšḷiḍé">
              <a:extLst>
                <a:ext uri="{FF2B5EF4-FFF2-40B4-BE49-F238E27FC236}">
                  <a16:creationId xmlns:a16="http://schemas.microsoft.com/office/drawing/2014/main" id="{45ECB459-51E0-4AFE-85A9-1DFDD17DDBC3}"/>
                </a:ext>
              </a:extLst>
            </p:cNvPr>
            <p:cNvSpPr/>
            <p:nvPr/>
          </p:nvSpPr>
          <p:spPr>
            <a:xfrm>
              <a:off x="5184348" y="4882154"/>
              <a:ext cx="109594" cy="63639"/>
            </a:xfrm>
            <a:custGeom>
              <a:avLst/>
              <a:gdLst>
                <a:gd name="connsiteX0" fmla="*/ -336 w 36004"/>
                <a:gd name="connsiteY0" fmla="*/ 10291 h 20907"/>
                <a:gd name="connsiteX1" fmla="*/ 1188 w 36004"/>
                <a:gd name="connsiteY1" fmla="*/ 12577 h 20907"/>
                <a:gd name="connsiteX2" fmla="*/ 3569 w 36004"/>
                <a:gd name="connsiteY2" fmla="*/ 13911 h 20907"/>
                <a:gd name="connsiteX3" fmla="*/ 13856 w 36004"/>
                <a:gd name="connsiteY3" fmla="*/ 19816 h 20907"/>
                <a:gd name="connsiteX4" fmla="*/ 21476 w 36004"/>
                <a:gd name="connsiteY4" fmla="*/ 19816 h 20907"/>
                <a:gd name="connsiteX5" fmla="*/ 31763 w 36004"/>
                <a:gd name="connsiteY5" fmla="*/ 13911 h 20907"/>
                <a:gd name="connsiteX6" fmla="*/ 34049 w 36004"/>
                <a:gd name="connsiteY6" fmla="*/ 12577 h 20907"/>
                <a:gd name="connsiteX7" fmla="*/ 35668 w 36004"/>
                <a:gd name="connsiteY7" fmla="*/ 10291 h 20907"/>
                <a:gd name="connsiteX8" fmla="*/ 34049 w 36004"/>
                <a:gd name="connsiteY8" fmla="*/ 8100 h 20907"/>
                <a:gd name="connsiteX9" fmla="*/ 21476 w 36004"/>
                <a:gd name="connsiteY9" fmla="*/ 766 h 20907"/>
                <a:gd name="connsiteX10" fmla="*/ 13856 w 36004"/>
                <a:gd name="connsiteY10" fmla="*/ 766 h 20907"/>
                <a:gd name="connsiteX11" fmla="*/ 1188 w 36004"/>
                <a:gd name="connsiteY11" fmla="*/ 8100 h 20907"/>
                <a:gd name="connsiteX12" fmla="*/ -336 w 36004"/>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907">
                  <a:moveTo>
                    <a:pt x="-336" y="10291"/>
                  </a:moveTo>
                  <a:cubicBezTo>
                    <a:pt x="-270" y="11272"/>
                    <a:pt x="311" y="12139"/>
                    <a:pt x="1188" y="12577"/>
                  </a:cubicBezTo>
                  <a:lnTo>
                    <a:pt x="3569" y="13911"/>
                  </a:lnTo>
                  <a:lnTo>
                    <a:pt x="13856" y="19816"/>
                  </a:lnTo>
                  <a:cubicBezTo>
                    <a:pt x="16247" y="21054"/>
                    <a:pt x="19085" y="21054"/>
                    <a:pt x="21476" y="19816"/>
                  </a:cubicBezTo>
                  <a:lnTo>
                    <a:pt x="31763" y="13911"/>
                  </a:lnTo>
                  <a:lnTo>
                    <a:pt x="34049" y="12577"/>
                  </a:lnTo>
                  <a:cubicBezTo>
                    <a:pt x="34973" y="12187"/>
                    <a:pt x="35602" y="11301"/>
                    <a:pt x="35668" y="10291"/>
                  </a:cubicBezTo>
                  <a:cubicBezTo>
                    <a:pt x="35592" y="9310"/>
                    <a:pt x="34963" y="8462"/>
                    <a:pt x="34049" y="8100"/>
                  </a:cubicBezTo>
                  <a:lnTo>
                    <a:pt x="21476" y="766"/>
                  </a:lnTo>
                  <a:cubicBezTo>
                    <a:pt x="19085" y="-472"/>
                    <a:pt x="16247" y="-472"/>
                    <a:pt x="13856" y="766"/>
                  </a:cubicBezTo>
                  <a:lnTo>
                    <a:pt x="1188" y="8100"/>
                  </a:lnTo>
                  <a:cubicBezTo>
                    <a:pt x="311" y="8491"/>
                    <a:pt x="-279"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730" name="ïš1îde">
              <a:extLst>
                <a:ext uri="{FF2B5EF4-FFF2-40B4-BE49-F238E27FC236}">
                  <a16:creationId xmlns:a16="http://schemas.microsoft.com/office/drawing/2014/main" id="{7ACA539A-A8E4-4295-973C-02E72437392C}"/>
                </a:ext>
              </a:extLst>
            </p:cNvPr>
            <p:cNvSpPr/>
            <p:nvPr/>
          </p:nvSpPr>
          <p:spPr>
            <a:xfrm>
              <a:off x="5186163" y="4882443"/>
              <a:ext cx="106766" cy="61101"/>
            </a:xfrm>
            <a:custGeom>
              <a:avLst/>
              <a:gdLst>
                <a:gd name="connsiteX0" fmla="*/ 1450 w 35075"/>
                <a:gd name="connsiteY0" fmla="*/ 12006 h 20073"/>
                <a:gd name="connsiteX1" fmla="*/ 13642 w 35075"/>
                <a:gd name="connsiteY1" fmla="*/ 19054 h 20073"/>
                <a:gd name="connsiteX2" fmla="*/ 21071 w 35075"/>
                <a:gd name="connsiteY2" fmla="*/ 19054 h 20073"/>
                <a:gd name="connsiteX3" fmla="*/ 33168 w 35075"/>
                <a:gd name="connsiteY3" fmla="*/ 12006 h 20073"/>
                <a:gd name="connsiteX4" fmla="*/ 33168 w 35075"/>
                <a:gd name="connsiteY4" fmla="*/ 7719 h 20073"/>
                <a:gd name="connsiteX5" fmla="*/ 21071 w 35075"/>
                <a:gd name="connsiteY5" fmla="*/ 766 h 20073"/>
                <a:gd name="connsiteX6" fmla="*/ 13642 w 35075"/>
                <a:gd name="connsiteY6" fmla="*/ 766 h 20073"/>
                <a:gd name="connsiteX7" fmla="*/ 1450 w 35075"/>
                <a:gd name="connsiteY7" fmla="*/ 7719 h 20073"/>
                <a:gd name="connsiteX8" fmla="*/ 1450 w 35075"/>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075" h="20073">
                  <a:moveTo>
                    <a:pt x="1450" y="12006"/>
                  </a:moveTo>
                  <a:lnTo>
                    <a:pt x="13642" y="19054"/>
                  </a:lnTo>
                  <a:cubicBezTo>
                    <a:pt x="15985" y="20197"/>
                    <a:pt x="18728" y="20197"/>
                    <a:pt x="21071" y="19054"/>
                  </a:cubicBezTo>
                  <a:lnTo>
                    <a:pt x="33168" y="12006"/>
                  </a:lnTo>
                  <a:cubicBezTo>
                    <a:pt x="35263" y="10863"/>
                    <a:pt x="35263" y="8957"/>
                    <a:pt x="33168" y="7719"/>
                  </a:cubicBezTo>
                  <a:lnTo>
                    <a:pt x="21071" y="766"/>
                  </a:lnTo>
                  <a:cubicBezTo>
                    <a:pt x="18747" y="-472"/>
                    <a:pt x="15966" y="-472"/>
                    <a:pt x="13642" y="766"/>
                  </a:cubicBezTo>
                  <a:lnTo>
                    <a:pt x="1450" y="7719"/>
                  </a:lnTo>
                  <a:cubicBezTo>
                    <a:pt x="-932" y="8957"/>
                    <a:pt x="-932" y="10863"/>
                    <a:pt x="1450" y="12006"/>
                  </a:cubicBezTo>
                  <a:close/>
                </a:path>
              </a:pathLst>
            </a:custGeom>
            <a:solidFill>
              <a:srgbClr val="D1D9E8"/>
            </a:solidFill>
            <a:ln w="9525" cap="flat">
              <a:noFill/>
              <a:prstDash val="solid"/>
              <a:miter/>
            </a:ln>
          </p:spPr>
          <p:txBody>
            <a:bodyPr rtlCol="0" anchor="ctr"/>
            <a:lstStyle/>
            <a:p>
              <a:endParaRPr lang="zh-CN" altLang="en-US"/>
            </a:p>
          </p:txBody>
        </p:sp>
        <p:sp>
          <p:nvSpPr>
            <p:cNvPr id="731" name="ïSliḓé">
              <a:extLst>
                <a:ext uri="{FF2B5EF4-FFF2-40B4-BE49-F238E27FC236}">
                  <a16:creationId xmlns:a16="http://schemas.microsoft.com/office/drawing/2014/main" id="{37FF4F82-FF48-4170-866A-D5DCE5352208}"/>
                </a:ext>
              </a:extLst>
            </p:cNvPr>
            <p:cNvSpPr/>
            <p:nvPr/>
          </p:nvSpPr>
          <p:spPr>
            <a:xfrm>
              <a:off x="5184348" y="4913975"/>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049 w 36004"/>
                <a:gd name="connsiteY5" fmla="*/ 9267 h 17597"/>
                <a:gd name="connsiteX6" fmla="*/ 35668 w 36004"/>
                <a:gd name="connsiteY6" fmla="*/ 6981 h 17597"/>
                <a:gd name="connsiteX7" fmla="*/ 35668 w 36004"/>
                <a:gd name="connsiteY7" fmla="*/ -163 h 17597"/>
                <a:gd name="connsiteX8" fmla="*/ 34049 w 36004"/>
                <a:gd name="connsiteY8" fmla="*/ 2123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3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049" y="9267"/>
                  </a:lnTo>
                  <a:cubicBezTo>
                    <a:pt x="34963" y="8857"/>
                    <a:pt x="35582" y="7981"/>
                    <a:pt x="35668" y="6981"/>
                  </a:cubicBezTo>
                  <a:lnTo>
                    <a:pt x="35668" y="-163"/>
                  </a:lnTo>
                  <a:cubicBezTo>
                    <a:pt x="35602" y="847"/>
                    <a:pt x="34973" y="1733"/>
                    <a:pt x="34049" y="2123"/>
                  </a:cubicBezTo>
                  <a:lnTo>
                    <a:pt x="31763" y="3457"/>
                  </a:lnTo>
                  <a:lnTo>
                    <a:pt x="21476" y="9362"/>
                  </a:lnTo>
                  <a:cubicBezTo>
                    <a:pt x="19085" y="10601"/>
                    <a:pt x="16247" y="10601"/>
                    <a:pt x="13856" y="9362"/>
                  </a:cubicBezTo>
                  <a:lnTo>
                    <a:pt x="3569" y="3457"/>
                  </a:lnTo>
                  <a:lnTo>
                    <a:pt x="1188"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32" name="îşlíďe">
              <a:extLst>
                <a:ext uri="{FF2B5EF4-FFF2-40B4-BE49-F238E27FC236}">
                  <a16:creationId xmlns:a16="http://schemas.microsoft.com/office/drawing/2014/main" id="{3EB3ED79-19CA-45E7-942A-9D88B0E92A9C}"/>
                </a:ext>
              </a:extLst>
            </p:cNvPr>
            <p:cNvSpPr/>
            <p:nvPr/>
          </p:nvSpPr>
          <p:spPr>
            <a:xfrm>
              <a:off x="5262343" y="4925935"/>
              <a:ext cx="109362" cy="63588"/>
            </a:xfrm>
            <a:custGeom>
              <a:avLst/>
              <a:gdLst>
                <a:gd name="connsiteX0" fmla="*/ -336 w 35928"/>
                <a:gd name="connsiteY0" fmla="*/ 10291 h 20890"/>
                <a:gd name="connsiteX1" fmla="*/ 1188 w 35928"/>
                <a:gd name="connsiteY1" fmla="*/ 12482 h 20890"/>
                <a:gd name="connsiteX2" fmla="*/ 3569 w 35928"/>
                <a:gd name="connsiteY2" fmla="*/ 13911 h 20890"/>
                <a:gd name="connsiteX3" fmla="*/ 13856 w 35928"/>
                <a:gd name="connsiteY3" fmla="*/ 19721 h 20890"/>
                <a:gd name="connsiteX4" fmla="*/ 21476 w 35928"/>
                <a:gd name="connsiteY4" fmla="*/ 19721 h 20890"/>
                <a:gd name="connsiteX5" fmla="*/ 31763 w 35928"/>
                <a:gd name="connsiteY5" fmla="*/ 13911 h 20890"/>
                <a:gd name="connsiteX6" fmla="*/ 34144 w 35928"/>
                <a:gd name="connsiteY6" fmla="*/ 12482 h 20890"/>
                <a:gd name="connsiteX7" fmla="*/ 35401 w 35928"/>
                <a:gd name="connsiteY7" fmla="*/ 9357 h 20890"/>
                <a:gd name="connsiteX8" fmla="*/ 34144 w 35928"/>
                <a:gd name="connsiteY8" fmla="*/ 8100 h 20890"/>
                <a:gd name="connsiteX9" fmla="*/ 21476 w 35928"/>
                <a:gd name="connsiteY9" fmla="*/ 766 h 20890"/>
                <a:gd name="connsiteX10" fmla="*/ 13856 w 35928"/>
                <a:gd name="connsiteY10" fmla="*/ 766 h 20890"/>
                <a:gd name="connsiteX11" fmla="*/ 1188 w 35928"/>
                <a:gd name="connsiteY11" fmla="*/ 8100 h 20890"/>
                <a:gd name="connsiteX12" fmla="*/ -336 w 35928"/>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928" h="20890">
                  <a:moveTo>
                    <a:pt x="-336" y="10291"/>
                  </a:moveTo>
                  <a:cubicBezTo>
                    <a:pt x="-298" y="11253"/>
                    <a:pt x="292" y="12110"/>
                    <a:pt x="1188" y="12482"/>
                  </a:cubicBezTo>
                  <a:lnTo>
                    <a:pt x="3569" y="13911"/>
                  </a:lnTo>
                  <a:lnTo>
                    <a:pt x="13856" y="19721"/>
                  </a:lnTo>
                  <a:cubicBezTo>
                    <a:pt x="16218" y="21064"/>
                    <a:pt x="19114" y="21064"/>
                    <a:pt x="21476" y="19721"/>
                  </a:cubicBezTo>
                  <a:lnTo>
                    <a:pt x="31763" y="13911"/>
                  </a:lnTo>
                  <a:lnTo>
                    <a:pt x="34144" y="12482"/>
                  </a:lnTo>
                  <a:cubicBezTo>
                    <a:pt x="35354" y="11967"/>
                    <a:pt x="35916" y="10567"/>
                    <a:pt x="35401" y="9357"/>
                  </a:cubicBezTo>
                  <a:cubicBezTo>
                    <a:pt x="35163" y="8796"/>
                    <a:pt x="34706" y="8338"/>
                    <a:pt x="34144" y="8100"/>
                  </a:cubicBezTo>
                  <a:lnTo>
                    <a:pt x="21476" y="766"/>
                  </a:lnTo>
                  <a:cubicBezTo>
                    <a:pt x="19085" y="-472"/>
                    <a:pt x="16247" y="-472"/>
                    <a:pt x="13856" y="766"/>
                  </a:cubicBezTo>
                  <a:lnTo>
                    <a:pt x="1188" y="8100"/>
                  </a:lnTo>
                  <a:cubicBezTo>
                    <a:pt x="292" y="8472"/>
                    <a:pt x="-298"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733" name="ísľîḓè">
              <a:extLst>
                <a:ext uri="{FF2B5EF4-FFF2-40B4-BE49-F238E27FC236}">
                  <a16:creationId xmlns:a16="http://schemas.microsoft.com/office/drawing/2014/main" id="{3FB93348-B9D5-40E4-8F2D-BA40A8E211D0}"/>
                </a:ext>
              </a:extLst>
            </p:cNvPr>
            <p:cNvSpPr/>
            <p:nvPr/>
          </p:nvSpPr>
          <p:spPr>
            <a:xfrm>
              <a:off x="5264154" y="4927094"/>
              <a:ext cx="105895" cy="61101"/>
            </a:xfrm>
            <a:custGeom>
              <a:avLst/>
              <a:gdLst>
                <a:gd name="connsiteX0" fmla="*/ 1164 w 34789"/>
                <a:gd name="connsiteY0" fmla="*/ 12006 h 20073"/>
                <a:gd name="connsiteX1" fmla="*/ 13356 w 34789"/>
                <a:gd name="connsiteY1" fmla="*/ 19054 h 20073"/>
                <a:gd name="connsiteX2" fmla="*/ 20785 w 34789"/>
                <a:gd name="connsiteY2" fmla="*/ 19054 h 20073"/>
                <a:gd name="connsiteX3" fmla="*/ 32882 w 34789"/>
                <a:gd name="connsiteY3" fmla="*/ 12006 h 20073"/>
                <a:gd name="connsiteX4" fmla="*/ 32882 w 34789"/>
                <a:gd name="connsiteY4" fmla="*/ 7719 h 20073"/>
                <a:gd name="connsiteX5" fmla="*/ 20785 w 34789"/>
                <a:gd name="connsiteY5" fmla="*/ 766 h 20073"/>
                <a:gd name="connsiteX6" fmla="*/ 13356 w 34789"/>
                <a:gd name="connsiteY6" fmla="*/ 766 h 20073"/>
                <a:gd name="connsiteX7" fmla="*/ 1164 w 34789"/>
                <a:gd name="connsiteY7" fmla="*/ 7719 h 20073"/>
                <a:gd name="connsiteX8" fmla="*/ 1164 w 34789"/>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89" h="20073">
                  <a:moveTo>
                    <a:pt x="1164" y="12006"/>
                  </a:moveTo>
                  <a:lnTo>
                    <a:pt x="13356" y="19054"/>
                  </a:lnTo>
                  <a:cubicBezTo>
                    <a:pt x="15699" y="20197"/>
                    <a:pt x="18442" y="20197"/>
                    <a:pt x="20785" y="19054"/>
                  </a:cubicBezTo>
                  <a:lnTo>
                    <a:pt x="32882" y="12006"/>
                  </a:lnTo>
                  <a:cubicBezTo>
                    <a:pt x="34977" y="10862"/>
                    <a:pt x="34977" y="8958"/>
                    <a:pt x="32882" y="7719"/>
                  </a:cubicBezTo>
                  <a:lnTo>
                    <a:pt x="20785" y="766"/>
                  </a:lnTo>
                  <a:cubicBezTo>
                    <a:pt x="18461" y="-472"/>
                    <a:pt x="15680" y="-472"/>
                    <a:pt x="13356" y="766"/>
                  </a:cubicBezTo>
                  <a:lnTo>
                    <a:pt x="1164" y="7719"/>
                  </a:lnTo>
                  <a:cubicBezTo>
                    <a:pt x="-836" y="8958"/>
                    <a:pt x="-836" y="10862"/>
                    <a:pt x="1164" y="12006"/>
                  </a:cubicBezTo>
                  <a:close/>
                </a:path>
              </a:pathLst>
            </a:custGeom>
            <a:solidFill>
              <a:srgbClr val="D1D9E8"/>
            </a:solidFill>
            <a:ln w="9525" cap="flat">
              <a:noFill/>
              <a:prstDash val="solid"/>
              <a:miter/>
            </a:ln>
          </p:spPr>
          <p:txBody>
            <a:bodyPr rtlCol="0" anchor="ctr"/>
            <a:lstStyle/>
            <a:p>
              <a:endParaRPr lang="zh-CN" altLang="en-US"/>
            </a:p>
          </p:txBody>
        </p:sp>
        <p:sp>
          <p:nvSpPr>
            <p:cNvPr id="734" name="ïşḷíďé">
              <a:extLst>
                <a:ext uri="{FF2B5EF4-FFF2-40B4-BE49-F238E27FC236}">
                  <a16:creationId xmlns:a16="http://schemas.microsoft.com/office/drawing/2014/main" id="{551F6F8C-7868-40C9-A4E1-F87D00AD81F3}"/>
                </a:ext>
              </a:extLst>
            </p:cNvPr>
            <p:cNvSpPr/>
            <p:nvPr/>
          </p:nvSpPr>
          <p:spPr>
            <a:xfrm>
              <a:off x="5262343" y="4957756"/>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028 h 17597"/>
                <a:gd name="connsiteX9" fmla="*/ 31763 w 36004"/>
                <a:gd name="connsiteY9" fmla="*/ 3457 h 17597"/>
                <a:gd name="connsiteX10" fmla="*/ 21476 w 36004"/>
                <a:gd name="connsiteY10" fmla="*/ 9267 h 17597"/>
                <a:gd name="connsiteX11" fmla="*/ 13856 w 36004"/>
                <a:gd name="connsiteY11" fmla="*/ 9267 h 17597"/>
                <a:gd name="connsiteX12" fmla="*/ 3569 w 36004"/>
                <a:gd name="connsiteY12" fmla="*/ 3457 h 17597"/>
                <a:gd name="connsiteX13" fmla="*/ 1188 w 36004"/>
                <a:gd name="connsiteY13" fmla="*/ 2028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2" y="7953"/>
                    <a:pt x="35668" y="6981"/>
                  </a:cubicBezTo>
                  <a:lnTo>
                    <a:pt x="35668" y="-163"/>
                  </a:lnTo>
                  <a:cubicBezTo>
                    <a:pt x="35630" y="799"/>
                    <a:pt x="35039" y="1656"/>
                    <a:pt x="34144" y="2028"/>
                  </a:cubicBezTo>
                  <a:lnTo>
                    <a:pt x="31763" y="3457"/>
                  </a:lnTo>
                  <a:lnTo>
                    <a:pt x="21476" y="9267"/>
                  </a:lnTo>
                  <a:cubicBezTo>
                    <a:pt x="19114" y="10610"/>
                    <a:pt x="16218" y="10610"/>
                    <a:pt x="13856" y="9267"/>
                  </a:cubicBezTo>
                  <a:lnTo>
                    <a:pt x="3569" y="3457"/>
                  </a:lnTo>
                  <a:lnTo>
                    <a:pt x="1188" y="2028"/>
                  </a:lnTo>
                  <a:cubicBezTo>
                    <a:pt x="292" y="1656"/>
                    <a:pt x="-298" y="799"/>
                    <a:pt x="-336" y="-163"/>
                  </a:cubicBezTo>
                  <a:close/>
                </a:path>
              </a:pathLst>
            </a:custGeom>
            <a:solidFill>
              <a:srgbClr val="BF4200"/>
            </a:solidFill>
            <a:ln w="9525" cap="flat">
              <a:noFill/>
              <a:prstDash val="solid"/>
              <a:miter/>
            </a:ln>
          </p:spPr>
          <p:txBody>
            <a:bodyPr rtlCol="0" anchor="ctr"/>
            <a:lstStyle/>
            <a:p>
              <a:endParaRPr lang="zh-CN" altLang="en-US"/>
            </a:p>
          </p:txBody>
        </p:sp>
        <p:sp>
          <p:nvSpPr>
            <p:cNvPr id="735" name="îṩľïḑè">
              <a:extLst>
                <a:ext uri="{FF2B5EF4-FFF2-40B4-BE49-F238E27FC236}">
                  <a16:creationId xmlns:a16="http://schemas.microsoft.com/office/drawing/2014/main" id="{41680ECD-4712-48AA-9682-CDCF19CAA5C2}"/>
                </a:ext>
              </a:extLst>
            </p:cNvPr>
            <p:cNvSpPr/>
            <p:nvPr/>
          </p:nvSpPr>
          <p:spPr>
            <a:xfrm>
              <a:off x="5339464" y="4970583"/>
              <a:ext cx="109594" cy="63588"/>
            </a:xfrm>
            <a:custGeom>
              <a:avLst/>
              <a:gdLst>
                <a:gd name="connsiteX0" fmla="*/ -336 w 36004"/>
                <a:gd name="connsiteY0" fmla="*/ 10291 h 20890"/>
                <a:gd name="connsiteX1" fmla="*/ 1283 w 36004"/>
                <a:gd name="connsiteY1" fmla="*/ 12482 h 20890"/>
                <a:gd name="connsiteX2" fmla="*/ 3569 w 36004"/>
                <a:gd name="connsiteY2" fmla="*/ 13815 h 20890"/>
                <a:gd name="connsiteX3" fmla="*/ 13856 w 36004"/>
                <a:gd name="connsiteY3" fmla="*/ 19721 h 20890"/>
                <a:gd name="connsiteX4" fmla="*/ 21571 w 36004"/>
                <a:gd name="connsiteY4" fmla="*/ 19721 h 20890"/>
                <a:gd name="connsiteX5" fmla="*/ 31858 w 36004"/>
                <a:gd name="connsiteY5" fmla="*/ 13815 h 20890"/>
                <a:gd name="connsiteX6" fmla="*/ 34144 w 36004"/>
                <a:gd name="connsiteY6" fmla="*/ 12482 h 20890"/>
                <a:gd name="connsiteX7" fmla="*/ 35668 w 36004"/>
                <a:gd name="connsiteY7" fmla="*/ 10291 h 20890"/>
                <a:gd name="connsiteX8" fmla="*/ 34144 w 36004"/>
                <a:gd name="connsiteY8" fmla="*/ 8005 h 20890"/>
                <a:gd name="connsiteX9" fmla="*/ 21571 w 36004"/>
                <a:gd name="connsiteY9" fmla="*/ 766 h 20890"/>
                <a:gd name="connsiteX10" fmla="*/ 13856 w 36004"/>
                <a:gd name="connsiteY10" fmla="*/ 766 h 20890"/>
                <a:gd name="connsiteX11" fmla="*/ 1283 w 36004"/>
                <a:gd name="connsiteY11" fmla="*/ 8005 h 20890"/>
                <a:gd name="connsiteX12" fmla="*/ -336 w 36004"/>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291"/>
                  </a:moveTo>
                  <a:cubicBezTo>
                    <a:pt x="-260" y="11272"/>
                    <a:pt x="369" y="12120"/>
                    <a:pt x="1283" y="12482"/>
                  </a:cubicBezTo>
                  <a:lnTo>
                    <a:pt x="3569" y="13815"/>
                  </a:lnTo>
                  <a:lnTo>
                    <a:pt x="13856" y="19721"/>
                  </a:lnTo>
                  <a:cubicBezTo>
                    <a:pt x="16256" y="21064"/>
                    <a:pt x="19171" y="21064"/>
                    <a:pt x="21571" y="19721"/>
                  </a:cubicBezTo>
                  <a:lnTo>
                    <a:pt x="31858" y="13815"/>
                  </a:lnTo>
                  <a:lnTo>
                    <a:pt x="34144" y="12482"/>
                  </a:lnTo>
                  <a:cubicBezTo>
                    <a:pt x="35021" y="12091"/>
                    <a:pt x="35611" y="11253"/>
                    <a:pt x="35668" y="10291"/>
                  </a:cubicBezTo>
                  <a:cubicBezTo>
                    <a:pt x="35601" y="9310"/>
                    <a:pt x="35021" y="8443"/>
                    <a:pt x="34144" y="8005"/>
                  </a:cubicBezTo>
                  <a:lnTo>
                    <a:pt x="21571" y="766"/>
                  </a:lnTo>
                  <a:cubicBezTo>
                    <a:pt x="19152" y="-472"/>
                    <a:pt x="16275" y="-472"/>
                    <a:pt x="13856" y="766"/>
                  </a:cubicBezTo>
                  <a:lnTo>
                    <a:pt x="1283" y="8005"/>
                  </a:lnTo>
                  <a:cubicBezTo>
                    <a:pt x="349" y="8396"/>
                    <a:pt x="-270" y="9281"/>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736" name="iṡḷïḋê">
              <a:extLst>
                <a:ext uri="{FF2B5EF4-FFF2-40B4-BE49-F238E27FC236}">
                  <a16:creationId xmlns:a16="http://schemas.microsoft.com/office/drawing/2014/main" id="{869809BB-92F1-4986-80AD-A9069C3F36E1}"/>
                </a:ext>
              </a:extLst>
            </p:cNvPr>
            <p:cNvSpPr/>
            <p:nvPr/>
          </p:nvSpPr>
          <p:spPr>
            <a:xfrm>
              <a:off x="5341348" y="4971743"/>
              <a:ext cx="105898" cy="61104"/>
            </a:xfrm>
            <a:custGeom>
              <a:avLst/>
              <a:gdLst>
                <a:gd name="connsiteX0" fmla="*/ 1235 w 34790"/>
                <a:gd name="connsiteY0" fmla="*/ 12006 h 20074"/>
                <a:gd name="connsiteX1" fmla="*/ 13332 w 34790"/>
                <a:gd name="connsiteY1" fmla="*/ 19054 h 20074"/>
                <a:gd name="connsiteX2" fmla="*/ 20762 w 34790"/>
                <a:gd name="connsiteY2" fmla="*/ 19054 h 20074"/>
                <a:gd name="connsiteX3" fmla="*/ 32954 w 34790"/>
                <a:gd name="connsiteY3" fmla="*/ 12006 h 20074"/>
                <a:gd name="connsiteX4" fmla="*/ 32954 w 34790"/>
                <a:gd name="connsiteY4" fmla="*/ 7719 h 20074"/>
                <a:gd name="connsiteX5" fmla="*/ 20762 w 34790"/>
                <a:gd name="connsiteY5" fmla="*/ 766 h 20074"/>
                <a:gd name="connsiteX6" fmla="*/ 13332 w 34790"/>
                <a:gd name="connsiteY6" fmla="*/ 766 h 20074"/>
                <a:gd name="connsiteX7" fmla="*/ 1235 w 34790"/>
                <a:gd name="connsiteY7" fmla="*/ 7719 h 20074"/>
                <a:gd name="connsiteX8" fmla="*/ 1235 w 34790"/>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4">
                  <a:moveTo>
                    <a:pt x="1235" y="12006"/>
                  </a:moveTo>
                  <a:lnTo>
                    <a:pt x="13332" y="19054"/>
                  </a:lnTo>
                  <a:cubicBezTo>
                    <a:pt x="15675" y="20197"/>
                    <a:pt x="18419" y="20197"/>
                    <a:pt x="20762" y="19054"/>
                  </a:cubicBezTo>
                  <a:lnTo>
                    <a:pt x="32954" y="12006"/>
                  </a:lnTo>
                  <a:cubicBezTo>
                    <a:pt x="34954" y="10863"/>
                    <a:pt x="34954" y="8958"/>
                    <a:pt x="32954" y="7719"/>
                  </a:cubicBezTo>
                  <a:lnTo>
                    <a:pt x="20762" y="766"/>
                  </a:lnTo>
                  <a:cubicBezTo>
                    <a:pt x="18437" y="-472"/>
                    <a:pt x="15656" y="-472"/>
                    <a:pt x="13332" y="766"/>
                  </a:cubicBezTo>
                  <a:lnTo>
                    <a:pt x="1235" y="7719"/>
                  </a:lnTo>
                  <a:cubicBezTo>
                    <a:pt x="-860" y="9434"/>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737" name="iṡļïḓê">
              <a:extLst>
                <a:ext uri="{FF2B5EF4-FFF2-40B4-BE49-F238E27FC236}">
                  <a16:creationId xmlns:a16="http://schemas.microsoft.com/office/drawing/2014/main" id="{DDA5E6AA-F7BC-41D7-B5FC-EB19B596CA59}"/>
                </a:ext>
              </a:extLst>
            </p:cNvPr>
            <p:cNvSpPr/>
            <p:nvPr/>
          </p:nvSpPr>
          <p:spPr>
            <a:xfrm>
              <a:off x="5339464" y="5001244"/>
              <a:ext cx="110464" cy="54724"/>
            </a:xfrm>
            <a:custGeom>
              <a:avLst/>
              <a:gdLst>
                <a:gd name="connsiteX0" fmla="*/ -336 w 36290"/>
                <a:gd name="connsiteY0" fmla="*/ 218 h 17978"/>
                <a:gd name="connsiteX1" fmla="*/ -336 w 36290"/>
                <a:gd name="connsiteY1" fmla="*/ 7362 h 17978"/>
                <a:gd name="connsiteX2" fmla="*/ 1283 w 36290"/>
                <a:gd name="connsiteY2" fmla="*/ 9648 h 17978"/>
                <a:gd name="connsiteX3" fmla="*/ 13856 w 36290"/>
                <a:gd name="connsiteY3" fmla="*/ 16887 h 17978"/>
                <a:gd name="connsiteX4" fmla="*/ 21571 w 36290"/>
                <a:gd name="connsiteY4" fmla="*/ 16887 h 17978"/>
                <a:gd name="connsiteX5" fmla="*/ 34430 w 36290"/>
                <a:gd name="connsiteY5" fmla="*/ 9267 h 17978"/>
                <a:gd name="connsiteX6" fmla="*/ 35954 w 36290"/>
                <a:gd name="connsiteY6" fmla="*/ 6981 h 17978"/>
                <a:gd name="connsiteX7" fmla="*/ 35954 w 36290"/>
                <a:gd name="connsiteY7" fmla="*/ -163 h 17978"/>
                <a:gd name="connsiteX8" fmla="*/ 34430 w 36290"/>
                <a:gd name="connsiteY8" fmla="*/ 2028 h 17978"/>
                <a:gd name="connsiteX9" fmla="*/ 32144 w 36290"/>
                <a:gd name="connsiteY9" fmla="*/ 3362 h 17978"/>
                <a:gd name="connsiteX10" fmla="*/ 21857 w 36290"/>
                <a:gd name="connsiteY10" fmla="*/ 9267 h 17978"/>
                <a:gd name="connsiteX11" fmla="*/ 14142 w 36290"/>
                <a:gd name="connsiteY11" fmla="*/ 9267 h 17978"/>
                <a:gd name="connsiteX12" fmla="*/ 3855 w 36290"/>
                <a:gd name="connsiteY12" fmla="*/ 3362 h 17978"/>
                <a:gd name="connsiteX13" fmla="*/ 1568 w 36290"/>
                <a:gd name="connsiteY13" fmla="*/ 2028 h 17978"/>
                <a:gd name="connsiteX14" fmla="*/ -336 w 36290"/>
                <a:gd name="connsiteY14" fmla="*/ 218 h 17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290" h="17978">
                  <a:moveTo>
                    <a:pt x="-336" y="218"/>
                  </a:moveTo>
                  <a:lnTo>
                    <a:pt x="-336" y="7362"/>
                  </a:lnTo>
                  <a:cubicBezTo>
                    <a:pt x="-270" y="8372"/>
                    <a:pt x="359" y="9257"/>
                    <a:pt x="1283" y="9648"/>
                  </a:cubicBezTo>
                  <a:lnTo>
                    <a:pt x="13856" y="16887"/>
                  </a:lnTo>
                  <a:cubicBezTo>
                    <a:pt x="16275" y="18125"/>
                    <a:pt x="19152" y="18125"/>
                    <a:pt x="21571" y="16887"/>
                  </a:cubicBezTo>
                  <a:lnTo>
                    <a:pt x="34430" y="9267"/>
                  </a:lnTo>
                  <a:cubicBezTo>
                    <a:pt x="35297" y="8819"/>
                    <a:pt x="35868" y="7953"/>
                    <a:pt x="35954" y="6981"/>
                  </a:cubicBezTo>
                  <a:lnTo>
                    <a:pt x="35954" y="-163"/>
                  </a:lnTo>
                  <a:cubicBezTo>
                    <a:pt x="35897" y="799"/>
                    <a:pt x="35306" y="1638"/>
                    <a:pt x="34430" y="2028"/>
                  </a:cubicBezTo>
                  <a:lnTo>
                    <a:pt x="32144" y="3362"/>
                  </a:lnTo>
                  <a:lnTo>
                    <a:pt x="21857" y="9267"/>
                  </a:lnTo>
                  <a:cubicBezTo>
                    <a:pt x="19457" y="10610"/>
                    <a:pt x="16542" y="10610"/>
                    <a:pt x="14142" y="9267"/>
                  </a:cubicBezTo>
                  <a:lnTo>
                    <a:pt x="3855" y="3362"/>
                  </a:lnTo>
                  <a:lnTo>
                    <a:pt x="1568" y="2028"/>
                  </a:lnTo>
                  <a:cubicBezTo>
                    <a:pt x="654" y="1818"/>
                    <a:pt x="-79" y="1123"/>
                    <a:pt x="-336" y="218"/>
                  </a:cubicBezTo>
                  <a:close/>
                </a:path>
              </a:pathLst>
            </a:custGeom>
            <a:solidFill>
              <a:srgbClr val="BF4200"/>
            </a:solidFill>
            <a:ln w="9525" cap="flat">
              <a:noFill/>
              <a:prstDash val="solid"/>
              <a:miter/>
            </a:ln>
          </p:spPr>
          <p:txBody>
            <a:bodyPr rtlCol="0" anchor="ctr"/>
            <a:lstStyle/>
            <a:p>
              <a:endParaRPr lang="zh-CN" altLang="en-US"/>
            </a:p>
          </p:txBody>
        </p:sp>
        <p:sp>
          <p:nvSpPr>
            <p:cNvPr id="738" name="ïṩḻîḓè">
              <a:extLst>
                <a:ext uri="{FF2B5EF4-FFF2-40B4-BE49-F238E27FC236}">
                  <a16:creationId xmlns:a16="http://schemas.microsoft.com/office/drawing/2014/main" id="{11AB723C-F5EC-4166-922C-18B6637B5766}"/>
                </a:ext>
              </a:extLst>
            </p:cNvPr>
            <p:cNvSpPr/>
            <p:nvPr/>
          </p:nvSpPr>
          <p:spPr>
            <a:xfrm>
              <a:off x="5416296" y="5015234"/>
              <a:ext cx="109594" cy="63588"/>
            </a:xfrm>
            <a:custGeom>
              <a:avLst/>
              <a:gdLst>
                <a:gd name="connsiteX0" fmla="*/ -336 w 36004"/>
                <a:gd name="connsiteY0" fmla="*/ 10196 h 20890"/>
                <a:gd name="connsiteX1" fmla="*/ 1188 w 36004"/>
                <a:gd name="connsiteY1" fmla="*/ 12482 h 20890"/>
                <a:gd name="connsiteX2" fmla="*/ 3569 w 36004"/>
                <a:gd name="connsiteY2" fmla="*/ 13815 h 20890"/>
                <a:gd name="connsiteX3" fmla="*/ 13856 w 36004"/>
                <a:gd name="connsiteY3" fmla="*/ 19721 h 20890"/>
                <a:gd name="connsiteX4" fmla="*/ 21476 w 36004"/>
                <a:gd name="connsiteY4" fmla="*/ 19721 h 20890"/>
                <a:gd name="connsiteX5" fmla="*/ 31763 w 36004"/>
                <a:gd name="connsiteY5" fmla="*/ 13815 h 20890"/>
                <a:gd name="connsiteX6" fmla="*/ 34144 w 36004"/>
                <a:gd name="connsiteY6" fmla="*/ 12482 h 20890"/>
                <a:gd name="connsiteX7" fmla="*/ 35668 w 36004"/>
                <a:gd name="connsiteY7" fmla="*/ 10196 h 20890"/>
                <a:gd name="connsiteX8" fmla="*/ 34144 w 36004"/>
                <a:gd name="connsiteY8" fmla="*/ 8005 h 20890"/>
                <a:gd name="connsiteX9" fmla="*/ 21476 w 36004"/>
                <a:gd name="connsiteY9" fmla="*/ 766 h 20890"/>
                <a:gd name="connsiteX10" fmla="*/ 13856 w 36004"/>
                <a:gd name="connsiteY10" fmla="*/ 766 h 20890"/>
                <a:gd name="connsiteX11" fmla="*/ 1188 w 36004"/>
                <a:gd name="connsiteY11" fmla="*/ 8005 h 20890"/>
                <a:gd name="connsiteX12" fmla="*/ -336 w 36004"/>
                <a:gd name="connsiteY12" fmla="*/ 10196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196"/>
                  </a:moveTo>
                  <a:cubicBezTo>
                    <a:pt x="-308" y="11186"/>
                    <a:pt x="283" y="12082"/>
                    <a:pt x="1188" y="12482"/>
                  </a:cubicBezTo>
                  <a:lnTo>
                    <a:pt x="3569" y="13815"/>
                  </a:lnTo>
                  <a:lnTo>
                    <a:pt x="13856" y="19721"/>
                  </a:lnTo>
                  <a:cubicBezTo>
                    <a:pt x="16218" y="21064"/>
                    <a:pt x="19114" y="21064"/>
                    <a:pt x="21476" y="19721"/>
                  </a:cubicBezTo>
                  <a:lnTo>
                    <a:pt x="31763" y="13815"/>
                  </a:lnTo>
                  <a:lnTo>
                    <a:pt x="34144" y="12482"/>
                  </a:lnTo>
                  <a:cubicBezTo>
                    <a:pt x="35049" y="12082"/>
                    <a:pt x="35640" y="11186"/>
                    <a:pt x="35668" y="10196"/>
                  </a:cubicBezTo>
                  <a:cubicBezTo>
                    <a:pt x="35573" y="9253"/>
                    <a:pt x="34992" y="8424"/>
                    <a:pt x="34144" y="8005"/>
                  </a:cubicBezTo>
                  <a:lnTo>
                    <a:pt x="21476" y="766"/>
                  </a:lnTo>
                  <a:cubicBezTo>
                    <a:pt x="19085" y="-472"/>
                    <a:pt x="16247" y="-472"/>
                    <a:pt x="13856" y="766"/>
                  </a:cubicBezTo>
                  <a:lnTo>
                    <a:pt x="1188" y="8005"/>
                  </a:lnTo>
                  <a:cubicBezTo>
                    <a:pt x="340" y="8424"/>
                    <a:pt x="-241" y="925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739" name="í$1ïḓe">
              <a:extLst>
                <a:ext uri="{FF2B5EF4-FFF2-40B4-BE49-F238E27FC236}">
                  <a16:creationId xmlns:a16="http://schemas.microsoft.com/office/drawing/2014/main" id="{63A36A64-1E52-4B38-BCDE-2B245F301AEF}"/>
                </a:ext>
              </a:extLst>
            </p:cNvPr>
            <p:cNvSpPr/>
            <p:nvPr/>
          </p:nvSpPr>
          <p:spPr>
            <a:xfrm>
              <a:off x="5419008" y="5016394"/>
              <a:ext cx="105329" cy="61101"/>
            </a:xfrm>
            <a:custGeom>
              <a:avLst/>
              <a:gdLst>
                <a:gd name="connsiteX0" fmla="*/ 1154 w 34603"/>
                <a:gd name="connsiteY0" fmla="*/ 12006 h 20073"/>
                <a:gd name="connsiteX1" fmla="*/ 13250 w 34603"/>
                <a:gd name="connsiteY1" fmla="*/ 19054 h 20073"/>
                <a:gd name="connsiteX2" fmla="*/ 20680 w 34603"/>
                <a:gd name="connsiteY2" fmla="*/ 19054 h 20073"/>
                <a:gd name="connsiteX3" fmla="*/ 32777 w 34603"/>
                <a:gd name="connsiteY3" fmla="*/ 12006 h 20073"/>
                <a:gd name="connsiteX4" fmla="*/ 34120 w 34603"/>
                <a:gd name="connsiteY4" fmla="*/ 9062 h 20073"/>
                <a:gd name="connsiteX5" fmla="*/ 32777 w 34603"/>
                <a:gd name="connsiteY5" fmla="*/ 7719 h 20073"/>
                <a:gd name="connsiteX6" fmla="*/ 20680 w 34603"/>
                <a:gd name="connsiteY6" fmla="*/ 766 h 20073"/>
                <a:gd name="connsiteX7" fmla="*/ 13250 w 34603"/>
                <a:gd name="connsiteY7" fmla="*/ 766 h 20073"/>
                <a:gd name="connsiteX8" fmla="*/ 1154 w 34603"/>
                <a:gd name="connsiteY8" fmla="*/ 7719 h 20073"/>
                <a:gd name="connsiteX9" fmla="*/ -189 w 34603"/>
                <a:gd name="connsiteY9" fmla="*/ 10653 h 20073"/>
                <a:gd name="connsiteX10" fmla="*/ 1154 w 34603"/>
                <a:gd name="connsiteY10"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603" h="20073">
                  <a:moveTo>
                    <a:pt x="1154" y="12006"/>
                  </a:moveTo>
                  <a:lnTo>
                    <a:pt x="13250" y="19054"/>
                  </a:lnTo>
                  <a:cubicBezTo>
                    <a:pt x="15594" y="20197"/>
                    <a:pt x="18337" y="20197"/>
                    <a:pt x="20680" y="19054"/>
                  </a:cubicBezTo>
                  <a:lnTo>
                    <a:pt x="32777" y="12006"/>
                  </a:lnTo>
                  <a:cubicBezTo>
                    <a:pt x="33958" y="11567"/>
                    <a:pt x="34567" y="10253"/>
                    <a:pt x="34120" y="9062"/>
                  </a:cubicBezTo>
                  <a:cubicBezTo>
                    <a:pt x="33891" y="8443"/>
                    <a:pt x="33396" y="7948"/>
                    <a:pt x="32777" y="7719"/>
                  </a:cubicBezTo>
                  <a:lnTo>
                    <a:pt x="20680" y="766"/>
                  </a:lnTo>
                  <a:cubicBezTo>
                    <a:pt x="18356" y="-472"/>
                    <a:pt x="15575" y="-472"/>
                    <a:pt x="13250" y="766"/>
                  </a:cubicBezTo>
                  <a:lnTo>
                    <a:pt x="1154" y="7719"/>
                  </a:lnTo>
                  <a:cubicBezTo>
                    <a:pt x="-27" y="8158"/>
                    <a:pt x="-637" y="9472"/>
                    <a:pt x="-189" y="10653"/>
                  </a:cubicBezTo>
                  <a:cubicBezTo>
                    <a:pt x="39" y="11282"/>
                    <a:pt x="535" y="11777"/>
                    <a:pt x="1154" y="12006"/>
                  </a:cubicBezTo>
                  <a:close/>
                </a:path>
              </a:pathLst>
            </a:custGeom>
            <a:solidFill>
              <a:srgbClr val="D1D9E8"/>
            </a:solidFill>
            <a:ln w="9525" cap="flat">
              <a:noFill/>
              <a:prstDash val="solid"/>
              <a:miter/>
            </a:ln>
          </p:spPr>
          <p:txBody>
            <a:bodyPr rtlCol="0" anchor="ctr"/>
            <a:lstStyle/>
            <a:p>
              <a:endParaRPr lang="zh-CN" altLang="en-US"/>
            </a:p>
          </p:txBody>
        </p:sp>
        <p:sp>
          <p:nvSpPr>
            <p:cNvPr id="740" name="iṥ1îḓè">
              <a:extLst>
                <a:ext uri="{FF2B5EF4-FFF2-40B4-BE49-F238E27FC236}">
                  <a16:creationId xmlns:a16="http://schemas.microsoft.com/office/drawing/2014/main" id="{90DB9E14-DBEB-45D1-914D-0A4BA3F412DB}"/>
                </a:ext>
              </a:extLst>
            </p:cNvPr>
            <p:cNvSpPr/>
            <p:nvPr/>
          </p:nvSpPr>
          <p:spPr>
            <a:xfrm>
              <a:off x="5416296" y="5046763"/>
              <a:ext cx="109594" cy="53804"/>
            </a:xfrm>
            <a:custGeom>
              <a:avLst/>
              <a:gdLst>
                <a:gd name="connsiteX0" fmla="*/ -336 w 36004"/>
                <a:gd name="connsiteY0" fmla="*/ -163 h 17676"/>
                <a:gd name="connsiteX1" fmla="*/ -336 w 36004"/>
                <a:gd name="connsiteY1" fmla="*/ 7076 h 17676"/>
                <a:gd name="connsiteX2" fmla="*/ 1188 w 36004"/>
                <a:gd name="connsiteY2" fmla="*/ 9267 h 17676"/>
                <a:gd name="connsiteX3" fmla="*/ 13856 w 36004"/>
                <a:gd name="connsiteY3" fmla="*/ 16506 h 17676"/>
                <a:gd name="connsiteX4" fmla="*/ 21476 w 36004"/>
                <a:gd name="connsiteY4" fmla="*/ 16506 h 17676"/>
                <a:gd name="connsiteX5" fmla="*/ 34144 w 36004"/>
                <a:gd name="connsiteY5" fmla="*/ 9267 h 17676"/>
                <a:gd name="connsiteX6" fmla="*/ 35668 w 36004"/>
                <a:gd name="connsiteY6" fmla="*/ 7076 h 17676"/>
                <a:gd name="connsiteX7" fmla="*/ 35668 w 36004"/>
                <a:gd name="connsiteY7" fmla="*/ -163 h 17676"/>
                <a:gd name="connsiteX8" fmla="*/ 34144 w 36004"/>
                <a:gd name="connsiteY8" fmla="*/ 2124 h 17676"/>
                <a:gd name="connsiteX9" fmla="*/ 31763 w 36004"/>
                <a:gd name="connsiteY9" fmla="*/ 3457 h 17676"/>
                <a:gd name="connsiteX10" fmla="*/ 21476 w 36004"/>
                <a:gd name="connsiteY10" fmla="*/ 9362 h 17676"/>
                <a:gd name="connsiteX11" fmla="*/ 13856 w 36004"/>
                <a:gd name="connsiteY11" fmla="*/ 9362 h 17676"/>
                <a:gd name="connsiteX12" fmla="*/ 3569 w 36004"/>
                <a:gd name="connsiteY12" fmla="*/ 3457 h 17676"/>
                <a:gd name="connsiteX13" fmla="*/ 1188 w 36004"/>
                <a:gd name="connsiteY13" fmla="*/ 2124 h 17676"/>
                <a:gd name="connsiteX14" fmla="*/ -336 w 36004"/>
                <a:gd name="connsiteY14" fmla="*/ -163 h 17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6">
                  <a:moveTo>
                    <a:pt x="-336" y="-163"/>
                  </a:moveTo>
                  <a:lnTo>
                    <a:pt x="-336" y="7076"/>
                  </a:lnTo>
                  <a:cubicBezTo>
                    <a:pt x="-298" y="8039"/>
                    <a:pt x="292" y="8896"/>
                    <a:pt x="1188" y="9267"/>
                  </a:cubicBezTo>
                  <a:lnTo>
                    <a:pt x="13856" y="16506"/>
                  </a:lnTo>
                  <a:cubicBezTo>
                    <a:pt x="16218" y="17849"/>
                    <a:pt x="19114" y="17849"/>
                    <a:pt x="21476" y="16506"/>
                  </a:cubicBezTo>
                  <a:lnTo>
                    <a:pt x="34144" y="9267"/>
                  </a:lnTo>
                  <a:cubicBezTo>
                    <a:pt x="35021" y="8877"/>
                    <a:pt x="35611" y="8039"/>
                    <a:pt x="35668" y="7076"/>
                  </a:cubicBezTo>
                  <a:lnTo>
                    <a:pt x="35668" y="-163"/>
                  </a:lnTo>
                  <a:cubicBezTo>
                    <a:pt x="35640" y="828"/>
                    <a:pt x="35049" y="1724"/>
                    <a:pt x="34144" y="2124"/>
                  </a:cubicBezTo>
                  <a:lnTo>
                    <a:pt x="31763" y="3457"/>
                  </a:lnTo>
                  <a:lnTo>
                    <a:pt x="21476" y="9362"/>
                  </a:lnTo>
                  <a:cubicBezTo>
                    <a:pt x="19114" y="10706"/>
                    <a:pt x="16218" y="10706"/>
                    <a:pt x="13856" y="9362"/>
                  </a:cubicBezTo>
                  <a:lnTo>
                    <a:pt x="3569" y="3457"/>
                  </a:lnTo>
                  <a:lnTo>
                    <a:pt x="1188" y="2124"/>
                  </a:lnTo>
                  <a:cubicBezTo>
                    <a:pt x="283" y="1724"/>
                    <a:pt x="-308"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41" name="iṧľiḍé">
              <a:extLst>
                <a:ext uri="{FF2B5EF4-FFF2-40B4-BE49-F238E27FC236}">
                  <a16:creationId xmlns:a16="http://schemas.microsoft.com/office/drawing/2014/main" id="{59696EA9-896D-400D-B028-03E79E259CDE}"/>
                </a:ext>
              </a:extLst>
            </p:cNvPr>
            <p:cNvSpPr/>
            <p:nvPr/>
          </p:nvSpPr>
          <p:spPr>
            <a:xfrm>
              <a:off x="5493998" y="5059883"/>
              <a:ext cx="109740" cy="63350"/>
            </a:xfrm>
            <a:custGeom>
              <a:avLst/>
              <a:gdLst>
                <a:gd name="connsiteX0" fmla="*/ -336 w 36052"/>
                <a:gd name="connsiteY0" fmla="*/ 10196 h 20812"/>
                <a:gd name="connsiteX1" fmla="*/ 1283 w 36052"/>
                <a:gd name="connsiteY1" fmla="*/ 12482 h 20812"/>
                <a:gd name="connsiteX2" fmla="*/ 3569 w 36052"/>
                <a:gd name="connsiteY2" fmla="*/ 13815 h 20812"/>
                <a:gd name="connsiteX3" fmla="*/ 13856 w 36052"/>
                <a:gd name="connsiteY3" fmla="*/ 19721 h 20812"/>
                <a:gd name="connsiteX4" fmla="*/ 21571 w 36052"/>
                <a:gd name="connsiteY4" fmla="*/ 19721 h 20812"/>
                <a:gd name="connsiteX5" fmla="*/ 31858 w 36052"/>
                <a:gd name="connsiteY5" fmla="*/ 13815 h 20812"/>
                <a:gd name="connsiteX6" fmla="*/ 34144 w 36052"/>
                <a:gd name="connsiteY6" fmla="*/ 12482 h 20812"/>
                <a:gd name="connsiteX7" fmla="*/ 35573 w 36052"/>
                <a:gd name="connsiteY7" fmla="*/ 9434 h 20812"/>
                <a:gd name="connsiteX8" fmla="*/ 34144 w 36052"/>
                <a:gd name="connsiteY8" fmla="*/ 8005 h 20812"/>
                <a:gd name="connsiteX9" fmla="*/ 21571 w 36052"/>
                <a:gd name="connsiteY9" fmla="*/ 766 h 20812"/>
                <a:gd name="connsiteX10" fmla="*/ 13856 w 36052"/>
                <a:gd name="connsiteY10" fmla="*/ 766 h 20812"/>
                <a:gd name="connsiteX11" fmla="*/ 1283 w 36052"/>
                <a:gd name="connsiteY11" fmla="*/ 8005 h 20812"/>
                <a:gd name="connsiteX12" fmla="*/ -336 w 36052"/>
                <a:gd name="connsiteY12" fmla="*/ 10196 h 20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12">
                  <a:moveTo>
                    <a:pt x="-336" y="10196"/>
                  </a:moveTo>
                  <a:cubicBezTo>
                    <a:pt x="-231" y="11186"/>
                    <a:pt x="378" y="12053"/>
                    <a:pt x="1283" y="12482"/>
                  </a:cubicBezTo>
                  <a:lnTo>
                    <a:pt x="3569" y="13815"/>
                  </a:lnTo>
                  <a:lnTo>
                    <a:pt x="13856" y="19721"/>
                  </a:lnTo>
                  <a:cubicBezTo>
                    <a:pt x="16275" y="20959"/>
                    <a:pt x="19152" y="20959"/>
                    <a:pt x="21571" y="19721"/>
                  </a:cubicBezTo>
                  <a:lnTo>
                    <a:pt x="31858" y="13815"/>
                  </a:lnTo>
                  <a:lnTo>
                    <a:pt x="34144" y="12482"/>
                  </a:lnTo>
                  <a:cubicBezTo>
                    <a:pt x="35382" y="12034"/>
                    <a:pt x="36021" y="10663"/>
                    <a:pt x="35573" y="9434"/>
                  </a:cubicBezTo>
                  <a:cubicBezTo>
                    <a:pt x="35325" y="8767"/>
                    <a:pt x="34811" y="8243"/>
                    <a:pt x="34144" y="8005"/>
                  </a:cubicBezTo>
                  <a:lnTo>
                    <a:pt x="21571" y="766"/>
                  </a:lnTo>
                  <a:cubicBezTo>
                    <a:pt x="19152" y="-472"/>
                    <a:pt x="16275" y="-472"/>
                    <a:pt x="13856" y="766"/>
                  </a:cubicBezTo>
                  <a:lnTo>
                    <a:pt x="1283" y="8005"/>
                  </a:lnTo>
                  <a:cubicBezTo>
                    <a:pt x="407" y="8415"/>
                    <a:pt x="-203" y="924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742" name="íṣḷîḑè">
              <a:extLst>
                <a:ext uri="{FF2B5EF4-FFF2-40B4-BE49-F238E27FC236}">
                  <a16:creationId xmlns:a16="http://schemas.microsoft.com/office/drawing/2014/main" id="{927C74EA-7C9A-470A-B6EA-1CF334DABAE0}"/>
                </a:ext>
              </a:extLst>
            </p:cNvPr>
            <p:cNvSpPr/>
            <p:nvPr/>
          </p:nvSpPr>
          <p:spPr>
            <a:xfrm>
              <a:off x="5496132" y="5060972"/>
              <a:ext cx="105618" cy="61174"/>
            </a:xfrm>
            <a:custGeom>
              <a:avLst/>
              <a:gdLst>
                <a:gd name="connsiteX0" fmla="*/ 1154 w 34698"/>
                <a:gd name="connsiteY0" fmla="*/ 12029 h 20097"/>
                <a:gd name="connsiteX1" fmla="*/ 13251 w 34698"/>
                <a:gd name="connsiteY1" fmla="*/ 19078 h 20097"/>
                <a:gd name="connsiteX2" fmla="*/ 20680 w 34698"/>
                <a:gd name="connsiteY2" fmla="*/ 19078 h 20097"/>
                <a:gd name="connsiteX3" fmla="*/ 32872 w 34698"/>
                <a:gd name="connsiteY3" fmla="*/ 12029 h 20097"/>
                <a:gd name="connsiteX4" fmla="*/ 34215 w 34698"/>
                <a:gd name="connsiteY4" fmla="*/ 9096 h 20097"/>
                <a:gd name="connsiteX5" fmla="*/ 32872 w 34698"/>
                <a:gd name="connsiteY5" fmla="*/ 7743 h 20097"/>
                <a:gd name="connsiteX6" fmla="*/ 20680 w 34698"/>
                <a:gd name="connsiteY6" fmla="*/ 695 h 20097"/>
                <a:gd name="connsiteX7" fmla="*/ 13251 w 34698"/>
                <a:gd name="connsiteY7" fmla="*/ 695 h 20097"/>
                <a:gd name="connsiteX8" fmla="*/ 1154 w 34698"/>
                <a:gd name="connsiteY8" fmla="*/ 7743 h 20097"/>
                <a:gd name="connsiteX9" fmla="*/ -189 w 34698"/>
                <a:gd name="connsiteY9" fmla="*/ 10677 h 20097"/>
                <a:gd name="connsiteX10" fmla="*/ 1154 w 34698"/>
                <a:gd name="connsiteY10" fmla="*/ 12029 h 20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698" h="20097">
                  <a:moveTo>
                    <a:pt x="1154" y="12029"/>
                  </a:moveTo>
                  <a:lnTo>
                    <a:pt x="13251" y="19078"/>
                  </a:lnTo>
                  <a:cubicBezTo>
                    <a:pt x="15594" y="20221"/>
                    <a:pt x="18337" y="20221"/>
                    <a:pt x="20680" y="19078"/>
                  </a:cubicBezTo>
                  <a:lnTo>
                    <a:pt x="32872" y="12029"/>
                  </a:lnTo>
                  <a:cubicBezTo>
                    <a:pt x="34053" y="11591"/>
                    <a:pt x="34663" y="10277"/>
                    <a:pt x="34215" y="9096"/>
                  </a:cubicBezTo>
                  <a:cubicBezTo>
                    <a:pt x="33986" y="8467"/>
                    <a:pt x="33491" y="7972"/>
                    <a:pt x="32872" y="7743"/>
                  </a:cubicBezTo>
                  <a:lnTo>
                    <a:pt x="20680" y="695"/>
                  </a:lnTo>
                  <a:cubicBezTo>
                    <a:pt x="18337" y="-448"/>
                    <a:pt x="15594" y="-448"/>
                    <a:pt x="13251" y="695"/>
                  </a:cubicBezTo>
                  <a:lnTo>
                    <a:pt x="1154" y="7743"/>
                  </a:lnTo>
                  <a:cubicBezTo>
                    <a:pt x="-27" y="8181"/>
                    <a:pt x="-637" y="9496"/>
                    <a:pt x="-189" y="10677"/>
                  </a:cubicBezTo>
                  <a:cubicBezTo>
                    <a:pt x="39" y="11305"/>
                    <a:pt x="535" y="11801"/>
                    <a:pt x="1154" y="12029"/>
                  </a:cubicBezTo>
                  <a:close/>
                </a:path>
              </a:pathLst>
            </a:custGeom>
            <a:solidFill>
              <a:srgbClr val="D1D9E8"/>
            </a:solidFill>
            <a:ln w="9525" cap="flat">
              <a:noFill/>
              <a:prstDash val="solid"/>
              <a:miter/>
            </a:ln>
          </p:spPr>
          <p:txBody>
            <a:bodyPr rtlCol="0" anchor="ctr"/>
            <a:lstStyle/>
            <a:p>
              <a:endParaRPr lang="zh-CN" altLang="en-US"/>
            </a:p>
          </p:txBody>
        </p:sp>
        <p:sp>
          <p:nvSpPr>
            <p:cNvPr id="743" name="îSlïḑé">
              <a:extLst>
                <a:ext uri="{FF2B5EF4-FFF2-40B4-BE49-F238E27FC236}">
                  <a16:creationId xmlns:a16="http://schemas.microsoft.com/office/drawing/2014/main" id="{42468E60-4921-4E25-88E4-BD2224C94268}"/>
                </a:ext>
              </a:extLst>
            </p:cNvPr>
            <p:cNvSpPr/>
            <p:nvPr/>
          </p:nvSpPr>
          <p:spPr>
            <a:xfrm>
              <a:off x="5493998" y="5091415"/>
              <a:ext cx="109883" cy="53801"/>
            </a:xfrm>
            <a:custGeom>
              <a:avLst/>
              <a:gdLst>
                <a:gd name="connsiteX0" fmla="*/ -336 w 36099"/>
                <a:gd name="connsiteY0" fmla="*/ -163 h 17675"/>
                <a:gd name="connsiteX1" fmla="*/ -336 w 36099"/>
                <a:gd name="connsiteY1" fmla="*/ 7076 h 17675"/>
                <a:gd name="connsiteX2" fmla="*/ 1283 w 36099"/>
                <a:gd name="connsiteY2" fmla="*/ 9267 h 17675"/>
                <a:gd name="connsiteX3" fmla="*/ 13856 w 36099"/>
                <a:gd name="connsiteY3" fmla="*/ 16506 h 17675"/>
                <a:gd name="connsiteX4" fmla="*/ 21571 w 36099"/>
                <a:gd name="connsiteY4" fmla="*/ 16506 h 17675"/>
                <a:gd name="connsiteX5" fmla="*/ 34144 w 36099"/>
                <a:gd name="connsiteY5" fmla="*/ 9267 h 17675"/>
                <a:gd name="connsiteX6" fmla="*/ 35764 w 36099"/>
                <a:gd name="connsiteY6" fmla="*/ 7076 h 17675"/>
                <a:gd name="connsiteX7" fmla="*/ 35764 w 36099"/>
                <a:gd name="connsiteY7" fmla="*/ -163 h 17675"/>
                <a:gd name="connsiteX8" fmla="*/ 34144 w 36099"/>
                <a:gd name="connsiteY8" fmla="*/ 2123 h 17675"/>
                <a:gd name="connsiteX9" fmla="*/ 31858 w 36099"/>
                <a:gd name="connsiteY9" fmla="*/ 3457 h 17675"/>
                <a:gd name="connsiteX10" fmla="*/ 21571 w 36099"/>
                <a:gd name="connsiteY10" fmla="*/ 9362 h 17675"/>
                <a:gd name="connsiteX11" fmla="*/ 13856 w 36099"/>
                <a:gd name="connsiteY11" fmla="*/ 9362 h 17675"/>
                <a:gd name="connsiteX12" fmla="*/ 3569 w 36099"/>
                <a:gd name="connsiteY12" fmla="*/ 3457 h 17675"/>
                <a:gd name="connsiteX13" fmla="*/ 1283 w 36099"/>
                <a:gd name="connsiteY13" fmla="*/ 2123 h 17675"/>
                <a:gd name="connsiteX14" fmla="*/ -336 w 36099"/>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675">
                  <a:moveTo>
                    <a:pt x="-336" y="-163"/>
                  </a:moveTo>
                  <a:lnTo>
                    <a:pt x="-336" y="7076"/>
                  </a:lnTo>
                  <a:cubicBezTo>
                    <a:pt x="-222" y="8038"/>
                    <a:pt x="397" y="8877"/>
                    <a:pt x="1283" y="9267"/>
                  </a:cubicBezTo>
                  <a:lnTo>
                    <a:pt x="13856" y="16506"/>
                  </a:lnTo>
                  <a:cubicBezTo>
                    <a:pt x="16256" y="17849"/>
                    <a:pt x="19171" y="17849"/>
                    <a:pt x="21571" y="16506"/>
                  </a:cubicBezTo>
                  <a:lnTo>
                    <a:pt x="34144" y="9267"/>
                  </a:lnTo>
                  <a:cubicBezTo>
                    <a:pt x="35030" y="8877"/>
                    <a:pt x="35649" y="8038"/>
                    <a:pt x="35764" y="7076"/>
                  </a:cubicBezTo>
                  <a:lnTo>
                    <a:pt x="35764" y="-163"/>
                  </a:lnTo>
                  <a:cubicBezTo>
                    <a:pt x="35659" y="828"/>
                    <a:pt x="35049" y="1695"/>
                    <a:pt x="34144" y="2123"/>
                  </a:cubicBezTo>
                  <a:lnTo>
                    <a:pt x="31858" y="3457"/>
                  </a:lnTo>
                  <a:lnTo>
                    <a:pt x="21571" y="9362"/>
                  </a:lnTo>
                  <a:cubicBezTo>
                    <a:pt x="19152" y="10601"/>
                    <a:pt x="16275" y="10601"/>
                    <a:pt x="13856" y="9362"/>
                  </a:cubicBezTo>
                  <a:lnTo>
                    <a:pt x="3569" y="3457"/>
                  </a:lnTo>
                  <a:lnTo>
                    <a:pt x="1283" y="2123"/>
                  </a:lnTo>
                  <a:cubicBezTo>
                    <a:pt x="378" y="1695"/>
                    <a:pt x="-231"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44" name="îšḷiḑè">
              <a:extLst>
                <a:ext uri="{FF2B5EF4-FFF2-40B4-BE49-F238E27FC236}">
                  <a16:creationId xmlns:a16="http://schemas.microsoft.com/office/drawing/2014/main" id="{DDFB7903-C374-4223-9C70-10657E43A362}"/>
                </a:ext>
              </a:extLst>
            </p:cNvPr>
            <p:cNvSpPr/>
            <p:nvPr/>
          </p:nvSpPr>
          <p:spPr>
            <a:xfrm>
              <a:off x="5571411" y="5104440"/>
              <a:ext cx="109740" cy="63445"/>
            </a:xfrm>
            <a:custGeom>
              <a:avLst/>
              <a:gdLst>
                <a:gd name="connsiteX0" fmla="*/ -336 w 36052"/>
                <a:gd name="connsiteY0" fmla="*/ 10227 h 20843"/>
                <a:gd name="connsiteX1" fmla="*/ 1188 w 36052"/>
                <a:gd name="connsiteY1" fmla="*/ 12513 h 20843"/>
                <a:gd name="connsiteX2" fmla="*/ 3569 w 36052"/>
                <a:gd name="connsiteY2" fmla="*/ 13846 h 20843"/>
                <a:gd name="connsiteX3" fmla="*/ 13856 w 36052"/>
                <a:gd name="connsiteY3" fmla="*/ 19752 h 20843"/>
                <a:gd name="connsiteX4" fmla="*/ 21476 w 36052"/>
                <a:gd name="connsiteY4" fmla="*/ 19752 h 20843"/>
                <a:gd name="connsiteX5" fmla="*/ 31763 w 36052"/>
                <a:gd name="connsiteY5" fmla="*/ 13846 h 20843"/>
                <a:gd name="connsiteX6" fmla="*/ 34144 w 36052"/>
                <a:gd name="connsiteY6" fmla="*/ 12513 h 20843"/>
                <a:gd name="connsiteX7" fmla="*/ 35573 w 36052"/>
                <a:gd name="connsiteY7" fmla="*/ 9465 h 20843"/>
                <a:gd name="connsiteX8" fmla="*/ 34144 w 36052"/>
                <a:gd name="connsiteY8" fmla="*/ 8036 h 20843"/>
                <a:gd name="connsiteX9" fmla="*/ 21476 w 36052"/>
                <a:gd name="connsiteY9" fmla="*/ 702 h 20843"/>
                <a:gd name="connsiteX10" fmla="*/ 13856 w 36052"/>
                <a:gd name="connsiteY10" fmla="*/ 702 h 20843"/>
                <a:gd name="connsiteX11" fmla="*/ 1188 w 36052"/>
                <a:gd name="connsiteY11" fmla="*/ 8036 h 20843"/>
                <a:gd name="connsiteX12" fmla="*/ -336 w 36052"/>
                <a:gd name="connsiteY12" fmla="*/ 10227 h 20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3">
                  <a:moveTo>
                    <a:pt x="-336" y="10227"/>
                  </a:moveTo>
                  <a:cubicBezTo>
                    <a:pt x="-270" y="11208"/>
                    <a:pt x="311" y="12075"/>
                    <a:pt x="1188" y="12513"/>
                  </a:cubicBezTo>
                  <a:lnTo>
                    <a:pt x="3569" y="13846"/>
                  </a:lnTo>
                  <a:lnTo>
                    <a:pt x="13856" y="19752"/>
                  </a:lnTo>
                  <a:cubicBezTo>
                    <a:pt x="16247" y="20990"/>
                    <a:pt x="19085" y="20990"/>
                    <a:pt x="21476" y="19752"/>
                  </a:cubicBezTo>
                  <a:lnTo>
                    <a:pt x="31763" y="13846"/>
                  </a:lnTo>
                  <a:lnTo>
                    <a:pt x="34144" y="12513"/>
                  </a:lnTo>
                  <a:cubicBezTo>
                    <a:pt x="35382" y="12065"/>
                    <a:pt x="36020" y="10694"/>
                    <a:pt x="35573" y="9465"/>
                  </a:cubicBezTo>
                  <a:cubicBezTo>
                    <a:pt x="35325" y="8798"/>
                    <a:pt x="34811" y="8274"/>
                    <a:pt x="34144"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745" name="i$ļîḑê">
              <a:extLst>
                <a:ext uri="{FF2B5EF4-FFF2-40B4-BE49-F238E27FC236}">
                  <a16:creationId xmlns:a16="http://schemas.microsoft.com/office/drawing/2014/main" id="{CC5B2D39-3831-48B7-9CEA-D3914233B968}"/>
                </a:ext>
              </a:extLst>
            </p:cNvPr>
            <p:cNvSpPr/>
            <p:nvPr/>
          </p:nvSpPr>
          <p:spPr>
            <a:xfrm>
              <a:off x="5573295" y="5105621"/>
              <a:ext cx="105825" cy="61101"/>
            </a:xfrm>
            <a:custGeom>
              <a:avLst/>
              <a:gdLst>
                <a:gd name="connsiteX0" fmla="*/ 1235 w 34766"/>
                <a:gd name="connsiteY0" fmla="*/ 12030 h 20073"/>
                <a:gd name="connsiteX1" fmla="*/ 13332 w 34766"/>
                <a:gd name="connsiteY1" fmla="*/ 18983 h 20073"/>
                <a:gd name="connsiteX2" fmla="*/ 20762 w 34766"/>
                <a:gd name="connsiteY2" fmla="*/ 18983 h 20073"/>
                <a:gd name="connsiteX3" fmla="*/ 32858 w 34766"/>
                <a:gd name="connsiteY3" fmla="*/ 12030 h 20073"/>
                <a:gd name="connsiteX4" fmla="*/ 32858 w 34766"/>
                <a:gd name="connsiteY4" fmla="*/ 7743 h 20073"/>
                <a:gd name="connsiteX5" fmla="*/ 20762 w 34766"/>
                <a:gd name="connsiteY5" fmla="*/ 695 h 20073"/>
                <a:gd name="connsiteX6" fmla="*/ 13332 w 34766"/>
                <a:gd name="connsiteY6" fmla="*/ 695 h 20073"/>
                <a:gd name="connsiteX7" fmla="*/ 1235 w 34766"/>
                <a:gd name="connsiteY7" fmla="*/ 7743 h 20073"/>
                <a:gd name="connsiteX8" fmla="*/ 1235 w 34766"/>
                <a:gd name="connsiteY8" fmla="*/ 12030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6" h="20073">
                  <a:moveTo>
                    <a:pt x="1235" y="12030"/>
                  </a:moveTo>
                  <a:lnTo>
                    <a:pt x="13332" y="18983"/>
                  </a:lnTo>
                  <a:cubicBezTo>
                    <a:pt x="15656" y="20221"/>
                    <a:pt x="18437" y="20221"/>
                    <a:pt x="20762" y="18983"/>
                  </a:cubicBezTo>
                  <a:lnTo>
                    <a:pt x="32858" y="12030"/>
                  </a:lnTo>
                  <a:cubicBezTo>
                    <a:pt x="34954" y="10791"/>
                    <a:pt x="34954" y="8886"/>
                    <a:pt x="32858" y="7743"/>
                  </a:cubicBezTo>
                  <a:lnTo>
                    <a:pt x="20762" y="695"/>
                  </a:lnTo>
                  <a:cubicBezTo>
                    <a:pt x="18419" y="-448"/>
                    <a:pt x="15675" y="-448"/>
                    <a:pt x="13332" y="695"/>
                  </a:cubicBezTo>
                  <a:lnTo>
                    <a:pt x="1235" y="7743"/>
                  </a:lnTo>
                  <a:cubicBezTo>
                    <a:pt x="-860" y="8886"/>
                    <a:pt x="-860" y="10791"/>
                    <a:pt x="1235" y="12030"/>
                  </a:cubicBezTo>
                  <a:close/>
                </a:path>
              </a:pathLst>
            </a:custGeom>
            <a:solidFill>
              <a:srgbClr val="D1D9E8"/>
            </a:solidFill>
            <a:ln w="9525" cap="flat">
              <a:noFill/>
              <a:prstDash val="solid"/>
              <a:miter/>
            </a:ln>
          </p:spPr>
          <p:txBody>
            <a:bodyPr rtlCol="0" anchor="ctr"/>
            <a:lstStyle/>
            <a:p>
              <a:endParaRPr lang="zh-CN" altLang="en-US"/>
            </a:p>
          </p:txBody>
        </p:sp>
        <p:sp>
          <p:nvSpPr>
            <p:cNvPr id="746" name="îṥḷiḓe">
              <a:extLst>
                <a:ext uri="{FF2B5EF4-FFF2-40B4-BE49-F238E27FC236}">
                  <a16:creationId xmlns:a16="http://schemas.microsoft.com/office/drawing/2014/main" id="{D82267E0-1868-4E72-A8F4-1E8C98462757}"/>
                </a:ext>
              </a:extLst>
            </p:cNvPr>
            <p:cNvSpPr/>
            <p:nvPr/>
          </p:nvSpPr>
          <p:spPr>
            <a:xfrm>
              <a:off x="5571411" y="5136063"/>
              <a:ext cx="109594" cy="53801"/>
            </a:xfrm>
            <a:custGeom>
              <a:avLst/>
              <a:gdLst>
                <a:gd name="connsiteX0" fmla="*/ -336 w 36004"/>
                <a:gd name="connsiteY0" fmla="*/ -163 h 17675"/>
                <a:gd name="connsiteX1" fmla="*/ -336 w 36004"/>
                <a:gd name="connsiteY1" fmla="*/ 7076 h 17675"/>
                <a:gd name="connsiteX2" fmla="*/ 1188 w 36004"/>
                <a:gd name="connsiteY2" fmla="*/ 9267 h 17675"/>
                <a:gd name="connsiteX3" fmla="*/ 13856 w 36004"/>
                <a:gd name="connsiteY3" fmla="*/ 16506 h 17675"/>
                <a:gd name="connsiteX4" fmla="*/ 21476 w 36004"/>
                <a:gd name="connsiteY4" fmla="*/ 16506 h 17675"/>
                <a:gd name="connsiteX5" fmla="*/ 34144 w 36004"/>
                <a:gd name="connsiteY5" fmla="*/ 9267 h 17675"/>
                <a:gd name="connsiteX6" fmla="*/ 35668 w 36004"/>
                <a:gd name="connsiteY6" fmla="*/ 6981 h 17675"/>
                <a:gd name="connsiteX7" fmla="*/ 35668 w 36004"/>
                <a:gd name="connsiteY7" fmla="*/ -163 h 17675"/>
                <a:gd name="connsiteX8" fmla="*/ 34144 w 36004"/>
                <a:gd name="connsiteY8" fmla="*/ 2123 h 17675"/>
                <a:gd name="connsiteX9" fmla="*/ 31763 w 36004"/>
                <a:gd name="connsiteY9" fmla="*/ 3457 h 17675"/>
                <a:gd name="connsiteX10" fmla="*/ 21476 w 36004"/>
                <a:gd name="connsiteY10" fmla="*/ 9362 h 17675"/>
                <a:gd name="connsiteX11" fmla="*/ 13856 w 36004"/>
                <a:gd name="connsiteY11" fmla="*/ 9362 h 17675"/>
                <a:gd name="connsiteX12" fmla="*/ 3569 w 36004"/>
                <a:gd name="connsiteY12" fmla="*/ 3457 h 17675"/>
                <a:gd name="connsiteX13" fmla="*/ 1188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79" y="8038"/>
                    <a:pt x="311" y="8877"/>
                    <a:pt x="1188" y="9267"/>
                  </a:cubicBezTo>
                  <a:lnTo>
                    <a:pt x="13856" y="16506"/>
                  </a:lnTo>
                  <a:cubicBezTo>
                    <a:pt x="16218" y="17849"/>
                    <a:pt x="19114" y="17849"/>
                    <a:pt x="21476" y="16506"/>
                  </a:cubicBezTo>
                  <a:lnTo>
                    <a:pt x="34144" y="9267"/>
                  </a:lnTo>
                  <a:cubicBezTo>
                    <a:pt x="35049" y="8867"/>
                    <a:pt x="35640" y="7972"/>
                    <a:pt x="35668" y="6981"/>
                  </a:cubicBezTo>
                  <a:lnTo>
                    <a:pt x="35668" y="-163"/>
                  </a:lnTo>
                  <a:cubicBezTo>
                    <a:pt x="35601" y="818"/>
                    <a:pt x="35021" y="1685"/>
                    <a:pt x="34144" y="2123"/>
                  </a:cubicBezTo>
                  <a:lnTo>
                    <a:pt x="31763" y="3457"/>
                  </a:lnTo>
                  <a:lnTo>
                    <a:pt x="21476" y="9362"/>
                  </a:lnTo>
                  <a:cubicBezTo>
                    <a:pt x="19085" y="10601"/>
                    <a:pt x="16247" y="10601"/>
                    <a:pt x="13856" y="9362"/>
                  </a:cubicBezTo>
                  <a:lnTo>
                    <a:pt x="3569" y="3457"/>
                  </a:lnTo>
                  <a:lnTo>
                    <a:pt x="1188"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47" name="íşḻíde">
              <a:extLst>
                <a:ext uri="{FF2B5EF4-FFF2-40B4-BE49-F238E27FC236}">
                  <a16:creationId xmlns:a16="http://schemas.microsoft.com/office/drawing/2014/main" id="{688CA885-4697-4E1E-BDEC-6258328FC44B}"/>
                </a:ext>
              </a:extLst>
            </p:cNvPr>
            <p:cNvSpPr/>
            <p:nvPr/>
          </p:nvSpPr>
          <p:spPr>
            <a:xfrm>
              <a:off x="5648243" y="5149240"/>
              <a:ext cx="109740" cy="63289"/>
            </a:xfrm>
            <a:custGeom>
              <a:avLst/>
              <a:gdLst>
                <a:gd name="connsiteX0" fmla="*/ -336 w 36052"/>
                <a:gd name="connsiteY0" fmla="*/ 10177 h 20792"/>
                <a:gd name="connsiteX1" fmla="*/ 1283 w 36052"/>
                <a:gd name="connsiteY1" fmla="*/ 12463 h 20792"/>
                <a:gd name="connsiteX2" fmla="*/ 3569 w 36052"/>
                <a:gd name="connsiteY2" fmla="*/ 13796 h 20792"/>
                <a:gd name="connsiteX3" fmla="*/ 13856 w 36052"/>
                <a:gd name="connsiteY3" fmla="*/ 19702 h 20792"/>
                <a:gd name="connsiteX4" fmla="*/ 21571 w 36052"/>
                <a:gd name="connsiteY4" fmla="*/ 19702 h 20792"/>
                <a:gd name="connsiteX5" fmla="*/ 31858 w 36052"/>
                <a:gd name="connsiteY5" fmla="*/ 13796 h 20792"/>
                <a:gd name="connsiteX6" fmla="*/ 34144 w 36052"/>
                <a:gd name="connsiteY6" fmla="*/ 12463 h 20792"/>
                <a:gd name="connsiteX7" fmla="*/ 35573 w 36052"/>
                <a:gd name="connsiteY7" fmla="*/ 9415 h 20792"/>
                <a:gd name="connsiteX8" fmla="*/ 34144 w 36052"/>
                <a:gd name="connsiteY8" fmla="*/ 7986 h 20792"/>
                <a:gd name="connsiteX9" fmla="*/ 21571 w 36052"/>
                <a:gd name="connsiteY9" fmla="*/ 652 h 20792"/>
                <a:gd name="connsiteX10" fmla="*/ 13856 w 36052"/>
                <a:gd name="connsiteY10" fmla="*/ 652 h 20792"/>
                <a:gd name="connsiteX11" fmla="*/ 1283 w 36052"/>
                <a:gd name="connsiteY11" fmla="*/ 7986 h 20792"/>
                <a:gd name="connsiteX12" fmla="*/ -336 w 36052"/>
                <a:gd name="connsiteY12" fmla="*/ 10177 h 20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792">
                  <a:moveTo>
                    <a:pt x="-336" y="10177"/>
                  </a:moveTo>
                  <a:cubicBezTo>
                    <a:pt x="-232" y="11167"/>
                    <a:pt x="378" y="12034"/>
                    <a:pt x="1283" y="12463"/>
                  </a:cubicBezTo>
                  <a:lnTo>
                    <a:pt x="3569" y="13796"/>
                  </a:lnTo>
                  <a:lnTo>
                    <a:pt x="13856" y="19702"/>
                  </a:lnTo>
                  <a:cubicBezTo>
                    <a:pt x="16275" y="20940"/>
                    <a:pt x="19152" y="20940"/>
                    <a:pt x="21571" y="19702"/>
                  </a:cubicBezTo>
                  <a:lnTo>
                    <a:pt x="31858" y="13796"/>
                  </a:lnTo>
                  <a:lnTo>
                    <a:pt x="34144" y="12463"/>
                  </a:lnTo>
                  <a:cubicBezTo>
                    <a:pt x="35382" y="12015"/>
                    <a:pt x="36020" y="10643"/>
                    <a:pt x="35573" y="9415"/>
                  </a:cubicBezTo>
                  <a:cubicBezTo>
                    <a:pt x="35325" y="8748"/>
                    <a:pt x="34811" y="8224"/>
                    <a:pt x="34144" y="7986"/>
                  </a:cubicBezTo>
                  <a:lnTo>
                    <a:pt x="21571" y="652"/>
                  </a:lnTo>
                  <a:cubicBezTo>
                    <a:pt x="19114" y="-434"/>
                    <a:pt x="16313" y="-434"/>
                    <a:pt x="13856" y="652"/>
                  </a:cubicBezTo>
                  <a:lnTo>
                    <a:pt x="1283" y="7986"/>
                  </a:lnTo>
                  <a:cubicBezTo>
                    <a:pt x="407" y="8396"/>
                    <a:pt x="-203" y="9224"/>
                    <a:pt x="-336" y="10177"/>
                  </a:cubicBezTo>
                  <a:close/>
                </a:path>
              </a:pathLst>
            </a:custGeom>
            <a:solidFill>
              <a:srgbClr val="FFFFFF"/>
            </a:solidFill>
            <a:ln w="9525" cap="flat">
              <a:noFill/>
              <a:prstDash val="solid"/>
              <a:miter/>
            </a:ln>
          </p:spPr>
          <p:txBody>
            <a:bodyPr rtlCol="0" anchor="ctr"/>
            <a:lstStyle/>
            <a:p>
              <a:endParaRPr lang="zh-CN" altLang="en-US"/>
            </a:p>
          </p:txBody>
        </p:sp>
        <p:sp>
          <p:nvSpPr>
            <p:cNvPr id="748" name="îŝḷîdé">
              <a:extLst>
                <a:ext uri="{FF2B5EF4-FFF2-40B4-BE49-F238E27FC236}">
                  <a16:creationId xmlns:a16="http://schemas.microsoft.com/office/drawing/2014/main" id="{EBE0AC25-5AF7-4E92-91C4-516BDBCFC911}"/>
                </a:ext>
              </a:extLst>
            </p:cNvPr>
            <p:cNvSpPr/>
            <p:nvPr/>
          </p:nvSpPr>
          <p:spPr>
            <a:xfrm>
              <a:off x="5649984" y="5150269"/>
              <a:ext cx="106330" cy="61104"/>
            </a:xfrm>
            <a:custGeom>
              <a:avLst/>
              <a:gdLst>
                <a:gd name="connsiteX0" fmla="*/ 1378 w 34932"/>
                <a:gd name="connsiteY0" fmla="*/ 12029 h 20074"/>
                <a:gd name="connsiteX1" fmla="*/ 13570 w 34932"/>
                <a:gd name="connsiteY1" fmla="*/ 18983 h 20074"/>
                <a:gd name="connsiteX2" fmla="*/ 21000 w 34932"/>
                <a:gd name="connsiteY2" fmla="*/ 18983 h 20074"/>
                <a:gd name="connsiteX3" fmla="*/ 33097 w 34932"/>
                <a:gd name="connsiteY3" fmla="*/ 12029 h 20074"/>
                <a:gd name="connsiteX4" fmla="*/ 33097 w 34932"/>
                <a:gd name="connsiteY4" fmla="*/ 7743 h 20074"/>
                <a:gd name="connsiteX5" fmla="*/ 21000 w 34932"/>
                <a:gd name="connsiteY5" fmla="*/ 695 h 20074"/>
                <a:gd name="connsiteX6" fmla="*/ 13570 w 34932"/>
                <a:gd name="connsiteY6" fmla="*/ 695 h 20074"/>
                <a:gd name="connsiteX7" fmla="*/ 1378 w 34932"/>
                <a:gd name="connsiteY7" fmla="*/ 7743 h 20074"/>
                <a:gd name="connsiteX8" fmla="*/ 1378 w 34932"/>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932" h="20074">
                  <a:moveTo>
                    <a:pt x="1378" y="12029"/>
                  </a:moveTo>
                  <a:lnTo>
                    <a:pt x="13570" y="18983"/>
                  </a:lnTo>
                  <a:cubicBezTo>
                    <a:pt x="15894" y="20221"/>
                    <a:pt x="18676" y="20221"/>
                    <a:pt x="21000" y="18983"/>
                  </a:cubicBezTo>
                  <a:lnTo>
                    <a:pt x="33097" y="12029"/>
                  </a:lnTo>
                  <a:cubicBezTo>
                    <a:pt x="35097" y="10791"/>
                    <a:pt x="35097" y="8886"/>
                    <a:pt x="33097" y="7743"/>
                  </a:cubicBezTo>
                  <a:lnTo>
                    <a:pt x="21000" y="695"/>
                  </a:lnTo>
                  <a:cubicBezTo>
                    <a:pt x="18656" y="-448"/>
                    <a:pt x="15913" y="-448"/>
                    <a:pt x="13570" y="695"/>
                  </a:cubicBezTo>
                  <a:lnTo>
                    <a:pt x="1378" y="7743"/>
                  </a:lnTo>
                  <a:cubicBezTo>
                    <a:pt x="-908" y="8886"/>
                    <a:pt x="-908" y="10791"/>
                    <a:pt x="1378" y="12029"/>
                  </a:cubicBezTo>
                  <a:close/>
                </a:path>
              </a:pathLst>
            </a:custGeom>
            <a:solidFill>
              <a:srgbClr val="D1D9E8"/>
            </a:solidFill>
            <a:ln w="9525" cap="flat">
              <a:noFill/>
              <a:prstDash val="solid"/>
              <a:miter/>
            </a:ln>
          </p:spPr>
          <p:txBody>
            <a:bodyPr rtlCol="0" anchor="ctr"/>
            <a:lstStyle/>
            <a:p>
              <a:endParaRPr lang="zh-CN" altLang="en-US"/>
            </a:p>
          </p:txBody>
        </p:sp>
        <p:sp>
          <p:nvSpPr>
            <p:cNvPr id="749" name="ïś1îďê">
              <a:extLst>
                <a:ext uri="{FF2B5EF4-FFF2-40B4-BE49-F238E27FC236}">
                  <a16:creationId xmlns:a16="http://schemas.microsoft.com/office/drawing/2014/main" id="{0D7796B6-D7C8-4F91-84EC-33815DAAA207}"/>
                </a:ext>
              </a:extLst>
            </p:cNvPr>
            <p:cNvSpPr/>
            <p:nvPr/>
          </p:nvSpPr>
          <p:spPr>
            <a:xfrm>
              <a:off x="5648240" y="5180714"/>
              <a:ext cx="109889" cy="54961"/>
            </a:xfrm>
            <a:custGeom>
              <a:avLst/>
              <a:gdLst>
                <a:gd name="connsiteX0" fmla="*/ -335 w 36101"/>
                <a:gd name="connsiteY0" fmla="*/ -163 h 18056"/>
                <a:gd name="connsiteX1" fmla="*/ -335 w 36101"/>
                <a:gd name="connsiteY1" fmla="*/ 7457 h 18056"/>
                <a:gd name="connsiteX2" fmla="*/ 1285 w 36101"/>
                <a:gd name="connsiteY2" fmla="*/ 9648 h 18056"/>
                <a:gd name="connsiteX3" fmla="*/ 13857 w 36101"/>
                <a:gd name="connsiteY3" fmla="*/ 16887 h 18056"/>
                <a:gd name="connsiteX4" fmla="*/ 21573 w 36101"/>
                <a:gd name="connsiteY4" fmla="*/ 16887 h 18056"/>
                <a:gd name="connsiteX5" fmla="*/ 34146 w 36101"/>
                <a:gd name="connsiteY5" fmla="*/ 9648 h 18056"/>
                <a:gd name="connsiteX6" fmla="*/ 35765 w 36101"/>
                <a:gd name="connsiteY6" fmla="*/ 7362 h 18056"/>
                <a:gd name="connsiteX7" fmla="*/ 35765 w 36101"/>
                <a:gd name="connsiteY7" fmla="*/ 218 h 18056"/>
                <a:gd name="connsiteX8" fmla="*/ 34146 w 36101"/>
                <a:gd name="connsiteY8" fmla="*/ 2504 h 18056"/>
                <a:gd name="connsiteX9" fmla="*/ 31860 w 36101"/>
                <a:gd name="connsiteY9" fmla="*/ 3838 h 18056"/>
                <a:gd name="connsiteX10" fmla="*/ 21573 w 36101"/>
                <a:gd name="connsiteY10" fmla="*/ 9743 h 18056"/>
                <a:gd name="connsiteX11" fmla="*/ 13857 w 36101"/>
                <a:gd name="connsiteY11" fmla="*/ 9743 h 18056"/>
                <a:gd name="connsiteX12" fmla="*/ 3571 w 36101"/>
                <a:gd name="connsiteY12" fmla="*/ 3838 h 18056"/>
                <a:gd name="connsiteX13" fmla="*/ 1285 w 36101"/>
                <a:gd name="connsiteY13" fmla="*/ 2504 h 18056"/>
                <a:gd name="connsiteX14" fmla="*/ -335 w 36101"/>
                <a:gd name="connsiteY14" fmla="*/ -163 h 18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101" h="18056">
                  <a:moveTo>
                    <a:pt x="-335" y="-163"/>
                  </a:moveTo>
                  <a:lnTo>
                    <a:pt x="-335" y="7457"/>
                  </a:lnTo>
                  <a:cubicBezTo>
                    <a:pt x="-201" y="8410"/>
                    <a:pt x="408" y="9239"/>
                    <a:pt x="1285" y="9648"/>
                  </a:cubicBezTo>
                  <a:lnTo>
                    <a:pt x="13857" y="16887"/>
                  </a:lnTo>
                  <a:cubicBezTo>
                    <a:pt x="16258" y="18230"/>
                    <a:pt x="19173" y="18230"/>
                    <a:pt x="21573" y="16887"/>
                  </a:cubicBezTo>
                  <a:lnTo>
                    <a:pt x="34146" y="9648"/>
                  </a:lnTo>
                  <a:cubicBezTo>
                    <a:pt x="35070" y="9257"/>
                    <a:pt x="35698" y="8372"/>
                    <a:pt x="35765" y="7362"/>
                  </a:cubicBezTo>
                  <a:lnTo>
                    <a:pt x="35765" y="218"/>
                  </a:lnTo>
                  <a:cubicBezTo>
                    <a:pt x="35698" y="1228"/>
                    <a:pt x="35070" y="2114"/>
                    <a:pt x="34146" y="2504"/>
                  </a:cubicBezTo>
                  <a:lnTo>
                    <a:pt x="31860" y="3838"/>
                  </a:lnTo>
                  <a:lnTo>
                    <a:pt x="21573" y="9743"/>
                  </a:lnTo>
                  <a:cubicBezTo>
                    <a:pt x="19153" y="10981"/>
                    <a:pt x="16277" y="10981"/>
                    <a:pt x="13857" y="9743"/>
                  </a:cubicBezTo>
                  <a:lnTo>
                    <a:pt x="3571" y="3838"/>
                  </a:lnTo>
                  <a:lnTo>
                    <a:pt x="1285" y="2504"/>
                  </a:lnTo>
                  <a:cubicBezTo>
                    <a:pt x="265" y="2018"/>
                    <a:pt x="-373" y="971"/>
                    <a:pt x="-335" y="-163"/>
                  </a:cubicBezTo>
                  <a:close/>
                </a:path>
              </a:pathLst>
            </a:custGeom>
            <a:solidFill>
              <a:srgbClr val="BF4200"/>
            </a:solidFill>
            <a:ln w="9525" cap="flat">
              <a:noFill/>
              <a:prstDash val="solid"/>
              <a:miter/>
            </a:ln>
          </p:spPr>
          <p:txBody>
            <a:bodyPr rtlCol="0" anchor="ctr"/>
            <a:lstStyle/>
            <a:p>
              <a:endParaRPr lang="zh-CN" altLang="en-US"/>
            </a:p>
          </p:txBody>
        </p:sp>
        <p:sp>
          <p:nvSpPr>
            <p:cNvPr id="750" name="îslïḓè">
              <a:extLst>
                <a:ext uri="{FF2B5EF4-FFF2-40B4-BE49-F238E27FC236}">
                  <a16:creationId xmlns:a16="http://schemas.microsoft.com/office/drawing/2014/main" id="{E3DEC783-FAC2-4F35-9CB8-20D881237EF0}"/>
                </a:ext>
              </a:extLst>
            </p:cNvPr>
            <p:cNvSpPr/>
            <p:nvPr/>
          </p:nvSpPr>
          <p:spPr>
            <a:xfrm>
              <a:off x="5725945" y="5193739"/>
              <a:ext cx="109740" cy="63445"/>
            </a:xfrm>
            <a:custGeom>
              <a:avLst/>
              <a:gdLst>
                <a:gd name="connsiteX0" fmla="*/ -336 w 36052"/>
                <a:gd name="connsiteY0" fmla="*/ 10227 h 20843"/>
                <a:gd name="connsiteX1" fmla="*/ 1188 w 36052"/>
                <a:gd name="connsiteY1" fmla="*/ 12513 h 20843"/>
                <a:gd name="connsiteX2" fmla="*/ 3569 w 36052"/>
                <a:gd name="connsiteY2" fmla="*/ 13846 h 20843"/>
                <a:gd name="connsiteX3" fmla="*/ 13856 w 36052"/>
                <a:gd name="connsiteY3" fmla="*/ 19752 h 20843"/>
                <a:gd name="connsiteX4" fmla="*/ 21476 w 36052"/>
                <a:gd name="connsiteY4" fmla="*/ 19752 h 20843"/>
                <a:gd name="connsiteX5" fmla="*/ 31763 w 36052"/>
                <a:gd name="connsiteY5" fmla="*/ 13846 h 20843"/>
                <a:gd name="connsiteX6" fmla="*/ 34144 w 36052"/>
                <a:gd name="connsiteY6" fmla="*/ 12513 h 20843"/>
                <a:gd name="connsiteX7" fmla="*/ 35573 w 36052"/>
                <a:gd name="connsiteY7" fmla="*/ 9465 h 20843"/>
                <a:gd name="connsiteX8" fmla="*/ 34144 w 36052"/>
                <a:gd name="connsiteY8" fmla="*/ 8036 h 20843"/>
                <a:gd name="connsiteX9" fmla="*/ 21476 w 36052"/>
                <a:gd name="connsiteY9" fmla="*/ 702 h 20843"/>
                <a:gd name="connsiteX10" fmla="*/ 13856 w 36052"/>
                <a:gd name="connsiteY10" fmla="*/ 702 h 20843"/>
                <a:gd name="connsiteX11" fmla="*/ 1188 w 36052"/>
                <a:gd name="connsiteY11" fmla="*/ 8036 h 20843"/>
                <a:gd name="connsiteX12" fmla="*/ -336 w 36052"/>
                <a:gd name="connsiteY12" fmla="*/ 10227 h 20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3">
                  <a:moveTo>
                    <a:pt x="-336" y="10227"/>
                  </a:moveTo>
                  <a:cubicBezTo>
                    <a:pt x="-269" y="11208"/>
                    <a:pt x="311" y="12075"/>
                    <a:pt x="1188" y="12513"/>
                  </a:cubicBezTo>
                  <a:lnTo>
                    <a:pt x="3569" y="13846"/>
                  </a:lnTo>
                  <a:lnTo>
                    <a:pt x="13856" y="19752"/>
                  </a:lnTo>
                  <a:cubicBezTo>
                    <a:pt x="16247" y="20990"/>
                    <a:pt x="19085" y="20990"/>
                    <a:pt x="21476" y="19752"/>
                  </a:cubicBezTo>
                  <a:lnTo>
                    <a:pt x="31763" y="13846"/>
                  </a:lnTo>
                  <a:lnTo>
                    <a:pt x="34144" y="12513"/>
                  </a:lnTo>
                  <a:cubicBezTo>
                    <a:pt x="35382" y="12065"/>
                    <a:pt x="36021" y="10694"/>
                    <a:pt x="35573" y="9465"/>
                  </a:cubicBezTo>
                  <a:cubicBezTo>
                    <a:pt x="35325" y="8798"/>
                    <a:pt x="34811" y="8274"/>
                    <a:pt x="34144"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751" name="ïṧ1iďê">
              <a:extLst>
                <a:ext uri="{FF2B5EF4-FFF2-40B4-BE49-F238E27FC236}">
                  <a16:creationId xmlns:a16="http://schemas.microsoft.com/office/drawing/2014/main" id="{196062B8-5CC3-414E-BB3D-236296D19742}"/>
                </a:ext>
              </a:extLst>
            </p:cNvPr>
            <p:cNvSpPr/>
            <p:nvPr/>
          </p:nvSpPr>
          <p:spPr>
            <a:xfrm>
              <a:off x="5727829" y="5195791"/>
              <a:ext cx="105898" cy="61101"/>
            </a:xfrm>
            <a:custGeom>
              <a:avLst/>
              <a:gdLst>
                <a:gd name="connsiteX0" fmla="*/ 1235 w 34790"/>
                <a:gd name="connsiteY0" fmla="*/ 12029 h 20073"/>
                <a:gd name="connsiteX1" fmla="*/ 13332 w 34790"/>
                <a:gd name="connsiteY1" fmla="*/ 18983 h 20073"/>
                <a:gd name="connsiteX2" fmla="*/ 20761 w 34790"/>
                <a:gd name="connsiteY2" fmla="*/ 18983 h 20073"/>
                <a:gd name="connsiteX3" fmla="*/ 32953 w 34790"/>
                <a:gd name="connsiteY3" fmla="*/ 12029 h 20073"/>
                <a:gd name="connsiteX4" fmla="*/ 32953 w 34790"/>
                <a:gd name="connsiteY4" fmla="*/ 7743 h 20073"/>
                <a:gd name="connsiteX5" fmla="*/ 20761 w 34790"/>
                <a:gd name="connsiteY5" fmla="*/ 695 h 20073"/>
                <a:gd name="connsiteX6" fmla="*/ 13332 w 34790"/>
                <a:gd name="connsiteY6" fmla="*/ 695 h 20073"/>
                <a:gd name="connsiteX7" fmla="*/ 1235 w 34790"/>
                <a:gd name="connsiteY7" fmla="*/ 7743 h 20073"/>
                <a:gd name="connsiteX8" fmla="*/ 1235 w 34790"/>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3">
                  <a:moveTo>
                    <a:pt x="1235" y="12029"/>
                  </a:moveTo>
                  <a:lnTo>
                    <a:pt x="13332" y="18983"/>
                  </a:lnTo>
                  <a:cubicBezTo>
                    <a:pt x="15656" y="20221"/>
                    <a:pt x="18437" y="20221"/>
                    <a:pt x="20761" y="18983"/>
                  </a:cubicBezTo>
                  <a:lnTo>
                    <a:pt x="32953" y="12029"/>
                  </a:lnTo>
                  <a:cubicBezTo>
                    <a:pt x="34954" y="10791"/>
                    <a:pt x="34954" y="8886"/>
                    <a:pt x="32953" y="7743"/>
                  </a:cubicBezTo>
                  <a:lnTo>
                    <a:pt x="20761" y="695"/>
                  </a:lnTo>
                  <a:cubicBezTo>
                    <a:pt x="18418" y="-448"/>
                    <a:pt x="15675" y="-448"/>
                    <a:pt x="13332" y="695"/>
                  </a:cubicBezTo>
                  <a:lnTo>
                    <a:pt x="1235" y="7743"/>
                  </a:lnTo>
                  <a:cubicBezTo>
                    <a:pt x="-860" y="8600"/>
                    <a:pt x="-860" y="10505"/>
                    <a:pt x="1235" y="12029"/>
                  </a:cubicBezTo>
                  <a:close/>
                </a:path>
              </a:pathLst>
            </a:custGeom>
            <a:solidFill>
              <a:srgbClr val="D1D9E8"/>
            </a:solidFill>
            <a:ln w="9525" cap="flat">
              <a:noFill/>
              <a:prstDash val="solid"/>
              <a:miter/>
            </a:ln>
          </p:spPr>
          <p:txBody>
            <a:bodyPr rtlCol="0" anchor="ctr"/>
            <a:lstStyle/>
            <a:p>
              <a:endParaRPr lang="zh-CN" altLang="en-US"/>
            </a:p>
          </p:txBody>
        </p:sp>
        <p:sp>
          <p:nvSpPr>
            <p:cNvPr id="752" name="îṩľiḑé">
              <a:extLst>
                <a:ext uri="{FF2B5EF4-FFF2-40B4-BE49-F238E27FC236}">
                  <a16:creationId xmlns:a16="http://schemas.microsoft.com/office/drawing/2014/main" id="{D84F20E0-0431-4D53-8BD4-8134669C4253}"/>
                </a:ext>
              </a:extLst>
            </p:cNvPr>
            <p:cNvSpPr/>
            <p:nvPr/>
          </p:nvSpPr>
          <p:spPr>
            <a:xfrm>
              <a:off x="5725945" y="5225363"/>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4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4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20"/>
                    <a:pt x="35582" y="7953"/>
                    <a:pt x="35668" y="6981"/>
                  </a:cubicBezTo>
                  <a:lnTo>
                    <a:pt x="35668" y="-163"/>
                  </a:lnTo>
                  <a:cubicBezTo>
                    <a:pt x="35602" y="818"/>
                    <a:pt x="35021" y="1685"/>
                    <a:pt x="34144" y="2124"/>
                  </a:cubicBezTo>
                  <a:lnTo>
                    <a:pt x="31763" y="3457"/>
                  </a:lnTo>
                  <a:lnTo>
                    <a:pt x="21476" y="9362"/>
                  </a:lnTo>
                  <a:cubicBezTo>
                    <a:pt x="19085" y="10601"/>
                    <a:pt x="16247" y="10601"/>
                    <a:pt x="13856" y="9362"/>
                  </a:cubicBezTo>
                  <a:lnTo>
                    <a:pt x="3569" y="3457"/>
                  </a:lnTo>
                  <a:lnTo>
                    <a:pt x="1188" y="2124"/>
                  </a:lnTo>
                  <a:cubicBezTo>
                    <a:pt x="311"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53" name="îṡḷîḍê">
              <a:extLst>
                <a:ext uri="{FF2B5EF4-FFF2-40B4-BE49-F238E27FC236}">
                  <a16:creationId xmlns:a16="http://schemas.microsoft.com/office/drawing/2014/main" id="{39B618A4-1EBC-4C34-8A77-911134B0F03A}"/>
                </a:ext>
              </a:extLst>
            </p:cNvPr>
            <p:cNvSpPr/>
            <p:nvPr/>
          </p:nvSpPr>
          <p:spPr>
            <a:xfrm>
              <a:off x="5803358" y="5238388"/>
              <a:ext cx="109447" cy="63445"/>
            </a:xfrm>
            <a:custGeom>
              <a:avLst/>
              <a:gdLst>
                <a:gd name="connsiteX0" fmla="*/ -336 w 35956"/>
                <a:gd name="connsiteY0" fmla="*/ 10227 h 20843"/>
                <a:gd name="connsiteX1" fmla="*/ 1188 w 35956"/>
                <a:gd name="connsiteY1" fmla="*/ 12513 h 20843"/>
                <a:gd name="connsiteX2" fmla="*/ 3569 w 35956"/>
                <a:gd name="connsiteY2" fmla="*/ 13846 h 20843"/>
                <a:gd name="connsiteX3" fmla="*/ 13856 w 35956"/>
                <a:gd name="connsiteY3" fmla="*/ 19752 h 20843"/>
                <a:gd name="connsiteX4" fmla="*/ 21476 w 35956"/>
                <a:gd name="connsiteY4" fmla="*/ 19752 h 20843"/>
                <a:gd name="connsiteX5" fmla="*/ 31763 w 35956"/>
                <a:gd name="connsiteY5" fmla="*/ 13846 h 20843"/>
                <a:gd name="connsiteX6" fmla="*/ 34049 w 35956"/>
                <a:gd name="connsiteY6" fmla="*/ 12513 h 20843"/>
                <a:gd name="connsiteX7" fmla="*/ 35477 w 35956"/>
                <a:gd name="connsiteY7" fmla="*/ 9465 h 20843"/>
                <a:gd name="connsiteX8" fmla="*/ 34049 w 35956"/>
                <a:gd name="connsiteY8" fmla="*/ 8036 h 20843"/>
                <a:gd name="connsiteX9" fmla="*/ 21476 w 35956"/>
                <a:gd name="connsiteY9" fmla="*/ 702 h 20843"/>
                <a:gd name="connsiteX10" fmla="*/ 13856 w 35956"/>
                <a:gd name="connsiteY10" fmla="*/ 702 h 20843"/>
                <a:gd name="connsiteX11" fmla="*/ 1188 w 35956"/>
                <a:gd name="connsiteY11" fmla="*/ 8036 h 20843"/>
                <a:gd name="connsiteX12" fmla="*/ -336 w 35956"/>
                <a:gd name="connsiteY12" fmla="*/ 10227 h 20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956" h="20843">
                  <a:moveTo>
                    <a:pt x="-336" y="10227"/>
                  </a:moveTo>
                  <a:cubicBezTo>
                    <a:pt x="-270" y="11208"/>
                    <a:pt x="311" y="12075"/>
                    <a:pt x="1188" y="12513"/>
                  </a:cubicBezTo>
                  <a:lnTo>
                    <a:pt x="3569" y="13846"/>
                  </a:lnTo>
                  <a:lnTo>
                    <a:pt x="13856" y="19752"/>
                  </a:lnTo>
                  <a:cubicBezTo>
                    <a:pt x="16247" y="20990"/>
                    <a:pt x="19085" y="20990"/>
                    <a:pt x="21476" y="19752"/>
                  </a:cubicBezTo>
                  <a:lnTo>
                    <a:pt x="31763" y="13846"/>
                  </a:lnTo>
                  <a:lnTo>
                    <a:pt x="34049" y="12513"/>
                  </a:lnTo>
                  <a:cubicBezTo>
                    <a:pt x="35287" y="12065"/>
                    <a:pt x="35925" y="10694"/>
                    <a:pt x="35477" y="9465"/>
                  </a:cubicBezTo>
                  <a:cubicBezTo>
                    <a:pt x="35230" y="8798"/>
                    <a:pt x="34716" y="8274"/>
                    <a:pt x="34049"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754" name="ïṥ1ïďè">
              <a:extLst>
                <a:ext uri="{FF2B5EF4-FFF2-40B4-BE49-F238E27FC236}">
                  <a16:creationId xmlns:a16="http://schemas.microsoft.com/office/drawing/2014/main" id="{66E77DE4-7691-4EC9-AAFB-FFC6EFB852B2}"/>
                </a:ext>
              </a:extLst>
            </p:cNvPr>
            <p:cNvSpPr/>
            <p:nvPr/>
          </p:nvSpPr>
          <p:spPr>
            <a:xfrm>
              <a:off x="5805170" y="5239572"/>
              <a:ext cx="105898" cy="61101"/>
            </a:xfrm>
            <a:custGeom>
              <a:avLst/>
              <a:gdLst>
                <a:gd name="connsiteX0" fmla="*/ 1164 w 34790"/>
                <a:gd name="connsiteY0" fmla="*/ 12029 h 20073"/>
                <a:gd name="connsiteX1" fmla="*/ 13356 w 34790"/>
                <a:gd name="connsiteY1" fmla="*/ 18982 h 20073"/>
                <a:gd name="connsiteX2" fmla="*/ 20785 w 34790"/>
                <a:gd name="connsiteY2" fmla="*/ 18982 h 20073"/>
                <a:gd name="connsiteX3" fmla="*/ 32882 w 34790"/>
                <a:gd name="connsiteY3" fmla="*/ 12029 h 20073"/>
                <a:gd name="connsiteX4" fmla="*/ 32882 w 34790"/>
                <a:gd name="connsiteY4" fmla="*/ 7743 h 20073"/>
                <a:gd name="connsiteX5" fmla="*/ 20785 w 34790"/>
                <a:gd name="connsiteY5" fmla="*/ 695 h 20073"/>
                <a:gd name="connsiteX6" fmla="*/ 13356 w 34790"/>
                <a:gd name="connsiteY6" fmla="*/ 695 h 20073"/>
                <a:gd name="connsiteX7" fmla="*/ 1164 w 34790"/>
                <a:gd name="connsiteY7" fmla="*/ 7743 h 20073"/>
                <a:gd name="connsiteX8" fmla="*/ 1164 w 34790"/>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3">
                  <a:moveTo>
                    <a:pt x="1164" y="12029"/>
                  </a:moveTo>
                  <a:lnTo>
                    <a:pt x="13356" y="18982"/>
                  </a:lnTo>
                  <a:cubicBezTo>
                    <a:pt x="15680" y="20221"/>
                    <a:pt x="18461" y="20221"/>
                    <a:pt x="20785" y="18982"/>
                  </a:cubicBezTo>
                  <a:lnTo>
                    <a:pt x="32882" y="12029"/>
                  </a:lnTo>
                  <a:cubicBezTo>
                    <a:pt x="34978" y="10791"/>
                    <a:pt x="34978" y="8886"/>
                    <a:pt x="32882" y="7743"/>
                  </a:cubicBezTo>
                  <a:lnTo>
                    <a:pt x="20785" y="695"/>
                  </a:lnTo>
                  <a:cubicBezTo>
                    <a:pt x="18442" y="-448"/>
                    <a:pt x="15699" y="-448"/>
                    <a:pt x="13356" y="695"/>
                  </a:cubicBezTo>
                  <a:lnTo>
                    <a:pt x="1164" y="7743"/>
                  </a:lnTo>
                  <a:cubicBezTo>
                    <a:pt x="-836" y="8886"/>
                    <a:pt x="-836" y="10791"/>
                    <a:pt x="1164" y="12029"/>
                  </a:cubicBezTo>
                  <a:close/>
                </a:path>
              </a:pathLst>
            </a:custGeom>
            <a:solidFill>
              <a:srgbClr val="D1D9E8"/>
            </a:solidFill>
            <a:ln w="9525" cap="flat">
              <a:noFill/>
              <a:prstDash val="solid"/>
              <a:miter/>
            </a:ln>
          </p:spPr>
          <p:txBody>
            <a:bodyPr rtlCol="0" anchor="ctr"/>
            <a:lstStyle/>
            <a:p>
              <a:endParaRPr lang="zh-CN" altLang="en-US"/>
            </a:p>
          </p:txBody>
        </p:sp>
        <p:sp>
          <p:nvSpPr>
            <p:cNvPr id="755" name="îsļïḑé">
              <a:extLst>
                <a:ext uri="{FF2B5EF4-FFF2-40B4-BE49-F238E27FC236}">
                  <a16:creationId xmlns:a16="http://schemas.microsoft.com/office/drawing/2014/main" id="{CD9273CC-D65A-40AC-A298-37CB0AC1F338}"/>
                </a:ext>
              </a:extLst>
            </p:cNvPr>
            <p:cNvSpPr/>
            <p:nvPr/>
          </p:nvSpPr>
          <p:spPr>
            <a:xfrm>
              <a:off x="5803358" y="5268854"/>
              <a:ext cx="109594" cy="53804"/>
            </a:xfrm>
            <a:custGeom>
              <a:avLst/>
              <a:gdLst>
                <a:gd name="connsiteX0" fmla="*/ -336 w 36004"/>
                <a:gd name="connsiteY0" fmla="*/ 218 h 17676"/>
                <a:gd name="connsiteX1" fmla="*/ -336 w 36004"/>
                <a:gd name="connsiteY1" fmla="*/ 7076 h 17676"/>
                <a:gd name="connsiteX2" fmla="*/ 1188 w 36004"/>
                <a:gd name="connsiteY2" fmla="*/ 9267 h 17676"/>
                <a:gd name="connsiteX3" fmla="*/ 13856 w 36004"/>
                <a:gd name="connsiteY3" fmla="*/ 16506 h 17676"/>
                <a:gd name="connsiteX4" fmla="*/ 21476 w 36004"/>
                <a:gd name="connsiteY4" fmla="*/ 16506 h 17676"/>
                <a:gd name="connsiteX5" fmla="*/ 34049 w 36004"/>
                <a:gd name="connsiteY5" fmla="*/ 9267 h 17676"/>
                <a:gd name="connsiteX6" fmla="*/ 35668 w 36004"/>
                <a:gd name="connsiteY6" fmla="*/ 6981 h 17676"/>
                <a:gd name="connsiteX7" fmla="*/ 35668 w 36004"/>
                <a:gd name="connsiteY7" fmla="*/ -163 h 17676"/>
                <a:gd name="connsiteX8" fmla="*/ 34049 w 36004"/>
                <a:gd name="connsiteY8" fmla="*/ 2124 h 17676"/>
                <a:gd name="connsiteX9" fmla="*/ 31763 w 36004"/>
                <a:gd name="connsiteY9" fmla="*/ 3457 h 17676"/>
                <a:gd name="connsiteX10" fmla="*/ 21476 w 36004"/>
                <a:gd name="connsiteY10" fmla="*/ 9362 h 17676"/>
                <a:gd name="connsiteX11" fmla="*/ 13856 w 36004"/>
                <a:gd name="connsiteY11" fmla="*/ 9362 h 17676"/>
                <a:gd name="connsiteX12" fmla="*/ 3569 w 36004"/>
                <a:gd name="connsiteY12" fmla="*/ 3457 h 17676"/>
                <a:gd name="connsiteX13" fmla="*/ 1188 w 36004"/>
                <a:gd name="connsiteY13" fmla="*/ 2124 h 17676"/>
                <a:gd name="connsiteX14" fmla="*/ -336 w 36004"/>
                <a:gd name="connsiteY14" fmla="*/ 218 h 17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6">
                  <a:moveTo>
                    <a:pt x="-336" y="218"/>
                  </a:moveTo>
                  <a:lnTo>
                    <a:pt x="-336" y="7076"/>
                  </a:lnTo>
                  <a:cubicBezTo>
                    <a:pt x="-279" y="8029"/>
                    <a:pt x="311" y="8877"/>
                    <a:pt x="1188" y="9267"/>
                  </a:cubicBezTo>
                  <a:lnTo>
                    <a:pt x="13856" y="16506"/>
                  </a:lnTo>
                  <a:cubicBezTo>
                    <a:pt x="16218" y="17849"/>
                    <a:pt x="19114" y="17849"/>
                    <a:pt x="21476" y="16506"/>
                  </a:cubicBezTo>
                  <a:lnTo>
                    <a:pt x="34049" y="9267"/>
                  </a:lnTo>
                  <a:cubicBezTo>
                    <a:pt x="34992" y="8896"/>
                    <a:pt x="35630" y="8000"/>
                    <a:pt x="35668" y="6981"/>
                  </a:cubicBezTo>
                  <a:lnTo>
                    <a:pt x="35668" y="-163"/>
                  </a:lnTo>
                  <a:cubicBezTo>
                    <a:pt x="35601" y="847"/>
                    <a:pt x="34973" y="1733"/>
                    <a:pt x="34049" y="2124"/>
                  </a:cubicBezTo>
                  <a:lnTo>
                    <a:pt x="31763" y="3457"/>
                  </a:lnTo>
                  <a:lnTo>
                    <a:pt x="21476" y="9362"/>
                  </a:lnTo>
                  <a:cubicBezTo>
                    <a:pt x="19085" y="10601"/>
                    <a:pt x="16247" y="10601"/>
                    <a:pt x="13856" y="9362"/>
                  </a:cubicBezTo>
                  <a:lnTo>
                    <a:pt x="3569" y="3457"/>
                  </a:lnTo>
                  <a:lnTo>
                    <a:pt x="1188" y="2124"/>
                  </a:lnTo>
                  <a:cubicBezTo>
                    <a:pt x="416" y="1761"/>
                    <a:pt x="-156" y="1057"/>
                    <a:pt x="-336" y="218"/>
                  </a:cubicBezTo>
                  <a:close/>
                </a:path>
              </a:pathLst>
            </a:custGeom>
            <a:solidFill>
              <a:srgbClr val="BF4200"/>
            </a:solidFill>
            <a:ln w="9525" cap="flat">
              <a:noFill/>
              <a:prstDash val="solid"/>
              <a:miter/>
            </a:ln>
          </p:spPr>
          <p:txBody>
            <a:bodyPr rtlCol="0" anchor="ctr"/>
            <a:lstStyle/>
            <a:p>
              <a:endParaRPr lang="zh-CN" altLang="en-US"/>
            </a:p>
          </p:txBody>
        </p:sp>
        <p:sp>
          <p:nvSpPr>
            <p:cNvPr id="756" name="ïṥ1îḍè">
              <a:extLst>
                <a:ext uri="{FF2B5EF4-FFF2-40B4-BE49-F238E27FC236}">
                  <a16:creationId xmlns:a16="http://schemas.microsoft.com/office/drawing/2014/main" id="{292D7253-DAD1-4D7B-9FBA-5238B7AAB45A}"/>
                </a:ext>
              </a:extLst>
            </p:cNvPr>
            <p:cNvSpPr/>
            <p:nvPr/>
          </p:nvSpPr>
          <p:spPr>
            <a:xfrm>
              <a:off x="5880190" y="5283039"/>
              <a:ext cx="109740" cy="63445"/>
            </a:xfrm>
            <a:custGeom>
              <a:avLst/>
              <a:gdLst>
                <a:gd name="connsiteX0" fmla="*/ -336 w 36052"/>
                <a:gd name="connsiteY0" fmla="*/ 10227 h 20843"/>
                <a:gd name="connsiteX1" fmla="*/ 1188 w 36052"/>
                <a:gd name="connsiteY1" fmla="*/ 12513 h 20843"/>
                <a:gd name="connsiteX2" fmla="*/ 3569 w 36052"/>
                <a:gd name="connsiteY2" fmla="*/ 13846 h 20843"/>
                <a:gd name="connsiteX3" fmla="*/ 13856 w 36052"/>
                <a:gd name="connsiteY3" fmla="*/ 19752 h 20843"/>
                <a:gd name="connsiteX4" fmla="*/ 21476 w 36052"/>
                <a:gd name="connsiteY4" fmla="*/ 19752 h 20843"/>
                <a:gd name="connsiteX5" fmla="*/ 31763 w 36052"/>
                <a:gd name="connsiteY5" fmla="*/ 13846 h 20843"/>
                <a:gd name="connsiteX6" fmla="*/ 34144 w 36052"/>
                <a:gd name="connsiteY6" fmla="*/ 12513 h 20843"/>
                <a:gd name="connsiteX7" fmla="*/ 35573 w 36052"/>
                <a:gd name="connsiteY7" fmla="*/ 9465 h 20843"/>
                <a:gd name="connsiteX8" fmla="*/ 34144 w 36052"/>
                <a:gd name="connsiteY8" fmla="*/ 8036 h 20843"/>
                <a:gd name="connsiteX9" fmla="*/ 21476 w 36052"/>
                <a:gd name="connsiteY9" fmla="*/ 702 h 20843"/>
                <a:gd name="connsiteX10" fmla="*/ 13856 w 36052"/>
                <a:gd name="connsiteY10" fmla="*/ 702 h 20843"/>
                <a:gd name="connsiteX11" fmla="*/ 1188 w 36052"/>
                <a:gd name="connsiteY11" fmla="*/ 8036 h 20843"/>
                <a:gd name="connsiteX12" fmla="*/ -336 w 36052"/>
                <a:gd name="connsiteY12" fmla="*/ 10227 h 20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3">
                  <a:moveTo>
                    <a:pt x="-336" y="10227"/>
                  </a:moveTo>
                  <a:cubicBezTo>
                    <a:pt x="-270" y="11208"/>
                    <a:pt x="311" y="12075"/>
                    <a:pt x="1188" y="12513"/>
                  </a:cubicBezTo>
                  <a:lnTo>
                    <a:pt x="3569" y="13846"/>
                  </a:lnTo>
                  <a:lnTo>
                    <a:pt x="13856" y="19752"/>
                  </a:lnTo>
                  <a:cubicBezTo>
                    <a:pt x="16247" y="20990"/>
                    <a:pt x="19085" y="20990"/>
                    <a:pt x="21476" y="19752"/>
                  </a:cubicBezTo>
                  <a:lnTo>
                    <a:pt x="31763" y="13846"/>
                  </a:lnTo>
                  <a:lnTo>
                    <a:pt x="34144" y="12513"/>
                  </a:lnTo>
                  <a:cubicBezTo>
                    <a:pt x="35382" y="12065"/>
                    <a:pt x="36020" y="10693"/>
                    <a:pt x="35573" y="9465"/>
                  </a:cubicBezTo>
                  <a:cubicBezTo>
                    <a:pt x="35325" y="8798"/>
                    <a:pt x="34811" y="8274"/>
                    <a:pt x="34144"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757" name="iṩḷîďé">
              <a:extLst>
                <a:ext uri="{FF2B5EF4-FFF2-40B4-BE49-F238E27FC236}">
                  <a16:creationId xmlns:a16="http://schemas.microsoft.com/office/drawing/2014/main" id="{2BDA689A-97F4-4FBB-9FC6-1F359020D99D}"/>
                </a:ext>
              </a:extLst>
            </p:cNvPr>
            <p:cNvSpPr/>
            <p:nvPr/>
          </p:nvSpPr>
          <p:spPr>
            <a:xfrm>
              <a:off x="5881931" y="5284220"/>
              <a:ext cx="106550" cy="61104"/>
            </a:xfrm>
            <a:custGeom>
              <a:avLst/>
              <a:gdLst>
                <a:gd name="connsiteX0" fmla="*/ 1378 w 35004"/>
                <a:gd name="connsiteY0" fmla="*/ 12029 h 20074"/>
                <a:gd name="connsiteX1" fmla="*/ 13570 w 35004"/>
                <a:gd name="connsiteY1" fmla="*/ 18983 h 20074"/>
                <a:gd name="connsiteX2" fmla="*/ 21000 w 35004"/>
                <a:gd name="connsiteY2" fmla="*/ 18983 h 20074"/>
                <a:gd name="connsiteX3" fmla="*/ 33097 w 35004"/>
                <a:gd name="connsiteY3" fmla="*/ 12029 h 20074"/>
                <a:gd name="connsiteX4" fmla="*/ 33097 w 35004"/>
                <a:gd name="connsiteY4" fmla="*/ 7743 h 20074"/>
                <a:gd name="connsiteX5" fmla="*/ 21000 w 35004"/>
                <a:gd name="connsiteY5" fmla="*/ 695 h 20074"/>
                <a:gd name="connsiteX6" fmla="*/ 13570 w 35004"/>
                <a:gd name="connsiteY6" fmla="*/ 695 h 20074"/>
                <a:gd name="connsiteX7" fmla="*/ 1378 w 35004"/>
                <a:gd name="connsiteY7" fmla="*/ 7743 h 20074"/>
                <a:gd name="connsiteX8" fmla="*/ 1378 w 35004"/>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004" h="20074">
                  <a:moveTo>
                    <a:pt x="1378" y="12029"/>
                  </a:moveTo>
                  <a:lnTo>
                    <a:pt x="13570" y="18983"/>
                  </a:lnTo>
                  <a:cubicBezTo>
                    <a:pt x="15894" y="20221"/>
                    <a:pt x="18676" y="20221"/>
                    <a:pt x="21000" y="18983"/>
                  </a:cubicBezTo>
                  <a:lnTo>
                    <a:pt x="33097" y="12029"/>
                  </a:lnTo>
                  <a:cubicBezTo>
                    <a:pt x="35192" y="10791"/>
                    <a:pt x="35192" y="8886"/>
                    <a:pt x="33097" y="7743"/>
                  </a:cubicBezTo>
                  <a:lnTo>
                    <a:pt x="21000" y="695"/>
                  </a:lnTo>
                  <a:cubicBezTo>
                    <a:pt x="18656" y="-448"/>
                    <a:pt x="15913" y="-448"/>
                    <a:pt x="13570" y="695"/>
                  </a:cubicBezTo>
                  <a:lnTo>
                    <a:pt x="1378" y="7743"/>
                  </a:lnTo>
                  <a:cubicBezTo>
                    <a:pt x="-908" y="8886"/>
                    <a:pt x="-908" y="10791"/>
                    <a:pt x="1378" y="12029"/>
                  </a:cubicBezTo>
                  <a:close/>
                </a:path>
              </a:pathLst>
            </a:custGeom>
            <a:solidFill>
              <a:srgbClr val="D1D9E8"/>
            </a:solidFill>
            <a:ln w="9525" cap="flat">
              <a:noFill/>
              <a:prstDash val="solid"/>
              <a:miter/>
            </a:ln>
          </p:spPr>
          <p:txBody>
            <a:bodyPr rtlCol="0" anchor="ctr"/>
            <a:lstStyle/>
            <a:p>
              <a:endParaRPr lang="zh-CN" altLang="en-US"/>
            </a:p>
          </p:txBody>
        </p:sp>
        <p:sp>
          <p:nvSpPr>
            <p:cNvPr id="758" name="íŝḷíďé">
              <a:extLst>
                <a:ext uri="{FF2B5EF4-FFF2-40B4-BE49-F238E27FC236}">
                  <a16:creationId xmlns:a16="http://schemas.microsoft.com/office/drawing/2014/main" id="{0672DC44-DFB5-4EE6-A7DC-62CEDDA27E7A}"/>
                </a:ext>
              </a:extLst>
            </p:cNvPr>
            <p:cNvSpPr/>
            <p:nvPr/>
          </p:nvSpPr>
          <p:spPr>
            <a:xfrm>
              <a:off x="5880190" y="5314662"/>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3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3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2" y="7953"/>
                    <a:pt x="35668" y="6981"/>
                  </a:cubicBezTo>
                  <a:lnTo>
                    <a:pt x="35668" y="-163"/>
                  </a:lnTo>
                  <a:cubicBezTo>
                    <a:pt x="35602" y="818"/>
                    <a:pt x="35021" y="1685"/>
                    <a:pt x="34144" y="2123"/>
                  </a:cubicBezTo>
                  <a:lnTo>
                    <a:pt x="31763" y="3457"/>
                  </a:lnTo>
                  <a:lnTo>
                    <a:pt x="21476" y="9362"/>
                  </a:lnTo>
                  <a:cubicBezTo>
                    <a:pt x="19085" y="10601"/>
                    <a:pt x="16247" y="10601"/>
                    <a:pt x="13856" y="9362"/>
                  </a:cubicBezTo>
                  <a:lnTo>
                    <a:pt x="3569" y="3457"/>
                  </a:lnTo>
                  <a:lnTo>
                    <a:pt x="1188"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59" name="ïsḷíde">
              <a:extLst>
                <a:ext uri="{FF2B5EF4-FFF2-40B4-BE49-F238E27FC236}">
                  <a16:creationId xmlns:a16="http://schemas.microsoft.com/office/drawing/2014/main" id="{ED7A2CB4-55DE-4FA9-B8AB-57A3CF3AEC20}"/>
                </a:ext>
              </a:extLst>
            </p:cNvPr>
            <p:cNvSpPr/>
            <p:nvPr/>
          </p:nvSpPr>
          <p:spPr>
            <a:xfrm>
              <a:off x="5957893" y="5327492"/>
              <a:ext cx="109594" cy="63639"/>
            </a:xfrm>
            <a:custGeom>
              <a:avLst/>
              <a:gdLst>
                <a:gd name="connsiteX0" fmla="*/ -336 w 36004"/>
                <a:gd name="connsiteY0" fmla="*/ 10291 h 20907"/>
                <a:gd name="connsiteX1" fmla="*/ 1188 w 36004"/>
                <a:gd name="connsiteY1" fmla="*/ 12577 h 20907"/>
                <a:gd name="connsiteX2" fmla="*/ 3569 w 36004"/>
                <a:gd name="connsiteY2" fmla="*/ 13910 h 20907"/>
                <a:gd name="connsiteX3" fmla="*/ 13856 w 36004"/>
                <a:gd name="connsiteY3" fmla="*/ 19816 h 20907"/>
                <a:gd name="connsiteX4" fmla="*/ 21476 w 36004"/>
                <a:gd name="connsiteY4" fmla="*/ 19816 h 20907"/>
                <a:gd name="connsiteX5" fmla="*/ 31763 w 36004"/>
                <a:gd name="connsiteY5" fmla="*/ 13910 h 20907"/>
                <a:gd name="connsiteX6" fmla="*/ 34144 w 36004"/>
                <a:gd name="connsiteY6" fmla="*/ 12577 h 20907"/>
                <a:gd name="connsiteX7" fmla="*/ 35668 w 36004"/>
                <a:gd name="connsiteY7" fmla="*/ 10291 h 20907"/>
                <a:gd name="connsiteX8" fmla="*/ 34144 w 36004"/>
                <a:gd name="connsiteY8" fmla="*/ 8100 h 20907"/>
                <a:gd name="connsiteX9" fmla="*/ 21476 w 36004"/>
                <a:gd name="connsiteY9" fmla="*/ 766 h 20907"/>
                <a:gd name="connsiteX10" fmla="*/ 13856 w 36004"/>
                <a:gd name="connsiteY10" fmla="*/ 766 h 20907"/>
                <a:gd name="connsiteX11" fmla="*/ 1188 w 36004"/>
                <a:gd name="connsiteY11" fmla="*/ 8100 h 20907"/>
                <a:gd name="connsiteX12" fmla="*/ -336 w 36004"/>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907">
                  <a:moveTo>
                    <a:pt x="-336" y="10291"/>
                  </a:moveTo>
                  <a:cubicBezTo>
                    <a:pt x="-269" y="11272"/>
                    <a:pt x="311" y="12139"/>
                    <a:pt x="1188" y="12577"/>
                  </a:cubicBezTo>
                  <a:lnTo>
                    <a:pt x="3569" y="13910"/>
                  </a:lnTo>
                  <a:lnTo>
                    <a:pt x="13856" y="19816"/>
                  </a:lnTo>
                  <a:cubicBezTo>
                    <a:pt x="16247" y="21054"/>
                    <a:pt x="19085" y="21054"/>
                    <a:pt x="21476" y="19816"/>
                  </a:cubicBezTo>
                  <a:lnTo>
                    <a:pt x="31763" y="13910"/>
                  </a:lnTo>
                  <a:lnTo>
                    <a:pt x="34144" y="12577"/>
                  </a:lnTo>
                  <a:cubicBezTo>
                    <a:pt x="35021" y="12139"/>
                    <a:pt x="35602" y="11272"/>
                    <a:pt x="35668" y="10291"/>
                  </a:cubicBezTo>
                  <a:cubicBezTo>
                    <a:pt x="35611" y="9339"/>
                    <a:pt x="35021" y="8491"/>
                    <a:pt x="34144" y="8100"/>
                  </a:cubicBezTo>
                  <a:lnTo>
                    <a:pt x="21476" y="766"/>
                  </a:lnTo>
                  <a:cubicBezTo>
                    <a:pt x="19085" y="-472"/>
                    <a:pt x="16247" y="-472"/>
                    <a:pt x="13856" y="766"/>
                  </a:cubicBezTo>
                  <a:lnTo>
                    <a:pt x="1188" y="8100"/>
                  </a:lnTo>
                  <a:cubicBezTo>
                    <a:pt x="311" y="8491"/>
                    <a:pt x="-279"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760" name="işḻîḋê">
              <a:extLst>
                <a:ext uri="{FF2B5EF4-FFF2-40B4-BE49-F238E27FC236}">
                  <a16:creationId xmlns:a16="http://schemas.microsoft.com/office/drawing/2014/main" id="{AEC3B2BC-6010-466F-9AEA-3F316BC7528C}"/>
                </a:ext>
              </a:extLst>
            </p:cNvPr>
            <p:cNvSpPr/>
            <p:nvPr/>
          </p:nvSpPr>
          <p:spPr>
            <a:xfrm>
              <a:off x="5959841" y="5328868"/>
              <a:ext cx="105761" cy="61104"/>
            </a:xfrm>
            <a:custGeom>
              <a:avLst/>
              <a:gdLst>
                <a:gd name="connsiteX0" fmla="*/ 1119 w 34745"/>
                <a:gd name="connsiteY0" fmla="*/ 12029 h 20074"/>
                <a:gd name="connsiteX1" fmla="*/ 13311 w 34745"/>
                <a:gd name="connsiteY1" fmla="*/ 18983 h 20074"/>
                <a:gd name="connsiteX2" fmla="*/ 20741 w 34745"/>
                <a:gd name="connsiteY2" fmla="*/ 18983 h 20074"/>
                <a:gd name="connsiteX3" fmla="*/ 32838 w 34745"/>
                <a:gd name="connsiteY3" fmla="*/ 12029 h 20074"/>
                <a:gd name="connsiteX4" fmla="*/ 32838 w 34745"/>
                <a:gd name="connsiteY4" fmla="*/ 7743 h 20074"/>
                <a:gd name="connsiteX5" fmla="*/ 21122 w 34745"/>
                <a:gd name="connsiteY5" fmla="*/ 695 h 20074"/>
                <a:gd name="connsiteX6" fmla="*/ 13692 w 34745"/>
                <a:gd name="connsiteY6" fmla="*/ 695 h 20074"/>
                <a:gd name="connsiteX7" fmla="*/ 1500 w 34745"/>
                <a:gd name="connsiteY7" fmla="*/ 7743 h 20074"/>
                <a:gd name="connsiteX8" fmla="*/ 1119 w 34745"/>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45" h="20074">
                  <a:moveTo>
                    <a:pt x="1119" y="12029"/>
                  </a:moveTo>
                  <a:lnTo>
                    <a:pt x="13311" y="18983"/>
                  </a:lnTo>
                  <a:cubicBezTo>
                    <a:pt x="15636" y="20221"/>
                    <a:pt x="18417" y="20221"/>
                    <a:pt x="20741" y="18983"/>
                  </a:cubicBezTo>
                  <a:lnTo>
                    <a:pt x="32838" y="12029"/>
                  </a:lnTo>
                  <a:cubicBezTo>
                    <a:pt x="34933" y="10791"/>
                    <a:pt x="34933" y="8886"/>
                    <a:pt x="32838" y="7743"/>
                  </a:cubicBezTo>
                  <a:lnTo>
                    <a:pt x="21122" y="695"/>
                  </a:lnTo>
                  <a:cubicBezTo>
                    <a:pt x="18779" y="-448"/>
                    <a:pt x="16036" y="-448"/>
                    <a:pt x="13692" y="695"/>
                  </a:cubicBezTo>
                  <a:lnTo>
                    <a:pt x="1500" y="7743"/>
                  </a:lnTo>
                  <a:cubicBezTo>
                    <a:pt x="-881" y="8886"/>
                    <a:pt x="-881" y="10791"/>
                    <a:pt x="1119" y="12029"/>
                  </a:cubicBezTo>
                  <a:close/>
                </a:path>
              </a:pathLst>
            </a:custGeom>
            <a:solidFill>
              <a:srgbClr val="D1D9E8"/>
            </a:solidFill>
            <a:ln w="9525" cap="flat">
              <a:noFill/>
              <a:prstDash val="solid"/>
              <a:miter/>
            </a:ln>
          </p:spPr>
          <p:txBody>
            <a:bodyPr rtlCol="0" anchor="ctr"/>
            <a:lstStyle/>
            <a:p>
              <a:endParaRPr lang="zh-CN" altLang="en-US"/>
            </a:p>
          </p:txBody>
        </p:sp>
        <p:sp>
          <p:nvSpPr>
            <p:cNvPr id="761" name="íṧḻïḍê">
              <a:extLst>
                <a:ext uri="{FF2B5EF4-FFF2-40B4-BE49-F238E27FC236}">
                  <a16:creationId xmlns:a16="http://schemas.microsoft.com/office/drawing/2014/main" id="{54C459E8-DDFA-43D9-A6BA-4F95DBF1A99A}"/>
                </a:ext>
              </a:extLst>
            </p:cNvPr>
            <p:cNvSpPr/>
            <p:nvPr/>
          </p:nvSpPr>
          <p:spPr>
            <a:xfrm>
              <a:off x="5957893" y="5359314"/>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4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4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20"/>
                    <a:pt x="35582" y="7953"/>
                    <a:pt x="35668" y="6981"/>
                  </a:cubicBezTo>
                  <a:lnTo>
                    <a:pt x="35668" y="-163"/>
                  </a:lnTo>
                  <a:cubicBezTo>
                    <a:pt x="35602" y="819"/>
                    <a:pt x="35021" y="1685"/>
                    <a:pt x="34144" y="2124"/>
                  </a:cubicBezTo>
                  <a:lnTo>
                    <a:pt x="31763" y="3457"/>
                  </a:lnTo>
                  <a:lnTo>
                    <a:pt x="21476" y="9362"/>
                  </a:lnTo>
                  <a:cubicBezTo>
                    <a:pt x="19085" y="10601"/>
                    <a:pt x="16247" y="10601"/>
                    <a:pt x="13856" y="9362"/>
                  </a:cubicBezTo>
                  <a:lnTo>
                    <a:pt x="3569" y="3457"/>
                  </a:lnTo>
                  <a:lnTo>
                    <a:pt x="1188" y="2124"/>
                  </a:lnTo>
                  <a:cubicBezTo>
                    <a:pt x="311" y="1685"/>
                    <a:pt x="-269" y="819"/>
                    <a:pt x="-336" y="-163"/>
                  </a:cubicBezTo>
                  <a:close/>
                </a:path>
              </a:pathLst>
            </a:custGeom>
            <a:solidFill>
              <a:srgbClr val="BF4200"/>
            </a:solidFill>
            <a:ln w="9525" cap="flat">
              <a:noFill/>
              <a:prstDash val="solid"/>
              <a:miter/>
            </a:ln>
          </p:spPr>
          <p:txBody>
            <a:bodyPr rtlCol="0" anchor="ctr"/>
            <a:lstStyle/>
            <a:p>
              <a:endParaRPr lang="zh-CN" altLang="en-US"/>
            </a:p>
          </p:txBody>
        </p:sp>
        <p:sp>
          <p:nvSpPr>
            <p:cNvPr id="762" name="íşḻîḍê">
              <a:extLst>
                <a:ext uri="{FF2B5EF4-FFF2-40B4-BE49-F238E27FC236}">
                  <a16:creationId xmlns:a16="http://schemas.microsoft.com/office/drawing/2014/main" id="{51A328CD-D0DB-4693-A594-CD23A1F004A9}"/>
                </a:ext>
              </a:extLst>
            </p:cNvPr>
            <p:cNvSpPr/>
            <p:nvPr/>
          </p:nvSpPr>
          <p:spPr>
            <a:xfrm>
              <a:off x="6035595" y="5373498"/>
              <a:ext cx="197155" cy="113892"/>
            </a:xfrm>
            <a:custGeom>
              <a:avLst/>
              <a:gdLst>
                <a:gd name="connsiteX0" fmla="*/ -336 w 64770"/>
                <a:gd name="connsiteY0" fmla="*/ 10227 h 37416"/>
                <a:gd name="connsiteX1" fmla="*/ 1188 w 64770"/>
                <a:gd name="connsiteY1" fmla="*/ 12513 h 37416"/>
                <a:gd name="connsiteX2" fmla="*/ 3569 w 64770"/>
                <a:gd name="connsiteY2" fmla="*/ 13846 h 37416"/>
                <a:gd name="connsiteX3" fmla="*/ 42526 w 64770"/>
                <a:gd name="connsiteY3" fmla="*/ 36325 h 37416"/>
                <a:gd name="connsiteX4" fmla="*/ 50242 w 64770"/>
                <a:gd name="connsiteY4" fmla="*/ 36325 h 37416"/>
                <a:gd name="connsiteX5" fmla="*/ 60433 w 64770"/>
                <a:gd name="connsiteY5" fmla="*/ 30420 h 37416"/>
                <a:gd name="connsiteX6" fmla="*/ 62814 w 64770"/>
                <a:gd name="connsiteY6" fmla="*/ 28991 h 37416"/>
                <a:gd name="connsiteX7" fmla="*/ 64434 w 64770"/>
                <a:gd name="connsiteY7" fmla="*/ 27372 h 37416"/>
                <a:gd name="connsiteX8" fmla="*/ 64434 w 64770"/>
                <a:gd name="connsiteY8" fmla="*/ 26229 h 37416"/>
                <a:gd name="connsiteX9" fmla="*/ 62814 w 64770"/>
                <a:gd name="connsiteY9" fmla="*/ 24610 h 37416"/>
                <a:gd name="connsiteX10" fmla="*/ 21476 w 64770"/>
                <a:gd name="connsiteY10" fmla="*/ 702 h 37416"/>
                <a:gd name="connsiteX11" fmla="*/ 13856 w 64770"/>
                <a:gd name="connsiteY11" fmla="*/ 702 h 37416"/>
                <a:gd name="connsiteX12" fmla="*/ 1188 w 64770"/>
                <a:gd name="connsiteY12" fmla="*/ 8036 h 37416"/>
                <a:gd name="connsiteX13" fmla="*/ -336 w 64770"/>
                <a:gd name="connsiteY13" fmla="*/ 10227 h 37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4770" h="37416">
                  <a:moveTo>
                    <a:pt x="-336" y="10227"/>
                  </a:moveTo>
                  <a:cubicBezTo>
                    <a:pt x="-269" y="11208"/>
                    <a:pt x="312" y="12075"/>
                    <a:pt x="1188" y="12513"/>
                  </a:cubicBezTo>
                  <a:lnTo>
                    <a:pt x="3569" y="13846"/>
                  </a:lnTo>
                  <a:lnTo>
                    <a:pt x="42526" y="36325"/>
                  </a:lnTo>
                  <a:cubicBezTo>
                    <a:pt x="44946" y="37563"/>
                    <a:pt x="47822" y="37563"/>
                    <a:pt x="50242" y="36325"/>
                  </a:cubicBezTo>
                  <a:lnTo>
                    <a:pt x="60433" y="30420"/>
                  </a:lnTo>
                  <a:lnTo>
                    <a:pt x="62814" y="28991"/>
                  </a:lnTo>
                  <a:cubicBezTo>
                    <a:pt x="63529" y="28658"/>
                    <a:pt x="64100" y="28086"/>
                    <a:pt x="64434" y="27372"/>
                  </a:cubicBezTo>
                  <a:lnTo>
                    <a:pt x="64434" y="26229"/>
                  </a:lnTo>
                  <a:cubicBezTo>
                    <a:pt x="64043" y="25553"/>
                    <a:pt x="63491" y="25000"/>
                    <a:pt x="62814" y="24610"/>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763" name="isḷíḓe">
              <a:extLst>
                <a:ext uri="{FF2B5EF4-FFF2-40B4-BE49-F238E27FC236}">
                  <a16:creationId xmlns:a16="http://schemas.microsoft.com/office/drawing/2014/main" id="{071DD57A-0C44-4039-8C6D-74CCE1CD3299}"/>
                </a:ext>
              </a:extLst>
            </p:cNvPr>
            <p:cNvSpPr/>
            <p:nvPr/>
          </p:nvSpPr>
          <p:spPr>
            <a:xfrm>
              <a:off x="6037479" y="5374679"/>
              <a:ext cx="193168" cy="111551"/>
            </a:xfrm>
            <a:custGeom>
              <a:avLst/>
              <a:gdLst>
                <a:gd name="connsiteX0" fmla="*/ 42002 w 63460"/>
                <a:gd name="connsiteY0" fmla="*/ 35556 h 36647"/>
                <a:gd name="connsiteX1" fmla="*/ 1235 w 63460"/>
                <a:gd name="connsiteY1" fmla="*/ 12030 h 36647"/>
                <a:gd name="connsiteX2" fmla="*/ 1235 w 63460"/>
                <a:gd name="connsiteY2" fmla="*/ 7743 h 36647"/>
                <a:gd name="connsiteX3" fmla="*/ 13332 w 63460"/>
                <a:gd name="connsiteY3" fmla="*/ 695 h 36647"/>
                <a:gd name="connsiteX4" fmla="*/ 20762 w 63460"/>
                <a:gd name="connsiteY4" fmla="*/ 695 h 36647"/>
                <a:gd name="connsiteX5" fmla="*/ 61624 w 63460"/>
                <a:gd name="connsiteY5" fmla="*/ 24317 h 36647"/>
                <a:gd name="connsiteX6" fmla="*/ 61624 w 63460"/>
                <a:gd name="connsiteY6" fmla="*/ 28603 h 36647"/>
                <a:gd name="connsiteX7" fmla="*/ 49432 w 63460"/>
                <a:gd name="connsiteY7" fmla="*/ 35556 h 36647"/>
                <a:gd name="connsiteX8" fmla="*/ 42002 w 63460"/>
                <a:gd name="connsiteY8" fmla="*/ 35556 h 366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3460" h="36647">
                  <a:moveTo>
                    <a:pt x="42002" y="35556"/>
                  </a:moveTo>
                  <a:lnTo>
                    <a:pt x="1235" y="12030"/>
                  </a:lnTo>
                  <a:cubicBezTo>
                    <a:pt x="-860" y="10791"/>
                    <a:pt x="-860" y="8886"/>
                    <a:pt x="1235" y="7743"/>
                  </a:cubicBezTo>
                  <a:lnTo>
                    <a:pt x="13332" y="695"/>
                  </a:lnTo>
                  <a:cubicBezTo>
                    <a:pt x="15675" y="-448"/>
                    <a:pt x="18419" y="-448"/>
                    <a:pt x="20762" y="695"/>
                  </a:cubicBezTo>
                  <a:lnTo>
                    <a:pt x="61624" y="24317"/>
                  </a:lnTo>
                  <a:cubicBezTo>
                    <a:pt x="63624" y="25460"/>
                    <a:pt x="63624" y="27365"/>
                    <a:pt x="61624" y="28603"/>
                  </a:cubicBezTo>
                  <a:lnTo>
                    <a:pt x="49432" y="35556"/>
                  </a:lnTo>
                  <a:cubicBezTo>
                    <a:pt x="47108" y="36794"/>
                    <a:pt x="44327" y="36794"/>
                    <a:pt x="42002" y="35556"/>
                  </a:cubicBezTo>
                  <a:close/>
                </a:path>
              </a:pathLst>
            </a:custGeom>
            <a:solidFill>
              <a:srgbClr val="D1D9E8"/>
            </a:solidFill>
            <a:ln w="9525" cap="flat">
              <a:noFill/>
              <a:prstDash val="solid"/>
              <a:miter/>
            </a:ln>
          </p:spPr>
          <p:txBody>
            <a:bodyPr rtlCol="0" anchor="ctr"/>
            <a:lstStyle/>
            <a:p>
              <a:endParaRPr lang="zh-CN" altLang="en-US"/>
            </a:p>
          </p:txBody>
        </p:sp>
        <p:sp>
          <p:nvSpPr>
            <p:cNvPr id="764" name="îś1iďè">
              <a:extLst>
                <a:ext uri="{FF2B5EF4-FFF2-40B4-BE49-F238E27FC236}">
                  <a16:creationId xmlns:a16="http://schemas.microsoft.com/office/drawing/2014/main" id="{7D9D27D9-6748-4614-A112-2C98BE28EC17}"/>
                </a:ext>
              </a:extLst>
            </p:cNvPr>
            <p:cNvSpPr/>
            <p:nvPr/>
          </p:nvSpPr>
          <p:spPr>
            <a:xfrm>
              <a:off x="6035595" y="5405122"/>
              <a:ext cx="197155" cy="104011"/>
            </a:xfrm>
            <a:custGeom>
              <a:avLst/>
              <a:gdLst>
                <a:gd name="connsiteX0" fmla="*/ -336 w 64770"/>
                <a:gd name="connsiteY0" fmla="*/ -163 h 34170"/>
                <a:gd name="connsiteX1" fmla="*/ -336 w 64770"/>
                <a:gd name="connsiteY1" fmla="*/ 6981 h 34170"/>
                <a:gd name="connsiteX2" fmla="*/ 1188 w 64770"/>
                <a:gd name="connsiteY2" fmla="*/ 9267 h 34170"/>
                <a:gd name="connsiteX3" fmla="*/ 42526 w 64770"/>
                <a:gd name="connsiteY3" fmla="*/ 33080 h 34170"/>
                <a:gd name="connsiteX4" fmla="*/ 50242 w 64770"/>
                <a:gd name="connsiteY4" fmla="*/ 33080 h 34170"/>
                <a:gd name="connsiteX5" fmla="*/ 62814 w 64770"/>
                <a:gd name="connsiteY5" fmla="*/ 25841 h 34170"/>
                <a:gd name="connsiteX6" fmla="*/ 64434 w 64770"/>
                <a:gd name="connsiteY6" fmla="*/ 24221 h 34170"/>
                <a:gd name="connsiteX7" fmla="*/ 64434 w 64770"/>
                <a:gd name="connsiteY7" fmla="*/ 16982 h 34170"/>
                <a:gd name="connsiteX8" fmla="*/ 62814 w 64770"/>
                <a:gd name="connsiteY8" fmla="*/ 18602 h 34170"/>
                <a:gd name="connsiteX9" fmla="*/ 60433 w 64770"/>
                <a:gd name="connsiteY9" fmla="*/ 20030 h 34170"/>
                <a:gd name="connsiteX10" fmla="*/ 50242 w 64770"/>
                <a:gd name="connsiteY10" fmla="*/ 25936 h 34170"/>
                <a:gd name="connsiteX11" fmla="*/ 42526 w 64770"/>
                <a:gd name="connsiteY11" fmla="*/ 25936 h 34170"/>
                <a:gd name="connsiteX12" fmla="*/ 3569 w 64770"/>
                <a:gd name="connsiteY12" fmla="*/ 3457 h 34170"/>
                <a:gd name="connsiteX13" fmla="*/ 1188 w 64770"/>
                <a:gd name="connsiteY13" fmla="*/ 2123 h 34170"/>
                <a:gd name="connsiteX14" fmla="*/ -336 w 64770"/>
                <a:gd name="connsiteY14" fmla="*/ -163 h 341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4770" h="34170">
                  <a:moveTo>
                    <a:pt x="-336" y="-163"/>
                  </a:moveTo>
                  <a:lnTo>
                    <a:pt x="-336" y="6981"/>
                  </a:lnTo>
                  <a:cubicBezTo>
                    <a:pt x="-269" y="7962"/>
                    <a:pt x="312" y="8829"/>
                    <a:pt x="1188" y="9267"/>
                  </a:cubicBezTo>
                  <a:lnTo>
                    <a:pt x="42526" y="33080"/>
                  </a:lnTo>
                  <a:cubicBezTo>
                    <a:pt x="44946" y="34318"/>
                    <a:pt x="47822" y="34318"/>
                    <a:pt x="50242" y="33080"/>
                  </a:cubicBezTo>
                  <a:lnTo>
                    <a:pt x="62814" y="25841"/>
                  </a:lnTo>
                  <a:cubicBezTo>
                    <a:pt x="63443" y="25402"/>
                    <a:pt x="63996" y="24850"/>
                    <a:pt x="64434" y="24221"/>
                  </a:cubicBezTo>
                  <a:lnTo>
                    <a:pt x="64434" y="16982"/>
                  </a:lnTo>
                  <a:cubicBezTo>
                    <a:pt x="64100" y="17697"/>
                    <a:pt x="63529" y="18268"/>
                    <a:pt x="62814" y="18602"/>
                  </a:cubicBezTo>
                  <a:lnTo>
                    <a:pt x="60433" y="20030"/>
                  </a:lnTo>
                  <a:lnTo>
                    <a:pt x="50242" y="25936"/>
                  </a:lnTo>
                  <a:cubicBezTo>
                    <a:pt x="47822" y="27174"/>
                    <a:pt x="44946" y="27174"/>
                    <a:pt x="42526" y="25936"/>
                  </a:cubicBezTo>
                  <a:lnTo>
                    <a:pt x="3569" y="3457"/>
                  </a:lnTo>
                  <a:lnTo>
                    <a:pt x="1188" y="2123"/>
                  </a:lnTo>
                  <a:cubicBezTo>
                    <a:pt x="312"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65" name="ïṩľïḍè">
              <a:extLst>
                <a:ext uri="{FF2B5EF4-FFF2-40B4-BE49-F238E27FC236}">
                  <a16:creationId xmlns:a16="http://schemas.microsoft.com/office/drawing/2014/main" id="{04B388A3-46D6-45E3-9172-A529AA2E238C}"/>
                </a:ext>
              </a:extLst>
            </p:cNvPr>
            <p:cNvSpPr/>
            <p:nvPr/>
          </p:nvSpPr>
          <p:spPr>
            <a:xfrm>
              <a:off x="4920799" y="4820746"/>
              <a:ext cx="109740" cy="63289"/>
            </a:xfrm>
            <a:custGeom>
              <a:avLst/>
              <a:gdLst>
                <a:gd name="connsiteX0" fmla="*/ -336 w 36052"/>
                <a:gd name="connsiteY0" fmla="*/ 10177 h 20792"/>
                <a:gd name="connsiteX1" fmla="*/ 1283 w 36052"/>
                <a:gd name="connsiteY1" fmla="*/ 12463 h 20792"/>
                <a:gd name="connsiteX2" fmla="*/ 3569 w 36052"/>
                <a:gd name="connsiteY2" fmla="*/ 13796 h 20792"/>
                <a:gd name="connsiteX3" fmla="*/ 13856 w 36052"/>
                <a:gd name="connsiteY3" fmla="*/ 19702 h 20792"/>
                <a:gd name="connsiteX4" fmla="*/ 21571 w 36052"/>
                <a:gd name="connsiteY4" fmla="*/ 19702 h 20792"/>
                <a:gd name="connsiteX5" fmla="*/ 31858 w 36052"/>
                <a:gd name="connsiteY5" fmla="*/ 13796 h 20792"/>
                <a:gd name="connsiteX6" fmla="*/ 34144 w 36052"/>
                <a:gd name="connsiteY6" fmla="*/ 12463 h 20792"/>
                <a:gd name="connsiteX7" fmla="*/ 35573 w 36052"/>
                <a:gd name="connsiteY7" fmla="*/ 9415 h 20792"/>
                <a:gd name="connsiteX8" fmla="*/ 34144 w 36052"/>
                <a:gd name="connsiteY8" fmla="*/ 7986 h 20792"/>
                <a:gd name="connsiteX9" fmla="*/ 21571 w 36052"/>
                <a:gd name="connsiteY9" fmla="*/ 652 h 20792"/>
                <a:gd name="connsiteX10" fmla="*/ 13856 w 36052"/>
                <a:gd name="connsiteY10" fmla="*/ 652 h 20792"/>
                <a:gd name="connsiteX11" fmla="*/ 1283 w 36052"/>
                <a:gd name="connsiteY11" fmla="*/ 7986 h 20792"/>
                <a:gd name="connsiteX12" fmla="*/ -336 w 36052"/>
                <a:gd name="connsiteY12" fmla="*/ 10177 h 20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792">
                  <a:moveTo>
                    <a:pt x="-336" y="10177"/>
                  </a:moveTo>
                  <a:cubicBezTo>
                    <a:pt x="-232" y="11167"/>
                    <a:pt x="378" y="12034"/>
                    <a:pt x="1283" y="12463"/>
                  </a:cubicBezTo>
                  <a:lnTo>
                    <a:pt x="3569" y="13796"/>
                  </a:lnTo>
                  <a:lnTo>
                    <a:pt x="13856" y="19702"/>
                  </a:lnTo>
                  <a:cubicBezTo>
                    <a:pt x="16275" y="20940"/>
                    <a:pt x="19152" y="20940"/>
                    <a:pt x="21571" y="19702"/>
                  </a:cubicBezTo>
                  <a:lnTo>
                    <a:pt x="31858" y="13796"/>
                  </a:lnTo>
                  <a:lnTo>
                    <a:pt x="34144" y="12463"/>
                  </a:lnTo>
                  <a:cubicBezTo>
                    <a:pt x="35382" y="12015"/>
                    <a:pt x="36020" y="10643"/>
                    <a:pt x="35573" y="9415"/>
                  </a:cubicBezTo>
                  <a:cubicBezTo>
                    <a:pt x="35325" y="8748"/>
                    <a:pt x="34811" y="8224"/>
                    <a:pt x="34144" y="7986"/>
                  </a:cubicBezTo>
                  <a:lnTo>
                    <a:pt x="21571" y="652"/>
                  </a:lnTo>
                  <a:cubicBezTo>
                    <a:pt x="19114" y="-434"/>
                    <a:pt x="16313" y="-434"/>
                    <a:pt x="13856" y="652"/>
                  </a:cubicBezTo>
                  <a:lnTo>
                    <a:pt x="1283" y="7986"/>
                  </a:lnTo>
                  <a:cubicBezTo>
                    <a:pt x="407" y="8396"/>
                    <a:pt x="-203" y="9224"/>
                    <a:pt x="-336" y="10177"/>
                  </a:cubicBezTo>
                  <a:close/>
                </a:path>
              </a:pathLst>
            </a:custGeom>
            <a:solidFill>
              <a:srgbClr val="FFFFFF"/>
            </a:solidFill>
            <a:ln w="9525" cap="flat">
              <a:noFill/>
              <a:prstDash val="solid"/>
              <a:miter/>
            </a:ln>
          </p:spPr>
          <p:txBody>
            <a:bodyPr rtlCol="0" anchor="ctr"/>
            <a:lstStyle/>
            <a:p>
              <a:endParaRPr lang="zh-CN" altLang="en-US"/>
            </a:p>
          </p:txBody>
        </p:sp>
        <p:sp>
          <p:nvSpPr>
            <p:cNvPr id="766" name="íṩlïḋe">
              <a:extLst>
                <a:ext uri="{FF2B5EF4-FFF2-40B4-BE49-F238E27FC236}">
                  <a16:creationId xmlns:a16="http://schemas.microsoft.com/office/drawing/2014/main" id="{7539D7A0-EB84-49B5-93C0-DED68F7C194B}"/>
                </a:ext>
              </a:extLst>
            </p:cNvPr>
            <p:cNvSpPr/>
            <p:nvPr/>
          </p:nvSpPr>
          <p:spPr>
            <a:xfrm>
              <a:off x="4922902" y="4821774"/>
              <a:ext cx="105679" cy="61101"/>
            </a:xfrm>
            <a:custGeom>
              <a:avLst/>
              <a:gdLst>
                <a:gd name="connsiteX0" fmla="*/ 1164 w 34718"/>
                <a:gd name="connsiteY0" fmla="*/ 12029 h 20073"/>
                <a:gd name="connsiteX1" fmla="*/ 13261 w 34718"/>
                <a:gd name="connsiteY1" fmla="*/ 18982 h 20073"/>
                <a:gd name="connsiteX2" fmla="*/ 20690 w 34718"/>
                <a:gd name="connsiteY2" fmla="*/ 18982 h 20073"/>
                <a:gd name="connsiteX3" fmla="*/ 32882 w 34718"/>
                <a:gd name="connsiteY3" fmla="*/ 12029 h 20073"/>
                <a:gd name="connsiteX4" fmla="*/ 32882 w 34718"/>
                <a:gd name="connsiteY4" fmla="*/ 7743 h 20073"/>
                <a:gd name="connsiteX5" fmla="*/ 20690 w 34718"/>
                <a:gd name="connsiteY5" fmla="*/ 695 h 20073"/>
                <a:gd name="connsiteX6" fmla="*/ 13261 w 34718"/>
                <a:gd name="connsiteY6" fmla="*/ 695 h 20073"/>
                <a:gd name="connsiteX7" fmla="*/ 1164 w 34718"/>
                <a:gd name="connsiteY7" fmla="*/ 7743 h 20073"/>
                <a:gd name="connsiteX8" fmla="*/ 1164 w 34718"/>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18" h="20073">
                  <a:moveTo>
                    <a:pt x="1164" y="12029"/>
                  </a:moveTo>
                  <a:lnTo>
                    <a:pt x="13261" y="18982"/>
                  </a:lnTo>
                  <a:cubicBezTo>
                    <a:pt x="15585" y="20221"/>
                    <a:pt x="18366" y="20221"/>
                    <a:pt x="20690" y="18982"/>
                  </a:cubicBezTo>
                  <a:lnTo>
                    <a:pt x="32882" y="12029"/>
                  </a:lnTo>
                  <a:cubicBezTo>
                    <a:pt x="34882" y="10791"/>
                    <a:pt x="34882" y="8886"/>
                    <a:pt x="32882" y="7743"/>
                  </a:cubicBezTo>
                  <a:lnTo>
                    <a:pt x="20690" y="695"/>
                  </a:lnTo>
                  <a:cubicBezTo>
                    <a:pt x="18347" y="-448"/>
                    <a:pt x="15604" y="-448"/>
                    <a:pt x="13261" y="695"/>
                  </a:cubicBezTo>
                  <a:lnTo>
                    <a:pt x="1164" y="7743"/>
                  </a:lnTo>
                  <a:cubicBezTo>
                    <a:pt x="-836" y="8886"/>
                    <a:pt x="-836" y="11077"/>
                    <a:pt x="1164" y="12029"/>
                  </a:cubicBezTo>
                  <a:close/>
                </a:path>
              </a:pathLst>
            </a:custGeom>
            <a:solidFill>
              <a:srgbClr val="D1D9E8"/>
            </a:solidFill>
            <a:ln w="9525" cap="flat">
              <a:noFill/>
              <a:prstDash val="solid"/>
              <a:miter/>
            </a:ln>
          </p:spPr>
          <p:txBody>
            <a:bodyPr rtlCol="0" anchor="ctr"/>
            <a:lstStyle/>
            <a:p>
              <a:endParaRPr lang="zh-CN" altLang="en-US"/>
            </a:p>
          </p:txBody>
        </p:sp>
        <p:sp>
          <p:nvSpPr>
            <p:cNvPr id="767" name="îṩlïďe">
              <a:extLst>
                <a:ext uri="{FF2B5EF4-FFF2-40B4-BE49-F238E27FC236}">
                  <a16:creationId xmlns:a16="http://schemas.microsoft.com/office/drawing/2014/main" id="{1D5F43EE-1618-49B2-AA2A-0D77F4E30E8F}"/>
                </a:ext>
              </a:extLst>
            </p:cNvPr>
            <p:cNvSpPr/>
            <p:nvPr/>
          </p:nvSpPr>
          <p:spPr>
            <a:xfrm>
              <a:off x="4920799" y="4852217"/>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4 w 36099"/>
                <a:gd name="connsiteY6" fmla="*/ 6981 h 17597"/>
                <a:gd name="connsiteX7" fmla="*/ 35764 w 36099"/>
                <a:gd name="connsiteY7" fmla="*/ -163 h 17597"/>
                <a:gd name="connsiteX8" fmla="*/ 34144 w 36099"/>
                <a:gd name="connsiteY8" fmla="*/ 2123 h 17597"/>
                <a:gd name="connsiteX9" fmla="*/ 31858 w 36099"/>
                <a:gd name="connsiteY9" fmla="*/ 3457 h 17597"/>
                <a:gd name="connsiteX10" fmla="*/ 21571 w 36099"/>
                <a:gd name="connsiteY10" fmla="*/ 9362 h 17597"/>
                <a:gd name="connsiteX11" fmla="*/ 13856 w 36099"/>
                <a:gd name="connsiteY11" fmla="*/ 9362 h 17597"/>
                <a:gd name="connsiteX12" fmla="*/ 3569 w 36099"/>
                <a:gd name="connsiteY12" fmla="*/ 3457 h 17597"/>
                <a:gd name="connsiteX13" fmla="*/ 1283 w 36099"/>
                <a:gd name="connsiteY13" fmla="*/ 2123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03" y="8029"/>
                    <a:pt x="407" y="8857"/>
                    <a:pt x="1283" y="9267"/>
                  </a:cubicBezTo>
                  <a:lnTo>
                    <a:pt x="13856" y="16506"/>
                  </a:lnTo>
                  <a:cubicBezTo>
                    <a:pt x="16275" y="17744"/>
                    <a:pt x="19152" y="17744"/>
                    <a:pt x="21571" y="16506"/>
                  </a:cubicBezTo>
                  <a:lnTo>
                    <a:pt x="34144" y="9267"/>
                  </a:lnTo>
                  <a:cubicBezTo>
                    <a:pt x="35030" y="8829"/>
                    <a:pt x="35640" y="7962"/>
                    <a:pt x="35764" y="6981"/>
                  </a:cubicBezTo>
                  <a:lnTo>
                    <a:pt x="35764" y="-163"/>
                  </a:lnTo>
                  <a:cubicBezTo>
                    <a:pt x="35659" y="828"/>
                    <a:pt x="35049" y="1695"/>
                    <a:pt x="34144" y="2123"/>
                  </a:cubicBezTo>
                  <a:lnTo>
                    <a:pt x="31858" y="3457"/>
                  </a:lnTo>
                  <a:lnTo>
                    <a:pt x="21571" y="9362"/>
                  </a:lnTo>
                  <a:cubicBezTo>
                    <a:pt x="19152" y="10601"/>
                    <a:pt x="16275" y="10601"/>
                    <a:pt x="13856" y="9362"/>
                  </a:cubicBezTo>
                  <a:lnTo>
                    <a:pt x="3569" y="3457"/>
                  </a:lnTo>
                  <a:lnTo>
                    <a:pt x="1283" y="2123"/>
                  </a:lnTo>
                  <a:cubicBezTo>
                    <a:pt x="378" y="1695"/>
                    <a:pt x="-232"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68" name="îṩḷîḋe">
              <a:extLst>
                <a:ext uri="{FF2B5EF4-FFF2-40B4-BE49-F238E27FC236}">
                  <a16:creationId xmlns:a16="http://schemas.microsoft.com/office/drawing/2014/main" id="{720027C5-90CE-437D-9089-D36A073C7668}"/>
                </a:ext>
              </a:extLst>
            </p:cNvPr>
            <p:cNvSpPr/>
            <p:nvPr/>
          </p:nvSpPr>
          <p:spPr>
            <a:xfrm>
              <a:off x="4998212" y="4865047"/>
              <a:ext cx="109740" cy="63639"/>
            </a:xfrm>
            <a:custGeom>
              <a:avLst/>
              <a:gdLst>
                <a:gd name="connsiteX0" fmla="*/ -336 w 36052"/>
                <a:gd name="connsiteY0" fmla="*/ 10291 h 20907"/>
                <a:gd name="connsiteX1" fmla="*/ 1188 w 36052"/>
                <a:gd name="connsiteY1" fmla="*/ 12577 h 20907"/>
                <a:gd name="connsiteX2" fmla="*/ 3569 w 36052"/>
                <a:gd name="connsiteY2" fmla="*/ 13911 h 20907"/>
                <a:gd name="connsiteX3" fmla="*/ 13856 w 36052"/>
                <a:gd name="connsiteY3" fmla="*/ 19816 h 20907"/>
                <a:gd name="connsiteX4" fmla="*/ 21476 w 36052"/>
                <a:gd name="connsiteY4" fmla="*/ 19816 h 20907"/>
                <a:gd name="connsiteX5" fmla="*/ 31763 w 36052"/>
                <a:gd name="connsiteY5" fmla="*/ 13911 h 20907"/>
                <a:gd name="connsiteX6" fmla="*/ 34144 w 36052"/>
                <a:gd name="connsiteY6" fmla="*/ 12577 h 20907"/>
                <a:gd name="connsiteX7" fmla="*/ 35573 w 36052"/>
                <a:gd name="connsiteY7" fmla="*/ 9529 h 20907"/>
                <a:gd name="connsiteX8" fmla="*/ 34144 w 36052"/>
                <a:gd name="connsiteY8" fmla="*/ 8100 h 20907"/>
                <a:gd name="connsiteX9" fmla="*/ 21476 w 36052"/>
                <a:gd name="connsiteY9" fmla="*/ 766 h 20907"/>
                <a:gd name="connsiteX10" fmla="*/ 13856 w 36052"/>
                <a:gd name="connsiteY10" fmla="*/ 766 h 20907"/>
                <a:gd name="connsiteX11" fmla="*/ 1188 w 36052"/>
                <a:gd name="connsiteY11" fmla="*/ 8100 h 20907"/>
                <a:gd name="connsiteX12" fmla="*/ -336 w 36052"/>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907">
                  <a:moveTo>
                    <a:pt x="-336" y="10291"/>
                  </a:moveTo>
                  <a:cubicBezTo>
                    <a:pt x="-269" y="11272"/>
                    <a:pt x="312" y="12139"/>
                    <a:pt x="1188" y="12577"/>
                  </a:cubicBezTo>
                  <a:lnTo>
                    <a:pt x="3569" y="13911"/>
                  </a:lnTo>
                  <a:lnTo>
                    <a:pt x="13856" y="19816"/>
                  </a:lnTo>
                  <a:cubicBezTo>
                    <a:pt x="16247" y="21054"/>
                    <a:pt x="19085" y="21054"/>
                    <a:pt x="21476" y="19816"/>
                  </a:cubicBezTo>
                  <a:lnTo>
                    <a:pt x="31763" y="13911"/>
                  </a:lnTo>
                  <a:lnTo>
                    <a:pt x="34144" y="12577"/>
                  </a:lnTo>
                  <a:cubicBezTo>
                    <a:pt x="35382" y="12129"/>
                    <a:pt x="36021" y="10758"/>
                    <a:pt x="35573" y="9529"/>
                  </a:cubicBezTo>
                  <a:cubicBezTo>
                    <a:pt x="35325" y="8862"/>
                    <a:pt x="34811" y="8338"/>
                    <a:pt x="34144" y="8100"/>
                  </a:cubicBezTo>
                  <a:lnTo>
                    <a:pt x="21476" y="766"/>
                  </a:lnTo>
                  <a:cubicBezTo>
                    <a:pt x="19085" y="-472"/>
                    <a:pt x="16247" y="-472"/>
                    <a:pt x="13856" y="766"/>
                  </a:cubicBezTo>
                  <a:lnTo>
                    <a:pt x="1188" y="8100"/>
                  </a:lnTo>
                  <a:cubicBezTo>
                    <a:pt x="340" y="8519"/>
                    <a:pt x="-241" y="9348"/>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769" name="îṧlïdê">
              <a:extLst>
                <a:ext uri="{FF2B5EF4-FFF2-40B4-BE49-F238E27FC236}">
                  <a16:creationId xmlns:a16="http://schemas.microsoft.com/office/drawing/2014/main" id="{D296E0A0-D5E7-4207-9A7F-EFCE78822F3D}"/>
                </a:ext>
              </a:extLst>
            </p:cNvPr>
            <p:cNvSpPr/>
            <p:nvPr/>
          </p:nvSpPr>
          <p:spPr>
            <a:xfrm>
              <a:off x="5000096" y="4866426"/>
              <a:ext cx="105825" cy="61101"/>
            </a:xfrm>
            <a:custGeom>
              <a:avLst/>
              <a:gdLst>
                <a:gd name="connsiteX0" fmla="*/ 1235 w 34766"/>
                <a:gd name="connsiteY0" fmla="*/ 12030 h 20073"/>
                <a:gd name="connsiteX1" fmla="*/ 13332 w 34766"/>
                <a:gd name="connsiteY1" fmla="*/ 18983 h 20073"/>
                <a:gd name="connsiteX2" fmla="*/ 20761 w 34766"/>
                <a:gd name="connsiteY2" fmla="*/ 18983 h 20073"/>
                <a:gd name="connsiteX3" fmla="*/ 32858 w 34766"/>
                <a:gd name="connsiteY3" fmla="*/ 12030 h 20073"/>
                <a:gd name="connsiteX4" fmla="*/ 32858 w 34766"/>
                <a:gd name="connsiteY4" fmla="*/ 7743 h 20073"/>
                <a:gd name="connsiteX5" fmla="*/ 20761 w 34766"/>
                <a:gd name="connsiteY5" fmla="*/ 695 h 20073"/>
                <a:gd name="connsiteX6" fmla="*/ 13332 w 34766"/>
                <a:gd name="connsiteY6" fmla="*/ 695 h 20073"/>
                <a:gd name="connsiteX7" fmla="*/ 1235 w 34766"/>
                <a:gd name="connsiteY7" fmla="*/ 7743 h 20073"/>
                <a:gd name="connsiteX8" fmla="*/ 1235 w 34766"/>
                <a:gd name="connsiteY8" fmla="*/ 12030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6" h="20073">
                  <a:moveTo>
                    <a:pt x="1235" y="12030"/>
                  </a:moveTo>
                  <a:lnTo>
                    <a:pt x="13332" y="18983"/>
                  </a:lnTo>
                  <a:cubicBezTo>
                    <a:pt x="15656" y="20221"/>
                    <a:pt x="18437" y="20221"/>
                    <a:pt x="20761" y="18983"/>
                  </a:cubicBezTo>
                  <a:lnTo>
                    <a:pt x="32858" y="12030"/>
                  </a:lnTo>
                  <a:cubicBezTo>
                    <a:pt x="34954" y="10791"/>
                    <a:pt x="34954" y="8886"/>
                    <a:pt x="32858" y="7743"/>
                  </a:cubicBezTo>
                  <a:lnTo>
                    <a:pt x="20761" y="695"/>
                  </a:lnTo>
                  <a:cubicBezTo>
                    <a:pt x="18419" y="-448"/>
                    <a:pt x="15675" y="-448"/>
                    <a:pt x="13332" y="695"/>
                  </a:cubicBezTo>
                  <a:lnTo>
                    <a:pt x="1235" y="7743"/>
                  </a:lnTo>
                  <a:cubicBezTo>
                    <a:pt x="-860" y="8886"/>
                    <a:pt x="-860" y="10791"/>
                    <a:pt x="1235" y="12030"/>
                  </a:cubicBezTo>
                  <a:close/>
                </a:path>
              </a:pathLst>
            </a:custGeom>
            <a:solidFill>
              <a:srgbClr val="D1D9E8"/>
            </a:solidFill>
            <a:ln w="9525" cap="flat">
              <a:noFill/>
              <a:prstDash val="solid"/>
              <a:miter/>
            </a:ln>
          </p:spPr>
          <p:txBody>
            <a:bodyPr rtlCol="0" anchor="ctr"/>
            <a:lstStyle/>
            <a:p>
              <a:endParaRPr lang="zh-CN" altLang="en-US"/>
            </a:p>
          </p:txBody>
        </p:sp>
        <p:sp>
          <p:nvSpPr>
            <p:cNvPr id="770" name="î$ḻíďê">
              <a:extLst>
                <a:ext uri="{FF2B5EF4-FFF2-40B4-BE49-F238E27FC236}">
                  <a16:creationId xmlns:a16="http://schemas.microsoft.com/office/drawing/2014/main" id="{A5EA3187-8D26-44EB-A0BF-8BFA9FA1CFE6}"/>
                </a:ext>
              </a:extLst>
            </p:cNvPr>
            <p:cNvSpPr/>
            <p:nvPr/>
          </p:nvSpPr>
          <p:spPr>
            <a:xfrm>
              <a:off x="4998212" y="4896868"/>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3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3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3" y="7953"/>
                    <a:pt x="35668" y="6981"/>
                  </a:cubicBezTo>
                  <a:lnTo>
                    <a:pt x="35668" y="-163"/>
                  </a:lnTo>
                  <a:cubicBezTo>
                    <a:pt x="35602" y="818"/>
                    <a:pt x="35021" y="1685"/>
                    <a:pt x="34144" y="2123"/>
                  </a:cubicBezTo>
                  <a:lnTo>
                    <a:pt x="31763" y="3457"/>
                  </a:lnTo>
                  <a:lnTo>
                    <a:pt x="21476" y="9362"/>
                  </a:lnTo>
                  <a:cubicBezTo>
                    <a:pt x="19085" y="10601"/>
                    <a:pt x="16247" y="10601"/>
                    <a:pt x="13856" y="9362"/>
                  </a:cubicBezTo>
                  <a:lnTo>
                    <a:pt x="3569" y="3457"/>
                  </a:lnTo>
                  <a:lnTo>
                    <a:pt x="1188" y="2123"/>
                  </a:lnTo>
                  <a:cubicBezTo>
                    <a:pt x="312"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71" name="îṥľîḋê">
              <a:extLst>
                <a:ext uri="{FF2B5EF4-FFF2-40B4-BE49-F238E27FC236}">
                  <a16:creationId xmlns:a16="http://schemas.microsoft.com/office/drawing/2014/main" id="{E3F1E167-18E3-4513-AC3F-490566F5DE83}"/>
                </a:ext>
              </a:extLst>
            </p:cNvPr>
            <p:cNvSpPr/>
            <p:nvPr/>
          </p:nvSpPr>
          <p:spPr>
            <a:xfrm>
              <a:off x="5075333" y="4911147"/>
              <a:ext cx="109015" cy="63639"/>
            </a:xfrm>
            <a:custGeom>
              <a:avLst/>
              <a:gdLst>
                <a:gd name="connsiteX0" fmla="*/ -336 w 35814"/>
                <a:gd name="connsiteY0" fmla="*/ 10291 h 20907"/>
                <a:gd name="connsiteX1" fmla="*/ 1283 w 35814"/>
                <a:gd name="connsiteY1" fmla="*/ 12577 h 20907"/>
                <a:gd name="connsiteX2" fmla="*/ 3569 w 35814"/>
                <a:gd name="connsiteY2" fmla="*/ 13911 h 20907"/>
                <a:gd name="connsiteX3" fmla="*/ 13856 w 35814"/>
                <a:gd name="connsiteY3" fmla="*/ 19816 h 20907"/>
                <a:gd name="connsiteX4" fmla="*/ 21571 w 35814"/>
                <a:gd name="connsiteY4" fmla="*/ 19816 h 20907"/>
                <a:gd name="connsiteX5" fmla="*/ 31858 w 35814"/>
                <a:gd name="connsiteY5" fmla="*/ 13911 h 20907"/>
                <a:gd name="connsiteX6" fmla="*/ 34144 w 35814"/>
                <a:gd name="connsiteY6" fmla="*/ 12577 h 20907"/>
                <a:gd name="connsiteX7" fmla="*/ 35478 w 35814"/>
                <a:gd name="connsiteY7" fmla="*/ 10291 h 20907"/>
                <a:gd name="connsiteX8" fmla="*/ 33858 w 35814"/>
                <a:gd name="connsiteY8" fmla="*/ 8100 h 20907"/>
                <a:gd name="connsiteX9" fmla="*/ 21286 w 35814"/>
                <a:gd name="connsiteY9" fmla="*/ 766 h 20907"/>
                <a:gd name="connsiteX10" fmla="*/ 13570 w 35814"/>
                <a:gd name="connsiteY10" fmla="*/ 766 h 20907"/>
                <a:gd name="connsiteX11" fmla="*/ 997 w 35814"/>
                <a:gd name="connsiteY11" fmla="*/ 8100 h 20907"/>
                <a:gd name="connsiteX12" fmla="*/ -336 w 35814"/>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814" h="20907">
                  <a:moveTo>
                    <a:pt x="-336" y="10291"/>
                  </a:moveTo>
                  <a:cubicBezTo>
                    <a:pt x="-231" y="11282"/>
                    <a:pt x="378" y="12149"/>
                    <a:pt x="1283" y="12577"/>
                  </a:cubicBezTo>
                  <a:lnTo>
                    <a:pt x="3569" y="13911"/>
                  </a:lnTo>
                  <a:lnTo>
                    <a:pt x="13856" y="19816"/>
                  </a:lnTo>
                  <a:cubicBezTo>
                    <a:pt x="16275" y="21054"/>
                    <a:pt x="19152" y="21054"/>
                    <a:pt x="21571" y="19816"/>
                  </a:cubicBezTo>
                  <a:lnTo>
                    <a:pt x="31858" y="13911"/>
                  </a:lnTo>
                  <a:lnTo>
                    <a:pt x="34144" y="12577"/>
                  </a:lnTo>
                  <a:cubicBezTo>
                    <a:pt x="34964" y="12101"/>
                    <a:pt x="35468" y="11234"/>
                    <a:pt x="35478" y="10291"/>
                  </a:cubicBezTo>
                  <a:cubicBezTo>
                    <a:pt x="35402" y="9310"/>
                    <a:pt x="34773" y="8462"/>
                    <a:pt x="33858" y="8100"/>
                  </a:cubicBezTo>
                  <a:lnTo>
                    <a:pt x="21286" y="766"/>
                  </a:lnTo>
                  <a:cubicBezTo>
                    <a:pt x="18866" y="-472"/>
                    <a:pt x="15990" y="-472"/>
                    <a:pt x="13570" y="766"/>
                  </a:cubicBezTo>
                  <a:lnTo>
                    <a:pt x="997" y="8100"/>
                  </a:lnTo>
                  <a:cubicBezTo>
                    <a:pt x="216" y="8567"/>
                    <a:pt x="-279" y="9386"/>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772" name="ïṡḷîḑè">
              <a:extLst>
                <a:ext uri="{FF2B5EF4-FFF2-40B4-BE49-F238E27FC236}">
                  <a16:creationId xmlns:a16="http://schemas.microsoft.com/office/drawing/2014/main" id="{8897BE13-B5A0-46CE-9E47-8D566C462FEC}"/>
                </a:ext>
              </a:extLst>
            </p:cNvPr>
            <p:cNvSpPr/>
            <p:nvPr/>
          </p:nvSpPr>
          <p:spPr>
            <a:xfrm>
              <a:off x="5077437" y="4910858"/>
              <a:ext cx="105679" cy="61104"/>
            </a:xfrm>
            <a:custGeom>
              <a:avLst/>
              <a:gdLst>
                <a:gd name="connsiteX0" fmla="*/ 1164 w 34718"/>
                <a:gd name="connsiteY0" fmla="*/ 12006 h 20074"/>
                <a:gd name="connsiteX1" fmla="*/ 13356 w 34718"/>
                <a:gd name="connsiteY1" fmla="*/ 19054 h 20074"/>
                <a:gd name="connsiteX2" fmla="*/ 20785 w 34718"/>
                <a:gd name="connsiteY2" fmla="*/ 19054 h 20074"/>
                <a:gd name="connsiteX3" fmla="*/ 32882 w 34718"/>
                <a:gd name="connsiteY3" fmla="*/ 12006 h 20074"/>
                <a:gd name="connsiteX4" fmla="*/ 32882 w 34718"/>
                <a:gd name="connsiteY4" fmla="*/ 7719 h 20074"/>
                <a:gd name="connsiteX5" fmla="*/ 20785 w 34718"/>
                <a:gd name="connsiteY5" fmla="*/ 766 h 20074"/>
                <a:gd name="connsiteX6" fmla="*/ 13356 w 34718"/>
                <a:gd name="connsiteY6" fmla="*/ 766 h 20074"/>
                <a:gd name="connsiteX7" fmla="*/ 1164 w 34718"/>
                <a:gd name="connsiteY7" fmla="*/ 7719 h 20074"/>
                <a:gd name="connsiteX8" fmla="*/ 1164 w 34718"/>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18" h="20074">
                  <a:moveTo>
                    <a:pt x="1164" y="12006"/>
                  </a:moveTo>
                  <a:lnTo>
                    <a:pt x="13356" y="19054"/>
                  </a:lnTo>
                  <a:cubicBezTo>
                    <a:pt x="15699" y="20197"/>
                    <a:pt x="18442" y="20197"/>
                    <a:pt x="20785" y="19054"/>
                  </a:cubicBezTo>
                  <a:lnTo>
                    <a:pt x="32882" y="12006"/>
                  </a:lnTo>
                  <a:cubicBezTo>
                    <a:pt x="34882" y="10863"/>
                    <a:pt x="34882" y="8958"/>
                    <a:pt x="32882" y="7719"/>
                  </a:cubicBezTo>
                  <a:lnTo>
                    <a:pt x="20785" y="766"/>
                  </a:lnTo>
                  <a:cubicBezTo>
                    <a:pt x="18461" y="-472"/>
                    <a:pt x="15680" y="-472"/>
                    <a:pt x="13356" y="766"/>
                  </a:cubicBezTo>
                  <a:lnTo>
                    <a:pt x="1164" y="7719"/>
                  </a:lnTo>
                  <a:cubicBezTo>
                    <a:pt x="-836" y="8958"/>
                    <a:pt x="-836" y="10863"/>
                    <a:pt x="1164" y="12006"/>
                  </a:cubicBezTo>
                  <a:close/>
                </a:path>
              </a:pathLst>
            </a:custGeom>
            <a:solidFill>
              <a:srgbClr val="D1D9E8"/>
            </a:solidFill>
            <a:ln w="9525" cap="flat">
              <a:noFill/>
              <a:prstDash val="solid"/>
              <a:miter/>
            </a:ln>
          </p:spPr>
          <p:txBody>
            <a:bodyPr rtlCol="0" anchor="ctr"/>
            <a:lstStyle/>
            <a:p>
              <a:endParaRPr lang="zh-CN" altLang="en-US"/>
            </a:p>
          </p:txBody>
        </p:sp>
        <p:sp>
          <p:nvSpPr>
            <p:cNvPr id="773" name="ïŝľiḑé">
              <a:extLst>
                <a:ext uri="{FF2B5EF4-FFF2-40B4-BE49-F238E27FC236}">
                  <a16:creationId xmlns:a16="http://schemas.microsoft.com/office/drawing/2014/main" id="{B392D23A-7B7B-4934-960E-4E73E80226E8}"/>
                </a:ext>
              </a:extLst>
            </p:cNvPr>
            <p:cNvSpPr/>
            <p:nvPr/>
          </p:nvSpPr>
          <p:spPr>
            <a:xfrm>
              <a:off x="5075333" y="4942968"/>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4 w 36099"/>
                <a:gd name="connsiteY6" fmla="*/ 6981 h 17597"/>
                <a:gd name="connsiteX7" fmla="*/ 35764 w 36099"/>
                <a:gd name="connsiteY7" fmla="*/ -163 h 17597"/>
                <a:gd name="connsiteX8" fmla="*/ 34144 w 36099"/>
                <a:gd name="connsiteY8" fmla="*/ 2123 h 17597"/>
                <a:gd name="connsiteX9" fmla="*/ 31858 w 36099"/>
                <a:gd name="connsiteY9" fmla="*/ 3457 h 17597"/>
                <a:gd name="connsiteX10" fmla="*/ 21571 w 36099"/>
                <a:gd name="connsiteY10" fmla="*/ 9362 h 17597"/>
                <a:gd name="connsiteX11" fmla="*/ 13856 w 36099"/>
                <a:gd name="connsiteY11" fmla="*/ 9362 h 17597"/>
                <a:gd name="connsiteX12" fmla="*/ 3569 w 36099"/>
                <a:gd name="connsiteY12" fmla="*/ 3457 h 17597"/>
                <a:gd name="connsiteX13" fmla="*/ 1283 w 36099"/>
                <a:gd name="connsiteY13" fmla="*/ 2123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03" y="8038"/>
                    <a:pt x="407" y="8857"/>
                    <a:pt x="1283" y="9267"/>
                  </a:cubicBezTo>
                  <a:lnTo>
                    <a:pt x="13856" y="16506"/>
                  </a:lnTo>
                  <a:cubicBezTo>
                    <a:pt x="16275" y="17744"/>
                    <a:pt x="19152" y="17744"/>
                    <a:pt x="21571" y="16506"/>
                  </a:cubicBezTo>
                  <a:lnTo>
                    <a:pt x="34144" y="9267"/>
                  </a:lnTo>
                  <a:cubicBezTo>
                    <a:pt x="35059" y="8857"/>
                    <a:pt x="35678" y="7981"/>
                    <a:pt x="35764" y="6981"/>
                  </a:cubicBezTo>
                  <a:lnTo>
                    <a:pt x="35764" y="-163"/>
                  </a:lnTo>
                  <a:cubicBezTo>
                    <a:pt x="35697" y="847"/>
                    <a:pt x="35068" y="1733"/>
                    <a:pt x="34144" y="2123"/>
                  </a:cubicBezTo>
                  <a:lnTo>
                    <a:pt x="31858" y="3457"/>
                  </a:lnTo>
                  <a:lnTo>
                    <a:pt x="21571" y="9362"/>
                  </a:lnTo>
                  <a:cubicBezTo>
                    <a:pt x="19152" y="10601"/>
                    <a:pt x="16275" y="10601"/>
                    <a:pt x="13856" y="9362"/>
                  </a:cubicBezTo>
                  <a:lnTo>
                    <a:pt x="3569" y="3457"/>
                  </a:lnTo>
                  <a:lnTo>
                    <a:pt x="1283" y="2123"/>
                  </a:lnTo>
                  <a:cubicBezTo>
                    <a:pt x="378" y="1695"/>
                    <a:pt x="-231"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74" name="ïslíḋé">
              <a:extLst>
                <a:ext uri="{FF2B5EF4-FFF2-40B4-BE49-F238E27FC236}">
                  <a16:creationId xmlns:a16="http://schemas.microsoft.com/office/drawing/2014/main" id="{71B060B7-65A2-47F6-8352-3D76221B386F}"/>
                </a:ext>
              </a:extLst>
            </p:cNvPr>
            <p:cNvSpPr/>
            <p:nvPr/>
          </p:nvSpPr>
          <p:spPr>
            <a:xfrm>
              <a:off x="5152746" y="4953476"/>
              <a:ext cx="140036" cy="81035"/>
            </a:xfrm>
            <a:custGeom>
              <a:avLst/>
              <a:gdLst>
                <a:gd name="connsiteX0" fmla="*/ -336 w 46005"/>
                <a:gd name="connsiteY0" fmla="*/ 10196 h 26622"/>
                <a:gd name="connsiteX1" fmla="*/ 1283 w 46005"/>
                <a:gd name="connsiteY1" fmla="*/ 12482 h 26622"/>
                <a:gd name="connsiteX2" fmla="*/ 3569 w 46005"/>
                <a:gd name="connsiteY2" fmla="*/ 13815 h 26622"/>
                <a:gd name="connsiteX3" fmla="*/ 23762 w 46005"/>
                <a:gd name="connsiteY3" fmla="*/ 25531 h 26622"/>
                <a:gd name="connsiteX4" fmla="*/ 31477 w 46005"/>
                <a:gd name="connsiteY4" fmla="*/ 25531 h 26622"/>
                <a:gd name="connsiteX5" fmla="*/ 41764 w 46005"/>
                <a:gd name="connsiteY5" fmla="*/ 19530 h 26622"/>
                <a:gd name="connsiteX6" fmla="*/ 44145 w 46005"/>
                <a:gd name="connsiteY6" fmla="*/ 18197 h 26622"/>
                <a:gd name="connsiteX7" fmla="*/ 45669 w 46005"/>
                <a:gd name="connsiteY7" fmla="*/ 16578 h 26622"/>
                <a:gd name="connsiteX8" fmla="*/ 45669 w 46005"/>
                <a:gd name="connsiteY8" fmla="*/ 15435 h 26622"/>
                <a:gd name="connsiteX9" fmla="*/ 44145 w 46005"/>
                <a:gd name="connsiteY9" fmla="*/ 13720 h 26622"/>
                <a:gd name="connsiteX10" fmla="*/ 21571 w 46005"/>
                <a:gd name="connsiteY10" fmla="*/ 766 h 26622"/>
                <a:gd name="connsiteX11" fmla="*/ 13856 w 46005"/>
                <a:gd name="connsiteY11" fmla="*/ 766 h 26622"/>
                <a:gd name="connsiteX12" fmla="*/ 1283 w 46005"/>
                <a:gd name="connsiteY12" fmla="*/ 8005 h 26622"/>
                <a:gd name="connsiteX13" fmla="*/ -336 w 46005"/>
                <a:gd name="connsiteY13" fmla="*/ 10196 h 26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005" h="26622">
                  <a:moveTo>
                    <a:pt x="-336" y="10196"/>
                  </a:moveTo>
                  <a:cubicBezTo>
                    <a:pt x="-298" y="11215"/>
                    <a:pt x="340" y="12110"/>
                    <a:pt x="1283" y="12482"/>
                  </a:cubicBezTo>
                  <a:lnTo>
                    <a:pt x="3569" y="13815"/>
                  </a:lnTo>
                  <a:lnTo>
                    <a:pt x="23762" y="25531"/>
                  </a:lnTo>
                  <a:cubicBezTo>
                    <a:pt x="26181" y="26769"/>
                    <a:pt x="29058" y="26769"/>
                    <a:pt x="31477" y="25531"/>
                  </a:cubicBezTo>
                  <a:lnTo>
                    <a:pt x="41764" y="19530"/>
                  </a:lnTo>
                  <a:lnTo>
                    <a:pt x="44145" y="18197"/>
                  </a:lnTo>
                  <a:cubicBezTo>
                    <a:pt x="44860" y="17892"/>
                    <a:pt x="45412" y="17311"/>
                    <a:pt x="45669" y="16578"/>
                  </a:cubicBezTo>
                  <a:lnTo>
                    <a:pt x="45669" y="15435"/>
                  </a:lnTo>
                  <a:cubicBezTo>
                    <a:pt x="45384" y="14692"/>
                    <a:pt x="44850" y="14082"/>
                    <a:pt x="44145" y="13720"/>
                  </a:cubicBezTo>
                  <a:lnTo>
                    <a:pt x="21571" y="766"/>
                  </a:lnTo>
                  <a:cubicBezTo>
                    <a:pt x="19152" y="-472"/>
                    <a:pt x="16275" y="-472"/>
                    <a:pt x="13856" y="766"/>
                  </a:cubicBezTo>
                  <a:lnTo>
                    <a:pt x="1283" y="8005"/>
                  </a:lnTo>
                  <a:cubicBezTo>
                    <a:pt x="378" y="8386"/>
                    <a:pt x="-241" y="9224"/>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775" name="iṩľide">
              <a:extLst>
                <a:ext uri="{FF2B5EF4-FFF2-40B4-BE49-F238E27FC236}">
                  <a16:creationId xmlns:a16="http://schemas.microsoft.com/office/drawing/2014/main" id="{3CF7866E-A5F9-4F76-893F-B9D584EDAC8D}"/>
                </a:ext>
              </a:extLst>
            </p:cNvPr>
            <p:cNvSpPr/>
            <p:nvPr/>
          </p:nvSpPr>
          <p:spPr>
            <a:xfrm>
              <a:off x="5154880" y="4953984"/>
              <a:ext cx="136021" cy="78570"/>
            </a:xfrm>
            <a:custGeom>
              <a:avLst/>
              <a:gdLst>
                <a:gd name="connsiteX0" fmla="*/ 23252 w 44686"/>
                <a:gd name="connsiteY0" fmla="*/ 24793 h 25812"/>
                <a:gd name="connsiteX1" fmla="*/ 1154 w 44686"/>
                <a:gd name="connsiteY1" fmla="*/ 12029 h 25812"/>
                <a:gd name="connsiteX2" fmla="*/ -189 w 44686"/>
                <a:gd name="connsiteY2" fmla="*/ 9096 h 25812"/>
                <a:gd name="connsiteX3" fmla="*/ 1154 w 44686"/>
                <a:gd name="connsiteY3" fmla="*/ 7743 h 25812"/>
                <a:gd name="connsiteX4" fmla="*/ 13251 w 44686"/>
                <a:gd name="connsiteY4" fmla="*/ 695 h 25812"/>
                <a:gd name="connsiteX5" fmla="*/ 20680 w 44686"/>
                <a:gd name="connsiteY5" fmla="*/ 695 h 25812"/>
                <a:gd name="connsiteX6" fmla="*/ 42778 w 44686"/>
                <a:gd name="connsiteY6" fmla="*/ 13458 h 25812"/>
                <a:gd name="connsiteX7" fmla="*/ 42778 w 44686"/>
                <a:gd name="connsiteY7" fmla="*/ 17744 h 25812"/>
                <a:gd name="connsiteX8" fmla="*/ 30681 w 44686"/>
                <a:gd name="connsiteY8" fmla="*/ 24793 h 25812"/>
                <a:gd name="connsiteX9" fmla="*/ 23252 w 44686"/>
                <a:gd name="connsiteY9" fmla="*/ 24793 h 25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4686" h="25812">
                  <a:moveTo>
                    <a:pt x="23252" y="24793"/>
                  </a:moveTo>
                  <a:lnTo>
                    <a:pt x="1154" y="12029"/>
                  </a:lnTo>
                  <a:cubicBezTo>
                    <a:pt x="-27" y="11591"/>
                    <a:pt x="-637" y="10277"/>
                    <a:pt x="-189" y="9096"/>
                  </a:cubicBezTo>
                  <a:cubicBezTo>
                    <a:pt x="40" y="8467"/>
                    <a:pt x="535" y="7972"/>
                    <a:pt x="1154" y="7743"/>
                  </a:cubicBezTo>
                  <a:lnTo>
                    <a:pt x="13251" y="695"/>
                  </a:lnTo>
                  <a:cubicBezTo>
                    <a:pt x="15594" y="-448"/>
                    <a:pt x="18337" y="-448"/>
                    <a:pt x="20680" y="695"/>
                  </a:cubicBezTo>
                  <a:lnTo>
                    <a:pt x="42778" y="13458"/>
                  </a:lnTo>
                  <a:cubicBezTo>
                    <a:pt x="44874" y="14696"/>
                    <a:pt x="44874" y="16601"/>
                    <a:pt x="42778" y="17744"/>
                  </a:cubicBezTo>
                  <a:lnTo>
                    <a:pt x="30681" y="24793"/>
                  </a:lnTo>
                  <a:cubicBezTo>
                    <a:pt x="28338" y="25936"/>
                    <a:pt x="25595" y="25936"/>
                    <a:pt x="23252" y="24793"/>
                  </a:cubicBezTo>
                  <a:close/>
                </a:path>
              </a:pathLst>
            </a:custGeom>
            <a:solidFill>
              <a:srgbClr val="D1D9E8"/>
            </a:solidFill>
            <a:ln w="9525" cap="flat">
              <a:noFill/>
              <a:prstDash val="solid"/>
              <a:miter/>
            </a:ln>
          </p:spPr>
          <p:txBody>
            <a:bodyPr rtlCol="0" anchor="ctr"/>
            <a:lstStyle/>
            <a:p>
              <a:endParaRPr lang="zh-CN" altLang="en-US"/>
            </a:p>
          </p:txBody>
        </p:sp>
        <p:sp>
          <p:nvSpPr>
            <p:cNvPr id="776" name="iśľíḋè">
              <a:extLst>
                <a:ext uri="{FF2B5EF4-FFF2-40B4-BE49-F238E27FC236}">
                  <a16:creationId xmlns:a16="http://schemas.microsoft.com/office/drawing/2014/main" id="{3E9E979B-266C-49FC-AC2E-809C258F0A99}"/>
                </a:ext>
              </a:extLst>
            </p:cNvPr>
            <p:cNvSpPr/>
            <p:nvPr/>
          </p:nvSpPr>
          <p:spPr>
            <a:xfrm>
              <a:off x="5152746" y="4985008"/>
              <a:ext cx="140036" cy="71249"/>
            </a:xfrm>
            <a:custGeom>
              <a:avLst/>
              <a:gdLst>
                <a:gd name="connsiteX0" fmla="*/ -336 w 46005"/>
                <a:gd name="connsiteY0" fmla="*/ -163 h 23407"/>
                <a:gd name="connsiteX1" fmla="*/ -336 w 46005"/>
                <a:gd name="connsiteY1" fmla="*/ 7076 h 23407"/>
                <a:gd name="connsiteX2" fmla="*/ 1283 w 46005"/>
                <a:gd name="connsiteY2" fmla="*/ 9267 h 23407"/>
                <a:gd name="connsiteX3" fmla="*/ 23762 w 46005"/>
                <a:gd name="connsiteY3" fmla="*/ 22316 h 23407"/>
                <a:gd name="connsiteX4" fmla="*/ 31477 w 46005"/>
                <a:gd name="connsiteY4" fmla="*/ 22316 h 23407"/>
                <a:gd name="connsiteX5" fmla="*/ 44145 w 46005"/>
                <a:gd name="connsiteY5" fmla="*/ 14982 h 23407"/>
                <a:gd name="connsiteX6" fmla="*/ 45669 w 46005"/>
                <a:gd name="connsiteY6" fmla="*/ 13363 h 23407"/>
                <a:gd name="connsiteX7" fmla="*/ 45669 w 46005"/>
                <a:gd name="connsiteY7" fmla="*/ 6219 h 23407"/>
                <a:gd name="connsiteX8" fmla="*/ 44145 w 46005"/>
                <a:gd name="connsiteY8" fmla="*/ 7838 h 23407"/>
                <a:gd name="connsiteX9" fmla="*/ 41764 w 46005"/>
                <a:gd name="connsiteY9" fmla="*/ 9172 h 23407"/>
                <a:gd name="connsiteX10" fmla="*/ 31477 w 46005"/>
                <a:gd name="connsiteY10" fmla="*/ 15172 h 23407"/>
                <a:gd name="connsiteX11" fmla="*/ 23762 w 46005"/>
                <a:gd name="connsiteY11" fmla="*/ 15172 h 23407"/>
                <a:gd name="connsiteX12" fmla="*/ 3569 w 46005"/>
                <a:gd name="connsiteY12" fmla="*/ 3457 h 23407"/>
                <a:gd name="connsiteX13" fmla="*/ 1283 w 46005"/>
                <a:gd name="connsiteY13" fmla="*/ 2123 h 23407"/>
                <a:gd name="connsiteX14" fmla="*/ -336 w 46005"/>
                <a:gd name="connsiteY14" fmla="*/ -163 h 234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6005" h="23407">
                  <a:moveTo>
                    <a:pt x="-336" y="-163"/>
                  </a:moveTo>
                  <a:lnTo>
                    <a:pt x="-336" y="7076"/>
                  </a:lnTo>
                  <a:cubicBezTo>
                    <a:pt x="-260" y="8057"/>
                    <a:pt x="369" y="8905"/>
                    <a:pt x="1283" y="9267"/>
                  </a:cubicBezTo>
                  <a:lnTo>
                    <a:pt x="23762" y="22316"/>
                  </a:lnTo>
                  <a:cubicBezTo>
                    <a:pt x="26181" y="23555"/>
                    <a:pt x="29058" y="23555"/>
                    <a:pt x="31477" y="22316"/>
                  </a:cubicBezTo>
                  <a:lnTo>
                    <a:pt x="44145" y="14982"/>
                  </a:lnTo>
                  <a:cubicBezTo>
                    <a:pt x="44822" y="14629"/>
                    <a:pt x="45355" y="14058"/>
                    <a:pt x="45669" y="13363"/>
                  </a:cubicBezTo>
                  <a:lnTo>
                    <a:pt x="45669" y="6219"/>
                  </a:lnTo>
                  <a:cubicBezTo>
                    <a:pt x="45412" y="6952"/>
                    <a:pt x="44860" y="7533"/>
                    <a:pt x="44145" y="7838"/>
                  </a:cubicBezTo>
                  <a:lnTo>
                    <a:pt x="41764" y="9172"/>
                  </a:lnTo>
                  <a:lnTo>
                    <a:pt x="31477" y="15172"/>
                  </a:lnTo>
                  <a:cubicBezTo>
                    <a:pt x="29058" y="16411"/>
                    <a:pt x="26181" y="16411"/>
                    <a:pt x="23762" y="15172"/>
                  </a:cubicBezTo>
                  <a:lnTo>
                    <a:pt x="3569" y="3457"/>
                  </a:lnTo>
                  <a:lnTo>
                    <a:pt x="1283" y="2123"/>
                  </a:lnTo>
                  <a:cubicBezTo>
                    <a:pt x="340" y="1752"/>
                    <a:pt x="-298" y="856"/>
                    <a:pt x="-336" y="-163"/>
                  </a:cubicBezTo>
                  <a:close/>
                </a:path>
              </a:pathLst>
            </a:custGeom>
            <a:solidFill>
              <a:srgbClr val="BF4200"/>
            </a:solidFill>
            <a:ln w="9525" cap="flat">
              <a:noFill/>
              <a:prstDash val="solid"/>
              <a:miter/>
            </a:ln>
          </p:spPr>
          <p:txBody>
            <a:bodyPr rtlCol="0" anchor="ctr"/>
            <a:lstStyle/>
            <a:p>
              <a:endParaRPr lang="zh-CN" altLang="en-US"/>
            </a:p>
          </p:txBody>
        </p:sp>
        <p:sp>
          <p:nvSpPr>
            <p:cNvPr id="777" name="îşlïďê">
              <a:extLst>
                <a:ext uri="{FF2B5EF4-FFF2-40B4-BE49-F238E27FC236}">
                  <a16:creationId xmlns:a16="http://schemas.microsoft.com/office/drawing/2014/main" id="{ADCC4F74-B715-4A72-B74F-8D0A24CE443D}"/>
                </a:ext>
              </a:extLst>
            </p:cNvPr>
            <p:cNvSpPr/>
            <p:nvPr/>
          </p:nvSpPr>
          <p:spPr>
            <a:xfrm>
              <a:off x="5261180" y="5016300"/>
              <a:ext cx="505645" cy="291913"/>
            </a:xfrm>
            <a:custGeom>
              <a:avLst/>
              <a:gdLst>
                <a:gd name="connsiteX0" fmla="*/ -336 w 166116"/>
                <a:gd name="connsiteY0" fmla="*/ 10227 h 95900"/>
                <a:gd name="connsiteX1" fmla="*/ 1188 w 166116"/>
                <a:gd name="connsiteY1" fmla="*/ 12513 h 95900"/>
                <a:gd name="connsiteX2" fmla="*/ 3569 w 166116"/>
                <a:gd name="connsiteY2" fmla="*/ 13846 h 95900"/>
                <a:gd name="connsiteX3" fmla="*/ 143872 w 166116"/>
                <a:gd name="connsiteY3" fmla="*/ 94809 h 95900"/>
                <a:gd name="connsiteX4" fmla="*/ 151588 w 166116"/>
                <a:gd name="connsiteY4" fmla="*/ 94809 h 95900"/>
                <a:gd name="connsiteX5" fmla="*/ 161779 w 166116"/>
                <a:gd name="connsiteY5" fmla="*/ 88903 h 95900"/>
                <a:gd name="connsiteX6" fmla="*/ 164161 w 166116"/>
                <a:gd name="connsiteY6" fmla="*/ 87570 h 95900"/>
                <a:gd name="connsiteX7" fmla="*/ 165780 w 166116"/>
                <a:gd name="connsiteY7" fmla="*/ 85951 h 95900"/>
                <a:gd name="connsiteX8" fmla="*/ 165780 w 166116"/>
                <a:gd name="connsiteY8" fmla="*/ 84808 h 95900"/>
                <a:gd name="connsiteX9" fmla="*/ 164161 w 166116"/>
                <a:gd name="connsiteY9" fmla="*/ 83093 h 95900"/>
                <a:gd name="connsiteX10" fmla="*/ 21286 w 166116"/>
                <a:gd name="connsiteY10" fmla="*/ 702 h 95900"/>
                <a:gd name="connsiteX11" fmla="*/ 13665 w 166116"/>
                <a:gd name="connsiteY11" fmla="*/ 702 h 95900"/>
                <a:gd name="connsiteX12" fmla="*/ 997 w 166116"/>
                <a:gd name="connsiteY12" fmla="*/ 8036 h 95900"/>
                <a:gd name="connsiteX13" fmla="*/ -336 w 166116"/>
                <a:gd name="connsiteY13" fmla="*/ 10227 h 95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6116" h="95900">
                  <a:moveTo>
                    <a:pt x="-336" y="10227"/>
                  </a:moveTo>
                  <a:cubicBezTo>
                    <a:pt x="-269" y="11208"/>
                    <a:pt x="311" y="12075"/>
                    <a:pt x="1188" y="12513"/>
                  </a:cubicBezTo>
                  <a:lnTo>
                    <a:pt x="3569" y="13846"/>
                  </a:lnTo>
                  <a:lnTo>
                    <a:pt x="143872" y="94809"/>
                  </a:lnTo>
                  <a:cubicBezTo>
                    <a:pt x="146292" y="96047"/>
                    <a:pt x="149168" y="96047"/>
                    <a:pt x="151588" y="94809"/>
                  </a:cubicBezTo>
                  <a:lnTo>
                    <a:pt x="161779" y="88903"/>
                  </a:lnTo>
                  <a:lnTo>
                    <a:pt x="164161" y="87570"/>
                  </a:lnTo>
                  <a:cubicBezTo>
                    <a:pt x="164875" y="87236"/>
                    <a:pt x="165446" y="86665"/>
                    <a:pt x="165780" y="85951"/>
                  </a:cubicBezTo>
                  <a:lnTo>
                    <a:pt x="165780" y="84808"/>
                  </a:lnTo>
                  <a:cubicBezTo>
                    <a:pt x="165484" y="84046"/>
                    <a:pt x="164903" y="83436"/>
                    <a:pt x="164161" y="83093"/>
                  </a:cubicBezTo>
                  <a:lnTo>
                    <a:pt x="21286" y="702"/>
                  </a:lnTo>
                  <a:cubicBezTo>
                    <a:pt x="18876" y="-451"/>
                    <a:pt x="16075" y="-451"/>
                    <a:pt x="13665" y="702"/>
                  </a:cubicBezTo>
                  <a:lnTo>
                    <a:pt x="997" y="8036"/>
                  </a:lnTo>
                  <a:cubicBezTo>
                    <a:pt x="216" y="8503"/>
                    <a:pt x="-279" y="9322"/>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778" name="íşlïďè">
              <a:extLst>
                <a:ext uri="{FF2B5EF4-FFF2-40B4-BE49-F238E27FC236}">
                  <a16:creationId xmlns:a16="http://schemas.microsoft.com/office/drawing/2014/main" id="{70B64131-23E6-4B1F-B036-7D7B5362AEE3}"/>
                </a:ext>
              </a:extLst>
            </p:cNvPr>
            <p:cNvSpPr/>
            <p:nvPr/>
          </p:nvSpPr>
          <p:spPr>
            <a:xfrm>
              <a:off x="5263067" y="5017481"/>
              <a:ext cx="501657" cy="289569"/>
            </a:xfrm>
            <a:custGeom>
              <a:avLst/>
              <a:gdLst>
                <a:gd name="connsiteX0" fmla="*/ 143348 w 164806"/>
                <a:gd name="connsiteY0" fmla="*/ 94039 h 95130"/>
                <a:gd name="connsiteX1" fmla="*/ 1235 w 164806"/>
                <a:gd name="connsiteY1" fmla="*/ 12029 h 95130"/>
                <a:gd name="connsiteX2" fmla="*/ 1235 w 164806"/>
                <a:gd name="connsiteY2" fmla="*/ 7743 h 95130"/>
                <a:gd name="connsiteX3" fmla="*/ 13332 w 164806"/>
                <a:gd name="connsiteY3" fmla="*/ 695 h 95130"/>
                <a:gd name="connsiteX4" fmla="*/ 20761 w 164806"/>
                <a:gd name="connsiteY4" fmla="*/ 695 h 95130"/>
                <a:gd name="connsiteX5" fmla="*/ 162970 w 164806"/>
                <a:gd name="connsiteY5" fmla="*/ 82800 h 95130"/>
                <a:gd name="connsiteX6" fmla="*/ 162970 w 164806"/>
                <a:gd name="connsiteY6" fmla="*/ 87086 h 95130"/>
                <a:gd name="connsiteX7" fmla="*/ 150778 w 164806"/>
                <a:gd name="connsiteY7" fmla="*/ 94039 h 95130"/>
                <a:gd name="connsiteX8" fmla="*/ 143348 w 164806"/>
                <a:gd name="connsiteY8" fmla="*/ 94039 h 95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4806" h="95130">
                  <a:moveTo>
                    <a:pt x="143348" y="94039"/>
                  </a:moveTo>
                  <a:lnTo>
                    <a:pt x="1235" y="12029"/>
                  </a:lnTo>
                  <a:cubicBezTo>
                    <a:pt x="-860" y="10791"/>
                    <a:pt x="-860" y="8886"/>
                    <a:pt x="1235" y="7743"/>
                  </a:cubicBezTo>
                  <a:lnTo>
                    <a:pt x="13332" y="695"/>
                  </a:lnTo>
                  <a:cubicBezTo>
                    <a:pt x="15675" y="-448"/>
                    <a:pt x="18418" y="-448"/>
                    <a:pt x="20761" y="695"/>
                  </a:cubicBezTo>
                  <a:lnTo>
                    <a:pt x="162970" y="82800"/>
                  </a:lnTo>
                  <a:cubicBezTo>
                    <a:pt x="164970" y="83943"/>
                    <a:pt x="164970" y="85848"/>
                    <a:pt x="162970" y="87086"/>
                  </a:cubicBezTo>
                  <a:lnTo>
                    <a:pt x="150778" y="94039"/>
                  </a:lnTo>
                  <a:cubicBezTo>
                    <a:pt x="148454" y="95278"/>
                    <a:pt x="145672" y="95278"/>
                    <a:pt x="143348" y="94039"/>
                  </a:cubicBezTo>
                  <a:close/>
                </a:path>
              </a:pathLst>
            </a:custGeom>
            <a:solidFill>
              <a:srgbClr val="D1D9E8"/>
            </a:solidFill>
            <a:ln w="9525" cap="flat">
              <a:noFill/>
              <a:prstDash val="solid"/>
              <a:miter/>
            </a:ln>
          </p:spPr>
          <p:txBody>
            <a:bodyPr rtlCol="0" anchor="ctr"/>
            <a:lstStyle/>
            <a:p>
              <a:endParaRPr lang="zh-CN" altLang="en-US"/>
            </a:p>
          </p:txBody>
        </p:sp>
        <p:sp>
          <p:nvSpPr>
            <p:cNvPr id="779" name="îṥļíḓê">
              <a:extLst>
                <a:ext uri="{FF2B5EF4-FFF2-40B4-BE49-F238E27FC236}">
                  <a16:creationId xmlns:a16="http://schemas.microsoft.com/office/drawing/2014/main" id="{ECED8C06-AB4B-4A49-91EB-B07AAC223F6A}"/>
                </a:ext>
              </a:extLst>
            </p:cNvPr>
            <p:cNvSpPr/>
            <p:nvPr/>
          </p:nvSpPr>
          <p:spPr>
            <a:xfrm>
              <a:off x="5261180" y="5047923"/>
              <a:ext cx="506223" cy="281974"/>
            </a:xfrm>
            <a:custGeom>
              <a:avLst/>
              <a:gdLst>
                <a:gd name="connsiteX0" fmla="*/ -336 w 166306"/>
                <a:gd name="connsiteY0" fmla="*/ -163 h 92635"/>
                <a:gd name="connsiteX1" fmla="*/ -336 w 166306"/>
                <a:gd name="connsiteY1" fmla="*/ 6981 h 92635"/>
                <a:gd name="connsiteX2" fmla="*/ 1188 w 166306"/>
                <a:gd name="connsiteY2" fmla="*/ 9267 h 92635"/>
                <a:gd name="connsiteX3" fmla="*/ 144063 w 166306"/>
                <a:gd name="connsiteY3" fmla="*/ 91659 h 92635"/>
                <a:gd name="connsiteX4" fmla="*/ 151778 w 166306"/>
                <a:gd name="connsiteY4" fmla="*/ 91659 h 92635"/>
                <a:gd name="connsiteX5" fmla="*/ 164351 w 166306"/>
                <a:gd name="connsiteY5" fmla="*/ 84324 h 92635"/>
                <a:gd name="connsiteX6" fmla="*/ 165970 w 166306"/>
                <a:gd name="connsiteY6" fmla="*/ 82705 h 92635"/>
                <a:gd name="connsiteX7" fmla="*/ 165970 w 166306"/>
                <a:gd name="connsiteY7" fmla="*/ 75561 h 92635"/>
                <a:gd name="connsiteX8" fmla="*/ 164351 w 166306"/>
                <a:gd name="connsiteY8" fmla="*/ 77180 h 92635"/>
                <a:gd name="connsiteX9" fmla="*/ 161970 w 166306"/>
                <a:gd name="connsiteY9" fmla="*/ 78514 h 92635"/>
                <a:gd name="connsiteX10" fmla="*/ 151778 w 166306"/>
                <a:gd name="connsiteY10" fmla="*/ 84419 h 92635"/>
                <a:gd name="connsiteX11" fmla="*/ 144063 w 166306"/>
                <a:gd name="connsiteY11" fmla="*/ 84419 h 92635"/>
                <a:gd name="connsiteX12" fmla="*/ 3569 w 166306"/>
                <a:gd name="connsiteY12" fmla="*/ 3457 h 92635"/>
                <a:gd name="connsiteX13" fmla="*/ 1188 w 166306"/>
                <a:gd name="connsiteY13" fmla="*/ 2123 h 92635"/>
                <a:gd name="connsiteX14" fmla="*/ -336 w 166306"/>
                <a:gd name="connsiteY14" fmla="*/ -163 h 92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66306" h="92635">
                  <a:moveTo>
                    <a:pt x="-336" y="-163"/>
                  </a:moveTo>
                  <a:lnTo>
                    <a:pt x="-336" y="6981"/>
                  </a:lnTo>
                  <a:cubicBezTo>
                    <a:pt x="-251" y="7953"/>
                    <a:pt x="321" y="8819"/>
                    <a:pt x="1188" y="9267"/>
                  </a:cubicBezTo>
                  <a:lnTo>
                    <a:pt x="144063" y="91659"/>
                  </a:lnTo>
                  <a:cubicBezTo>
                    <a:pt x="146520" y="92744"/>
                    <a:pt x="149321" y="92744"/>
                    <a:pt x="151778" y="91659"/>
                  </a:cubicBezTo>
                  <a:lnTo>
                    <a:pt x="164351" y="84324"/>
                  </a:lnTo>
                  <a:cubicBezTo>
                    <a:pt x="165066" y="83991"/>
                    <a:pt x="165637" y="83419"/>
                    <a:pt x="165970" y="82705"/>
                  </a:cubicBezTo>
                  <a:lnTo>
                    <a:pt x="165970" y="75561"/>
                  </a:lnTo>
                  <a:cubicBezTo>
                    <a:pt x="165637" y="76275"/>
                    <a:pt x="165066" y="76847"/>
                    <a:pt x="164351" y="77180"/>
                  </a:cubicBezTo>
                  <a:lnTo>
                    <a:pt x="161970" y="78514"/>
                  </a:lnTo>
                  <a:lnTo>
                    <a:pt x="151778" y="84419"/>
                  </a:lnTo>
                  <a:cubicBezTo>
                    <a:pt x="149359" y="85658"/>
                    <a:pt x="146482" y="85658"/>
                    <a:pt x="144063" y="84419"/>
                  </a:cubicBezTo>
                  <a:lnTo>
                    <a:pt x="3569" y="3457"/>
                  </a:lnTo>
                  <a:lnTo>
                    <a:pt x="1188" y="2123"/>
                  </a:lnTo>
                  <a:cubicBezTo>
                    <a:pt x="311"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80" name="îslïḍé">
              <a:extLst>
                <a:ext uri="{FF2B5EF4-FFF2-40B4-BE49-F238E27FC236}">
                  <a16:creationId xmlns:a16="http://schemas.microsoft.com/office/drawing/2014/main" id="{27F7D28B-2636-47A5-BC3F-FD044A2AB783}"/>
                </a:ext>
              </a:extLst>
            </p:cNvPr>
            <p:cNvSpPr/>
            <p:nvPr/>
          </p:nvSpPr>
          <p:spPr>
            <a:xfrm>
              <a:off x="5735223" y="5289705"/>
              <a:ext cx="109740" cy="63445"/>
            </a:xfrm>
            <a:custGeom>
              <a:avLst/>
              <a:gdLst>
                <a:gd name="connsiteX0" fmla="*/ -336 w 36052"/>
                <a:gd name="connsiteY0" fmla="*/ 10227 h 20843"/>
                <a:gd name="connsiteX1" fmla="*/ 1188 w 36052"/>
                <a:gd name="connsiteY1" fmla="*/ 12513 h 20843"/>
                <a:gd name="connsiteX2" fmla="*/ 3569 w 36052"/>
                <a:gd name="connsiteY2" fmla="*/ 13846 h 20843"/>
                <a:gd name="connsiteX3" fmla="*/ 13856 w 36052"/>
                <a:gd name="connsiteY3" fmla="*/ 19752 h 20843"/>
                <a:gd name="connsiteX4" fmla="*/ 21476 w 36052"/>
                <a:gd name="connsiteY4" fmla="*/ 19752 h 20843"/>
                <a:gd name="connsiteX5" fmla="*/ 31763 w 36052"/>
                <a:gd name="connsiteY5" fmla="*/ 13846 h 20843"/>
                <a:gd name="connsiteX6" fmla="*/ 34144 w 36052"/>
                <a:gd name="connsiteY6" fmla="*/ 12513 h 20843"/>
                <a:gd name="connsiteX7" fmla="*/ 35573 w 36052"/>
                <a:gd name="connsiteY7" fmla="*/ 9465 h 20843"/>
                <a:gd name="connsiteX8" fmla="*/ 34144 w 36052"/>
                <a:gd name="connsiteY8" fmla="*/ 8036 h 20843"/>
                <a:gd name="connsiteX9" fmla="*/ 21476 w 36052"/>
                <a:gd name="connsiteY9" fmla="*/ 702 h 20843"/>
                <a:gd name="connsiteX10" fmla="*/ 13856 w 36052"/>
                <a:gd name="connsiteY10" fmla="*/ 702 h 20843"/>
                <a:gd name="connsiteX11" fmla="*/ 1188 w 36052"/>
                <a:gd name="connsiteY11" fmla="*/ 8036 h 20843"/>
                <a:gd name="connsiteX12" fmla="*/ -336 w 36052"/>
                <a:gd name="connsiteY12" fmla="*/ 10227 h 20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3">
                  <a:moveTo>
                    <a:pt x="-336" y="10227"/>
                  </a:moveTo>
                  <a:cubicBezTo>
                    <a:pt x="-270" y="11208"/>
                    <a:pt x="311" y="12075"/>
                    <a:pt x="1188" y="12513"/>
                  </a:cubicBezTo>
                  <a:lnTo>
                    <a:pt x="3569" y="13846"/>
                  </a:lnTo>
                  <a:lnTo>
                    <a:pt x="13856" y="19752"/>
                  </a:lnTo>
                  <a:cubicBezTo>
                    <a:pt x="16247" y="20990"/>
                    <a:pt x="19085" y="20990"/>
                    <a:pt x="21476" y="19752"/>
                  </a:cubicBezTo>
                  <a:lnTo>
                    <a:pt x="31763" y="13846"/>
                  </a:lnTo>
                  <a:lnTo>
                    <a:pt x="34144" y="12513"/>
                  </a:lnTo>
                  <a:cubicBezTo>
                    <a:pt x="35382" y="12065"/>
                    <a:pt x="36020" y="10694"/>
                    <a:pt x="35573" y="9465"/>
                  </a:cubicBezTo>
                  <a:cubicBezTo>
                    <a:pt x="35325" y="8798"/>
                    <a:pt x="34811" y="8274"/>
                    <a:pt x="34144"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781" name="îṣlîḍè">
              <a:extLst>
                <a:ext uri="{FF2B5EF4-FFF2-40B4-BE49-F238E27FC236}">
                  <a16:creationId xmlns:a16="http://schemas.microsoft.com/office/drawing/2014/main" id="{A419EBA3-666B-4FE5-B4D0-839476ED0445}"/>
                </a:ext>
              </a:extLst>
            </p:cNvPr>
            <p:cNvSpPr/>
            <p:nvPr/>
          </p:nvSpPr>
          <p:spPr>
            <a:xfrm>
              <a:off x="5736818" y="5290889"/>
              <a:ext cx="105898" cy="61104"/>
            </a:xfrm>
            <a:custGeom>
              <a:avLst/>
              <a:gdLst>
                <a:gd name="connsiteX0" fmla="*/ 1235 w 34790"/>
                <a:gd name="connsiteY0" fmla="*/ 12029 h 20074"/>
                <a:gd name="connsiteX1" fmla="*/ 13332 w 34790"/>
                <a:gd name="connsiteY1" fmla="*/ 18983 h 20074"/>
                <a:gd name="connsiteX2" fmla="*/ 20761 w 34790"/>
                <a:gd name="connsiteY2" fmla="*/ 18983 h 20074"/>
                <a:gd name="connsiteX3" fmla="*/ 32953 w 34790"/>
                <a:gd name="connsiteY3" fmla="*/ 12029 h 20074"/>
                <a:gd name="connsiteX4" fmla="*/ 32953 w 34790"/>
                <a:gd name="connsiteY4" fmla="*/ 7743 h 20074"/>
                <a:gd name="connsiteX5" fmla="*/ 20761 w 34790"/>
                <a:gd name="connsiteY5" fmla="*/ 695 h 20074"/>
                <a:gd name="connsiteX6" fmla="*/ 13332 w 34790"/>
                <a:gd name="connsiteY6" fmla="*/ 695 h 20074"/>
                <a:gd name="connsiteX7" fmla="*/ 1235 w 34790"/>
                <a:gd name="connsiteY7" fmla="*/ 7743 h 20074"/>
                <a:gd name="connsiteX8" fmla="*/ 1235 w 34790"/>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4">
                  <a:moveTo>
                    <a:pt x="1235" y="12029"/>
                  </a:moveTo>
                  <a:lnTo>
                    <a:pt x="13332" y="18983"/>
                  </a:lnTo>
                  <a:cubicBezTo>
                    <a:pt x="15656" y="20221"/>
                    <a:pt x="18437" y="20221"/>
                    <a:pt x="20761" y="18983"/>
                  </a:cubicBezTo>
                  <a:lnTo>
                    <a:pt x="32953" y="12029"/>
                  </a:lnTo>
                  <a:cubicBezTo>
                    <a:pt x="34954" y="10791"/>
                    <a:pt x="34954" y="8886"/>
                    <a:pt x="32953" y="7743"/>
                  </a:cubicBezTo>
                  <a:lnTo>
                    <a:pt x="20761" y="695"/>
                  </a:lnTo>
                  <a:cubicBezTo>
                    <a:pt x="18418" y="-448"/>
                    <a:pt x="15675" y="-448"/>
                    <a:pt x="13332" y="695"/>
                  </a:cubicBezTo>
                  <a:lnTo>
                    <a:pt x="1235" y="7743"/>
                  </a:lnTo>
                  <a:cubicBezTo>
                    <a:pt x="-860" y="9362"/>
                    <a:pt x="-860" y="10791"/>
                    <a:pt x="1235" y="12029"/>
                  </a:cubicBezTo>
                  <a:close/>
                </a:path>
              </a:pathLst>
            </a:custGeom>
            <a:solidFill>
              <a:srgbClr val="D1D9E8"/>
            </a:solidFill>
            <a:ln w="9525" cap="flat">
              <a:noFill/>
              <a:prstDash val="solid"/>
              <a:miter/>
            </a:ln>
          </p:spPr>
          <p:txBody>
            <a:bodyPr rtlCol="0" anchor="ctr"/>
            <a:lstStyle/>
            <a:p>
              <a:endParaRPr lang="zh-CN" altLang="en-US"/>
            </a:p>
          </p:txBody>
        </p:sp>
        <p:sp>
          <p:nvSpPr>
            <p:cNvPr id="782" name="ïṩľïḑé">
              <a:extLst>
                <a:ext uri="{FF2B5EF4-FFF2-40B4-BE49-F238E27FC236}">
                  <a16:creationId xmlns:a16="http://schemas.microsoft.com/office/drawing/2014/main" id="{2FA2C075-7330-4BD4-AFA1-C4A750A28101}"/>
                </a:ext>
              </a:extLst>
            </p:cNvPr>
            <p:cNvSpPr/>
            <p:nvPr/>
          </p:nvSpPr>
          <p:spPr>
            <a:xfrm>
              <a:off x="5735223" y="5321332"/>
              <a:ext cx="109594" cy="53804"/>
            </a:xfrm>
            <a:custGeom>
              <a:avLst/>
              <a:gdLst>
                <a:gd name="connsiteX0" fmla="*/ -336 w 36004"/>
                <a:gd name="connsiteY0" fmla="*/ -163 h 17676"/>
                <a:gd name="connsiteX1" fmla="*/ -336 w 36004"/>
                <a:gd name="connsiteY1" fmla="*/ 7076 h 17676"/>
                <a:gd name="connsiteX2" fmla="*/ 1188 w 36004"/>
                <a:gd name="connsiteY2" fmla="*/ 9267 h 17676"/>
                <a:gd name="connsiteX3" fmla="*/ 13856 w 36004"/>
                <a:gd name="connsiteY3" fmla="*/ 16506 h 17676"/>
                <a:gd name="connsiteX4" fmla="*/ 21476 w 36004"/>
                <a:gd name="connsiteY4" fmla="*/ 16506 h 17676"/>
                <a:gd name="connsiteX5" fmla="*/ 34144 w 36004"/>
                <a:gd name="connsiteY5" fmla="*/ 9267 h 17676"/>
                <a:gd name="connsiteX6" fmla="*/ 35668 w 36004"/>
                <a:gd name="connsiteY6" fmla="*/ 6981 h 17676"/>
                <a:gd name="connsiteX7" fmla="*/ 35668 w 36004"/>
                <a:gd name="connsiteY7" fmla="*/ -163 h 17676"/>
                <a:gd name="connsiteX8" fmla="*/ 34144 w 36004"/>
                <a:gd name="connsiteY8" fmla="*/ 2124 h 17676"/>
                <a:gd name="connsiteX9" fmla="*/ 31763 w 36004"/>
                <a:gd name="connsiteY9" fmla="*/ 3457 h 17676"/>
                <a:gd name="connsiteX10" fmla="*/ 21476 w 36004"/>
                <a:gd name="connsiteY10" fmla="*/ 9362 h 17676"/>
                <a:gd name="connsiteX11" fmla="*/ 13856 w 36004"/>
                <a:gd name="connsiteY11" fmla="*/ 9362 h 17676"/>
                <a:gd name="connsiteX12" fmla="*/ 3569 w 36004"/>
                <a:gd name="connsiteY12" fmla="*/ 3457 h 17676"/>
                <a:gd name="connsiteX13" fmla="*/ 1188 w 36004"/>
                <a:gd name="connsiteY13" fmla="*/ 2124 h 17676"/>
                <a:gd name="connsiteX14" fmla="*/ -336 w 36004"/>
                <a:gd name="connsiteY14" fmla="*/ -163 h 17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6">
                  <a:moveTo>
                    <a:pt x="-336" y="-163"/>
                  </a:moveTo>
                  <a:lnTo>
                    <a:pt x="-336" y="7076"/>
                  </a:lnTo>
                  <a:cubicBezTo>
                    <a:pt x="-279" y="8029"/>
                    <a:pt x="311" y="8877"/>
                    <a:pt x="1188" y="9267"/>
                  </a:cubicBezTo>
                  <a:lnTo>
                    <a:pt x="13856" y="16506"/>
                  </a:lnTo>
                  <a:cubicBezTo>
                    <a:pt x="16218" y="17849"/>
                    <a:pt x="19114" y="17849"/>
                    <a:pt x="21476" y="16506"/>
                  </a:cubicBezTo>
                  <a:lnTo>
                    <a:pt x="34144" y="9267"/>
                  </a:lnTo>
                  <a:cubicBezTo>
                    <a:pt x="35049" y="8867"/>
                    <a:pt x="35640" y="7972"/>
                    <a:pt x="35668" y="6981"/>
                  </a:cubicBezTo>
                  <a:lnTo>
                    <a:pt x="35668" y="-163"/>
                  </a:lnTo>
                  <a:cubicBezTo>
                    <a:pt x="35602" y="819"/>
                    <a:pt x="35021" y="1685"/>
                    <a:pt x="34144" y="2124"/>
                  </a:cubicBezTo>
                  <a:lnTo>
                    <a:pt x="31763" y="3457"/>
                  </a:lnTo>
                  <a:lnTo>
                    <a:pt x="21476" y="9362"/>
                  </a:lnTo>
                  <a:cubicBezTo>
                    <a:pt x="19085" y="10601"/>
                    <a:pt x="16247" y="10601"/>
                    <a:pt x="13856" y="9362"/>
                  </a:cubicBezTo>
                  <a:lnTo>
                    <a:pt x="3569" y="3457"/>
                  </a:lnTo>
                  <a:lnTo>
                    <a:pt x="1188" y="2124"/>
                  </a:lnTo>
                  <a:cubicBezTo>
                    <a:pt x="311" y="1685"/>
                    <a:pt x="-270" y="819"/>
                    <a:pt x="-336" y="-163"/>
                  </a:cubicBezTo>
                  <a:close/>
                </a:path>
              </a:pathLst>
            </a:custGeom>
            <a:solidFill>
              <a:srgbClr val="BF4200"/>
            </a:solidFill>
            <a:ln w="9525" cap="flat">
              <a:noFill/>
              <a:prstDash val="solid"/>
              <a:miter/>
            </a:ln>
          </p:spPr>
          <p:txBody>
            <a:bodyPr rtlCol="0" anchor="ctr"/>
            <a:lstStyle/>
            <a:p>
              <a:endParaRPr lang="zh-CN" altLang="en-US"/>
            </a:p>
          </p:txBody>
        </p:sp>
        <p:sp>
          <p:nvSpPr>
            <p:cNvPr id="783" name="íşlídè">
              <a:extLst>
                <a:ext uri="{FF2B5EF4-FFF2-40B4-BE49-F238E27FC236}">
                  <a16:creationId xmlns:a16="http://schemas.microsoft.com/office/drawing/2014/main" id="{E3A65BA0-C3E1-4C3A-8966-C537DC70B9D7}"/>
                </a:ext>
              </a:extLst>
            </p:cNvPr>
            <p:cNvSpPr/>
            <p:nvPr/>
          </p:nvSpPr>
          <p:spPr>
            <a:xfrm>
              <a:off x="5812636" y="5334451"/>
              <a:ext cx="108202" cy="63588"/>
            </a:xfrm>
            <a:custGeom>
              <a:avLst/>
              <a:gdLst>
                <a:gd name="connsiteX0" fmla="*/ -336 w 35547"/>
                <a:gd name="connsiteY0" fmla="*/ 10291 h 20890"/>
                <a:gd name="connsiteX1" fmla="*/ 1187 w 35547"/>
                <a:gd name="connsiteY1" fmla="*/ 12482 h 20890"/>
                <a:gd name="connsiteX2" fmla="*/ 3569 w 35547"/>
                <a:gd name="connsiteY2" fmla="*/ 13911 h 20890"/>
                <a:gd name="connsiteX3" fmla="*/ 13856 w 35547"/>
                <a:gd name="connsiteY3" fmla="*/ 19721 h 20890"/>
                <a:gd name="connsiteX4" fmla="*/ 21476 w 35547"/>
                <a:gd name="connsiteY4" fmla="*/ 19721 h 20890"/>
                <a:gd name="connsiteX5" fmla="*/ 31382 w 35547"/>
                <a:gd name="connsiteY5" fmla="*/ 14101 h 20890"/>
                <a:gd name="connsiteX6" fmla="*/ 33763 w 35547"/>
                <a:gd name="connsiteY6" fmla="*/ 12672 h 20890"/>
                <a:gd name="connsiteX7" fmla="*/ 35020 w 35547"/>
                <a:gd name="connsiteY7" fmla="*/ 9548 h 20890"/>
                <a:gd name="connsiteX8" fmla="*/ 33763 w 35547"/>
                <a:gd name="connsiteY8" fmla="*/ 8291 h 20890"/>
                <a:gd name="connsiteX9" fmla="*/ 21857 w 35547"/>
                <a:gd name="connsiteY9" fmla="*/ 766 h 20890"/>
                <a:gd name="connsiteX10" fmla="*/ 14237 w 35547"/>
                <a:gd name="connsiteY10" fmla="*/ 766 h 20890"/>
                <a:gd name="connsiteX11" fmla="*/ 1568 w 35547"/>
                <a:gd name="connsiteY11" fmla="*/ 8100 h 20890"/>
                <a:gd name="connsiteX12" fmla="*/ -336 w 35547"/>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547" h="20890">
                  <a:moveTo>
                    <a:pt x="-336" y="10291"/>
                  </a:moveTo>
                  <a:cubicBezTo>
                    <a:pt x="-298" y="11253"/>
                    <a:pt x="292" y="12110"/>
                    <a:pt x="1187" y="12482"/>
                  </a:cubicBezTo>
                  <a:lnTo>
                    <a:pt x="3569" y="13911"/>
                  </a:lnTo>
                  <a:lnTo>
                    <a:pt x="13856" y="19721"/>
                  </a:lnTo>
                  <a:cubicBezTo>
                    <a:pt x="16218" y="21064"/>
                    <a:pt x="19114" y="21064"/>
                    <a:pt x="21476" y="19721"/>
                  </a:cubicBezTo>
                  <a:lnTo>
                    <a:pt x="31382" y="14101"/>
                  </a:lnTo>
                  <a:lnTo>
                    <a:pt x="33763" y="12672"/>
                  </a:lnTo>
                  <a:cubicBezTo>
                    <a:pt x="34973" y="12158"/>
                    <a:pt x="35535" y="10758"/>
                    <a:pt x="35020" y="9548"/>
                  </a:cubicBezTo>
                  <a:cubicBezTo>
                    <a:pt x="34782" y="8986"/>
                    <a:pt x="34325" y="8529"/>
                    <a:pt x="33763" y="8291"/>
                  </a:cubicBezTo>
                  <a:lnTo>
                    <a:pt x="21857" y="766"/>
                  </a:lnTo>
                  <a:cubicBezTo>
                    <a:pt x="19466" y="-472"/>
                    <a:pt x="16627" y="-472"/>
                    <a:pt x="14237" y="766"/>
                  </a:cubicBezTo>
                  <a:lnTo>
                    <a:pt x="1568" y="8100"/>
                  </a:lnTo>
                  <a:cubicBezTo>
                    <a:pt x="530" y="8338"/>
                    <a:pt x="-241" y="9224"/>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784" name="í$ľiḑé">
              <a:extLst>
                <a:ext uri="{FF2B5EF4-FFF2-40B4-BE49-F238E27FC236}">
                  <a16:creationId xmlns:a16="http://schemas.microsoft.com/office/drawing/2014/main" id="{11DBEB68-2D0A-42DB-8E1B-E47D7A5160E3}"/>
                </a:ext>
              </a:extLst>
            </p:cNvPr>
            <p:cNvSpPr/>
            <p:nvPr/>
          </p:nvSpPr>
          <p:spPr>
            <a:xfrm>
              <a:off x="5814521" y="5335611"/>
              <a:ext cx="105825" cy="61101"/>
            </a:xfrm>
            <a:custGeom>
              <a:avLst/>
              <a:gdLst>
                <a:gd name="connsiteX0" fmla="*/ 1235 w 34766"/>
                <a:gd name="connsiteY0" fmla="*/ 12006 h 20073"/>
                <a:gd name="connsiteX1" fmla="*/ 13332 w 34766"/>
                <a:gd name="connsiteY1" fmla="*/ 19054 h 20073"/>
                <a:gd name="connsiteX2" fmla="*/ 20762 w 34766"/>
                <a:gd name="connsiteY2" fmla="*/ 19054 h 20073"/>
                <a:gd name="connsiteX3" fmla="*/ 32858 w 34766"/>
                <a:gd name="connsiteY3" fmla="*/ 12006 h 20073"/>
                <a:gd name="connsiteX4" fmla="*/ 32858 w 34766"/>
                <a:gd name="connsiteY4" fmla="*/ 7719 h 20073"/>
                <a:gd name="connsiteX5" fmla="*/ 20762 w 34766"/>
                <a:gd name="connsiteY5" fmla="*/ 766 h 20073"/>
                <a:gd name="connsiteX6" fmla="*/ 13332 w 34766"/>
                <a:gd name="connsiteY6" fmla="*/ 766 h 20073"/>
                <a:gd name="connsiteX7" fmla="*/ 1235 w 34766"/>
                <a:gd name="connsiteY7" fmla="*/ 7719 h 20073"/>
                <a:gd name="connsiteX8" fmla="*/ 1235 w 34766"/>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6" h="20073">
                  <a:moveTo>
                    <a:pt x="1235" y="12006"/>
                  </a:moveTo>
                  <a:lnTo>
                    <a:pt x="13332" y="19054"/>
                  </a:lnTo>
                  <a:cubicBezTo>
                    <a:pt x="15675" y="20197"/>
                    <a:pt x="18419" y="20197"/>
                    <a:pt x="20762" y="19054"/>
                  </a:cubicBezTo>
                  <a:lnTo>
                    <a:pt x="32858" y="12006"/>
                  </a:lnTo>
                  <a:cubicBezTo>
                    <a:pt x="34954" y="10863"/>
                    <a:pt x="34954" y="8957"/>
                    <a:pt x="32858" y="7719"/>
                  </a:cubicBezTo>
                  <a:lnTo>
                    <a:pt x="20762" y="766"/>
                  </a:lnTo>
                  <a:cubicBezTo>
                    <a:pt x="18437" y="-472"/>
                    <a:pt x="15656" y="-472"/>
                    <a:pt x="13332" y="766"/>
                  </a:cubicBezTo>
                  <a:lnTo>
                    <a:pt x="1235" y="7719"/>
                  </a:lnTo>
                  <a:cubicBezTo>
                    <a:pt x="-860" y="8957"/>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785" name="îṧļîḑe">
              <a:extLst>
                <a:ext uri="{FF2B5EF4-FFF2-40B4-BE49-F238E27FC236}">
                  <a16:creationId xmlns:a16="http://schemas.microsoft.com/office/drawing/2014/main" id="{C5537C90-9E55-421D-BA35-C043D68A67DB}"/>
                </a:ext>
              </a:extLst>
            </p:cNvPr>
            <p:cNvSpPr/>
            <p:nvPr/>
          </p:nvSpPr>
          <p:spPr>
            <a:xfrm>
              <a:off x="5812591" y="5366272"/>
              <a:ext cx="109639" cy="53564"/>
            </a:xfrm>
            <a:custGeom>
              <a:avLst/>
              <a:gdLst>
                <a:gd name="connsiteX0" fmla="*/ -321 w 36019"/>
                <a:gd name="connsiteY0" fmla="*/ -163 h 17597"/>
                <a:gd name="connsiteX1" fmla="*/ -321 w 36019"/>
                <a:gd name="connsiteY1" fmla="*/ 7076 h 17597"/>
                <a:gd name="connsiteX2" fmla="*/ 1203 w 36019"/>
                <a:gd name="connsiteY2" fmla="*/ 9267 h 17597"/>
                <a:gd name="connsiteX3" fmla="*/ 13871 w 36019"/>
                <a:gd name="connsiteY3" fmla="*/ 16506 h 17597"/>
                <a:gd name="connsiteX4" fmla="*/ 21491 w 36019"/>
                <a:gd name="connsiteY4" fmla="*/ 16506 h 17597"/>
                <a:gd name="connsiteX5" fmla="*/ 34159 w 36019"/>
                <a:gd name="connsiteY5" fmla="*/ 9267 h 17597"/>
                <a:gd name="connsiteX6" fmla="*/ 35684 w 36019"/>
                <a:gd name="connsiteY6" fmla="*/ 6981 h 17597"/>
                <a:gd name="connsiteX7" fmla="*/ 35684 w 36019"/>
                <a:gd name="connsiteY7" fmla="*/ -163 h 17597"/>
                <a:gd name="connsiteX8" fmla="*/ 34159 w 36019"/>
                <a:gd name="connsiteY8" fmla="*/ 2028 h 17597"/>
                <a:gd name="connsiteX9" fmla="*/ 31397 w 36019"/>
                <a:gd name="connsiteY9" fmla="*/ 3647 h 17597"/>
                <a:gd name="connsiteX10" fmla="*/ 21110 w 36019"/>
                <a:gd name="connsiteY10" fmla="*/ 9457 h 17597"/>
                <a:gd name="connsiteX11" fmla="*/ 13490 w 36019"/>
                <a:gd name="connsiteY11" fmla="*/ 9457 h 17597"/>
                <a:gd name="connsiteX12" fmla="*/ 3203 w 36019"/>
                <a:gd name="connsiteY12" fmla="*/ 3647 h 17597"/>
                <a:gd name="connsiteX13" fmla="*/ 822 w 36019"/>
                <a:gd name="connsiteY13" fmla="*/ 2219 h 17597"/>
                <a:gd name="connsiteX14" fmla="*/ -321 w 3601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19" h="17597">
                  <a:moveTo>
                    <a:pt x="-321" y="-163"/>
                  </a:moveTo>
                  <a:lnTo>
                    <a:pt x="-321" y="7076"/>
                  </a:lnTo>
                  <a:cubicBezTo>
                    <a:pt x="-226" y="8019"/>
                    <a:pt x="355" y="8848"/>
                    <a:pt x="1203" y="9267"/>
                  </a:cubicBezTo>
                  <a:lnTo>
                    <a:pt x="13871" y="16506"/>
                  </a:lnTo>
                  <a:cubicBezTo>
                    <a:pt x="16262" y="17744"/>
                    <a:pt x="19101" y="17744"/>
                    <a:pt x="21491" y="16506"/>
                  </a:cubicBezTo>
                  <a:lnTo>
                    <a:pt x="34159" y="9267"/>
                  </a:lnTo>
                  <a:cubicBezTo>
                    <a:pt x="35026" y="8819"/>
                    <a:pt x="35598" y="7953"/>
                    <a:pt x="35684" y="6981"/>
                  </a:cubicBezTo>
                  <a:lnTo>
                    <a:pt x="35684" y="-163"/>
                  </a:lnTo>
                  <a:cubicBezTo>
                    <a:pt x="35645" y="799"/>
                    <a:pt x="35055" y="1656"/>
                    <a:pt x="34159" y="2028"/>
                  </a:cubicBezTo>
                  <a:lnTo>
                    <a:pt x="31397" y="3647"/>
                  </a:lnTo>
                  <a:lnTo>
                    <a:pt x="21110" y="9457"/>
                  </a:lnTo>
                  <a:cubicBezTo>
                    <a:pt x="18748" y="10801"/>
                    <a:pt x="15852" y="10801"/>
                    <a:pt x="13490" y="9457"/>
                  </a:cubicBezTo>
                  <a:lnTo>
                    <a:pt x="3203" y="3647"/>
                  </a:lnTo>
                  <a:lnTo>
                    <a:pt x="822" y="2219"/>
                  </a:lnTo>
                  <a:cubicBezTo>
                    <a:pt x="12" y="1714"/>
                    <a:pt x="-426" y="780"/>
                    <a:pt x="-321" y="-163"/>
                  </a:cubicBezTo>
                  <a:close/>
                </a:path>
              </a:pathLst>
            </a:custGeom>
            <a:solidFill>
              <a:srgbClr val="BF4200"/>
            </a:solidFill>
            <a:ln w="9525" cap="flat">
              <a:noFill/>
              <a:prstDash val="solid"/>
              <a:miter/>
            </a:ln>
          </p:spPr>
          <p:txBody>
            <a:bodyPr rtlCol="0" anchor="ctr"/>
            <a:lstStyle/>
            <a:p>
              <a:endParaRPr lang="zh-CN" altLang="en-US"/>
            </a:p>
          </p:txBody>
        </p:sp>
        <p:sp>
          <p:nvSpPr>
            <p:cNvPr id="786" name="iṣļîḋè">
              <a:extLst>
                <a:ext uri="{FF2B5EF4-FFF2-40B4-BE49-F238E27FC236}">
                  <a16:creationId xmlns:a16="http://schemas.microsoft.com/office/drawing/2014/main" id="{63566C68-D1FD-4277-A6E3-EF17EFE1B74B}"/>
                </a:ext>
              </a:extLst>
            </p:cNvPr>
            <p:cNvSpPr/>
            <p:nvPr/>
          </p:nvSpPr>
          <p:spPr>
            <a:xfrm>
              <a:off x="5889757" y="5379102"/>
              <a:ext cx="109450" cy="63350"/>
            </a:xfrm>
            <a:custGeom>
              <a:avLst/>
              <a:gdLst>
                <a:gd name="connsiteX0" fmla="*/ -336 w 35957"/>
                <a:gd name="connsiteY0" fmla="*/ 10196 h 20812"/>
                <a:gd name="connsiteX1" fmla="*/ 1188 w 35957"/>
                <a:gd name="connsiteY1" fmla="*/ 12482 h 20812"/>
                <a:gd name="connsiteX2" fmla="*/ 3569 w 35957"/>
                <a:gd name="connsiteY2" fmla="*/ 13815 h 20812"/>
                <a:gd name="connsiteX3" fmla="*/ 13761 w 35957"/>
                <a:gd name="connsiteY3" fmla="*/ 19721 h 20812"/>
                <a:gd name="connsiteX4" fmla="*/ 21476 w 35957"/>
                <a:gd name="connsiteY4" fmla="*/ 19721 h 20812"/>
                <a:gd name="connsiteX5" fmla="*/ 31763 w 35957"/>
                <a:gd name="connsiteY5" fmla="*/ 13815 h 20812"/>
                <a:gd name="connsiteX6" fmla="*/ 34049 w 35957"/>
                <a:gd name="connsiteY6" fmla="*/ 12482 h 20812"/>
                <a:gd name="connsiteX7" fmla="*/ 35478 w 35957"/>
                <a:gd name="connsiteY7" fmla="*/ 9434 h 20812"/>
                <a:gd name="connsiteX8" fmla="*/ 34049 w 35957"/>
                <a:gd name="connsiteY8" fmla="*/ 8005 h 20812"/>
                <a:gd name="connsiteX9" fmla="*/ 21476 w 35957"/>
                <a:gd name="connsiteY9" fmla="*/ 766 h 20812"/>
                <a:gd name="connsiteX10" fmla="*/ 13761 w 35957"/>
                <a:gd name="connsiteY10" fmla="*/ 766 h 20812"/>
                <a:gd name="connsiteX11" fmla="*/ 1188 w 35957"/>
                <a:gd name="connsiteY11" fmla="*/ 8005 h 20812"/>
                <a:gd name="connsiteX12" fmla="*/ -336 w 35957"/>
                <a:gd name="connsiteY12" fmla="*/ 10196 h 20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957" h="20812">
                  <a:moveTo>
                    <a:pt x="-336" y="10196"/>
                  </a:moveTo>
                  <a:cubicBezTo>
                    <a:pt x="-269" y="11177"/>
                    <a:pt x="312" y="12044"/>
                    <a:pt x="1188" y="12482"/>
                  </a:cubicBezTo>
                  <a:lnTo>
                    <a:pt x="3569" y="13815"/>
                  </a:lnTo>
                  <a:lnTo>
                    <a:pt x="13761" y="19721"/>
                  </a:lnTo>
                  <a:cubicBezTo>
                    <a:pt x="16180" y="20959"/>
                    <a:pt x="19057" y="20959"/>
                    <a:pt x="21476" y="19721"/>
                  </a:cubicBezTo>
                  <a:lnTo>
                    <a:pt x="31763" y="13815"/>
                  </a:lnTo>
                  <a:lnTo>
                    <a:pt x="34049" y="12482"/>
                  </a:lnTo>
                  <a:cubicBezTo>
                    <a:pt x="35287" y="12034"/>
                    <a:pt x="35925" y="10662"/>
                    <a:pt x="35478" y="9434"/>
                  </a:cubicBezTo>
                  <a:cubicBezTo>
                    <a:pt x="35230" y="8767"/>
                    <a:pt x="34716" y="8243"/>
                    <a:pt x="34049" y="8005"/>
                  </a:cubicBezTo>
                  <a:lnTo>
                    <a:pt x="21476" y="766"/>
                  </a:lnTo>
                  <a:cubicBezTo>
                    <a:pt x="19057" y="-472"/>
                    <a:pt x="16180" y="-472"/>
                    <a:pt x="13761" y="766"/>
                  </a:cubicBezTo>
                  <a:lnTo>
                    <a:pt x="1188" y="8005"/>
                  </a:lnTo>
                  <a:cubicBezTo>
                    <a:pt x="340" y="8424"/>
                    <a:pt x="-241" y="925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787" name="îŝļïdé">
              <a:extLst>
                <a:ext uri="{FF2B5EF4-FFF2-40B4-BE49-F238E27FC236}">
                  <a16:creationId xmlns:a16="http://schemas.microsoft.com/office/drawing/2014/main" id="{EFFC3D8F-9F4D-4ED2-99EE-199335A81C1E}"/>
                </a:ext>
              </a:extLst>
            </p:cNvPr>
            <p:cNvSpPr/>
            <p:nvPr/>
          </p:nvSpPr>
          <p:spPr>
            <a:xfrm>
              <a:off x="5891602" y="5380189"/>
              <a:ext cx="105618" cy="61174"/>
            </a:xfrm>
            <a:custGeom>
              <a:avLst/>
              <a:gdLst>
                <a:gd name="connsiteX0" fmla="*/ 1154 w 34698"/>
                <a:gd name="connsiteY0" fmla="*/ 12029 h 20097"/>
                <a:gd name="connsiteX1" fmla="*/ 13346 w 34698"/>
                <a:gd name="connsiteY1" fmla="*/ 19078 h 20097"/>
                <a:gd name="connsiteX2" fmla="*/ 20775 w 34698"/>
                <a:gd name="connsiteY2" fmla="*/ 19078 h 20097"/>
                <a:gd name="connsiteX3" fmla="*/ 32872 w 34698"/>
                <a:gd name="connsiteY3" fmla="*/ 12029 h 20097"/>
                <a:gd name="connsiteX4" fmla="*/ 34215 w 34698"/>
                <a:gd name="connsiteY4" fmla="*/ 9086 h 20097"/>
                <a:gd name="connsiteX5" fmla="*/ 32872 w 34698"/>
                <a:gd name="connsiteY5" fmla="*/ 7743 h 20097"/>
                <a:gd name="connsiteX6" fmla="*/ 20775 w 34698"/>
                <a:gd name="connsiteY6" fmla="*/ 695 h 20097"/>
                <a:gd name="connsiteX7" fmla="*/ 13346 w 34698"/>
                <a:gd name="connsiteY7" fmla="*/ 695 h 20097"/>
                <a:gd name="connsiteX8" fmla="*/ 1154 w 34698"/>
                <a:gd name="connsiteY8" fmla="*/ 7743 h 20097"/>
                <a:gd name="connsiteX9" fmla="*/ -189 w 34698"/>
                <a:gd name="connsiteY9" fmla="*/ 10686 h 20097"/>
                <a:gd name="connsiteX10" fmla="*/ 1154 w 34698"/>
                <a:gd name="connsiteY10" fmla="*/ 12029 h 20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698" h="20097">
                  <a:moveTo>
                    <a:pt x="1154" y="12029"/>
                  </a:moveTo>
                  <a:lnTo>
                    <a:pt x="13346" y="19078"/>
                  </a:lnTo>
                  <a:cubicBezTo>
                    <a:pt x="15689" y="20221"/>
                    <a:pt x="18432" y="20221"/>
                    <a:pt x="20775" y="19078"/>
                  </a:cubicBezTo>
                  <a:lnTo>
                    <a:pt x="32872" y="12029"/>
                  </a:lnTo>
                  <a:cubicBezTo>
                    <a:pt x="34053" y="11591"/>
                    <a:pt x="34663" y="10277"/>
                    <a:pt x="34215" y="9086"/>
                  </a:cubicBezTo>
                  <a:cubicBezTo>
                    <a:pt x="33987" y="8467"/>
                    <a:pt x="33491" y="7972"/>
                    <a:pt x="32872" y="7743"/>
                  </a:cubicBezTo>
                  <a:lnTo>
                    <a:pt x="20775" y="695"/>
                  </a:lnTo>
                  <a:cubicBezTo>
                    <a:pt x="18432" y="-448"/>
                    <a:pt x="15689" y="-448"/>
                    <a:pt x="13346" y="695"/>
                  </a:cubicBezTo>
                  <a:lnTo>
                    <a:pt x="1154" y="7743"/>
                  </a:lnTo>
                  <a:cubicBezTo>
                    <a:pt x="-27" y="8181"/>
                    <a:pt x="-637" y="9496"/>
                    <a:pt x="-189" y="10686"/>
                  </a:cubicBezTo>
                  <a:cubicBezTo>
                    <a:pt x="40" y="11305"/>
                    <a:pt x="525" y="11801"/>
                    <a:pt x="1154" y="12029"/>
                  </a:cubicBezTo>
                  <a:close/>
                </a:path>
              </a:pathLst>
            </a:custGeom>
            <a:solidFill>
              <a:srgbClr val="D1D9E8"/>
            </a:solidFill>
            <a:ln w="9525" cap="flat">
              <a:noFill/>
              <a:prstDash val="solid"/>
              <a:miter/>
            </a:ln>
          </p:spPr>
          <p:txBody>
            <a:bodyPr rtlCol="0" anchor="ctr"/>
            <a:lstStyle/>
            <a:p>
              <a:endParaRPr lang="zh-CN" altLang="en-US"/>
            </a:p>
          </p:txBody>
        </p:sp>
        <p:sp>
          <p:nvSpPr>
            <p:cNvPr id="788" name="ïṣḻïdé">
              <a:extLst>
                <a:ext uri="{FF2B5EF4-FFF2-40B4-BE49-F238E27FC236}">
                  <a16:creationId xmlns:a16="http://schemas.microsoft.com/office/drawing/2014/main" id="{5C282766-58CD-4819-880B-9FFB23DE5FC5}"/>
                </a:ext>
              </a:extLst>
            </p:cNvPr>
            <p:cNvSpPr/>
            <p:nvPr/>
          </p:nvSpPr>
          <p:spPr>
            <a:xfrm>
              <a:off x="5889757" y="5410631"/>
              <a:ext cx="109594" cy="53801"/>
            </a:xfrm>
            <a:custGeom>
              <a:avLst/>
              <a:gdLst>
                <a:gd name="connsiteX0" fmla="*/ -336 w 36004"/>
                <a:gd name="connsiteY0" fmla="*/ -163 h 17675"/>
                <a:gd name="connsiteX1" fmla="*/ -336 w 36004"/>
                <a:gd name="connsiteY1" fmla="*/ 7076 h 17675"/>
                <a:gd name="connsiteX2" fmla="*/ 1188 w 36004"/>
                <a:gd name="connsiteY2" fmla="*/ 9267 h 17675"/>
                <a:gd name="connsiteX3" fmla="*/ 13761 w 36004"/>
                <a:gd name="connsiteY3" fmla="*/ 16506 h 17675"/>
                <a:gd name="connsiteX4" fmla="*/ 21476 w 36004"/>
                <a:gd name="connsiteY4" fmla="*/ 16506 h 17675"/>
                <a:gd name="connsiteX5" fmla="*/ 34049 w 36004"/>
                <a:gd name="connsiteY5" fmla="*/ 9267 h 17675"/>
                <a:gd name="connsiteX6" fmla="*/ 35668 w 36004"/>
                <a:gd name="connsiteY6" fmla="*/ 7076 h 17675"/>
                <a:gd name="connsiteX7" fmla="*/ 35668 w 36004"/>
                <a:gd name="connsiteY7" fmla="*/ -163 h 17675"/>
                <a:gd name="connsiteX8" fmla="*/ 34049 w 36004"/>
                <a:gd name="connsiteY8" fmla="*/ 2123 h 17675"/>
                <a:gd name="connsiteX9" fmla="*/ 31763 w 36004"/>
                <a:gd name="connsiteY9" fmla="*/ 3457 h 17675"/>
                <a:gd name="connsiteX10" fmla="*/ 21476 w 36004"/>
                <a:gd name="connsiteY10" fmla="*/ 9362 h 17675"/>
                <a:gd name="connsiteX11" fmla="*/ 13761 w 36004"/>
                <a:gd name="connsiteY11" fmla="*/ 9362 h 17675"/>
                <a:gd name="connsiteX12" fmla="*/ 3569 w 36004"/>
                <a:gd name="connsiteY12" fmla="*/ 3457 h 17675"/>
                <a:gd name="connsiteX13" fmla="*/ 1188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79" y="8038"/>
                    <a:pt x="312" y="8877"/>
                    <a:pt x="1188" y="9267"/>
                  </a:cubicBezTo>
                  <a:lnTo>
                    <a:pt x="13761" y="16506"/>
                  </a:lnTo>
                  <a:cubicBezTo>
                    <a:pt x="16161" y="17849"/>
                    <a:pt x="19076" y="17849"/>
                    <a:pt x="21476" y="16506"/>
                  </a:cubicBezTo>
                  <a:lnTo>
                    <a:pt x="34049" y="9267"/>
                  </a:lnTo>
                  <a:cubicBezTo>
                    <a:pt x="34964" y="8905"/>
                    <a:pt x="35592" y="8058"/>
                    <a:pt x="35668" y="7076"/>
                  </a:cubicBezTo>
                  <a:lnTo>
                    <a:pt x="35668" y="-163"/>
                  </a:lnTo>
                  <a:cubicBezTo>
                    <a:pt x="35602" y="847"/>
                    <a:pt x="34973" y="1733"/>
                    <a:pt x="34049" y="2123"/>
                  </a:cubicBezTo>
                  <a:lnTo>
                    <a:pt x="31763" y="3457"/>
                  </a:lnTo>
                  <a:lnTo>
                    <a:pt x="21476" y="9362"/>
                  </a:lnTo>
                  <a:cubicBezTo>
                    <a:pt x="19057" y="10601"/>
                    <a:pt x="16180" y="10601"/>
                    <a:pt x="13761" y="9362"/>
                  </a:cubicBezTo>
                  <a:lnTo>
                    <a:pt x="3569" y="3457"/>
                  </a:lnTo>
                  <a:lnTo>
                    <a:pt x="1188" y="2123"/>
                  </a:lnTo>
                  <a:cubicBezTo>
                    <a:pt x="312"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89" name="îś1ïḍe">
              <a:extLst>
                <a:ext uri="{FF2B5EF4-FFF2-40B4-BE49-F238E27FC236}">
                  <a16:creationId xmlns:a16="http://schemas.microsoft.com/office/drawing/2014/main" id="{DE082C42-174D-4580-ACD5-0752B0C76AFA}"/>
                </a:ext>
              </a:extLst>
            </p:cNvPr>
            <p:cNvSpPr/>
            <p:nvPr/>
          </p:nvSpPr>
          <p:spPr>
            <a:xfrm>
              <a:off x="5997905" y="5423656"/>
              <a:ext cx="78716" cy="45467"/>
            </a:xfrm>
            <a:custGeom>
              <a:avLst/>
              <a:gdLst>
                <a:gd name="connsiteX0" fmla="*/ -336 w 25860"/>
                <a:gd name="connsiteY0" fmla="*/ 4321 h 14937"/>
                <a:gd name="connsiteX1" fmla="*/ 1283 w 25860"/>
                <a:gd name="connsiteY1" fmla="*/ 6607 h 14937"/>
                <a:gd name="connsiteX2" fmla="*/ 3569 w 25860"/>
                <a:gd name="connsiteY2" fmla="*/ 7941 h 14937"/>
                <a:gd name="connsiteX3" fmla="*/ 13856 w 25860"/>
                <a:gd name="connsiteY3" fmla="*/ 13846 h 14937"/>
                <a:gd name="connsiteX4" fmla="*/ 21571 w 25860"/>
                <a:gd name="connsiteY4" fmla="*/ 13846 h 14937"/>
                <a:gd name="connsiteX5" fmla="*/ 21571 w 25860"/>
                <a:gd name="connsiteY5" fmla="*/ 13846 h 14937"/>
                <a:gd name="connsiteX6" fmla="*/ 23952 w 25860"/>
                <a:gd name="connsiteY6" fmla="*/ 12513 h 14937"/>
                <a:gd name="connsiteX7" fmla="*/ 25381 w 25860"/>
                <a:gd name="connsiteY7" fmla="*/ 9465 h 14937"/>
                <a:gd name="connsiteX8" fmla="*/ 23952 w 25860"/>
                <a:gd name="connsiteY8" fmla="*/ 8036 h 14937"/>
                <a:gd name="connsiteX9" fmla="*/ 11284 w 25860"/>
                <a:gd name="connsiteY9" fmla="*/ 702 h 14937"/>
                <a:gd name="connsiteX10" fmla="*/ 3664 w 25860"/>
                <a:gd name="connsiteY10" fmla="*/ 702 h 14937"/>
                <a:gd name="connsiteX11" fmla="*/ 1283 w 25860"/>
                <a:gd name="connsiteY11" fmla="*/ 2130 h 14937"/>
                <a:gd name="connsiteX12" fmla="*/ -336 w 25860"/>
                <a:gd name="connsiteY12" fmla="*/ 4321 h 149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5860" h="14937">
                  <a:moveTo>
                    <a:pt x="-336" y="4321"/>
                  </a:moveTo>
                  <a:cubicBezTo>
                    <a:pt x="-231" y="5312"/>
                    <a:pt x="378" y="6178"/>
                    <a:pt x="1283" y="6607"/>
                  </a:cubicBezTo>
                  <a:lnTo>
                    <a:pt x="3569" y="7941"/>
                  </a:lnTo>
                  <a:lnTo>
                    <a:pt x="13856" y="13846"/>
                  </a:lnTo>
                  <a:cubicBezTo>
                    <a:pt x="16275" y="15084"/>
                    <a:pt x="19152" y="15084"/>
                    <a:pt x="21571" y="13846"/>
                  </a:cubicBezTo>
                  <a:lnTo>
                    <a:pt x="21571" y="13846"/>
                  </a:lnTo>
                  <a:lnTo>
                    <a:pt x="23952" y="12513"/>
                  </a:lnTo>
                  <a:cubicBezTo>
                    <a:pt x="25191" y="12065"/>
                    <a:pt x="25829" y="10693"/>
                    <a:pt x="25381" y="9465"/>
                  </a:cubicBezTo>
                  <a:cubicBezTo>
                    <a:pt x="25134" y="8798"/>
                    <a:pt x="24619" y="8274"/>
                    <a:pt x="23952" y="8036"/>
                  </a:cubicBezTo>
                  <a:lnTo>
                    <a:pt x="11284" y="702"/>
                  </a:lnTo>
                  <a:cubicBezTo>
                    <a:pt x="8874" y="-451"/>
                    <a:pt x="6074" y="-451"/>
                    <a:pt x="3664" y="702"/>
                  </a:cubicBezTo>
                  <a:lnTo>
                    <a:pt x="1283" y="2130"/>
                  </a:lnTo>
                  <a:cubicBezTo>
                    <a:pt x="397" y="2521"/>
                    <a:pt x="-222" y="3359"/>
                    <a:pt x="-336" y="4321"/>
                  </a:cubicBezTo>
                  <a:close/>
                </a:path>
              </a:pathLst>
            </a:custGeom>
            <a:solidFill>
              <a:srgbClr val="FFFFFF"/>
            </a:solidFill>
            <a:ln w="9525" cap="flat">
              <a:noFill/>
              <a:prstDash val="solid"/>
              <a:miter/>
            </a:ln>
          </p:spPr>
          <p:txBody>
            <a:bodyPr rtlCol="0" anchor="ctr"/>
            <a:lstStyle/>
            <a:p>
              <a:endParaRPr lang="zh-CN" altLang="en-US"/>
            </a:p>
          </p:txBody>
        </p:sp>
        <p:sp>
          <p:nvSpPr>
            <p:cNvPr id="790" name="iṥ1îdé">
              <a:extLst>
                <a:ext uri="{FF2B5EF4-FFF2-40B4-BE49-F238E27FC236}">
                  <a16:creationId xmlns:a16="http://schemas.microsoft.com/office/drawing/2014/main" id="{36FA47B0-500F-4D49-980E-6E2BA962E36C}"/>
                </a:ext>
              </a:extLst>
            </p:cNvPr>
            <p:cNvSpPr/>
            <p:nvPr/>
          </p:nvSpPr>
          <p:spPr>
            <a:xfrm>
              <a:off x="6000005" y="5424837"/>
              <a:ext cx="74585" cy="42910"/>
            </a:xfrm>
            <a:custGeom>
              <a:avLst/>
              <a:gdLst>
                <a:gd name="connsiteX0" fmla="*/ 1164 w 24503"/>
                <a:gd name="connsiteY0" fmla="*/ 6029 h 14097"/>
                <a:gd name="connsiteX1" fmla="*/ 13261 w 24503"/>
                <a:gd name="connsiteY1" fmla="*/ 13077 h 14097"/>
                <a:gd name="connsiteX2" fmla="*/ 20690 w 24503"/>
                <a:gd name="connsiteY2" fmla="*/ 13077 h 14097"/>
                <a:gd name="connsiteX3" fmla="*/ 22595 w 24503"/>
                <a:gd name="connsiteY3" fmla="*/ 12029 h 14097"/>
                <a:gd name="connsiteX4" fmla="*/ 22595 w 24503"/>
                <a:gd name="connsiteY4" fmla="*/ 7743 h 14097"/>
                <a:gd name="connsiteX5" fmla="*/ 10498 w 24503"/>
                <a:gd name="connsiteY5" fmla="*/ 695 h 14097"/>
                <a:gd name="connsiteX6" fmla="*/ 3069 w 24503"/>
                <a:gd name="connsiteY6" fmla="*/ 695 h 14097"/>
                <a:gd name="connsiteX7" fmla="*/ 1164 w 24503"/>
                <a:gd name="connsiteY7" fmla="*/ 1742 h 14097"/>
                <a:gd name="connsiteX8" fmla="*/ 1164 w 24503"/>
                <a:gd name="connsiteY8" fmla="*/ 6029 h 14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503" h="14097">
                  <a:moveTo>
                    <a:pt x="1164" y="6029"/>
                  </a:moveTo>
                  <a:lnTo>
                    <a:pt x="13261" y="13077"/>
                  </a:lnTo>
                  <a:cubicBezTo>
                    <a:pt x="15604" y="14220"/>
                    <a:pt x="18347" y="14220"/>
                    <a:pt x="20690" y="13077"/>
                  </a:cubicBezTo>
                  <a:lnTo>
                    <a:pt x="22595" y="12029"/>
                  </a:lnTo>
                  <a:cubicBezTo>
                    <a:pt x="24691" y="10791"/>
                    <a:pt x="24691" y="8886"/>
                    <a:pt x="22595" y="7743"/>
                  </a:cubicBezTo>
                  <a:lnTo>
                    <a:pt x="10498" y="695"/>
                  </a:lnTo>
                  <a:cubicBezTo>
                    <a:pt x="8155" y="-448"/>
                    <a:pt x="5412" y="-448"/>
                    <a:pt x="3069" y="695"/>
                  </a:cubicBezTo>
                  <a:lnTo>
                    <a:pt x="1164" y="1742"/>
                  </a:lnTo>
                  <a:cubicBezTo>
                    <a:pt x="-836" y="3457"/>
                    <a:pt x="-836" y="4886"/>
                    <a:pt x="1164" y="6029"/>
                  </a:cubicBezTo>
                  <a:close/>
                </a:path>
              </a:pathLst>
            </a:custGeom>
            <a:solidFill>
              <a:srgbClr val="D1D9E8"/>
            </a:solidFill>
            <a:ln w="9525" cap="flat">
              <a:noFill/>
              <a:prstDash val="solid"/>
              <a:miter/>
            </a:ln>
          </p:spPr>
          <p:txBody>
            <a:bodyPr rtlCol="0" anchor="ctr"/>
            <a:lstStyle/>
            <a:p>
              <a:endParaRPr lang="zh-CN" altLang="en-US"/>
            </a:p>
          </p:txBody>
        </p:sp>
        <p:sp>
          <p:nvSpPr>
            <p:cNvPr id="791" name="î$ḷíďê">
              <a:extLst>
                <a:ext uri="{FF2B5EF4-FFF2-40B4-BE49-F238E27FC236}">
                  <a16:creationId xmlns:a16="http://schemas.microsoft.com/office/drawing/2014/main" id="{CCC638CA-300F-42BE-9FF5-B85462D88B9A}"/>
                </a:ext>
              </a:extLst>
            </p:cNvPr>
            <p:cNvSpPr/>
            <p:nvPr/>
          </p:nvSpPr>
          <p:spPr>
            <a:xfrm>
              <a:off x="5997905" y="5437305"/>
              <a:ext cx="78570" cy="53564"/>
            </a:xfrm>
            <a:custGeom>
              <a:avLst/>
              <a:gdLst>
                <a:gd name="connsiteX0" fmla="*/ -336 w 25812"/>
                <a:gd name="connsiteY0" fmla="*/ -163 h 17597"/>
                <a:gd name="connsiteX1" fmla="*/ -336 w 25812"/>
                <a:gd name="connsiteY1" fmla="*/ 7076 h 17597"/>
                <a:gd name="connsiteX2" fmla="*/ 1283 w 25812"/>
                <a:gd name="connsiteY2" fmla="*/ 9267 h 17597"/>
                <a:gd name="connsiteX3" fmla="*/ 13856 w 25812"/>
                <a:gd name="connsiteY3" fmla="*/ 16506 h 17597"/>
                <a:gd name="connsiteX4" fmla="*/ 21571 w 25812"/>
                <a:gd name="connsiteY4" fmla="*/ 16506 h 17597"/>
                <a:gd name="connsiteX5" fmla="*/ 23952 w 25812"/>
                <a:gd name="connsiteY5" fmla="*/ 15173 h 17597"/>
                <a:gd name="connsiteX6" fmla="*/ 25476 w 25812"/>
                <a:gd name="connsiteY6" fmla="*/ 12887 h 17597"/>
                <a:gd name="connsiteX7" fmla="*/ 25476 w 25812"/>
                <a:gd name="connsiteY7" fmla="*/ 5743 h 17597"/>
                <a:gd name="connsiteX8" fmla="*/ 23952 w 25812"/>
                <a:gd name="connsiteY8" fmla="*/ 8029 h 17597"/>
                <a:gd name="connsiteX9" fmla="*/ 21571 w 25812"/>
                <a:gd name="connsiteY9" fmla="*/ 9362 h 17597"/>
                <a:gd name="connsiteX10" fmla="*/ 21571 w 25812"/>
                <a:gd name="connsiteY10" fmla="*/ 9362 h 17597"/>
                <a:gd name="connsiteX11" fmla="*/ 13856 w 25812"/>
                <a:gd name="connsiteY11" fmla="*/ 9362 h 17597"/>
                <a:gd name="connsiteX12" fmla="*/ 3569 w 25812"/>
                <a:gd name="connsiteY12" fmla="*/ 3457 h 17597"/>
                <a:gd name="connsiteX13" fmla="*/ 1283 w 25812"/>
                <a:gd name="connsiteY13" fmla="*/ 2124 h 17597"/>
                <a:gd name="connsiteX14" fmla="*/ -336 w 25812"/>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5812" h="17597">
                  <a:moveTo>
                    <a:pt x="-336" y="-163"/>
                  </a:moveTo>
                  <a:lnTo>
                    <a:pt x="-336" y="7076"/>
                  </a:lnTo>
                  <a:cubicBezTo>
                    <a:pt x="-203" y="8029"/>
                    <a:pt x="407" y="8858"/>
                    <a:pt x="1283" y="9267"/>
                  </a:cubicBezTo>
                  <a:lnTo>
                    <a:pt x="13856" y="16506"/>
                  </a:lnTo>
                  <a:cubicBezTo>
                    <a:pt x="16275" y="17744"/>
                    <a:pt x="19152" y="17744"/>
                    <a:pt x="21571" y="16506"/>
                  </a:cubicBezTo>
                  <a:lnTo>
                    <a:pt x="23952" y="15173"/>
                  </a:lnTo>
                  <a:cubicBezTo>
                    <a:pt x="24819" y="14725"/>
                    <a:pt x="25391" y="13858"/>
                    <a:pt x="25476" y="12887"/>
                  </a:cubicBezTo>
                  <a:lnTo>
                    <a:pt x="25476" y="5743"/>
                  </a:lnTo>
                  <a:cubicBezTo>
                    <a:pt x="25410" y="6724"/>
                    <a:pt x="24829" y="7591"/>
                    <a:pt x="23952" y="8029"/>
                  </a:cubicBezTo>
                  <a:lnTo>
                    <a:pt x="21571" y="9362"/>
                  </a:lnTo>
                  <a:lnTo>
                    <a:pt x="21571" y="9362"/>
                  </a:lnTo>
                  <a:cubicBezTo>
                    <a:pt x="19152" y="10601"/>
                    <a:pt x="16275" y="10601"/>
                    <a:pt x="13856" y="9362"/>
                  </a:cubicBezTo>
                  <a:lnTo>
                    <a:pt x="3569" y="3457"/>
                  </a:lnTo>
                  <a:lnTo>
                    <a:pt x="1283" y="2124"/>
                  </a:lnTo>
                  <a:cubicBezTo>
                    <a:pt x="378" y="1695"/>
                    <a:pt x="-231"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92" name="iṧḷïḓè">
              <a:extLst>
                <a:ext uri="{FF2B5EF4-FFF2-40B4-BE49-F238E27FC236}">
                  <a16:creationId xmlns:a16="http://schemas.microsoft.com/office/drawing/2014/main" id="{F5E83523-9450-49B7-91EB-01D2E70E1E39}"/>
                </a:ext>
              </a:extLst>
            </p:cNvPr>
            <p:cNvSpPr/>
            <p:nvPr/>
          </p:nvSpPr>
          <p:spPr>
            <a:xfrm>
              <a:off x="5967170" y="5441436"/>
              <a:ext cx="78603" cy="45902"/>
            </a:xfrm>
            <a:custGeom>
              <a:avLst/>
              <a:gdLst>
                <a:gd name="connsiteX0" fmla="*/ -336 w 25823"/>
                <a:gd name="connsiteY0" fmla="*/ 4386 h 15080"/>
                <a:gd name="connsiteX1" fmla="*/ 1283 w 25823"/>
                <a:gd name="connsiteY1" fmla="*/ 6672 h 15080"/>
                <a:gd name="connsiteX2" fmla="*/ 3569 w 25823"/>
                <a:gd name="connsiteY2" fmla="*/ 8005 h 15080"/>
                <a:gd name="connsiteX3" fmla="*/ 13856 w 25823"/>
                <a:gd name="connsiteY3" fmla="*/ 13911 h 15080"/>
                <a:gd name="connsiteX4" fmla="*/ 21571 w 25823"/>
                <a:gd name="connsiteY4" fmla="*/ 13911 h 15080"/>
                <a:gd name="connsiteX5" fmla="*/ 21571 w 25823"/>
                <a:gd name="connsiteY5" fmla="*/ 13911 h 15080"/>
                <a:gd name="connsiteX6" fmla="*/ 23857 w 25823"/>
                <a:gd name="connsiteY6" fmla="*/ 12482 h 15080"/>
                <a:gd name="connsiteX7" fmla="*/ 25391 w 25823"/>
                <a:gd name="connsiteY7" fmla="*/ 9634 h 15080"/>
                <a:gd name="connsiteX8" fmla="*/ 23857 w 25823"/>
                <a:gd name="connsiteY8" fmla="*/ 8100 h 15080"/>
                <a:gd name="connsiteX9" fmla="*/ 11284 w 25823"/>
                <a:gd name="connsiteY9" fmla="*/ 766 h 15080"/>
                <a:gd name="connsiteX10" fmla="*/ 3569 w 25823"/>
                <a:gd name="connsiteY10" fmla="*/ 766 h 15080"/>
                <a:gd name="connsiteX11" fmla="*/ 1283 w 25823"/>
                <a:gd name="connsiteY11" fmla="*/ 2099 h 15080"/>
                <a:gd name="connsiteX12" fmla="*/ -336 w 25823"/>
                <a:gd name="connsiteY12" fmla="*/ 4386 h 15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5823" h="15080">
                  <a:moveTo>
                    <a:pt x="-336" y="4386"/>
                  </a:moveTo>
                  <a:cubicBezTo>
                    <a:pt x="-298" y="5405"/>
                    <a:pt x="340" y="6300"/>
                    <a:pt x="1283" y="6672"/>
                  </a:cubicBezTo>
                  <a:lnTo>
                    <a:pt x="3569" y="8005"/>
                  </a:lnTo>
                  <a:lnTo>
                    <a:pt x="13856" y="13911"/>
                  </a:lnTo>
                  <a:cubicBezTo>
                    <a:pt x="16256" y="15254"/>
                    <a:pt x="19171" y="15254"/>
                    <a:pt x="21571" y="13911"/>
                  </a:cubicBezTo>
                  <a:lnTo>
                    <a:pt x="21571" y="13911"/>
                  </a:lnTo>
                  <a:lnTo>
                    <a:pt x="23857" y="12482"/>
                  </a:lnTo>
                  <a:cubicBezTo>
                    <a:pt x="25067" y="12120"/>
                    <a:pt x="25753" y="10843"/>
                    <a:pt x="25391" y="9634"/>
                  </a:cubicBezTo>
                  <a:cubicBezTo>
                    <a:pt x="25172" y="8900"/>
                    <a:pt x="24600" y="8319"/>
                    <a:pt x="23857" y="8100"/>
                  </a:cubicBezTo>
                  <a:lnTo>
                    <a:pt x="11284" y="766"/>
                  </a:lnTo>
                  <a:cubicBezTo>
                    <a:pt x="8865" y="-472"/>
                    <a:pt x="5988" y="-472"/>
                    <a:pt x="3569" y="766"/>
                  </a:cubicBezTo>
                  <a:lnTo>
                    <a:pt x="1283" y="2099"/>
                  </a:lnTo>
                  <a:cubicBezTo>
                    <a:pt x="359" y="2490"/>
                    <a:pt x="-270" y="3376"/>
                    <a:pt x="-336" y="4386"/>
                  </a:cubicBezTo>
                  <a:close/>
                </a:path>
              </a:pathLst>
            </a:custGeom>
            <a:solidFill>
              <a:srgbClr val="FFFFFF"/>
            </a:solidFill>
            <a:ln w="9525" cap="flat">
              <a:noFill/>
              <a:prstDash val="solid"/>
              <a:miter/>
            </a:ln>
          </p:spPr>
          <p:txBody>
            <a:bodyPr rtlCol="0" anchor="ctr"/>
            <a:lstStyle/>
            <a:p>
              <a:endParaRPr lang="zh-CN" altLang="en-US"/>
            </a:p>
          </p:txBody>
        </p:sp>
        <p:sp>
          <p:nvSpPr>
            <p:cNvPr id="793" name="ïṣ1ïdê">
              <a:extLst>
                <a:ext uri="{FF2B5EF4-FFF2-40B4-BE49-F238E27FC236}">
                  <a16:creationId xmlns:a16="http://schemas.microsoft.com/office/drawing/2014/main" id="{B6893468-5703-4826-B42C-C3CC0145243B}"/>
                </a:ext>
              </a:extLst>
            </p:cNvPr>
            <p:cNvSpPr/>
            <p:nvPr/>
          </p:nvSpPr>
          <p:spPr>
            <a:xfrm>
              <a:off x="5968692" y="5442885"/>
              <a:ext cx="74585" cy="43126"/>
            </a:xfrm>
            <a:custGeom>
              <a:avLst/>
              <a:gdLst>
                <a:gd name="connsiteX0" fmla="*/ 1164 w 24503"/>
                <a:gd name="connsiteY0" fmla="*/ 6100 h 14168"/>
                <a:gd name="connsiteX1" fmla="*/ 13261 w 24503"/>
                <a:gd name="connsiteY1" fmla="*/ 13149 h 14168"/>
                <a:gd name="connsiteX2" fmla="*/ 20690 w 24503"/>
                <a:gd name="connsiteY2" fmla="*/ 13149 h 14168"/>
                <a:gd name="connsiteX3" fmla="*/ 22595 w 24503"/>
                <a:gd name="connsiteY3" fmla="*/ 12006 h 14168"/>
                <a:gd name="connsiteX4" fmla="*/ 22595 w 24503"/>
                <a:gd name="connsiteY4" fmla="*/ 7719 h 14168"/>
                <a:gd name="connsiteX5" fmla="*/ 10498 w 24503"/>
                <a:gd name="connsiteY5" fmla="*/ 766 h 14168"/>
                <a:gd name="connsiteX6" fmla="*/ 3069 w 24503"/>
                <a:gd name="connsiteY6" fmla="*/ 766 h 14168"/>
                <a:gd name="connsiteX7" fmla="*/ 1164 w 24503"/>
                <a:gd name="connsiteY7" fmla="*/ 1814 h 14168"/>
                <a:gd name="connsiteX8" fmla="*/ 1164 w 24503"/>
                <a:gd name="connsiteY8" fmla="*/ 6100 h 14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503" h="14168">
                  <a:moveTo>
                    <a:pt x="1164" y="6100"/>
                  </a:moveTo>
                  <a:lnTo>
                    <a:pt x="13261" y="13149"/>
                  </a:lnTo>
                  <a:cubicBezTo>
                    <a:pt x="15604" y="14292"/>
                    <a:pt x="18347" y="14292"/>
                    <a:pt x="20690" y="13149"/>
                  </a:cubicBezTo>
                  <a:lnTo>
                    <a:pt x="22595" y="12006"/>
                  </a:lnTo>
                  <a:cubicBezTo>
                    <a:pt x="24691" y="10863"/>
                    <a:pt x="24691" y="8958"/>
                    <a:pt x="22595" y="7719"/>
                  </a:cubicBezTo>
                  <a:lnTo>
                    <a:pt x="10498" y="766"/>
                  </a:lnTo>
                  <a:cubicBezTo>
                    <a:pt x="8174" y="-472"/>
                    <a:pt x="5393" y="-472"/>
                    <a:pt x="3069" y="766"/>
                  </a:cubicBezTo>
                  <a:lnTo>
                    <a:pt x="1164" y="1814"/>
                  </a:lnTo>
                  <a:cubicBezTo>
                    <a:pt x="-836" y="3052"/>
                    <a:pt x="-836" y="4957"/>
                    <a:pt x="1164" y="6100"/>
                  </a:cubicBezTo>
                  <a:close/>
                </a:path>
              </a:pathLst>
            </a:custGeom>
            <a:solidFill>
              <a:srgbClr val="D1D9E8"/>
            </a:solidFill>
            <a:ln w="9525" cap="flat">
              <a:noFill/>
              <a:prstDash val="solid"/>
              <a:miter/>
            </a:ln>
          </p:spPr>
          <p:txBody>
            <a:bodyPr rtlCol="0" anchor="ctr"/>
            <a:lstStyle/>
            <a:p>
              <a:endParaRPr lang="zh-CN" altLang="en-US"/>
            </a:p>
          </p:txBody>
        </p:sp>
        <p:sp>
          <p:nvSpPr>
            <p:cNvPr id="794" name="îŝḷïďè">
              <a:extLst>
                <a:ext uri="{FF2B5EF4-FFF2-40B4-BE49-F238E27FC236}">
                  <a16:creationId xmlns:a16="http://schemas.microsoft.com/office/drawing/2014/main" id="{624DE2D7-5E3D-47EE-AB25-A7DFCCE78D52}"/>
                </a:ext>
              </a:extLst>
            </p:cNvPr>
            <p:cNvSpPr/>
            <p:nvPr/>
          </p:nvSpPr>
          <p:spPr>
            <a:xfrm>
              <a:off x="5967170" y="5455283"/>
              <a:ext cx="78570" cy="53801"/>
            </a:xfrm>
            <a:custGeom>
              <a:avLst/>
              <a:gdLst>
                <a:gd name="connsiteX0" fmla="*/ -336 w 25812"/>
                <a:gd name="connsiteY0" fmla="*/ -163 h 17675"/>
                <a:gd name="connsiteX1" fmla="*/ -336 w 25812"/>
                <a:gd name="connsiteY1" fmla="*/ 7076 h 17675"/>
                <a:gd name="connsiteX2" fmla="*/ 1283 w 25812"/>
                <a:gd name="connsiteY2" fmla="*/ 9267 h 17675"/>
                <a:gd name="connsiteX3" fmla="*/ 13856 w 25812"/>
                <a:gd name="connsiteY3" fmla="*/ 16506 h 17675"/>
                <a:gd name="connsiteX4" fmla="*/ 21571 w 25812"/>
                <a:gd name="connsiteY4" fmla="*/ 16506 h 17675"/>
                <a:gd name="connsiteX5" fmla="*/ 23857 w 25812"/>
                <a:gd name="connsiteY5" fmla="*/ 15268 h 17675"/>
                <a:gd name="connsiteX6" fmla="*/ 25476 w 25812"/>
                <a:gd name="connsiteY6" fmla="*/ 12982 h 17675"/>
                <a:gd name="connsiteX7" fmla="*/ 25476 w 25812"/>
                <a:gd name="connsiteY7" fmla="*/ 5838 h 17675"/>
                <a:gd name="connsiteX8" fmla="*/ 23857 w 25812"/>
                <a:gd name="connsiteY8" fmla="*/ 8029 h 17675"/>
                <a:gd name="connsiteX9" fmla="*/ 21571 w 25812"/>
                <a:gd name="connsiteY9" fmla="*/ 9457 h 17675"/>
                <a:gd name="connsiteX10" fmla="*/ 21571 w 25812"/>
                <a:gd name="connsiteY10" fmla="*/ 9457 h 17675"/>
                <a:gd name="connsiteX11" fmla="*/ 13856 w 25812"/>
                <a:gd name="connsiteY11" fmla="*/ 9457 h 17675"/>
                <a:gd name="connsiteX12" fmla="*/ 3569 w 25812"/>
                <a:gd name="connsiteY12" fmla="*/ 3552 h 17675"/>
                <a:gd name="connsiteX13" fmla="*/ 1283 w 25812"/>
                <a:gd name="connsiteY13" fmla="*/ 2219 h 17675"/>
                <a:gd name="connsiteX14" fmla="*/ -336 w 25812"/>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5812" h="17675">
                  <a:moveTo>
                    <a:pt x="-336" y="-163"/>
                  </a:moveTo>
                  <a:lnTo>
                    <a:pt x="-336" y="7076"/>
                  </a:lnTo>
                  <a:cubicBezTo>
                    <a:pt x="-279" y="8067"/>
                    <a:pt x="349" y="8924"/>
                    <a:pt x="1283" y="9267"/>
                  </a:cubicBezTo>
                  <a:lnTo>
                    <a:pt x="13856" y="16506"/>
                  </a:lnTo>
                  <a:cubicBezTo>
                    <a:pt x="16256" y="17849"/>
                    <a:pt x="19171" y="17849"/>
                    <a:pt x="21571" y="16506"/>
                  </a:cubicBezTo>
                  <a:lnTo>
                    <a:pt x="23857" y="15268"/>
                  </a:lnTo>
                  <a:cubicBezTo>
                    <a:pt x="24771" y="14858"/>
                    <a:pt x="25391" y="13982"/>
                    <a:pt x="25476" y="12982"/>
                  </a:cubicBezTo>
                  <a:lnTo>
                    <a:pt x="25476" y="5838"/>
                  </a:lnTo>
                  <a:cubicBezTo>
                    <a:pt x="25419" y="6829"/>
                    <a:pt x="24791" y="7686"/>
                    <a:pt x="23857" y="8029"/>
                  </a:cubicBezTo>
                  <a:lnTo>
                    <a:pt x="21571" y="9457"/>
                  </a:lnTo>
                  <a:lnTo>
                    <a:pt x="21571" y="9457"/>
                  </a:lnTo>
                  <a:cubicBezTo>
                    <a:pt x="19171" y="10801"/>
                    <a:pt x="16256" y="10801"/>
                    <a:pt x="13856" y="9457"/>
                  </a:cubicBezTo>
                  <a:lnTo>
                    <a:pt x="3569" y="3552"/>
                  </a:lnTo>
                  <a:lnTo>
                    <a:pt x="1283" y="2219"/>
                  </a:lnTo>
                  <a:cubicBezTo>
                    <a:pt x="311" y="1828"/>
                    <a:pt x="-336" y="885"/>
                    <a:pt x="-336" y="-163"/>
                  </a:cubicBezTo>
                  <a:close/>
                </a:path>
              </a:pathLst>
            </a:custGeom>
            <a:solidFill>
              <a:srgbClr val="BF4200"/>
            </a:solidFill>
            <a:ln w="9525" cap="flat">
              <a:noFill/>
              <a:prstDash val="solid"/>
              <a:miter/>
            </a:ln>
          </p:spPr>
          <p:txBody>
            <a:bodyPr rtlCol="0" anchor="ctr"/>
            <a:lstStyle/>
            <a:p>
              <a:endParaRPr lang="zh-CN" altLang="en-US"/>
            </a:p>
          </p:txBody>
        </p:sp>
        <p:sp>
          <p:nvSpPr>
            <p:cNvPr id="795" name="islíḋé">
              <a:extLst>
                <a:ext uri="{FF2B5EF4-FFF2-40B4-BE49-F238E27FC236}">
                  <a16:creationId xmlns:a16="http://schemas.microsoft.com/office/drawing/2014/main" id="{B15E2F62-4A7C-48F9-BBB5-624B381CE9E7}"/>
                </a:ext>
              </a:extLst>
            </p:cNvPr>
            <p:cNvSpPr/>
            <p:nvPr/>
          </p:nvSpPr>
          <p:spPr>
            <a:xfrm>
              <a:off x="6044294" y="5468110"/>
              <a:ext cx="109594" cy="63588"/>
            </a:xfrm>
            <a:custGeom>
              <a:avLst/>
              <a:gdLst>
                <a:gd name="connsiteX0" fmla="*/ -336 w 36004"/>
                <a:gd name="connsiteY0" fmla="*/ 10291 h 20890"/>
                <a:gd name="connsiteX1" fmla="*/ 1188 w 36004"/>
                <a:gd name="connsiteY1" fmla="*/ 12577 h 20890"/>
                <a:gd name="connsiteX2" fmla="*/ 3569 w 36004"/>
                <a:gd name="connsiteY2" fmla="*/ 13911 h 20890"/>
                <a:gd name="connsiteX3" fmla="*/ 13856 w 36004"/>
                <a:gd name="connsiteY3" fmla="*/ 19721 h 20890"/>
                <a:gd name="connsiteX4" fmla="*/ 21476 w 36004"/>
                <a:gd name="connsiteY4" fmla="*/ 19721 h 20890"/>
                <a:gd name="connsiteX5" fmla="*/ 31763 w 36004"/>
                <a:gd name="connsiteY5" fmla="*/ 13911 h 20890"/>
                <a:gd name="connsiteX6" fmla="*/ 34144 w 36004"/>
                <a:gd name="connsiteY6" fmla="*/ 12577 h 20890"/>
                <a:gd name="connsiteX7" fmla="*/ 35668 w 36004"/>
                <a:gd name="connsiteY7" fmla="*/ 10291 h 20890"/>
                <a:gd name="connsiteX8" fmla="*/ 34144 w 36004"/>
                <a:gd name="connsiteY8" fmla="*/ 8101 h 20890"/>
                <a:gd name="connsiteX9" fmla="*/ 21476 w 36004"/>
                <a:gd name="connsiteY9" fmla="*/ 766 h 20890"/>
                <a:gd name="connsiteX10" fmla="*/ 13856 w 36004"/>
                <a:gd name="connsiteY10" fmla="*/ 766 h 20890"/>
                <a:gd name="connsiteX11" fmla="*/ 1188 w 36004"/>
                <a:gd name="connsiteY11" fmla="*/ 8101 h 20890"/>
                <a:gd name="connsiteX12" fmla="*/ -336 w 36004"/>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291"/>
                  </a:moveTo>
                  <a:cubicBezTo>
                    <a:pt x="-270" y="11272"/>
                    <a:pt x="311" y="12139"/>
                    <a:pt x="1188" y="12577"/>
                  </a:cubicBezTo>
                  <a:lnTo>
                    <a:pt x="3569" y="13911"/>
                  </a:lnTo>
                  <a:lnTo>
                    <a:pt x="13856" y="19721"/>
                  </a:lnTo>
                  <a:cubicBezTo>
                    <a:pt x="16218" y="21064"/>
                    <a:pt x="19114" y="21064"/>
                    <a:pt x="21476" y="19721"/>
                  </a:cubicBezTo>
                  <a:lnTo>
                    <a:pt x="31763" y="13911"/>
                  </a:lnTo>
                  <a:lnTo>
                    <a:pt x="34144" y="12577"/>
                  </a:lnTo>
                  <a:cubicBezTo>
                    <a:pt x="35021" y="12139"/>
                    <a:pt x="35602" y="11272"/>
                    <a:pt x="35668" y="10291"/>
                  </a:cubicBezTo>
                  <a:cubicBezTo>
                    <a:pt x="35611" y="9339"/>
                    <a:pt x="35021" y="8491"/>
                    <a:pt x="34144" y="8101"/>
                  </a:cubicBezTo>
                  <a:lnTo>
                    <a:pt x="21476" y="766"/>
                  </a:lnTo>
                  <a:cubicBezTo>
                    <a:pt x="19085" y="-472"/>
                    <a:pt x="16247" y="-472"/>
                    <a:pt x="13856" y="766"/>
                  </a:cubicBezTo>
                  <a:lnTo>
                    <a:pt x="1188" y="8101"/>
                  </a:lnTo>
                  <a:cubicBezTo>
                    <a:pt x="311" y="8491"/>
                    <a:pt x="-279"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796" name="íşļïdê">
              <a:extLst>
                <a:ext uri="{FF2B5EF4-FFF2-40B4-BE49-F238E27FC236}">
                  <a16:creationId xmlns:a16="http://schemas.microsoft.com/office/drawing/2014/main" id="{EA1DC5C8-3296-475C-AA25-5F9B59ED2ABC}"/>
                </a:ext>
              </a:extLst>
            </p:cNvPr>
            <p:cNvSpPr/>
            <p:nvPr/>
          </p:nvSpPr>
          <p:spPr>
            <a:xfrm>
              <a:off x="6046179" y="5469269"/>
              <a:ext cx="105825" cy="61104"/>
            </a:xfrm>
            <a:custGeom>
              <a:avLst/>
              <a:gdLst>
                <a:gd name="connsiteX0" fmla="*/ 1235 w 34766"/>
                <a:gd name="connsiteY0" fmla="*/ 12006 h 20074"/>
                <a:gd name="connsiteX1" fmla="*/ 13332 w 34766"/>
                <a:gd name="connsiteY1" fmla="*/ 19054 h 20074"/>
                <a:gd name="connsiteX2" fmla="*/ 20761 w 34766"/>
                <a:gd name="connsiteY2" fmla="*/ 19054 h 20074"/>
                <a:gd name="connsiteX3" fmla="*/ 32858 w 34766"/>
                <a:gd name="connsiteY3" fmla="*/ 12006 h 20074"/>
                <a:gd name="connsiteX4" fmla="*/ 32858 w 34766"/>
                <a:gd name="connsiteY4" fmla="*/ 7719 h 20074"/>
                <a:gd name="connsiteX5" fmla="*/ 20761 w 34766"/>
                <a:gd name="connsiteY5" fmla="*/ 766 h 20074"/>
                <a:gd name="connsiteX6" fmla="*/ 13332 w 34766"/>
                <a:gd name="connsiteY6" fmla="*/ 766 h 20074"/>
                <a:gd name="connsiteX7" fmla="*/ 1235 w 34766"/>
                <a:gd name="connsiteY7" fmla="*/ 7719 h 20074"/>
                <a:gd name="connsiteX8" fmla="*/ 1235 w 34766"/>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6" h="20074">
                  <a:moveTo>
                    <a:pt x="1235" y="12006"/>
                  </a:moveTo>
                  <a:lnTo>
                    <a:pt x="13332" y="19054"/>
                  </a:lnTo>
                  <a:cubicBezTo>
                    <a:pt x="15675" y="20197"/>
                    <a:pt x="18418" y="20197"/>
                    <a:pt x="20761" y="19054"/>
                  </a:cubicBezTo>
                  <a:lnTo>
                    <a:pt x="32858" y="12006"/>
                  </a:lnTo>
                  <a:cubicBezTo>
                    <a:pt x="34954" y="10863"/>
                    <a:pt x="34954" y="8957"/>
                    <a:pt x="32858" y="7719"/>
                  </a:cubicBezTo>
                  <a:lnTo>
                    <a:pt x="20761" y="766"/>
                  </a:lnTo>
                  <a:cubicBezTo>
                    <a:pt x="18437" y="-472"/>
                    <a:pt x="15656" y="-472"/>
                    <a:pt x="13332" y="766"/>
                  </a:cubicBezTo>
                  <a:lnTo>
                    <a:pt x="1235" y="7719"/>
                  </a:lnTo>
                  <a:cubicBezTo>
                    <a:pt x="-860" y="8957"/>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797" name="îṣḷïḓè">
              <a:extLst>
                <a:ext uri="{FF2B5EF4-FFF2-40B4-BE49-F238E27FC236}">
                  <a16:creationId xmlns:a16="http://schemas.microsoft.com/office/drawing/2014/main" id="{324F7CB5-ED1E-4C42-94F3-222683A99F0B}"/>
                </a:ext>
              </a:extLst>
            </p:cNvPr>
            <p:cNvSpPr/>
            <p:nvPr/>
          </p:nvSpPr>
          <p:spPr>
            <a:xfrm>
              <a:off x="6044288" y="5499931"/>
              <a:ext cx="109600" cy="54435"/>
            </a:xfrm>
            <a:custGeom>
              <a:avLst/>
              <a:gdLst>
                <a:gd name="connsiteX0" fmla="*/ -335 w 36006"/>
                <a:gd name="connsiteY0" fmla="*/ -163 h 17883"/>
                <a:gd name="connsiteX1" fmla="*/ -335 w 36006"/>
                <a:gd name="connsiteY1" fmla="*/ 7362 h 17883"/>
                <a:gd name="connsiteX2" fmla="*/ 1189 w 36006"/>
                <a:gd name="connsiteY2" fmla="*/ 9553 h 17883"/>
                <a:gd name="connsiteX3" fmla="*/ 13858 w 36006"/>
                <a:gd name="connsiteY3" fmla="*/ 16792 h 17883"/>
                <a:gd name="connsiteX4" fmla="*/ 21478 w 36006"/>
                <a:gd name="connsiteY4" fmla="*/ 16792 h 17883"/>
                <a:gd name="connsiteX5" fmla="*/ 34146 w 36006"/>
                <a:gd name="connsiteY5" fmla="*/ 9553 h 17883"/>
                <a:gd name="connsiteX6" fmla="*/ 35670 w 36006"/>
                <a:gd name="connsiteY6" fmla="*/ 7267 h 17883"/>
                <a:gd name="connsiteX7" fmla="*/ 35670 w 36006"/>
                <a:gd name="connsiteY7" fmla="*/ 123 h 17883"/>
                <a:gd name="connsiteX8" fmla="*/ 34146 w 36006"/>
                <a:gd name="connsiteY8" fmla="*/ 2409 h 17883"/>
                <a:gd name="connsiteX9" fmla="*/ 31765 w 36006"/>
                <a:gd name="connsiteY9" fmla="*/ 3743 h 17883"/>
                <a:gd name="connsiteX10" fmla="*/ 21478 w 36006"/>
                <a:gd name="connsiteY10" fmla="*/ 9553 h 17883"/>
                <a:gd name="connsiteX11" fmla="*/ 13858 w 36006"/>
                <a:gd name="connsiteY11" fmla="*/ 9553 h 17883"/>
                <a:gd name="connsiteX12" fmla="*/ 3571 w 36006"/>
                <a:gd name="connsiteY12" fmla="*/ 3743 h 17883"/>
                <a:gd name="connsiteX13" fmla="*/ 1189 w 36006"/>
                <a:gd name="connsiteY13" fmla="*/ 2409 h 17883"/>
                <a:gd name="connsiteX14" fmla="*/ -335 w 36006"/>
                <a:gd name="connsiteY14" fmla="*/ -163 h 17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6" h="17883">
                  <a:moveTo>
                    <a:pt x="-335" y="-163"/>
                  </a:moveTo>
                  <a:lnTo>
                    <a:pt x="-335" y="7362"/>
                  </a:lnTo>
                  <a:cubicBezTo>
                    <a:pt x="-239" y="8305"/>
                    <a:pt x="342" y="9134"/>
                    <a:pt x="1189" y="9553"/>
                  </a:cubicBezTo>
                  <a:lnTo>
                    <a:pt x="13858" y="16792"/>
                  </a:lnTo>
                  <a:cubicBezTo>
                    <a:pt x="16248" y="18030"/>
                    <a:pt x="19087" y="18030"/>
                    <a:pt x="21478" y="16792"/>
                  </a:cubicBezTo>
                  <a:lnTo>
                    <a:pt x="34146" y="9553"/>
                  </a:lnTo>
                  <a:cubicBezTo>
                    <a:pt x="35013" y="9105"/>
                    <a:pt x="35584" y="8239"/>
                    <a:pt x="35670" y="7267"/>
                  </a:cubicBezTo>
                  <a:lnTo>
                    <a:pt x="35670" y="123"/>
                  </a:lnTo>
                  <a:cubicBezTo>
                    <a:pt x="35603" y="1104"/>
                    <a:pt x="35022" y="1971"/>
                    <a:pt x="34146" y="2409"/>
                  </a:cubicBezTo>
                  <a:lnTo>
                    <a:pt x="31765" y="3743"/>
                  </a:lnTo>
                  <a:lnTo>
                    <a:pt x="21478" y="9553"/>
                  </a:lnTo>
                  <a:cubicBezTo>
                    <a:pt x="19115" y="10896"/>
                    <a:pt x="16220" y="10896"/>
                    <a:pt x="13858" y="9553"/>
                  </a:cubicBezTo>
                  <a:lnTo>
                    <a:pt x="3571" y="3743"/>
                  </a:lnTo>
                  <a:lnTo>
                    <a:pt x="1189" y="2409"/>
                  </a:lnTo>
                  <a:cubicBezTo>
                    <a:pt x="218" y="1923"/>
                    <a:pt x="-373" y="923"/>
                    <a:pt x="-335" y="-163"/>
                  </a:cubicBezTo>
                  <a:close/>
                </a:path>
              </a:pathLst>
            </a:custGeom>
            <a:solidFill>
              <a:srgbClr val="BF4200"/>
            </a:solidFill>
            <a:ln w="9525" cap="flat">
              <a:noFill/>
              <a:prstDash val="solid"/>
              <a:miter/>
            </a:ln>
          </p:spPr>
          <p:txBody>
            <a:bodyPr rtlCol="0" anchor="ctr"/>
            <a:lstStyle/>
            <a:p>
              <a:endParaRPr lang="zh-CN" altLang="en-US"/>
            </a:p>
          </p:txBody>
        </p:sp>
        <p:sp>
          <p:nvSpPr>
            <p:cNvPr id="798" name="ïŝľîdê">
              <a:extLst>
                <a:ext uri="{FF2B5EF4-FFF2-40B4-BE49-F238E27FC236}">
                  <a16:creationId xmlns:a16="http://schemas.microsoft.com/office/drawing/2014/main" id="{34CA68B2-58AC-49D4-8884-C13252F074A8}"/>
                </a:ext>
              </a:extLst>
            </p:cNvPr>
            <p:cNvSpPr/>
            <p:nvPr/>
          </p:nvSpPr>
          <p:spPr>
            <a:xfrm>
              <a:off x="5927812" y="4346502"/>
              <a:ext cx="1038326" cy="599437"/>
            </a:xfrm>
            <a:custGeom>
              <a:avLst/>
              <a:gdLst>
                <a:gd name="connsiteX0" fmla="*/ 126894 w 341114"/>
                <a:gd name="connsiteY0" fmla="*/ 182551 h 196929"/>
                <a:gd name="connsiteX1" fmla="*/ 24310 w 341114"/>
                <a:gd name="connsiteY1" fmla="*/ 123305 h 196929"/>
                <a:gd name="connsiteX2" fmla="*/ 24310 w 341114"/>
                <a:gd name="connsiteY2" fmla="*/ 54630 h 196929"/>
                <a:gd name="connsiteX3" fmla="*/ 94509 w 341114"/>
                <a:gd name="connsiteY3" fmla="*/ 14053 h 196929"/>
                <a:gd name="connsiteX4" fmla="*/ 213571 w 341114"/>
                <a:gd name="connsiteY4" fmla="*/ 14053 h 196929"/>
                <a:gd name="connsiteX5" fmla="*/ 316060 w 341114"/>
                <a:gd name="connsiteY5" fmla="*/ 73299 h 196929"/>
                <a:gd name="connsiteX6" fmla="*/ 316060 w 341114"/>
                <a:gd name="connsiteY6" fmla="*/ 141974 h 196929"/>
                <a:gd name="connsiteX7" fmla="*/ 245861 w 341114"/>
                <a:gd name="connsiteY7" fmla="*/ 182551 h 196929"/>
                <a:gd name="connsiteX8" fmla="*/ 126894 w 341114"/>
                <a:gd name="connsiteY8" fmla="*/ 182551 h 196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1114" h="196929">
                  <a:moveTo>
                    <a:pt x="126894" y="182551"/>
                  </a:moveTo>
                  <a:lnTo>
                    <a:pt x="24310" y="123305"/>
                  </a:lnTo>
                  <a:cubicBezTo>
                    <a:pt x="-8552" y="104255"/>
                    <a:pt x="-8552" y="73585"/>
                    <a:pt x="24310" y="54630"/>
                  </a:cubicBezTo>
                  <a:lnTo>
                    <a:pt x="94509" y="14053"/>
                  </a:lnTo>
                  <a:cubicBezTo>
                    <a:pt x="131932" y="-4901"/>
                    <a:pt x="176148" y="-4901"/>
                    <a:pt x="213571" y="14053"/>
                  </a:cubicBezTo>
                  <a:lnTo>
                    <a:pt x="316060" y="73299"/>
                  </a:lnTo>
                  <a:cubicBezTo>
                    <a:pt x="349017" y="92349"/>
                    <a:pt x="349017" y="123019"/>
                    <a:pt x="316060" y="141974"/>
                  </a:cubicBezTo>
                  <a:lnTo>
                    <a:pt x="245861" y="182551"/>
                  </a:lnTo>
                  <a:cubicBezTo>
                    <a:pt x="208475" y="201506"/>
                    <a:pt x="164279" y="201506"/>
                    <a:pt x="126894" y="182551"/>
                  </a:cubicBezTo>
                  <a:close/>
                </a:path>
              </a:pathLst>
            </a:custGeom>
            <a:solidFill>
              <a:srgbClr val="BF4200"/>
            </a:solidFill>
            <a:ln w="9525" cap="flat">
              <a:noFill/>
              <a:prstDash val="solid"/>
              <a:miter/>
            </a:ln>
          </p:spPr>
          <p:txBody>
            <a:bodyPr rtlCol="0" anchor="ctr"/>
            <a:lstStyle/>
            <a:p>
              <a:endParaRPr lang="zh-CN" altLang="en-US"/>
            </a:p>
          </p:txBody>
        </p:sp>
        <p:sp>
          <p:nvSpPr>
            <p:cNvPr id="799" name="iśľidè">
              <a:extLst>
                <a:ext uri="{FF2B5EF4-FFF2-40B4-BE49-F238E27FC236}">
                  <a16:creationId xmlns:a16="http://schemas.microsoft.com/office/drawing/2014/main" id="{65E867A8-5334-46AE-B99E-C3A6429353C4}"/>
                </a:ext>
              </a:extLst>
            </p:cNvPr>
            <p:cNvSpPr/>
            <p:nvPr/>
          </p:nvSpPr>
          <p:spPr>
            <a:xfrm>
              <a:off x="5927812" y="4311710"/>
              <a:ext cx="1038326" cy="599437"/>
            </a:xfrm>
            <a:custGeom>
              <a:avLst/>
              <a:gdLst>
                <a:gd name="connsiteX0" fmla="*/ 126894 w 341114"/>
                <a:gd name="connsiteY0" fmla="*/ 182551 h 196929"/>
                <a:gd name="connsiteX1" fmla="*/ 24310 w 341114"/>
                <a:gd name="connsiteY1" fmla="*/ 123305 h 196929"/>
                <a:gd name="connsiteX2" fmla="*/ 24310 w 341114"/>
                <a:gd name="connsiteY2" fmla="*/ 54630 h 196929"/>
                <a:gd name="connsiteX3" fmla="*/ 94509 w 341114"/>
                <a:gd name="connsiteY3" fmla="*/ 14053 h 196929"/>
                <a:gd name="connsiteX4" fmla="*/ 213571 w 341114"/>
                <a:gd name="connsiteY4" fmla="*/ 14053 h 196929"/>
                <a:gd name="connsiteX5" fmla="*/ 316060 w 341114"/>
                <a:gd name="connsiteY5" fmla="*/ 73299 h 196929"/>
                <a:gd name="connsiteX6" fmla="*/ 316060 w 341114"/>
                <a:gd name="connsiteY6" fmla="*/ 141974 h 196929"/>
                <a:gd name="connsiteX7" fmla="*/ 245861 w 341114"/>
                <a:gd name="connsiteY7" fmla="*/ 182551 h 196929"/>
                <a:gd name="connsiteX8" fmla="*/ 126894 w 341114"/>
                <a:gd name="connsiteY8" fmla="*/ 182551 h 196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1114" h="196929">
                  <a:moveTo>
                    <a:pt x="126894" y="182551"/>
                  </a:moveTo>
                  <a:lnTo>
                    <a:pt x="24310" y="123305"/>
                  </a:lnTo>
                  <a:cubicBezTo>
                    <a:pt x="-8552" y="104255"/>
                    <a:pt x="-8552" y="73585"/>
                    <a:pt x="24310" y="54630"/>
                  </a:cubicBezTo>
                  <a:lnTo>
                    <a:pt x="94509" y="14053"/>
                  </a:lnTo>
                  <a:cubicBezTo>
                    <a:pt x="131932" y="-4901"/>
                    <a:pt x="176148" y="-4901"/>
                    <a:pt x="213571" y="14053"/>
                  </a:cubicBezTo>
                  <a:lnTo>
                    <a:pt x="316060" y="73299"/>
                  </a:lnTo>
                  <a:cubicBezTo>
                    <a:pt x="349017" y="92349"/>
                    <a:pt x="349017" y="123019"/>
                    <a:pt x="316060" y="141974"/>
                  </a:cubicBezTo>
                  <a:lnTo>
                    <a:pt x="245861" y="182551"/>
                  </a:lnTo>
                  <a:cubicBezTo>
                    <a:pt x="208475" y="201505"/>
                    <a:pt x="164279" y="201505"/>
                    <a:pt x="126894" y="182551"/>
                  </a:cubicBezTo>
                  <a:close/>
                </a:path>
              </a:pathLst>
            </a:custGeom>
            <a:solidFill>
              <a:srgbClr val="FF7D33"/>
            </a:solidFill>
            <a:ln w="9525" cap="flat">
              <a:noFill/>
              <a:prstDash val="solid"/>
              <a:miter/>
            </a:ln>
          </p:spPr>
          <p:txBody>
            <a:bodyPr rtlCol="0" anchor="ctr"/>
            <a:lstStyle/>
            <a:p>
              <a:endParaRPr lang="zh-CN" altLang="en-US"/>
            </a:p>
          </p:txBody>
        </p:sp>
        <p:sp>
          <p:nvSpPr>
            <p:cNvPr id="800" name="ïšlídé">
              <a:extLst>
                <a:ext uri="{FF2B5EF4-FFF2-40B4-BE49-F238E27FC236}">
                  <a16:creationId xmlns:a16="http://schemas.microsoft.com/office/drawing/2014/main" id="{07929FBF-E6DA-45B1-8304-362A633089AB}"/>
                </a:ext>
              </a:extLst>
            </p:cNvPr>
            <p:cNvSpPr/>
            <p:nvPr/>
          </p:nvSpPr>
          <p:spPr>
            <a:xfrm>
              <a:off x="6375915" y="4006641"/>
              <a:ext cx="260198" cy="150440"/>
            </a:xfrm>
            <a:custGeom>
              <a:avLst/>
              <a:gdLst>
                <a:gd name="connsiteX0" fmla="*/ 71979 w 85481"/>
                <a:gd name="connsiteY0" fmla="*/ 6737 h 49423"/>
                <a:gd name="connsiteX1" fmla="*/ 73218 w 85481"/>
                <a:gd name="connsiteY1" fmla="*/ 41694 h 49423"/>
                <a:gd name="connsiteX2" fmla="*/ 12829 w 85481"/>
                <a:gd name="connsiteY2" fmla="*/ 42361 h 49423"/>
                <a:gd name="connsiteX3" fmla="*/ 11591 w 85481"/>
                <a:gd name="connsiteY3" fmla="*/ 7404 h 49423"/>
                <a:gd name="connsiteX4" fmla="*/ 71979 w 85481"/>
                <a:gd name="connsiteY4" fmla="*/ 6737 h 49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481" h="49423">
                  <a:moveTo>
                    <a:pt x="71979" y="6737"/>
                  </a:moveTo>
                  <a:cubicBezTo>
                    <a:pt x="89029" y="16262"/>
                    <a:pt x="89601" y="31884"/>
                    <a:pt x="73218" y="41694"/>
                  </a:cubicBezTo>
                  <a:cubicBezTo>
                    <a:pt x="54349" y="51543"/>
                    <a:pt x="31908" y="51791"/>
                    <a:pt x="12829" y="42361"/>
                  </a:cubicBezTo>
                  <a:cubicBezTo>
                    <a:pt x="-4221" y="32836"/>
                    <a:pt x="-4792" y="17215"/>
                    <a:pt x="11591" y="7404"/>
                  </a:cubicBezTo>
                  <a:cubicBezTo>
                    <a:pt x="30460" y="-2445"/>
                    <a:pt x="52901" y="-2692"/>
                    <a:pt x="71979" y="6737"/>
                  </a:cubicBezTo>
                  <a:close/>
                </a:path>
              </a:pathLst>
            </a:custGeom>
            <a:solidFill>
              <a:srgbClr val="E73E1E"/>
            </a:solidFill>
            <a:ln w="9525" cap="flat">
              <a:noFill/>
              <a:prstDash val="solid"/>
              <a:miter/>
            </a:ln>
          </p:spPr>
          <p:txBody>
            <a:bodyPr rtlCol="0" anchor="ctr"/>
            <a:lstStyle/>
            <a:p>
              <a:endParaRPr lang="zh-CN" altLang="en-US"/>
            </a:p>
          </p:txBody>
        </p:sp>
        <p:sp>
          <p:nvSpPr>
            <p:cNvPr id="801" name="ïŝľiḑê">
              <a:extLst>
                <a:ext uri="{FF2B5EF4-FFF2-40B4-BE49-F238E27FC236}">
                  <a16:creationId xmlns:a16="http://schemas.microsoft.com/office/drawing/2014/main" id="{37C44FC7-80DB-4517-87F8-EE1F2D1C7CAE}"/>
                </a:ext>
              </a:extLst>
            </p:cNvPr>
            <p:cNvSpPr/>
            <p:nvPr/>
          </p:nvSpPr>
          <p:spPr>
            <a:xfrm>
              <a:off x="6375398" y="4081863"/>
              <a:ext cx="260070" cy="535488"/>
            </a:xfrm>
            <a:custGeom>
              <a:avLst/>
              <a:gdLst>
                <a:gd name="connsiteX0" fmla="*/ 85103 w 85439"/>
                <a:gd name="connsiteY0" fmla="*/ 151190 h 175920"/>
                <a:gd name="connsiteX1" fmla="*/ 85103 w 85439"/>
                <a:gd name="connsiteY1" fmla="*/ 123 h 175920"/>
                <a:gd name="connsiteX2" fmla="*/ 73197 w 85439"/>
                <a:gd name="connsiteY2" fmla="*/ 17173 h 175920"/>
                <a:gd name="connsiteX3" fmla="*/ 12808 w 85439"/>
                <a:gd name="connsiteY3" fmla="*/ 17744 h 175920"/>
                <a:gd name="connsiteX4" fmla="*/ -336 w 85439"/>
                <a:gd name="connsiteY4" fmla="*/ -163 h 175920"/>
                <a:gd name="connsiteX5" fmla="*/ -336 w 85439"/>
                <a:gd name="connsiteY5" fmla="*/ 150904 h 175920"/>
                <a:gd name="connsiteX6" fmla="*/ 12808 w 85439"/>
                <a:gd name="connsiteY6" fmla="*/ 168811 h 175920"/>
                <a:gd name="connsiteX7" fmla="*/ 73197 w 85439"/>
                <a:gd name="connsiteY7" fmla="*/ 168239 h 175920"/>
                <a:gd name="connsiteX8" fmla="*/ 85103 w 85439"/>
                <a:gd name="connsiteY8" fmla="*/ 151190 h 175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5439" h="175920">
                  <a:moveTo>
                    <a:pt x="85103" y="151190"/>
                  </a:moveTo>
                  <a:lnTo>
                    <a:pt x="85103" y="123"/>
                  </a:lnTo>
                  <a:cubicBezTo>
                    <a:pt x="84436" y="7515"/>
                    <a:pt x="79902" y="14001"/>
                    <a:pt x="73197" y="17173"/>
                  </a:cubicBezTo>
                  <a:cubicBezTo>
                    <a:pt x="54309" y="26993"/>
                    <a:pt x="31877" y="27203"/>
                    <a:pt x="12808" y="17744"/>
                  </a:cubicBezTo>
                  <a:cubicBezTo>
                    <a:pt x="5474" y="14639"/>
                    <a:pt x="426" y="7762"/>
                    <a:pt x="-336" y="-163"/>
                  </a:cubicBezTo>
                  <a:lnTo>
                    <a:pt x="-336" y="150904"/>
                  </a:lnTo>
                  <a:cubicBezTo>
                    <a:pt x="426" y="158829"/>
                    <a:pt x="5474" y="165706"/>
                    <a:pt x="12808" y="168811"/>
                  </a:cubicBezTo>
                  <a:cubicBezTo>
                    <a:pt x="31877" y="178269"/>
                    <a:pt x="54309" y="178059"/>
                    <a:pt x="73197" y="168239"/>
                  </a:cubicBezTo>
                  <a:cubicBezTo>
                    <a:pt x="79902" y="165068"/>
                    <a:pt x="84436" y="158581"/>
                    <a:pt x="85103" y="151190"/>
                  </a:cubicBezTo>
                  <a:close/>
                </a:path>
              </a:pathLst>
            </a:custGeom>
            <a:solidFill>
              <a:srgbClr val="BF4200"/>
            </a:solidFill>
            <a:ln w="9525" cap="flat">
              <a:noFill/>
              <a:prstDash val="solid"/>
              <a:miter/>
            </a:ln>
          </p:spPr>
          <p:txBody>
            <a:bodyPr rtlCol="0" anchor="ctr"/>
            <a:lstStyle/>
            <a:p>
              <a:endParaRPr lang="zh-CN" altLang="en-US"/>
            </a:p>
          </p:txBody>
        </p:sp>
        <p:sp>
          <p:nvSpPr>
            <p:cNvPr id="802" name="ïšļiḋè">
              <a:extLst>
                <a:ext uri="{FF2B5EF4-FFF2-40B4-BE49-F238E27FC236}">
                  <a16:creationId xmlns:a16="http://schemas.microsoft.com/office/drawing/2014/main" id="{62B5AA3F-B058-4E45-991D-FCF2CB2B88D6}"/>
                </a:ext>
              </a:extLst>
            </p:cNvPr>
            <p:cNvSpPr/>
            <p:nvPr/>
          </p:nvSpPr>
          <p:spPr>
            <a:xfrm>
              <a:off x="7368421" y="4755091"/>
              <a:ext cx="168451" cy="100264"/>
            </a:xfrm>
            <a:custGeom>
              <a:avLst/>
              <a:gdLst>
                <a:gd name="connsiteX0" fmla="*/ 32811 w 55340"/>
                <a:gd name="connsiteY0" fmla="*/ 27746 h 32939"/>
                <a:gd name="connsiteX1" fmla="*/ 32811 w 55340"/>
                <a:gd name="connsiteY1" fmla="*/ 27746 h 32939"/>
                <a:gd name="connsiteX2" fmla="*/ 36335 w 55340"/>
                <a:gd name="connsiteY2" fmla="*/ 25650 h 32939"/>
                <a:gd name="connsiteX3" fmla="*/ 44146 w 55340"/>
                <a:gd name="connsiteY3" fmla="*/ 20221 h 32939"/>
                <a:gd name="connsiteX4" fmla="*/ 50432 w 55340"/>
                <a:gd name="connsiteY4" fmla="*/ 13553 h 32939"/>
                <a:gd name="connsiteX5" fmla="*/ 53575 w 55340"/>
                <a:gd name="connsiteY5" fmla="*/ 7362 h 32939"/>
                <a:gd name="connsiteX6" fmla="*/ 55004 w 55340"/>
                <a:gd name="connsiteY6" fmla="*/ -163 h 32939"/>
                <a:gd name="connsiteX7" fmla="*/ 55004 w 55340"/>
                <a:gd name="connsiteY7" fmla="*/ -163 h 32939"/>
                <a:gd name="connsiteX8" fmla="*/ 53671 w 55340"/>
                <a:gd name="connsiteY8" fmla="*/ 2219 h 32939"/>
                <a:gd name="connsiteX9" fmla="*/ 53671 w 55340"/>
                <a:gd name="connsiteY9" fmla="*/ 2219 h 32939"/>
                <a:gd name="connsiteX10" fmla="*/ 53194 w 55340"/>
                <a:gd name="connsiteY10" fmla="*/ 2695 h 32939"/>
                <a:gd name="connsiteX11" fmla="*/ 53194 w 55340"/>
                <a:gd name="connsiteY11" fmla="*/ 2695 h 32939"/>
                <a:gd name="connsiteX12" fmla="*/ 52528 w 55340"/>
                <a:gd name="connsiteY12" fmla="*/ 3362 h 32939"/>
                <a:gd name="connsiteX13" fmla="*/ 51861 w 55340"/>
                <a:gd name="connsiteY13" fmla="*/ 3933 h 32939"/>
                <a:gd name="connsiteX14" fmla="*/ 49480 w 55340"/>
                <a:gd name="connsiteY14" fmla="*/ 5743 h 32939"/>
                <a:gd name="connsiteX15" fmla="*/ 48813 w 55340"/>
                <a:gd name="connsiteY15" fmla="*/ 6315 h 32939"/>
                <a:gd name="connsiteX16" fmla="*/ 48813 w 55340"/>
                <a:gd name="connsiteY16" fmla="*/ 6315 h 32939"/>
                <a:gd name="connsiteX17" fmla="*/ 48051 w 55340"/>
                <a:gd name="connsiteY17" fmla="*/ 6886 h 32939"/>
                <a:gd name="connsiteX18" fmla="*/ 45098 w 55340"/>
                <a:gd name="connsiteY18" fmla="*/ 8696 h 32939"/>
                <a:gd name="connsiteX19" fmla="*/ 41574 w 55340"/>
                <a:gd name="connsiteY19" fmla="*/ 10696 h 32939"/>
                <a:gd name="connsiteX20" fmla="*/ 23476 w 55340"/>
                <a:gd name="connsiteY20" fmla="*/ 16030 h 32939"/>
                <a:gd name="connsiteX21" fmla="*/ 23476 w 55340"/>
                <a:gd name="connsiteY21" fmla="*/ 16030 h 32939"/>
                <a:gd name="connsiteX22" fmla="*/ 22619 w 55340"/>
                <a:gd name="connsiteY22" fmla="*/ 21269 h 32939"/>
                <a:gd name="connsiteX23" fmla="*/ 22143 w 55340"/>
                <a:gd name="connsiteY23" fmla="*/ 22793 h 32939"/>
                <a:gd name="connsiteX24" fmla="*/ 22143 w 55340"/>
                <a:gd name="connsiteY24" fmla="*/ 22793 h 32939"/>
                <a:gd name="connsiteX25" fmla="*/ 21476 w 55340"/>
                <a:gd name="connsiteY25" fmla="*/ 24317 h 32939"/>
                <a:gd name="connsiteX26" fmla="*/ 21476 w 55340"/>
                <a:gd name="connsiteY26" fmla="*/ 24317 h 32939"/>
                <a:gd name="connsiteX27" fmla="*/ 16523 w 55340"/>
                <a:gd name="connsiteY27" fmla="*/ 29651 h 32939"/>
                <a:gd name="connsiteX28" fmla="*/ 9189 w 55340"/>
                <a:gd name="connsiteY28" fmla="*/ 31175 h 32939"/>
                <a:gd name="connsiteX29" fmla="*/ -336 w 55340"/>
                <a:gd name="connsiteY29" fmla="*/ 28222 h 32939"/>
                <a:gd name="connsiteX30" fmla="*/ 10903 w 55340"/>
                <a:gd name="connsiteY30" fmla="*/ 32699 h 32939"/>
                <a:gd name="connsiteX31" fmla="*/ 14142 w 55340"/>
                <a:gd name="connsiteY31" fmla="*/ 32699 h 32939"/>
                <a:gd name="connsiteX32" fmla="*/ 18333 w 55340"/>
                <a:gd name="connsiteY32" fmla="*/ 32223 h 32939"/>
                <a:gd name="connsiteX33" fmla="*/ 18333 w 55340"/>
                <a:gd name="connsiteY33" fmla="*/ 32223 h 32939"/>
                <a:gd name="connsiteX34" fmla="*/ 31858 w 55340"/>
                <a:gd name="connsiteY34" fmla="*/ 27269 h 32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55340" h="32939">
                  <a:moveTo>
                    <a:pt x="32811" y="27746"/>
                  </a:moveTo>
                  <a:lnTo>
                    <a:pt x="32811" y="27746"/>
                  </a:lnTo>
                  <a:lnTo>
                    <a:pt x="36335" y="25650"/>
                  </a:lnTo>
                  <a:cubicBezTo>
                    <a:pt x="39088" y="24069"/>
                    <a:pt x="41707" y="22259"/>
                    <a:pt x="44146" y="20221"/>
                  </a:cubicBezTo>
                  <a:cubicBezTo>
                    <a:pt x="46498" y="18259"/>
                    <a:pt x="48613" y="16020"/>
                    <a:pt x="50432" y="13553"/>
                  </a:cubicBezTo>
                  <a:cubicBezTo>
                    <a:pt x="51737" y="11629"/>
                    <a:pt x="52794" y="9553"/>
                    <a:pt x="53575" y="7362"/>
                  </a:cubicBezTo>
                  <a:cubicBezTo>
                    <a:pt x="54423" y="4933"/>
                    <a:pt x="54899" y="2400"/>
                    <a:pt x="55004" y="-163"/>
                  </a:cubicBezTo>
                  <a:lnTo>
                    <a:pt x="55004" y="-163"/>
                  </a:lnTo>
                  <a:cubicBezTo>
                    <a:pt x="54785" y="742"/>
                    <a:pt x="54328" y="1561"/>
                    <a:pt x="53671" y="2219"/>
                  </a:cubicBezTo>
                  <a:lnTo>
                    <a:pt x="53671" y="2219"/>
                  </a:lnTo>
                  <a:cubicBezTo>
                    <a:pt x="53671" y="2219"/>
                    <a:pt x="53671" y="2219"/>
                    <a:pt x="53194" y="2695"/>
                  </a:cubicBezTo>
                  <a:lnTo>
                    <a:pt x="53194" y="2695"/>
                  </a:lnTo>
                  <a:lnTo>
                    <a:pt x="52528" y="3362"/>
                  </a:lnTo>
                  <a:lnTo>
                    <a:pt x="51861" y="3933"/>
                  </a:lnTo>
                  <a:lnTo>
                    <a:pt x="49480" y="5743"/>
                  </a:lnTo>
                  <a:lnTo>
                    <a:pt x="48813" y="6315"/>
                  </a:lnTo>
                  <a:lnTo>
                    <a:pt x="48813" y="6315"/>
                  </a:lnTo>
                  <a:lnTo>
                    <a:pt x="48051" y="6886"/>
                  </a:lnTo>
                  <a:lnTo>
                    <a:pt x="45098" y="8696"/>
                  </a:lnTo>
                  <a:lnTo>
                    <a:pt x="41574" y="10696"/>
                  </a:lnTo>
                  <a:cubicBezTo>
                    <a:pt x="33954" y="15173"/>
                    <a:pt x="25762" y="17554"/>
                    <a:pt x="23476" y="16030"/>
                  </a:cubicBezTo>
                  <a:lnTo>
                    <a:pt x="23476" y="16030"/>
                  </a:lnTo>
                  <a:cubicBezTo>
                    <a:pt x="23305" y="17792"/>
                    <a:pt x="23019" y="19545"/>
                    <a:pt x="22619" y="21269"/>
                  </a:cubicBezTo>
                  <a:cubicBezTo>
                    <a:pt x="22619" y="21840"/>
                    <a:pt x="22619" y="22317"/>
                    <a:pt x="22143" y="22793"/>
                  </a:cubicBezTo>
                  <a:lnTo>
                    <a:pt x="22143" y="22793"/>
                  </a:lnTo>
                  <a:cubicBezTo>
                    <a:pt x="21981" y="23326"/>
                    <a:pt x="21752" y="23831"/>
                    <a:pt x="21476" y="24317"/>
                  </a:cubicBezTo>
                  <a:lnTo>
                    <a:pt x="21476" y="24317"/>
                  </a:lnTo>
                  <a:cubicBezTo>
                    <a:pt x="20352" y="26517"/>
                    <a:pt x="18638" y="28365"/>
                    <a:pt x="16523" y="29651"/>
                  </a:cubicBezTo>
                  <a:cubicBezTo>
                    <a:pt x="14275" y="30851"/>
                    <a:pt x="11732" y="31384"/>
                    <a:pt x="9189" y="31175"/>
                  </a:cubicBezTo>
                  <a:cubicBezTo>
                    <a:pt x="5826" y="30946"/>
                    <a:pt x="2569" y="29936"/>
                    <a:pt x="-336" y="28222"/>
                  </a:cubicBezTo>
                  <a:cubicBezTo>
                    <a:pt x="3159" y="30279"/>
                    <a:pt x="6950" y="31784"/>
                    <a:pt x="10903" y="32699"/>
                  </a:cubicBezTo>
                  <a:cubicBezTo>
                    <a:pt x="11979" y="32803"/>
                    <a:pt x="13065" y="32803"/>
                    <a:pt x="14142" y="32699"/>
                  </a:cubicBezTo>
                  <a:cubicBezTo>
                    <a:pt x="15551" y="32651"/>
                    <a:pt x="16952" y="32489"/>
                    <a:pt x="18333" y="32223"/>
                  </a:cubicBezTo>
                  <a:lnTo>
                    <a:pt x="18333" y="32223"/>
                  </a:lnTo>
                  <a:cubicBezTo>
                    <a:pt x="23076" y="31289"/>
                    <a:pt x="27639" y="29622"/>
                    <a:pt x="31858" y="27269"/>
                  </a:cubicBezTo>
                  <a:close/>
                </a:path>
              </a:pathLst>
            </a:custGeom>
            <a:solidFill>
              <a:srgbClr val="BF4200"/>
            </a:solidFill>
            <a:ln w="9525" cap="flat">
              <a:noFill/>
              <a:prstDash val="solid"/>
              <a:miter/>
            </a:ln>
          </p:spPr>
          <p:txBody>
            <a:bodyPr rtlCol="0" anchor="ctr"/>
            <a:lstStyle/>
            <a:p>
              <a:endParaRPr lang="zh-CN" altLang="en-US"/>
            </a:p>
          </p:txBody>
        </p:sp>
        <p:sp>
          <p:nvSpPr>
            <p:cNvPr id="803" name="iṣḻíďè">
              <a:extLst>
                <a:ext uri="{FF2B5EF4-FFF2-40B4-BE49-F238E27FC236}">
                  <a16:creationId xmlns:a16="http://schemas.microsoft.com/office/drawing/2014/main" id="{4E8CD3CF-EACD-428B-BC70-93E7F1F02D45}"/>
                </a:ext>
              </a:extLst>
            </p:cNvPr>
            <p:cNvSpPr/>
            <p:nvPr/>
          </p:nvSpPr>
          <p:spPr>
            <a:xfrm>
              <a:off x="5454710" y="1859559"/>
              <a:ext cx="166278" cy="110425"/>
            </a:xfrm>
            <a:custGeom>
              <a:avLst/>
              <a:gdLst>
                <a:gd name="connsiteX0" fmla="*/ 37621 w 54626"/>
                <a:gd name="connsiteY0" fmla="*/ 9826 h 36277"/>
                <a:gd name="connsiteX1" fmla="*/ 41050 w 54626"/>
                <a:gd name="connsiteY1" fmla="*/ 7825 h 36277"/>
                <a:gd name="connsiteX2" fmla="*/ 43622 w 54626"/>
                <a:gd name="connsiteY2" fmla="*/ 6492 h 36277"/>
                <a:gd name="connsiteX3" fmla="*/ 45241 w 54626"/>
                <a:gd name="connsiteY3" fmla="*/ 5635 h 36277"/>
                <a:gd name="connsiteX4" fmla="*/ 50671 w 54626"/>
                <a:gd name="connsiteY4" fmla="*/ 3634 h 36277"/>
                <a:gd name="connsiteX5" fmla="*/ 51147 w 54626"/>
                <a:gd name="connsiteY5" fmla="*/ 3634 h 36277"/>
                <a:gd name="connsiteX6" fmla="*/ 54290 w 54626"/>
                <a:gd name="connsiteY6" fmla="*/ 3634 h 36277"/>
                <a:gd name="connsiteX7" fmla="*/ 46099 w 54626"/>
                <a:gd name="connsiteY7" fmla="*/ 491 h 36277"/>
                <a:gd name="connsiteX8" fmla="*/ 38574 w 54626"/>
                <a:gd name="connsiteY8" fmla="*/ -80 h 36277"/>
                <a:gd name="connsiteX9" fmla="*/ 21238 w 54626"/>
                <a:gd name="connsiteY9" fmla="*/ 5730 h 36277"/>
                <a:gd name="connsiteX10" fmla="*/ 21238 w 54626"/>
                <a:gd name="connsiteY10" fmla="*/ 5730 h 36277"/>
                <a:gd name="connsiteX11" fmla="*/ 17809 w 54626"/>
                <a:gd name="connsiteY11" fmla="*/ 7730 h 36277"/>
                <a:gd name="connsiteX12" fmla="*/ 9522 w 54626"/>
                <a:gd name="connsiteY12" fmla="*/ 13540 h 36277"/>
                <a:gd name="connsiteX13" fmla="*/ 3141 w 54626"/>
                <a:gd name="connsiteY13" fmla="*/ 20684 h 36277"/>
                <a:gd name="connsiteX14" fmla="*/ 379 w 54626"/>
                <a:gd name="connsiteY14" fmla="*/ 27256 h 36277"/>
                <a:gd name="connsiteX15" fmla="*/ -288 w 54626"/>
                <a:gd name="connsiteY15" fmla="*/ 36115 h 36277"/>
                <a:gd name="connsiteX16" fmla="*/ 6855 w 54626"/>
                <a:gd name="connsiteY16" fmla="*/ 20970 h 36277"/>
                <a:gd name="connsiteX17" fmla="*/ 12380 w 54626"/>
                <a:gd name="connsiteY17" fmla="*/ 19446 h 36277"/>
                <a:gd name="connsiteX18" fmla="*/ 13047 w 54626"/>
                <a:gd name="connsiteY18" fmla="*/ 19446 h 36277"/>
                <a:gd name="connsiteX19" fmla="*/ 15428 w 54626"/>
                <a:gd name="connsiteY19" fmla="*/ 19446 h 36277"/>
                <a:gd name="connsiteX20" fmla="*/ 16666 w 54626"/>
                <a:gd name="connsiteY20" fmla="*/ 19446 h 36277"/>
                <a:gd name="connsiteX21" fmla="*/ 17428 w 54626"/>
                <a:gd name="connsiteY21" fmla="*/ 19446 h 36277"/>
                <a:gd name="connsiteX22" fmla="*/ 18095 w 54626"/>
                <a:gd name="connsiteY22" fmla="*/ 19446 h 36277"/>
                <a:gd name="connsiteX23" fmla="*/ 18857 w 54626"/>
                <a:gd name="connsiteY23" fmla="*/ 19446 h 36277"/>
                <a:gd name="connsiteX24" fmla="*/ 19619 w 54626"/>
                <a:gd name="connsiteY24" fmla="*/ 19446 h 36277"/>
                <a:gd name="connsiteX25" fmla="*/ 20571 w 54626"/>
                <a:gd name="connsiteY25" fmla="*/ 19446 h 36277"/>
                <a:gd name="connsiteX26" fmla="*/ 21524 w 54626"/>
                <a:gd name="connsiteY26" fmla="*/ 19446 h 36277"/>
                <a:gd name="connsiteX27" fmla="*/ 22191 w 54626"/>
                <a:gd name="connsiteY27" fmla="*/ 19446 h 36277"/>
                <a:gd name="connsiteX28" fmla="*/ 23905 w 54626"/>
                <a:gd name="connsiteY28" fmla="*/ 20303 h 36277"/>
                <a:gd name="connsiteX29" fmla="*/ 23905 w 54626"/>
                <a:gd name="connsiteY29" fmla="*/ 20303 h 36277"/>
                <a:gd name="connsiteX30" fmla="*/ 37621 w 54626"/>
                <a:gd name="connsiteY30" fmla="*/ 9826 h 36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54626" h="36277">
                  <a:moveTo>
                    <a:pt x="37621" y="9826"/>
                  </a:moveTo>
                  <a:lnTo>
                    <a:pt x="41050" y="7825"/>
                  </a:lnTo>
                  <a:lnTo>
                    <a:pt x="43622" y="6492"/>
                  </a:lnTo>
                  <a:cubicBezTo>
                    <a:pt x="44117" y="6130"/>
                    <a:pt x="44660" y="5844"/>
                    <a:pt x="45241" y="5635"/>
                  </a:cubicBezTo>
                  <a:cubicBezTo>
                    <a:pt x="46984" y="4806"/>
                    <a:pt x="48804" y="4139"/>
                    <a:pt x="50671" y="3634"/>
                  </a:cubicBezTo>
                  <a:lnTo>
                    <a:pt x="51147" y="3634"/>
                  </a:lnTo>
                  <a:lnTo>
                    <a:pt x="54290" y="3634"/>
                  </a:lnTo>
                  <a:cubicBezTo>
                    <a:pt x="51699" y="2244"/>
                    <a:pt x="48946" y="1196"/>
                    <a:pt x="46099" y="491"/>
                  </a:cubicBezTo>
                  <a:cubicBezTo>
                    <a:pt x="43641" y="-99"/>
                    <a:pt x="41098" y="-290"/>
                    <a:pt x="38574" y="-80"/>
                  </a:cubicBezTo>
                  <a:cubicBezTo>
                    <a:pt x="32440" y="567"/>
                    <a:pt x="26525" y="2549"/>
                    <a:pt x="21238" y="5730"/>
                  </a:cubicBezTo>
                  <a:lnTo>
                    <a:pt x="21238" y="5730"/>
                  </a:lnTo>
                  <a:lnTo>
                    <a:pt x="17809" y="7730"/>
                  </a:lnTo>
                  <a:cubicBezTo>
                    <a:pt x="14866" y="9397"/>
                    <a:pt x="12094" y="11340"/>
                    <a:pt x="9522" y="13540"/>
                  </a:cubicBezTo>
                  <a:cubicBezTo>
                    <a:pt x="7084" y="15626"/>
                    <a:pt x="4941" y="18027"/>
                    <a:pt x="3141" y="20684"/>
                  </a:cubicBezTo>
                  <a:cubicBezTo>
                    <a:pt x="1950" y="22751"/>
                    <a:pt x="1017" y="24961"/>
                    <a:pt x="379" y="27256"/>
                  </a:cubicBezTo>
                  <a:cubicBezTo>
                    <a:pt x="-117" y="30181"/>
                    <a:pt x="-345" y="33143"/>
                    <a:pt x="-288" y="36115"/>
                  </a:cubicBezTo>
                  <a:cubicBezTo>
                    <a:pt x="-736" y="30162"/>
                    <a:pt x="1969" y="24408"/>
                    <a:pt x="6855" y="20970"/>
                  </a:cubicBezTo>
                  <a:cubicBezTo>
                    <a:pt x="8551" y="20027"/>
                    <a:pt x="10447" y="19503"/>
                    <a:pt x="12380" y="19446"/>
                  </a:cubicBezTo>
                  <a:lnTo>
                    <a:pt x="13047" y="19446"/>
                  </a:lnTo>
                  <a:cubicBezTo>
                    <a:pt x="13837" y="19360"/>
                    <a:pt x="14638" y="19360"/>
                    <a:pt x="15428" y="19446"/>
                  </a:cubicBezTo>
                  <a:lnTo>
                    <a:pt x="16666" y="19446"/>
                  </a:lnTo>
                  <a:lnTo>
                    <a:pt x="17428" y="19446"/>
                  </a:lnTo>
                  <a:lnTo>
                    <a:pt x="18095" y="19446"/>
                  </a:lnTo>
                  <a:lnTo>
                    <a:pt x="18857" y="19446"/>
                  </a:lnTo>
                  <a:cubicBezTo>
                    <a:pt x="18857" y="19446"/>
                    <a:pt x="18857" y="19446"/>
                    <a:pt x="19619" y="19446"/>
                  </a:cubicBezTo>
                  <a:lnTo>
                    <a:pt x="20571" y="19446"/>
                  </a:lnTo>
                  <a:lnTo>
                    <a:pt x="21524" y="19446"/>
                  </a:lnTo>
                  <a:lnTo>
                    <a:pt x="22191" y="19446"/>
                  </a:lnTo>
                  <a:lnTo>
                    <a:pt x="23905" y="20303"/>
                  </a:lnTo>
                  <a:lnTo>
                    <a:pt x="23905" y="20303"/>
                  </a:lnTo>
                  <a:cubicBezTo>
                    <a:pt x="23620" y="20113"/>
                    <a:pt x="29906" y="14302"/>
                    <a:pt x="37621" y="9826"/>
                  </a:cubicBezTo>
                  <a:close/>
                </a:path>
              </a:pathLst>
            </a:custGeom>
            <a:solidFill>
              <a:srgbClr val="D9530B"/>
            </a:solidFill>
            <a:ln w="9525" cap="flat">
              <a:noFill/>
              <a:prstDash val="solid"/>
              <a:miter/>
            </a:ln>
          </p:spPr>
          <p:txBody>
            <a:bodyPr rtlCol="0" anchor="ctr"/>
            <a:lstStyle/>
            <a:p>
              <a:endParaRPr lang="zh-CN" altLang="en-US"/>
            </a:p>
          </p:txBody>
        </p:sp>
        <p:sp>
          <p:nvSpPr>
            <p:cNvPr id="804" name="ïṩ1íḋe">
              <a:extLst>
                <a:ext uri="{FF2B5EF4-FFF2-40B4-BE49-F238E27FC236}">
                  <a16:creationId xmlns:a16="http://schemas.microsoft.com/office/drawing/2014/main" id="{89BBFA73-B929-434E-8DAB-D73E5A956ADA}"/>
                </a:ext>
              </a:extLst>
            </p:cNvPr>
            <p:cNvSpPr/>
            <p:nvPr/>
          </p:nvSpPr>
          <p:spPr>
            <a:xfrm>
              <a:off x="5527630" y="1869668"/>
              <a:ext cx="1931250" cy="1119145"/>
            </a:xfrm>
            <a:custGeom>
              <a:avLst/>
              <a:gdLst>
                <a:gd name="connsiteX0" fmla="*/ 617265 w 634460"/>
                <a:gd name="connsiteY0" fmla="*/ 355025 h 367665"/>
                <a:gd name="connsiteX1" fmla="*/ 620694 w 634460"/>
                <a:gd name="connsiteY1" fmla="*/ 353024 h 367665"/>
                <a:gd name="connsiteX2" fmla="*/ 634124 w 634460"/>
                <a:gd name="connsiteY2" fmla="*/ 348738 h 367665"/>
                <a:gd name="connsiteX3" fmla="*/ 30525 w 634460"/>
                <a:gd name="connsiteY3" fmla="*/ -163 h 367665"/>
                <a:gd name="connsiteX4" fmla="*/ 27191 w 634460"/>
                <a:gd name="connsiteY4" fmla="*/ -163 h 367665"/>
                <a:gd name="connsiteX5" fmla="*/ 26715 w 634460"/>
                <a:gd name="connsiteY5" fmla="*/ -163 h 367665"/>
                <a:gd name="connsiteX6" fmla="*/ 21285 w 634460"/>
                <a:gd name="connsiteY6" fmla="*/ 1838 h 367665"/>
                <a:gd name="connsiteX7" fmla="*/ 19666 w 634460"/>
                <a:gd name="connsiteY7" fmla="*/ 2695 h 367665"/>
                <a:gd name="connsiteX8" fmla="*/ 17095 w 634460"/>
                <a:gd name="connsiteY8" fmla="*/ 4028 h 367665"/>
                <a:gd name="connsiteX9" fmla="*/ 13665 w 634460"/>
                <a:gd name="connsiteY9" fmla="*/ 6029 h 367665"/>
                <a:gd name="connsiteX10" fmla="*/ -336 w 634460"/>
                <a:gd name="connsiteY10" fmla="*/ 18983 h 367665"/>
                <a:gd name="connsiteX11" fmla="*/ 603263 w 634460"/>
                <a:gd name="connsiteY11" fmla="*/ 367502 h 367665"/>
                <a:gd name="connsiteX12" fmla="*/ 617265 w 634460"/>
                <a:gd name="connsiteY12" fmla="*/ 355025 h 3676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34460" h="367665">
                  <a:moveTo>
                    <a:pt x="617265" y="355025"/>
                  </a:moveTo>
                  <a:lnTo>
                    <a:pt x="620694" y="353024"/>
                  </a:lnTo>
                  <a:cubicBezTo>
                    <a:pt x="627075" y="349405"/>
                    <a:pt x="632409" y="347786"/>
                    <a:pt x="634124" y="348738"/>
                  </a:cubicBezTo>
                  <a:lnTo>
                    <a:pt x="30525" y="-163"/>
                  </a:lnTo>
                  <a:lnTo>
                    <a:pt x="27191" y="-163"/>
                  </a:lnTo>
                  <a:lnTo>
                    <a:pt x="26715" y="-163"/>
                  </a:lnTo>
                  <a:cubicBezTo>
                    <a:pt x="24848" y="342"/>
                    <a:pt x="23029" y="1009"/>
                    <a:pt x="21285" y="1838"/>
                  </a:cubicBezTo>
                  <a:cubicBezTo>
                    <a:pt x="20705" y="2047"/>
                    <a:pt x="20162" y="2333"/>
                    <a:pt x="19666" y="2695"/>
                  </a:cubicBezTo>
                  <a:lnTo>
                    <a:pt x="17095" y="4028"/>
                  </a:lnTo>
                  <a:lnTo>
                    <a:pt x="13665" y="6029"/>
                  </a:lnTo>
                  <a:cubicBezTo>
                    <a:pt x="5950" y="10505"/>
                    <a:pt x="-336" y="16316"/>
                    <a:pt x="-336" y="18983"/>
                  </a:cubicBezTo>
                  <a:lnTo>
                    <a:pt x="603263" y="367502"/>
                  </a:lnTo>
                  <a:cubicBezTo>
                    <a:pt x="603263" y="365312"/>
                    <a:pt x="609549" y="359501"/>
                    <a:pt x="617265" y="355025"/>
                  </a:cubicBezTo>
                  <a:close/>
                </a:path>
              </a:pathLst>
            </a:custGeom>
            <a:solidFill>
              <a:srgbClr val="FF7D33"/>
            </a:solidFill>
            <a:ln w="9525" cap="flat">
              <a:noFill/>
              <a:prstDash val="solid"/>
              <a:miter/>
            </a:ln>
          </p:spPr>
          <p:txBody>
            <a:bodyPr rtlCol="0" anchor="ctr"/>
            <a:lstStyle/>
            <a:p>
              <a:endParaRPr lang="zh-CN" altLang="en-US"/>
            </a:p>
          </p:txBody>
        </p:sp>
        <p:sp>
          <p:nvSpPr>
            <p:cNvPr id="805" name="i$ḻiďe">
              <a:extLst>
                <a:ext uri="{FF2B5EF4-FFF2-40B4-BE49-F238E27FC236}">
                  <a16:creationId xmlns:a16="http://schemas.microsoft.com/office/drawing/2014/main" id="{B21D6CF6-FFBE-41BF-9E8C-474C6E6F3B92}"/>
                </a:ext>
              </a:extLst>
            </p:cNvPr>
            <p:cNvSpPr/>
            <p:nvPr/>
          </p:nvSpPr>
          <p:spPr>
            <a:xfrm>
              <a:off x="7437716" y="3069702"/>
              <a:ext cx="97707" cy="1739361"/>
            </a:xfrm>
            <a:custGeom>
              <a:avLst/>
              <a:gdLst>
                <a:gd name="connsiteX0" fmla="*/ 18333 w 32099"/>
                <a:gd name="connsiteY0" fmla="*/ 564956 h 571420"/>
                <a:gd name="connsiteX1" fmla="*/ 21857 w 32099"/>
                <a:gd name="connsiteY1" fmla="*/ 562956 h 571420"/>
                <a:gd name="connsiteX2" fmla="*/ 24810 w 32099"/>
                <a:gd name="connsiteY2" fmla="*/ 561146 h 571420"/>
                <a:gd name="connsiteX3" fmla="*/ 25572 w 32099"/>
                <a:gd name="connsiteY3" fmla="*/ 560574 h 571420"/>
                <a:gd name="connsiteX4" fmla="*/ 25572 w 32099"/>
                <a:gd name="connsiteY4" fmla="*/ 560574 h 571420"/>
                <a:gd name="connsiteX5" fmla="*/ 26239 w 32099"/>
                <a:gd name="connsiteY5" fmla="*/ 560003 h 571420"/>
                <a:gd name="connsiteX6" fmla="*/ 28620 w 32099"/>
                <a:gd name="connsiteY6" fmla="*/ 558193 h 571420"/>
                <a:gd name="connsiteX7" fmla="*/ 29286 w 32099"/>
                <a:gd name="connsiteY7" fmla="*/ 557622 h 571420"/>
                <a:gd name="connsiteX8" fmla="*/ 29953 w 32099"/>
                <a:gd name="connsiteY8" fmla="*/ 556955 h 571420"/>
                <a:gd name="connsiteX9" fmla="*/ 29953 w 32099"/>
                <a:gd name="connsiteY9" fmla="*/ 556955 h 571420"/>
                <a:gd name="connsiteX10" fmla="*/ 30430 w 32099"/>
                <a:gd name="connsiteY10" fmla="*/ 556478 h 571420"/>
                <a:gd name="connsiteX11" fmla="*/ 30430 w 32099"/>
                <a:gd name="connsiteY11" fmla="*/ 556478 h 571420"/>
                <a:gd name="connsiteX12" fmla="*/ 31763 w 32099"/>
                <a:gd name="connsiteY12" fmla="*/ 554097 h 571420"/>
                <a:gd name="connsiteX13" fmla="*/ 31763 w 32099"/>
                <a:gd name="connsiteY13" fmla="*/ 554097 h 571420"/>
                <a:gd name="connsiteX14" fmla="*/ 31763 w 32099"/>
                <a:gd name="connsiteY14" fmla="*/ -163 h 571420"/>
                <a:gd name="connsiteX15" fmla="*/ 21285 w 32099"/>
                <a:gd name="connsiteY15" fmla="*/ 9362 h 571420"/>
                <a:gd name="connsiteX16" fmla="*/ 17856 w 32099"/>
                <a:gd name="connsiteY16" fmla="*/ 11363 h 571420"/>
                <a:gd name="connsiteX17" fmla="*/ -336 w 32099"/>
                <a:gd name="connsiteY17" fmla="*/ 16982 h 571420"/>
                <a:gd name="connsiteX18" fmla="*/ -336 w 32099"/>
                <a:gd name="connsiteY18" fmla="*/ 571147 h 571420"/>
                <a:gd name="connsiteX19" fmla="*/ -336 w 32099"/>
                <a:gd name="connsiteY19" fmla="*/ 571147 h 571420"/>
                <a:gd name="connsiteX20" fmla="*/ 18333 w 32099"/>
                <a:gd name="connsiteY20" fmla="*/ 564956 h 571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2099" h="571420">
                  <a:moveTo>
                    <a:pt x="18333" y="564956"/>
                  </a:moveTo>
                  <a:lnTo>
                    <a:pt x="21857" y="562956"/>
                  </a:lnTo>
                  <a:lnTo>
                    <a:pt x="24810" y="561146"/>
                  </a:lnTo>
                  <a:lnTo>
                    <a:pt x="25572" y="560574"/>
                  </a:lnTo>
                  <a:lnTo>
                    <a:pt x="25572" y="560574"/>
                  </a:lnTo>
                  <a:lnTo>
                    <a:pt x="26239" y="560003"/>
                  </a:lnTo>
                  <a:lnTo>
                    <a:pt x="28620" y="558193"/>
                  </a:lnTo>
                  <a:lnTo>
                    <a:pt x="29286" y="557622"/>
                  </a:lnTo>
                  <a:lnTo>
                    <a:pt x="29953" y="556955"/>
                  </a:lnTo>
                  <a:lnTo>
                    <a:pt x="29953" y="556955"/>
                  </a:lnTo>
                  <a:cubicBezTo>
                    <a:pt x="29953" y="556955"/>
                    <a:pt x="29953" y="556955"/>
                    <a:pt x="30430" y="556478"/>
                  </a:cubicBezTo>
                  <a:lnTo>
                    <a:pt x="30430" y="556478"/>
                  </a:lnTo>
                  <a:cubicBezTo>
                    <a:pt x="31087" y="555821"/>
                    <a:pt x="31544" y="555002"/>
                    <a:pt x="31763" y="554097"/>
                  </a:cubicBezTo>
                  <a:lnTo>
                    <a:pt x="31763" y="554097"/>
                  </a:lnTo>
                  <a:cubicBezTo>
                    <a:pt x="31763" y="321116"/>
                    <a:pt x="31763" y="232819"/>
                    <a:pt x="31763" y="-163"/>
                  </a:cubicBezTo>
                  <a:cubicBezTo>
                    <a:pt x="31763" y="1838"/>
                    <a:pt x="27667" y="5648"/>
                    <a:pt x="21285" y="9362"/>
                  </a:cubicBezTo>
                  <a:lnTo>
                    <a:pt x="17856" y="11363"/>
                  </a:lnTo>
                  <a:cubicBezTo>
                    <a:pt x="10046" y="15744"/>
                    <a:pt x="1950" y="18316"/>
                    <a:pt x="-336" y="16982"/>
                  </a:cubicBezTo>
                  <a:cubicBezTo>
                    <a:pt x="-336" y="249869"/>
                    <a:pt x="-336" y="338261"/>
                    <a:pt x="-336" y="571147"/>
                  </a:cubicBezTo>
                  <a:lnTo>
                    <a:pt x="-336" y="571147"/>
                  </a:lnTo>
                  <a:cubicBezTo>
                    <a:pt x="2331" y="571814"/>
                    <a:pt x="10713" y="569432"/>
                    <a:pt x="18333" y="564956"/>
                  </a:cubicBezTo>
                  <a:close/>
                </a:path>
              </a:pathLst>
            </a:custGeom>
            <a:solidFill>
              <a:srgbClr val="BF4200"/>
            </a:solidFill>
            <a:ln w="9525" cap="flat">
              <a:noFill/>
              <a:prstDash val="solid"/>
              <a:miter/>
            </a:ln>
          </p:spPr>
          <p:txBody>
            <a:bodyPr rtlCol="0" anchor="ctr"/>
            <a:lstStyle/>
            <a:p>
              <a:endParaRPr lang="zh-CN" altLang="en-US"/>
            </a:p>
          </p:txBody>
        </p:sp>
        <p:sp>
          <p:nvSpPr>
            <p:cNvPr id="806" name="îśľiḋe">
              <a:extLst>
                <a:ext uri="{FF2B5EF4-FFF2-40B4-BE49-F238E27FC236}">
                  <a16:creationId xmlns:a16="http://schemas.microsoft.com/office/drawing/2014/main" id="{9F780B28-95DD-4F56-8488-283BE4711079}"/>
                </a:ext>
              </a:extLst>
            </p:cNvPr>
            <p:cNvSpPr/>
            <p:nvPr/>
          </p:nvSpPr>
          <p:spPr>
            <a:xfrm>
              <a:off x="5452829" y="1919241"/>
              <a:ext cx="1985758" cy="2934488"/>
            </a:xfrm>
            <a:custGeom>
              <a:avLst/>
              <a:gdLst>
                <a:gd name="connsiteX0" fmla="*/ 6712 w 652367"/>
                <a:gd name="connsiteY0" fmla="*/ 593818 h 964047"/>
                <a:gd name="connsiteX1" fmla="*/ 22428 w 652367"/>
                <a:gd name="connsiteY1" fmla="*/ 611153 h 964047"/>
                <a:gd name="connsiteX2" fmla="*/ 24048 w 652367"/>
                <a:gd name="connsiteY2" fmla="*/ 612106 h 964047"/>
                <a:gd name="connsiteX3" fmla="*/ 627552 w 652367"/>
                <a:gd name="connsiteY3" fmla="*/ 960530 h 964047"/>
                <a:gd name="connsiteX4" fmla="*/ 652031 w 652367"/>
                <a:gd name="connsiteY4" fmla="*/ 946433 h 964047"/>
                <a:gd name="connsiteX5" fmla="*/ 652031 w 652367"/>
                <a:gd name="connsiteY5" fmla="*/ 393983 h 964047"/>
                <a:gd name="connsiteX6" fmla="*/ 652031 w 652367"/>
                <a:gd name="connsiteY6" fmla="*/ 392174 h 964047"/>
                <a:gd name="connsiteX7" fmla="*/ 644887 w 652367"/>
                <a:gd name="connsiteY7" fmla="*/ 369885 h 964047"/>
                <a:gd name="connsiteX8" fmla="*/ 627647 w 652367"/>
                <a:gd name="connsiteY8" fmla="*/ 351597 h 964047"/>
                <a:gd name="connsiteX9" fmla="*/ 24143 w 652367"/>
                <a:gd name="connsiteY9" fmla="*/ 3173 h 964047"/>
                <a:gd name="connsiteX10" fmla="*/ -336 w 652367"/>
                <a:gd name="connsiteY10" fmla="*/ 17365 h 964047"/>
                <a:gd name="connsiteX11" fmla="*/ -336 w 652367"/>
                <a:gd name="connsiteY11" fmla="*/ 569815 h 964047"/>
                <a:gd name="connsiteX12" fmla="*/ 6712 w 652367"/>
                <a:gd name="connsiteY12" fmla="*/ 593818 h 9640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2367" h="964047">
                  <a:moveTo>
                    <a:pt x="6712" y="593818"/>
                  </a:moveTo>
                  <a:cubicBezTo>
                    <a:pt x="10570" y="600714"/>
                    <a:pt x="15951" y="606639"/>
                    <a:pt x="22428" y="611153"/>
                  </a:cubicBezTo>
                  <a:lnTo>
                    <a:pt x="24048" y="612106"/>
                  </a:lnTo>
                  <a:lnTo>
                    <a:pt x="627552" y="960530"/>
                  </a:lnTo>
                  <a:cubicBezTo>
                    <a:pt x="641077" y="968341"/>
                    <a:pt x="652031" y="962054"/>
                    <a:pt x="652031" y="946433"/>
                  </a:cubicBezTo>
                  <a:lnTo>
                    <a:pt x="652031" y="393983"/>
                  </a:lnTo>
                  <a:cubicBezTo>
                    <a:pt x="651983" y="393383"/>
                    <a:pt x="651983" y="392774"/>
                    <a:pt x="652031" y="392174"/>
                  </a:cubicBezTo>
                  <a:cubicBezTo>
                    <a:pt x="651412" y="384287"/>
                    <a:pt x="648964" y="376657"/>
                    <a:pt x="644887" y="369885"/>
                  </a:cubicBezTo>
                  <a:cubicBezTo>
                    <a:pt x="640791" y="362418"/>
                    <a:pt x="634857" y="356122"/>
                    <a:pt x="627647" y="351597"/>
                  </a:cubicBezTo>
                  <a:lnTo>
                    <a:pt x="24143" y="3173"/>
                  </a:lnTo>
                  <a:cubicBezTo>
                    <a:pt x="10617" y="-4638"/>
                    <a:pt x="-336" y="1744"/>
                    <a:pt x="-336" y="17365"/>
                  </a:cubicBezTo>
                  <a:lnTo>
                    <a:pt x="-336" y="569815"/>
                  </a:lnTo>
                  <a:cubicBezTo>
                    <a:pt x="-89" y="578292"/>
                    <a:pt x="2340" y="586560"/>
                    <a:pt x="6712" y="593818"/>
                  </a:cubicBezTo>
                  <a:close/>
                </a:path>
              </a:pathLst>
            </a:custGeom>
            <a:solidFill>
              <a:srgbClr val="D9530B"/>
            </a:solidFill>
            <a:ln w="9525" cap="flat">
              <a:noFill/>
              <a:prstDash val="solid"/>
              <a:miter/>
            </a:ln>
          </p:spPr>
          <p:txBody>
            <a:bodyPr rtlCol="0" anchor="ctr"/>
            <a:lstStyle/>
            <a:p>
              <a:endParaRPr lang="zh-CN" altLang="en-US"/>
            </a:p>
          </p:txBody>
        </p:sp>
        <p:sp>
          <p:nvSpPr>
            <p:cNvPr id="807" name="ïš1îďe">
              <a:extLst>
                <a:ext uri="{FF2B5EF4-FFF2-40B4-BE49-F238E27FC236}">
                  <a16:creationId xmlns:a16="http://schemas.microsoft.com/office/drawing/2014/main" id="{8DCB870C-63AE-40BF-A678-4A1F4AF144D8}"/>
                </a:ext>
              </a:extLst>
            </p:cNvPr>
            <p:cNvSpPr/>
            <p:nvPr/>
          </p:nvSpPr>
          <p:spPr>
            <a:xfrm>
              <a:off x="5540969" y="2067691"/>
              <a:ext cx="1810348" cy="2427035"/>
            </a:xfrm>
            <a:custGeom>
              <a:avLst/>
              <a:gdLst>
                <a:gd name="connsiteX0" fmla="*/ 594741 w 594741"/>
                <a:gd name="connsiteY0" fmla="*/ 797338 h 797337"/>
                <a:gd name="connsiteX1" fmla="*/ 594741 w 594741"/>
                <a:gd name="connsiteY1" fmla="*/ 343376 h 797337"/>
                <a:gd name="connsiteX2" fmla="*/ 0 w 594741"/>
                <a:gd name="connsiteY2" fmla="*/ 0 h 797337"/>
                <a:gd name="connsiteX3" fmla="*/ 0 w 594741"/>
                <a:gd name="connsiteY3" fmla="*/ 453962 h 797337"/>
                <a:gd name="connsiteX4" fmla="*/ 594741 w 594741"/>
                <a:gd name="connsiteY4" fmla="*/ 797338 h 7973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4741" h="797337">
                  <a:moveTo>
                    <a:pt x="594741" y="797338"/>
                  </a:moveTo>
                  <a:lnTo>
                    <a:pt x="594741" y="343376"/>
                  </a:lnTo>
                  <a:lnTo>
                    <a:pt x="0" y="0"/>
                  </a:lnTo>
                  <a:lnTo>
                    <a:pt x="0" y="453962"/>
                  </a:lnTo>
                  <a:lnTo>
                    <a:pt x="594741" y="797338"/>
                  </a:lnTo>
                  <a:close/>
                </a:path>
              </a:pathLst>
            </a:custGeom>
            <a:solidFill>
              <a:srgbClr val="73A1FF"/>
            </a:solidFill>
            <a:ln w="9525" cap="flat">
              <a:noFill/>
              <a:prstDash val="solid"/>
              <a:miter/>
            </a:ln>
          </p:spPr>
          <p:txBody>
            <a:bodyPr rtlCol="0" anchor="ctr"/>
            <a:lstStyle/>
            <a:p>
              <a:endParaRPr lang="zh-CN" altLang="en-US"/>
            </a:p>
          </p:txBody>
        </p:sp>
        <p:sp>
          <p:nvSpPr>
            <p:cNvPr id="808" name="íş1iďè">
              <a:extLst>
                <a:ext uri="{FF2B5EF4-FFF2-40B4-BE49-F238E27FC236}">
                  <a16:creationId xmlns:a16="http://schemas.microsoft.com/office/drawing/2014/main" id="{CD7F518F-52F7-4056-8576-9F82939D0A0C}"/>
                </a:ext>
              </a:extLst>
            </p:cNvPr>
            <p:cNvSpPr/>
            <p:nvPr/>
          </p:nvSpPr>
          <p:spPr>
            <a:xfrm>
              <a:off x="6426426" y="2495140"/>
              <a:ext cx="39720" cy="50864"/>
            </a:xfrm>
            <a:custGeom>
              <a:avLst/>
              <a:gdLst>
                <a:gd name="connsiteX0" fmla="*/ 6236 w 13049"/>
                <a:gd name="connsiteY0" fmla="*/ 15716 h 16710"/>
                <a:gd name="connsiteX1" fmla="*/ 12713 w 13049"/>
                <a:gd name="connsiteY1" fmla="*/ 12002 h 16710"/>
                <a:gd name="connsiteX2" fmla="*/ 6236 w 13049"/>
                <a:gd name="connsiteY2" fmla="*/ 667 h 16710"/>
                <a:gd name="connsiteX3" fmla="*/ -336 w 13049"/>
                <a:gd name="connsiteY3" fmla="*/ 4477 h 16710"/>
                <a:gd name="connsiteX4" fmla="*/ 6236 w 13049"/>
                <a:gd name="connsiteY4" fmla="*/ 15716 h 167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49" h="16710">
                  <a:moveTo>
                    <a:pt x="6236" y="15716"/>
                  </a:moveTo>
                  <a:cubicBezTo>
                    <a:pt x="9760" y="17812"/>
                    <a:pt x="12713" y="15716"/>
                    <a:pt x="12713" y="12002"/>
                  </a:cubicBezTo>
                  <a:cubicBezTo>
                    <a:pt x="12446" y="7420"/>
                    <a:pt x="10046" y="3220"/>
                    <a:pt x="6236" y="667"/>
                  </a:cubicBezTo>
                  <a:cubicBezTo>
                    <a:pt x="2616" y="-1429"/>
                    <a:pt x="-336" y="667"/>
                    <a:pt x="-336" y="4477"/>
                  </a:cubicBezTo>
                  <a:cubicBezTo>
                    <a:pt x="-51" y="9049"/>
                    <a:pt x="2388" y="13221"/>
                    <a:pt x="6236" y="15716"/>
                  </a:cubicBezTo>
                  <a:close/>
                </a:path>
              </a:pathLst>
            </a:custGeom>
            <a:solidFill>
              <a:srgbClr val="BF4200"/>
            </a:solidFill>
            <a:ln w="9525" cap="flat">
              <a:noFill/>
              <a:prstDash val="solid"/>
              <a:miter/>
            </a:ln>
          </p:spPr>
          <p:txBody>
            <a:bodyPr rtlCol="0" anchor="ctr"/>
            <a:lstStyle/>
            <a:p>
              <a:endParaRPr lang="zh-CN" altLang="en-US"/>
            </a:p>
          </p:txBody>
        </p:sp>
        <p:sp>
          <p:nvSpPr>
            <p:cNvPr id="809" name="íṣḻïḑé">
              <a:extLst>
                <a:ext uri="{FF2B5EF4-FFF2-40B4-BE49-F238E27FC236}">
                  <a16:creationId xmlns:a16="http://schemas.microsoft.com/office/drawing/2014/main" id="{94F9CDCC-7441-4F07-9AE0-41224977642F}"/>
                </a:ext>
              </a:extLst>
            </p:cNvPr>
            <p:cNvSpPr/>
            <p:nvPr/>
          </p:nvSpPr>
          <p:spPr>
            <a:xfrm>
              <a:off x="6433966" y="2504747"/>
              <a:ext cx="24644" cy="31642"/>
            </a:xfrm>
            <a:custGeom>
              <a:avLst/>
              <a:gdLst>
                <a:gd name="connsiteX0" fmla="*/ 3759 w 8096"/>
                <a:gd name="connsiteY0" fmla="*/ 9703 h 10395"/>
                <a:gd name="connsiteX1" fmla="*/ 7760 w 8096"/>
                <a:gd name="connsiteY1" fmla="*/ 7416 h 10395"/>
                <a:gd name="connsiteX2" fmla="*/ 3759 w 8096"/>
                <a:gd name="connsiteY2" fmla="*/ 368 h 10395"/>
                <a:gd name="connsiteX3" fmla="*/ -336 w 8096"/>
                <a:gd name="connsiteY3" fmla="*/ 2654 h 10395"/>
                <a:gd name="connsiteX4" fmla="*/ 3759 w 8096"/>
                <a:gd name="connsiteY4" fmla="*/ 9703 h 103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96" h="10395">
                  <a:moveTo>
                    <a:pt x="3759" y="9703"/>
                  </a:moveTo>
                  <a:cubicBezTo>
                    <a:pt x="5950" y="11036"/>
                    <a:pt x="7760" y="9703"/>
                    <a:pt x="7760" y="7416"/>
                  </a:cubicBezTo>
                  <a:cubicBezTo>
                    <a:pt x="7645" y="4559"/>
                    <a:pt x="6150" y="1930"/>
                    <a:pt x="3759" y="368"/>
                  </a:cubicBezTo>
                  <a:cubicBezTo>
                    <a:pt x="1473" y="-965"/>
                    <a:pt x="-336" y="368"/>
                    <a:pt x="-336" y="2654"/>
                  </a:cubicBezTo>
                  <a:cubicBezTo>
                    <a:pt x="-213" y="5531"/>
                    <a:pt x="1321" y="8169"/>
                    <a:pt x="3759" y="9703"/>
                  </a:cubicBezTo>
                  <a:close/>
                </a:path>
              </a:pathLst>
            </a:custGeom>
            <a:solidFill>
              <a:srgbClr val="171A42"/>
            </a:solidFill>
            <a:ln w="9525" cap="flat">
              <a:noFill/>
              <a:prstDash val="solid"/>
              <a:miter/>
            </a:ln>
          </p:spPr>
          <p:txBody>
            <a:bodyPr rtlCol="0" anchor="ctr"/>
            <a:lstStyle/>
            <a:p>
              <a:endParaRPr lang="zh-CN" altLang="en-US"/>
            </a:p>
          </p:txBody>
        </p:sp>
        <p:sp>
          <p:nvSpPr>
            <p:cNvPr id="810" name="îṩľíďè">
              <a:extLst>
                <a:ext uri="{FF2B5EF4-FFF2-40B4-BE49-F238E27FC236}">
                  <a16:creationId xmlns:a16="http://schemas.microsoft.com/office/drawing/2014/main" id="{D0AD837C-F765-4C26-9E57-9EBF73F4055D}"/>
                </a:ext>
              </a:extLst>
            </p:cNvPr>
            <p:cNvSpPr/>
            <p:nvPr/>
          </p:nvSpPr>
          <p:spPr>
            <a:xfrm>
              <a:off x="5453100" y="1919957"/>
              <a:ext cx="1987164" cy="2935252"/>
            </a:xfrm>
            <a:custGeom>
              <a:avLst/>
              <a:gdLst>
                <a:gd name="connsiteX0" fmla="*/ 9005 w 652829"/>
                <a:gd name="connsiteY0" fmla="*/ 4938 h 964298"/>
                <a:gd name="connsiteX1" fmla="*/ 25388 w 652829"/>
                <a:gd name="connsiteY1" fmla="*/ 6557 h 964298"/>
                <a:gd name="connsiteX2" fmla="*/ 628891 w 652829"/>
                <a:gd name="connsiteY2" fmla="*/ 354791 h 964298"/>
                <a:gd name="connsiteX3" fmla="*/ 643846 w 652829"/>
                <a:gd name="connsiteY3" fmla="*/ 370222 h 964298"/>
                <a:gd name="connsiteX4" fmla="*/ 649751 w 652829"/>
                <a:gd name="connsiteY4" fmla="*/ 389272 h 964298"/>
                <a:gd name="connsiteX5" fmla="*/ 649751 w 652829"/>
                <a:gd name="connsiteY5" fmla="*/ 943246 h 964298"/>
                <a:gd name="connsiteX6" fmla="*/ 642893 w 652829"/>
                <a:gd name="connsiteY6" fmla="*/ 958295 h 964298"/>
                <a:gd name="connsiteX7" fmla="*/ 626510 w 652829"/>
                <a:gd name="connsiteY7" fmla="*/ 956676 h 964298"/>
                <a:gd name="connsiteX8" fmla="*/ 23006 w 652829"/>
                <a:gd name="connsiteY8" fmla="*/ 608251 h 964298"/>
                <a:gd name="connsiteX9" fmla="*/ 21578 w 652829"/>
                <a:gd name="connsiteY9" fmla="*/ 607394 h 964298"/>
                <a:gd name="connsiteX10" fmla="*/ 8147 w 652829"/>
                <a:gd name="connsiteY10" fmla="*/ 592821 h 964298"/>
                <a:gd name="connsiteX11" fmla="*/ 2147 w 652829"/>
                <a:gd name="connsiteY11" fmla="*/ 572152 h 964298"/>
                <a:gd name="connsiteX12" fmla="*/ 2147 w 652829"/>
                <a:gd name="connsiteY12" fmla="*/ 19702 h 964298"/>
                <a:gd name="connsiteX13" fmla="*/ 9005 w 652829"/>
                <a:gd name="connsiteY13" fmla="*/ 4652 h 964298"/>
                <a:gd name="connsiteX14" fmla="*/ 6909 w 652829"/>
                <a:gd name="connsiteY14" fmla="*/ 1318 h 964298"/>
                <a:gd name="connsiteX15" fmla="*/ -235 w 652829"/>
                <a:gd name="connsiteY15" fmla="*/ 17225 h 964298"/>
                <a:gd name="connsiteX16" fmla="*/ -235 w 652829"/>
                <a:gd name="connsiteY16" fmla="*/ 569675 h 964298"/>
                <a:gd name="connsiteX17" fmla="*/ 6909 w 652829"/>
                <a:gd name="connsiteY17" fmla="*/ 593773 h 964298"/>
                <a:gd name="connsiteX18" fmla="*/ 22625 w 652829"/>
                <a:gd name="connsiteY18" fmla="*/ 611109 h 964298"/>
                <a:gd name="connsiteX19" fmla="*/ 24245 w 652829"/>
                <a:gd name="connsiteY19" fmla="*/ 612061 h 964298"/>
                <a:gd name="connsiteX20" fmla="*/ 627748 w 652829"/>
                <a:gd name="connsiteY20" fmla="*/ 960486 h 964298"/>
                <a:gd name="connsiteX21" fmla="*/ 648846 w 652829"/>
                <a:gd name="connsiteY21" fmla="*/ 958971 h 964298"/>
                <a:gd name="connsiteX22" fmla="*/ 652228 w 652829"/>
                <a:gd name="connsiteY22" fmla="*/ 946389 h 964298"/>
                <a:gd name="connsiteX23" fmla="*/ 652228 w 652829"/>
                <a:gd name="connsiteY23" fmla="*/ 393939 h 964298"/>
                <a:gd name="connsiteX24" fmla="*/ 652228 w 652829"/>
                <a:gd name="connsiteY24" fmla="*/ 392129 h 964298"/>
                <a:gd name="connsiteX25" fmla="*/ 645084 w 652829"/>
                <a:gd name="connsiteY25" fmla="*/ 369841 h 964298"/>
                <a:gd name="connsiteX26" fmla="*/ 627844 w 652829"/>
                <a:gd name="connsiteY26" fmla="*/ 351553 h 964298"/>
                <a:gd name="connsiteX27" fmla="*/ 24340 w 652829"/>
                <a:gd name="connsiteY27" fmla="*/ 3128 h 964298"/>
                <a:gd name="connsiteX28" fmla="*/ 7004 w 652829"/>
                <a:gd name="connsiteY28" fmla="*/ 1414 h 964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652829" h="964298">
                  <a:moveTo>
                    <a:pt x="9005" y="4938"/>
                  </a:moveTo>
                  <a:cubicBezTo>
                    <a:pt x="14367" y="2519"/>
                    <a:pt x="20606" y="3128"/>
                    <a:pt x="25388" y="6557"/>
                  </a:cubicBezTo>
                  <a:lnTo>
                    <a:pt x="628891" y="354791"/>
                  </a:lnTo>
                  <a:cubicBezTo>
                    <a:pt x="635102" y="358592"/>
                    <a:pt x="640245" y="363897"/>
                    <a:pt x="643846" y="370222"/>
                  </a:cubicBezTo>
                  <a:cubicBezTo>
                    <a:pt x="647208" y="376051"/>
                    <a:pt x="649227" y="382566"/>
                    <a:pt x="649751" y="389272"/>
                  </a:cubicBezTo>
                  <a:lnTo>
                    <a:pt x="649751" y="943246"/>
                  </a:lnTo>
                  <a:cubicBezTo>
                    <a:pt x="650370" y="949132"/>
                    <a:pt x="647741" y="954895"/>
                    <a:pt x="642893" y="958295"/>
                  </a:cubicBezTo>
                  <a:cubicBezTo>
                    <a:pt x="637550" y="960800"/>
                    <a:pt x="631263" y="960181"/>
                    <a:pt x="626510" y="956676"/>
                  </a:cubicBezTo>
                  <a:lnTo>
                    <a:pt x="23006" y="608251"/>
                  </a:lnTo>
                  <a:lnTo>
                    <a:pt x="21578" y="607394"/>
                  </a:lnTo>
                  <a:cubicBezTo>
                    <a:pt x="16034" y="603641"/>
                    <a:pt x="11433" y="598650"/>
                    <a:pt x="8147" y="592821"/>
                  </a:cubicBezTo>
                  <a:cubicBezTo>
                    <a:pt x="4375" y="586573"/>
                    <a:pt x="2308" y="579448"/>
                    <a:pt x="2147" y="572152"/>
                  </a:cubicBezTo>
                  <a:lnTo>
                    <a:pt x="2147" y="19702"/>
                  </a:lnTo>
                  <a:cubicBezTo>
                    <a:pt x="1565" y="13815"/>
                    <a:pt x="4185" y="8072"/>
                    <a:pt x="9005" y="4652"/>
                  </a:cubicBezTo>
                  <a:close/>
                  <a:moveTo>
                    <a:pt x="6909" y="1318"/>
                  </a:moveTo>
                  <a:cubicBezTo>
                    <a:pt x="1823" y="4938"/>
                    <a:pt x="-911" y="11024"/>
                    <a:pt x="-235" y="17225"/>
                  </a:cubicBezTo>
                  <a:lnTo>
                    <a:pt x="-235" y="569675"/>
                  </a:lnTo>
                  <a:cubicBezTo>
                    <a:pt x="23" y="578191"/>
                    <a:pt x="2480" y="586496"/>
                    <a:pt x="6909" y="593773"/>
                  </a:cubicBezTo>
                  <a:cubicBezTo>
                    <a:pt x="10767" y="600670"/>
                    <a:pt x="16148" y="606594"/>
                    <a:pt x="22625" y="611109"/>
                  </a:cubicBezTo>
                  <a:lnTo>
                    <a:pt x="24245" y="612061"/>
                  </a:lnTo>
                  <a:lnTo>
                    <a:pt x="627748" y="960486"/>
                  </a:lnTo>
                  <a:cubicBezTo>
                    <a:pt x="633997" y="965896"/>
                    <a:pt x="643436" y="965210"/>
                    <a:pt x="648846" y="958971"/>
                  </a:cubicBezTo>
                  <a:cubicBezTo>
                    <a:pt x="651837" y="955514"/>
                    <a:pt x="653085" y="950875"/>
                    <a:pt x="652228" y="946389"/>
                  </a:cubicBezTo>
                  <a:lnTo>
                    <a:pt x="652228" y="393939"/>
                  </a:lnTo>
                  <a:cubicBezTo>
                    <a:pt x="652180" y="393339"/>
                    <a:pt x="652180" y="392729"/>
                    <a:pt x="652228" y="392129"/>
                  </a:cubicBezTo>
                  <a:cubicBezTo>
                    <a:pt x="651609" y="384242"/>
                    <a:pt x="649161" y="376613"/>
                    <a:pt x="645084" y="369841"/>
                  </a:cubicBezTo>
                  <a:cubicBezTo>
                    <a:pt x="640988" y="362373"/>
                    <a:pt x="635054" y="356077"/>
                    <a:pt x="627844" y="351553"/>
                  </a:cubicBezTo>
                  <a:lnTo>
                    <a:pt x="24340" y="3128"/>
                  </a:lnTo>
                  <a:cubicBezTo>
                    <a:pt x="19291" y="-539"/>
                    <a:pt x="12672" y="-1187"/>
                    <a:pt x="7004" y="1414"/>
                  </a:cubicBezTo>
                  <a:close/>
                </a:path>
              </a:pathLst>
            </a:custGeom>
            <a:solidFill>
              <a:srgbClr val="D1D9E8"/>
            </a:solidFill>
            <a:ln w="9525" cap="flat">
              <a:noFill/>
              <a:prstDash val="solid"/>
              <a:miter/>
            </a:ln>
          </p:spPr>
          <p:txBody>
            <a:bodyPr rtlCol="0" anchor="ctr"/>
            <a:lstStyle/>
            <a:p>
              <a:endParaRPr lang="zh-CN" altLang="en-US"/>
            </a:p>
          </p:txBody>
        </p:sp>
        <p:sp>
          <p:nvSpPr>
            <p:cNvPr id="811" name="ïṥḻíḍê">
              <a:extLst>
                <a:ext uri="{FF2B5EF4-FFF2-40B4-BE49-F238E27FC236}">
                  <a16:creationId xmlns:a16="http://schemas.microsoft.com/office/drawing/2014/main" id="{E579A483-10B4-42DB-9C39-A74477E3BE2E}"/>
                </a:ext>
              </a:extLst>
            </p:cNvPr>
            <p:cNvSpPr/>
            <p:nvPr/>
          </p:nvSpPr>
          <p:spPr>
            <a:xfrm>
              <a:off x="5541258" y="2067694"/>
              <a:ext cx="1810348" cy="2425586"/>
            </a:xfrm>
            <a:custGeom>
              <a:avLst/>
              <a:gdLst>
                <a:gd name="connsiteX0" fmla="*/ 2045 w 594741"/>
                <a:gd name="connsiteY0" fmla="*/ 4028 h 796861"/>
                <a:gd name="connsiteX1" fmla="*/ 591928 w 594741"/>
                <a:gd name="connsiteY1" fmla="*/ 344357 h 796861"/>
                <a:gd name="connsiteX2" fmla="*/ 591928 w 594741"/>
                <a:gd name="connsiteY2" fmla="*/ 792984 h 796861"/>
                <a:gd name="connsiteX3" fmla="*/ 2045 w 594741"/>
                <a:gd name="connsiteY3" fmla="*/ 452370 h 796861"/>
                <a:gd name="connsiteX4" fmla="*/ 2045 w 594741"/>
                <a:gd name="connsiteY4" fmla="*/ 4028 h 796861"/>
                <a:gd name="connsiteX5" fmla="*/ -336 w 594741"/>
                <a:gd name="connsiteY5" fmla="*/ -163 h 796861"/>
                <a:gd name="connsiteX6" fmla="*/ -336 w 594741"/>
                <a:gd name="connsiteY6" fmla="*/ 453799 h 796861"/>
                <a:gd name="connsiteX7" fmla="*/ 594405 w 594741"/>
                <a:gd name="connsiteY7" fmla="*/ 796699 h 796861"/>
                <a:gd name="connsiteX8" fmla="*/ 594405 w 594741"/>
                <a:gd name="connsiteY8" fmla="*/ 343214 h 796861"/>
                <a:gd name="connsiteX9" fmla="*/ -336 w 594741"/>
                <a:gd name="connsiteY9" fmla="*/ 314 h 796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94741" h="796861">
                  <a:moveTo>
                    <a:pt x="2045" y="4028"/>
                  </a:moveTo>
                  <a:lnTo>
                    <a:pt x="591928" y="344357"/>
                  </a:lnTo>
                  <a:lnTo>
                    <a:pt x="591928" y="792984"/>
                  </a:lnTo>
                  <a:lnTo>
                    <a:pt x="2045" y="452370"/>
                  </a:lnTo>
                  <a:lnTo>
                    <a:pt x="2045" y="4028"/>
                  </a:lnTo>
                  <a:close/>
                  <a:moveTo>
                    <a:pt x="-336" y="-163"/>
                  </a:moveTo>
                  <a:lnTo>
                    <a:pt x="-336" y="453799"/>
                  </a:lnTo>
                  <a:lnTo>
                    <a:pt x="594405" y="796699"/>
                  </a:lnTo>
                  <a:lnTo>
                    <a:pt x="594405" y="343214"/>
                  </a:lnTo>
                  <a:lnTo>
                    <a:pt x="-336" y="314"/>
                  </a:lnTo>
                  <a:close/>
                </a:path>
              </a:pathLst>
            </a:custGeom>
            <a:solidFill>
              <a:srgbClr val="316DE6"/>
            </a:solidFill>
            <a:ln w="9525" cap="flat">
              <a:noFill/>
              <a:prstDash val="solid"/>
              <a:miter/>
            </a:ln>
          </p:spPr>
          <p:txBody>
            <a:bodyPr rtlCol="0" anchor="ctr"/>
            <a:lstStyle/>
            <a:p>
              <a:endParaRPr lang="zh-CN" altLang="en-US"/>
            </a:p>
          </p:txBody>
        </p:sp>
        <p:sp>
          <p:nvSpPr>
            <p:cNvPr id="812" name="ïsľïḍe">
              <a:extLst>
                <a:ext uri="{FF2B5EF4-FFF2-40B4-BE49-F238E27FC236}">
                  <a16:creationId xmlns:a16="http://schemas.microsoft.com/office/drawing/2014/main" id="{F6936D73-B50B-46E0-9433-3B94B076AC93}"/>
                </a:ext>
              </a:extLst>
            </p:cNvPr>
            <p:cNvSpPr/>
            <p:nvPr/>
          </p:nvSpPr>
          <p:spPr>
            <a:xfrm>
              <a:off x="6693165" y="2844613"/>
              <a:ext cx="510479" cy="888747"/>
            </a:xfrm>
            <a:custGeom>
              <a:avLst/>
              <a:gdLst>
                <a:gd name="connsiteX0" fmla="*/ 167304 w 167704"/>
                <a:gd name="connsiteY0" fmla="*/ 111504 h 291974"/>
                <a:gd name="connsiteX1" fmla="*/ 167304 w 167704"/>
                <a:gd name="connsiteY1" fmla="*/ 268380 h 291974"/>
                <a:gd name="connsiteX2" fmla="*/ 160636 w 167704"/>
                <a:gd name="connsiteY2" fmla="*/ 284478 h 291974"/>
                <a:gd name="connsiteX3" fmla="*/ 158636 w 167704"/>
                <a:gd name="connsiteY3" fmla="*/ 285621 h 291974"/>
                <a:gd name="connsiteX4" fmla="*/ 147873 w 167704"/>
                <a:gd name="connsiteY4" fmla="*/ 291812 h 291974"/>
                <a:gd name="connsiteX5" fmla="*/ 152159 w 167704"/>
                <a:gd name="connsiteY5" fmla="*/ 286668 h 291974"/>
                <a:gd name="connsiteX6" fmla="*/ 154445 w 167704"/>
                <a:gd name="connsiteY6" fmla="*/ 275810 h 291974"/>
                <a:gd name="connsiteX7" fmla="*/ 154445 w 167704"/>
                <a:gd name="connsiteY7" fmla="*/ 118933 h 291974"/>
                <a:gd name="connsiteX8" fmla="*/ 152254 w 167704"/>
                <a:gd name="connsiteY8" fmla="*/ 105693 h 291974"/>
                <a:gd name="connsiteX9" fmla="*/ 128823 w 167704"/>
                <a:gd name="connsiteY9" fmla="*/ 74451 h 291974"/>
                <a:gd name="connsiteX10" fmla="*/ 17761 w 167704"/>
                <a:gd name="connsiteY10" fmla="*/ 10443 h 291974"/>
                <a:gd name="connsiteX11" fmla="*/ 7188 w 167704"/>
                <a:gd name="connsiteY11" fmla="*/ 6919 h 291974"/>
                <a:gd name="connsiteX12" fmla="*/ -336 w 167704"/>
                <a:gd name="connsiteY12" fmla="*/ 8634 h 291974"/>
                <a:gd name="connsiteX13" fmla="*/ 12046 w 167704"/>
                <a:gd name="connsiteY13" fmla="*/ 1490 h 291974"/>
                <a:gd name="connsiteX14" fmla="*/ 12046 w 167704"/>
                <a:gd name="connsiteY14" fmla="*/ 1490 h 291974"/>
                <a:gd name="connsiteX15" fmla="*/ 30239 w 167704"/>
                <a:gd name="connsiteY15" fmla="*/ 3300 h 291974"/>
                <a:gd name="connsiteX16" fmla="*/ 141205 w 167704"/>
                <a:gd name="connsiteY16" fmla="*/ 67403 h 291974"/>
                <a:gd name="connsiteX17" fmla="*/ 167304 w 167704"/>
                <a:gd name="connsiteY17" fmla="*/ 111504 h 2919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67704" h="291974">
                  <a:moveTo>
                    <a:pt x="167304" y="111504"/>
                  </a:moveTo>
                  <a:lnTo>
                    <a:pt x="167304" y="268380"/>
                  </a:lnTo>
                  <a:cubicBezTo>
                    <a:pt x="167808" y="274505"/>
                    <a:pt x="165322" y="280506"/>
                    <a:pt x="160636" y="284478"/>
                  </a:cubicBezTo>
                  <a:lnTo>
                    <a:pt x="158636" y="285621"/>
                  </a:lnTo>
                  <a:lnTo>
                    <a:pt x="147873" y="291812"/>
                  </a:lnTo>
                  <a:cubicBezTo>
                    <a:pt x="149711" y="290488"/>
                    <a:pt x="151187" y="288716"/>
                    <a:pt x="152159" y="286668"/>
                  </a:cubicBezTo>
                  <a:cubicBezTo>
                    <a:pt x="153797" y="283287"/>
                    <a:pt x="154578" y="279563"/>
                    <a:pt x="154445" y="275810"/>
                  </a:cubicBezTo>
                  <a:lnTo>
                    <a:pt x="154445" y="118933"/>
                  </a:lnTo>
                  <a:cubicBezTo>
                    <a:pt x="154397" y="114437"/>
                    <a:pt x="153664" y="109970"/>
                    <a:pt x="152254" y="105693"/>
                  </a:cubicBezTo>
                  <a:cubicBezTo>
                    <a:pt x="148358" y="92854"/>
                    <a:pt x="140062" y="81795"/>
                    <a:pt x="128823" y="74451"/>
                  </a:cubicBezTo>
                  <a:lnTo>
                    <a:pt x="17761" y="10443"/>
                  </a:lnTo>
                  <a:cubicBezTo>
                    <a:pt x="14561" y="8453"/>
                    <a:pt x="10941" y="7243"/>
                    <a:pt x="7188" y="6919"/>
                  </a:cubicBezTo>
                  <a:cubicBezTo>
                    <a:pt x="4569" y="6776"/>
                    <a:pt x="1959" y="7367"/>
                    <a:pt x="-336" y="8634"/>
                  </a:cubicBezTo>
                  <a:lnTo>
                    <a:pt x="12046" y="1490"/>
                  </a:lnTo>
                  <a:lnTo>
                    <a:pt x="12046" y="1490"/>
                  </a:lnTo>
                  <a:cubicBezTo>
                    <a:pt x="17990" y="-1244"/>
                    <a:pt x="24943" y="-549"/>
                    <a:pt x="30239" y="3300"/>
                  </a:cubicBezTo>
                  <a:lnTo>
                    <a:pt x="141205" y="67403"/>
                  </a:lnTo>
                  <a:cubicBezTo>
                    <a:pt x="156455" y="77080"/>
                    <a:pt x="166160" y="93473"/>
                    <a:pt x="167304" y="111504"/>
                  </a:cubicBezTo>
                  <a:close/>
                </a:path>
              </a:pathLst>
            </a:custGeom>
            <a:solidFill>
              <a:srgbClr val="D9530B"/>
            </a:solidFill>
            <a:ln w="9525" cap="flat">
              <a:noFill/>
              <a:prstDash val="solid"/>
              <a:miter/>
            </a:ln>
          </p:spPr>
          <p:txBody>
            <a:bodyPr rtlCol="0" anchor="ctr"/>
            <a:lstStyle/>
            <a:p>
              <a:endParaRPr lang="zh-CN" altLang="en-US"/>
            </a:p>
          </p:txBody>
        </p:sp>
        <p:sp>
          <p:nvSpPr>
            <p:cNvPr id="813" name="i$ļïďè">
              <a:extLst>
                <a:ext uri="{FF2B5EF4-FFF2-40B4-BE49-F238E27FC236}">
                  <a16:creationId xmlns:a16="http://schemas.microsoft.com/office/drawing/2014/main" id="{C4EB154B-4ED8-49ED-9D91-578475FE1BE5}"/>
                </a:ext>
              </a:extLst>
            </p:cNvPr>
            <p:cNvSpPr/>
            <p:nvPr/>
          </p:nvSpPr>
          <p:spPr>
            <a:xfrm>
              <a:off x="6669977" y="2868426"/>
              <a:ext cx="494331" cy="347114"/>
            </a:xfrm>
            <a:custGeom>
              <a:avLst/>
              <a:gdLst>
                <a:gd name="connsiteX0" fmla="*/ 162063 w 162399"/>
                <a:gd name="connsiteY0" fmla="*/ 111110 h 114035"/>
                <a:gd name="connsiteX1" fmla="*/ 162063 w 162399"/>
                <a:gd name="connsiteY1" fmla="*/ 113873 h 114035"/>
                <a:gd name="connsiteX2" fmla="*/ 12616 w 162399"/>
                <a:gd name="connsiteY2" fmla="*/ 28148 h 114035"/>
                <a:gd name="connsiteX3" fmla="*/ -243 w 162399"/>
                <a:gd name="connsiteY3" fmla="*/ 20718 h 114035"/>
                <a:gd name="connsiteX4" fmla="*/ -243 w 162399"/>
                <a:gd name="connsiteY4" fmla="*/ 17861 h 114035"/>
                <a:gd name="connsiteX5" fmla="*/ 6805 w 162399"/>
                <a:gd name="connsiteY5" fmla="*/ 1573 h 114035"/>
                <a:gd name="connsiteX6" fmla="*/ 7282 w 162399"/>
                <a:gd name="connsiteY6" fmla="*/ 1573 h 114035"/>
                <a:gd name="connsiteX7" fmla="*/ 14806 w 162399"/>
                <a:gd name="connsiteY7" fmla="*/ -142 h 114035"/>
                <a:gd name="connsiteX8" fmla="*/ 25379 w 162399"/>
                <a:gd name="connsiteY8" fmla="*/ 3383 h 114035"/>
                <a:gd name="connsiteX9" fmla="*/ 136441 w 162399"/>
                <a:gd name="connsiteY9" fmla="*/ 67391 h 114035"/>
                <a:gd name="connsiteX10" fmla="*/ 159872 w 162399"/>
                <a:gd name="connsiteY10" fmla="*/ 98633 h 114035"/>
                <a:gd name="connsiteX11" fmla="*/ 162063 w 162399"/>
                <a:gd name="connsiteY11" fmla="*/ 111110 h 1140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2399" h="114035">
                  <a:moveTo>
                    <a:pt x="162063" y="111110"/>
                  </a:moveTo>
                  <a:lnTo>
                    <a:pt x="162063" y="113873"/>
                  </a:lnTo>
                  <a:lnTo>
                    <a:pt x="12616" y="28148"/>
                  </a:lnTo>
                  <a:lnTo>
                    <a:pt x="-243" y="20718"/>
                  </a:lnTo>
                  <a:lnTo>
                    <a:pt x="-243" y="17861"/>
                  </a:lnTo>
                  <a:cubicBezTo>
                    <a:pt x="-881" y="11574"/>
                    <a:pt x="1786" y="5411"/>
                    <a:pt x="6805" y="1573"/>
                  </a:cubicBezTo>
                  <a:lnTo>
                    <a:pt x="7282" y="1573"/>
                  </a:lnTo>
                  <a:cubicBezTo>
                    <a:pt x="9577" y="306"/>
                    <a:pt x="12187" y="-285"/>
                    <a:pt x="14806" y="-142"/>
                  </a:cubicBezTo>
                  <a:cubicBezTo>
                    <a:pt x="18559" y="182"/>
                    <a:pt x="22179" y="1392"/>
                    <a:pt x="25379" y="3383"/>
                  </a:cubicBezTo>
                  <a:lnTo>
                    <a:pt x="136441" y="67391"/>
                  </a:lnTo>
                  <a:cubicBezTo>
                    <a:pt x="147680" y="74734"/>
                    <a:pt x="155976" y="85793"/>
                    <a:pt x="159872" y="98633"/>
                  </a:cubicBezTo>
                  <a:cubicBezTo>
                    <a:pt x="161206" y="102662"/>
                    <a:pt x="161939" y="106862"/>
                    <a:pt x="162063" y="111110"/>
                  </a:cubicBezTo>
                  <a:close/>
                </a:path>
              </a:pathLst>
            </a:custGeom>
            <a:solidFill>
              <a:srgbClr val="FF7D33"/>
            </a:solidFill>
            <a:ln w="9525" cap="flat">
              <a:noFill/>
              <a:prstDash val="solid"/>
              <a:miter/>
            </a:ln>
          </p:spPr>
          <p:txBody>
            <a:bodyPr rtlCol="0" anchor="ctr"/>
            <a:lstStyle/>
            <a:p>
              <a:endParaRPr lang="zh-CN" altLang="en-US"/>
            </a:p>
          </p:txBody>
        </p:sp>
        <p:sp>
          <p:nvSpPr>
            <p:cNvPr id="814" name="ïslíḓè">
              <a:extLst>
                <a:ext uri="{FF2B5EF4-FFF2-40B4-BE49-F238E27FC236}">
                  <a16:creationId xmlns:a16="http://schemas.microsoft.com/office/drawing/2014/main" id="{97F203B2-2BA3-44AA-816F-65A9CEF2DF4F}"/>
                </a:ext>
              </a:extLst>
            </p:cNvPr>
            <p:cNvSpPr/>
            <p:nvPr/>
          </p:nvSpPr>
          <p:spPr>
            <a:xfrm>
              <a:off x="6670263" y="3390952"/>
              <a:ext cx="494090" cy="349053"/>
            </a:xfrm>
            <a:custGeom>
              <a:avLst/>
              <a:gdLst>
                <a:gd name="connsiteX0" fmla="*/ 161970 w 162320"/>
                <a:gd name="connsiteY0" fmla="*/ 93468 h 114672"/>
                <a:gd name="connsiteX1" fmla="*/ 161970 w 162320"/>
                <a:gd name="connsiteY1" fmla="*/ 96326 h 114672"/>
                <a:gd name="connsiteX2" fmla="*/ 159684 w 162320"/>
                <a:gd name="connsiteY2" fmla="*/ 107184 h 114672"/>
                <a:gd name="connsiteX3" fmla="*/ 155397 w 162320"/>
                <a:gd name="connsiteY3" fmla="*/ 112328 h 114672"/>
                <a:gd name="connsiteX4" fmla="*/ 153302 w 162320"/>
                <a:gd name="connsiteY4" fmla="*/ 113471 h 114672"/>
                <a:gd name="connsiteX5" fmla="*/ 136347 w 162320"/>
                <a:gd name="connsiteY5" fmla="*/ 111185 h 114672"/>
                <a:gd name="connsiteX6" fmla="*/ 25286 w 162320"/>
                <a:gd name="connsiteY6" fmla="*/ 47081 h 114672"/>
                <a:gd name="connsiteX7" fmla="*/ -336 w 162320"/>
                <a:gd name="connsiteY7" fmla="*/ 2600 h 114672"/>
                <a:gd name="connsiteX8" fmla="*/ -336 w 162320"/>
                <a:gd name="connsiteY8" fmla="*/ -163 h 114672"/>
                <a:gd name="connsiteX9" fmla="*/ 14713 w 162320"/>
                <a:gd name="connsiteY9" fmla="*/ 8505 h 114672"/>
                <a:gd name="connsiteX10" fmla="*/ 25762 w 162320"/>
                <a:gd name="connsiteY10" fmla="*/ 14887 h 114672"/>
                <a:gd name="connsiteX11" fmla="*/ 37002 w 162320"/>
                <a:gd name="connsiteY11" fmla="*/ 21364 h 114672"/>
                <a:gd name="connsiteX12" fmla="*/ 128823 w 162320"/>
                <a:gd name="connsiteY12" fmla="*/ 74418 h 114672"/>
                <a:gd name="connsiteX13" fmla="*/ 141491 w 162320"/>
                <a:gd name="connsiteY13" fmla="*/ 81752 h 114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2320" h="114672">
                  <a:moveTo>
                    <a:pt x="161970" y="93468"/>
                  </a:moveTo>
                  <a:lnTo>
                    <a:pt x="161970" y="96326"/>
                  </a:lnTo>
                  <a:cubicBezTo>
                    <a:pt x="162103" y="100078"/>
                    <a:pt x="161322" y="103803"/>
                    <a:pt x="159684" y="107184"/>
                  </a:cubicBezTo>
                  <a:cubicBezTo>
                    <a:pt x="158712" y="109232"/>
                    <a:pt x="157236" y="111004"/>
                    <a:pt x="155397" y="112328"/>
                  </a:cubicBezTo>
                  <a:lnTo>
                    <a:pt x="153302" y="113471"/>
                  </a:lnTo>
                  <a:cubicBezTo>
                    <a:pt x="147606" y="115433"/>
                    <a:pt x="141320" y="114585"/>
                    <a:pt x="136347" y="111185"/>
                  </a:cubicBezTo>
                  <a:lnTo>
                    <a:pt x="25286" y="47081"/>
                  </a:lnTo>
                  <a:cubicBezTo>
                    <a:pt x="10189" y="37137"/>
                    <a:pt x="692" y="20640"/>
                    <a:pt x="-336" y="2600"/>
                  </a:cubicBezTo>
                  <a:lnTo>
                    <a:pt x="-336" y="-163"/>
                  </a:lnTo>
                  <a:lnTo>
                    <a:pt x="14713" y="8505"/>
                  </a:lnTo>
                  <a:lnTo>
                    <a:pt x="25762" y="14887"/>
                  </a:lnTo>
                  <a:lnTo>
                    <a:pt x="37002" y="21364"/>
                  </a:lnTo>
                  <a:lnTo>
                    <a:pt x="128823" y="74418"/>
                  </a:lnTo>
                  <a:lnTo>
                    <a:pt x="141491" y="81752"/>
                  </a:lnTo>
                  <a:close/>
                </a:path>
              </a:pathLst>
            </a:custGeom>
            <a:solidFill>
              <a:srgbClr val="FF7D33"/>
            </a:solidFill>
            <a:ln w="9525" cap="flat">
              <a:noFill/>
              <a:prstDash val="solid"/>
              <a:miter/>
            </a:ln>
          </p:spPr>
          <p:txBody>
            <a:bodyPr rtlCol="0" anchor="ctr"/>
            <a:lstStyle/>
            <a:p>
              <a:endParaRPr lang="zh-CN" altLang="en-US"/>
            </a:p>
          </p:txBody>
        </p:sp>
        <p:sp>
          <p:nvSpPr>
            <p:cNvPr id="815" name="íŝḷïḍé">
              <a:extLst>
                <a:ext uri="{FF2B5EF4-FFF2-40B4-BE49-F238E27FC236}">
                  <a16:creationId xmlns:a16="http://schemas.microsoft.com/office/drawing/2014/main" id="{6AFEC9CC-894A-47C0-985B-FD3C9BC1FC42}"/>
                </a:ext>
              </a:extLst>
            </p:cNvPr>
            <p:cNvSpPr/>
            <p:nvPr/>
          </p:nvSpPr>
          <p:spPr>
            <a:xfrm>
              <a:off x="6669971" y="2930245"/>
              <a:ext cx="494337" cy="745707"/>
            </a:xfrm>
            <a:custGeom>
              <a:avLst/>
              <a:gdLst>
                <a:gd name="connsiteX0" fmla="*/ 162401 w 162401"/>
                <a:gd name="connsiteY0" fmla="*/ 93726 h 244982"/>
                <a:gd name="connsiteX1" fmla="*/ 162401 w 162401"/>
                <a:gd name="connsiteY1" fmla="*/ 244983 h 244982"/>
                <a:gd name="connsiteX2" fmla="*/ 141922 w 162401"/>
                <a:gd name="connsiteY2" fmla="*/ 233172 h 244982"/>
                <a:gd name="connsiteX3" fmla="*/ 129254 w 162401"/>
                <a:gd name="connsiteY3" fmla="*/ 225838 h 244982"/>
                <a:gd name="connsiteX4" fmla="*/ 37433 w 162401"/>
                <a:gd name="connsiteY4" fmla="*/ 172879 h 244982"/>
                <a:gd name="connsiteX5" fmla="*/ 26194 w 162401"/>
                <a:gd name="connsiteY5" fmla="*/ 166306 h 244982"/>
                <a:gd name="connsiteX6" fmla="*/ 15050 w 162401"/>
                <a:gd name="connsiteY6" fmla="*/ 159925 h 244982"/>
                <a:gd name="connsiteX7" fmla="*/ 0 w 162401"/>
                <a:gd name="connsiteY7" fmla="*/ 151257 h 244982"/>
                <a:gd name="connsiteX8" fmla="*/ 0 w 162401"/>
                <a:gd name="connsiteY8" fmla="*/ 0 h 244982"/>
                <a:gd name="connsiteX9" fmla="*/ 12859 w 162401"/>
                <a:gd name="connsiteY9" fmla="*/ 7429 h 244982"/>
                <a:gd name="connsiteX10" fmla="*/ 162401 w 162401"/>
                <a:gd name="connsiteY10" fmla="*/ 93726 h 244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2401" h="244982">
                  <a:moveTo>
                    <a:pt x="162401" y="93726"/>
                  </a:moveTo>
                  <a:lnTo>
                    <a:pt x="162401" y="244983"/>
                  </a:lnTo>
                  <a:lnTo>
                    <a:pt x="141922" y="233172"/>
                  </a:lnTo>
                  <a:lnTo>
                    <a:pt x="129254" y="225838"/>
                  </a:lnTo>
                  <a:lnTo>
                    <a:pt x="37433" y="172879"/>
                  </a:lnTo>
                  <a:lnTo>
                    <a:pt x="26194" y="166306"/>
                  </a:lnTo>
                  <a:lnTo>
                    <a:pt x="15050" y="159925"/>
                  </a:lnTo>
                  <a:lnTo>
                    <a:pt x="0" y="151257"/>
                  </a:lnTo>
                  <a:lnTo>
                    <a:pt x="0" y="0"/>
                  </a:lnTo>
                  <a:lnTo>
                    <a:pt x="12859" y="7429"/>
                  </a:lnTo>
                  <a:lnTo>
                    <a:pt x="162401" y="93726"/>
                  </a:lnTo>
                  <a:close/>
                </a:path>
              </a:pathLst>
            </a:custGeom>
            <a:solidFill>
              <a:srgbClr val="EDF4FF"/>
            </a:solidFill>
            <a:ln w="9525" cap="flat">
              <a:noFill/>
              <a:prstDash val="solid"/>
              <a:miter/>
            </a:ln>
          </p:spPr>
          <p:txBody>
            <a:bodyPr rtlCol="0" anchor="ctr"/>
            <a:lstStyle/>
            <a:p>
              <a:endParaRPr lang="zh-CN" altLang="en-US"/>
            </a:p>
          </p:txBody>
        </p:sp>
        <p:sp>
          <p:nvSpPr>
            <p:cNvPr id="816" name="îṡḻîḓè">
              <a:extLst>
                <a:ext uri="{FF2B5EF4-FFF2-40B4-BE49-F238E27FC236}">
                  <a16:creationId xmlns:a16="http://schemas.microsoft.com/office/drawing/2014/main" id="{D5F2D606-37C9-46BD-9EF7-160DAF41903B}"/>
                </a:ext>
              </a:extLst>
            </p:cNvPr>
            <p:cNvSpPr/>
            <p:nvPr/>
          </p:nvSpPr>
          <p:spPr>
            <a:xfrm>
              <a:off x="6809955" y="3127117"/>
              <a:ext cx="227363" cy="241797"/>
            </a:xfrm>
            <a:custGeom>
              <a:avLst/>
              <a:gdLst>
                <a:gd name="connsiteX0" fmla="*/ 74358 w 74694"/>
                <a:gd name="connsiteY0" fmla="*/ 69749 h 79436"/>
                <a:gd name="connsiteX1" fmla="*/ 73215 w 74694"/>
                <a:gd name="connsiteY1" fmla="*/ 79274 h 79436"/>
                <a:gd name="connsiteX2" fmla="*/ 65595 w 74694"/>
                <a:gd name="connsiteY2" fmla="*/ 74988 h 79436"/>
                <a:gd name="connsiteX3" fmla="*/ 67119 w 74694"/>
                <a:gd name="connsiteY3" fmla="*/ 65463 h 79436"/>
                <a:gd name="connsiteX4" fmla="*/ 62261 w 74694"/>
                <a:gd name="connsiteY4" fmla="*/ 43841 h 79436"/>
                <a:gd name="connsiteX5" fmla="*/ 11779 w 74694"/>
                <a:gd name="connsiteY5" fmla="*/ 14599 h 79436"/>
                <a:gd name="connsiteX6" fmla="*/ 6921 w 74694"/>
                <a:gd name="connsiteY6" fmla="*/ 30697 h 79436"/>
                <a:gd name="connsiteX7" fmla="*/ 8350 w 74694"/>
                <a:gd name="connsiteY7" fmla="*/ 42222 h 79436"/>
                <a:gd name="connsiteX8" fmla="*/ 825 w 74694"/>
                <a:gd name="connsiteY8" fmla="*/ 37840 h 79436"/>
                <a:gd name="connsiteX9" fmla="*/ -318 w 74694"/>
                <a:gd name="connsiteY9" fmla="*/ 26506 h 79436"/>
                <a:gd name="connsiteX10" fmla="*/ 3397 w 74694"/>
                <a:gd name="connsiteY10" fmla="*/ 9837 h 79436"/>
                <a:gd name="connsiteX11" fmla="*/ 37020 w 74694"/>
                <a:gd name="connsiteY11" fmla="*/ 4884 h 79436"/>
                <a:gd name="connsiteX12" fmla="*/ 70548 w 74694"/>
                <a:gd name="connsiteY12" fmla="*/ 48604 h 79436"/>
                <a:gd name="connsiteX13" fmla="*/ 74358 w 74694"/>
                <a:gd name="connsiteY13" fmla="*/ 69749 h 794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4694" h="79436">
                  <a:moveTo>
                    <a:pt x="74358" y="69749"/>
                  </a:moveTo>
                  <a:cubicBezTo>
                    <a:pt x="74320" y="72959"/>
                    <a:pt x="73929" y="76150"/>
                    <a:pt x="73215" y="79274"/>
                  </a:cubicBezTo>
                  <a:lnTo>
                    <a:pt x="65595" y="74988"/>
                  </a:lnTo>
                  <a:cubicBezTo>
                    <a:pt x="66605" y="71911"/>
                    <a:pt x="67119" y="68701"/>
                    <a:pt x="67119" y="65463"/>
                  </a:cubicBezTo>
                  <a:cubicBezTo>
                    <a:pt x="66957" y="58005"/>
                    <a:pt x="65309" y="50652"/>
                    <a:pt x="62261" y="43841"/>
                  </a:cubicBezTo>
                  <a:lnTo>
                    <a:pt x="11779" y="14599"/>
                  </a:lnTo>
                  <a:cubicBezTo>
                    <a:pt x="8350" y="19238"/>
                    <a:pt x="6626" y="24934"/>
                    <a:pt x="6921" y="30697"/>
                  </a:cubicBezTo>
                  <a:cubicBezTo>
                    <a:pt x="6940" y="34583"/>
                    <a:pt x="7416" y="38450"/>
                    <a:pt x="8350" y="42222"/>
                  </a:cubicBezTo>
                  <a:lnTo>
                    <a:pt x="825" y="37840"/>
                  </a:lnTo>
                  <a:cubicBezTo>
                    <a:pt x="82" y="34107"/>
                    <a:pt x="-299" y="30316"/>
                    <a:pt x="-318" y="26506"/>
                  </a:cubicBezTo>
                  <a:cubicBezTo>
                    <a:pt x="-509" y="20724"/>
                    <a:pt x="777" y="14990"/>
                    <a:pt x="3397" y="9837"/>
                  </a:cubicBezTo>
                  <a:cubicBezTo>
                    <a:pt x="9493" y="-1022"/>
                    <a:pt x="22447" y="-3593"/>
                    <a:pt x="37020" y="4884"/>
                  </a:cubicBezTo>
                  <a:cubicBezTo>
                    <a:pt x="52879" y="15180"/>
                    <a:pt x="64719" y="30611"/>
                    <a:pt x="70548" y="48604"/>
                  </a:cubicBezTo>
                  <a:cubicBezTo>
                    <a:pt x="73006" y="55385"/>
                    <a:pt x="74292" y="62539"/>
                    <a:pt x="74358" y="69749"/>
                  </a:cubicBezTo>
                  <a:close/>
                </a:path>
              </a:pathLst>
            </a:custGeom>
            <a:solidFill>
              <a:srgbClr val="D9530B"/>
            </a:solidFill>
            <a:ln w="9525" cap="flat">
              <a:noFill/>
              <a:prstDash val="solid"/>
              <a:miter/>
            </a:ln>
          </p:spPr>
          <p:txBody>
            <a:bodyPr rtlCol="0" anchor="ctr"/>
            <a:lstStyle/>
            <a:p>
              <a:endParaRPr lang="zh-CN" altLang="en-US"/>
            </a:p>
          </p:txBody>
        </p:sp>
        <p:sp>
          <p:nvSpPr>
            <p:cNvPr id="817" name="íSľidê">
              <a:extLst>
                <a:ext uri="{FF2B5EF4-FFF2-40B4-BE49-F238E27FC236}">
                  <a16:creationId xmlns:a16="http://schemas.microsoft.com/office/drawing/2014/main" id="{90748980-C0CC-4962-8706-CA228CC9CD60}"/>
                </a:ext>
              </a:extLst>
            </p:cNvPr>
            <p:cNvSpPr/>
            <p:nvPr/>
          </p:nvSpPr>
          <p:spPr>
            <a:xfrm>
              <a:off x="6783917" y="3350940"/>
              <a:ext cx="279493" cy="267028"/>
            </a:xfrm>
            <a:custGeom>
              <a:avLst/>
              <a:gdLst>
                <a:gd name="connsiteX0" fmla="*/ 91485 w 91820"/>
                <a:gd name="connsiteY0" fmla="*/ 87563 h 87725"/>
                <a:gd name="connsiteX1" fmla="*/ -336 w 91820"/>
                <a:gd name="connsiteY1" fmla="*/ 34508 h 87725"/>
                <a:gd name="connsiteX2" fmla="*/ 19952 w 91820"/>
                <a:gd name="connsiteY2" fmla="*/ 409 h 87725"/>
                <a:gd name="connsiteX3" fmla="*/ 25762 w 91820"/>
                <a:gd name="connsiteY3" fmla="*/ -163 h 87725"/>
                <a:gd name="connsiteX4" fmla="*/ 33096 w 91820"/>
                <a:gd name="connsiteY4" fmla="*/ 790 h 87725"/>
                <a:gd name="connsiteX5" fmla="*/ 35192 w 91820"/>
                <a:gd name="connsiteY5" fmla="*/ 1266 h 87725"/>
                <a:gd name="connsiteX6" fmla="*/ 45574 w 91820"/>
                <a:gd name="connsiteY6" fmla="*/ 9458 h 87725"/>
                <a:gd name="connsiteX7" fmla="*/ 55956 w 91820"/>
                <a:gd name="connsiteY7" fmla="*/ 13363 h 87725"/>
                <a:gd name="connsiteX8" fmla="*/ 58052 w 91820"/>
                <a:gd name="connsiteY8" fmla="*/ 15077 h 87725"/>
                <a:gd name="connsiteX9" fmla="*/ 65386 w 91820"/>
                <a:gd name="connsiteY9" fmla="*/ 22697 h 87725"/>
                <a:gd name="connsiteX10" fmla="*/ 71101 w 91820"/>
                <a:gd name="connsiteY10" fmla="*/ 29936 h 87725"/>
                <a:gd name="connsiteX11" fmla="*/ 91485 w 91820"/>
                <a:gd name="connsiteY11" fmla="*/ 87563 h 87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1820" h="87725">
                  <a:moveTo>
                    <a:pt x="91485" y="87563"/>
                  </a:moveTo>
                  <a:lnTo>
                    <a:pt x="-336" y="34508"/>
                  </a:lnTo>
                  <a:cubicBezTo>
                    <a:pt x="-336" y="15458"/>
                    <a:pt x="7760" y="3266"/>
                    <a:pt x="19952" y="409"/>
                  </a:cubicBezTo>
                  <a:cubicBezTo>
                    <a:pt x="21866" y="28"/>
                    <a:pt x="23809" y="-163"/>
                    <a:pt x="25762" y="-163"/>
                  </a:cubicBezTo>
                  <a:cubicBezTo>
                    <a:pt x="28239" y="-163"/>
                    <a:pt x="30705" y="152"/>
                    <a:pt x="33096" y="790"/>
                  </a:cubicBezTo>
                  <a:lnTo>
                    <a:pt x="35192" y="1266"/>
                  </a:lnTo>
                  <a:cubicBezTo>
                    <a:pt x="38240" y="4476"/>
                    <a:pt x="41736" y="7238"/>
                    <a:pt x="45574" y="9458"/>
                  </a:cubicBezTo>
                  <a:cubicBezTo>
                    <a:pt x="48755" y="11401"/>
                    <a:pt x="52280" y="12725"/>
                    <a:pt x="55956" y="13363"/>
                  </a:cubicBezTo>
                  <a:lnTo>
                    <a:pt x="58052" y="15077"/>
                  </a:lnTo>
                  <a:cubicBezTo>
                    <a:pt x="60528" y="17459"/>
                    <a:pt x="63005" y="19935"/>
                    <a:pt x="65386" y="22697"/>
                  </a:cubicBezTo>
                  <a:cubicBezTo>
                    <a:pt x="67415" y="25012"/>
                    <a:pt x="69329" y="27422"/>
                    <a:pt x="71101" y="29936"/>
                  </a:cubicBezTo>
                  <a:cubicBezTo>
                    <a:pt x="83550" y="46653"/>
                    <a:pt x="90656" y="66741"/>
                    <a:pt x="91485" y="87563"/>
                  </a:cubicBezTo>
                  <a:close/>
                </a:path>
              </a:pathLst>
            </a:custGeom>
            <a:solidFill>
              <a:srgbClr val="316DE6"/>
            </a:solidFill>
            <a:ln w="9525" cap="flat">
              <a:noFill/>
              <a:prstDash val="solid"/>
              <a:miter/>
            </a:ln>
          </p:spPr>
          <p:txBody>
            <a:bodyPr rtlCol="0" anchor="ctr"/>
            <a:lstStyle/>
            <a:p>
              <a:endParaRPr lang="zh-CN" altLang="en-US"/>
            </a:p>
          </p:txBody>
        </p:sp>
        <p:sp>
          <p:nvSpPr>
            <p:cNvPr id="818" name="iŝ1ïḓè">
              <a:extLst>
                <a:ext uri="{FF2B5EF4-FFF2-40B4-BE49-F238E27FC236}">
                  <a16:creationId xmlns:a16="http://schemas.microsoft.com/office/drawing/2014/main" id="{27EE3898-6F5E-44B1-94B8-FBF0CE8F53D9}"/>
                </a:ext>
              </a:extLst>
            </p:cNvPr>
            <p:cNvSpPr/>
            <p:nvPr/>
          </p:nvSpPr>
          <p:spPr>
            <a:xfrm>
              <a:off x="6831944" y="3171762"/>
              <a:ext cx="183336" cy="220411"/>
            </a:xfrm>
            <a:custGeom>
              <a:avLst/>
              <a:gdLst>
                <a:gd name="connsiteX0" fmla="*/ 59894 w 60230"/>
                <a:gd name="connsiteY0" fmla="*/ 50987 h 72410"/>
                <a:gd name="connsiteX1" fmla="*/ 58370 w 60230"/>
                <a:gd name="connsiteY1" fmla="*/ 60512 h 72410"/>
                <a:gd name="connsiteX2" fmla="*/ 40177 w 60230"/>
                <a:gd name="connsiteY2" fmla="*/ 71942 h 72410"/>
                <a:gd name="connsiteX3" fmla="*/ 29795 w 60230"/>
                <a:gd name="connsiteY3" fmla="*/ 68036 h 72410"/>
                <a:gd name="connsiteX4" fmla="*/ 19413 w 60230"/>
                <a:gd name="connsiteY4" fmla="*/ 59845 h 72410"/>
                <a:gd name="connsiteX5" fmla="*/ 1125 w 60230"/>
                <a:gd name="connsiteY5" fmla="*/ 27460 h 72410"/>
                <a:gd name="connsiteX6" fmla="*/ -304 w 60230"/>
                <a:gd name="connsiteY6" fmla="*/ 15935 h 72410"/>
                <a:gd name="connsiteX7" fmla="*/ 4554 w 60230"/>
                <a:gd name="connsiteY7" fmla="*/ -163 h 72410"/>
                <a:gd name="connsiteX8" fmla="*/ 55037 w 60230"/>
                <a:gd name="connsiteY8" fmla="*/ 29079 h 72410"/>
                <a:gd name="connsiteX9" fmla="*/ 59894 w 60230"/>
                <a:gd name="connsiteY9" fmla="*/ 50987 h 72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0230" h="72410">
                  <a:moveTo>
                    <a:pt x="59894" y="50987"/>
                  </a:moveTo>
                  <a:cubicBezTo>
                    <a:pt x="59894" y="54225"/>
                    <a:pt x="59380" y="57435"/>
                    <a:pt x="58370" y="60512"/>
                  </a:cubicBezTo>
                  <a:cubicBezTo>
                    <a:pt x="56303" y="68551"/>
                    <a:pt x="48312" y="73570"/>
                    <a:pt x="40177" y="71942"/>
                  </a:cubicBezTo>
                  <a:cubicBezTo>
                    <a:pt x="36501" y="71303"/>
                    <a:pt x="32977" y="69979"/>
                    <a:pt x="29795" y="68036"/>
                  </a:cubicBezTo>
                  <a:cubicBezTo>
                    <a:pt x="25957" y="65817"/>
                    <a:pt x="22461" y="63055"/>
                    <a:pt x="19413" y="59845"/>
                  </a:cubicBezTo>
                  <a:cubicBezTo>
                    <a:pt x="10564" y="50853"/>
                    <a:pt x="4259" y="39680"/>
                    <a:pt x="1125" y="27460"/>
                  </a:cubicBezTo>
                  <a:cubicBezTo>
                    <a:pt x="191" y="23688"/>
                    <a:pt x="-285" y="19821"/>
                    <a:pt x="-304" y="15935"/>
                  </a:cubicBezTo>
                  <a:cubicBezTo>
                    <a:pt x="-599" y="10172"/>
                    <a:pt x="1125" y="4476"/>
                    <a:pt x="4554" y="-163"/>
                  </a:cubicBezTo>
                  <a:lnTo>
                    <a:pt x="55037" y="29079"/>
                  </a:lnTo>
                  <a:cubicBezTo>
                    <a:pt x="58123" y="35975"/>
                    <a:pt x="59770" y="43433"/>
                    <a:pt x="59894" y="50987"/>
                  </a:cubicBezTo>
                  <a:close/>
                </a:path>
              </a:pathLst>
            </a:custGeom>
            <a:solidFill>
              <a:srgbClr val="FFB4A1"/>
            </a:solidFill>
            <a:ln w="9525" cap="flat">
              <a:noFill/>
              <a:prstDash val="solid"/>
              <a:miter/>
            </a:ln>
          </p:spPr>
          <p:txBody>
            <a:bodyPr rtlCol="0" anchor="ctr"/>
            <a:lstStyle/>
            <a:p>
              <a:endParaRPr lang="zh-CN" altLang="en-US"/>
            </a:p>
          </p:txBody>
        </p:sp>
        <p:sp>
          <p:nvSpPr>
            <p:cNvPr id="819" name="išļiḍê">
              <a:extLst>
                <a:ext uri="{FF2B5EF4-FFF2-40B4-BE49-F238E27FC236}">
                  <a16:creationId xmlns:a16="http://schemas.microsoft.com/office/drawing/2014/main" id="{AF998AC8-7F03-4245-B791-5F03F65A5F5A}"/>
                </a:ext>
              </a:extLst>
            </p:cNvPr>
            <p:cNvSpPr/>
            <p:nvPr/>
          </p:nvSpPr>
          <p:spPr>
            <a:xfrm>
              <a:off x="7048915" y="3088934"/>
              <a:ext cx="80116" cy="105728"/>
            </a:xfrm>
            <a:custGeom>
              <a:avLst/>
              <a:gdLst>
                <a:gd name="connsiteX0" fmla="*/ 25953 w 26320"/>
                <a:gd name="connsiteY0" fmla="*/ 23523 h 34734"/>
                <a:gd name="connsiteX1" fmla="*/ 22429 w 26320"/>
                <a:gd name="connsiteY1" fmla="*/ 31715 h 34734"/>
                <a:gd name="connsiteX2" fmla="*/ 17475 w 26320"/>
                <a:gd name="connsiteY2" fmla="*/ 34572 h 34734"/>
                <a:gd name="connsiteX3" fmla="*/ 19380 w 26320"/>
                <a:gd name="connsiteY3" fmla="*/ 32572 h 34734"/>
                <a:gd name="connsiteX4" fmla="*/ 21000 w 26320"/>
                <a:gd name="connsiteY4" fmla="*/ 26381 h 34734"/>
                <a:gd name="connsiteX5" fmla="*/ 8331 w 26320"/>
                <a:gd name="connsiteY5" fmla="*/ 4378 h 34734"/>
                <a:gd name="connsiteX6" fmla="*/ 2140 w 26320"/>
                <a:gd name="connsiteY6" fmla="*/ 2664 h 34734"/>
                <a:gd name="connsiteX7" fmla="*/ -336 w 26320"/>
                <a:gd name="connsiteY7" fmla="*/ 3330 h 34734"/>
                <a:gd name="connsiteX8" fmla="*/ 3855 w 26320"/>
                <a:gd name="connsiteY8" fmla="*/ 949 h 34734"/>
                <a:gd name="connsiteX9" fmla="*/ 3855 w 26320"/>
                <a:gd name="connsiteY9" fmla="*/ 949 h 34734"/>
                <a:gd name="connsiteX10" fmla="*/ 4712 w 26320"/>
                <a:gd name="connsiteY10" fmla="*/ 378 h 34734"/>
                <a:gd name="connsiteX11" fmla="*/ 13284 w 26320"/>
                <a:gd name="connsiteY11" fmla="*/ 1521 h 34734"/>
                <a:gd name="connsiteX12" fmla="*/ 25953 w 26320"/>
                <a:gd name="connsiteY12" fmla="*/ 23523 h 34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320" h="34734">
                  <a:moveTo>
                    <a:pt x="25953" y="23523"/>
                  </a:moveTo>
                  <a:cubicBezTo>
                    <a:pt x="26210" y="26667"/>
                    <a:pt x="24886" y="29734"/>
                    <a:pt x="22429" y="31715"/>
                  </a:cubicBezTo>
                  <a:lnTo>
                    <a:pt x="17475" y="34572"/>
                  </a:lnTo>
                  <a:cubicBezTo>
                    <a:pt x="18266" y="34077"/>
                    <a:pt x="18923" y="33391"/>
                    <a:pt x="19380" y="32572"/>
                  </a:cubicBezTo>
                  <a:cubicBezTo>
                    <a:pt x="20533" y="30715"/>
                    <a:pt x="21095" y="28562"/>
                    <a:pt x="21000" y="26381"/>
                  </a:cubicBezTo>
                  <a:cubicBezTo>
                    <a:pt x="20447" y="17475"/>
                    <a:pt x="15761" y="9331"/>
                    <a:pt x="8331" y="4378"/>
                  </a:cubicBezTo>
                  <a:cubicBezTo>
                    <a:pt x="6464" y="3254"/>
                    <a:pt x="4322" y="2664"/>
                    <a:pt x="2140" y="2664"/>
                  </a:cubicBezTo>
                  <a:cubicBezTo>
                    <a:pt x="1283" y="2740"/>
                    <a:pt x="445" y="2968"/>
                    <a:pt x="-336" y="3330"/>
                  </a:cubicBezTo>
                  <a:lnTo>
                    <a:pt x="3855" y="949"/>
                  </a:lnTo>
                  <a:lnTo>
                    <a:pt x="3855" y="949"/>
                  </a:lnTo>
                  <a:lnTo>
                    <a:pt x="4712" y="378"/>
                  </a:lnTo>
                  <a:cubicBezTo>
                    <a:pt x="7588" y="-632"/>
                    <a:pt x="10779" y="-213"/>
                    <a:pt x="13284" y="1521"/>
                  </a:cubicBezTo>
                  <a:cubicBezTo>
                    <a:pt x="20790" y="6397"/>
                    <a:pt x="25505" y="14579"/>
                    <a:pt x="25953" y="23523"/>
                  </a:cubicBezTo>
                  <a:close/>
                </a:path>
              </a:pathLst>
            </a:custGeom>
            <a:solidFill>
              <a:srgbClr val="BF4200"/>
            </a:solidFill>
            <a:ln w="9525" cap="flat">
              <a:noFill/>
              <a:prstDash val="solid"/>
              <a:miter/>
            </a:ln>
          </p:spPr>
          <p:txBody>
            <a:bodyPr rtlCol="0" anchor="ctr"/>
            <a:lstStyle/>
            <a:p>
              <a:endParaRPr lang="zh-CN" altLang="en-US"/>
            </a:p>
          </p:txBody>
        </p:sp>
        <p:sp>
          <p:nvSpPr>
            <p:cNvPr id="820" name="iṥḷîďê">
              <a:extLst>
                <a:ext uri="{FF2B5EF4-FFF2-40B4-BE49-F238E27FC236}">
                  <a16:creationId xmlns:a16="http://schemas.microsoft.com/office/drawing/2014/main" id="{0FFA7302-59BD-4A1B-99D0-7449B4960359}"/>
                </a:ext>
              </a:extLst>
            </p:cNvPr>
            <p:cNvSpPr/>
            <p:nvPr/>
          </p:nvSpPr>
          <p:spPr>
            <a:xfrm>
              <a:off x="7035218" y="3097539"/>
              <a:ext cx="78670" cy="100237"/>
            </a:xfrm>
            <a:custGeom>
              <a:avLst/>
              <a:gdLst>
                <a:gd name="connsiteX0" fmla="*/ 25499 w 25845"/>
                <a:gd name="connsiteY0" fmla="*/ 23555 h 32930"/>
                <a:gd name="connsiteX1" fmla="*/ 23880 w 25845"/>
                <a:gd name="connsiteY1" fmla="*/ 29746 h 32930"/>
                <a:gd name="connsiteX2" fmla="*/ 21975 w 25845"/>
                <a:gd name="connsiteY2" fmla="*/ 31746 h 32930"/>
                <a:gd name="connsiteX3" fmla="*/ 12450 w 25845"/>
                <a:gd name="connsiteY3" fmla="*/ 30889 h 32930"/>
                <a:gd name="connsiteX4" fmla="*/ -313 w 25845"/>
                <a:gd name="connsiteY4" fmla="*/ 8886 h 32930"/>
                <a:gd name="connsiteX5" fmla="*/ 3020 w 25845"/>
                <a:gd name="connsiteY5" fmla="*/ 980 h 32930"/>
                <a:gd name="connsiteX6" fmla="*/ 3020 w 25845"/>
                <a:gd name="connsiteY6" fmla="*/ 980 h 32930"/>
                <a:gd name="connsiteX7" fmla="*/ 3782 w 25845"/>
                <a:gd name="connsiteY7" fmla="*/ 504 h 32930"/>
                <a:gd name="connsiteX8" fmla="*/ 6259 w 25845"/>
                <a:gd name="connsiteY8" fmla="*/ -163 h 32930"/>
                <a:gd name="connsiteX9" fmla="*/ 12450 w 25845"/>
                <a:gd name="connsiteY9" fmla="*/ 1552 h 32930"/>
                <a:gd name="connsiteX10" fmla="*/ 25499 w 25845"/>
                <a:gd name="connsiteY10" fmla="*/ 23555 h 329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5845" h="32930">
                  <a:moveTo>
                    <a:pt x="25499" y="23555"/>
                  </a:moveTo>
                  <a:cubicBezTo>
                    <a:pt x="25595" y="25736"/>
                    <a:pt x="25033" y="27888"/>
                    <a:pt x="23880" y="29746"/>
                  </a:cubicBezTo>
                  <a:cubicBezTo>
                    <a:pt x="23423" y="30565"/>
                    <a:pt x="22766" y="31251"/>
                    <a:pt x="21975" y="31746"/>
                  </a:cubicBezTo>
                  <a:cubicBezTo>
                    <a:pt x="18908" y="33375"/>
                    <a:pt x="15174" y="33032"/>
                    <a:pt x="12450" y="30889"/>
                  </a:cubicBezTo>
                  <a:cubicBezTo>
                    <a:pt x="4916" y="26022"/>
                    <a:pt x="172" y="17840"/>
                    <a:pt x="-313" y="8886"/>
                  </a:cubicBezTo>
                  <a:cubicBezTo>
                    <a:pt x="-523" y="5867"/>
                    <a:pt x="715" y="2933"/>
                    <a:pt x="3020" y="980"/>
                  </a:cubicBezTo>
                  <a:lnTo>
                    <a:pt x="3020" y="980"/>
                  </a:lnTo>
                  <a:lnTo>
                    <a:pt x="3782" y="504"/>
                  </a:lnTo>
                  <a:cubicBezTo>
                    <a:pt x="4563" y="142"/>
                    <a:pt x="5402" y="-86"/>
                    <a:pt x="6259" y="-163"/>
                  </a:cubicBezTo>
                  <a:cubicBezTo>
                    <a:pt x="8440" y="-163"/>
                    <a:pt x="10583" y="428"/>
                    <a:pt x="12450" y="1552"/>
                  </a:cubicBezTo>
                  <a:cubicBezTo>
                    <a:pt x="20023" y="6419"/>
                    <a:pt x="24861" y="14573"/>
                    <a:pt x="25499" y="23555"/>
                  </a:cubicBezTo>
                  <a:close/>
                </a:path>
              </a:pathLst>
            </a:custGeom>
            <a:solidFill>
              <a:srgbClr val="D9530B"/>
            </a:solidFill>
            <a:ln w="9525" cap="flat">
              <a:noFill/>
              <a:prstDash val="solid"/>
              <a:miter/>
            </a:ln>
          </p:spPr>
          <p:txBody>
            <a:bodyPr rtlCol="0" anchor="ctr"/>
            <a:lstStyle/>
            <a:p>
              <a:endParaRPr lang="zh-CN" altLang="en-US"/>
            </a:p>
          </p:txBody>
        </p:sp>
        <p:sp>
          <p:nvSpPr>
            <p:cNvPr id="821" name="í$ḷîde">
              <a:extLst>
                <a:ext uri="{FF2B5EF4-FFF2-40B4-BE49-F238E27FC236}">
                  <a16:creationId xmlns:a16="http://schemas.microsoft.com/office/drawing/2014/main" id="{265F52D0-5DDF-4A08-8A31-F429559AA622}"/>
                </a:ext>
              </a:extLst>
            </p:cNvPr>
            <p:cNvSpPr/>
            <p:nvPr/>
          </p:nvSpPr>
          <p:spPr>
            <a:xfrm>
              <a:off x="5661292" y="2264030"/>
              <a:ext cx="830368" cy="1632674"/>
            </a:xfrm>
            <a:custGeom>
              <a:avLst/>
              <a:gdLst>
                <a:gd name="connsiteX0" fmla="*/ -336 w 272795"/>
                <a:gd name="connsiteY0" fmla="*/ 357674 h 536371"/>
                <a:gd name="connsiteX1" fmla="*/ -336 w 272795"/>
                <a:gd name="connsiteY1" fmla="*/ 20966 h 536371"/>
                <a:gd name="connsiteX2" fmla="*/ 29096 w 272795"/>
                <a:gd name="connsiteY2" fmla="*/ 3916 h 536371"/>
                <a:gd name="connsiteX3" fmla="*/ 243027 w 272795"/>
                <a:gd name="connsiteY3" fmla="*/ 127455 h 536371"/>
                <a:gd name="connsiteX4" fmla="*/ 272460 w 272795"/>
                <a:gd name="connsiteY4" fmla="*/ 178509 h 536371"/>
                <a:gd name="connsiteX5" fmla="*/ 272460 w 272795"/>
                <a:gd name="connsiteY5" fmla="*/ 515123 h 536371"/>
                <a:gd name="connsiteX6" fmla="*/ 243027 w 272795"/>
                <a:gd name="connsiteY6" fmla="*/ 532172 h 536371"/>
                <a:gd name="connsiteX7" fmla="*/ 29191 w 272795"/>
                <a:gd name="connsiteY7" fmla="*/ 408347 h 536371"/>
                <a:gd name="connsiteX8" fmla="*/ -336 w 272795"/>
                <a:gd name="connsiteY8" fmla="*/ 357674 h 536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2795" h="536371">
                  <a:moveTo>
                    <a:pt x="-336" y="357674"/>
                  </a:moveTo>
                  <a:lnTo>
                    <a:pt x="-336" y="20966"/>
                  </a:lnTo>
                  <a:cubicBezTo>
                    <a:pt x="-336" y="1916"/>
                    <a:pt x="12808" y="-5514"/>
                    <a:pt x="29096" y="3916"/>
                  </a:cubicBezTo>
                  <a:lnTo>
                    <a:pt x="243027" y="127455"/>
                  </a:lnTo>
                  <a:cubicBezTo>
                    <a:pt x="260411" y="138809"/>
                    <a:pt x="271345" y="157773"/>
                    <a:pt x="272460" y="178509"/>
                  </a:cubicBezTo>
                  <a:lnTo>
                    <a:pt x="272460" y="515123"/>
                  </a:lnTo>
                  <a:cubicBezTo>
                    <a:pt x="272460" y="534173"/>
                    <a:pt x="259315" y="541507"/>
                    <a:pt x="243027" y="532172"/>
                  </a:cubicBezTo>
                  <a:lnTo>
                    <a:pt x="29191" y="408347"/>
                  </a:lnTo>
                  <a:cubicBezTo>
                    <a:pt x="11875" y="397089"/>
                    <a:pt x="921" y="378286"/>
                    <a:pt x="-336" y="357674"/>
                  </a:cubicBezTo>
                  <a:close/>
                </a:path>
              </a:pathLst>
            </a:custGeom>
            <a:solidFill>
              <a:srgbClr val="D1D9E8"/>
            </a:solidFill>
            <a:ln w="9525" cap="flat">
              <a:noFill/>
              <a:prstDash val="solid"/>
              <a:miter/>
            </a:ln>
          </p:spPr>
          <p:txBody>
            <a:bodyPr rtlCol="0" anchor="ctr"/>
            <a:lstStyle/>
            <a:p>
              <a:endParaRPr lang="zh-CN" altLang="en-US"/>
            </a:p>
          </p:txBody>
        </p:sp>
        <p:sp>
          <p:nvSpPr>
            <p:cNvPr id="822" name="iṩļíḍê">
              <a:extLst>
                <a:ext uri="{FF2B5EF4-FFF2-40B4-BE49-F238E27FC236}">
                  <a16:creationId xmlns:a16="http://schemas.microsoft.com/office/drawing/2014/main" id="{8C056275-4AD6-4C10-AAC2-85CA85873F13}"/>
                </a:ext>
              </a:extLst>
            </p:cNvPr>
            <p:cNvSpPr/>
            <p:nvPr/>
          </p:nvSpPr>
          <p:spPr>
            <a:xfrm>
              <a:off x="5643026" y="2274595"/>
              <a:ext cx="830368" cy="1633834"/>
            </a:xfrm>
            <a:custGeom>
              <a:avLst/>
              <a:gdLst>
                <a:gd name="connsiteX0" fmla="*/ -336 w 272795"/>
                <a:gd name="connsiteY0" fmla="*/ 357633 h 536752"/>
                <a:gd name="connsiteX1" fmla="*/ -336 w 272795"/>
                <a:gd name="connsiteY1" fmla="*/ 20924 h 536752"/>
                <a:gd name="connsiteX2" fmla="*/ 29191 w 272795"/>
                <a:gd name="connsiteY2" fmla="*/ 3874 h 536752"/>
                <a:gd name="connsiteX3" fmla="*/ 242932 w 272795"/>
                <a:gd name="connsiteY3" fmla="*/ 127699 h 536752"/>
                <a:gd name="connsiteX4" fmla="*/ 272460 w 272795"/>
                <a:gd name="connsiteY4" fmla="*/ 178753 h 536752"/>
                <a:gd name="connsiteX5" fmla="*/ 272460 w 272795"/>
                <a:gd name="connsiteY5" fmla="*/ 515462 h 536752"/>
                <a:gd name="connsiteX6" fmla="*/ 242932 w 272795"/>
                <a:gd name="connsiteY6" fmla="*/ 532512 h 536752"/>
                <a:gd name="connsiteX7" fmla="*/ 29191 w 272795"/>
                <a:gd name="connsiteY7" fmla="*/ 408687 h 536752"/>
                <a:gd name="connsiteX8" fmla="*/ -336 w 272795"/>
                <a:gd name="connsiteY8" fmla="*/ 357633 h 5367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2795" h="536752">
                  <a:moveTo>
                    <a:pt x="-336" y="357633"/>
                  </a:moveTo>
                  <a:lnTo>
                    <a:pt x="-336" y="20924"/>
                  </a:lnTo>
                  <a:cubicBezTo>
                    <a:pt x="-336" y="1874"/>
                    <a:pt x="12903" y="-5460"/>
                    <a:pt x="29191" y="3874"/>
                  </a:cubicBezTo>
                  <a:lnTo>
                    <a:pt x="242932" y="127699"/>
                  </a:lnTo>
                  <a:cubicBezTo>
                    <a:pt x="260344" y="139043"/>
                    <a:pt x="271307" y="158008"/>
                    <a:pt x="272460" y="178753"/>
                  </a:cubicBezTo>
                  <a:lnTo>
                    <a:pt x="272460" y="515462"/>
                  </a:lnTo>
                  <a:cubicBezTo>
                    <a:pt x="272460" y="534512"/>
                    <a:pt x="259220" y="541941"/>
                    <a:pt x="242932" y="532512"/>
                  </a:cubicBezTo>
                  <a:lnTo>
                    <a:pt x="29191" y="408687"/>
                  </a:lnTo>
                  <a:cubicBezTo>
                    <a:pt x="11780" y="397342"/>
                    <a:pt x="816" y="378378"/>
                    <a:pt x="-336" y="357633"/>
                  </a:cubicBezTo>
                  <a:close/>
                </a:path>
              </a:pathLst>
            </a:custGeom>
            <a:solidFill>
              <a:srgbClr val="EDF4FF"/>
            </a:solidFill>
            <a:ln w="9525" cap="flat">
              <a:noFill/>
              <a:prstDash val="solid"/>
              <a:miter/>
            </a:ln>
          </p:spPr>
          <p:txBody>
            <a:bodyPr rtlCol="0" anchor="ctr"/>
            <a:lstStyle/>
            <a:p>
              <a:endParaRPr lang="zh-CN" altLang="en-US"/>
            </a:p>
          </p:txBody>
        </p:sp>
        <p:sp>
          <p:nvSpPr>
            <p:cNvPr id="823" name="ïş1íḍe">
              <a:extLst>
                <a:ext uri="{FF2B5EF4-FFF2-40B4-BE49-F238E27FC236}">
                  <a16:creationId xmlns:a16="http://schemas.microsoft.com/office/drawing/2014/main" id="{B5F245E8-E8BA-46C7-A37C-C6EBF002BE92}"/>
                </a:ext>
              </a:extLst>
            </p:cNvPr>
            <p:cNvSpPr/>
            <p:nvPr/>
          </p:nvSpPr>
          <p:spPr>
            <a:xfrm>
              <a:off x="5963819" y="2599522"/>
              <a:ext cx="431315" cy="268967"/>
            </a:xfrm>
            <a:custGeom>
              <a:avLst/>
              <a:gdLst>
                <a:gd name="connsiteX0" fmla="*/ 134115 w 141697"/>
                <a:gd name="connsiteY0" fmla="*/ 88009 h 88362"/>
                <a:gd name="connsiteX1" fmla="*/ 130400 w 141697"/>
                <a:gd name="connsiteY1" fmla="*/ 87057 h 88362"/>
                <a:gd name="connsiteX2" fmla="*/ 2670 w 141697"/>
                <a:gd name="connsiteY2" fmla="*/ 13238 h 88362"/>
                <a:gd name="connsiteX3" fmla="*/ 1127 w 141697"/>
                <a:gd name="connsiteY3" fmla="*/ 2846 h 88362"/>
                <a:gd name="connsiteX4" fmla="*/ 10100 w 141697"/>
                <a:gd name="connsiteY4" fmla="*/ 474 h 88362"/>
                <a:gd name="connsiteX5" fmla="*/ 137735 w 141697"/>
                <a:gd name="connsiteY5" fmla="*/ 74388 h 88362"/>
                <a:gd name="connsiteX6" fmla="*/ 140316 w 141697"/>
                <a:gd name="connsiteY6" fmla="*/ 84571 h 88362"/>
                <a:gd name="connsiteX7" fmla="*/ 134020 w 141697"/>
                <a:gd name="connsiteY7" fmla="*/ 88200 h 883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1697" h="88362">
                  <a:moveTo>
                    <a:pt x="134115" y="88009"/>
                  </a:moveTo>
                  <a:cubicBezTo>
                    <a:pt x="132820" y="88009"/>
                    <a:pt x="131544" y="87685"/>
                    <a:pt x="130400" y="87057"/>
                  </a:cubicBezTo>
                  <a:lnTo>
                    <a:pt x="2670" y="13238"/>
                  </a:lnTo>
                  <a:cubicBezTo>
                    <a:pt x="-625" y="10800"/>
                    <a:pt x="-1321" y="6142"/>
                    <a:pt x="1127" y="2846"/>
                  </a:cubicBezTo>
                  <a:cubicBezTo>
                    <a:pt x="3194" y="55"/>
                    <a:pt x="6918" y="-935"/>
                    <a:pt x="10100" y="474"/>
                  </a:cubicBezTo>
                  <a:lnTo>
                    <a:pt x="137735" y="74388"/>
                  </a:lnTo>
                  <a:cubicBezTo>
                    <a:pt x="141259" y="76493"/>
                    <a:pt x="142412" y="81046"/>
                    <a:pt x="140316" y="84571"/>
                  </a:cubicBezTo>
                  <a:cubicBezTo>
                    <a:pt x="138992" y="86799"/>
                    <a:pt x="136611" y="88171"/>
                    <a:pt x="134020" y="88200"/>
                  </a:cubicBezTo>
                  <a:close/>
                </a:path>
              </a:pathLst>
            </a:custGeom>
            <a:solidFill>
              <a:srgbClr val="D1D9E8"/>
            </a:solidFill>
            <a:ln w="9525" cap="flat">
              <a:noFill/>
              <a:prstDash val="solid"/>
              <a:miter/>
            </a:ln>
          </p:spPr>
          <p:txBody>
            <a:bodyPr rtlCol="0" anchor="ctr"/>
            <a:lstStyle/>
            <a:p>
              <a:endParaRPr lang="zh-CN" altLang="en-US"/>
            </a:p>
          </p:txBody>
        </p:sp>
        <p:sp>
          <p:nvSpPr>
            <p:cNvPr id="824" name="iṩḻíḓè">
              <a:extLst>
                <a:ext uri="{FF2B5EF4-FFF2-40B4-BE49-F238E27FC236}">
                  <a16:creationId xmlns:a16="http://schemas.microsoft.com/office/drawing/2014/main" id="{993562D3-3035-4D56-B631-75DD1C92C6F3}"/>
                </a:ext>
              </a:extLst>
            </p:cNvPr>
            <p:cNvSpPr/>
            <p:nvPr/>
          </p:nvSpPr>
          <p:spPr>
            <a:xfrm>
              <a:off x="5962318" y="2676789"/>
              <a:ext cx="433108" cy="269111"/>
            </a:xfrm>
            <a:custGeom>
              <a:avLst/>
              <a:gdLst>
                <a:gd name="connsiteX0" fmla="*/ 134608 w 142286"/>
                <a:gd name="connsiteY0" fmla="*/ 88247 h 88409"/>
                <a:gd name="connsiteX1" fmla="*/ 130893 w 142286"/>
                <a:gd name="connsiteY1" fmla="*/ 87295 h 88409"/>
                <a:gd name="connsiteX2" fmla="*/ 3163 w 142286"/>
                <a:gd name="connsiteY2" fmla="*/ 13571 h 88409"/>
                <a:gd name="connsiteX3" fmla="*/ 792 w 142286"/>
                <a:gd name="connsiteY3" fmla="*/ 3341 h 88409"/>
                <a:gd name="connsiteX4" fmla="*/ 10593 w 142286"/>
                <a:gd name="connsiteY4" fmla="*/ 713 h 88409"/>
                <a:gd name="connsiteX5" fmla="*/ 138323 w 142286"/>
                <a:gd name="connsiteY5" fmla="*/ 74436 h 88409"/>
                <a:gd name="connsiteX6" fmla="*/ 140905 w 142286"/>
                <a:gd name="connsiteY6" fmla="*/ 84618 h 88409"/>
                <a:gd name="connsiteX7" fmla="*/ 134608 w 142286"/>
                <a:gd name="connsiteY7" fmla="*/ 88247 h 88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2286" h="88409">
                  <a:moveTo>
                    <a:pt x="134608" y="88247"/>
                  </a:moveTo>
                  <a:cubicBezTo>
                    <a:pt x="133313" y="88247"/>
                    <a:pt x="132037" y="87923"/>
                    <a:pt x="130893" y="87295"/>
                  </a:cubicBezTo>
                  <a:lnTo>
                    <a:pt x="3163" y="13571"/>
                  </a:lnTo>
                  <a:cubicBezTo>
                    <a:pt x="-323" y="11400"/>
                    <a:pt x="-1380" y="6818"/>
                    <a:pt x="792" y="3341"/>
                  </a:cubicBezTo>
                  <a:cubicBezTo>
                    <a:pt x="2859" y="17"/>
                    <a:pt x="7145" y="-1126"/>
                    <a:pt x="10593" y="713"/>
                  </a:cubicBezTo>
                  <a:lnTo>
                    <a:pt x="138323" y="74436"/>
                  </a:lnTo>
                  <a:cubicBezTo>
                    <a:pt x="141847" y="76541"/>
                    <a:pt x="143000" y="81094"/>
                    <a:pt x="140905" y="84618"/>
                  </a:cubicBezTo>
                  <a:cubicBezTo>
                    <a:pt x="139580" y="86847"/>
                    <a:pt x="137199" y="88219"/>
                    <a:pt x="134608" y="88247"/>
                  </a:cubicBezTo>
                  <a:close/>
                </a:path>
              </a:pathLst>
            </a:custGeom>
            <a:solidFill>
              <a:srgbClr val="D1D9E8"/>
            </a:solidFill>
            <a:ln w="9525" cap="flat">
              <a:noFill/>
              <a:prstDash val="solid"/>
              <a:miter/>
            </a:ln>
          </p:spPr>
          <p:txBody>
            <a:bodyPr rtlCol="0" anchor="ctr"/>
            <a:lstStyle/>
            <a:p>
              <a:endParaRPr lang="zh-CN" altLang="en-US"/>
            </a:p>
          </p:txBody>
        </p:sp>
        <p:sp>
          <p:nvSpPr>
            <p:cNvPr id="825" name="iŝḻiḑe">
              <a:extLst>
                <a:ext uri="{FF2B5EF4-FFF2-40B4-BE49-F238E27FC236}">
                  <a16:creationId xmlns:a16="http://schemas.microsoft.com/office/drawing/2014/main" id="{64F59885-A00C-472A-B6A7-DB5AAC53509D}"/>
                </a:ext>
              </a:extLst>
            </p:cNvPr>
            <p:cNvSpPr/>
            <p:nvPr/>
          </p:nvSpPr>
          <p:spPr>
            <a:xfrm>
              <a:off x="5716743" y="3357576"/>
              <a:ext cx="433985" cy="269668"/>
            </a:xfrm>
            <a:custGeom>
              <a:avLst/>
              <a:gdLst>
                <a:gd name="connsiteX0" fmla="*/ 134798 w 142574"/>
                <a:gd name="connsiteY0" fmla="*/ 88430 h 88592"/>
                <a:gd name="connsiteX1" fmla="*/ 131084 w 142574"/>
                <a:gd name="connsiteY1" fmla="*/ 87383 h 88592"/>
                <a:gd name="connsiteX2" fmla="*/ 3353 w 142574"/>
                <a:gd name="connsiteY2" fmla="*/ 13659 h 88592"/>
                <a:gd name="connsiteX3" fmla="*/ 639 w 142574"/>
                <a:gd name="connsiteY3" fmla="*/ 3648 h 88592"/>
                <a:gd name="connsiteX4" fmla="*/ 686 w 142574"/>
                <a:gd name="connsiteY4" fmla="*/ 3563 h 88592"/>
                <a:gd name="connsiteX5" fmla="*/ 10783 w 142574"/>
                <a:gd name="connsiteY5" fmla="*/ 800 h 88592"/>
                <a:gd name="connsiteX6" fmla="*/ 138513 w 142574"/>
                <a:gd name="connsiteY6" fmla="*/ 74619 h 88592"/>
                <a:gd name="connsiteX7" fmla="*/ 141275 w 142574"/>
                <a:gd name="connsiteY7" fmla="*/ 84716 h 88592"/>
                <a:gd name="connsiteX8" fmla="*/ 134798 w 142574"/>
                <a:gd name="connsiteY8" fmla="*/ 88430 h 885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574" h="88592">
                  <a:moveTo>
                    <a:pt x="134798" y="88430"/>
                  </a:moveTo>
                  <a:cubicBezTo>
                    <a:pt x="133493" y="88402"/>
                    <a:pt x="132217" y="88040"/>
                    <a:pt x="131084" y="87383"/>
                  </a:cubicBezTo>
                  <a:lnTo>
                    <a:pt x="3353" y="13659"/>
                  </a:lnTo>
                  <a:cubicBezTo>
                    <a:pt x="-161" y="11649"/>
                    <a:pt x="-1381" y="7163"/>
                    <a:pt x="639" y="3648"/>
                  </a:cubicBezTo>
                  <a:cubicBezTo>
                    <a:pt x="648" y="3620"/>
                    <a:pt x="667" y="3591"/>
                    <a:pt x="686" y="3563"/>
                  </a:cubicBezTo>
                  <a:cubicBezTo>
                    <a:pt x="2725" y="29"/>
                    <a:pt x="7230" y="-1209"/>
                    <a:pt x="10783" y="800"/>
                  </a:cubicBezTo>
                  <a:lnTo>
                    <a:pt x="138513" y="74619"/>
                  </a:lnTo>
                  <a:cubicBezTo>
                    <a:pt x="142047" y="76658"/>
                    <a:pt x="143285" y="81163"/>
                    <a:pt x="141275" y="84716"/>
                  </a:cubicBezTo>
                  <a:cubicBezTo>
                    <a:pt x="139923" y="87011"/>
                    <a:pt x="137465" y="88430"/>
                    <a:pt x="134798" y="88430"/>
                  </a:cubicBezTo>
                  <a:close/>
                </a:path>
              </a:pathLst>
            </a:custGeom>
            <a:solidFill>
              <a:srgbClr val="D1D9E8"/>
            </a:solidFill>
            <a:ln w="9525" cap="flat">
              <a:noFill/>
              <a:prstDash val="solid"/>
              <a:miter/>
            </a:ln>
          </p:spPr>
          <p:txBody>
            <a:bodyPr rtlCol="0" anchor="ctr"/>
            <a:lstStyle/>
            <a:p>
              <a:endParaRPr lang="zh-CN" altLang="en-US"/>
            </a:p>
          </p:txBody>
        </p:sp>
        <p:sp>
          <p:nvSpPr>
            <p:cNvPr id="826" name="íṧ1îḓê">
              <a:extLst>
                <a:ext uri="{FF2B5EF4-FFF2-40B4-BE49-F238E27FC236}">
                  <a16:creationId xmlns:a16="http://schemas.microsoft.com/office/drawing/2014/main" id="{1EC2C900-F6A5-4629-9C62-2C181DC65BF5}"/>
                </a:ext>
              </a:extLst>
            </p:cNvPr>
            <p:cNvSpPr/>
            <p:nvPr/>
          </p:nvSpPr>
          <p:spPr>
            <a:xfrm>
              <a:off x="5721017" y="2673928"/>
              <a:ext cx="674397" cy="922602"/>
            </a:xfrm>
            <a:custGeom>
              <a:avLst/>
              <a:gdLst>
                <a:gd name="connsiteX0" fmla="*/ 192640 w 221555"/>
                <a:gd name="connsiteY0" fmla="*/ 299023 h 303096"/>
                <a:gd name="connsiteX1" fmla="*/ 28239 w 221555"/>
                <a:gd name="connsiteY1" fmla="*/ 203773 h 303096"/>
                <a:gd name="connsiteX2" fmla="*/ -336 w 221555"/>
                <a:gd name="connsiteY2" fmla="*/ 153767 h 303096"/>
                <a:gd name="connsiteX3" fmla="*/ -336 w 221555"/>
                <a:gd name="connsiteY3" fmla="*/ 20417 h 303096"/>
                <a:gd name="connsiteX4" fmla="*/ 28239 w 221555"/>
                <a:gd name="connsiteY4" fmla="*/ 3748 h 303096"/>
                <a:gd name="connsiteX5" fmla="*/ 192640 w 221555"/>
                <a:gd name="connsiteY5" fmla="*/ 98998 h 303096"/>
                <a:gd name="connsiteX6" fmla="*/ 221215 w 221555"/>
                <a:gd name="connsiteY6" fmla="*/ 149004 h 303096"/>
                <a:gd name="connsiteX7" fmla="*/ 221215 w 221555"/>
                <a:gd name="connsiteY7" fmla="*/ 282354 h 303096"/>
                <a:gd name="connsiteX8" fmla="*/ 192640 w 221555"/>
                <a:gd name="connsiteY8" fmla="*/ 299023 h 303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1555" h="303096">
                  <a:moveTo>
                    <a:pt x="192640" y="299023"/>
                  </a:moveTo>
                  <a:lnTo>
                    <a:pt x="28239" y="203773"/>
                  </a:lnTo>
                  <a:cubicBezTo>
                    <a:pt x="11293" y="192610"/>
                    <a:pt x="683" y="174036"/>
                    <a:pt x="-336" y="153767"/>
                  </a:cubicBezTo>
                  <a:lnTo>
                    <a:pt x="-336" y="20417"/>
                  </a:lnTo>
                  <a:cubicBezTo>
                    <a:pt x="-336" y="2034"/>
                    <a:pt x="12618" y="-5396"/>
                    <a:pt x="28239" y="3748"/>
                  </a:cubicBezTo>
                  <a:lnTo>
                    <a:pt x="192640" y="98998"/>
                  </a:lnTo>
                  <a:cubicBezTo>
                    <a:pt x="209547" y="110200"/>
                    <a:pt x="220148" y="128754"/>
                    <a:pt x="221215" y="149004"/>
                  </a:cubicBezTo>
                  <a:lnTo>
                    <a:pt x="221215" y="282354"/>
                  </a:lnTo>
                  <a:cubicBezTo>
                    <a:pt x="221501" y="300738"/>
                    <a:pt x="208547" y="308167"/>
                    <a:pt x="192640" y="299023"/>
                  </a:cubicBezTo>
                  <a:close/>
                </a:path>
              </a:pathLst>
            </a:custGeom>
            <a:solidFill>
              <a:srgbClr val="D1D9E8"/>
            </a:solidFill>
            <a:ln w="9525" cap="flat">
              <a:noFill/>
              <a:prstDash val="solid"/>
              <a:miter/>
            </a:ln>
          </p:spPr>
          <p:txBody>
            <a:bodyPr rtlCol="0" anchor="ctr"/>
            <a:lstStyle/>
            <a:p>
              <a:endParaRPr lang="zh-CN" altLang="en-US"/>
            </a:p>
          </p:txBody>
        </p:sp>
        <p:sp>
          <p:nvSpPr>
            <p:cNvPr id="827" name="iṡļiḑè">
              <a:extLst>
                <a:ext uri="{FF2B5EF4-FFF2-40B4-BE49-F238E27FC236}">
                  <a16:creationId xmlns:a16="http://schemas.microsoft.com/office/drawing/2014/main" id="{1B134461-EF03-4910-8FE7-C60869608561}"/>
                </a:ext>
              </a:extLst>
            </p:cNvPr>
            <p:cNvSpPr/>
            <p:nvPr/>
          </p:nvSpPr>
          <p:spPr>
            <a:xfrm>
              <a:off x="5684667" y="2813404"/>
              <a:ext cx="92307" cy="154534"/>
            </a:xfrm>
            <a:custGeom>
              <a:avLst/>
              <a:gdLst>
                <a:gd name="connsiteX0" fmla="*/ 12272 w 30325"/>
                <a:gd name="connsiteY0" fmla="*/ 50606 h 50768"/>
                <a:gd name="connsiteX1" fmla="*/ 29989 w 30325"/>
                <a:gd name="connsiteY1" fmla="*/ 40414 h 50768"/>
                <a:gd name="connsiteX2" fmla="*/ 17416 w 30325"/>
                <a:gd name="connsiteY2" fmla="*/ 3171 h 50768"/>
                <a:gd name="connsiteX3" fmla="*/ 17416 w 30325"/>
                <a:gd name="connsiteY3" fmla="*/ -163 h 50768"/>
                <a:gd name="connsiteX4" fmla="*/ -301 w 30325"/>
                <a:gd name="connsiteY4" fmla="*/ 10029 h 50768"/>
                <a:gd name="connsiteX5" fmla="*/ -301 w 30325"/>
                <a:gd name="connsiteY5" fmla="*/ 12220 h 50768"/>
                <a:gd name="connsiteX6" fmla="*/ -301 w 30325"/>
                <a:gd name="connsiteY6" fmla="*/ 12220 h 50768"/>
                <a:gd name="connsiteX7" fmla="*/ -301 w 30325"/>
                <a:gd name="connsiteY7" fmla="*/ 13363 h 50768"/>
                <a:gd name="connsiteX8" fmla="*/ 12272 w 30325"/>
                <a:gd name="connsiteY8" fmla="*/ 50606 h 50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325" h="50768">
                  <a:moveTo>
                    <a:pt x="12272" y="50606"/>
                  </a:moveTo>
                  <a:lnTo>
                    <a:pt x="29989" y="40414"/>
                  </a:lnTo>
                  <a:cubicBezTo>
                    <a:pt x="22321" y="29460"/>
                    <a:pt x="17949" y="16535"/>
                    <a:pt x="17416" y="3171"/>
                  </a:cubicBezTo>
                  <a:cubicBezTo>
                    <a:pt x="17416" y="2028"/>
                    <a:pt x="17416" y="885"/>
                    <a:pt x="17416" y="-163"/>
                  </a:cubicBezTo>
                  <a:lnTo>
                    <a:pt x="-301" y="10029"/>
                  </a:lnTo>
                  <a:cubicBezTo>
                    <a:pt x="-301" y="10696"/>
                    <a:pt x="-301" y="11458"/>
                    <a:pt x="-301" y="12220"/>
                  </a:cubicBezTo>
                  <a:lnTo>
                    <a:pt x="-301" y="12220"/>
                  </a:lnTo>
                  <a:cubicBezTo>
                    <a:pt x="-348" y="12601"/>
                    <a:pt x="-348" y="12982"/>
                    <a:pt x="-301" y="13363"/>
                  </a:cubicBezTo>
                  <a:cubicBezTo>
                    <a:pt x="233" y="26726"/>
                    <a:pt x="4605" y="39652"/>
                    <a:pt x="12272" y="50606"/>
                  </a:cubicBezTo>
                  <a:close/>
                </a:path>
              </a:pathLst>
            </a:custGeom>
            <a:solidFill>
              <a:srgbClr val="214EA6"/>
            </a:solidFill>
            <a:ln w="9525" cap="flat">
              <a:noFill/>
              <a:prstDash val="solid"/>
              <a:miter/>
            </a:ln>
          </p:spPr>
          <p:txBody>
            <a:bodyPr rtlCol="0" anchor="ctr"/>
            <a:lstStyle/>
            <a:p>
              <a:endParaRPr lang="zh-CN" altLang="en-US"/>
            </a:p>
          </p:txBody>
        </p:sp>
        <p:sp>
          <p:nvSpPr>
            <p:cNvPr id="828" name="ïṧľîdé">
              <a:extLst>
                <a:ext uri="{FF2B5EF4-FFF2-40B4-BE49-F238E27FC236}">
                  <a16:creationId xmlns:a16="http://schemas.microsoft.com/office/drawing/2014/main" id="{4A73E1D4-A6C8-4D75-AA25-A4CDB96CB4DC}"/>
                </a:ext>
              </a:extLst>
            </p:cNvPr>
            <p:cNvSpPr/>
            <p:nvPr/>
          </p:nvSpPr>
          <p:spPr>
            <a:xfrm>
              <a:off x="5623021" y="2802385"/>
              <a:ext cx="100026" cy="199475"/>
            </a:xfrm>
            <a:custGeom>
              <a:avLst/>
              <a:gdLst>
                <a:gd name="connsiteX0" fmla="*/ 19761 w 32861"/>
                <a:gd name="connsiteY0" fmla="*/ 65369 h 65532"/>
                <a:gd name="connsiteX1" fmla="*/ 32525 w 32861"/>
                <a:gd name="connsiteY1" fmla="*/ 54225 h 65532"/>
                <a:gd name="connsiteX2" fmla="*/ 19952 w 32861"/>
                <a:gd name="connsiteY2" fmla="*/ 16982 h 65532"/>
                <a:gd name="connsiteX3" fmla="*/ 19952 w 32861"/>
                <a:gd name="connsiteY3" fmla="*/ 15839 h 65532"/>
                <a:gd name="connsiteX4" fmla="*/ 19952 w 32861"/>
                <a:gd name="connsiteY4" fmla="*/ 15839 h 65532"/>
                <a:gd name="connsiteX5" fmla="*/ 19952 w 32861"/>
                <a:gd name="connsiteY5" fmla="*/ 13649 h 65532"/>
                <a:gd name="connsiteX6" fmla="*/ 19190 w 32861"/>
                <a:gd name="connsiteY6" fmla="*/ 13077 h 65532"/>
                <a:gd name="connsiteX7" fmla="*/ -336 w 32861"/>
                <a:gd name="connsiteY7" fmla="*/ -163 h 65532"/>
                <a:gd name="connsiteX8" fmla="*/ -336 w 32861"/>
                <a:gd name="connsiteY8" fmla="*/ 5171 h 65532"/>
                <a:gd name="connsiteX9" fmla="*/ 19761 w 32861"/>
                <a:gd name="connsiteY9" fmla="*/ 65369 h 65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2861" h="65532">
                  <a:moveTo>
                    <a:pt x="19761" y="65369"/>
                  </a:moveTo>
                  <a:lnTo>
                    <a:pt x="32525" y="54225"/>
                  </a:lnTo>
                  <a:cubicBezTo>
                    <a:pt x="24857" y="43271"/>
                    <a:pt x="20485" y="30346"/>
                    <a:pt x="19952" y="16982"/>
                  </a:cubicBezTo>
                  <a:cubicBezTo>
                    <a:pt x="19904" y="16601"/>
                    <a:pt x="19904" y="16220"/>
                    <a:pt x="19952" y="15839"/>
                  </a:cubicBezTo>
                  <a:lnTo>
                    <a:pt x="19952" y="15839"/>
                  </a:lnTo>
                  <a:cubicBezTo>
                    <a:pt x="19952" y="15077"/>
                    <a:pt x="19952" y="14315"/>
                    <a:pt x="19952" y="13649"/>
                  </a:cubicBezTo>
                  <a:lnTo>
                    <a:pt x="19190" y="13077"/>
                  </a:lnTo>
                  <a:lnTo>
                    <a:pt x="-336" y="-163"/>
                  </a:lnTo>
                  <a:cubicBezTo>
                    <a:pt x="-336" y="1552"/>
                    <a:pt x="-336" y="3266"/>
                    <a:pt x="-336" y="5171"/>
                  </a:cubicBezTo>
                  <a:cubicBezTo>
                    <a:pt x="549" y="26736"/>
                    <a:pt x="7512" y="47605"/>
                    <a:pt x="19761" y="65369"/>
                  </a:cubicBezTo>
                  <a:close/>
                </a:path>
              </a:pathLst>
            </a:custGeom>
            <a:solidFill>
              <a:srgbClr val="316DE6"/>
            </a:solidFill>
            <a:ln w="9525" cap="flat">
              <a:noFill/>
              <a:prstDash val="solid"/>
              <a:miter/>
            </a:ln>
          </p:spPr>
          <p:txBody>
            <a:bodyPr rtlCol="0" anchor="ctr"/>
            <a:lstStyle/>
            <a:p>
              <a:endParaRPr lang="zh-CN" altLang="en-US"/>
            </a:p>
          </p:txBody>
        </p:sp>
        <p:sp>
          <p:nvSpPr>
            <p:cNvPr id="829" name="îŝlîḍé">
              <a:extLst>
                <a:ext uri="{FF2B5EF4-FFF2-40B4-BE49-F238E27FC236}">
                  <a16:creationId xmlns:a16="http://schemas.microsoft.com/office/drawing/2014/main" id="{E9406A8C-7ADA-4D4F-8048-8A09D241813C}"/>
                </a:ext>
              </a:extLst>
            </p:cNvPr>
            <p:cNvSpPr/>
            <p:nvPr/>
          </p:nvSpPr>
          <p:spPr>
            <a:xfrm>
              <a:off x="5623599" y="2757444"/>
              <a:ext cx="115392" cy="86688"/>
            </a:xfrm>
            <a:custGeom>
              <a:avLst/>
              <a:gdLst>
                <a:gd name="connsiteX0" fmla="*/ 0 w 37909"/>
                <a:gd name="connsiteY0" fmla="*/ 14668 h 28479"/>
                <a:gd name="connsiteX1" fmla="*/ 25527 w 37909"/>
                <a:gd name="connsiteY1" fmla="*/ 0 h 28479"/>
                <a:gd name="connsiteX2" fmla="*/ 37909 w 37909"/>
                <a:gd name="connsiteY2" fmla="*/ 18288 h 28479"/>
                <a:gd name="connsiteX3" fmla="*/ 20288 w 37909"/>
                <a:gd name="connsiteY3" fmla="*/ 28480 h 28479"/>
                <a:gd name="connsiteX4" fmla="*/ 0 w 37909"/>
                <a:gd name="connsiteY4" fmla="*/ 14668 h 284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09" h="28479">
                  <a:moveTo>
                    <a:pt x="0" y="14668"/>
                  </a:moveTo>
                  <a:lnTo>
                    <a:pt x="25527" y="0"/>
                  </a:lnTo>
                  <a:lnTo>
                    <a:pt x="37909" y="18288"/>
                  </a:lnTo>
                  <a:lnTo>
                    <a:pt x="20288" y="28480"/>
                  </a:lnTo>
                  <a:lnTo>
                    <a:pt x="0" y="14668"/>
                  </a:lnTo>
                  <a:close/>
                </a:path>
              </a:pathLst>
            </a:custGeom>
            <a:solidFill>
              <a:srgbClr val="323A82"/>
            </a:solidFill>
            <a:ln w="9525" cap="flat">
              <a:noFill/>
              <a:prstDash val="solid"/>
              <a:miter/>
            </a:ln>
          </p:spPr>
          <p:txBody>
            <a:bodyPr rtlCol="0" anchor="ctr"/>
            <a:lstStyle/>
            <a:p>
              <a:endParaRPr lang="zh-CN" altLang="en-US"/>
            </a:p>
          </p:txBody>
        </p:sp>
        <p:sp>
          <p:nvSpPr>
            <p:cNvPr id="830" name="ïšļíḑè">
              <a:extLst>
                <a:ext uri="{FF2B5EF4-FFF2-40B4-BE49-F238E27FC236}">
                  <a16:creationId xmlns:a16="http://schemas.microsoft.com/office/drawing/2014/main" id="{EA1258CE-D948-45DA-9436-79899DB17B28}"/>
                </a:ext>
              </a:extLst>
            </p:cNvPr>
            <p:cNvSpPr/>
            <p:nvPr/>
          </p:nvSpPr>
          <p:spPr>
            <a:xfrm>
              <a:off x="5684195" y="2936914"/>
              <a:ext cx="92487" cy="64653"/>
            </a:xfrm>
            <a:custGeom>
              <a:avLst/>
              <a:gdLst>
                <a:gd name="connsiteX0" fmla="*/ 0 w 30384"/>
                <a:gd name="connsiteY0" fmla="*/ 21241 h 21240"/>
                <a:gd name="connsiteX1" fmla="*/ 23622 w 30384"/>
                <a:gd name="connsiteY1" fmla="*/ 7715 h 21240"/>
                <a:gd name="connsiteX2" fmla="*/ 30385 w 30384"/>
                <a:gd name="connsiteY2" fmla="*/ 0 h 21240"/>
                <a:gd name="connsiteX3" fmla="*/ 12668 w 30384"/>
                <a:gd name="connsiteY3" fmla="*/ 10192 h 21240"/>
                <a:gd name="connsiteX4" fmla="*/ 0 w 30384"/>
                <a:gd name="connsiteY4" fmla="*/ 21241 h 212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384" h="21240">
                  <a:moveTo>
                    <a:pt x="0" y="21241"/>
                  </a:moveTo>
                  <a:lnTo>
                    <a:pt x="23622" y="7715"/>
                  </a:lnTo>
                  <a:lnTo>
                    <a:pt x="30385" y="0"/>
                  </a:lnTo>
                  <a:lnTo>
                    <a:pt x="12668" y="10192"/>
                  </a:lnTo>
                  <a:lnTo>
                    <a:pt x="0" y="21241"/>
                  </a:lnTo>
                  <a:close/>
                </a:path>
              </a:pathLst>
            </a:custGeom>
            <a:solidFill>
              <a:srgbClr val="171A42"/>
            </a:solidFill>
            <a:ln w="9525" cap="flat">
              <a:noFill/>
              <a:prstDash val="solid"/>
              <a:miter/>
            </a:ln>
          </p:spPr>
          <p:txBody>
            <a:bodyPr rtlCol="0" anchor="ctr"/>
            <a:lstStyle/>
            <a:p>
              <a:endParaRPr lang="zh-CN" altLang="en-US"/>
            </a:p>
          </p:txBody>
        </p:sp>
        <p:sp>
          <p:nvSpPr>
            <p:cNvPr id="831" name="isḻíḓé">
              <a:extLst>
                <a:ext uri="{FF2B5EF4-FFF2-40B4-BE49-F238E27FC236}">
                  <a16:creationId xmlns:a16="http://schemas.microsoft.com/office/drawing/2014/main" id="{5A73807E-06F1-4E91-B6DF-3591A48E13D7}"/>
                </a:ext>
              </a:extLst>
            </p:cNvPr>
            <p:cNvSpPr/>
            <p:nvPr/>
          </p:nvSpPr>
          <p:spPr>
            <a:xfrm>
              <a:off x="5735223" y="2763243"/>
              <a:ext cx="31021" cy="17685"/>
            </a:xfrm>
            <a:custGeom>
              <a:avLst/>
              <a:gdLst>
                <a:gd name="connsiteX0" fmla="*/ -336 w 10191"/>
                <a:gd name="connsiteY0" fmla="*/ 5647 h 5810"/>
                <a:gd name="connsiteX1" fmla="*/ 9855 w 10191"/>
                <a:gd name="connsiteY1" fmla="*/ -163 h 5810"/>
                <a:gd name="connsiteX2" fmla="*/ 2331 w 10191"/>
                <a:gd name="connsiteY2" fmla="*/ 2980 h 5810"/>
                <a:gd name="connsiteX3" fmla="*/ -336 w 10191"/>
                <a:gd name="connsiteY3" fmla="*/ 5647 h 5810"/>
              </a:gdLst>
              <a:ahLst/>
              <a:cxnLst>
                <a:cxn ang="0">
                  <a:pos x="connsiteX0" y="connsiteY0"/>
                </a:cxn>
                <a:cxn ang="0">
                  <a:pos x="connsiteX1" y="connsiteY1"/>
                </a:cxn>
                <a:cxn ang="0">
                  <a:pos x="connsiteX2" y="connsiteY2"/>
                </a:cxn>
                <a:cxn ang="0">
                  <a:pos x="connsiteX3" y="connsiteY3"/>
                </a:cxn>
              </a:cxnLst>
              <a:rect l="l" t="t" r="r" b="b"/>
              <a:pathLst>
                <a:path w="10191" h="5810">
                  <a:moveTo>
                    <a:pt x="-336" y="5647"/>
                  </a:moveTo>
                  <a:lnTo>
                    <a:pt x="9855" y="-163"/>
                  </a:lnTo>
                  <a:cubicBezTo>
                    <a:pt x="7122" y="218"/>
                    <a:pt x="4531" y="1304"/>
                    <a:pt x="2331" y="2980"/>
                  </a:cubicBezTo>
                  <a:cubicBezTo>
                    <a:pt x="1350" y="3771"/>
                    <a:pt x="454" y="4666"/>
                    <a:pt x="-336" y="5647"/>
                  </a:cubicBezTo>
                  <a:close/>
                </a:path>
              </a:pathLst>
            </a:custGeom>
            <a:solidFill>
              <a:srgbClr val="D9530B"/>
            </a:solidFill>
            <a:ln w="9525" cap="flat">
              <a:noFill/>
              <a:prstDash val="solid"/>
              <a:miter/>
            </a:ln>
          </p:spPr>
          <p:txBody>
            <a:bodyPr rtlCol="0" anchor="ctr"/>
            <a:lstStyle/>
            <a:p>
              <a:endParaRPr lang="zh-CN" altLang="en-US"/>
            </a:p>
          </p:txBody>
        </p:sp>
        <p:sp>
          <p:nvSpPr>
            <p:cNvPr id="832" name="ïśliḋê">
              <a:extLst>
                <a:ext uri="{FF2B5EF4-FFF2-40B4-BE49-F238E27FC236}">
                  <a16:creationId xmlns:a16="http://schemas.microsoft.com/office/drawing/2014/main" id="{F29405DE-2A04-4565-837A-930752D6186D}"/>
                </a:ext>
              </a:extLst>
            </p:cNvPr>
            <p:cNvSpPr/>
            <p:nvPr/>
          </p:nvSpPr>
          <p:spPr>
            <a:xfrm>
              <a:off x="5706230" y="2651093"/>
              <a:ext cx="281816" cy="172168"/>
            </a:xfrm>
            <a:custGeom>
              <a:avLst/>
              <a:gdLst>
                <a:gd name="connsiteX0" fmla="*/ 74530 w 92583"/>
                <a:gd name="connsiteY0" fmla="*/ 56399 h 56561"/>
                <a:gd name="connsiteX1" fmla="*/ 92247 w 92583"/>
                <a:gd name="connsiteY1" fmla="*/ 46207 h 56561"/>
                <a:gd name="connsiteX2" fmla="*/ 55099 w 92583"/>
                <a:gd name="connsiteY2" fmla="*/ 7250 h 56561"/>
                <a:gd name="connsiteX3" fmla="*/ 16999 w 92583"/>
                <a:gd name="connsiteY3" fmla="*/ 3440 h 56561"/>
                <a:gd name="connsiteX4" fmla="*/ -336 w 92583"/>
                <a:gd name="connsiteY4" fmla="*/ 13631 h 56561"/>
                <a:gd name="connsiteX5" fmla="*/ 9189 w 92583"/>
                <a:gd name="connsiteY5" fmla="*/ 10393 h 56561"/>
                <a:gd name="connsiteX6" fmla="*/ 10141 w 92583"/>
                <a:gd name="connsiteY6" fmla="*/ 10393 h 56561"/>
                <a:gd name="connsiteX7" fmla="*/ 37192 w 92583"/>
                <a:gd name="connsiteY7" fmla="*/ 17632 h 56561"/>
                <a:gd name="connsiteX8" fmla="*/ 53956 w 92583"/>
                <a:gd name="connsiteY8" fmla="*/ 30491 h 56561"/>
                <a:gd name="connsiteX9" fmla="*/ 53956 w 92583"/>
                <a:gd name="connsiteY9" fmla="*/ 30491 h 56561"/>
                <a:gd name="connsiteX10" fmla="*/ 74530 w 92583"/>
                <a:gd name="connsiteY10" fmla="*/ 56399 h 565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2583" h="56561">
                  <a:moveTo>
                    <a:pt x="74530" y="56399"/>
                  </a:moveTo>
                  <a:lnTo>
                    <a:pt x="92247" y="46207"/>
                  </a:lnTo>
                  <a:cubicBezTo>
                    <a:pt x="83303" y="30329"/>
                    <a:pt x="70539" y="16936"/>
                    <a:pt x="55099" y="7250"/>
                  </a:cubicBezTo>
                  <a:cubicBezTo>
                    <a:pt x="40240" y="-1323"/>
                    <a:pt x="26524" y="-2275"/>
                    <a:pt x="16999" y="3440"/>
                  </a:cubicBezTo>
                  <a:lnTo>
                    <a:pt x="-336" y="13631"/>
                  </a:lnTo>
                  <a:cubicBezTo>
                    <a:pt x="2588" y="11917"/>
                    <a:pt x="5826" y="10812"/>
                    <a:pt x="9189" y="10393"/>
                  </a:cubicBezTo>
                  <a:lnTo>
                    <a:pt x="10141" y="10393"/>
                  </a:lnTo>
                  <a:cubicBezTo>
                    <a:pt x="19695" y="9945"/>
                    <a:pt x="29144" y="12479"/>
                    <a:pt x="37192" y="17632"/>
                  </a:cubicBezTo>
                  <a:cubicBezTo>
                    <a:pt x="43260" y="21251"/>
                    <a:pt x="48879" y="25576"/>
                    <a:pt x="53956" y="30491"/>
                  </a:cubicBezTo>
                  <a:lnTo>
                    <a:pt x="53956" y="30491"/>
                  </a:lnTo>
                  <a:cubicBezTo>
                    <a:pt x="61948" y="38158"/>
                    <a:pt x="68872" y="46874"/>
                    <a:pt x="74530" y="56399"/>
                  </a:cubicBezTo>
                  <a:close/>
                </a:path>
              </a:pathLst>
            </a:custGeom>
            <a:solidFill>
              <a:srgbClr val="D9530B"/>
            </a:solidFill>
            <a:ln w="9525" cap="flat">
              <a:noFill/>
              <a:prstDash val="solid"/>
              <a:miter/>
            </a:ln>
          </p:spPr>
          <p:txBody>
            <a:bodyPr rtlCol="0" anchor="ctr"/>
            <a:lstStyle/>
            <a:p>
              <a:endParaRPr lang="zh-CN" altLang="en-US"/>
            </a:p>
          </p:txBody>
        </p:sp>
        <p:sp>
          <p:nvSpPr>
            <p:cNvPr id="833" name="îsḻîḑê">
              <a:extLst>
                <a:ext uri="{FF2B5EF4-FFF2-40B4-BE49-F238E27FC236}">
                  <a16:creationId xmlns:a16="http://schemas.microsoft.com/office/drawing/2014/main" id="{55CB0A6F-EB1D-46AE-8BE3-46E54E88FAA6}"/>
                </a:ext>
              </a:extLst>
            </p:cNvPr>
            <p:cNvSpPr/>
            <p:nvPr/>
          </p:nvSpPr>
          <p:spPr>
            <a:xfrm>
              <a:off x="5685936" y="2682488"/>
              <a:ext cx="248181" cy="167154"/>
            </a:xfrm>
            <a:custGeom>
              <a:avLst/>
              <a:gdLst>
                <a:gd name="connsiteX0" fmla="*/ 67005 w 81533"/>
                <a:gd name="connsiteY0" fmla="*/ 54752 h 54914"/>
                <a:gd name="connsiteX1" fmla="*/ 81198 w 81533"/>
                <a:gd name="connsiteY1" fmla="*/ 46084 h 54914"/>
                <a:gd name="connsiteX2" fmla="*/ 60814 w 81533"/>
                <a:gd name="connsiteY2" fmla="*/ 19986 h 54914"/>
                <a:gd name="connsiteX3" fmla="*/ 60814 w 81533"/>
                <a:gd name="connsiteY3" fmla="*/ 19986 h 54914"/>
                <a:gd name="connsiteX4" fmla="*/ 44431 w 81533"/>
                <a:gd name="connsiteY4" fmla="*/ 7127 h 54914"/>
                <a:gd name="connsiteX5" fmla="*/ 17380 w 81533"/>
                <a:gd name="connsiteY5" fmla="*/ -112 h 54914"/>
                <a:gd name="connsiteX6" fmla="*/ 16428 w 81533"/>
                <a:gd name="connsiteY6" fmla="*/ -112 h 54914"/>
                <a:gd name="connsiteX7" fmla="*/ 6903 w 81533"/>
                <a:gd name="connsiteY7" fmla="*/ 3127 h 54914"/>
                <a:gd name="connsiteX8" fmla="*/ -336 w 81533"/>
                <a:gd name="connsiteY8" fmla="*/ 9318 h 54914"/>
                <a:gd name="connsiteX9" fmla="*/ 9189 w 81533"/>
                <a:gd name="connsiteY9" fmla="*/ 21891 h 54914"/>
                <a:gd name="connsiteX10" fmla="*/ 9855 w 81533"/>
                <a:gd name="connsiteY10" fmla="*/ 22748 h 54914"/>
                <a:gd name="connsiteX11" fmla="*/ 9855 w 81533"/>
                <a:gd name="connsiteY11" fmla="*/ 22748 h 54914"/>
                <a:gd name="connsiteX12" fmla="*/ 16809 w 81533"/>
                <a:gd name="connsiteY12" fmla="*/ 32273 h 54914"/>
                <a:gd name="connsiteX13" fmla="*/ 19476 w 81533"/>
                <a:gd name="connsiteY13" fmla="*/ 29606 h 54914"/>
                <a:gd name="connsiteX14" fmla="*/ 27001 w 81533"/>
                <a:gd name="connsiteY14" fmla="*/ 26463 h 54914"/>
                <a:gd name="connsiteX15" fmla="*/ 31954 w 81533"/>
                <a:gd name="connsiteY15" fmla="*/ 26463 h 54914"/>
                <a:gd name="connsiteX16" fmla="*/ 44812 w 81533"/>
                <a:gd name="connsiteY16" fmla="*/ 30940 h 54914"/>
                <a:gd name="connsiteX17" fmla="*/ 67005 w 81533"/>
                <a:gd name="connsiteY17" fmla="*/ 54752 h 54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1533" h="54914">
                  <a:moveTo>
                    <a:pt x="67005" y="54752"/>
                  </a:moveTo>
                  <a:lnTo>
                    <a:pt x="81198" y="46084"/>
                  </a:lnTo>
                  <a:cubicBezTo>
                    <a:pt x="75607" y="36502"/>
                    <a:pt x="68749" y="27730"/>
                    <a:pt x="60814" y="19986"/>
                  </a:cubicBezTo>
                  <a:lnTo>
                    <a:pt x="60814" y="19986"/>
                  </a:lnTo>
                  <a:cubicBezTo>
                    <a:pt x="55861" y="15090"/>
                    <a:pt x="50365" y="10775"/>
                    <a:pt x="44431" y="7127"/>
                  </a:cubicBezTo>
                  <a:cubicBezTo>
                    <a:pt x="36383" y="1974"/>
                    <a:pt x="26934" y="-560"/>
                    <a:pt x="17380" y="-112"/>
                  </a:cubicBezTo>
                  <a:lnTo>
                    <a:pt x="16428" y="-112"/>
                  </a:lnTo>
                  <a:cubicBezTo>
                    <a:pt x="13065" y="307"/>
                    <a:pt x="9827" y="1412"/>
                    <a:pt x="6903" y="3127"/>
                  </a:cubicBezTo>
                  <a:cubicBezTo>
                    <a:pt x="4131" y="4736"/>
                    <a:pt x="1683" y="6832"/>
                    <a:pt x="-336" y="9318"/>
                  </a:cubicBezTo>
                  <a:lnTo>
                    <a:pt x="9189" y="21891"/>
                  </a:lnTo>
                  <a:lnTo>
                    <a:pt x="9855" y="22748"/>
                  </a:lnTo>
                  <a:lnTo>
                    <a:pt x="9855" y="22748"/>
                  </a:lnTo>
                  <a:lnTo>
                    <a:pt x="16809" y="32273"/>
                  </a:lnTo>
                  <a:cubicBezTo>
                    <a:pt x="17599" y="31292"/>
                    <a:pt x="18495" y="30397"/>
                    <a:pt x="19476" y="29606"/>
                  </a:cubicBezTo>
                  <a:cubicBezTo>
                    <a:pt x="21676" y="27930"/>
                    <a:pt x="24267" y="26844"/>
                    <a:pt x="27001" y="26463"/>
                  </a:cubicBezTo>
                  <a:cubicBezTo>
                    <a:pt x="28639" y="26215"/>
                    <a:pt x="30315" y="26215"/>
                    <a:pt x="31954" y="26463"/>
                  </a:cubicBezTo>
                  <a:cubicBezTo>
                    <a:pt x="36516" y="27015"/>
                    <a:pt x="40897" y="28539"/>
                    <a:pt x="44812" y="30940"/>
                  </a:cubicBezTo>
                  <a:cubicBezTo>
                    <a:pt x="54061" y="36921"/>
                    <a:pt x="61691" y="45103"/>
                    <a:pt x="67005" y="54752"/>
                  </a:cubicBezTo>
                  <a:close/>
                </a:path>
              </a:pathLst>
            </a:custGeom>
            <a:solidFill>
              <a:srgbClr val="FF7D33"/>
            </a:solidFill>
            <a:ln w="9525" cap="flat">
              <a:noFill/>
              <a:prstDash val="solid"/>
              <a:miter/>
            </a:ln>
          </p:spPr>
          <p:txBody>
            <a:bodyPr rtlCol="0" anchor="ctr"/>
            <a:lstStyle/>
            <a:p>
              <a:endParaRPr lang="zh-CN" altLang="en-US"/>
            </a:p>
          </p:txBody>
        </p:sp>
        <p:sp>
          <p:nvSpPr>
            <p:cNvPr id="834" name="ïṥļíḍê">
              <a:extLst>
                <a:ext uri="{FF2B5EF4-FFF2-40B4-BE49-F238E27FC236}">
                  <a16:creationId xmlns:a16="http://schemas.microsoft.com/office/drawing/2014/main" id="{1DBF95BD-F3B9-4C5C-ADEC-EE0283F866BF}"/>
                </a:ext>
              </a:extLst>
            </p:cNvPr>
            <p:cNvSpPr/>
            <p:nvPr/>
          </p:nvSpPr>
          <p:spPr>
            <a:xfrm>
              <a:off x="5934119" y="2792236"/>
              <a:ext cx="104041" cy="300950"/>
            </a:xfrm>
            <a:custGeom>
              <a:avLst/>
              <a:gdLst>
                <a:gd name="connsiteX0" fmla="*/ 140 w 34180"/>
                <a:gd name="connsiteY0" fmla="*/ 98707 h 98869"/>
                <a:gd name="connsiteX1" fmla="*/ 17856 w 34180"/>
                <a:gd name="connsiteY1" fmla="*/ 88515 h 98869"/>
                <a:gd name="connsiteX2" fmla="*/ 33668 w 34180"/>
                <a:gd name="connsiteY2" fmla="*/ 53844 h 98869"/>
                <a:gd name="connsiteX3" fmla="*/ 17380 w 34180"/>
                <a:gd name="connsiteY3" fmla="*/ -163 h 98869"/>
                <a:gd name="connsiteX4" fmla="*/ -336 w 34180"/>
                <a:gd name="connsiteY4" fmla="*/ 10029 h 98869"/>
                <a:gd name="connsiteX5" fmla="*/ 13285 w 34180"/>
                <a:gd name="connsiteY5" fmla="*/ 43081 h 98869"/>
                <a:gd name="connsiteX6" fmla="*/ 15952 w 34180"/>
                <a:gd name="connsiteY6" fmla="*/ 64036 h 98869"/>
                <a:gd name="connsiteX7" fmla="*/ 10998 w 34180"/>
                <a:gd name="connsiteY7" fmla="*/ 86991 h 98869"/>
                <a:gd name="connsiteX8" fmla="*/ 7951 w 34180"/>
                <a:gd name="connsiteY8" fmla="*/ 91754 h 98869"/>
                <a:gd name="connsiteX9" fmla="*/ 140 w 34180"/>
                <a:gd name="connsiteY9" fmla="*/ 98707 h 98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4180" h="98869">
                  <a:moveTo>
                    <a:pt x="140" y="98707"/>
                  </a:moveTo>
                  <a:lnTo>
                    <a:pt x="17856" y="88515"/>
                  </a:lnTo>
                  <a:cubicBezTo>
                    <a:pt x="28944" y="80609"/>
                    <a:pt x="34973" y="67398"/>
                    <a:pt x="33668" y="53844"/>
                  </a:cubicBezTo>
                  <a:cubicBezTo>
                    <a:pt x="32982" y="34737"/>
                    <a:pt x="27372" y="16135"/>
                    <a:pt x="17380" y="-163"/>
                  </a:cubicBezTo>
                  <a:lnTo>
                    <a:pt x="-336" y="10029"/>
                  </a:lnTo>
                  <a:cubicBezTo>
                    <a:pt x="5779" y="20326"/>
                    <a:pt x="10370" y="31460"/>
                    <a:pt x="13285" y="43081"/>
                  </a:cubicBezTo>
                  <a:cubicBezTo>
                    <a:pt x="14989" y="49939"/>
                    <a:pt x="15885" y="56968"/>
                    <a:pt x="15952" y="64036"/>
                  </a:cubicBezTo>
                  <a:cubicBezTo>
                    <a:pt x="16104" y="71970"/>
                    <a:pt x="14408" y="79828"/>
                    <a:pt x="10998" y="86991"/>
                  </a:cubicBezTo>
                  <a:cubicBezTo>
                    <a:pt x="10151" y="88677"/>
                    <a:pt x="9132" y="90277"/>
                    <a:pt x="7951" y="91754"/>
                  </a:cubicBezTo>
                  <a:cubicBezTo>
                    <a:pt x="5855" y="94582"/>
                    <a:pt x="3188" y="96945"/>
                    <a:pt x="140" y="98707"/>
                  </a:cubicBezTo>
                  <a:close/>
                </a:path>
              </a:pathLst>
            </a:custGeom>
            <a:solidFill>
              <a:srgbClr val="171A42"/>
            </a:solidFill>
            <a:ln w="9525" cap="flat">
              <a:noFill/>
              <a:prstDash val="solid"/>
              <a:miter/>
            </a:ln>
          </p:spPr>
          <p:txBody>
            <a:bodyPr rtlCol="0" anchor="ctr"/>
            <a:lstStyle/>
            <a:p>
              <a:endParaRPr lang="zh-CN" altLang="en-US"/>
            </a:p>
          </p:txBody>
        </p:sp>
        <p:sp>
          <p:nvSpPr>
            <p:cNvPr id="835" name="ïṧľîďê">
              <a:extLst>
                <a:ext uri="{FF2B5EF4-FFF2-40B4-BE49-F238E27FC236}">
                  <a16:creationId xmlns:a16="http://schemas.microsoft.com/office/drawing/2014/main" id="{9ED0951F-C03D-4CAE-8A53-84FF6AAA820C}"/>
                </a:ext>
              </a:extLst>
            </p:cNvPr>
            <p:cNvSpPr/>
            <p:nvPr/>
          </p:nvSpPr>
          <p:spPr>
            <a:xfrm>
              <a:off x="5882510" y="2823260"/>
              <a:ext cx="101214" cy="276596"/>
            </a:xfrm>
            <a:custGeom>
              <a:avLst/>
              <a:gdLst>
                <a:gd name="connsiteX0" fmla="*/ 17095 w 33251"/>
                <a:gd name="connsiteY0" fmla="*/ 88515 h 90868"/>
                <a:gd name="connsiteX1" fmla="*/ 24905 w 33251"/>
                <a:gd name="connsiteY1" fmla="*/ 81562 h 90868"/>
                <a:gd name="connsiteX2" fmla="*/ 27953 w 33251"/>
                <a:gd name="connsiteY2" fmla="*/ 76799 h 90868"/>
                <a:gd name="connsiteX3" fmla="*/ 32906 w 33251"/>
                <a:gd name="connsiteY3" fmla="*/ 53844 h 90868"/>
                <a:gd name="connsiteX4" fmla="*/ 30239 w 33251"/>
                <a:gd name="connsiteY4" fmla="*/ 32889 h 90868"/>
                <a:gd name="connsiteX5" fmla="*/ 16618 w 33251"/>
                <a:gd name="connsiteY5" fmla="*/ -163 h 90868"/>
                <a:gd name="connsiteX6" fmla="*/ 2426 w 33251"/>
                <a:gd name="connsiteY6" fmla="*/ 8505 h 90868"/>
                <a:gd name="connsiteX7" fmla="*/ 12522 w 33251"/>
                <a:gd name="connsiteY7" fmla="*/ 42033 h 90868"/>
                <a:gd name="connsiteX8" fmla="*/ 9951 w 33251"/>
                <a:gd name="connsiteY8" fmla="*/ 55463 h 90868"/>
                <a:gd name="connsiteX9" fmla="*/ 5474 w 33251"/>
                <a:gd name="connsiteY9" fmla="*/ 61559 h 90868"/>
                <a:gd name="connsiteX10" fmla="*/ -336 w 33251"/>
                <a:gd name="connsiteY10" fmla="*/ 64893 h 90868"/>
                <a:gd name="connsiteX11" fmla="*/ 6522 w 33251"/>
                <a:gd name="connsiteY11" fmla="*/ 79085 h 90868"/>
                <a:gd name="connsiteX12" fmla="*/ 12142 w 33251"/>
                <a:gd name="connsiteY12" fmla="*/ 90706 h 90868"/>
                <a:gd name="connsiteX13" fmla="*/ 17095 w 33251"/>
                <a:gd name="connsiteY13" fmla="*/ 88515 h 90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3251" h="90868">
                  <a:moveTo>
                    <a:pt x="17095" y="88515"/>
                  </a:moveTo>
                  <a:cubicBezTo>
                    <a:pt x="20143" y="86753"/>
                    <a:pt x="22810" y="84391"/>
                    <a:pt x="24905" y="81562"/>
                  </a:cubicBezTo>
                  <a:cubicBezTo>
                    <a:pt x="26086" y="80086"/>
                    <a:pt x="27105" y="78485"/>
                    <a:pt x="27953" y="76799"/>
                  </a:cubicBezTo>
                  <a:cubicBezTo>
                    <a:pt x="31363" y="69637"/>
                    <a:pt x="33058" y="61779"/>
                    <a:pt x="32906" y="53844"/>
                  </a:cubicBezTo>
                  <a:cubicBezTo>
                    <a:pt x="32839" y="46777"/>
                    <a:pt x="31944" y="39747"/>
                    <a:pt x="30239" y="32889"/>
                  </a:cubicBezTo>
                  <a:cubicBezTo>
                    <a:pt x="27324" y="21269"/>
                    <a:pt x="22733" y="10134"/>
                    <a:pt x="16618" y="-163"/>
                  </a:cubicBezTo>
                  <a:lnTo>
                    <a:pt x="2426" y="8505"/>
                  </a:lnTo>
                  <a:cubicBezTo>
                    <a:pt x="8646" y="18611"/>
                    <a:pt x="12132" y="30165"/>
                    <a:pt x="12522" y="42033"/>
                  </a:cubicBezTo>
                  <a:cubicBezTo>
                    <a:pt x="12618" y="46643"/>
                    <a:pt x="11741" y="51215"/>
                    <a:pt x="9951" y="55463"/>
                  </a:cubicBezTo>
                  <a:cubicBezTo>
                    <a:pt x="8865" y="57768"/>
                    <a:pt x="7341" y="59835"/>
                    <a:pt x="5474" y="61559"/>
                  </a:cubicBezTo>
                  <a:cubicBezTo>
                    <a:pt x="3807" y="63083"/>
                    <a:pt x="1826" y="64217"/>
                    <a:pt x="-336" y="64893"/>
                  </a:cubicBezTo>
                  <a:lnTo>
                    <a:pt x="6522" y="79085"/>
                  </a:lnTo>
                  <a:lnTo>
                    <a:pt x="12142" y="90706"/>
                  </a:lnTo>
                  <a:cubicBezTo>
                    <a:pt x="13856" y="90134"/>
                    <a:pt x="15513" y="89401"/>
                    <a:pt x="17095" y="88515"/>
                  </a:cubicBezTo>
                  <a:close/>
                </a:path>
              </a:pathLst>
            </a:custGeom>
            <a:solidFill>
              <a:srgbClr val="323A82"/>
            </a:solidFill>
            <a:ln w="9525" cap="flat">
              <a:noFill/>
              <a:prstDash val="solid"/>
              <a:miter/>
            </a:ln>
          </p:spPr>
          <p:txBody>
            <a:bodyPr rtlCol="0" anchor="ctr"/>
            <a:lstStyle/>
            <a:p>
              <a:endParaRPr lang="zh-CN" altLang="en-US"/>
            </a:p>
          </p:txBody>
        </p:sp>
        <p:sp>
          <p:nvSpPr>
            <p:cNvPr id="836" name="íṧḻidé">
              <a:extLst>
                <a:ext uri="{FF2B5EF4-FFF2-40B4-BE49-F238E27FC236}">
                  <a16:creationId xmlns:a16="http://schemas.microsoft.com/office/drawing/2014/main" id="{38392300-FEB3-4657-BDBB-A8519C3F0BB4}"/>
                </a:ext>
              </a:extLst>
            </p:cNvPr>
            <p:cNvSpPr/>
            <p:nvPr/>
          </p:nvSpPr>
          <p:spPr>
            <a:xfrm>
              <a:off x="5757547" y="2917199"/>
              <a:ext cx="156272" cy="104623"/>
            </a:xfrm>
            <a:custGeom>
              <a:avLst/>
              <a:gdLst>
                <a:gd name="connsiteX0" fmla="*/ 46527 w 51339"/>
                <a:gd name="connsiteY0" fmla="*/ 30698 h 34371"/>
                <a:gd name="connsiteX1" fmla="*/ 51004 w 51339"/>
                <a:gd name="connsiteY1" fmla="*/ 24602 h 34371"/>
                <a:gd name="connsiteX2" fmla="*/ 38049 w 51339"/>
                <a:gd name="connsiteY2" fmla="*/ 20126 h 34371"/>
                <a:gd name="connsiteX3" fmla="*/ 17380 w 51339"/>
                <a:gd name="connsiteY3" fmla="*/ -163 h 34371"/>
                <a:gd name="connsiteX4" fmla="*/ -336 w 51339"/>
                <a:gd name="connsiteY4" fmla="*/ 9934 h 34371"/>
                <a:gd name="connsiteX5" fmla="*/ 20333 w 51339"/>
                <a:gd name="connsiteY5" fmla="*/ 30317 h 34371"/>
                <a:gd name="connsiteX6" fmla="*/ 21286 w 51339"/>
                <a:gd name="connsiteY6" fmla="*/ 30317 h 34371"/>
                <a:gd name="connsiteX7" fmla="*/ 40336 w 51339"/>
                <a:gd name="connsiteY7" fmla="*/ 33556 h 34371"/>
                <a:gd name="connsiteX8" fmla="*/ 46527 w 51339"/>
                <a:gd name="connsiteY8" fmla="*/ 30698 h 34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339" h="34371">
                  <a:moveTo>
                    <a:pt x="46527" y="30698"/>
                  </a:moveTo>
                  <a:cubicBezTo>
                    <a:pt x="48394" y="28974"/>
                    <a:pt x="49918" y="26907"/>
                    <a:pt x="51004" y="24602"/>
                  </a:cubicBezTo>
                  <a:cubicBezTo>
                    <a:pt x="46413" y="24069"/>
                    <a:pt x="41993" y="22535"/>
                    <a:pt x="38049" y="20126"/>
                  </a:cubicBezTo>
                  <a:cubicBezTo>
                    <a:pt x="29734" y="14992"/>
                    <a:pt x="22667" y="8057"/>
                    <a:pt x="17380" y="-163"/>
                  </a:cubicBezTo>
                  <a:lnTo>
                    <a:pt x="-336" y="9934"/>
                  </a:lnTo>
                  <a:cubicBezTo>
                    <a:pt x="4950" y="18182"/>
                    <a:pt x="12008" y="25145"/>
                    <a:pt x="20333" y="30317"/>
                  </a:cubicBezTo>
                  <a:cubicBezTo>
                    <a:pt x="20647" y="30365"/>
                    <a:pt x="20971" y="30365"/>
                    <a:pt x="21286" y="30317"/>
                  </a:cubicBezTo>
                  <a:cubicBezTo>
                    <a:pt x="26943" y="33908"/>
                    <a:pt x="33811" y="35080"/>
                    <a:pt x="40336" y="33556"/>
                  </a:cubicBezTo>
                  <a:cubicBezTo>
                    <a:pt x="42583" y="33080"/>
                    <a:pt x="44698" y="32098"/>
                    <a:pt x="46527" y="30698"/>
                  </a:cubicBezTo>
                  <a:close/>
                </a:path>
              </a:pathLst>
            </a:custGeom>
            <a:solidFill>
              <a:srgbClr val="171A42"/>
            </a:solidFill>
            <a:ln w="9525" cap="flat">
              <a:noFill/>
              <a:prstDash val="solid"/>
              <a:miter/>
            </a:ln>
          </p:spPr>
          <p:txBody>
            <a:bodyPr rtlCol="0" anchor="ctr"/>
            <a:lstStyle/>
            <a:p>
              <a:endParaRPr lang="zh-CN" altLang="en-US"/>
            </a:p>
          </p:txBody>
        </p:sp>
        <p:sp>
          <p:nvSpPr>
            <p:cNvPr id="837" name="íṡḻîḓê">
              <a:extLst>
                <a:ext uri="{FF2B5EF4-FFF2-40B4-BE49-F238E27FC236}">
                  <a16:creationId xmlns:a16="http://schemas.microsoft.com/office/drawing/2014/main" id="{3BF1685C-4C11-41EB-A345-7975D0FD340A}"/>
                </a:ext>
              </a:extLst>
            </p:cNvPr>
            <p:cNvSpPr/>
            <p:nvPr/>
          </p:nvSpPr>
          <p:spPr>
            <a:xfrm>
              <a:off x="5720147" y="2949382"/>
              <a:ext cx="200342" cy="154096"/>
            </a:xfrm>
            <a:custGeom>
              <a:avLst/>
              <a:gdLst>
                <a:gd name="connsiteX0" fmla="*/ 65481 w 65817"/>
                <a:gd name="connsiteY0" fmla="*/ 49272 h 50624"/>
                <a:gd name="connsiteX1" fmla="*/ 59861 w 65817"/>
                <a:gd name="connsiteY1" fmla="*/ 37652 h 50624"/>
                <a:gd name="connsiteX2" fmla="*/ 53003 w 65817"/>
                <a:gd name="connsiteY2" fmla="*/ 23459 h 50624"/>
                <a:gd name="connsiteX3" fmla="*/ 33953 w 65817"/>
                <a:gd name="connsiteY3" fmla="*/ 20221 h 50624"/>
                <a:gd name="connsiteX4" fmla="*/ 33001 w 65817"/>
                <a:gd name="connsiteY4" fmla="*/ 20221 h 50624"/>
                <a:gd name="connsiteX5" fmla="*/ 12332 w 65817"/>
                <a:gd name="connsiteY5" fmla="*/ -163 h 50624"/>
                <a:gd name="connsiteX6" fmla="*/ -336 w 65817"/>
                <a:gd name="connsiteY6" fmla="*/ 10982 h 50624"/>
                <a:gd name="connsiteX7" fmla="*/ 32906 w 65817"/>
                <a:gd name="connsiteY7" fmla="*/ 43748 h 50624"/>
                <a:gd name="connsiteX8" fmla="*/ 65481 w 65817"/>
                <a:gd name="connsiteY8" fmla="*/ 49272 h 506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5817" h="50624">
                  <a:moveTo>
                    <a:pt x="65481" y="49272"/>
                  </a:moveTo>
                  <a:lnTo>
                    <a:pt x="59861" y="37652"/>
                  </a:lnTo>
                  <a:lnTo>
                    <a:pt x="53003" y="23459"/>
                  </a:lnTo>
                  <a:cubicBezTo>
                    <a:pt x="46479" y="24983"/>
                    <a:pt x="39612" y="23812"/>
                    <a:pt x="33953" y="20221"/>
                  </a:cubicBezTo>
                  <a:cubicBezTo>
                    <a:pt x="33639" y="20268"/>
                    <a:pt x="33315" y="20268"/>
                    <a:pt x="33001" y="20221"/>
                  </a:cubicBezTo>
                  <a:cubicBezTo>
                    <a:pt x="24676" y="15049"/>
                    <a:pt x="17618" y="8086"/>
                    <a:pt x="12332" y="-163"/>
                  </a:cubicBezTo>
                  <a:lnTo>
                    <a:pt x="-336" y="10982"/>
                  </a:lnTo>
                  <a:cubicBezTo>
                    <a:pt x="8160" y="24250"/>
                    <a:pt x="19523" y="35442"/>
                    <a:pt x="32906" y="43748"/>
                  </a:cubicBezTo>
                  <a:cubicBezTo>
                    <a:pt x="42545" y="49996"/>
                    <a:pt x="54327" y="51996"/>
                    <a:pt x="65481" y="49272"/>
                  </a:cubicBezTo>
                  <a:close/>
                </a:path>
              </a:pathLst>
            </a:custGeom>
            <a:solidFill>
              <a:srgbClr val="323A82"/>
            </a:solidFill>
            <a:ln w="9525" cap="flat">
              <a:noFill/>
              <a:prstDash val="solid"/>
              <a:miter/>
            </a:ln>
          </p:spPr>
          <p:txBody>
            <a:bodyPr rtlCol="0" anchor="ctr"/>
            <a:lstStyle/>
            <a:p>
              <a:endParaRPr lang="zh-CN" altLang="en-US"/>
            </a:p>
          </p:txBody>
        </p:sp>
        <p:sp>
          <p:nvSpPr>
            <p:cNvPr id="838" name="íṩľíḋe">
              <a:extLst>
                <a:ext uri="{FF2B5EF4-FFF2-40B4-BE49-F238E27FC236}">
                  <a16:creationId xmlns:a16="http://schemas.microsoft.com/office/drawing/2014/main" id="{6FC3C3F2-D28F-405D-BEA1-A291D2DFBFF2}"/>
                </a:ext>
              </a:extLst>
            </p:cNvPr>
            <p:cNvSpPr/>
            <p:nvPr/>
          </p:nvSpPr>
          <p:spPr>
            <a:xfrm>
              <a:off x="5719857" y="2762229"/>
              <a:ext cx="61755" cy="62190"/>
            </a:xfrm>
            <a:custGeom>
              <a:avLst/>
              <a:gdLst>
                <a:gd name="connsiteX0" fmla="*/ -336 w 20288"/>
                <a:gd name="connsiteY0" fmla="*/ 20268 h 20431"/>
                <a:gd name="connsiteX1" fmla="*/ 17380 w 20288"/>
                <a:gd name="connsiteY1" fmla="*/ 10077 h 20431"/>
                <a:gd name="connsiteX2" fmla="*/ 19952 w 20288"/>
                <a:gd name="connsiteY2" fmla="*/ -20 h 20431"/>
                <a:gd name="connsiteX3" fmla="*/ 15094 w 20288"/>
                <a:gd name="connsiteY3" fmla="*/ -20 h 20431"/>
                <a:gd name="connsiteX4" fmla="*/ 4902 w 20288"/>
                <a:gd name="connsiteY4" fmla="*/ 5791 h 20431"/>
                <a:gd name="connsiteX5" fmla="*/ -336 w 20288"/>
                <a:gd name="connsiteY5" fmla="*/ 20268 h 20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288" h="20431">
                  <a:moveTo>
                    <a:pt x="-336" y="20268"/>
                  </a:moveTo>
                  <a:lnTo>
                    <a:pt x="17380" y="10077"/>
                  </a:lnTo>
                  <a:cubicBezTo>
                    <a:pt x="17656" y="6591"/>
                    <a:pt x="18523" y="3171"/>
                    <a:pt x="19952" y="-20"/>
                  </a:cubicBezTo>
                  <a:cubicBezTo>
                    <a:pt x="18342" y="-210"/>
                    <a:pt x="16704" y="-210"/>
                    <a:pt x="15094" y="-20"/>
                  </a:cubicBezTo>
                  <a:lnTo>
                    <a:pt x="4902" y="5791"/>
                  </a:lnTo>
                  <a:cubicBezTo>
                    <a:pt x="1759" y="9991"/>
                    <a:pt x="-60" y="15030"/>
                    <a:pt x="-336" y="20268"/>
                  </a:cubicBezTo>
                  <a:close/>
                </a:path>
              </a:pathLst>
            </a:custGeom>
            <a:solidFill>
              <a:srgbClr val="BF4200"/>
            </a:solidFill>
            <a:ln w="9525" cap="flat">
              <a:noFill/>
              <a:prstDash val="solid"/>
              <a:miter/>
            </a:ln>
          </p:spPr>
          <p:txBody>
            <a:bodyPr rtlCol="0" anchor="ctr"/>
            <a:lstStyle/>
            <a:p>
              <a:endParaRPr lang="zh-CN" altLang="en-US"/>
            </a:p>
          </p:txBody>
        </p:sp>
        <p:sp>
          <p:nvSpPr>
            <p:cNvPr id="839" name="î$lîḋê">
              <a:extLst>
                <a:ext uri="{FF2B5EF4-FFF2-40B4-BE49-F238E27FC236}">
                  <a16:creationId xmlns:a16="http://schemas.microsoft.com/office/drawing/2014/main" id="{C185C861-2269-40B3-9DA9-4DF21C27A903}"/>
                </a:ext>
              </a:extLst>
            </p:cNvPr>
            <p:cNvSpPr/>
            <p:nvPr/>
          </p:nvSpPr>
          <p:spPr>
            <a:xfrm>
              <a:off x="5658102" y="2711055"/>
              <a:ext cx="77410" cy="113362"/>
            </a:xfrm>
            <a:custGeom>
              <a:avLst/>
              <a:gdLst>
                <a:gd name="connsiteX0" fmla="*/ 19952 w 25431"/>
                <a:gd name="connsiteY0" fmla="*/ 37080 h 37242"/>
                <a:gd name="connsiteX1" fmla="*/ 25096 w 25431"/>
                <a:gd name="connsiteY1" fmla="*/ 22793 h 37242"/>
                <a:gd name="connsiteX2" fmla="*/ 18142 w 25431"/>
                <a:gd name="connsiteY2" fmla="*/ 13268 h 37242"/>
                <a:gd name="connsiteX3" fmla="*/ 18142 w 25431"/>
                <a:gd name="connsiteY3" fmla="*/ 13268 h 37242"/>
                <a:gd name="connsiteX4" fmla="*/ 17475 w 25431"/>
                <a:gd name="connsiteY4" fmla="*/ 12410 h 37242"/>
                <a:gd name="connsiteX5" fmla="*/ 7950 w 25431"/>
                <a:gd name="connsiteY5" fmla="*/ -163 h 37242"/>
                <a:gd name="connsiteX6" fmla="*/ -336 w 25431"/>
                <a:gd name="connsiteY6" fmla="*/ 22983 h 37242"/>
                <a:gd name="connsiteX7" fmla="*/ 18714 w 25431"/>
                <a:gd name="connsiteY7" fmla="*/ 36318 h 37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431" h="37242">
                  <a:moveTo>
                    <a:pt x="19952" y="37080"/>
                  </a:moveTo>
                  <a:cubicBezTo>
                    <a:pt x="20238" y="31918"/>
                    <a:pt x="22028" y="26955"/>
                    <a:pt x="25096" y="22793"/>
                  </a:cubicBezTo>
                  <a:lnTo>
                    <a:pt x="18142" y="13268"/>
                  </a:lnTo>
                  <a:lnTo>
                    <a:pt x="18142" y="13268"/>
                  </a:lnTo>
                  <a:lnTo>
                    <a:pt x="17475" y="12410"/>
                  </a:lnTo>
                  <a:lnTo>
                    <a:pt x="7950" y="-163"/>
                  </a:lnTo>
                  <a:cubicBezTo>
                    <a:pt x="2902" y="6533"/>
                    <a:pt x="7" y="14601"/>
                    <a:pt x="-336" y="22983"/>
                  </a:cubicBezTo>
                  <a:lnTo>
                    <a:pt x="18714" y="36318"/>
                  </a:lnTo>
                  <a:close/>
                </a:path>
              </a:pathLst>
            </a:custGeom>
            <a:solidFill>
              <a:srgbClr val="D9530B"/>
            </a:solidFill>
            <a:ln w="9525" cap="flat">
              <a:noFill/>
              <a:prstDash val="solid"/>
              <a:miter/>
            </a:ln>
          </p:spPr>
          <p:txBody>
            <a:bodyPr rtlCol="0" anchor="ctr"/>
            <a:lstStyle/>
            <a:p>
              <a:endParaRPr lang="zh-CN" altLang="en-US"/>
            </a:p>
          </p:txBody>
        </p:sp>
        <p:sp>
          <p:nvSpPr>
            <p:cNvPr id="840" name="ïŝļiḍe">
              <a:extLst>
                <a:ext uri="{FF2B5EF4-FFF2-40B4-BE49-F238E27FC236}">
                  <a16:creationId xmlns:a16="http://schemas.microsoft.com/office/drawing/2014/main" id="{B3A80D8E-BD80-4551-A942-A5B8E19DF908}"/>
                </a:ext>
              </a:extLst>
            </p:cNvPr>
            <p:cNvSpPr/>
            <p:nvPr/>
          </p:nvSpPr>
          <p:spPr>
            <a:xfrm>
              <a:off x="6306973" y="3583469"/>
              <a:ext cx="84661" cy="51318"/>
            </a:xfrm>
            <a:custGeom>
              <a:avLst/>
              <a:gdLst>
                <a:gd name="connsiteX0" fmla="*/ -336 w 27813"/>
                <a:gd name="connsiteY0" fmla="*/ 16697 h 16859"/>
                <a:gd name="connsiteX1" fmla="*/ 21381 w 27813"/>
                <a:gd name="connsiteY1" fmla="*/ 4314 h 16859"/>
                <a:gd name="connsiteX2" fmla="*/ 27477 w 27813"/>
                <a:gd name="connsiteY2" fmla="*/ -163 h 16859"/>
                <a:gd name="connsiteX3" fmla="*/ 5855 w 27813"/>
                <a:gd name="connsiteY3" fmla="*/ 12315 h 16859"/>
                <a:gd name="connsiteX4" fmla="*/ -336 w 27813"/>
                <a:gd name="connsiteY4" fmla="*/ 16697 h 16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813" h="16859">
                  <a:moveTo>
                    <a:pt x="-336" y="16697"/>
                  </a:moveTo>
                  <a:lnTo>
                    <a:pt x="21381" y="4314"/>
                  </a:lnTo>
                  <a:cubicBezTo>
                    <a:pt x="23572" y="3047"/>
                    <a:pt x="25610" y="1552"/>
                    <a:pt x="27477" y="-163"/>
                  </a:cubicBezTo>
                  <a:lnTo>
                    <a:pt x="5855" y="12315"/>
                  </a:lnTo>
                  <a:cubicBezTo>
                    <a:pt x="3959" y="14001"/>
                    <a:pt x="1883" y="15468"/>
                    <a:pt x="-336" y="16697"/>
                  </a:cubicBezTo>
                  <a:close/>
                </a:path>
              </a:pathLst>
            </a:custGeom>
            <a:solidFill>
              <a:srgbClr val="171A42"/>
            </a:solidFill>
            <a:ln w="9525" cap="flat">
              <a:noFill/>
              <a:prstDash val="solid"/>
              <a:miter/>
            </a:ln>
          </p:spPr>
          <p:txBody>
            <a:bodyPr rtlCol="0" anchor="ctr"/>
            <a:lstStyle/>
            <a:p>
              <a:endParaRPr lang="zh-CN" altLang="en-US"/>
            </a:p>
          </p:txBody>
        </p:sp>
        <p:sp>
          <p:nvSpPr>
            <p:cNvPr id="841" name="íśľíďé">
              <a:extLst>
                <a:ext uri="{FF2B5EF4-FFF2-40B4-BE49-F238E27FC236}">
                  <a16:creationId xmlns:a16="http://schemas.microsoft.com/office/drawing/2014/main" id="{8F83C863-F308-4083-863E-21D9A3A42A7A}"/>
                </a:ext>
              </a:extLst>
            </p:cNvPr>
            <p:cNvSpPr/>
            <p:nvPr/>
          </p:nvSpPr>
          <p:spPr>
            <a:xfrm>
              <a:off x="6148089" y="3357320"/>
              <a:ext cx="28993" cy="578"/>
            </a:xfrm>
            <a:custGeom>
              <a:avLst/>
              <a:gdLst>
                <a:gd name="connsiteX0" fmla="*/ 0 w 9525"/>
                <a:gd name="connsiteY0" fmla="*/ 191 h 190"/>
                <a:gd name="connsiteX1" fmla="*/ 0 w 9525"/>
                <a:gd name="connsiteY1" fmla="*/ 95 h 190"/>
                <a:gd name="connsiteX2" fmla="*/ 0 w 9525"/>
                <a:gd name="connsiteY2" fmla="*/ 0 h 190"/>
                <a:gd name="connsiteX3" fmla="*/ 0 w 9525"/>
                <a:gd name="connsiteY3" fmla="*/ 95 h 190"/>
                <a:gd name="connsiteX4" fmla="*/ 0 w 9525"/>
                <a:gd name="connsiteY4" fmla="*/ 95 h 190"/>
                <a:gd name="connsiteX5" fmla="*/ 0 w 9525"/>
                <a:gd name="connsiteY5" fmla="*/ 191 h 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525" h="190">
                  <a:moveTo>
                    <a:pt x="0" y="191"/>
                  </a:moveTo>
                  <a:lnTo>
                    <a:pt x="0" y="95"/>
                  </a:lnTo>
                  <a:lnTo>
                    <a:pt x="0" y="0"/>
                  </a:lnTo>
                  <a:lnTo>
                    <a:pt x="0" y="95"/>
                  </a:lnTo>
                  <a:lnTo>
                    <a:pt x="0" y="95"/>
                  </a:lnTo>
                  <a:lnTo>
                    <a:pt x="0" y="191"/>
                  </a:lnTo>
                  <a:close/>
                </a:path>
              </a:pathLst>
            </a:custGeom>
            <a:solidFill>
              <a:srgbClr val="2E3192"/>
            </a:solidFill>
            <a:ln w="9525" cap="flat">
              <a:noFill/>
              <a:prstDash val="solid"/>
              <a:miter/>
            </a:ln>
          </p:spPr>
          <p:txBody>
            <a:bodyPr rtlCol="0" anchor="ctr"/>
            <a:lstStyle/>
            <a:p>
              <a:endParaRPr lang="zh-CN" altLang="en-US"/>
            </a:p>
          </p:txBody>
        </p:sp>
        <p:sp>
          <p:nvSpPr>
            <p:cNvPr id="842" name="iṡ1íḋe">
              <a:extLst>
                <a:ext uri="{FF2B5EF4-FFF2-40B4-BE49-F238E27FC236}">
                  <a16:creationId xmlns:a16="http://schemas.microsoft.com/office/drawing/2014/main" id="{4ADF0396-AA45-4068-ACD6-241C476C30EA}"/>
                </a:ext>
              </a:extLst>
            </p:cNvPr>
            <p:cNvSpPr/>
            <p:nvPr/>
          </p:nvSpPr>
          <p:spPr>
            <a:xfrm>
              <a:off x="5957603" y="3373553"/>
              <a:ext cx="340381" cy="292068"/>
            </a:xfrm>
            <a:custGeom>
              <a:avLst/>
              <a:gdLst>
                <a:gd name="connsiteX0" fmla="*/ 105391 w 111823"/>
                <a:gd name="connsiteY0" fmla="*/ 90896 h 95951"/>
                <a:gd name="connsiteX1" fmla="*/ 111487 w 111823"/>
                <a:gd name="connsiteY1" fmla="*/ 86420 h 95951"/>
                <a:gd name="connsiteX2" fmla="*/ 53099 w 111823"/>
                <a:gd name="connsiteY2" fmla="*/ -163 h 95951"/>
                <a:gd name="connsiteX3" fmla="*/ -336 w 111823"/>
                <a:gd name="connsiteY3" fmla="*/ 28412 h 95951"/>
                <a:gd name="connsiteX4" fmla="*/ 52908 w 111823"/>
                <a:gd name="connsiteY4" fmla="*/ 85562 h 95951"/>
                <a:gd name="connsiteX5" fmla="*/ 105391 w 111823"/>
                <a:gd name="connsiteY5" fmla="*/ 90896 h 95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1823" h="95951">
                  <a:moveTo>
                    <a:pt x="105391" y="90896"/>
                  </a:moveTo>
                  <a:cubicBezTo>
                    <a:pt x="107582" y="89630"/>
                    <a:pt x="109620" y="88134"/>
                    <a:pt x="111487" y="86420"/>
                  </a:cubicBezTo>
                  <a:lnTo>
                    <a:pt x="53099" y="-163"/>
                  </a:lnTo>
                  <a:lnTo>
                    <a:pt x="-336" y="28412"/>
                  </a:lnTo>
                  <a:cubicBezTo>
                    <a:pt x="12141" y="51768"/>
                    <a:pt x="30496" y="71465"/>
                    <a:pt x="52908" y="85562"/>
                  </a:cubicBezTo>
                  <a:cubicBezTo>
                    <a:pt x="73387" y="97469"/>
                    <a:pt x="91866" y="98612"/>
                    <a:pt x="105391" y="90896"/>
                  </a:cubicBezTo>
                  <a:close/>
                </a:path>
              </a:pathLst>
            </a:custGeom>
            <a:solidFill>
              <a:srgbClr val="323A82"/>
            </a:solidFill>
            <a:ln w="9525" cap="flat">
              <a:noFill/>
              <a:prstDash val="solid"/>
              <a:miter/>
            </a:ln>
          </p:spPr>
          <p:txBody>
            <a:bodyPr rtlCol="0" anchor="ctr"/>
            <a:lstStyle/>
            <a:p>
              <a:endParaRPr lang="zh-CN" altLang="en-US"/>
            </a:p>
          </p:txBody>
        </p:sp>
        <p:sp>
          <p:nvSpPr>
            <p:cNvPr id="843" name="ï$ḷïdê">
              <a:extLst>
                <a:ext uri="{FF2B5EF4-FFF2-40B4-BE49-F238E27FC236}">
                  <a16:creationId xmlns:a16="http://schemas.microsoft.com/office/drawing/2014/main" id="{CC1A9DEA-AE72-445F-A792-2A7A72993486}"/>
                </a:ext>
              </a:extLst>
            </p:cNvPr>
            <p:cNvSpPr/>
            <p:nvPr/>
          </p:nvSpPr>
          <p:spPr>
            <a:xfrm>
              <a:off x="6120256" y="3328616"/>
              <a:ext cx="250792" cy="308490"/>
            </a:xfrm>
            <a:custGeom>
              <a:avLst/>
              <a:gdLst>
                <a:gd name="connsiteX0" fmla="*/ 58388 w 82391"/>
                <a:gd name="connsiteY0" fmla="*/ 101346 h 101346"/>
                <a:gd name="connsiteX1" fmla="*/ 82391 w 82391"/>
                <a:gd name="connsiteY1" fmla="*/ 87535 h 101346"/>
                <a:gd name="connsiteX2" fmla="*/ 78105 w 82391"/>
                <a:gd name="connsiteY2" fmla="*/ 80867 h 101346"/>
                <a:gd name="connsiteX3" fmla="*/ 27813 w 82391"/>
                <a:gd name="connsiteY3" fmla="*/ 3143 h 101346"/>
                <a:gd name="connsiteX4" fmla="*/ 25718 w 82391"/>
                <a:gd name="connsiteY4" fmla="*/ 0 h 101346"/>
                <a:gd name="connsiteX5" fmla="*/ 0 w 82391"/>
                <a:gd name="connsiteY5" fmla="*/ 14764 h 101346"/>
                <a:gd name="connsiteX6" fmla="*/ 58388 w 82391"/>
                <a:gd name="connsiteY6" fmla="*/ 101346 h 101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391" h="101346">
                  <a:moveTo>
                    <a:pt x="58388" y="101346"/>
                  </a:moveTo>
                  <a:lnTo>
                    <a:pt x="82391" y="87535"/>
                  </a:lnTo>
                  <a:lnTo>
                    <a:pt x="78105" y="80867"/>
                  </a:lnTo>
                  <a:lnTo>
                    <a:pt x="27813" y="3143"/>
                  </a:lnTo>
                  <a:lnTo>
                    <a:pt x="25718" y="0"/>
                  </a:lnTo>
                  <a:lnTo>
                    <a:pt x="0" y="14764"/>
                  </a:lnTo>
                  <a:lnTo>
                    <a:pt x="58388" y="101346"/>
                  </a:lnTo>
                  <a:close/>
                </a:path>
              </a:pathLst>
            </a:custGeom>
            <a:solidFill>
              <a:srgbClr val="171A42"/>
            </a:solidFill>
            <a:ln w="9525" cap="flat">
              <a:noFill/>
              <a:prstDash val="solid"/>
              <a:miter/>
            </a:ln>
          </p:spPr>
          <p:txBody>
            <a:bodyPr rtlCol="0" anchor="ctr"/>
            <a:lstStyle/>
            <a:p>
              <a:endParaRPr lang="zh-CN" altLang="en-US"/>
            </a:p>
          </p:txBody>
        </p:sp>
        <p:sp>
          <p:nvSpPr>
            <p:cNvPr id="844" name="íŝļiďé">
              <a:extLst>
                <a:ext uri="{FF2B5EF4-FFF2-40B4-BE49-F238E27FC236}">
                  <a16:creationId xmlns:a16="http://schemas.microsoft.com/office/drawing/2014/main" id="{1891841E-A284-4B56-B8A8-1BE4471295CA}"/>
                </a:ext>
              </a:extLst>
            </p:cNvPr>
            <p:cNvSpPr/>
            <p:nvPr/>
          </p:nvSpPr>
          <p:spPr>
            <a:xfrm>
              <a:off x="5957314" y="3328616"/>
              <a:ext cx="241222" cy="131918"/>
            </a:xfrm>
            <a:custGeom>
              <a:avLst/>
              <a:gdLst>
                <a:gd name="connsiteX0" fmla="*/ 0 w 79247"/>
                <a:gd name="connsiteY0" fmla="*/ 43339 h 43338"/>
                <a:gd name="connsiteX1" fmla="*/ 73914 w 79247"/>
                <a:gd name="connsiteY1" fmla="*/ 857 h 43338"/>
                <a:gd name="connsiteX2" fmla="*/ 79248 w 79247"/>
                <a:gd name="connsiteY2" fmla="*/ 0 h 43338"/>
                <a:gd name="connsiteX3" fmla="*/ 53530 w 79247"/>
                <a:gd name="connsiteY3" fmla="*/ 14764 h 43338"/>
                <a:gd name="connsiteX4" fmla="*/ 0 w 79247"/>
                <a:gd name="connsiteY4" fmla="*/ 43339 h 433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247" h="43338">
                  <a:moveTo>
                    <a:pt x="0" y="43339"/>
                  </a:moveTo>
                  <a:lnTo>
                    <a:pt x="73914" y="857"/>
                  </a:lnTo>
                  <a:lnTo>
                    <a:pt x="79248" y="0"/>
                  </a:lnTo>
                  <a:lnTo>
                    <a:pt x="53530" y="14764"/>
                  </a:lnTo>
                  <a:lnTo>
                    <a:pt x="0" y="43339"/>
                  </a:lnTo>
                  <a:close/>
                </a:path>
              </a:pathLst>
            </a:custGeom>
            <a:solidFill>
              <a:srgbClr val="171A42"/>
            </a:solidFill>
            <a:ln w="9525" cap="flat">
              <a:noFill/>
              <a:prstDash val="solid"/>
              <a:miter/>
            </a:ln>
          </p:spPr>
          <p:txBody>
            <a:bodyPr rtlCol="0" anchor="ctr"/>
            <a:lstStyle/>
            <a:p>
              <a:endParaRPr lang="zh-CN" altLang="en-US"/>
            </a:p>
          </p:txBody>
        </p:sp>
        <p:sp>
          <p:nvSpPr>
            <p:cNvPr id="845" name="îŝľïḋè">
              <a:extLst>
                <a:ext uri="{FF2B5EF4-FFF2-40B4-BE49-F238E27FC236}">
                  <a16:creationId xmlns:a16="http://schemas.microsoft.com/office/drawing/2014/main" id="{86391D09-F6C3-4F5D-9B71-FC53C1804C28}"/>
                </a:ext>
              </a:extLst>
            </p:cNvPr>
            <p:cNvSpPr/>
            <p:nvPr/>
          </p:nvSpPr>
          <p:spPr>
            <a:xfrm>
              <a:off x="6279429" y="3621448"/>
              <a:ext cx="47838" cy="29283"/>
            </a:xfrm>
            <a:custGeom>
              <a:avLst/>
              <a:gdLst>
                <a:gd name="connsiteX0" fmla="*/ -336 w 15716"/>
                <a:gd name="connsiteY0" fmla="*/ 9458 h 9620"/>
                <a:gd name="connsiteX1" fmla="*/ 9189 w 15716"/>
                <a:gd name="connsiteY1" fmla="*/ 4219 h 9620"/>
                <a:gd name="connsiteX2" fmla="*/ 15380 w 15716"/>
                <a:gd name="connsiteY2" fmla="*/ -163 h 9620"/>
                <a:gd name="connsiteX3" fmla="*/ 5855 w 15716"/>
                <a:gd name="connsiteY3" fmla="*/ 4981 h 9620"/>
                <a:gd name="connsiteX4" fmla="*/ -336 w 15716"/>
                <a:gd name="connsiteY4" fmla="*/ 9458 h 9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16" h="9620">
                  <a:moveTo>
                    <a:pt x="-336" y="9458"/>
                  </a:moveTo>
                  <a:lnTo>
                    <a:pt x="9189" y="4219"/>
                  </a:lnTo>
                  <a:cubicBezTo>
                    <a:pt x="11408" y="2990"/>
                    <a:pt x="13485" y="1523"/>
                    <a:pt x="15380" y="-163"/>
                  </a:cubicBezTo>
                  <a:lnTo>
                    <a:pt x="5855" y="4981"/>
                  </a:lnTo>
                  <a:cubicBezTo>
                    <a:pt x="3960" y="6695"/>
                    <a:pt x="1883" y="8200"/>
                    <a:pt x="-336" y="9458"/>
                  </a:cubicBezTo>
                  <a:close/>
                </a:path>
              </a:pathLst>
            </a:custGeom>
            <a:solidFill>
              <a:srgbClr val="171A42"/>
            </a:solidFill>
            <a:ln w="9525" cap="flat">
              <a:noFill/>
              <a:prstDash val="solid"/>
              <a:miter/>
            </a:ln>
          </p:spPr>
          <p:txBody>
            <a:bodyPr rtlCol="0" anchor="ctr"/>
            <a:lstStyle/>
            <a:p>
              <a:endParaRPr lang="zh-CN" altLang="en-US"/>
            </a:p>
          </p:txBody>
        </p:sp>
        <p:sp>
          <p:nvSpPr>
            <p:cNvPr id="846" name="ïśḻïḍè">
              <a:extLst>
                <a:ext uri="{FF2B5EF4-FFF2-40B4-BE49-F238E27FC236}">
                  <a16:creationId xmlns:a16="http://schemas.microsoft.com/office/drawing/2014/main" id="{C78AD938-EA6B-470E-B4FD-F750F8F016A2}"/>
                </a:ext>
              </a:extLst>
            </p:cNvPr>
            <p:cNvSpPr/>
            <p:nvPr/>
          </p:nvSpPr>
          <p:spPr>
            <a:xfrm>
              <a:off x="6325240" y="3260191"/>
              <a:ext cx="114933" cy="361256"/>
            </a:xfrm>
            <a:custGeom>
              <a:avLst/>
              <a:gdLst>
                <a:gd name="connsiteX0" fmla="*/ -146 w 37758"/>
                <a:gd name="connsiteY0" fmla="*/ 118519 h 118681"/>
                <a:gd name="connsiteX1" fmla="*/ 21476 w 37758"/>
                <a:gd name="connsiteY1" fmla="*/ 106041 h 118681"/>
                <a:gd name="connsiteX2" fmla="*/ 37287 w 37758"/>
                <a:gd name="connsiteY2" fmla="*/ 62512 h 118681"/>
                <a:gd name="connsiteX3" fmla="*/ 21285 w 37758"/>
                <a:gd name="connsiteY3" fmla="*/ -163 h 118681"/>
                <a:gd name="connsiteX4" fmla="*/ -336 w 37758"/>
                <a:gd name="connsiteY4" fmla="*/ 12220 h 118681"/>
                <a:gd name="connsiteX5" fmla="*/ 15570 w 37758"/>
                <a:gd name="connsiteY5" fmla="*/ 74894 h 118681"/>
                <a:gd name="connsiteX6" fmla="*/ 13475 w 37758"/>
                <a:gd name="connsiteY6" fmla="*/ 93944 h 118681"/>
                <a:gd name="connsiteX7" fmla="*/ 3378 w 37758"/>
                <a:gd name="connsiteY7" fmla="*/ 114709 h 118681"/>
                <a:gd name="connsiteX8" fmla="*/ -146 w 37758"/>
                <a:gd name="connsiteY8" fmla="*/ 118519 h 118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758" h="118681">
                  <a:moveTo>
                    <a:pt x="-146" y="118519"/>
                  </a:moveTo>
                  <a:lnTo>
                    <a:pt x="21476" y="106041"/>
                  </a:lnTo>
                  <a:cubicBezTo>
                    <a:pt x="32649" y="94411"/>
                    <a:pt x="38392" y="78600"/>
                    <a:pt x="37287" y="62512"/>
                  </a:cubicBezTo>
                  <a:cubicBezTo>
                    <a:pt x="36687" y="40690"/>
                    <a:pt x="31220" y="19278"/>
                    <a:pt x="21285" y="-163"/>
                  </a:cubicBezTo>
                  <a:lnTo>
                    <a:pt x="-336" y="12220"/>
                  </a:lnTo>
                  <a:cubicBezTo>
                    <a:pt x="9598" y="31651"/>
                    <a:pt x="15037" y="53072"/>
                    <a:pt x="15570" y="74894"/>
                  </a:cubicBezTo>
                  <a:cubicBezTo>
                    <a:pt x="15599" y="81305"/>
                    <a:pt x="14894" y="87696"/>
                    <a:pt x="13475" y="93944"/>
                  </a:cubicBezTo>
                  <a:cubicBezTo>
                    <a:pt x="11741" y="101545"/>
                    <a:pt x="8284" y="108651"/>
                    <a:pt x="3378" y="114709"/>
                  </a:cubicBezTo>
                  <a:cubicBezTo>
                    <a:pt x="2311" y="116071"/>
                    <a:pt x="1130" y="117347"/>
                    <a:pt x="-146" y="118519"/>
                  </a:cubicBezTo>
                  <a:close/>
                </a:path>
              </a:pathLst>
            </a:custGeom>
            <a:solidFill>
              <a:srgbClr val="323A82"/>
            </a:solidFill>
            <a:ln w="9525" cap="flat">
              <a:noFill/>
              <a:prstDash val="solid"/>
              <a:miter/>
            </a:ln>
          </p:spPr>
          <p:txBody>
            <a:bodyPr rtlCol="0" anchor="ctr"/>
            <a:lstStyle/>
            <a:p>
              <a:endParaRPr lang="zh-CN" altLang="en-US"/>
            </a:p>
          </p:txBody>
        </p:sp>
        <p:sp>
          <p:nvSpPr>
            <p:cNvPr id="847" name="íSļïḋê">
              <a:extLst>
                <a:ext uri="{FF2B5EF4-FFF2-40B4-BE49-F238E27FC236}">
                  <a16:creationId xmlns:a16="http://schemas.microsoft.com/office/drawing/2014/main" id="{7C8569D3-F952-4CB0-A0DC-8D616FAA0A86}"/>
                </a:ext>
              </a:extLst>
            </p:cNvPr>
            <p:cNvSpPr/>
            <p:nvPr/>
          </p:nvSpPr>
          <p:spPr>
            <a:xfrm>
              <a:off x="6147511" y="3298174"/>
              <a:ext cx="226149" cy="323274"/>
            </a:xfrm>
            <a:custGeom>
              <a:avLst/>
              <a:gdLst>
                <a:gd name="connsiteX0" fmla="*/ 58242 w 74295"/>
                <a:gd name="connsiteY0" fmla="*/ 106041 h 106203"/>
                <a:gd name="connsiteX1" fmla="*/ 61767 w 74295"/>
                <a:gd name="connsiteY1" fmla="*/ 102326 h 106203"/>
                <a:gd name="connsiteX2" fmla="*/ 71863 w 74295"/>
                <a:gd name="connsiteY2" fmla="*/ 81562 h 106203"/>
                <a:gd name="connsiteX3" fmla="*/ 73959 w 74295"/>
                <a:gd name="connsiteY3" fmla="*/ 62512 h 106203"/>
                <a:gd name="connsiteX4" fmla="*/ 58052 w 74295"/>
                <a:gd name="connsiteY4" fmla="*/ -163 h 106203"/>
                <a:gd name="connsiteX5" fmla="*/ 35668 w 74295"/>
                <a:gd name="connsiteY5" fmla="*/ 6791 h 106203"/>
                <a:gd name="connsiteX6" fmla="*/ 24143 w 74295"/>
                <a:gd name="connsiteY6" fmla="*/ 10696 h 106203"/>
                <a:gd name="connsiteX7" fmla="*/ -336 w 74295"/>
                <a:gd name="connsiteY7" fmla="*/ 18887 h 106203"/>
                <a:gd name="connsiteX8" fmla="*/ -336 w 74295"/>
                <a:gd name="connsiteY8" fmla="*/ 18887 h 106203"/>
                <a:gd name="connsiteX9" fmla="*/ 35668 w 74295"/>
                <a:gd name="connsiteY9" fmla="*/ 73466 h 106203"/>
                <a:gd name="connsiteX10" fmla="*/ 55766 w 74295"/>
                <a:gd name="connsiteY10" fmla="*/ 103279 h 106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4295" h="106203">
                  <a:moveTo>
                    <a:pt x="58242" y="106041"/>
                  </a:moveTo>
                  <a:cubicBezTo>
                    <a:pt x="59509" y="104898"/>
                    <a:pt x="60690" y="103660"/>
                    <a:pt x="61767" y="102326"/>
                  </a:cubicBezTo>
                  <a:cubicBezTo>
                    <a:pt x="66672" y="96268"/>
                    <a:pt x="70130" y="89163"/>
                    <a:pt x="71863" y="81562"/>
                  </a:cubicBezTo>
                  <a:cubicBezTo>
                    <a:pt x="73282" y="75313"/>
                    <a:pt x="73987" y="68922"/>
                    <a:pt x="73959" y="62512"/>
                  </a:cubicBezTo>
                  <a:cubicBezTo>
                    <a:pt x="73425" y="40690"/>
                    <a:pt x="67987" y="19268"/>
                    <a:pt x="58052" y="-163"/>
                  </a:cubicBezTo>
                  <a:lnTo>
                    <a:pt x="35668" y="6791"/>
                  </a:lnTo>
                  <a:lnTo>
                    <a:pt x="24143" y="10696"/>
                  </a:lnTo>
                  <a:lnTo>
                    <a:pt x="-336" y="18887"/>
                  </a:lnTo>
                  <a:lnTo>
                    <a:pt x="-336" y="18887"/>
                  </a:lnTo>
                  <a:lnTo>
                    <a:pt x="35668" y="73466"/>
                  </a:lnTo>
                  <a:lnTo>
                    <a:pt x="55766" y="103279"/>
                  </a:lnTo>
                  <a:close/>
                </a:path>
              </a:pathLst>
            </a:custGeom>
            <a:solidFill>
              <a:srgbClr val="316DE6"/>
            </a:solidFill>
            <a:ln w="9525" cap="flat">
              <a:noFill/>
              <a:prstDash val="solid"/>
              <a:miter/>
            </a:ln>
          </p:spPr>
          <p:txBody>
            <a:bodyPr rtlCol="0" anchor="ctr"/>
            <a:lstStyle/>
            <a:p>
              <a:endParaRPr lang="zh-CN" altLang="en-US"/>
            </a:p>
          </p:txBody>
        </p:sp>
        <p:sp>
          <p:nvSpPr>
            <p:cNvPr id="848" name="iṡḻiḓe">
              <a:extLst>
                <a:ext uri="{FF2B5EF4-FFF2-40B4-BE49-F238E27FC236}">
                  <a16:creationId xmlns:a16="http://schemas.microsoft.com/office/drawing/2014/main" id="{05AC8E08-14EC-44B3-8743-33965BC22A50}"/>
                </a:ext>
              </a:extLst>
            </p:cNvPr>
            <p:cNvSpPr/>
            <p:nvPr/>
          </p:nvSpPr>
          <p:spPr>
            <a:xfrm>
              <a:off x="6027188" y="3029337"/>
              <a:ext cx="167580" cy="58051"/>
            </a:xfrm>
            <a:custGeom>
              <a:avLst/>
              <a:gdLst>
                <a:gd name="connsiteX0" fmla="*/ 33096 w 55054"/>
                <a:gd name="connsiteY0" fmla="*/ 18909 h 19071"/>
                <a:gd name="connsiteX1" fmla="*/ 54718 w 55054"/>
                <a:gd name="connsiteY1" fmla="*/ 6431 h 19071"/>
                <a:gd name="connsiteX2" fmla="*/ 21285 w 55054"/>
                <a:gd name="connsiteY2" fmla="*/ 240 h 19071"/>
                <a:gd name="connsiteX3" fmla="*/ -336 w 55054"/>
                <a:gd name="connsiteY3" fmla="*/ 12622 h 19071"/>
                <a:gd name="connsiteX4" fmla="*/ 28239 w 55054"/>
                <a:gd name="connsiteY4" fmla="*/ 16718 h 19071"/>
                <a:gd name="connsiteX5" fmla="*/ 33096 w 55054"/>
                <a:gd name="connsiteY5" fmla="*/ 18909 h 190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5054" h="19071">
                  <a:moveTo>
                    <a:pt x="33096" y="18909"/>
                  </a:moveTo>
                  <a:lnTo>
                    <a:pt x="54718" y="6431"/>
                  </a:lnTo>
                  <a:cubicBezTo>
                    <a:pt x="44460" y="1021"/>
                    <a:pt x="32801" y="-1132"/>
                    <a:pt x="21285" y="240"/>
                  </a:cubicBezTo>
                  <a:lnTo>
                    <a:pt x="-336" y="12622"/>
                  </a:lnTo>
                  <a:cubicBezTo>
                    <a:pt x="9389" y="11355"/>
                    <a:pt x="19266" y="12775"/>
                    <a:pt x="28239" y="16718"/>
                  </a:cubicBezTo>
                  <a:cubicBezTo>
                    <a:pt x="29763" y="17004"/>
                    <a:pt x="31382" y="17670"/>
                    <a:pt x="33096" y="18909"/>
                  </a:cubicBezTo>
                  <a:close/>
                </a:path>
              </a:pathLst>
            </a:custGeom>
            <a:solidFill>
              <a:srgbClr val="D9530B"/>
            </a:solidFill>
            <a:ln w="9525" cap="flat">
              <a:noFill/>
              <a:prstDash val="solid"/>
              <a:miter/>
            </a:ln>
          </p:spPr>
          <p:txBody>
            <a:bodyPr rtlCol="0" anchor="ctr"/>
            <a:lstStyle/>
            <a:p>
              <a:endParaRPr lang="zh-CN" altLang="en-US"/>
            </a:p>
          </p:txBody>
        </p:sp>
        <p:sp>
          <p:nvSpPr>
            <p:cNvPr id="849" name="iSḷîḓé">
              <a:extLst>
                <a:ext uri="{FF2B5EF4-FFF2-40B4-BE49-F238E27FC236}">
                  <a16:creationId xmlns:a16="http://schemas.microsoft.com/office/drawing/2014/main" id="{FBF5DED1-7EF4-4573-A7B4-154ABE5DF6FF}"/>
                </a:ext>
              </a:extLst>
            </p:cNvPr>
            <p:cNvSpPr/>
            <p:nvPr/>
          </p:nvSpPr>
          <p:spPr>
            <a:xfrm>
              <a:off x="6027188" y="3065724"/>
              <a:ext cx="120902" cy="291593"/>
            </a:xfrm>
            <a:custGeom>
              <a:avLst/>
              <a:gdLst>
                <a:gd name="connsiteX0" fmla="*/ 39383 w 39719"/>
                <a:gd name="connsiteY0" fmla="*/ 95633 h 95795"/>
                <a:gd name="connsiteX1" fmla="*/ 39383 w 39719"/>
                <a:gd name="connsiteY1" fmla="*/ 94966 h 95795"/>
                <a:gd name="connsiteX2" fmla="*/ 35573 w 39719"/>
                <a:gd name="connsiteY2" fmla="*/ 40388 h 95795"/>
                <a:gd name="connsiteX3" fmla="*/ 33954 w 39719"/>
                <a:gd name="connsiteY3" fmla="*/ 18099 h 95795"/>
                <a:gd name="connsiteX4" fmla="*/ 33954 w 39719"/>
                <a:gd name="connsiteY4" fmla="*/ 18099 h 95795"/>
                <a:gd name="connsiteX5" fmla="*/ 33192 w 39719"/>
                <a:gd name="connsiteY5" fmla="*/ 6574 h 95795"/>
                <a:gd name="connsiteX6" fmla="*/ 28239 w 39719"/>
                <a:gd name="connsiteY6" fmla="*/ 4383 h 95795"/>
                <a:gd name="connsiteX7" fmla="*/ -336 w 39719"/>
                <a:gd name="connsiteY7" fmla="*/ 288 h 95795"/>
                <a:gd name="connsiteX8" fmla="*/ 14713 w 39719"/>
                <a:gd name="connsiteY8" fmla="*/ 36578 h 95795"/>
                <a:gd name="connsiteX9" fmla="*/ 39097 w 39719"/>
                <a:gd name="connsiteY9" fmla="*/ 95061 h 95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719" h="95795">
                  <a:moveTo>
                    <a:pt x="39383" y="95633"/>
                  </a:moveTo>
                  <a:lnTo>
                    <a:pt x="39383" y="94966"/>
                  </a:lnTo>
                  <a:lnTo>
                    <a:pt x="35573" y="40388"/>
                  </a:lnTo>
                  <a:lnTo>
                    <a:pt x="33954" y="18099"/>
                  </a:lnTo>
                  <a:lnTo>
                    <a:pt x="33954" y="18099"/>
                  </a:lnTo>
                  <a:lnTo>
                    <a:pt x="33192" y="6574"/>
                  </a:lnTo>
                  <a:cubicBezTo>
                    <a:pt x="31477" y="5717"/>
                    <a:pt x="29858" y="5050"/>
                    <a:pt x="28239" y="4383"/>
                  </a:cubicBezTo>
                  <a:cubicBezTo>
                    <a:pt x="19266" y="440"/>
                    <a:pt x="9389" y="-979"/>
                    <a:pt x="-336" y="288"/>
                  </a:cubicBezTo>
                  <a:lnTo>
                    <a:pt x="14713" y="36578"/>
                  </a:lnTo>
                  <a:lnTo>
                    <a:pt x="39097" y="95061"/>
                  </a:lnTo>
                  <a:close/>
                </a:path>
              </a:pathLst>
            </a:custGeom>
            <a:solidFill>
              <a:srgbClr val="FF7D33"/>
            </a:solidFill>
            <a:ln w="9525" cap="flat">
              <a:noFill/>
              <a:prstDash val="solid"/>
              <a:miter/>
            </a:ln>
          </p:spPr>
          <p:txBody>
            <a:bodyPr rtlCol="0" anchor="ctr"/>
            <a:lstStyle/>
            <a:p>
              <a:endParaRPr lang="zh-CN" altLang="en-US"/>
            </a:p>
          </p:txBody>
        </p:sp>
        <p:sp>
          <p:nvSpPr>
            <p:cNvPr id="850" name="îsľîḓe">
              <a:extLst>
                <a:ext uri="{FF2B5EF4-FFF2-40B4-BE49-F238E27FC236}">
                  <a16:creationId xmlns:a16="http://schemas.microsoft.com/office/drawing/2014/main" id="{25364711-C8E9-4C80-B7DA-136A87B2F5E4}"/>
                </a:ext>
              </a:extLst>
            </p:cNvPr>
            <p:cNvSpPr/>
            <p:nvPr/>
          </p:nvSpPr>
          <p:spPr>
            <a:xfrm>
              <a:off x="5988916" y="3029404"/>
              <a:ext cx="104084" cy="51025"/>
            </a:xfrm>
            <a:custGeom>
              <a:avLst/>
              <a:gdLst>
                <a:gd name="connsiteX0" fmla="*/ 12237 w 34194"/>
                <a:gd name="connsiteY0" fmla="*/ 12220 h 16763"/>
                <a:gd name="connsiteX1" fmla="*/ 33858 w 34194"/>
                <a:gd name="connsiteY1" fmla="*/ -163 h 16763"/>
                <a:gd name="connsiteX2" fmla="*/ 21381 w 34194"/>
                <a:gd name="connsiteY2" fmla="*/ 4219 h 16763"/>
                <a:gd name="connsiteX3" fmla="*/ -336 w 34194"/>
                <a:gd name="connsiteY3" fmla="*/ 16601 h 16763"/>
                <a:gd name="connsiteX4" fmla="*/ 11665 w 34194"/>
                <a:gd name="connsiteY4" fmla="*/ 12315 h 16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194" h="16763">
                  <a:moveTo>
                    <a:pt x="12237" y="12220"/>
                  </a:moveTo>
                  <a:lnTo>
                    <a:pt x="33858" y="-163"/>
                  </a:lnTo>
                  <a:cubicBezTo>
                    <a:pt x="29458" y="485"/>
                    <a:pt x="25219" y="1971"/>
                    <a:pt x="21381" y="4219"/>
                  </a:cubicBezTo>
                  <a:lnTo>
                    <a:pt x="-336" y="16601"/>
                  </a:lnTo>
                  <a:cubicBezTo>
                    <a:pt x="3379" y="14468"/>
                    <a:pt x="7445" y="13020"/>
                    <a:pt x="11665" y="12315"/>
                  </a:cubicBezTo>
                  <a:close/>
                </a:path>
              </a:pathLst>
            </a:custGeom>
            <a:solidFill>
              <a:srgbClr val="E1E8F2"/>
            </a:solidFill>
            <a:ln w="9525" cap="flat">
              <a:noFill/>
              <a:prstDash val="solid"/>
              <a:miter/>
            </a:ln>
          </p:spPr>
          <p:txBody>
            <a:bodyPr rtlCol="0" anchor="ctr"/>
            <a:lstStyle/>
            <a:p>
              <a:endParaRPr lang="zh-CN" altLang="en-US"/>
            </a:p>
          </p:txBody>
        </p:sp>
        <p:sp>
          <p:nvSpPr>
            <p:cNvPr id="851" name="iS1ïḍe">
              <a:extLst>
                <a:ext uri="{FF2B5EF4-FFF2-40B4-BE49-F238E27FC236}">
                  <a16:creationId xmlns:a16="http://schemas.microsoft.com/office/drawing/2014/main" id="{754B52E0-E4BA-4E0E-A20C-4CFD294F2D87}"/>
                </a:ext>
              </a:extLst>
            </p:cNvPr>
            <p:cNvSpPr/>
            <p:nvPr/>
          </p:nvSpPr>
          <p:spPr>
            <a:xfrm>
              <a:off x="5922233" y="3067383"/>
              <a:ext cx="225856" cy="376044"/>
            </a:xfrm>
            <a:custGeom>
              <a:avLst/>
              <a:gdLst>
                <a:gd name="connsiteX0" fmla="*/ 73863 w 74199"/>
                <a:gd name="connsiteY0" fmla="*/ 95183 h 123539"/>
                <a:gd name="connsiteX1" fmla="*/ 73863 w 74199"/>
                <a:gd name="connsiteY1" fmla="*/ 95183 h 123539"/>
                <a:gd name="connsiteX2" fmla="*/ 73863 w 74199"/>
                <a:gd name="connsiteY2" fmla="*/ 94611 h 123539"/>
                <a:gd name="connsiteX3" fmla="*/ 49479 w 74199"/>
                <a:gd name="connsiteY3" fmla="*/ 36128 h 123539"/>
                <a:gd name="connsiteX4" fmla="*/ 34430 w 74199"/>
                <a:gd name="connsiteY4" fmla="*/ -163 h 123539"/>
                <a:gd name="connsiteX5" fmla="*/ 33477 w 74199"/>
                <a:gd name="connsiteY5" fmla="*/ -163 h 123539"/>
                <a:gd name="connsiteX6" fmla="*/ 21476 w 74199"/>
                <a:gd name="connsiteY6" fmla="*/ 4124 h 123539"/>
                <a:gd name="connsiteX7" fmla="*/ -336 w 74199"/>
                <a:gd name="connsiteY7" fmla="*/ 51749 h 123539"/>
                <a:gd name="connsiteX8" fmla="*/ 20237 w 74199"/>
                <a:gd name="connsiteY8" fmla="*/ 123377 h 123539"/>
                <a:gd name="connsiteX9" fmla="*/ 40621 w 74199"/>
                <a:gd name="connsiteY9" fmla="*/ 112518 h 123539"/>
                <a:gd name="connsiteX10" fmla="*/ 42335 w 74199"/>
                <a:gd name="connsiteY10" fmla="*/ 111661 h 123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4199" h="123539">
                  <a:moveTo>
                    <a:pt x="73863" y="95183"/>
                  </a:moveTo>
                  <a:lnTo>
                    <a:pt x="73863" y="95183"/>
                  </a:lnTo>
                  <a:lnTo>
                    <a:pt x="73863" y="94611"/>
                  </a:lnTo>
                  <a:lnTo>
                    <a:pt x="49479" y="36128"/>
                  </a:lnTo>
                  <a:lnTo>
                    <a:pt x="34430" y="-163"/>
                  </a:lnTo>
                  <a:lnTo>
                    <a:pt x="33477" y="-163"/>
                  </a:lnTo>
                  <a:cubicBezTo>
                    <a:pt x="29258" y="542"/>
                    <a:pt x="25191" y="1990"/>
                    <a:pt x="21476" y="4124"/>
                  </a:cubicBezTo>
                  <a:cubicBezTo>
                    <a:pt x="8045" y="11839"/>
                    <a:pt x="-336" y="28412"/>
                    <a:pt x="-336" y="51749"/>
                  </a:cubicBezTo>
                  <a:cubicBezTo>
                    <a:pt x="426" y="76971"/>
                    <a:pt x="7503" y="101593"/>
                    <a:pt x="20237" y="123377"/>
                  </a:cubicBezTo>
                  <a:lnTo>
                    <a:pt x="40621" y="112518"/>
                  </a:lnTo>
                  <a:lnTo>
                    <a:pt x="42335" y="111661"/>
                  </a:lnTo>
                  <a:close/>
                </a:path>
              </a:pathLst>
            </a:custGeom>
            <a:solidFill>
              <a:srgbClr val="EDF4FF"/>
            </a:solidFill>
            <a:ln w="9525" cap="flat">
              <a:noFill/>
              <a:prstDash val="solid"/>
              <a:miter/>
            </a:ln>
          </p:spPr>
          <p:txBody>
            <a:bodyPr rtlCol="0" anchor="ctr"/>
            <a:lstStyle/>
            <a:p>
              <a:endParaRPr lang="zh-CN" altLang="en-US"/>
            </a:p>
          </p:txBody>
        </p:sp>
        <p:sp>
          <p:nvSpPr>
            <p:cNvPr id="852" name="iSḷíḍê">
              <a:extLst>
                <a:ext uri="{FF2B5EF4-FFF2-40B4-BE49-F238E27FC236}">
                  <a16:creationId xmlns:a16="http://schemas.microsoft.com/office/drawing/2014/main" id="{5AAECCBF-A759-4354-BEF5-A747019A8EAE}"/>
                </a:ext>
              </a:extLst>
            </p:cNvPr>
            <p:cNvSpPr/>
            <p:nvPr/>
          </p:nvSpPr>
          <p:spPr>
            <a:xfrm>
              <a:off x="6128955" y="3086231"/>
              <a:ext cx="196285" cy="271086"/>
            </a:xfrm>
            <a:custGeom>
              <a:avLst/>
              <a:gdLst>
                <a:gd name="connsiteX0" fmla="*/ 64148 w 64484"/>
                <a:gd name="connsiteY0" fmla="*/ 69370 h 89058"/>
                <a:gd name="connsiteX1" fmla="*/ 61862 w 64484"/>
                <a:gd name="connsiteY1" fmla="*/ 64988 h 89058"/>
                <a:gd name="connsiteX2" fmla="*/ 23286 w 64484"/>
                <a:gd name="connsiteY2" fmla="*/ 15554 h 89058"/>
                <a:gd name="connsiteX3" fmla="*/ 6141 w 64484"/>
                <a:gd name="connsiteY3" fmla="*/ 3266 h 89058"/>
                <a:gd name="connsiteX4" fmla="*/ -336 w 64484"/>
                <a:gd name="connsiteY4" fmla="*/ -163 h 89058"/>
                <a:gd name="connsiteX5" fmla="*/ 426 w 64484"/>
                <a:gd name="connsiteY5" fmla="*/ 11363 h 89058"/>
                <a:gd name="connsiteX6" fmla="*/ 426 w 64484"/>
                <a:gd name="connsiteY6" fmla="*/ 11363 h 89058"/>
                <a:gd name="connsiteX7" fmla="*/ 2045 w 64484"/>
                <a:gd name="connsiteY7" fmla="*/ 33651 h 89058"/>
                <a:gd name="connsiteX8" fmla="*/ 5855 w 64484"/>
                <a:gd name="connsiteY8" fmla="*/ 88229 h 89058"/>
                <a:gd name="connsiteX9" fmla="*/ 5855 w 64484"/>
                <a:gd name="connsiteY9" fmla="*/ 88896 h 89058"/>
                <a:gd name="connsiteX10" fmla="*/ 5855 w 64484"/>
                <a:gd name="connsiteY10" fmla="*/ 88896 h 89058"/>
                <a:gd name="connsiteX11" fmla="*/ 30334 w 64484"/>
                <a:gd name="connsiteY11" fmla="*/ 80705 h 89058"/>
                <a:gd name="connsiteX12" fmla="*/ 41764 w 64484"/>
                <a:gd name="connsiteY12" fmla="*/ 76418 h 890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4484" h="89058">
                  <a:moveTo>
                    <a:pt x="64148" y="69370"/>
                  </a:moveTo>
                  <a:lnTo>
                    <a:pt x="61862" y="64988"/>
                  </a:lnTo>
                  <a:cubicBezTo>
                    <a:pt x="52204" y="46243"/>
                    <a:pt x="39126" y="29479"/>
                    <a:pt x="23286" y="15554"/>
                  </a:cubicBezTo>
                  <a:cubicBezTo>
                    <a:pt x="17961" y="10934"/>
                    <a:pt x="12218" y="6829"/>
                    <a:pt x="6141" y="3266"/>
                  </a:cubicBezTo>
                  <a:lnTo>
                    <a:pt x="-336" y="-163"/>
                  </a:lnTo>
                  <a:lnTo>
                    <a:pt x="426" y="11363"/>
                  </a:lnTo>
                  <a:lnTo>
                    <a:pt x="426" y="11363"/>
                  </a:lnTo>
                  <a:lnTo>
                    <a:pt x="2045" y="33651"/>
                  </a:lnTo>
                  <a:lnTo>
                    <a:pt x="5855" y="88229"/>
                  </a:lnTo>
                  <a:lnTo>
                    <a:pt x="5855" y="88896"/>
                  </a:lnTo>
                  <a:lnTo>
                    <a:pt x="5855" y="88896"/>
                  </a:lnTo>
                  <a:lnTo>
                    <a:pt x="30334" y="80705"/>
                  </a:lnTo>
                  <a:lnTo>
                    <a:pt x="41764" y="76418"/>
                  </a:lnTo>
                  <a:close/>
                </a:path>
              </a:pathLst>
            </a:custGeom>
            <a:solidFill>
              <a:srgbClr val="D9530B"/>
            </a:solidFill>
            <a:ln w="9525" cap="flat">
              <a:noFill/>
              <a:prstDash val="solid"/>
              <a:miter/>
            </a:ln>
          </p:spPr>
          <p:txBody>
            <a:bodyPr rtlCol="0" anchor="ctr"/>
            <a:lstStyle/>
            <a:p>
              <a:endParaRPr lang="zh-CN" altLang="en-US"/>
            </a:p>
          </p:txBody>
        </p:sp>
        <p:sp>
          <p:nvSpPr>
            <p:cNvPr id="853" name="íṥľîdé">
              <a:extLst>
                <a:ext uri="{FF2B5EF4-FFF2-40B4-BE49-F238E27FC236}">
                  <a16:creationId xmlns:a16="http://schemas.microsoft.com/office/drawing/2014/main" id="{238E2079-D109-4040-B9FB-DFEA3E0F6BDE}"/>
                </a:ext>
              </a:extLst>
            </p:cNvPr>
            <p:cNvSpPr/>
            <p:nvPr/>
          </p:nvSpPr>
          <p:spPr>
            <a:xfrm>
              <a:off x="6128955" y="3048249"/>
              <a:ext cx="262100" cy="249632"/>
            </a:xfrm>
            <a:custGeom>
              <a:avLst/>
              <a:gdLst>
                <a:gd name="connsiteX0" fmla="*/ 64148 w 86106"/>
                <a:gd name="connsiteY0" fmla="*/ 81848 h 82010"/>
                <a:gd name="connsiteX1" fmla="*/ 85770 w 86106"/>
                <a:gd name="connsiteY1" fmla="*/ 69465 h 82010"/>
                <a:gd name="connsiteX2" fmla="*/ 27858 w 86106"/>
                <a:gd name="connsiteY2" fmla="*/ 3362 h 82010"/>
                <a:gd name="connsiteX3" fmla="*/ 21286 w 86106"/>
                <a:gd name="connsiteY3" fmla="*/ -163 h 82010"/>
                <a:gd name="connsiteX4" fmla="*/ -336 w 86106"/>
                <a:gd name="connsiteY4" fmla="*/ 12696 h 82010"/>
                <a:gd name="connsiteX5" fmla="*/ 6141 w 86106"/>
                <a:gd name="connsiteY5" fmla="*/ 16125 h 82010"/>
                <a:gd name="connsiteX6" fmla="*/ 23286 w 86106"/>
                <a:gd name="connsiteY6" fmla="*/ 28412 h 82010"/>
                <a:gd name="connsiteX7" fmla="*/ 61862 w 86106"/>
                <a:gd name="connsiteY7" fmla="*/ 77847 h 82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6106" h="82010">
                  <a:moveTo>
                    <a:pt x="64148" y="81848"/>
                  </a:moveTo>
                  <a:lnTo>
                    <a:pt x="85770" y="69465"/>
                  </a:lnTo>
                  <a:cubicBezTo>
                    <a:pt x="73168" y="42357"/>
                    <a:pt x="53071" y="19421"/>
                    <a:pt x="27858" y="3362"/>
                  </a:cubicBezTo>
                  <a:cubicBezTo>
                    <a:pt x="25724" y="2076"/>
                    <a:pt x="23533" y="904"/>
                    <a:pt x="21286" y="-163"/>
                  </a:cubicBezTo>
                  <a:lnTo>
                    <a:pt x="-336" y="12696"/>
                  </a:lnTo>
                  <a:lnTo>
                    <a:pt x="6141" y="16125"/>
                  </a:lnTo>
                  <a:cubicBezTo>
                    <a:pt x="12218" y="19687"/>
                    <a:pt x="17961" y="23793"/>
                    <a:pt x="23286" y="28412"/>
                  </a:cubicBezTo>
                  <a:cubicBezTo>
                    <a:pt x="39126" y="42338"/>
                    <a:pt x="52204" y="59102"/>
                    <a:pt x="61862" y="77847"/>
                  </a:cubicBezTo>
                  <a:close/>
                </a:path>
              </a:pathLst>
            </a:custGeom>
            <a:solidFill>
              <a:srgbClr val="BF4200"/>
            </a:solidFill>
            <a:ln w="9525" cap="flat">
              <a:noFill/>
              <a:prstDash val="solid"/>
              <a:miter/>
            </a:ln>
          </p:spPr>
          <p:txBody>
            <a:bodyPr rtlCol="0" anchor="ctr"/>
            <a:lstStyle/>
            <a:p>
              <a:endParaRPr lang="zh-CN" altLang="en-US"/>
            </a:p>
          </p:txBody>
        </p:sp>
        <p:sp>
          <p:nvSpPr>
            <p:cNvPr id="854" name="ïṩḻíḓè">
              <a:extLst>
                <a:ext uri="{FF2B5EF4-FFF2-40B4-BE49-F238E27FC236}">
                  <a16:creationId xmlns:a16="http://schemas.microsoft.com/office/drawing/2014/main" id="{2365F1C0-E6F1-4720-A934-B31488390561}"/>
                </a:ext>
              </a:extLst>
            </p:cNvPr>
            <p:cNvSpPr/>
            <p:nvPr/>
          </p:nvSpPr>
          <p:spPr>
            <a:xfrm>
              <a:off x="6765069" y="3674485"/>
              <a:ext cx="227887" cy="124981"/>
            </a:xfrm>
            <a:custGeom>
              <a:avLst/>
              <a:gdLst>
                <a:gd name="connsiteX0" fmla="*/ -336 w 74866"/>
                <a:gd name="connsiteY0" fmla="*/ 3940 h 41059"/>
                <a:gd name="connsiteX1" fmla="*/ 2045 w 74866"/>
                <a:gd name="connsiteY1" fmla="*/ 3178 h 41059"/>
                <a:gd name="connsiteX2" fmla="*/ 12141 w 74866"/>
                <a:gd name="connsiteY2" fmla="*/ 5654 h 41059"/>
                <a:gd name="connsiteX3" fmla="*/ 67672 w 74866"/>
                <a:gd name="connsiteY3" fmla="*/ 37658 h 41059"/>
                <a:gd name="connsiteX4" fmla="*/ 73292 w 74866"/>
                <a:gd name="connsiteY4" fmla="*/ 40897 h 41059"/>
                <a:gd name="connsiteX5" fmla="*/ 74530 w 74866"/>
                <a:gd name="connsiteY5" fmla="*/ 35087 h 41059"/>
                <a:gd name="connsiteX6" fmla="*/ 74530 w 74866"/>
                <a:gd name="connsiteY6" fmla="*/ 35087 h 41059"/>
                <a:gd name="connsiteX7" fmla="*/ 73292 w 74866"/>
                <a:gd name="connsiteY7" fmla="*/ 34420 h 41059"/>
                <a:gd name="connsiteX8" fmla="*/ 17761 w 74866"/>
                <a:gd name="connsiteY8" fmla="*/ 2321 h 41059"/>
                <a:gd name="connsiteX9" fmla="*/ 5283 w 74866"/>
                <a:gd name="connsiteY9" fmla="*/ 606 h 41059"/>
                <a:gd name="connsiteX10" fmla="*/ 3950 w 74866"/>
                <a:gd name="connsiteY10" fmla="*/ 1463 h 41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4866" h="41059">
                  <a:moveTo>
                    <a:pt x="-336" y="3940"/>
                  </a:moveTo>
                  <a:cubicBezTo>
                    <a:pt x="416" y="3578"/>
                    <a:pt x="1226" y="3330"/>
                    <a:pt x="2045" y="3178"/>
                  </a:cubicBezTo>
                  <a:cubicBezTo>
                    <a:pt x="5598" y="2806"/>
                    <a:pt x="9160" y="3683"/>
                    <a:pt x="12141" y="5654"/>
                  </a:cubicBezTo>
                  <a:lnTo>
                    <a:pt x="67672" y="37658"/>
                  </a:lnTo>
                  <a:lnTo>
                    <a:pt x="73292" y="40897"/>
                  </a:lnTo>
                  <a:cubicBezTo>
                    <a:pt x="73254" y="38887"/>
                    <a:pt x="73682" y="36906"/>
                    <a:pt x="74530" y="35087"/>
                  </a:cubicBezTo>
                  <a:lnTo>
                    <a:pt x="74530" y="35087"/>
                  </a:lnTo>
                  <a:lnTo>
                    <a:pt x="73292" y="34420"/>
                  </a:lnTo>
                  <a:lnTo>
                    <a:pt x="17761" y="2321"/>
                  </a:lnTo>
                  <a:cubicBezTo>
                    <a:pt x="14113" y="-213"/>
                    <a:pt x="9474" y="-851"/>
                    <a:pt x="5283" y="606"/>
                  </a:cubicBezTo>
                  <a:lnTo>
                    <a:pt x="3950" y="1463"/>
                  </a:lnTo>
                  <a:close/>
                </a:path>
              </a:pathLst>
            </a:custGeom>
            <a:solidFill>
              <a:srgbClr val="316DE6"/>
            </a:solidFill>
            <a:ln w="9525" cap="flat">
              <a:noFill/>
              <a:prstDash val="solid"/>
              <a:miter/>
            </a:ln>
          </p:spPr>
          <p:txBody>
            <a:bodyPr rtlCol="0" anchor="ctr"/>
            <a:lstStyle/>
            <a:p>
              <a:endParaRPr lang="zh-CN" altLang="en-US"/>
            </a:p>
          </p:txBody>
        </p:sp>
        <p:sp>
          <p:nvSpPr>
            <p:cNvPr id="855" name="î$ļíḍè">
              <a:extLst>
                <a:ext uri="{FF2B5EF4-FFF2-40B4-BE49-F238E27FC236}">
                  <a16:creationId xmlns:a16="http://schemas.microsoft.com/office/drawing/2014/main" id="{361C565A-8A9B-4D05-910C-FE9014D6B379}"/>
                </a:ext>
              </a:extLst>
            </p:cNvPr>
            <p:cNvSpPr/>
            <p:nvPr/>
          </p:nvSpPr>
          <p:spPr>
            <a:xfrm>
              <a:off x="6745907" y="3685848"/>
              <a:ext cx="390855" cy="518177"/>
            </a:xfrm>
            <a:custGeom>
              <a:avLst/>
              <a:gdLst>
                <a:gd name="connsiteX0" fmla="*/ -328 w 128405"/>
                <a:gd name="connsiteY0" fmla="*/ 12780 h 170233"/>
                <a:gd name="connsiteX1" fmla="*/ -328 w 128405"/>
                <a:gd name="connsiteY1" fmla="*/ 17066 h 170233"/>
                <a:gd name="connsiteX2" fmla="*/ 5292 w 128405"/>
                <a:gd name="connsiteY2" fmla="*/ 20400 h 170233"/>
                <a:gd name="connsiteX3" fmla="*/ 51488 w 128405"/>
                <a:gd name="connsiteY3" fmla="*/ 46974 h 170233"/>
                <a:gd name="connsiteX4" fmla="*/ 86730 w 128405"/>
                <a:gd name="connsiteY4" fmla="*/ 67072 h 170233"/>
                <a:gd name="connsiteX5" fmla="*/ 105780 w 128405"/>
                <a:gd name="connsiteY5" fmla="*/ 99552 h 170233"/>
                <a:gd name="connsiteX6" fmla="*/ 105780 w 128405"/>
                <a:gd name="connsiteY6" fmla="*/ 162989 h 170233"/>
                <a:gd name="connsiteX7" fmla="*/ 116829 w 128405"/>
                <a:gd name="connsiteY7" fmla="*/ 168609 h 170233"/>
                <a:gd name="connsiteX8" fmla="*/ 116829 w 128405"/>
                <a:gd name="connsiteY8" fmla="*/ 168609 h 170233"/>
                <a:gd name="connsiteX9" fmla="*/ 128069 w 128405"/>
                <a:gd name="connsiteY9" fmla="*/ 149559 h 170233"/>
                <a:gd name="connsiteX10" fmla="*/ 128069 w 128405"/>
                <a:gd name="connsiteY10" fmla="*/ 65358 h 170233"/>
                <a:gd name="connsiteX11" fmla="*/ 114353 w 128405"/>
                <a:gd name="connsiteY11" fmla="*/ 41640 h 170233"/>
                <a:gd name="connsiteX12" fmla="*/ 93779 w 128405"/>
                <a:gd name="connsiteY12" fmla="*/ 29734 h 170233"/>
                <a:gd name="connsiteX13" fmla="*/ 87302 w 128405"/>
                <a:gd name="connsiteY13" fmla="*/ 27924 h 170233"/>
                <a:gd name="connsiteX14" fmla="*/ 84635 w 128405"/>
                <a:gd name="connsiteY14" fmla="*/ 28496 h 170233"/>
                <a:gd name="connsiteX15" fmla="*/ 83778 w 128405"/>
                <a:gd name="connsiteY15" fmla="*/ 28972 h 170233"/>
                <a:gd name="connsiteX16" fmla="*/ 81301 w 128405"/>
                <a:gd name="connsiteY16" fmla="*/ 31830 h 170233"/>
                <a:gd name="connsiteX17" fmla="*/ 81301 w 128405"/>
                <a:gd name="connsiteY17" fmla="*/ 31830 h 170233"/>
                <a:gd name="connsiteX18" fmla="*/ 80063 w 128405"/>
                <a:gd name="connsiteY18" fmla="*/ 37640 h 170233"/>
                <a:gd name="connsiteX19" fmla="*/ 74443 w 128405"/>
                <a:gd name="connsiteY19" fmla="*/ 34401 h 170233"/>
                <a:gd name="connsiteX20" fmla="*/ 18913 w 128405"/>
                <a:gd name="connsiteY20" fmla="*/ 2397 h 170233"/>
                <a:gd name="connsiteX21" fmla="*/ 8816 w 128405"/>
                <a:gd name="connsiteY21" fmla="*/ -79 h 170233"/>
                <a:gd name="connsiteX22" fmla="*/ 6435 w 128405"/>
                <a:gd name="connsiteY22" fmla="*/ 683 h 170233"/>
                <a:gd name="connsiteX23" fmla="*/ 5006 w 128405"/>
                <a:gd name="connsiteY23" fmla="*/ 1445 h 170233"/>
                <a:gd name="connsiteX24" fmla="*/ -328 w 128405"/>
                <a:gd name="connsiteY24" fmla="*/ 12780 h 170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28405" h="170233">
                  <a:moveTo>
                    <a:pt x="-328" y="12780"/>
                  </a:moveTo>
                  <a:lnTo>
                    <a:pt x="-328" y="17066"/>
                  </a:lnTo>
                  <a:lnTo>
                    <a:pt x="5292" y="20400"/>
                  </a:lnTo>
                  <a:lnTo>
                    <a:pt x="51488" y="46974"/>
                  </a:lnTo>
                  <a:lnTo>
                    <a:pt x="86730" y="67072"/>
                  </a:lnTo>
                  <a:cubicBezTo>
                    <a:pt x="97932" y="74206"/>
                    <a:pt x="105019" y="86294"/>
                    <a:pt x="105780" y="99552"/>
                  </a:cubicBezTo>
                  <a:lnTo>
                    <a:pt x="105780" y="162989"/>
                  </a:lnTo>
                  <a:cubicBezTo>
                    <a:pt x="105780" y="169371"/>
                    <a:pt x="110924" y="171942"/>
                    <a:pt x="116829" y="168609"/>
                  </a:cubicBezTo>
                  <a:lnTo>
                    <a:pt x="116829" y="168609"/>
                  </a:lnTo>
                  <a:cubicBezTo>
                    <a:pt x="123364" y="164380"/>
                    <a:pt x="127526" y="157322"/>
                    <a:pt x="128069" y="149559"/>
                  </a:cubicBezTo>
                  <a:lnTo>
                    <a:pt x="128069" y="65358"/>
                  </a:lnTo>
                  <a:cubicBezTo>
                    <a:pt x="127526" y="55718"/>
                    <a:pt x="122430" y="46917"/>
                    <a:pt x="114353" y="41640"/>
                  </a:cubicBezTo>
                  <a:lnTo>
                    <a:pt x="93779" y="29734"/>
                  </a:lnTo>
                  <a:cubicBezTo>
                    <a:pt x="91836" y="28524"/>
                    <a:pt x="89588" y="27896"/>
                    <a:pt x="87302" y="27924"/>
                  </a:cubicBezTo>
                  <a:cubicBezTo>
                    <a:pt x="86387" y="27953"/>
                    <a:pt x="85483" y="28153"/>
                    <a:pt x="84635" y="28496"/>
                  </a:cubicBezTo>
                  <a:lnTo>
                    <a:pt x="83778" y="28972"/>
                  </a:lnTo>
                  <a:cubicBezTo>
                    <a:pt x="82721" y="29696"/>
                    <a:pt x="81863" y="30677"/>
                    <a:pt x="81301" y="31830"/>
                  </a:cubicBezTo>
                  <a:lnTo>
                    <a:pt x="81301" y="31830"/>
                  </a:lnTo>
                  <a:cubicBezTo>
                    <a:pt x="80454" y="33649"/>
                    <a:pt x="80025" y="35630"/>
                    <a:pt x="80063" y="37640"/>
                  </a:cubicBezTo>
                  <a:lnTo>
                    <a:pt x="74443" y="34401"/>
                  </a:lnTo>
                  <a:lnTo>
                    <a:pt x="18913" y="2397"/>
                  </a:lnTo>
                  <a:cubicBezTo>
                    <a:pt x="15931" y="426"/>
                    <a:pt x="12369" y="-451"/>
                    <a:pt x="8816" y="-79"/>
                  </a:cubicBezTo>
                  <a:cubicBezTo>
                    <a:pt x="7997" y="73"/>
                    <a:pt x="7187" y="321"/>
                    <a:pt x="6435" y="683"/>
                  </a:cubicBezTo>
                  <a:lnTo>
                    <a:pt x="5006" y="1445"/>
                  </a:lnTo>
                  <a:cubicBezTo>
                    <a:pt x="1510" y="4140"/>
                    <a:pt x="-480" y="8360"/>
                    <a:pt x="-328" y="12780"/>
                  </a:cubicBezTo>
                  <a:close/>
                </a:path>
              </a:pathLst>
            </a:custGeom>
            <a:solidFill>
              <a:srgbClr val="323A82"/>
            </a:solidFill>
            <a:ln w="9525" cap="flat">
              <a:noFill/>
              <a:prstDash val="solid"/>
              <a:miter/>
            </a:ln>
          </p:spPr>
          <p:txBody>
            <a:bodyPr rtlCol="0" anchor="ctr"/>
            <a:lstStyle/>
            <a:p>
              <a:endParaRPr lang="zh-CN" altLang="en-US"/>
            </a:p>
          </p:txBody>
        </p:sp>
        <p:sp>
          <p:nvSpPr>
            <p:cNvPr id="856" name="ïṣlíḓe">
              <a:extLst>
                <a:ext uri="{FF2B5EF4-FFF2-40B4-BE49-F238E27FC236}">
                  <a16:creationId xmlns:a16="http://schemas.microsoft.com/office/drawing/2014/main" id="{09BDFFF9-C1C3-46C8-B229-7742F5A4DA2D}"/>
                </a:ext>
              </a:extLst>
            </p:cNvPr>
            <p:cNvSpPr/>
            <p:nvPr/>
          </p:nvSpPr>
          <p:spPr>
            <a:xfrm>
              <a:off x="6754053" y="3705265"/>
              <a:ext cx="322114" cy="451667"/>
            </a:xfrm>
            <a:custGeom>
              <a:avLst/>
              <a:gdLst>
                <a:gd name="connsiteX0" fmla="*/ 8522 w 105822"/>
                <a:gd name="connsiteY0" fmla="*/ 96127 h 148383"/>
                <a:gd name="connsiteX1" fmla="*/ 96628 w 105822"/>
                <a:gd name="connsiteY1" fmla="*/ 146991 h 148383"/>
                <a:gd name="connsiteX2" fmla="*/ 105486 w 105822"/>
                <a:gd name="connsiteY2" fmla="*/ 141847 h 148383"/>
                <a:gd name="connsiteX3" fmla="*/ 105486 w 105822"/>
                <a:gd name="connsiteY3" fmla="*/ 67266 h 148383"/>
                <a:gd name="connsiteX4" fmla="*/ 96628 w 105822"/>
                <a:gd name="connsiteY4" fmla="*/ 51931 h 148383"/>
                <a:gd name="connsiteX5" fmla="*/ 8522 w 105822"/>
                <a:gd name="connsiteY5" fmla="*/ 1068 h 148383"/>
                <a:gd name="connsiteX6" fmla="*/ -336 w 105822"/>
                <a:gd name="connsiteY6" fmla="*/ 6211 h 148383"/>
                <a:gd name="connsiteX7" fmla="*/ -336 w 105822"/>
                <a:gd name="connsiteY7" fmla="*/ 80697 h 148383"/>
                <a:gd name="connsiteX8" fmla="*/ 8522 w 105822"/>
                <a:gd name="connsiteY8" fmla="*/ 96127 h 1483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822" h="148383">
                  <a:moveTo>
                    <a:pt x="8522" y="96127"/>
                  </a:moveTo>
                  <a:lnTo>
                    <a:pt x="96628" y="146991"/>
                  </a:lnTo>
                  <a:cubicBezTo>
                    <a:pt x="101486" y="149848"/>
                    <a:pt x="105486" y="147562"/>
                    <a:pt x="105486" y="141847"/>
                  </a:cubicBezTo>
                  <a:lnTo>
                    <a:pt x="105486" y="67266"/>
                  </a:lnTo>
                  <a:cubicBezTo>
                    <a:pt x="105143" y="61037"/>
                    <a:pt x="101848" y="55341"/>
                    <a:pt x="96628" y="51931"/>
                  </a:cubicBezTo>
                  <a:lnTo>
                    <a:pt x="8522" y="1068"/>
                  </a:lnTo>
                  <a:cubicBezTo>
                    <a:pt x="3664" y="-1790"/>
                    <a:pt x="-336" y="496"/>
                    <a:pt x="-336" y="6211"/>
                  </a:cubicBezTo>
                  <a:lnTo>
                    <a:pt x="-336" y="80697"/>
                  </a:lnTo>
                  <a:cubicBezTo>
                    <a:pt x="-22" y="86964"/>
                    <a:pt x="3274" y="92698"/>
                    <a:pt x="8522" y="96127"/>
                  </a:cubicBezTo>
                  <a:close/>
                </a:path>
              </a:pathLst>
            </a:custGeom>
            <a:solidFill>
              <a:srgbClr val="D1D9E8"/>
            </a:solidFill>
            <a:ln w="9525" cap="flat">
              <a:noFill/>
              <a:prstDash val="solid"/>
              <a:miter/>
            </a:ln>
          </p:spPr>
          <p:txBody>
            <a:bodyPr rtlCol="0" anchor="ctr"/>
            <a:lstStyle/>
            <a:p>
              <a:endParaRPr lang="zh-CN" altLang="en-US"/>
            </a:p>
          </p:txBody>
        </p:sp>
        <p:sp>
          <p:nvSpPr>
            <p:cNvPr id="857" name="ïśḻïďé">
              <a:extLst>
                <a:ext uri="{FF2B5EF4-FFF2-40B4-BE49-F238E27FC236}">
                  <a16:creationId xmlns:a16="http://schemas.microsoft.com/office/drawing/2014/main" id="{91F87AD4-F703-4D8E-962D-80BE1B5E24FD}"/>
                </a:ext>
              </a:extLst>
            </p:cNvPr>
            <p:cNvSpPr/>
            <p:nvPr/>
          </p:nvSpPr>
          <p:spPr>
            <a:xfrm>
              <a:off x="6736946" y="3715121"/>
              <a:ext cx="322114" cy="451667"/>
            </a:xfrm>
            <a:custGeom>
              <a:avLst/>
              <a:gdLst>
                <a:gd name="connsiteX0" fmla="*/ 8522 w 105822"/>
                <a:gd name="connsiteY0" fmla="*/ 96127 h 148383"/>
                <a:gd name="connsiteX1" fmla="*/ 96628 w 105822"/>
                <a:gd name="connsiteY1" fmla="*/ 146991 h 148383"/>
                <a:gd name="connsiteX2" fmla="*/ 105487 w 105822"/>
                <a:gd name="connsiteY2" fmla="*/ 141847 h 148383"/>
                <a:gd name="connsiteX3" fmla="*/ 105487 w 105822"/>
                <a:gd name="connsiteY3" fmla="*/ 67362 h 148383"/>
                <a:gd name="connsiteX4" fmla="*/ 96628 w 105822"/>
                <a:gd name="connsiteY4" fmla="*/ 51931 h 148383"/>
                <a:gd name="connsiteX5" fmla="*/ 8522 w 105822"/>
                <a:gd name="connsiteY5" fmla="*/ 1068 h 148383"/>
                <a:gd name="connsiteX6" fmla="*/ -336 w 105822"/>
                <a:gd name="connsiteY6" fmla="*/ 6211 h 148383"/>
                <a:gd name="connsiteX7" fmla="*/ -336 w 105822"/>
                <a:gd name="connsiteY7" fmla="*/ 80792 h 148383"/>
                <a:gd name="connsiteX8" fmla="*/ 8522 w 105822"/>
                <a:gd name="connsiteY8" fmla="*/ 96127 h 1483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822" h="148383">
                  <a:moveTo>
                    <a:pt x="8522" y="96127"/>
                  </a:moveTo>
                  <a:lnTo>
                    <a:pt x="96628" y="146991"/>
                  </a:lnTo>
                  <a:cubicBezTo>
                    <a:pt x="101486" y="149848"/>
                    <a:pt x="105487" y="147562"/>
                    <a:pt x="105487" y="141847"/>
                  </a:cubicBezTo>
                  <a:lnTo>
                    <a:pt x="105487" y="67362"/>
                  </a:lnTo>
                  <a:cubicBezTo>
                    <a:pt x="105172" y="61094"/>
                    <a:pt x="101877" y="55360"/>
                    <a:pt x="96628" y="51931"/>
                  </a:cubicBezTo>
                  <a:lnTo>
                    <a:pt x="8522" y="1068"/>
                  </a:lnTo>
                  <a:cubicBezTo>
                    <a:pt x="3664" y="-1790"/>
                    <a:pt x="-336" y="496"/>
                    <a:pt x="-336" y="6211"/>
                  </a:cubicBezTo>
                  <a:lnTo>
                    <a:pt x="-336" y="80792"/>
                  </a:lnTo>
                  <a:cubicBezTo>
                    <a:pt x="7" y="87021"/>
                    <a:pt x="3302" y="92717"/>
                    <a:pt x="8522" y="96127"/>
                  </a:cubicBezTo>
                  <a:close/>
                </a:path>
              </a:pathLst>
            </a:custGeom>
            <a:solidFill>
              <a:srgbClr val="EDF4FF"/>
            </a:solidFill>
            <a:ln w="9525" cap="flat">
              <a:noFill/>
              <a:prstDash val="solid"/>
              <a:miter/>
            </a:ln>
          </p:spPr>
          <p:txBody>
            <a:bodyPr rtlCol="0" anchor="ctr"/>
            <a:lstStyle/>
            <a:p>
              <a:endParaRPr lang="zh-CN" altLang="en-US"/>
            </a:p>
          </p:txBody>
        </p:sp>
        <p:sp>
          <p:nvSpPr>
            <p:cNvPr id="858" name="íṧḷïḋe">
              <a:extLst>
                <a:ext uri="{FF2B5EF4-FFF2-40B4-BE49-F238E27FC236}">
                  <a16:creationId xmlns:a16="http://schemas.microsoft.com/office/drawing/2014/main" id="{B76787ED-60B1-4E56-B090-58A5664940CA}"/>
                </a:ext>
              </a:extLst>
            </p:cNvPr>
            <p:cNvSpPr/>
            <p:nvPr/>
          </p:nvSpPr>
          <p:spPr>
            <a:xfrm>
              <a:off x="6660525" y="3735385"/>
              <a:ext cx="390146" cy="528581"/>
            </a:xfrm>
            <a:custGeom>
              <a:avLst/>
              <a:gdLst>
                <a:gd name="connsiteX0" fmla="*/ -281 w 128172"/>
                <a:gd name="connsiteY0" fmla="*/ 12698 h 173651"/>
                <a:gd name="connsiteX1" fmla="*/ -281 w 128172"/>
                <a:gd name="connsiteY1" fmla="*/ 86327 h 173651"/>
                <a:gd name="connsiteX2" fmla="*/ 18769 w 128172"/>
                <a:gd name="connsiteY2" fmla="*/ 118807 h 173651"/>
                <a:gd name="connsiteX3" fmla="*/ 109066 w 128172"/>
                <a:gd name="connsiteY3" fmla="*/ 171004 h 173651"/>
                <a:gd name="connsiteX4" fmla="*/ 121639 w 128172"/>
                <a:gd name="connsiteY4" fmla="*/ 172623 h 173651"/>
                <a:gd name="connsiteX5" fmla="*/ 122782 w 128172"/>
                <a:gd name="connsiteY5" fmla="*/ 172052 h 173651"/>
                <a:gd name="connsiteX6" fmla="*/ 124878 w 128172"/>
                <a:gd name="connsiteY6" fmla="*/ 170147 h 173651"/>
                <a:gd name="connsiteX7" fmla="*/ 127830 w 128172"/>
                <a:gd name="connsiteY7" fmla="*/ 160622 h 173651"/>
                <a:gd name="connsiteX8" fmla="*/ 127830 w 128172"/>
                <a:gd name="connsiteY8" fmla="*/ 86993 h 173651"/>
                <a:gd name="connsiteX9" fmla="*/ 108780 w 128172"/>
                <a:gd name="connsiteY9" fmla="*/ 54513 h 173651"/>
                <a:gd name="connsiteX10" fmla="*/ 33343 w 128172"/>
                <a:gd name="connsiteY10" fmla="*/ 10984 h 173651"/>
                <a:gd name="connsiteX11" fmla="*/ 27723 w 128172"/>
                <a:gd name="connsiteY11" fmla="*/ 7745 h 173651"/>
                <a:gd name="connsiteX12" fmla="*/ 18198 w 128172"/>
                <a:gd name="connsiteY12" fmla="*/ 2316 h 173651"/>
                <a:gd name="connsiteX13" fmla="*/ 8006 w 128172"/>
                <a:gd name="connsiteY13" fmla="*/ -65 h 173651"/>
                <a:gd name="connsiteX14" fmla="*/ 4672 w 128172"/>
                <a:gd name="connsiteY14" fmla="*/ 1173 h 173651"/>
                <a:gd name="connsiteX15" fmla="*/ -281 w 128172"/>
                <a:gd name="connsiteY15" fmla="*/ 12698 h 173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8172" h="173651">
                  <a:moveTo>
                    <a:pt x="-281" y="12698"/>
                  </a:moveTo>
                  <a:lnTo>
                    <a:pt x="-281" y="86327"/>
                  </a:lnTo>
                  <a:cubicBezTo>
                    <a:pt x="481" y="99586"/>
                    <a:pt x="7568" y="111673"/>
                    <a:pt x="18769" y="118807"/>
                  </a:cubicBezTo>
                  <a:lnTo>
                    <a:pt x="109066" y="171004"/>
                  </a:lnTo>
                  <a:cubicBezTo>
                    <a:pt x="112733" y="173595"/>
                    <a:pt x="117439" y="174204"/>
                    <a:pt x="121639" y="172623"/>
                  </a:cubicBezTo>
                  <a:lnTo>
                    <a:pt x="122782" y="172052"/>
                  </a:lnTo>
                  <a:cubicBezTo>
                    <a:pt x="123544" y="171499"/>
                    <a:pt x="124249" y="170852"/>
                    <a:pt x="124878" y="170147"/>
                  </a:cubicBezTo>
                  <a:cubicBezTo>
                    <a:pt x="126888" y="167384"/>
                    <a:pt x="127926" y="164032"/>
                    <a:pt x="127830" y="160622"/>
                  </a:cubicBezTo>
                  <a:lnTo>
                    <a:pt x="127830" y="86993"/>
                  </a:lnTo>
                  <a:cubicBezTo>
                    <a:pt x="127040" y="73744"/>
                    <a:pt x="119953" y="61676"/>
                    <a:pt x="108780" y="54513"/>
                  </a:cubicBezTo>
                  <a:lnTo>
                    <a:pt x="33343" y="10984"/>
                  </a:lnTo>
                  <a:lnTo>
                    <a:pt x="27723" y="7745"/>
                  </a:lnTo>
                  <a:lnTo>
                    <a:pt x="18198" y="2316"/>
                  </a:lnTo>
                  <a:cubicBezTo>
                    <a:pt x="15178" y="373"/>
                    <a:pt x="11578" y="-465"/>
                    <a:pt x="8006" y="-65"/>
                  </a:cubicBezTo>
                  <a:cubicBezTo>
                    <a:pt x="6825" y="135"/>
                    <a:pt x="5691" y="554"/>
                    <a:pt x="4672" y="1173"/>
                  </a:cubicBezTo>
                  <a:cubicBezTo>
                    <a:pt x="1177" y="3926"/>
                    <a:pt x="-690" y="8269"/>
                    <a:pt x="-281" y="12698"/>
                  </a:cubicBezTo>
                  <a:close/>
                </a:path>
              </a:pathLst>
            </a:custGeom>
            <a:solidFill>
              <a:srgbClr val="214EA6"/>
            </a:solidFill>
            <a:ln w="9525" cap="flat">
              <a:noFill/>
              <a:prstDash val="solid"/>
              <a:miter/>
            </a:ln>
          </p:spPr>
          <p:txBody>
            <a:bodyPr rtlCol="0" anchor="ctr"/>
            <a:lstStyle/>
            <a:p>
              <a:endParaRPr lang="zh-CN" altLang="en-US"/>
            </a:p>
          </p:txBody>
        </p:sp>
        <p:sp>
          <p:nvSpPr>
            <p:cNvPr id="859" name="iš1ïďè">
              <a:extLst>
                <a:ext uri="{FF2B5EF4-FFF2-40B4-BE49-F238E27FC236}">
                  <a16:creationId xmlns:a16="http://schemas.microsoft.com/office/drawing/2014/main" id="{AEAC9AA5-994C-4D35-B295-90966C0B5A40}"/>
                </a:ext>
              </a:extLst>
            </p:cNvPr>
            <p:cNvSpPr/>
            <p:nvPr/>
          </p:nvSpPr>
          <p:spPr>
            <a:xfrm>
              <a:off x="6676640" y="3721158"/>
              <a:ext cx="477717" cy="536982"/>
            </a:xfrm>
            <a:custGeom>
              <a:avLst/>
              <a:gdLst>
                <a:gd name="connsiteX0" fmla="*/ -336 w 156941"/>
                <a:gd name="connsiteY0" fmla="*/ 5371 h 176411"/>
                <a:gd name="connsiteX1" fmla="*/ 2997 w 156941"/>
                <a:gd name="connsiteY1" fmla="*/ 4132 h 176411"/>
                <a:gd name="connsiteX2" fmla="*/ 13189 w 156941"/>
                <a:gd name="connsiteY2" fmla="*/ 6514 h 176411"/>
                <a:gd name="connsiteX3" fmla="*/ 22714 w 156941"/>
                <a:gd name="connsiteY3" fmla="*/ 11943 h 176411"/>
                <a:gd name="connsiteX4" fmla="*/ 28334 w 156941"/>
                <a:gd name="connsiteY4" fmla="*/ 15181 h 176411"/>
                <a:gd name="connsiteX5" fmla="*/ 103772 w 156941"/>
                <a:gd name="connsiteY5" fmla="*/ 58711 h 176411"/>
                <a:gd name="connsiteX6" fmla="*/ 122822 w 156941"/>
                <a:gd name="connsiteY6" fmla="*/ 91191 h 176411"/>
                <a:gd name="connsiteX7" fmla="*/ 122822 w 156941"/>
                <a:gd name="connsiteY7" fmla="*/ 164819 h 176411"/>
                <a:gd name="connsiteX8" fmla="*/ 119869 w 156941"/>
                <a:gd name="connsiteY8" fmla="*/ 174344 h 176411"/>
                <a:gd name="connsiteX9" fmla="*/ 117774 w 156941"/>
                <a:gd name="connsiteY9" fmla="*/ 176249 h 176411"/>
                <a:gd name="connsiteX10" fmla="*/ 122250 w 156941"/>
                <a:gd name="connsiteY10" fmla="*/ 173582 h 176411"/>
                <a:gd name="connsiteX11" fmla="*/ 123489 w 156941"/>
                <a:gd name="connsiteY11" fmla="*/ 172915 h 176411"/>
                <a:gd name="connsiteX12" fmla="*/ 151302 w 156941"/>
                <a:gd name="connsiteY12" fmla="*/ 156818 h 176411"/>
                <a:gd name="connsiteX13" fmla="*/ 156540 w 156941"/>
                <a:gd name="connsiteY13" fmla="*/ 144817 h 176411"/>
                <a:gd name="connsiteX14" fmla="*/ 156540 w 156941"/>
                <a:gd name="connsiteY14" fmla="*/ 49567 h 176411"/>
                <a:gd name="connsiteX15" fmla="*/ 142824 w 156941"/>
                <a:gd name="connsiteY15" fmla="*/ 25849 h 176411"/>
                <a:gd name="connsiteX16" fmla="*/ 122250 w 156941"/>
                <a:gd name="connsiteY16" fmla="*/ 13943 h 176411"/>
                <a:gd name="connsiteX17" fmla="*/ 112725 w 156941"/>
                <a:gd name="connsiteY17" fmla="*/ 12705 h 176411"/>
                <a:gd name="connsiteX18" fmla="*/ 112725 w 156941"/>
                <a:gd name="connsiteY18" fmla="*/ 12705 h 176411"/>
                <a:gd name="connsiteX19" fmla="*/ 111773 w 156941"/>
                <a:gd name="connsiteY19" fmla="*/ 13276 h 176411"/>
                <a:gd name="connsiteX20" fmla="*/ 107106 w 156941"/>
                <a:gd name="connsiteY20" fmla="*/ 15943 h 176411"/>
                <a:gd name="connsiteX21" fmla="*/ 109773 w 156941"/>
                <a:gd name="connsiteY21" fmla="*/ 15372 h 176411"/>
                <a:gd name="connsiteX22" fmla="*/ 116250 w 156941"/>
                <a:gd name="connsiteY22" fmla="*/ 17182 h 176411"/>
                <a:gd name="connsiteX23" fmla="*/ 136824 w 156941"/>
                <a:gd name="connsiteY23" fmla="*/ 29088 h 176411"/>
                <a:gd name="connsiteX24" fmla="*/ 150540 w 156941"/>
                <a:gd name="connsiteY24" fmla="*/ 52805 h 176411"/>
                <a:gd name="connsiteX25" fmla="*/ 150540 w 156941"/>
                <a:gd name="connsiteY25" fmla="*/ 137006 h 176411"/>
                <a:gd name="connsiteX26" fmla="*/ 139300 w 156941"/>
                <a:gd name="connsiteY26" fmla="*/ 156056 h 176411"/>
                <a:gd name="connsiteX27" fmla="*/ 139300 w 156941"/>
                <a:gd name="connsiteY27" fmla="*/ 156056 h 176411"/>
                <a:gd name="connsiteX28" fmla="*/ 128251 w 156941"/>
                <a:gd name="connsiteY28" fmla="*/ 150436 h 176411"/>
                <a:gd name="connsiteX29" fmla="*/ 128251 w 156941"/>
                <a:gd name="connsiteY29" fmla="*/ 87000 h 176411"/>
                <a:gd name="connsiteX30" fmla="*/ 109201 w 156941"/>
                <a:gd name="connsiteY30" fmla="*/ 54520 h 176411"/>
                <a:gd name="connsiteX31" fmla="*/ 74340 w 156941"/>
                <a:gd name="connsiteY31" fmla="*/ 34327 h 176411"/>
                <a:gd name="connsiteX32" fmla="*/ 28143 w 156941"/>
                <a:gd name="connsiteY32" fmla="*/ 7752 h 176411"/>
                <a:gd name="connsiteX33" fmla="*/ 22524 w 156941"/>
                <a:gd name="connsiteY33" fmla="*/ 4418 h 176411"/>
                <a:gd name="connsiteX34" fmla="*/ 18904 w 156941"/>
                <a:gd name="connsiteY34" fmla="*/ 2323 h 176411"/>
                <a:gd name="connsiteX35" fmla="*/ 6236 w 156941"/>
                <a:gd name="connsiteY35" fmla="*/ 703 h 176411"/>
                <a:gd name="connsiteX36" fmla="*/ 5664 w 156941"/>
                <a:gd name="connsiteY36" fmla="*/ 703 h 176411"/>
                <a:gd name="connsiteX37" fmla="*/ 5664 w 156941"/>
                <a:gd name="connsiteY37" fmla="*/ 703 h 1764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56941" h="176411">
                  <a:moveTo>
                    <a:pt x="-336" y="5371"/>
                  </a:moveTo>
                  <a:cubicBezTo>
                    <a:pt x="683" y="4751"/>
                    <a:pt x="1816" y="4332"/>
                    <a:pt x="2997" y="4132"/>
                  </a:cubicBezTo>
                  <a:cubicBezTo>
                    <a:pt x="6569" y="3732"/>
                    <a:pt x="10170" y="4571"/>
                    <a:pt x="13189" y="6514"/>
                  </a:cubicBezTo>
                  <a:lnTo>
                    <a:pt x="22714" y="11943"/>
                  </a:lnTo>
                  <a:lnTo>
                    <a:pt x="28334" y="15181"/>
                  </a:lnTo>
                  <a:lnTo>
                    <a:pt x="103772" y="58711"/>
                  </a:lnTo>
                  <a:cubicBezTo>
                    <a:pt x="114945" y="65873"/>
                    <a:pt x="122031" y="77942"/>
                    <a:pt x="122822" y="91191"/>
                  </a:cubicBezTo>
                  <a:lnTo>
                    <a:pt x="122822" y="164819"/>
                  </a:lnTo>
                  <a:cubicBezTo>
                    <a:pt x="122917" y="168229"/>
                    <a:pt x="121879" y="171582"/>
                    <a:pt x="119869" y="174344"/>
                  </a:cubicBezTo>
                  <a:cubicBezTo>
                    <a:pt x="119240" y="175049"/>
                    <a:pt x="118536" y="175697"/>
                    <a:pt x="117774" y="176249"/>
                  </a:cubicBezTo>
                  <a:lnTo>
                    <a:pt x="122250" y="173582"/>
                  </a:lnTo>
                  <a:lnTo>
                    <a:pt x="123489" y="172915"/>
                  </a:lnTo>
                  <a:lnTo>
                    <a:pt x="151302" y="156818"/>
                  </a:lnTo>
                  <a:cubicBezTo>
                    <a:pt x="155016" y="153999"/>
                    <a:pt x="156998" y="149455"/>
                    <a:pt x="156540" y="144817"/>
                  </a:cubicBezTo>
                  <a:lnTo>
                    <a:pt x="156540" y="49567"/>
                  </a:lnTo>
                  <a:cubicBezTo>
                    <a:pt x="155997" y="39927"/>
                    <a:pt x="150902" y="31126"/>
                    <a:pt x="142824" y="25849"/>
                  </a:cubicBezTo>
                  <a:lnTo>
                    <a:pt x="122250" y="13943"/>
                  </a:lnTo>
                  <a:cubicBezTo>
                    <a:pt x="119498" y="11933"/>
                    <a:pt x="115907" y="11467"/>
                    <a:pt x="112725" y="12705"/>
                  </a:cubicBezTo>
                  <a:lnTo>
                    <a:pt x="112725" y="12705"/>
                  </a:lnTo>
                  <a:lnTo>
                    <a:pt x="111773" y="13276"/>
                  </a:lnTo>
                  <a:lnTo>
                    <a:pt x="107106" y="15943"/>
                  </a:lnTo>
                  <a:cubicBezTo>
                    <a:pt x="107953" y="15601"/>
                    <a:pt x="108858" y="15400"/>
                    <a:pt x="109773" y="15372"/>
                  </a:cubicBezTo>
                  <a:cubicBezTo>
                    <a:pt x="112059" y="15343"/>
                    <a:pt x="114307" y="15972"/>
                    <a:pt x="116250" y="17182"/>
                  </a:cubicBezTo>
                  <a:lnTo>
                    <a:pt x="136824" y="29088"/>
                  </a:lnTo>
                  <a:cubicBezTo>
                    <a:pt x="144901" y="34365"/>
                    <a:pt x="149997" y="43166"/>
                    <a:pt x="150540" y="52805"/>
                  </a:cubicBezTo>
                  <a:lnTo>
                    <a:pt x="150540" y="137006"/>
                  </a:lnTo>
                  <a:cubicBezTo>
                    <a:pt x="149997" y="144769"/>
                    <a:pt x="145834" y="151827"/>
                    <a:pt x="139300" y="156056"/>
                  </a:cubicBezTo>
                  <a:lnTo>
                    <a:pt x="139300" y="156056"/>
                  </a:lnTo>
                  <a:cubicBezTo>
                    <a:pt x="133395" y="159390"/>
                    <a:pt x="128632" y="156818"/>
                    <a:pt x="128251" y="150436"/>
                  </a:cubicBezTo>
                  <a:lnTo>
                    <a:pt x="128251" y="87000"/>
                  </a:lnTo>
                  <a:cubicBezTo>
                    <a:pt x="127489" y="73741"/>
                    <a:pt x="120403" y="61654"/>
                    <a:pt x="109201" y="54520"/>
                  </a:cubicBezTo>
                  <a:lnTo>
                    <a:pt x="74340" y="34327"/>
                  </a:lnTo>
                  <a:lnTo>
                    <a:pt x="28143" y="7752"/>
                  </a:lnTo>
                  <a:lnTo>
                    <a:pt x="22524" y="4418"/>
                  </a:lnTo>
                  <a:lnTo>
                    <a:pt x="18904" y="2323"/>
                  </a:lnTo>
                  <a:cubicBezTo>
                    <a:pt x="15208" y="-268"/>
                    <a:pt x="10465" y="-878"/>
                    <a:pt x="6236" y="703"/>
                  </a:cubicBezTo>
                  <a:lnTo>
                    <a:pt x="5664" y="703"/>
                  </a:lnTo>
                  <a:lnTo>
                    <a:pt x="5664" y="703"/>
                  </a:lnTo>
                  <a:close/>
                </a:path>
              </a:pathLst>
            </a:custGeom>
            <a:solidFill>
              <a:srgbClr val="316DE6"/>
            </a:solidFill>
            <a:ln w="9525" cap="flat">
              <a:noFill/>
              <a:prstDash val="solid"/>
              <a:miter/>
            </a:ln>
          </p:spPr>
          <p:txBody>
            <a:bodyPr rtlCol="0" anchor="ctr"/>
            <a:lstStyle/>
            <a:p>
              <a:endParaRPr lang="zh-CN" altLang="en-US"/>
            </a:p>
          </p:txBody>
        </p:sp>
      </p:grpSp>
    </p:spTree>
    <p:custDataLst>
      <p:tags r:id="rId1"/>
    </p:custDataLst>
    <p:extLst>
      <p:ext uri="{BB962C8B-B14F-4D97-AF65-F5344CB8AC3E}">
        <p14:creationId xmlns:p14="http://schemas.microsoft.com/office/powerpoint/2010/main" val="72539519"/>
      </p:ext>
    </p:extLst>
  </p:cSld>
  <p:clrMapOvr>
    <a:masterClrMapping/>
  </p:clrMapOvr>
  <mc:AlternateContent xmlns:mc="http://schemas.openxmlformats.org/markup-compatibility/2006">
    <mc:Choice xmlns:p14="http://schemas.microsoft.com/office/powerpoint/2010/main" Requires="p14">
      <p:transition spd="slow" p14:dur="1250">
        <p:blinds dir="vert"/>
      </p:transition>
    </mc:Choice>
    <mc:Fallback>
      <p:transition spd="slow">
        <p:blinds dir="vert"/>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灯片编号占位符 3">
            <a:extLst>
              <a:ext uri="{FF2B5EF4-FFF2-40B4-BE49-F238E27FC236}">
                <a16:creationId xmlns:a16="http://schemas.microsoft.com/office/drawing/2014/main" id="{2A5C0DA9-421E-435E-A37F-75EEA4A204CB}"/>
              </a:ext>
            </a:extLst>
          </p:cNvPr>
          <p:cNvSpPr>
            <a:spLocks noGrp="1"/>
          </p:cNvSpPr>
          <p:nvPr>
            <p:ph type="sldNum" sz="quarter" idx="12"/>
          </p:nvPr>
        </p:nvSpPr>
        <p:spPr/>
        <p:txBody>
          <a:bodyPr/>
          <a:lstStyle/>
          <a:p>
            <a:fld id="{5DD3DB80-B894-403A-B48E-6FDC1A72010E}" type="slidenum">
              <a:rPr lang="zh-CN" altLang="en-US" smtClean="0"/>
              <a:pPr/>
              <a:t>29</a:t>
            </a:fld>
            <a:endParaRPr lang="zh-CN" altLang="en-US"/>
          </a:p>
        </p:txBody>
      </p:sp>
      <p:sp>
        <p:nvSpPr>
          <p:cNvPr id="5" name="标题 1">
            <a:extLst>
              <a:ext uri="{FF2B5EF4-FFF2-40B4-BE49-F238E27FC236}">
                <a16:creationId xmlns:a16="http://schemas.microsoft.com/office/drawing/2014/main" id="{A66C21BB-C083-4C2F-A2AE-920B8A20D84E}"/>
              </a:ext>
            </a:extLst>
          </p:cNvPr>
          <p:cNvSpPr>
            <a:spLocks noGrp="1"/>
          </p:cNvSpPr>
          <p:nvPr>
            <p:ph type="title"/>
          </p:nvPr>
        </p:nvSpPr>
        <p:spPr>
          <a:xfrm>
            <a:off x="669924" y="1"/>
            <a:ext cx="10850563" cy="1028699"/>
          </a:xfrm>
        </p:spPr>
        <p:txBody>
          <a:bodyPr/>
          <a:lstStyle/>
          <a:p>
            <a:r>
              <a:rPr lang="en-US" altLang="zh-CN" dirty="0"/>
              <a:t>UML</a:t>
            </a:r>
            <a:r>
              <a:rPr lang="zh-CN" altLang="en-US" b="1" i="0" dirty="0">
                <a:solidFill>
                  <a:srgbClr val="4F4F4F"/>
                </a:solidFill>
                <a:effectLst/>
                <a:latin typeface="PingFang SC"/>
              </a:rPr>
              <a:t>部署图中的事物及解释</a:t>
            </a:r>
            <a:endParaRPr lang="zh-CN" altLang="en-US" dirty="0"/>
          </a:p>
        </p:txBody>
      </p:sp>
      <p:grpSp>
        <p:nvGrpSpPr>
          <p:cNvPr id="378" name="组合 377">
            <a:extLst>
              <a:ext uri="{FF2B5EF4-FFF2-40B4-BE49-F238E27FC236}">
                <a16:creationId xmlns:a16="http://schemas.microsoft.com/office/drawing/2014/main" id="{4D6F4725-E9CF-47C0-A24D-95F9A714BAE0}"/>
              </a:ext>
            </a:extLst>
          </p:cNvPr>
          <p:cNvGrpSpPr/>
          <p:nvPr/>
        </p:nvGrpSpPr>
        <p:grpSpPr>
          <a:xfrm>
            <a:off x="10482954" y="0"/>
            <a:ext cx="1030921" cy="1080294"/>
            <a:chOff x="4874988" y="1859559"/>
            <a:chExt cx="2661884" cy="3969810"/>
          </a:xfrm>
        </p:grpSpPr>
        <p:grpSp>
          <p:nvGrpSpPr>
            <p:cNvPr id="379" name="íŝḻïḑè">
              <a:extLst>
                <a:ext uri="{FF2B5EF4-FFF2-40B4-BE49-F238E27FC236}">
                  <a16:creationId xmlns:a16="http://schemas.microsoft.com/office/drawing/2014/main" id="{E773D6DB-E4EF-4893-BA5C-FF1895435916}"/>
                </a:ext>
              </a:extLst>
            </p:cNvPr>
            <p:cNvGrpSpPr/>
            <p:nvPr/>
          </p:nvGrpSpPr>
          <p:grpSpPr>
            <a:xfrm>
              <a:off x="6480535" y="5493164"/>
              <a:ext cx="520250" cy="336205"/>
              <a:chOff x="6185308" y="3970463"/>
              <a:chExt cx="170914" cy="110451"/>
            </a:xfrm>
          </p:grpSpPr>
          <p:sp>
            <p:nvSpPr>
              <p:cNvPr id="860" name="ïSľidè">
                <a:extLst>
                  <a:ext uri="{FF2B5EF4-FFF2-40B4-BE49-F238E27FC236}">
                    <a16:creationId xmlns:a16="http://schemas.microsoft.com/office/drawing/2014/main" id="{56BED41C-949C-4322-B58A-3386FED33CBA}"/>
                  </a:ext>
                </a:extLst>
              </p:cNvPr>
              <p:cNvSpPr/>
              <p:nvPr/>
            </p:nvSpPr>
            <p:spPr>
              <a:xfrm>
                <a:off x="6241161" y="3970463"/>
                <a:ext cx="78771" cy="21749"/>
              </a:xfrm>
              <a:custGeom>
                <a:avLst/>
                <a:gdLst>
                  <a:gd name="connsiteX0" fmla="*/ -336 w 78771"/>
                  <a:gd name="connsiteY0" fmla="*/ 13014 h 21749"/>
                  <a:gd name="connsiteX1" fmla="*/ 807 w 78771"/>
                  <a:gd name="connsiteY1" fmla="*/ 13014 h 21749"/>
                  <a:gd name="connsiteX2" fmla="*/ 5188 w 78771"/>
                  <a:gd name="connsiteY2" fmla="*/ 13014 h 21749"/>
                  <a:gd name="connsiteX3" fmla="*/ 5188 w 78771"/>
                  <a:gd name="connsiteY3" fmla="*/ 13014 h 21749"/>
                  <a:gd name="connsiteX4" fmla="*/ 8808 w 78771"/>
                  <a:gd name="connsiteY4" fmla="*/ 13966 h 21749"/>
                  <a:gd name="connsiteX5" fmla="*/ 13189 w 78771"/>
                  <a:gd name="connsiteY5" fmla="*/ 15586 h 21749"/>
                  <a:gd name="connsiteX6" fmla="*/ 16427 w 78771"/>
                  <a:gd name="connsiteY6" fmla="*/ 17014 h 21749"/>
                  <a:gd name="connsiteX7" fmla="*/ 18142 w 78771"/>
                  <a:gd name="connsiteY7" fmla="*/ 17776 h 21749"/>
                  <a:gd name="connsiteX8" fmla="*/ 21666 w 78771"/>
                  <a:gd name="connsiteY8" fmla="*/ 19586 h 21749"/>
                  <a:gd name="connsiteX9" fmla="*/ 25286 w 78771"/>
                  <a:gd name="connsiteY9" fmla="*/ 21586 h 21749"/>
                  <a:gd name="connsiteX10" fmla="*/ 78435 w 78771"/>
                  <a:gd name="connsiteY10" fmla="*/ 12061 h 21749"/>
                  <a:gd name="connsiteX11" fmla="*/ 57957 w 78771"/>
                  <a:gd name="connsiteY11" fmla="*/ 2536 h 21749"/>
                  <a:gd name="connsiteX12" fmla="*/ 40050 w 78771"/>
                  <a:gd name="connsiteY12" fmla="*/ -131 h 21749"/>
                  <a:gd name="connsiteX13" fmla="*/ 21000 w 78771"/>
                  <a:gd name="connsiteY13" fmla="*/ 3584 h 21749"/>
                  <a:gd name="connsiteX14" fmla="*/ -336 w 78771"/>
                  <a:gd name="connsiteY14" fmla="*/ 13014 h 217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8771" h="21749">
                    <a:moveTo>
                      <a:pt x="-336" y="13014"/>
                    </a:moveTo>
                    <a:cubicBezTo>
                      <a:pt x="35" y="12899"/>
                      <a:pt x="435" y="12899"/>
                      <a:pt x="807" y="13014"/>
                    </a:cubicBezTo>
                    <a:cubicBezTo>
                      <a:pt x="2255" y="12728"/>
                      <a:pt x="3740" y="12728"/>
                      <a:pt x="5188" y="13014"/>
                    </a:cubicBezTo>
                    <a:lnTo>
                      <a:pt x="5188" y="13014"/>
                    </a:lnTo>
                    <a:cubicBezTo>
                      <a:pt x="6407" y="13261"/>
                      <a:pt x="7617" y="13585"/>
                      <a:pt x="8808" y="13966"/>
                    </a:cubicBezTo>
                    <a:cubicBezTo>
                      <a:pt x="10303" y="14414"/>
                      <a:pt x="11770" y="14947"/>
                      <a:pt x="13189" y="15586"/>
                    </a:cubicBezTo>
                    <a:lnTo>
                      <a:pt x="16427" y="17014"/>
                    </a:lnTo>
                    <a:lnTo>
                      <a:pt x="18142" y="17776"/>
                    </a:lnTo>
                    <a:lnTo>
                      <a:pt x="21666" y="19586"/>
                    </a:lnTo>
                    <a:lnTo>
                      <a:pt x="25286" y="21586"/>
                    </a:lnTo>
                    <a:cubicBezTo>
                      <a:pt x="47860" y="8537"/>
                      <a:pt x="67672" y="5489"/>
                      <a:pt x="78435" y="12061"/>
                    </a:cubicBezTo>
                    <a:cubicBezTo>
                      <a:pt x="71949" y="8204"/>
                      <a:pt x="65091" y="5003"/>
                      <a:pt x="57957" y="2536"/>
                    </a:cubicBezTo>
                    <a:cubicBezTo>
                      <a:pt x="52203" y="555"/>
                      <a:pt x="46136" y="-350"/>
                      <a:pt x="40050" y="-131"/>
                    </a:cubicBezTo>
                    <a:cubicBezTo>
                      <a:pt x="33553" y="193"/>
                      <a:pt x="27143" y="1450"/>
                      <a:pt x="21000" y="3584"/>
                    </a:cubicBezTo>
                    <a:cubicBezTo>
                      <a:pt x="13580" y="5975"/>
                      <a:pt x="6426" y="9137"/>
                      <a:pt x="-336" y="13014"/>
                    </a:cubicBezTo>
                    <a:close/>
                  </a:path>
                </a:pathLst>
              </a:custGeom>
              <a:solidFill>
                <a:srgbClr val="FF7D33"/>
              </a:solidFill>
              <a:ln w="9525" cap="flat">
                <a:noFill/>
                <a:prstDash val="solid"/>
                <a:miter/>
              </a:ln>
            </p:spPr>
            <p:txBody>
              <a:bodyPr rtlCol="0" anchor="ctr"/>
              <a:lstStyle/>
              <a:p>
                <a:endParaRPr lang="zh-CN" altLang="en-US"/>
              </a:p>
            </p:txBody>
          </p:sp>
          <p:sp>
            <p:nvSpPr>
              <p:cNvPr id="861" name="ïślíde">
                <a:extLst>
                  <a:ext uri="{FF2B5EF4-FFF2-40B4-BE49-F238E27FC236}">
                    <a16:creationId xmlns:a16="http://schemas.microsoft.com/office/drawing/2014/main" id="{EE31D9B4-8FDF-4F4A-84C5-DF230243C3F3}"/>
                  </a:ext>
                </a:extLst>
              </p:cNvPr>
              <p:cNvSpPr/>
              <p:nvPr/>
            </p:nvSpPr>
            <p:spPr>
              <a:xfrm>
                <a:off x="6267164" y="3979144"/>
                <a:ext cx="60007" cy="16878"/>
              </a:xfrm>
              <a:custGeom>
                <a:avLst/>
                <a:gdLst>
                  <a:gd name="connsiteX0" fmla="*/ -336 w 60007"/>
                  <a:gd name="connsiteY0" fmla="*/ 12715 h 16878"/>
                  <a:gd name="connsiteX1" fmla="*/ 6427 w 60007"/>
                  <a:gd name="connsiteY1" fmla="*/ 16715 h 16878"/>
                  <a:gd name="connsiteX2" fmla="*/ 59671 w 60007"/>
                  <a:gd name="connsiteY2" fmla="*/ 7190 h 16878"/>
                  <a:gd name="connsiteX3" fmla="*/ 52813 w 60007"/>
                  <a:gd name="connsiteY3" fmla="*/ 3190 h 16878"/>
                  <a:gd name="connsiteX4" fmla="*/ -336 w 60007"/>
                  <a:gd name="connsiteY4" fmla="*/ 12715 h 168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16878">
                    <a:moveTo>
                      <a:pt x="-336" y="12715"/>
                    </a:moveTo>
                    <a:lnTo>
                      <a:pt x="6427" y="16715"/>
                    </a:lnTo>
                    <a:cubicBezTo>
                      <a:pt x="29096" y="3666"/>
                      <a:pt x="48908" y="618"/>
                      <a:pt x="59671" y="7190"/>
                    </a:cubicBezTo>
                    <a:lnTo>
                      <a:pt x="52813" y="3190"/>
                    </a:lnTo>
                    <a:cubicBezTo>
                      <a:pt x="42050" y="-3382"/>
                      <a:pt x="22238" y="-334"/>
                      <a:pt x="-336" y="12715"/>
                    </a:cubicBezTo>
                    <a:close/>
                  </a:path>
                </a:pathLst>
              </a:custGeom>
              <a:solidFill>
                <a:srgbClr val="D1D9E8"/>
              </a:solidFill>
              <a:ln w="9525" cap="flat">
                <a:noFill/>
                <a:prstDash val="solid"/>
                <a:miter/>
              </a:ln>
            </p:spPr>
            <p:txBody>
              <a:bodyPr rtlCol="0" anchor="ctr"/>
              <a:lstStyle/>
              <a:p>
                <a:endParaRPr lang="zh-CN" altLang="en-US"/>
              </a:p>
            </p:txBody>
          </p:sp>
          <p:sp>
            <p:nvSpPr>
              <p:cNvPr id="862" name="îṧ1îdê">
                <a:extLst>
                  <a:ext uri="{FF2B5EF4-FFF2-40B4-BE49-F238E27FC236}">
                    <a16:creationId xmlns:a16="http://schemas.microsoft.com/office/drawing/2014/main" id="{9172A6D8-5C9D-45D9-A3F8-E8D5C56C8AD1}"/>
                  </a:ext>
                </a:extLst>
              </p:cNvPr>
              <p:cNvSpPr/>
              <p:nvPr/>
            </p:nvSpPr>
            <p:spPr>
              <a:xfrm>
                <a:off x="6273831" y="3983188"/>
                <a:ext cx="82105" cy="38075"/>
              </a:xfrm>
              <a:custGeom>
                <a:avLst/>
                <a:gdLst>
                  <a:gd name="connsiteX0" fmla="*/ -336 w 82105"/>
                  <a:gd name="connsiteY0" fmla="*/ 12671 h 38075"/>
                  <a:gd name="connsiteX1" fmla="*/ 27000 w 82105"/>
                  <a:gd name="connsiteY1" fmla="*/ 37913 h 38075"/>
                  <a:gd name="connsiteX2" fmla="*/ 80531 w 82105"/>
                  <a:gd name="connsiteY2" fmla="*/ 30578 h 38075"/>
                  <a:gd name="connsiteX3" fmla="*/ 81769 w 82105"/>
                  <a:gd name="connsiteY3" fmla="*/ 31340 h 38075"/>
                  <a:gd name="connsiteX4" fmla="*/ 80055 w 82105"/>
                  <a:gd name="connsiteY4" fmla="*/ 25816 h 38075"/>
                  <a:gd name="connsiteX5" fmla="*/ 73482 w 82105"/>
                  <a:gd name="connsiteY5" fmla="*/ 18005 h 38075"/>
                  <a:gd name="connsiteX6" fmla="*/ 52908 w 82105"/>
                  <a:gd name="connsiteY6" fmla="*/ 2861 h 38075"/>
                  <a:gd name="connsiteX7" fmla="*/ -336 w 82105"/>
                  <a:gd name="connsiteY7" fmla="*/ 12671 h 38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2105" h="38075">
                    <a:moveTo>
                      <a:pt x="-336" y="12671"/>
                    </a:moveTo>
                    <a:cubicBezTo>
                      <a:pt x="14713" y="21339"/>
                      <a:pt x="27000" y="32674"/>
                      <a:pt x="27000" y="37913"/>
                    </a:cubicBezTo>
                    <a:cubicBezTo>
                      <a:pt x="57957" y="20101"/>
                      <a:pt x="80817" y="23530"/>
                      <a:pt x="80531" y="30578"/>
                    </a:cubicBezTo>
                    <a:lnTo>
                      <a:pt x="81769" y="31340"/>
                    </a:lnTo>
                    <a:cubicBezTo>
                      <a:pt x="81703" y="29378"/>
                      <a:pt x="81112" y="27473"/>
                      <a:pt x="80055" y="25816"/>
                    </a:cubicBezTo>
                    <a:cubicBezTo>
                      <a:pt x="78169" y="22968"/>
                      <a:pt x="75968" y="20349"/>
                      <a:pt x="73482" y="18005"/>
                    </a:cubicBezTo>
                    <a:cubicBezTo>
                      <a:pt x="67253" y="12148"/>
                      <a:pt x="60347" y="7061"/>
                      <a:pt x="52908" y="2861"/>
                    </a:cubicBezTo>
                    <a:cubicBezTo>
                      <a:pt x="42240" y="-3140"/>
                      <a:pt x="22429" y="-378"/>
                      <a:pt x="-336" y="12671"/>
                    </a:cubicBezTo>
                    <a:close/>
                  </a:path>
                </a:pathLst>
              </a:custGeom>
              <a:solidFill>
                <a:srgbClr val="FF7D33"/>
              </a:solidFill>
              <a:ln w="9525" cap="flat">
                <a:noFill/>
                <a:prstDash val="solid"/>
                <a:miter/>
              </a:ln>
            </p:spPr>
            <p:txBody>
              <a:bodyPr rtlCol="0" anchor="ctr"/>
              <a:lstStyle/>
              <a:p>
                <a:endParaRPr lang="zh-CN" altLang="en-US"/>
              </a:p>
            </p:txBody>
          </p:sp>
          <p:sp>
            <p:nvSpPr>
              <p:cNvPr id="863" name="íšļîḍê">
                <a:extLst>
                  <a:ext uri="{FF2B5EF4-FFF2-40B4-BE49-F238E27FC236}">
                    <a16:creationId xmlns:a16="http://schemas.microsoft.com/office/drawing/2014/main" id="{1BD76DAE-16A8-4FA4-AB1F-2E740895D658}"/>
                  </a:ext>
                </a:extLst>
              </p:cNvPr>
              <p:cNvSpPr/>
              <p:nvPr/>
            </p:nvSpPr>
            <p:spPr>
              <a:xfrm>
                <a:off x="6245256" y="4013929"/>
                <a:ext cx="110966" cy="64769"/>
              </a:xfrm>
              <a:custGeom>
                <a:avLst/>
                <a:gdLst>
                  <a:gd name="connsiteX0" fmla="*/ -336 w 110966"/>
                  <a:gd name="connsiteY0" fmla="*/ 64607 h 64769"/>
                  <a:gd name="connsiteX1" fmla="*/ 110630 w 110966"/>
                  <a:gd name="connsiteY1" fmla="*/ 599 h 64769"/>
                  <a:gd name="connsiteX2" fmla="*/ 109392 w 110966"/>
                  <a:gd name="connsiteY2" fmla="*/ -163 h 64769"/>
                  <a:gd name="connsiteX3" fmla="*/ 2235 w 110966"/>
                  <a:gd name="connsiteY3" fmla="*/ 61369 h 64769"/>
                  <a:gd name="connsiteX4" fmla="*/ 1283 w 110966"/>
                  <a:gd name="connsiteY4" fmla="*/ 62607 h 64769"/>
                  <a:gd name="connsiteX5" fmla="*/ 426 w 110966"/>
                  <a:gd name="connsiteY5" fmla="*/ 63560 h 64769"/>
                  <a:gd name="connsiteX6" fmla="*/ -51 w 110966"/>
                  <a:gd name="connsiteY6" fmla="*/ 63560 h 64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0966" h="64769">
                    <a:moveTo>
                      <a:pt x="-336" y="64607"/>
                    </a:moveTo>
                    <a:lnTo>
                      <a:pt x="110630" y="599"/>
                    </a:lnTo>
                    <a:lnTo>
                      <a:pt x="109392" y="-163"/>
                    </a:lnTo>
                    <a:lnTo>
                      <a:pt x="2235" y="61369"/>
                    </a:lnTo>
                    <a:cubicBezTo>
                      <a:pt x="1969" y="61816"/>
                      <a:pt x="1655" y="62236"/>
                      <a:pt x="1283" y="62607"/>
                    </a:cubicBezTo>
                    <a:lnTo>
                      <a:pt x="426" y="63560"/>
                    </a:lnTo>
                    <a:lnTo>
                      <a:pt x="-51" y="63560"/>
                    </a:lnTo>
                    <a:close/>
                  </a:path>
                </a:pathLst>
              </a:custGeom>
              <a:solidFill>
                <a:srgbClr val="BF4200"/>
              </a:solidFill>
              <a:ln w="9525" cap="flat">
                <a:noFill/>
                <a:prstDash val="solid"/>
                <a:miter/>
              </a:ln>
            </p:spPr>
            <p:txBody>
              <a:bodyPr rtlCol="0" anchor="ctr"/>
              <a:lstStyle/>
              <a:p>
                <a:endParaRPr lang="zh-CN" altLang="en-US"/>
              </a:p>
            </p:txBody>
          </p:sp>
          <p:sp>
            <p:nvSpPr>
              <p:cNvPr id="864" name="íşľîḍè">
                <a:extLst>
                  <a:ext uri="{FF2B5EF4-FFF2-40B4-BE49-F238E27FC236}">
                    <a16:creationId xmlns:a16="http://schemas.microsoft.com/office/drawing/2014/main" id="{02E918F9-69B4-48A7-B0FD-9B7086F25879}"/>
                  </a:ext>
                </a:extLst>
              </p:cNvPr>
              <p:cNvSpPr/>
              <p:nvPr/>
            </p:nvSpPr>
            <p:spPr>
              <a:xfrm>
                <a:off x="6247823" y="4007929"/>
                <a:ext cx="106970" cy="67531"/>
              </a:xfrm>
              <a:custGeom>
                <a:avLst/>
                <a:gdLst>
                  <a:gd name="connsiteX0" fmla="*/ -332 w 106970"/>
                  <a:gd name="connsiteY0" fmla="*/ 67369 h 67531"/>
                  <a:gd name="connsiteX1" fmla="*/ 106634 w 106970"/>
                  <a:gd name="connsiteY1" fmla="*/ 5552 h 67531"/>
                  <a:gd name="connsiteX2" fmla="*/ 53104 w 106970"/>
                  <a:gd name="connsiteY2" fmla="*/ 12886 h 67531"/>
                  <a:gd name="connsiteX3" fmla="*/ -332 w 106970"/>
                  <a:gd name="connsiteY3" fmla="*/ 67369 h 67531"/>
                </a:gdLst>
                <a:ahLst/>
                <a:cxnLst>
                  <a:cxn ang="0">
                    <a:pos x="connsiteX0" y="connsiteY0"/>
                  </a:cxn>
                  <a:cxn ang="0">
                    <a:pos x="connsiteX1" y="connsiteY1"/>
                  </a:cxn>
                  <a:cxn ang="0">
                    <a:pos x="connsiteX2" y="connsiteY2"/>
                  </a:cxn>
                  <a:cxn ang="0">
                    <a:pos x="connsiteX3" y="connsiteY3"/>
                  </a:cxn>
                </a:cxnLst>
                <a:rect l="l" t="t" r="r" b="b"/>
                <a:pathLst>
                  <a:path w="106970" h="67531">
                    <a:moveTo>
                      <a:pt x="-332" y="67369"/>
                    </a:moveTo>
                    <a:lnTo>
                      <a:pt x="106634" y="5552"/>
                    </a:lnTo>
                    <a:cubicBezTo>
                      <a:pt x="106634" y="-1497"/>
                      <a:pt x="84060" y="-4926"/>
                      <a:pt x="53104" y="12886"/>
                    </a:cubicBezTo>
                    <a:cubicBezTo>
                      <a:pt x="22148" y="30697"/>
                      <a:pt x="-712" y="60987"/>
                      <a:pt x="-332" y="67369"/>
                    </a:cubicBezTo>
                    <a:close/>
                  </a:path>
                </a:pathLst>
              </a:custGeom>
              <a:solidFill>
                <a:srgbClr val="BF4200"/>
              </a:solidFill>
              <a:ln w="9525" cap="flat">
                <a:noFill/>
                <a:prstDash val="solid"/>
                <a:miter/>
              </a:ln>
            </p:spPr>
            <p:txBody>
              <a:bodyPr rtlCol="0" anchor="ctr"/>
              <a:lstStyle/>
              <a:p>
                <a:endParaRPr lang="zh-CN" altLang="en-US"/>
              </a:p>
            </p:txBody>
          </p:sp>
          <p:sp>
            <p:nvSpPr>
              <p:cNvPr id="865" name="íṩľidé">
                <a:extLst>
                  <a:ext uri="{FF2B5EF4-FFF2-40B4-BE49-F238E27FC236}">
                    <a16:creationId xmlns:a16="http://schemas.microsoft.com/office/drawing/2014/main" id="{D8681DC0-C00C-4972-B21D-D22ABBD12280}"/>
                  </a:ext>
                </a:extLst>
              </p:cNvPr>
              <p:cNvSpPr/>
              <p:nvPr/>
            </p:nvSpPr>
            <p:spPr>
              <a:xfrm>
                <a:off x="6185308" y="3984473"/>
                <a:ext cx="115192" cy="96441"/>
              </a:xfrm>
              <a:custGeom>
                <a:avLst/>
                <a:gdLst>
                  <a:gd name="connsiteX0" fmla="*/ -301 w 115192"/>
                  <a:gd name="connsiteY0" fmla="*/ 60535 h 96441"/>
                  <a:gd name="connsiteX1" fmla="*/ 19987 w 115192"/>
                  <a:gd name="connsiteY1" fmla="*/ 85491 h 96441"/>
                  <a:gd name="connsiteX2" fmla="*/ 26750 w 115192"/>
                  <a:gd name="connsiteY2" fmla="*/ 89491 h 96441"/>
                  <a:gd name="connsiteX3" fmla="*/ 58659 w 115192"/>
                  <a:gd name="connsiteY3" fmla="*/ 94540 h 96441"/>
                  <a:gd name="connsiteX4" fmla="*/ 58659 w 115192"/>
                  <a:gd name="connsiteY4" fmla="*/ 94540 h 96441"/>
                  <a:gd name="connsiteX5" fmla="*/ 59135 w 115192"/>
                  <a:gd name="connsiteY5" fmla="*/ 94540 h 96441"/>
                  <a:gd name="connsiteX6" fmla="*/ 59135 w 115192"/>
                  <a:gd name="connsiteY6" fmla="*/ 94540 h 96441"/>
                  <a:gd name="connsiteX7" fmla="*/ 59612 w 115192"/>
                  <a:gd name="connsiteY7" fmla="*/ 94540 h 96441"/>
                  <a:gd name="connsiteX8" fmla="*/ 60469 w 115192"/>
                  <a:gd name="connsiteY8" fmla="*/ 93587 h 96441"/>
                  <a:gd name="connsiteX9" fmla="*/ 61421 w 115192"/>
                  <a:gd name="connsiteY9" fmla="*/ 92349 h 96441"/>
                  <a:gd name="connsiteX10" fmla="*/ 114856 w 115192"/>
                  <a:gd name="connsiteY10" fmla="*/ 37866 h 96441"/>
                  <a:gd name="connsiteX11" fmla="*/ 87520 w 115192"/>
                  <a:gd name="connsiteY11" fmla="*/ 12625 h 96441"/>
                  <a:gd name="connsiteX12" fmla="*/ 80757 w 115192"/>
                  <a:gd name="connsiteY12" fmla="*/ 8624 h 96441"/>
                  <a:gd name="connsiteX13" fmla="*/ 77137 w 115192"/>
                  <a:gd name="connsiteY13" fmla="*/ 6624 h 96441"/>
                  <a:gd name="connsiteX14" fmla="*/ 73613 w 115192"/>
                  <a:gd name="connsiteY14" fmla="*/ 4814 h 96441"/>
                  <a:gd name="connsiteX15" fmla="*/ 71899 w 115192"/>
                  <a:gd name="connsiteY15" fmla="*/ 4052 h 96441"/>
                  <a:gd name="connsiteX16" fmla="*/ 68660 w 115192"/>
                  <a:gd name="connsiteY16" fmla="*/ 2623 h 96441"/>
                  <a:gd name="connsiteX17" fmla="*/ 64279 w 115192"/>
                  <a:gd name="connsiteY17" fmla="*/ 1004 h 96441"/>
                  <a:gd name="connsiteX18" fmla="*/ 60659 w 115192"/>
                  <a:gd name="connsiteY18" fmla="*/ 52 h 96441"/>
                  <a:gd name="connsiteX19" fmla="*/ 60659 w 115192"/>
                  <a:gd name="connsiteY19" fmla="*/ 52 h 96441"/>
                  <a:gd name="connsiteX20" fmla="*/ 56278 w 115192"/>
                  <a:gd name="connsiteY20" fmla="*/ 52 h 96441"/>
                  <a:gd name="connsiteX21" fmla="*/ 55135 w 115192"/>
                  <a:gd name="connsiteY21" fmla="*/ 52 h 96441"/>
                  <a:gd name="connsiteX22" fmla="*/ 45610 w 115192"/>
                  <a:gd name="connsiteY22" fmla="*/ 5957 h 96441"/>
                  <a:gd name="connsiteX23" fmla="*/ 36752 w 115192"/>
                  <a:gd name="connsiteY23" fmla="*/ 12529 h 96441"/>
                  <a:gd name="connsiteX24" fmla="*/ 28655 w 115192"/>
                  <a:gd name="connsiteY24" fmla="*/ 19387 h 96441"/>
                  <a:gd name="connsiteX25" fmla="*/ 17987 w 115192"/>
                  <a:gd name="connsiteY25" fmla="*/ 29770 h 96441"/>
                  <a:gd name="connsiteX26" fmla="*/ 9605 w 115192"/>
                  <a:gd name="connsiteY26" fmla="*/ 39295 h 96441"/>
                  <a:gd name="connsiteX27" fmla="*/ 3509 w 115192"/>
                  <a:gd name="connsiteY27" fmla="*/ 48058 h 96441"/>
                  <a:gd name="connsiteX28" fmla="*/ 176 w 115192"/>
                  <a:gd name="connsiteY28" fmla="*/ 55106 h 96441"/>
                  <a:gd name="connsiteX29" fmla="*/ -301 w 115192"/>
                  <a:gd name="connsiteY29" fmla="*/ 60535 h 96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15192" h="96441">
                    <a:moveTo>
                      <a:pt x="-301" y="60535"/>
                    </a:moveTo>
                    <a:cubicBezTo>
                      <a:pt x="2223" y="71556"/>
                      <a:pt x="9720" y="80776"/>
                      <a:pt x="19987" y="85491"/>
                    </a:cubicBezTo>
                    <a:lnTo>
                      <a:pt x="26750" y="89491"/>
                    </a:lnTo>
                    <a:cubicBezTo>
                      <a:pt x="35971" y="96178"/>
                      <a:pt x="47829" y="98054"/>
                      <a:pt x="58659" y="94540"/>
                    </a:cubicBezTo>
                    <a:lnTo>
                      <a:pt x="58659" y="94540"/>
                    </a:lnTo>
                    <a:lnTo>
                      <a:pt x="59135" y="94540"/>
                    </a:lnTo>
                    <a:lnTo>
                      <a:pt x="59135" y="94540"/>
                    </a:lnTo>
                    <a:lnTo>
                      <a:pt x="59612" y="94540"/>
                    </a:lnTo>
                    <a:lnTo>
                      <a:pt x="60469" y="93587"/>
                    </a:lnTo>
                    <a:cubicBezTo>
                      <a:pt x="60840" y="93216"/>
                      <a:pt x="61154" y="92797"/>
                      <a:pt x="61421" y="92349"/>
                    </a:cubicBezTo>
                    <a:cubicBezTo>
                      <a:pt x="61421" y="85681"/>
                      <a:pt x="83805" y="55868"/>
                      <a:pt x="114856" y="37866"/>
                    </a:cubicBezTo>
                    <a:cubicBezTo>
                      <a:pt x="114856" y="32627"/>
                      <a:pt x="102569" y="21293"/>
                      <a:pt x="87520" y="12625"/>
                    </a:cubicBezTo>
                    <a:lnTo>
                      <a:pt x="80757" y="8624"/>
                    </a:lnTo>
                    <a:lnTo>
                      <a:pt x="77137" y="6624"/>
                    </a:lnTo>
                    <a:lnTo>
                      <a:pt x="73613" y="4814"/>
                    </a:lnTo>
                    <a:lnTo>
                      <a:pt x="71899" y="4052"/>
                    </a:lnTo>
                    <a:lnTo>
                      <a:pt x="68660" y="2623"/>
                    </a:lnTo>
                    <a:cubicBezTo>
                      <a:pt x="67241" y="1985"/>
                      <a:pt x="65774" y="1452"/>
                      <a:pt x="64279" y="1004"/>
                    </a:cubicBezTo>
                    <a:cubicBezTo>
                      <a:pt x="63088" y="623"/>
                      <a:pt x="61879" y="299"/>
                      <a:pt x="60659" y="52"/>
                    </a:cubicBezTo>
                    <a:lnTo>
                      <a:pt x="60659" y="52"/>
                    </a:lnTo>
                    <a:cubicBezTo>
                      <a:pt x="59212" y="-234"/>
                      <a:pt x="57726" y="-234"/>
                      <a:pt x="56278" y="52"/>
                    </a:cubicBezTo>
                    <a:cubicBezTo>
                      <a:pt x="55897" y="-15"/>
                      <a:pt x="55516" y="-15"/>
                      <a:pt x="55135" y="52"/>
                    </a:cubicBezTo>
                    <a:cubicBezTo>
                      <a:pt x="52182" y="1766"/>
                      <a:pt x="48467" y="4147"/>
                      <a:pt x="45610" y="5957"/>
                    </a:cubicBezTo>
                    <a:cubicBezTo>
                      <a:pt x="40752" y="9291"/>
                      <a:pt x="36847" y="12434"/>
                      <a:pt x="36752" y="12529"/>
                    </a:cubicBezTo>
                    <a:cubicBezTo>
                      <a:pt x="33932" y="14663"/>
                      <a:pt x="31227" y="16958"/>
                      <a:pt x="28655" y="19387"/>
                    </a:cubicBezTo>
                    <a:cubicBezTo>
                      <a:pt x="25798" y="22054"/>
                      <a:pt x="21512" y="25960"/>
                      <a:pt x="17987" y="29770"/>
                    </a:cubicBezTo>
                    <a:cubicBezTo>
                      <a:pt x="14463" y="33580"/>
                      <a:pt x="12844" y="35580"/>
                      <a:pt x="9605" y="39295"/>
                    </a:cubicBezTo>
                    <a:cubicBezTo>
                      <a:pt x="7424" y="42105"/>
                      <a:pt x="5386" y="45029"/>
                      <a:pt x="3509" y="48058"/>
                    </a:cubicBezTo>
                    <a:cubicBezTo>
                      <a:pt x="2157" y="50286"/>
                      <a:pt x="1042" y="52649"/>
                      <a:pt x="176" y="55106"/>
                    </a:cubicBezTo>
                    <a:cubicBezTo>
                      <a:pt x="-253" y="56878"/>
                      <a:pt x="-415" y="58716"/>
                      <a:pt x="-301" y="60535"/>
                    </a:cubicBezTo>
                    <a:close/>
                  </a:path>
                </a:pathLst>
              </a:custGeom>
              <a:solidFill>
                <a:srgbClr val="D9530B"/>
              </a:solidFill>
              <a:ln w="9525" cap="flat">
                <a:noFill/>
                <a:prstDash val="solid"/>
                <a:miter/>
              </a:ln>
            </p:spPr>
            <p:txBody>
              <a:bodyPr rtlCol="0" anchor="ctr"/>
              <a:lstStyle/>
              <a:p>
                <a:endParaRPr lang="zh-CN" altLang="en-US"/>
              </a:p>
            </p:txBody>
          </p:sp>
        </p:grpSp>
        <p:sp>
          <p:nvSpPr>
            <p:cNvPr id="380" name="í$ḷiḍé">
              <a:extLst>
                <a:ext uri="{FF2B5EF4-FFF2-40B4-BE49-F238E27FC236}">
                  <a16:creationId xmlns:a16="http://schemas.microsoft.com/office/drawing/2014/main" id="{38204F6A-5CE1-497A-827B-CEEB99CCC968}"/>
                </a:ext>
              </a:extLst>
            </p:cNvPr>
            <p:cNvSpPr/>
            <p:nvPr/>
          </p:nvSpPr>
          <p:spPr>
            <a:xfrm>
              <a:off x="4874988" y="4873963"/>
              <a:ext cx="1716699" cy="724850"/>
            </a:xfrm>
            <a:custGeom>
              <a:avLst/>
              <a:gdLst>
                <a:gd name="connsiteX0" fmla="*/ -336 w 563975"/>
                <a:gd name="connsiteY0" fmla="*/ -163 h 238130"/>
                <a:gd name="connsiteX1" fmla="*/ -336 w 563975"/>
                <a:gd name="connsiteY1" fmla="*/ 7553 h 238130"/>
                <a:gd name="connsiteX2" fmla="*/ 5188 w 563975"/>
                <a:gd name="connsiteY2" fmla="*/ 15839 h 238130"/>
                <a:gd name="connsiteX3" fmla="*/ 6046 w 563975"/>
                <a:gd name="connsiteY3" fmla="*/ 16506 h 238130"/>
                <a:gd name="connsiteX4" fmla="*/ 383236 w 563975"/>
                <a:gd name="connsiteY4" fmla="*/ 234248 h 238130"/>
                <a:gd name="connsiteX5" fmla="*/ 398856 w 563975"/>
                <a:gd name="connsiteY5" fmla="*/ 237962 h 238130"/>
                <a:gd name="connsiteX6" fmla="*/ 414382 w 563975"/>
                <a:gd name="connsiteY6" fmla="*/ 234248 h 238130"/>
                <a:gd name="connsiteX7" fmla="*/ 557257 w 563975"/>
                <a:gd name="connsiteY7" fmla="*/ 151666 h 238130"/>
                <a:gd name="connsiteX8" fmla="*/ 558210 w 563975"/>
                <a:gd name="connsiteY8" fmla="*/ 151094 h 238130"/>
                <a:gd name="connsiteX9" fmla="*/ 563639 w 563975"/>
                <a:gd name="connsiteY9" fmla="*/ 142712 h 238130"/>
                <a:gd name="connsiteX10" fmla="*/ 563639 w 563975"/>
                <a:gd name="connsiteY10" fmla="*/ 134997 h 238130"/>
                <a:gd name="connsiteX11" fmla="*/ 562591 w 563975"/>
                <a:gd name="connsiteY11" fmla="*/ 138807 h 238130"/>
                <a:gd name="connsiteX12" fmla="*/ 558210 w 563975"/>
                <a:gd name="connsiteY12" fmla="*/ 143379 h 238130"/>
                <a:gd name="connsiteX13" fmla="*/ 557257 w 563975"/>
                <a:gd name="connsiteY13" fmla="*/ 144046 h 238130"/>
                <a:gd name="connsiteX14" fmla="*/ 414382 w 563975"/>
                <a:gd name="connsiteY14" fmla="*/ 226533 h 238130"/>
                <a:gd name="connsiteX15" fmla="*/ 398856 w 563975"/>
                <a:gd name="connsiteY15" fmla="*/ 230247 h 238130"/>
                <a:gd name="connsiteX16" fmla="*/ 383236 w 563975"/>
                <a:gd name="connsiteY16" fmla="*/ 226533 h 238130"/>
                <a:gd name="connsiteX17" fmla="*/ 6046 w 563975"/>
                <a:gd name="connsiteY17" fmla="*/ 8791 h 238130"/>
                <a:gd name="connsiteX18" fmla="*/ 5188 w 563975"/>
                <a:gd name="connsiteY18" fmla="*/ 8219 h 238130"/>
                <a:gd name="connsiteX19" fmla="*/ 712 w 563975"/>
                <a:gd name="connsiteY19" fmla="*/ 3647 h 238130"/>
                <a:gd name="connsiteX20" fmla="*/ -336 w 563975"/>
                <a:gd name="connsiteY20" fmla="*/ -163 h 238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63975" h="238130">
                  <a:moveTo>
                    <a:pt x="-336" y="-163"/>
                  </a:moveTo>
                  <a:lnTo>
                    <a:pt x="-336" y="7553"/>
                  </a:lnTo>
                  <a:cubicBezTo>
                    <a:pt x="-41" y="11077"/>
                    <a:pt x="2045" y="14211"/>
                    <a:pt x="5188" y="15839"/>
                  </a:cubicBezTo>
                  <a:lnTo>
                    <a:pt x="6046" y="16506"/>
                  </a:lnTo>
                  <a:lnTo>
                    <a:pt x="383236" y="234248"/>
                  </a:lnTo>
                  <a:cubicBezTo>
                    <a:pt x="388046" y="236781"/>
                    <a:pt x="393418" y="238058"/>
                    <a:pt x="398856" y="237962"/>
                  </a:cubicBezTo>
                  <a:cubicBezTo>
                    <a:pt x="404267" y="238067"/>
                    <a:pt x="409610" y="236791"/>
                    <a:pt x="414382" y="234248"/>
                  </a:cubicBezTo>
                  <a:lnTo>
                    <a:pt x="557257" y="151666"/>
                  </a:lnTo>
                  <a:lnTo>
                    <a:pt x="558210" y="151094"/>
                  </a:lnTo>
                  <a:cubicBezTo>
                    <a:pt x="561306" y="149390"/>
                    <a:pt x="563344" y="146237"/>
                    <a:pt x="563639" y="142712"/>
                  </a:cubicBezTo>
                  <a:lnTo>
                    <a:pt x="563639" y="134997"/>
                  </a:lnTo>
                  <a:cubicBezTo>
                    <a:pt x="563630" y="136340"/>
                    <a:pt x="563268" y="137655"/>
                    <a:pt x="562591" y="138807"/>
                  </a:cubicBezTo>
                  <a:cubicBezTo>
                    <a:pt x="561553" y="140684"/>
                    <a:pt x="560039" y="142255"/>
                    <a:pt x="558210" y="143379"/>
                  </a:cubicBezTo>
                  <a:lnTo>
                    <a:pt x="557257" y="144046"/>
                  </a:lnTo>
                  <a:lnTo>
                    <a:pt x="414382" y="226533"/>
                  </a:lnTo>
                  <a:cubicBezTo>
                    <a:pt x="409629" y="229123"/>
                    <a:pt x="404267" y="230399"/>
                    <a:pt x="398856" y="230247"/>
                  </a:cubicBezTo>
                  <a:cubicBezTo>
                    <a:pt x="393418" y="230390"/>
                    <a:pt x="388036" y="229104"/>
                    <a:pt x="383236" y="226533"/>
                  </a:cubicBezTo>
                  <a:lnTo>
                    <a:pt x="6046" y="8791"/>
                  </a:lnTo>
                  <a:lnTo>
                    <a:pt x="5188" y="8219"/>
                  </a:lnTo>
                  <a:cubicBezTo>
                    <a:pt x="3331" y="7105"/>
                    <a:pt x="1788" y="5533"/>
                    <a:pt x="712" y="3647"/>
                  </a:cubicBezTo>
                  <a:cubicBezTo>
                    <a:pt x="45" y="2485"/>
                    <a:pt x="-317" y="1171"/>
                    <a:pt x="-336" y="-163"/>
                  </a:cubicBezTo>
                  <a:close/>
                </a:path>
              </a:pathLst>
            </a:custGeom>
            <a:solidFill>
              <a:srgbClr val="BF4200"/>
            </a:solidFill>
            <a:ln w="9525" cap="flat">
              <a:noFill/>
              <a:prstDash val="solid"/>
              <a:miter/>
            </a:ln>
          </p:spPr>
          <p:txBody>
            <a:bodyPr rtlCol="0" anchor="ctr"/>
            <a:lstStyle/>
            <a:p>
              <a:endParaRPr lang="zh-CN" altLang="en-US"/>
            </a:p>
          </p:txBody>
        </p:sp>
        <p:sp>
          <p:nvSpPr>
            <p:cNvPr id="381" name="îŝļiďè">
              <a:extLst>
                <a:ext uri="{FF2B5EF4-FFF2-40B4-BE49-F238E27FC236}">
                  <a16:creationId xmlns:a16="http://schemas.microsoft.com/office/drawing/2014/main" id="{E22A9682-4E2B-423E-9C44-F34C887C00F4}"/>
                </a:ext>
              </a:extLst>
            </p:cNvPr>
            <p:cNvSpPr/>
            <p:nvPr/>
          </p:nvSpPr>
          <p:spPr>
            <a:xfrm>
              <a:off x="4874988" y="4583739"/>
              <a:ext cx="1716699" cy="991611"/>
            </a:xfrm>
            <a:custGeom>
              <a:avLst/>
              <a:gdLst>
                <a:gd name="connsiteX0" fmla="*/ -336 w 563975"/>
                <a:gd name="connsiteY0" fmla="*/ 95182 h 325767"/>
                <a:gd name="connsiteX1" fmla="*/ 712 w 563975"/>
                <a:gd name="connsiteY1" fmla="*/ 98992 h 325767"/>
                <a:gd name="connsiteX2" fmla="*/ 5188 w 563975"/>
                <a:gd name="connsiteY2" fmla="*/ 103565 h 325767"/>
                <a:gd name="connsiteX3" fmla="*/ 6046 w 563975"/>
                <a:gd name="connsiteY3" fmla="*/ 104136 h 325767"/>
                <a:gd name="connsiteX4" fmla="*/ 383236 w 563975"/>
                <a:gd name="connsiteY4" fmla="*/ 321878 h 325767"/>
                <a:gd name="connsiteX5" fmla="*/ 398856 w 563975"/>
                <a:gd name="connsiteY5" fmla="*/ 325592 h 325767"/>
                <a:gd name="connsiteX6" fmla="*/ 414382 w 563975"/>
                <a:gd name="connsiteY6" fmla="*/ 321878 h 325767"/>
                <a:gd name="connsiteX7" fmla="*/ 557257 w 563975"/>
                <a:gd name="connsiteY7" fmla="*/ 239391 h 325767"/>
                <a:gd name="connsiteX8" fmla="*/ 558210 w 563975"/>
                <a:gd name="connsiteY8" fmla="*/ 238724 h 325767"/>
                <a:gd name="connsiteX9" fmla="*/ 562591 w 563975"/>
                <a:gd name="connsiteY9" fmla="*/ 234152 h 325767"/>
                <a:gd name="connsiteX10" fmla="*/ 563639 w 563975"/>
                <a:gd name="connsiteY10" fmla="*/ 230342 h 325767"/>
                <a:gd name="connsiteX11" fmla="*/ 557257 w 563975"/>
                <a:gd name="connsiteY11" fmla="*/ 221389 h 325767"/>
                <a:gd name="connsiteX12" fmla="*/ 180163 w 563975"/>
                <a:gd name="connsiteY12" fmla="*/ 3552 h 325767"/>
                <a:gd name="connsiteX13" fmla="*/ 149111 w 563975"/>
                <a:gd name="connsiteY13" fmla="*/ 3552 h 325767"/>
                <a:gd name="connsiteX14" fmla="*/ 6236 w 563975"/>
                <a:gd name="connsiteY14" fmla="*/ 86134 h 325767"/>
                <a:gd name="connsiteX15" fmla="*/ -336 w 563975"/>
                <a:gd name="connsiteY15" fmla="*/ 95182 h 325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63975" h="325767">
                  <a:moveTo>
                    <a:pt x="-336" y="95182"/>
                  </a:moveTo>
                  <a:cubicBezTo>
                    <a:pt x="-317" y="96516"/>
                    <a:pt x="45" y="97831"/>
                    <a:pt x="712" y="98992"/>
                  </a:cubicBezTo>
                  <a:cubicBezTo>
                    <a:pt x="1788" y="100878"/>
                    <a:pt x="3331" y="102450"/>
                    <a:pt x="5188" y="103565"/>
                  </a:cubicBezTo>
                  <a:lnTo>
                    <a:pt x="6046" y="104136"/>
                  </a:lnTo>
                  <a:lnTo>
                    <a:pt x="383236" y="321878"/>
                  </a:lnTo>
                  <a:cubicBezTo>
                    <a:pt x="388036" y="324449"/>
                    <a:pt x="393418" y="325735"/>
                    <a:pt x="398856" y="325592"/>
                  </a:cubicBezTo>
                  <a:cubicBezTo>
                    <a:pt x="404267" y="325745"/>
                    <a:pt x="409629" y="324468"/>
                    <a:pt x="414382" y="321878"/>
                  </a:cubicBezTo>
                  <a:lnTo>
                    <a:pt x="557257" y="239391"/>
                  </a:lnTo>
                  <a:lnTo>
                    <a:pt x="558210" y="238724"/>
                  </a:lnTo>
                  <a:cubicBezTo>
                    <a:pt x="560039" y="237600"/>
                    <a:pt x="561544" y="236029"/>
                    <a:pt x="562591" y="234152"/>
                  </a:cubicBezTo>
                  <a:cubicBezTo>
                    <a:pt x="563268" y="233000"/>
                    <a:pt x="563630" y="231685"/>
                    <a:pt x="563639" y="230342"/>
                  </a:cubicBezTo>
                  <a:cubicBezTo>
                    <a:pt x="563268" y="226427"/>
                    <a:pt x="560839" y="223008"/>
                    <a:pt x="557257" y="221389"/>
                  </a:cubicBezTo>
                  <a:lnTo>
                    <a:pt x="180163" y="3552"/>
                  </a:lnTo>
                  <a:cubicBezTo>
                    <a:pt x="170409" y="-1401"/>
                    <a:pt x="158865" y="-1401"/>
                    <a:pt x="149111" y="3552"/>
                  </a:cubicBezTo>
                  <a:lnTo>
                    <a:pt x="6236" y="86134"/>
                  </a:lnTo>
                  <a:cubicBezTo>
                    <a:pt x="2540" y="87705"/>
                    <a:pt x="16" y="91182"/>
                    <a:pt x="-336" y="95182"/>
                  </a:cubicBezTo>
                  <a:close/>
                </a:path>
              </a:pathLst>
            </a:custGeom>
            <a:solidFill>
              <a:srgbClr val="D9530B"/>
            </a:solidFill>
            <a:ln w="9525" cap="flat">
              <a:noFill/>
              <a:prstDash val="solid"/>
              <a:miter/>
            </a:ln>
          </p:spPr>
          <p:txBody>
            <a:bodyPr rtlCol="0" anchor="ctr"/>
            <a:lstStyle/>
            <a:p>
              <a:endParaRPr lang="zh-CN" altLang="en-US"/>
            </a:p>
          </p:txBody>
        </p:sp>
        <p:sp>
          <p:nvSpPr>
            <p:cNvPr id="382" name="îṧļïḑé">
              <a:extLst>
                <a:ext uri="{FF2B5EF4-FFF2-40B4-BE49-F238E27FC236}">
                  <a16:creationId xmlns:a16="http://schemas.microsoft.com/office/drawing/2014/main" id="{0C41D675-F83C-4529-BE85-27CB75222476}"/>
                </a:ext>
              </a:extLst>
            </p:cNvPr>
            <p:cNvSpPr/>
            <p:nvPr/>
          </p:nvSpPr>
          <p:spPr>
            <a:xfrm>
              <a:off x="4888905" y="4592004"/>
              <a:ext cx="1690603" cy="975408"/>
            </a:xfrm>
            <a:custGeom>
              <a:avLst/>
              <a:gdLst>
                <a:gd name="connsiteX0" fmla="*/ -336 w 555402"/>
                <a:gd name="connsiteY0" fmla="*/ 92468 h 320444"/>
                <a:gd name="connsiteX1" fmla="*/ 4045 w 555402"/>
                <a:gd name="connsiteY1" fmla="*/ 99040 h 320444"/>
                <a:gd name="connsiteX2" fmla="*/ 4807 w 555402"/>
                <a:gd name="connsiteY2" fmla="*/ 99516 h 320444"/>
                <a:gd name="connsiteX3" fmla="*/ 382473 w 555402"/>
                <a:gd name="connsiteY3" fmla="*/ 317353 h 320444"/>
                <a:gd name="connsiteX4" fmla="*/ 407048 w 555402"/>
                <a:gd name="connsiteY4" fmla="*/ 317353 h 320444"/>
                <a:gd name="connsiteX5" fmla="*/ 549923 w 555402"/>
                <a:gd name="connsiteY5" fmla="*/ 234771 h 320444"/>
                <a:gd name="connsiteX6" fmla="*/ 550685 w 555402"/>
                <a:gd name="connsiteY6" fmla="*/ 234295 h 320444"/>
                <a:gd name="connsiteX7" fmla="*/ 555066 w 555402"/>
                <a:gd name="connsiteY7" fmla="*/ 227628 h 320444"/>
                <a:gd name="connsiteX8" fmla="*/ 549923 w 555402"/>
                <a:gd name="connsiteY8" fmla="*/ 220579 h 320444"/>
                <a:gd name="connsiteX9" fmla="*/ 172733 w 555402"/>
                <a:gd name="connsiteY9" fmla="*/ 2838 h 320444"/>
                <a:gd name="connsiteX10" fmla="*/ 148158 w 555402"/>
                <a:gd name="connsiteY10" fmla="*/ 2838 h 320444"/>
                <a:gd name="connsiteX11" fmla="*/ 5283 w 555402"/>
                <a:gd name="connsiteY11" fmla="*/ 85324 h 320444"/>
                <a:gd name="connsiteX12" fmla="*/ -336 w 555402"/>
                <a:gd name="connsiteY12" fmla="*/ 92468 h 320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55402" h="320444">
                  <a:moveTo>
                    <a:pt x="-336" y="92468"/>
                  </a:moveTo>
                  <a:cubicBezTo>
                    <a:pt x="-155" y="95287"/>
                    <a:pt x="1521" y="97792"/>
                    <a:pt x="4045" y="99040"/>
                  </a:cubicBezTo>
                  <a:lnTo>
                    <a:pt x="4807" y="99516"/>
                  </a:lnTo>
                  <a:lnTo>
                    <a:pt x="382473" y="317353"/>
                  </a:lnTo>
                  <a:cubicBezTo>
                    <a:pt x="390198" y="321259"/>
                    <a:pt x="399323" y="321259"/>
                    <a:pt x="407048" y="317353"/>
                  </a:cubicBezTo>
                  <a:lnTo>
                    <a:pt x="549923" y="234771"/>
                  </a:lnTo>
                  <a:lnTo>
                    <a:pt x="550685" y="234295"/>
                  </a:lnTo>
                  <a:cubicBezTo>
                    <a:pt x="553180" y="232952"/>
                    <a:pt x="554828" y="230447"/>
                    <a:pt x="555066" y="227628"/>
                  </a:cubicBezTo>
                  <a:cubicBezTo>
                    <a:pt x="554790" y="224513"/>
                    <a:pt x="552809" y="221798"/>
                    <a:pt x="549923" y="220579"/>
                  </a:cubicBezTo>
                  <a:lnTo>
                    <a:pt x="172733" y="2838"/>
                  </a:lnTo>
                  <a:cubicBezTo>
                    <a:pt x="165027" y="-1163"/>
                    <a:pt x="155864" y="-1163"/>
                    <a:pt x="148158" y="2838"/>
                  </a:cubicBezTo>
                  <a:lnTo>
                    <a:pt x="5283" y="85324"/>
                  </a:lnTo>
                  <a:cubicBezTo>
                    <a:pt x="2226" y="86467"/>
                    <a:pt x="64" y="89229"/>
                    <a:pt x="-336" y="92468"/>
                  </a:cubicBezTo>
                  <a:close/>
                </a:path>
              </a:pathLst>
            </a:custGeom>
            <a:solidFill>
              <a:srgbClr val="FF7D33"/>
            </a:solidFill>
            <a:ln w="9525" cap="flat">
              <a:noFill/>
              <a:prstDash val="solid"/>
              <a:miter/>
            </a:ln>
          </p:spPr>
          <p:txBody>
            <a:bodyPr rtlCol="0" anchor="ctr"/>
            <a:lstStyle/>
            <a:p>
              <a:endParaRPr lang="zh-CN" altLang="en-US"/>
            </a:p>
          </p:txBody>
        </p:sp>
        <p:sp>
          <p:nvSpPr>
            <p:cNvPr id="383" name="îsļîďe">
              <a:extLst>
                <a:ext uri="{FF2B5EF4-FFF2-40B4-BE49-F238E27FC236}">
                  <a16:creationId xmlns:a16="http://schemas.microsoft.com/office/drawing/2014/main" id="{E56C1C4E-33BF-432E-A85C-7E70B2BC7617}"/>
                </a:ext>
              </a:extLst>
            </p:cNvPr>
            <p:cNvSpPr/>
            <p:nvPr/>
          </p:nvSpPr>
          <p:spPr>
            <a:xfrm>
              <a:off x="5313079" y="4592220"/>
              <a:ext cx="146416" cy="84804"/>
            </a:xfrm>
            <a:custGeom>
              <a:avLst/>
              <a:gdLst>
                <a:gd name="connsiteX0" fmla="*/ -336 w 48101"/>
                <a:gd name="connsiteY0" fmla="*/ 10291 h 27860"/>
                <a:gd name="connsiteX1" fmla="*/ 1188 w 48101"/>
                <a:gd name="connsiteY1" fmla="*/ 12577 h 27860"/>
                <a:gd name="connsiteX2" fmla="*/ 3569 w 48101"/>
                <a:gd name="connsiteY2" fmla="*/ 13911 h 27860"/>
                <a:gd name="connsiteX3" fmla="*/ 25857 w 48101"/>
                <a:gd name="connsiteY3" fmla="*/ 26769 h 27860"/>
                <a:gd name="connsiteX4" fmla="*/ 33668 w 48101"/>
                <a:gd name="connsiteY4" fmla="*/ 26769 h 27860"/>
                <a:gd name="connsiteX5" fmla="*/ 43860 w 48101"/>
                <a:gd name="connsiteY5" fmla="*/ 20864 h 27860"/>
                <a:gd name="connsiteX6" fmla="*/ 46241 w 48101"/>
                <a:gd name="connsiteY6" fmla="*/ 19530 h 27860"/>
                <a:gd name="connsiteX7" fmla="*/ 47765 w 48101"/>
                <a:gd name="connsiteY7" fmla="*/ 17816 h 27860"/>
                <a:gd name="connsiteX8" fmla="*/ 47765 w 48101"/>
                <a:gd name="connsiteY8" fmla="*/ 16768 h 27860"/>
                <a:gd name="connsiteX9" fmla="*/ 46241 w 48101"/>
                <a:gd name="connsiteY9" fmla="*/ 15054 h 27860"/>
                <a:gd name="connsiteX10" fmla="*/ 21476 w 48101"/>
                <a:gd name="connsiteY10" fmla="*/ 766 h 27860"/>
                <a:gd name="connsiteX11" fmla="*/ 13856 w 48101"/>
                <a:gd name="connsiteY11" fmla="*/ 766 h 27860"/>
                <a:gd name="connsiteX12" fmla="*/ 1188 w 48101"/>
                <a:gd name="connsiteY12" fmla="*/ 8100 h 27860"/>
                <a:gd name="connsiteX13" fmla="*/ -336 w 48101"/>
                <a:gd name="connsiteY13" fmla="*/ 10291 h 27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8101" h="27860">
                  <a:moveTo>
                    <a:pt x="-336" y="10291"/>
                  </a:moveTo>
                  <a:cubicBezTo>
                    <a:pt x="-270" y="11272"/>
                    <a:pt x="311" y="12139"/>
                    <a:pt x="1188" y="12577"/>
                  </a:cubicBezTo>
                  <a:lnTo>
                    <a:pt x="3569" y="13911"/>
                  </a:lnTo>
                  <a:lnTo>
                    <a:pt x="25857" y="26769"/>
                  </a:lnTo>
                  <a:cubicBezTo>
                    <a:pt x="28315" y="28007"/>
                    <a:pt x="31211" y="28007"/>
                    <a:pt x="33668" y="26769"/>
                  </a:cubicBezTo>
                  <a:lnTo>
                    <a:pt x="43860" y="20864"/>
                  </a:lnTo>
                  <a:lnTo>
                    <a:pt x="46241" y="19530"/>
                  </a:lnTo>
                  <a:cubicBezTo>
                    <a:pt x="46946" y="19168"/>
                    <a:pt x="47479" y="18559"/>
                    <a:pt x="47765" y="17816"/>
                  </a:cubicBezTo>
                  <a:lnTo>
                    <a:pt x="47765" y="16768"/>
                  </a:lnTo>
                  <a:cubicBezTo>
                    <a:pt x="47479" y="16025"/>
                    <a:pt x="46946" y="15415"/>
                    <a:pt x="46241" y="15054"/>
                  </a:cubicBezTo>
                  <a:lnTo>
                    <a:pt x="21476" y="766"/>
                  </a:lnTo>
                  <a:cubicBezTo>
                    <a:pt x="19085" y="-472"/>
                    <a:pt x="16247" y="-472"/>
                    <a:pt x="13856" y="766"/>
                  </a:cubicBezTo>
                  <a:lnTo>
                    <a:pt x="1188" y="8100"/>
                  </a:lnTo>
                  <a:cubicBezTo>
                    <a:pt x="311" y="8491"/>
                    <a:pt x="-279"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384" name="ïṡḷïḓé">
              <a:extLst>
                <a:ext uri="{FF2B5EF4-FFF2-40B4-BE49-F238E27FC236}">
                  <a16:creationId xmlns:a16="http://schemas.microsoft.com/office/drawing/2014/main" id="{AA1FC480-8C7A-4CA8-8298-B2A0281769BA}"/>
                </a:ext>
              </a:extLst>
            </p:cNvPr>
            <p:cNvSpPr/>
            <p:nvPr/>
          </p:nvSpPr>
          <p:spPr>
            <a:xfrm>
              <a:off x="5314963" y="4594539"/>
              <a:ext cx="142718" cy="82484"/>
            </a:xfrm>
            <a:custGeom>
              <a:avLst/>
              <a:gdLst>
                <a:gd name="connsiteX0" fmla="*/ 25429 w 46886"/>
                <a:gd name="connsiteY0" fmla="*/ 26007 h 27098"/>
                <a:gd name="connsiteX1" fmla="*/ 1235 w 46886"/>
                <a:gd name="connsiteY1" fmla="*/ 12006 h 27098"/>
                <a:gd name="connsiteX2" fmla="*/ 1235 w 46886"/>
                <a:gd name="connsiteY2" fmla="*/ 7719 h 27098"/>
                <a:gd name="connsiteX3" fmla="*/ 13332 w 46886"/>
                <a:gd name="connsiteY3" fmla="*/ 766 h 27098"/>
                <a:gd name="connsiteX4" fmla="*/ 20761 w 46886"/>
                <a:gd name="connsiteY4" fmla="*/ 766 h 27098"/>
                <a:gd name="connsiteX5" fmla="*/ 45050 w 46886"/>
                <a:gd name="connsiteY5" fmla="*/ 14768 h 27098"/>
                <a:gd name="connsiteX6" fmla="*/ 45050 w 46886"/>
                <a:gd name="connsiteY6" fmla="*/ 19054 h 27098"/>
                <a:gd name="connsiteX7" fmla="*/ 32858 w 46886"/>
                <a:gd name="connsiteY7" fmla="*/ 26007 h 27098"/>
                <a:gd name="connsiteX8" fmla="*/ 25429 w 46886"/>
                <a:gd name="connsiteY8" fmla="*/ 26007 h 270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886" h="27098">
                  <a:moveTo>
                    <a:pt x="25429" y="26007"/>
                  </a:moveTo>
                  <a:lnTo>
                    <a:pt x="1235" y="12006"/>
                  </a:lnTo>
                  <a:cubicBezTo>
                    <a:pt x="-860" y="10863"/>
                    <a:pt x="-860" y="8958"/>
                    <a:pt x="1235" y="7719"/>
                  </a:cubicBezTo>
                  <a:lnTo>
                    <a:pt x="13332" y="766"/>
                  </a:lnTo>
                  <a:cubicBezTo>
                    <a:pt x="15656" y="-472"/>
                    <a:pt x="18437" y="-472"/>
                    <a:pt x="20761" y="766"/>
                  </a:cubicBezTo>
                  <a:lnTo>
                    <a:pt x="45050" y="14768"/>
                  </a:lnTo>
                  <a:cubicBezTo>
                    <a:pt x="47051" y="15911"/>
                    <a:pt x="47051" y="17816"/>
                    <a:pt x="45050" y="19054"/>
                  </a:cubicBezTo>
                  <a:lnTo>
                    <a:pt x="32858" y="26007"/>
                  </a:lnTo>
                  <a:cubicBezTo>
                    <a:pt x="30534" y="27245"/>
                    <a:pt x="27753" y="27245"/>
                    <a:pt x="25429" y="26007"/>
                  </a:cubicBezTo>
                  <a:close/>
                </a:path>
              </a:pathLst>
            </a:custGeom>
            <a:solidFill>
              <a:srgbClr val="D1D9E8"/>
            </a:solidFill>
            <a:ln w="9525" cap="flat">
              <a:noFill/>
              <a:prstDash val="solid"/>
              <a:miter/>
            </a:ln>
          </p:spPr>
          <p:txBody>
            <a:bodyPr rtlCol="0" anchor="ctr"/>
            <a:lstStyle/>
            <a:p>
              <a:endParaRPr lang="zh-CN" altLang="en-US"/>
            </a:p>
          </p:txBody>
        </p:sp>
        <p:sp>
          <p:nvSpPr>
            <p:cNvPr id="385" name="îṩḷíḋê">
              <a:extLst>
                <a:ext uri="{FF2B5EF4-FFF2-40B4-BE49-F238E27FC236}">
                  <a16:creationId xmlns:a16="http://schemas.microsoft.com/office/drawing/2014/main" id="{0DA03A87-DB88-4EA2-A22C-E4C275BC50FF}"/>
                </a:ext>
              </a:extLst>
            </p:cNvPr>
            <p:cNvSpPr/>
            <p:nvPr/>
          </p:nvSpPr>
          <p:spPr>
            <a:xfrm>
              <a:off x="5313079" y="4624041"/>
              <a:ext cx="146416" cy="74728"/>
            </a:xfrm>
            <a:custGeom>
              <a:avLst/>
              <a:gdLst>
                <a:gd name="connsiteX0" fmla="*/ -336 w 48101"/>
                <a:gd name="connsiteY0" fmla="*/ -163 h 24550"/>
                <a:gd name="connsiteX1" fmla="*/ -336 w 48101"/>
                <a:gd name="connsiteY1" fmla="*/ 6981 h 24550"/>
                <a:gd name="connsiteX2" fmla="*/ 1188 w 48101"/>
                <a:gd name="connsiteY2" fmla="*/ 9267 h 24550"/>
                <a:gd name="connsiteX3" fmla="*/ 25857 w 48101"/>
                <a:gd name="connsiteY3" fmla="*/ 23459 h 24550"/>
                <a:gd name="connsiteX4" fmla="*/ 33668 w 48101"/>
                <a:gd name="connsiteY4" fmla="*/ 23459 h 24550"/>
                <a:gd name="connsiteX5" fmla="*/ 46241 w 48101"/>
                <a:gd name="connsiteY5" fmla="*/ 16220 h 24550"/>
                <a:gd name="connsiteX6" fmla="*/ 47765 w 48101"/>
                <a:gd name="connsiteY6" fmla="*/ 14601 h 24550"/>
                <a:gd name="connsiteX7" fmla="*/ 47765 w 48101"/>
                <a:gd name="connsiteY7" fmla="*/ 7362 h 24550"/>
                <a:gd name="connsiteX8" fmla="*/ 46241 w 48101"/>
                <a:gd name="connsiteY8" fmla="*/ 9077 h 24550"/>
                <a:gd name="connsiteX9" fmla="*/ 43860 w 48101"/>
                <a:gd name="connsiteY9" fmla="*/ 10410 h 24550"/>
                <a:gd name="connsiteX10" fmla="*/ 33668 w 48101"/>
                <a:gd name="connsiteY10" fmla="*/ 16316 h 24550"/>
                <a:gd name="connsiteX11" fmla="*/ 25857 w 48101"/>
                <a:gd name="connsiteY11" fmla="*/ 16316 h 24550"/>
                <a:gd name="connsiteX12" fmla="*/ 3569 w 48101"/>
                <a:gd name="connsiteY12" fmla="*/ 3457 h 24550"/>
                <a:gd name="connsiteX13" fmla="*/ 1188 w 48101"/>
                <a:gd name="connsiteY13" fmla="*/ 2123 h 24550"/>
                <a:gd name="connsiteX14" fmla="*/ -336 w 48101"/>
                <a:gd name="connsiteY14" fmla="*/ -163 h 24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8101" h="24550">
                  <a:moveTo>
                    <a:pt x="-336" y="-163"/>
                  </a:moveTo>
                  <a:lnTo>
                    <a:pt x="-336" y="6981"/>
                  </a:lnTo>
                  <a:cubicBezTo>
                    <a:pt x="-251" y="7953"/>
                    <a:pt x="321" y="8819"/>
                    <a:pt x="1188" y="9267"/>
                  </a:cubicBezTo>
                  <a:lnTo>
                    <a:pt x="25857" y="23459"/>
                  </a:lnTo>
                  <a:cubicBezTo>
                    <a:pt x="28315" y="24697"/>
                    <a:pt x="31211" y="24697"/>
                    <a:pt x="33668" y="23459"/>
                  </a:cubicBezTo>
                  <a:lnTo>
                    <a:pt x="46241" y="16220"/>
                  </a:lnTo>
                  <a:cubicBezTo>
                    <a:pt x="46917" y="15868"/>
                    <a:pt x="47451" y="15296"/>
                    <a:pt x="47765" y="14601"/>
                  </a:cubicBezTo>
                  <a:lnTo>
                    <a:pt x="47765" y="7362"/>
                  </a:lnTo>
                  <a:cubicBezTo>
                    <a:pt x="47479" y="8105"/>
                    <a:pt x="46946" y="8715"/>
                    <a:pt x="46241" y="9077"/>
                  </a:cubicBezTo>
                  <a:lnTo>
                    <a:pt x="43860" y="10410"/>
                  </a:lnTo>
                  <a:lnTo>
                    <a:pt x="33668" y="16316"/>
                  </a:lnTo>
                  <a:cubicBezTo>
                    <a:pt x="31211" y="17554"/>
                    <a:pt x="28315" y="17554"/>
                    <a:pt x="25857" y="16316"/>
                  </a:cubicBezTo>
                  <a:lnTo>
                    <a:pt x="3569" y="3457"/>
                  </a:lnTo>
                  <a:lnTo>
                    <a:pt x="1188"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386" name="iṡľidé">
              <a:extLst>
                <a:ext uri="{FF2B5EF4-FFF2-40B4-BE49-F238E27FC236}">
                  <a16:creationId xmlns:a16="http://schemas.microsoft.com/office/drawing/2014/main" id="{7DA1ECB1-7BFD-4C57-AA8A-2C311A6E582F}"/>
                </a:ext>
              </a:extLst>
            </p:cNvPr>
            <p:cNvSpPr/>
            <p:nvPr/>
          </p:nvSpPr>
          <p:spPr>
            <a:xfrm>
              <a:off x="5429923" y="4660839"/>
              <a:ext cx="109740" cy="63442"/>
            </a:xfrm>
            <a:custGeom>
              <a:avLst/>
              <a:gdLst>
                <a:gd name="connsiteX0" fmla="*/ -336 w 36052"/>
                <a:gd name="connsiteY0" fmla="*/ 10227 h 20842"/>
                <a:gd name="connsiteX1" fmla="*/ 1188 w 36052"/>
                <a:gd name="connsiteY1" fmla="*/ 12513 h 20842"/>
                <a:gd name="connsiteX2" fmla="*/ 3569 w 36052"/>
                <a:gd name="connsiteY2" fmla="*/ 13846 h 20842"/>
                <a:gd name="connsiteX3" fmla="*/ 13856 w 36052"/>
                <a:gd name="connsiteY3" fmla="*/ 19752 h 20842"/>
                <a:gd name="connsiteX4" fmla="*/ 21476 w 36052"/>
                <a:gd name="connsiteY4" fmla="*/ 19752 h 20842"/>
                <a:gd name="connsiteX5" fmla="*/ 31763 w 36052"/>
                <a:gd name="connsiteY5" fmla="*/ 13846 h 20842"/>
                <a:gd name="connsiteX6" fmla="*/ 34144 w 36052"/>
                <a:gd name="connsiteY6" fmla="*/ 12513 h 20842"/>
                <a:gd name="connsiteX7" fmla="*/ 35573 w 36052"/>
                <a:gd name="connsiteY7" fmla="*/ 9465 h 20842"/>
                <a:gd name="connsiteX8" fmla="*/ 34144 w 36052"/>
                <a:gd name="connsiteY8" fmla="*/ 8036 h 20842"/>
                <a:gd name="connsiteX9" fmla="*/ 21476 w 36052"/>
                <a:gd name="connsiteY9" fmla="*/ 702 h 20842"/>
                <a:gd name="connsiteX10" fmla="*/ 13856 w 36052"/>
                <a:gd name="connsiteY10" fmla="*/ 702 h 20842"/>
                <a:gd name="connsiteX11" fmla="*/ 1188 w 36052"/>
                <a:gd name="connsiteY11" fmla="*/ 8036 h 20842"/>
                <a:gd name="connsiteX12" fmla="*/ -336 w 36052"/>
                <a:gd name="connsiteY12" fmla="*/ 10227 h 20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2">
                  <a:moveTo>
                    <a:pt x="-336" y="10227"/>
                  </a:moveTo>
                  <a:cubicBezTo>
                    <a:pt x="-270" y="11208"/>
                    <a:pt x="311" y="12074"/>
                    <a:pt x="1188" y="12513"/>
                  </a:cubicBezTo>
                  <a:lnTo>
                    <a:pt x="3569" y="13846"/>
                  </a:lnTo>
                  <a:lnTo>
                    <a:pt x="13856" y="19752"/>
                  </a:lnTo>
                  <a:cubicBezTo>
                    <a:pt x="16247" y="20990"/>
                    <a:pt x="19085" y="20990"/>
                    <a:pt x="21476" y="19752"/>
                  </a:cubicBezTo>
                  <a:lnTo>
                    <a:pt x="31763" y="13846"/>
                  </a:lnTo>
                  <a:lnTo>
                    <a:pt x="34144" y="12513"/>
                  </a:lnTo>
                  <a:cubicBezTo>
                    <a:pt x="35382" y="12065"/>
                    <a:pt x="36020" y="10693"/>
                    <a:pt x="35573" y="9465"/>
                  </a:cubicBezTo>
                  <a:cubicBezTo>
                    <a:pt x="35325" y="8798"/>
                    <a:pt x="34811" y="8274"/>
                    <a:pt x="34144"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387" name="iś1ïḓé">
              <a:extLst>
                <a:ext uri="{FF2B5EF4-FFF2-40B4-BE49-F238E27FC236}">
                  <a16:creationId xmlns:a16="http://schemas.microsoft.com/office/drawing/2014/main" id="{C6BCECAE-A361-46DB-96B1-6B798F06CECD}"/>
                </a:ext>
              </a:extLst>
            </p:cNvPr>
            <p:cNvSpPr/>
            <p:nvPr/>
          </p:nvSpPr>
          <p:spPr>
            <a:xfrm>
              <a:off x="5431808" y="4662020"/>
              <a:ext cx="105895" cy="61104"/>
            </a:xfrm>
            <a:custGeom>
              <a:avLst/>
              <a:gdLst>
                <a:gd name="connsiteX0" fmla="*/ 1235 w 34789"/>
                <a:gd name="connsiteY0" fmla="*/ 12029 h 20074"/>
                <a:gd name="connsiteX1" fmla="*/ 13332 w 34789"/>
                <a:gd name="connsiteY1" fmla="*/ 18983 h 20074"/>
                <a:gd name="connsiteX2" fmla="*/ 20761 w 34789"/>
                <a:gd name="connsiteY2" fmla="*/ 18983 h 20074"/>
                <a:gd name="connsiteX3" fmla="*/ 32953 w 34789"/>
                <a:gd name="connsiteY3" fmla="*/ 12029 h 20074"/>
                <a:gd name="connsiteX4" fmla="*/ 32953 w 34789"/>
                <a:gd name="connsiteY4" fmla="*/ 7743 h 20074"/>
                <a:gd name="connsiteX5" fmla="*/ 20761 w 34789"/>
                <a:gd name="connsiteY5" fmla="*/ 695 h 20074"/>
                <a:gd name="connsiteX6" fmla="*/ 13332 w 34789"/>
                <a:gd name="connsiteY6" fmla="*/ 695 h 20074"/>
                <a:gd name="connsiteX7" fmla="*/ 1235 w 34789"/>
                <a:gd name="connsiteY7" fmla="*/ 7743 h 20074"/>
                <a:gd name="connsiteX8" fmla="*/ 1235 w 34789"/>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89" h="20074">
                  <a:moveTo>
                    <a:pt x="1235" y="12029"/>
                  </a:moveTo>
                  <a:lnTo>
                    <a:pt x="13332" y="18983"/>
                  </a:lnTo>
                  <a:cubicBezTo>
                    <a:pt x="15656" y="20221"/>
                    <a:pt x="18437" y="20221"/>
                    <a:pt x="20761" y="18983"/>
                  </a:cubicBezTo>
                  <a:lnTo>
                    <a:pt x="32953" y="12029"/>
                  </a:lnTo>
                  <a:cubicBezTo>
                    <a:pt x="34954" y="10791"/>
                    <a:pt x="34954" y="8886"/>
                    <a:pt x="32953" y="7743"/>
                  </a:cubicBezTo>
                  <a:lnTo>
                    <a:pt x="20761" y="695"/>
                  </a:lnTo>
                  <a:cubicBezTo>
                    <a:pt x="18418" y="-448"/>
                    <a:pt x="15675" y="-448"/>
                    <a:pt x="13332" y="695"/>
                  </a:cubicBezTo>
                  <a:lnTo>
                    <a:pt x="1235" y="7743"/>
                  </a:lnTo>
                  <a:cubicBezTo>
                    <a:pt x="-860" y="8886"/>
                    <a:pt x="-860" y="10791"/>
                    <a:pt x="1235" y="12029"/>
                  </a:cubicBezTo>
                  <a:close/>
                </a:path>
              </a:pathLst>
            </a:custGeom>
            <a:solidFill>
              <a:srgbClr val="D1D9E8"/>
            </a:solidFill>
            <a:ln w="9525" cap="flat">
              <a:noFill/>
              <a:prstDash val="solid"/>
              <a:miter/>
            </a:ln>
          </p:spPr>
          <p:txBody>
            <a:bodyPr rtlCol="0" anchor="ctr"/>
            <a:lstStyle/>
            <a:p>
              <a:endParaRPr lang="zh-CN" altLang="en-US"/>
            </a:p>
          </p:txBody>
        </p:sp>
        <p:sp>
          <p:nvSpPr>
            <p:cNvPr id="388" name="ïṩḻîḍê">
              <a:extLst>
                <a:ext uri="{FF2B5EF4-FFF2-40B4-BE49-F238E27FC236}">
                  <a16:creationId xmlns:a16="http://schemas.microsoft.com/office/drawing/2014/main" id="{402CA260-61FB-4D6D-852D-52181F213AB9}"/>
                </a:ext>
              </a:extLst>
            </p:cNvPr>
            <p:cNvSpPr/>
            <p:nvPr/>
          </p:nvSpPr>
          <p:spPr>
            <a:xfrm>
              <a:off x="5429923" y="4692465"/>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4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4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20"/>
                    <a:pt x="35582" y="7953"/>
                    <a:pt x="35668" y="6981"/>
                  </a:cubicBezTo>
                  <a:lnTo>
                    <a:pt x="35668" y="-163"/>
                  </a:lnTo>
                  <a:cubicBezTo>
                    <a:pt x="35602" y="819"/>
                    <a:pt x="35021" y="1685"/>
                    <a:pt x="34144" y="2124"/>
                  </a:cubicBezTo>
                  <a:lnTo>
                    <a:pt x="31763" y="3457"/>
                  </a:lnTo>
                  <a:lnTo>
                    <a:pt x="21476" y="9362"/>
                  </a:lnTo>
                  <a:cubicBezTo>
                    <a:pt x="19085" y="10601"/>
                    <a:pt x="16247" y="10601"/>
                    <a:pt x="13856" y="9362"/>
                  </a:cubicBezTo>
                  <a:lnTo>
                    <a:pt x="3569" y="3457"/>
                  </a:lnTo>
                  <a:lnTo>
                    <a:pt x="1188" y="2124"/>
                  </a:lnTo>
                  <a:cubicBezTo>
                    <a:pt x="311" y="1685"/>
                    <a:pt x="-270" y="819"/>
                    <a:pt x="-336" y="-163"/>
                  </a:cubicBezTo>
                  <a:close/>
                </a:path>
              </a:pathLst>
            </a:custGeom>
            <a:solidFill>
              <a:srgbClr val="BF4200"/>
            </a:solidFill>
            <a:ln w="9525" cap="flat">
              <a:noFill/>
              <a:prstDash val="solid"/>
              <a:miter/>
            </a:ln>
          </p:spPr>
          <p:txBody>
            <a:bodyPr rtlCol="0" anchor="ctr"/>
            <a:lstStyle/>
            <a:p>
              <a:endParaRPr lang="zh-CN" altLang="en-US"/>
            </a:p>
          </p:txBody>
        </p:sp>
        <p:sp>
          <p:nvSpPr>
            <p:cNvPr id="389" name="ïṣlîde">
              <a:extLst>
                <a:ext uri="{FF2B5EF4-FFF2-40B4-BE49-F238E27FC236}">
                  <a16:creationId xmlns:a16="http://schemas.microsoft.com/office/drawing/2014/main" id="{758AB995-8C2E-4719-9B74-BFC284EBB40B}"/>
                </a:ext>
              </a:extLst>
            </p:cNvPr>
            <p:cNvSpPr/>
            <p:nvPr/>
          </p:nvSpPr>
          <p:spPr>
            <a:xfrm>
              <a:off x="5507337" y="4705293"/>
              <a:ext cx="109740" cy="63639"/>
            </a:xfrm>
            <a:custGeom>
              <a:avLst/>
              <a:gdLst>
                <a:gd name="connsiteX0" fmla="*/ -336 w 36052"/>
                <a:gd name="connsiteY0" fmla="*/ 10291 h 20907"/>
                <a:gd name="connsiteX1" fmla="*/ 1187 w 36052"/>
                <a:gd name="connsiteY1" fmla="*/ 12577 h 20907"/>
                <a:gd name="connsiteX2" fmla="*/ 3569 w 36052"/>
                <a:gd name="connsiteY2" fmla="*/ 13911 h 20907"/>
                <a:gd name="connsiteX3" fmla="*/ 13856 w 36052"/>
                <a:gd name="connsiteY3" fmla="*/ 19816 h 20907"/>
                <a:gd name="connsiteX4" fmla="*/ 21476 w 36052"/>
                <a:gd name="connsiteY4" fmla="*/ 19816 h 20907"/>
                <a:gd name="connsiteX5" fmla="*/ 31763 w 36052"/>
                <a:gd name="connsiteY5" fmla="*/ 13911 h 20907"/>
                <a:gd name="connsiteX6" fmla="*/ 34144 w 36052"/>
                <a:gd name="connsiteY6" fmla="*/ 12577 h 20907"/>
                <a:gd name="connsiteX7" fmla="*/ 35573 w 36052"/>
                <a:gd name="connsiteY7" fmla="*/ 9529 h 20907"/>
                <a:gd name="connsiteX8" fmla="*/ 34144 w 36052"/>
                <a:gd name="connsiteY8" fmla="*/ 8101 h 20907"/>
                <a:gd name="connsiteX9" fmla="*/ 21476 w 36052"/>
                <a:gd name="connsiteY9" fmla="*/ 766 h 20907"/>
                <a:gd name="connsiteX10" fmla="*/ 13856 w 36052"/>
                <a:gd name="connsiteY10" fmla="*/ 766 h 20907"/>
                <a:gd name="connsiteX11" fmla="*/ 1187 w 36052"/>
                <a:gd name="connsiteY11" fmla="*/ 8101 h 20907"/>
                <a:gd name="connsiteX12" fmla="*/ -336 w 36052"/>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907">
                  <a:moveTo>
                    <a:pt x="-336" y="10291"/>
                  </a:moveTo>
                  <a:cubicBezTo>
                    <a:pt x="-270" y="11272"/>
                    <a:pt x="311" y="12139"/>
                    <a:pt x="1187" y="12577"/>
                  </a:cubicBezTo>
                  <a:lnTo>
                    <a:pt x="3569" y="13911"/>
                  </a:lnTo>
                  <a:lnTo>
                    <a:pt x="13856" y="19816"/>
                  </a:lnTo>
                  <a:cubicBezTo>
                    <a:pt x="16247" y="21054"/>
                    <a:pt x="19085" y="21054"/>
                    <a:pt x="21476" y="19816"/>
                  </a:cubicBezTo>
                  <a:lnTo>
                    <a:pt x="31763" y="13911"/>
                  </a:lnTo>
                  <a:lnTo>
                    <a:pt x="34144" y="12577"/>
                  </a:lnTo>
                  <a:cubicBezTo>
                    <a:pt x="35382" y="12129"/>
                    <a:pt x="36020" y="10758"/>
                    <a:pt x="35573" y="9529"/>
                  </a:cubicBezTo>
                  <a:cubicBezTo>
                    <a:pt x="35325" y="8862"/>
                    <a:pt x="34811" y="8339"/>
                    <a:pt x="34144" y="8101"/>
                  </a:cubicBezTo>
                  <a:lnTo>
                    <a:pt x="21476" y="766"/>
                  </a:lnTo>
                  <a:cubicBezTo>
                    <a:pt x="19085" y="-472"/>
                    <a:pt x="16247" y="-472"/>
                    <a:pt x="13856" y="766"/>
                  </a:cubicBezTo>
                  <a:lnTo>
                    <a:pt x="1187" y="8101"/>
                  </a:lnTo>
                  <a:cubicBezTo>
                    <a:pt x="340" y="8519"/>
                    <a:pt x="-241" y="9348"/>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390" name="ïšḻïḍé">
              <a:extLst>
                <a:ext uri="{FF2B5EF4-FFF2-40B4-BE49-F238E27FC236}">
                  <a16:creationId xmlns:a16="http://schemas.microsoft.com/office/drawing/2014/main" id="{E94CDF92-6D9E-49BF-AF43-2A56B326DF42}"/>
                </a:ext>
              </a:extLst>
            </p:cNvPr>
            <p:cNvSpPr/>
            <p:nvPr/>
          </p:nvSpPr>
          <p:spPr>
            <a:xfrm>
              <a:off x="5509148" y="4706671"/>
              <a:ext cx="105898" cy="61101"/>
            </a:xfrm>
            <a:custGeom>
              <a:avLst/>
              <a:gdLst>
                <a:gd name="connsiteX0" fmla="*/ 1164 w 34790"/>
                <a:gd name="connsiteY0" fmla="*/ 12029 h 20073"/>
                <a:gd name="connsiteX1" fmla="*/ 13356 w 34790"/>
                <a:gd name="connsiteY1" fmla="*/ 18982 h 20073"/>
                <a:gd name="connsiteX2" fmla="*/ 20786 w 34790"/>
                <a:gd name="connsiteY2" fmla="*/ 18982 h 20073"/>
                <a:gd name="connsiteX3" fmla="*/ 32882 w 34790"/>
                <a:gd name="connsiteY3" fmla="*/ 12029 h 20073"/>
                <a:gd name="connsiteX4" fmla="*/ 32882 w 34790"/>
                <a:gd name="connsiteY4" fmla="*/ 7743 h 20073"/>
                <a:gd name="connsiteX5" fmla="*/ 20786 w 34790"/>
                <a:gd name="connsiteY5" fmla="*/ 695 h 20073"/>
                <a:gd name="connsiteX6" fmla="*/ 13356 w 34790"/>
                <a:gd name="connsiteY6" fmla="*/ 695 h 20073"/>
                <a:gd name="connsiteX7" fmla="*/ 1164 w 34790"/>
                <a:gd name="connsiteY7" fmla="*/ 7743 h 20073"/>
                <a:gd name="connsiteX8" fmla="*/ 1164 w 34790"/>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3">
                  <a:moveTo>
                    <a:pt x="1164" y="12029"/>
                  </a:moveTo>
                  <a:lnTo>
                    <a:pt x="13356" y="18982"/>
                  </a:lnTo>
                  <a:cubicBezTo>
                    <a:pt x="15680" y="20221"/>
                    <a:pt x="18461" y="20221"/>
                    <a:pt x="20786" y="18982"/>
                  </a:cubicBezTo>
                  <a:lnTo>
                    <a:pt x="32882" y="12029"/>
                  </a:lnTo>
                  <a:cubicBezTo>
                    <a:pt x="34978" y="10791"/>
                    <a:pt x="34978" y="8886"/>
                    <a:pt x="32882" y="7743"/>
                  </a:cubicBezTo>
                  <a:lnTo>
                    <a:pt x="20786" y="695"/>
                  </a:lnTo>
                  <a:cubicBezTo>
                    <a:pt x="18442" y="-448"/>
                    <a:pt x="15699" y="-448"/>
                    <a:pt x="13356" y="695"/>
                  </a:cubicBezTo>
                  <a:lnTo>
                    <a:pt x="1164" y="7743"/>
                  </a:lnTo>
                  <a:cubicBezTo>
                    <a:pt x="-836" y="8886"/>
                    <a:pt x="-836" y="10791"/>
                    <a:pt x="1164" y="12029"/>
                  </a:cubicBezTo>
                  <a:close/>
                </a:path>
              </a:pathLst>
            </a:custGeom>
            <a:solidFill>
              <a:srgbClr val="D1D9E8"/>
            </a:solidFill>
            <a:ln w="9525" cap="flat">
              <a:noFill/>
              <a:prstDash val="solid"/>
              <a:miter/>
            </a:ln>
          </p:spPr>
          <p:txBody>
            <a:bodyPr rtlCol="0" anchor="ctr"/>
            <a:lstStyle/>
            <a:p>
              <a:endParaRPr lang="zh-CN" altLang="en-US"/>
            </a:p>
          </p:txBody>
        </p:sp>
        <p:sp>
          <p:nvSpPr>
            <p:cNvPr id="391" name="ïśľîḓe">
              <a:extLst>
                <a:ext uri="{FF2B5EF4-FFF2-40B4-BE49-F238E27FC236}">
                  <a16:creationId xmlns:a16="http://schemas.microsoft.com/office/drawing/2014/main" id="{F74FB998-CBEE-4BE5-A137-32777F866DF4}"/>
                </a:ext>
              </a:extLst>
            </p:cNvPr>
            <p:cNvSpPr/>
            <p:nvPr/>
          </p:nvSpPr>
          <p:spPr>
            <a:xfrm>
              <a:off x="5507337" y="4737114"/>
              <a:ext cx="109594" cy="53564"/>
            </a:xfrm>
            <a:custGeom>
              <a:avLst/>
              <a:gdLst>
                <a:gd name="connsiteX0" fmla="*/ -336 w 36004"/>
                <a:gd name="connsiteY0" fmla="*/ -163 h 17597"/>
                <a:gd name="connsiteX1" fmla="*/ -336 w 36004"/>
                <a:gd name="connsiteY1" fmla="*/ 7076 h 17597"/>
                <a:gd name="connsiteX2" fmla="*/ 1187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4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7 w 36004"/>
                <a:gd name="connsiteY13" fmla="*/ 2124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7" y="9267"/>
                  </a:cubicBezTo>
                  <a:lnTo>
                    <a:pt x="13856" y="16506"/>
                  </a:lnTo>
                  <a:cubicBezTo>
                    <a:pt x="16247" y="17744"/>
                    <a:pt x="19085" y="17744"/>
                    <a:pt x="21476" y="16506"/>
                  </a:cubicBezTo>
                  <a:lnTo>
                    <a:pt x="34144" y="9267"/>
                  </a:lnTo>
                  <a:cubicBezTo>
                    <a:pt x="35011" y="8819"/>
                    <a:pt x="35582" y="7953"/>
                    <a:pt x="35668" y="6981"/>
                  </a:cubicBezTo>
                  <a:lnTo>
                    <a:pt x="35668" y="-163"/>
                  </a:lnTo>
                  <a:cubicBezTo>
                    <a:pt x="35601" y="818"/>
                    <a:pt x="35020" y="1685"/>
                    <a:pt x="34144" y="2124"/>
                  </a:cubicBezTo>
                  <a:lnTo>
                    <a:pt x="31763" y="3457"/>
                  </a:lnTo>
                  <a:lnTo>
                    <a:pt x="21476" y="9362"/>
                  </a:lnTo>
                  <a:cubicBezTo>
                    <a:pt x="19085" y="10601"/>
                    <a:pt x="16247" y="10601"/>
                    <a:pt x="13856" y="9362"/>
                  </a:cubicBezTo>
                  <a:lnTo>
                    <a:pt x="3569" y="3457"/>
                  </a:lnTo>
                  <a:lnTo>
                    <a:pt x="1187" y="2124"/>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392" name="íŝ1ïḑé">
              <a:extLst>
                <a:ext uri="{FF2B5EF4-FFF2-40B4-BE49-F238E27FC236}">
                  <a16:creationId xmlns:a16="http://schemas.microsoft.com/office/drawing/2014/main" id="{BEDEB679-E08C-4BEE-A638-C3806FC502DE}"/>
                </a:ext>
              </a:extLst>
            </p:cNvPr>
            <p:cNvSpPr/>
            <p:nvPr/>
          </p:nvSpPr>
          <p:spPr>
            <a:xfrm>
              <a:off x="5584457" y="4749944"/>
              <a:ext cx="109883" cy="63639"/>
            </a:xfrm>
            <a:custGeom>
              <a:avLst/>
              <a:gdLst>
                <a:gd name="connsiteX0" fmla="*/ -336 w 36099"/>
                <a:gd name="connsiteY0" fmla="*/ 10291 h 20907"/>
                <a:gd name="connsiteX1" fmla="*/ 1283 w 36099"/>
                <a:gd name="connsiteY1" fmla="*/ 12577 h 20907"/>
                <a:gd name="connsiteX2" fmla="*/ 3569 w 36099"/>
                <a:gd name="connsiteY2" fmla="*/ 13911 h 20907"/>
                <a:gd name="connsiteX3" fmla="*/ 13856 w 36099"/>
                <a:gd name="connsiteY3" fmla="*/ 19816 h 20907"/>
                <a:gd name="connsiteX4" fmla="*/ 21571 w 36099"/>
                <a:gd name="connsiteY4" fmla="*/ 19816 h 20907"/>
                <a:gd name="connsiteX5" fmla="*/ 31858 w 36099"/>
                <a:gd name="connsiteY5" fmla="*/ 13911 h 20907"/>
                <a:gd name="connsiteX6" fmla="*/ 34144 w 36099"/>
                <a:gd name="connsiteY6" fmla="*/ 12577 h 20907"/>
                <a:gd name="connsiteX7" fmla="*/ 35764 w 36099"/>
                <a:gd name="connsiteY7" fmla="*/ 10291 h 20907"/>
                <a:gd name="connsiteX8" fmla="*/ 34144 w 36099"/>
                <a:gd name="connsiteY8" fmla="*/ 8100 h 20907"/>
                <a:gd name="connsiteX9" fmla="*/ 21571 w 36099"/>
                <a:gd name="connsiteY9" fmla="*/ 766 h 20907"/>
                <a:gd name="connsiteX10" fmla="*/ 13856 w 36099"/>
                <a:gd name="connsiteY10" fmla="*/ 766 h 20907"/>
                <a:gd name="connsiteX11" fmla="*/ 1283 w 36099"/>
                <a:gd name="connsiteY11" fmla="*/ 8100 h 20907"/>
                <a:gd name="connsiteX12" fmla="*/ -336 w 36099"/>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99" h="20907">
                  <a:moveTo>
                    <a:pt x="-336" y="10291"/>
                  </a:moveTo>
                  <a:cubicBezTo>
                    <a:pt x="-269" y="11301"/>
                    <a:pt x="350" y="12187"/>
                    <a:pt x="1283" y="12577"/>
                  </a:cubicBezTo>
                  <a:lnTo>
                    <a:pt x="3569" y="13911"/>
                  </a:lnTo>
                  <a:lnTo>
                    <a:pt x="13856" y="19816"/>
                  </a:lnTo>
                  <a:cubicBezTo>
                    <a:pt x="16275" y="21054"/>
                    <a:pt x="19152" y="21054"/>
                    <a:pt x="21571" y="19816"/>
                  </a:cubicBezTo>
                  <a:lnTo>
                    <a:pt x="31858" y="13911"/>
                  </a:lnTo>
                  <a:lnTo>
                    <a:pt x="34144" y="12577"/>
                  </a:lnTo>
                  <a:cubicBezTo>
                    <a:pt x="35049" y="12149"/>
                    <a:pt x="35659" y="11282"/>
                    <a:pt x="35764" y="10291"/>
                  </a:cubicBezTo>
                  <a:cubicBezTo>
                    <a:pt x="35649" y="9329"/>
                    <a:pt x="35030" y="8491"/>
                    <a:pt x="34144" y="8100"/>
                  </a:cubicBezTo>
                  <a:lnTo>
                    <a:pt x="21571" y="766"/>
                  </a:lnTo>
                  <a:cubicBezTo>
                    <a:pt x="19152" y="-472"/>
                    <a:pt x="16275" y="-472"/>
                    <a:pt x="13856" y="766"/>
                  </a:cubicBezTo>
                  <a:lnTo>
                    <a:pt x="1283" y="8100"/>
                  </a:lnTo>
                  <a:cubicBezTo>
                    <a:pt x="369" y="8462"/>
                    <a:pt x="-260" y="9310"/>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393" name="iSļiďè">
              <a:extLst>
                <a:ext uri="{FF2B5EF4-FFF2-40B4-BE49-F238E27FC236}">
                  <a16:creationId xmlns:a16="http://schemas.microsoft.com/office/drawing/2014/main" id="{3036BAF3-D789-408D-BD1A-B0D9F264187A}"/>
                </a:ext>
              </a:extLst>
            </p:cNvPr>
            <p:cNvSpPr/>
            <p:nvPr/>
          </p:nvSpPr>
          <p:spPr>
            <a:xfrm>
              <a:off x="5586126" y="4751104"/>
              <a:ext cx="105244" cy="61101"/>
            </a:xfrm>
            <a:custGeom>
              <a:avLst/>
              <a:gdLst>
                <a:gd name="connsiteX0" fmla="*/ 1021 w 34575"/>
                <a:gd name="connsiteY0" fmla="*/ 12006 h 20073"/>
                <a:gd name="connsiteX1" fmla="*/ 13118 w 34575"/>
                <a:gd name="connsiteY1" fmla="*/ 19054 h 20073"/>
                <a:gd name="connsiteX2" fmla="*/ 20547 w 34575"/>
                <a:gd name="connsiteY2" fmla="*/ 19054 h 20073"/>
                <a:gd name="connsiteX3" fmla="*/ 32739 w 34575"/>
                <a:gd name="connsiteY3" fmla="*/ 12006 h 20073"/>
                <a:gd name="connsiteX4" fmla="*/ 32739 w 34575"/>
                <a:gd name="connsiteY4" fmla="*/ 7719 h 20073"/>
                <a:gd name="connsiteX5" fmla="*/ 20547 w 34575"/>
                <a:gd name="connsiteY5" fmla="*/ 766 h 20073"/>
                <a:gd name="connsiteX6" fmla="*/ 13118 w 34575"/>
                <a:gd name="connsiteY6" fmla="*/ 766 h 20073"/>
                <a:gd name="connsiteX7" fmla="*/ 1021 w 34575"/>
                <a:gd name="connsiteY7" fmla="*/ 7719 h 20073"/>
                <a:gd name="connsiteX8" fmla="*/ 1021 w 34575"/>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575" h="20073">
                  <a:moveTo>
                    <a:pt x="1021" y="12006"/>
                  </a:moveTo>
                  <a:lnTo>
                    <a:pt x="13118" y="19054"/>
                  </a:lnTo>
                  <a:cubicBezTo>
                    <a:pt x="15461" y="20197"/>
                    <a:pt x="18204" y="20197"/>
                    <a:pt x="20547" y="19054"/>
                  </a:cubicBezTo>
                  <a:lnTo>
                    <a:pt x="32739" y="12006"/>
                  </a:lnTo>
                  <a:cubicBezTo>
                    <a:pt x="34740" y="10863"/>
                    <a:pt x="34740" y="8957"/>
                    <a:pt x="32739" y="7719"/>
                  </a:cubicBezTo>
                  <a:lnTo>
                    <a:pt x="20547" y="766"/>
                  </a:lnTo>
                  <a:cubicBezTo>
                    <a:pt x="18223" y="-472"/>
                    <a:pt x="15442" y="-472"/>
                    <a:pt x="13118" y="766"/>
                  </a:cubicBezTo>
                  <a:lnTo>
                    <a:pt x="1021" y="7719"/>
                  </a:lnTo>
                  <a:cubicBezTo>
                    <a:pt x="-789" y="8957"/>
                    <a:pt x="-789" y="10863"/>
                    <a:pt x="1021" y="12006"/>
                  </a:cubicBezTo>
                  <a:close/>
                </a:path>
              </a:pathLst>
            </a:custGeom>
            <a:solidFill>
              <a:srgbClr val="D1D9E8"/>
            </a:solidFill>
            <a:ln w="9525" cap="flat">
              <a:noFill/>
              <a:prstDash val="solid"/>
              <a:miter/>
            </a:ln>
          </p:spPr>
          <p:txBody>
            <a:bodyPr rtlCol="0" anchor="ctr"/>
            <a:lstStyle/>
            <a:p>
              <a:endParaRPr lang="zh-CN" altLang="en-US"/>
            </a:p>
          </p:txBody>
        </p:sp>
        <p:sp>
          <p:nvSpPr>
            <p:cNvPr id="394" name="îşḻîḑé">
              <a:extLst>
                <a:ext uri="{FF2B5EF4-FFF2-40B4-BE49-F238E27FC236}">
                  <a16:creationId xmlns:a16="http://schemas.microsoft.com/office/drawing/2014/main" id="{62BB1114-C69B-421B-92EC-01EDFEB8C456}"/>
                </a:ext>
              </a:extLst>
            </p:cNvPr>
            <p:cNvSpPr/>
            <p:nvPr/>
          </p:nvSpPr>
          <p:spPr>
            <a:xfrm>
              <a:off x="5584457" y="4781765"/>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4 w 36099"/>
                <a:gd name="connsiteY6" fmla="*/ 6981 h 17597"/>
                <a:gd name="connsiteX7" fmla="*/ 35764 w 36099"/>
                <a:gd name="connsiteY7" fmla="*/ -163 h 17597"/>
                <a:gd name="connsiteX8" fmla="*/ 34144 w 36099"/>
                <a:gd name="connsiteY8" fmla="*/ 2123 h 17597"/>
                <a:gd name="connsiteX9" fmla="*/ 31858 w 36099"/>
                <a:gd name="connsiteY9" fmla="*/ 3457 h 17597"/>
                <a:gd name="connsiteX10" fmla="*/ 21571 w 36099"/>
                <a:gd name="connsiteY10" fmla="*/ 9362 h 17597"/>
                <a:gd name="connsiteX11" fmla="*/ 13856 w 36099"/>
                <a:gd name="connsiteY11" fmla="*/ 9362 h 17597"/>
                <a:gd name="connsiteX12" fmla="*/ 3569 w 36099"/>
                <a:gd name="connsiteY12" fmla="*/ 3457 h 17597"/>
                <a:gd name="connsiteX13" fmla="*/ 1283 w 36099"/>
                <a:gd name="connsiteY13" fmla="*/ 2123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41" y="8048"/>
                    <a:pt x="378" y="8886"/>
                    <a:pt x="1283" y="9267"/>
                  </a:cubicBezTo>
                  <a:lnTo>
                    <a:pt x="13856" y="16506"/>
                  </a:lnTo>
                  <a:cubicBezTo>
                    <a:pt x="16275" y="17744"/>
                    <a:pt x="19152" y="17744"/>
                    <a:pt x="21571" y="16506"/>
                  </a:cubicBezTo>
                  <a:lnTo>
                    <a:pt x="34144" y="9267"/>
                  </a:lnTo>
                  <a:cubicBezTo>
                    <a:pt x="35030" y="8829"/>
                    <a:pt x="35640" y="7962"/>
                    <a:pt x="35764" y="6981"/>
                  </a:cubicBezTo>
                  <a:lnTo>
                    <a:pt x="35764" y="-163"/>
                  </a:lnTo>
                  <a:cubicBezTo>
                    <a:pt x="35659" y="828"/>
                    <a:pt x="35049" y="1695"/>
                    <a:pt x="34144" y="2123"/>
                  </a:cubicBezTo>
                  <a:lnTo>
                    <a:pt x="31858" y="3457"/>
                  </a:lnTo>
                  <a:lnTo>
                    <a:pt x="21571" y="9362"/>
                  </a:lnTo>
                  <a:cubicBezTo>
                    <a:pt x="19152" y="10601"/>
                    <a:pt x="16275" y="10601"/>
                    <a:pt x="13856" y="9362"/>
                  </a:cubicBezTo>
                  <a:lnTo>
                    <a:pt x="3569" y="3457"/>
                  </a:lnTo>
                  <a:lnTo>
                    <a:pt x="1283" y="2123"/>
                  </a:lnTo>
                  <a:cubicBezTo>
                    <a:pt x="350" y="1733"/>
                    <a:pt x="-269" y="847"/>
                    <a:pt x="-336" y="-163"/>
                  </a:cubicBezTo>
                  <a:close/>
                </a:path>
              </a:pathLst>
            </a:custGeom>
            <a:solidFill>
              <a:srgbClr val="BF4200"/>
            </a:solidFill>
            <a:ln w="9525" cap="flat">
              <a:noFill/>
              <a:prstDash val="solid"/>
              <a:miter/>
            </a:ln>
          </p:spPr>
          <p:txBody>
            <a:bodyPr rtlCol="0" anchor="ctr"/>
            <a:lstStyle/>
            <a:p>
              <a:endParaRPr lang="zh-CN" altLang="en-US"/>
            </a:p>
          </p:txBody>
        </p:sp>
        <p:sp>
          <p:nvSpPr>
            <p:cNvPr id="395" name="îṣlíḋe">
              <a:extLst>
                <a:ext uri="{FF2B5EF4-FFF2-40B4-BE49-F238E27FC236}">
                  <a16:creationId xmlns:a16="http://schemas.microsoft.com/office/drawing/2014/main" id="{42246F9C-6A4E-4CAF-B439-1C06421CCF48}"/>
                </a:ext>
              </a:extLst>
            </p:cNvPr>
            <p:cNvSpPr/>
            <p:nvPr/>
          </p:nvSpPr>
          <p:spPr>
            <a:xfrm>
              <a:off x="5661871" y="4795463"/>
              <a:ext cx="110753" cy="63588"/>
            </a:xfrm>
            <a:custGeom>
              <a:avLst/>
              <a:gdLst>
                <a:gd name="connsiteX0" fmla="*/ -336 w 36385"/>
                <a:gd name="connsiteY0" fmla="*/ 10196 h 20890"/>
                <a:gd name="connsiteX1" fmla="*/ 1188 w 36385"/>
                <a:gd name="connsiteY1" fmla="*/ 12482 h 20890"/>
                <a:gd name="connsiteX2" fmla="*/ 3569 w 36385"/>
                <a:gd name="connsiteY2" fmla="*/ 13815 h 20890"/>
                <a:gd name="connsiteX3" fmla="*/ 14237 w 36385"/>
                <a:gd name="connsiteY3" fmla="*/ 19721 h 20890"/>
                <a:gd name="connsiteX4" fmla="*/ 21857 w 36385"/>
                <a:gd name="connsiteY4" fmla="*/ 19721 h 20890"/>
                <a:gd name="connsiteX5" fmla="*/ 32144 w 36385"/>
                <a:gd name="connsiteY5" fmla="*/ 13911 h 20890"/>
                <a:gd name="connsiteX6" fmla="*/ 34525 w 36385"/>
                <a:gd name="connsiteY6" fmla="*/ 12577 h 20890"/>
                <a:gd name="connsiteX7" fmla="*/ 36049 w 36385"/>
                <a:gd name="connsiteY7" fmla="*/ 10291 h 20890"/>
                <a:gd name="connsiteX8" fmla="*/ 34525 w 36385"/>
                <a:gd name="connsiteY8" fmla="*/ 8100 h 20890"/>
                <a:gd name="connsiteX9" fmla="*/ 21857 w 36385"/>
                <a:gd name="connsiteY9" fmla="*/ 766 h 20890"/>
                <a:gd name="connsiteX10" fmla="*/ 14237 w 36385"/>
                <a:gd name="connsiteY10" fmla="*/ 766 h 20890"/>
                <a:gd name="connsiteX11" fmla="*/ 1569 w 36385"/>
                <a:gd name="connsiteY11" fmla="*/ 8100 h 20890"/>
                <a:gd name="connsiteX12" fmla="*/ -336 w 36385"/>
                <a:gd name="connsiteY12" fmla="*/ 10196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385" h="20890">
                  <a:moveTo>
                    <a:pt x="-336" y="10196"/>
                  </a:moveTo>
                  <a:cubicBezTo>
                    <a:pt x="-270" y="11177"/>
                    <a:pt x="311" y="12044"/>
                    <a:pt x="1188" y="12482"/>
                  </a:cubicBezTo>
                  <a:lnTo>
                    <a:pt x="3569" y="13815"/>
                  </a:lnTo>
                  <a:lnTo>
                    <a:pt x="14237" y="19721"/>
                  </a:lnTo>
                  <a:cubicBezTo>
                    <a:pt x="16599" y="21064"/>
                    <a:pt x="19495" y="21064"/>
                    <a:pt x="21857" y="19721"/>
                  </a:cubicBezTo>
                  <a:lnTo>
                    <a:pt x="32144" y="13911"/>
                  </a:lnTo>
                  <a:lnTo>
                    <a:pt x="34525" y="12577"/>
                  </a:lnTo>
                  <a:cubicBezTo>
                    <a:pt x="35401" y="12139"/>
                    <a:pt x="35982" y="11272"/>
                    <a:pt x="36049" y="10291"/>
                  </a:cubicBezTo>
                  <a:cubicBezTo>
                    <a:pt x="35992" y="9339"/>
                    <a:pt x="35401" y="8491"/>
                    <a:pt x="34525" y="8100"/>
                  </a:cubicBezTo>
                  <a:lnTo>
                    <a:pt x="21857" y="766"/>
                  </a:lnTo>
                  <a:cubicBezTo>
                    <a:pt x="19466" y="-472"/>
                    <a:pt x="16628" y="-472"/>
                    <a:pt x="14237" y="766"/>
                  </a:cubicBezTo>
                  <a:lnTo>
                    <a:pt x="1569" y="8100"/>
                  </a:lnTo>
                  <a:cubicBezTo>
                    <a:pt x="569" y="8357"/>
                    <a:pt x="-174" y="9177"/>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396" name="î$ḻîdè">
              <a:extLst>
                <a:ext uri="{FF2B5EF4-FFF2-40B4-BE49-F238E27FC236}">
                  <a16:creationId xmlns:a16="http://schemas.microsoft.com/office/drawing/2014/main" id="{D73B1B39-F798-4DA4-80F4-1805A65F9D42}"/>
                </a:ext>
              </a:extLst>
            </p:cNvPr>
            <p:cNvSpPr/>
            <p:nvPr/>
          </p:nvSpPr>
          <p:spPr>
            <a:xfrm>
              <a:off x="5663755" y="4795755"/>
              <a:ext cx="105825" cy="61101"/>
            </a:xfrm>
            <a:custGeom>
              <a:avLst/>
              <a:gdLst>
                <a:gd name="connsiteX0" fmla="*/ 1235 w 34766"/>
                <a:gd name="connsiteY0" fmla="*/ 12006 h 20073"/>
                <a:gd name="connsiteX1" fmla="*/ 13332 w 34766"/>
                <a:gd name="connsiteY1" fmla="*/ 19054 h 20073"/>
                <a:gd name="connsiteX2" fmla="*/ 20761 w 34766"/>
                <a:gd name="connsiteY2" fmla="*/ 19054 h 20073"/>
                <a:gd name="connsiteX3" fmla="*/ 32858 w 34766"/>
                <a:gd name="connsiteY3" fmla="*/ 12006 h 20073"/>
                <a:gd name="connsiteX4" fmla="*/ 32858 w 34766"/>
                <a:gd name="connsiteY4" fmla="*/ 7719 h 20073"/>
                <a:gd name="connsiteX5" fmla="*/ 20761 w 34766"/>
                <a:gd name="connsiteY5" fmla="*/ 766 h 20073"/>
                <a:gd name="connsiteX6" fmla="*/ 13332 w 34766"/>
                <a:gd name="connsiteY6" fmla="*/ 766 h 20073"/>
                <a:gd name="connsiteX7" fmla="*/ 1235 w 34766"/>
                <a:gd name="connsiteY7" fmla="*/ 7719 h 20073"/>
                <a:gd name="connsiteX8" fmla="*/ 1235 w 34766"/>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6" h="20073">
                  <a:moveTo>
                    <a:pt x="1235" y="12006"/>
                  </a:moveTo>
                  <a:lnTo>
                    <a:pt x="13332" y="19054"/>
                  </a:lnTo>
                  <a:cubicBezTo>
                    <a:pt x="15675" y="20197"/>
                    <a:pt x="18418" y="20197"/>
                    <a:pt x="20761" y="19054"/>
                  </a:cubicBezTo>
                  <a:lnTo>
                    <a:pt x="32858" y="12006"/>
                  </a:lnTo>
                  <a:cubicBezTo>
                    <a:pt x="34954" y="10862"/>
                    <a:pt x="34954" y="8958"/>
                    <a:pt x="32858" y="7719"/>
                  </a:cubicBezTo>
                  <a:lnTo>
                    <a:pt x="20761" y="766"/>
                  </a:lnTo>
                  <a:cubicBezTo>
                    <a:pt x="18437" y="-472"/>
                    <a:pt x="15656" y="-472"/>
                    <a:pt x="13332" y="766"/>
                  </a:cubicBezTo>
                  <a:lnTo>
                    <a:pt x="1235" y="7719"/>
                  </a:lnTo>
                  <a:cubicBezTo>
                    <a:pt x="-860" y="8958"/>
                    <a:pt x="-860" y="10862"/>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397" name="i$ḷïḍê">
              <a:extLst>
                <a:ext uri="{FF2B5EF4-FFF2-40B4-BE49-F238E27FC236}">
                  <a16:creationId xmlns:a16="http://schemas.microsoft.com/office/drawing/2014/main" id="{734AE88F-7AD6-4C65-A048-1216A5082545}"/>
                </a:ext>
              </a:extLst>
            </p:cNvPr>
            <p:cNvSpPr/>
            <p:nvPr/>
          </p:nvSpPr>
          <p:spPr>
            <a:xfrm>
              <a:off x="5661871" y="4826995"/>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3 h 17597"/>
                <a:gd name="connsiteX9" fmla="*/ 31763 w 36004"/>
                <a:gd name="connsiteY9" fmla="*/ 3457 h 17597"/>
                <a:gd name="connsiteX10" fmla="*/ 21476 w 36004"/>
                <a:gd name="connsiteY10" fmla="*/ 9267 h 17597"/>
                <a:gd name="connsiteX11" fmla="*/ 13856 w 36004"/>
                <a:gd name="connsiteY11" fmla="*/ 9267 h 17597"/>
                <a:gd name="connsiteX12" fmla="*/ 3569 w 36004"/>
                <a:gd name="connsiteY12" fmla="*/ 3457 h 17597"/>
                <a:gd name="connsiteX13" fmla="*/ 1188 w 36004"/>
                <a:gd name="connsiteY13" fmla="*/ 2123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2" y="7953"/>
                    <a:pt x="35668" y="6981"/>
                  </a:cubicBezTo>
                  <a:lnTo>
                    <a:pt x="35668" y="-163"/>
                  </a:lnTo>
                  <a:cubicBezTo>
                    <a:pt x="35602" y="818"/>
                    <a:pt x="35021" y="1685"/>
                    <a:pt x="34144" y="2123"/>
                  </a:cubicBezTo>
                  <a:lnTo>
                    <a:pt x="31763" y="3457"/>
                  </a:lnTo>
                  <a:lnTo>
                    <a:pt x="21476" y="9267"/>
                  </a:lnTo>
                  <a:cubicBezTo>
                    <a:pt x="19114" y="10610"/>
                    <a:pt x="16218" y="10610"/>
                    <a:pt x="13856" y="9267"/>
                  </a:cubicBezTo>
                  <a:lnTo>
                    <a:pt x="3569" y="3457"/>
                  </a:lnTo>
                  <a:lnTo>
                    <a:pt x="1188"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398" name="ïş1îḍe">
              <a:extLst>
                <a:ext uri="{FF2B5EF4-FFF2-40B4-BE49-F238E27FC236}">
                  <a16:creationId xmlns:a16="http://schemas.microsoft.com/office/drawing/2014/main" id="{1F41704E-2EE8-40F2-BFFB-38DEFF4C492D}"/>
                </a:ext>
              </a:extLst>
            </p:cNvPr>
            <p:cNvSpPr/>
            <p:nvPr/>
          </p:nvSpPr>
          <p:spPr>
            <a:xfrm>
              <a:off x="5738995" y="4839244"/>
              <a:ext cx="109916" cy="63588"/>
            </a:xfrm>
            <a:custGeom>
              <a:avLst/>
              <a:gdLst>
                <a:gd name="connsiteX0" fmla="*/ -336 w 36110"/>
                <a:gd name="connsiteY0" fmla="*/ 10291 h 20890"/>
                <a:gd name="connsiteX1" fmla="*/ 1283 w 36110"/>
                <a:gd name="connsiteY1" fmla="*/ 12482 h 20890"/>
                <a:gd name="connsiteX2" fmla="*/ 3569 w 36110"/>
                <a:gd name="connsiteY2" fmla="*/ 13910 h 20890"/>
                <a:gd name="connsiteX3" fmla="*/ 13856 w 36110"/>
                <a:gd name="connsiteY3" fmla="*/ 19721 h 20890"/>
                <a:gd name="connsiteX4" fmla="*/ 21571 w 36110"/>
                <a:gd name="connsiteY4" fmla="*/ 19721 h 20890"/>
                <a:gd name="connsiteX5" fmla="*/ 31858 w 36110"/>
                <a:gd name="connsiteY5" fmla="*/ 13910 h 20890"/>
                <a:gd name="connsiteX6" fmla="*/ 34144 w 36110"/>
                <a:gd name="connsiteY6" fmla="*/ 12482 h 20890"/>
                <a:gd name="connsiteX7" fmla="*/ 35678 w 36110"/>
                <a:gd name="connsiteY7" fmla="*/ 9634 h 20890"/>
                <a:gd name="connsiteX8" fmla="*/ 34144 w 36110"/>
                <a:gd name="connsiteY8" fmla="*/ 8100 h 20890"/>
                <a:gd name="connsiteX9" fmla="*/ 21571 w 36110"/>
                <a:gd name="connsiteY9" fmla="*/ 766 h 20890"/>
                <a:gd name="connsiteX10" fmla="*/ 13856 w 36110"/>
                <a:gd name="connsiteY10" fmla="*/ 766 h 20890"/>
                <a:gd name="connsiteX11" fmla="*/ 1283 w 36110"/>
                <a:gd name="connsiteY11" fmla="*/ 8100 h 20890"/>
                <a:gd name="connsiteX12" fmla="*/ -336 w 36110"/>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110" h="20890">
                  <a:moveTo>
                    <a:pt x="-336" y="10291"/>
                  </a:moveTo>
                  <a:cubicBezTo>
                    <a:pt x="-260" y="11272"/>
                    <a:pt x="369" y="12120"/>
                    <a:pt x="1283" y="12482"/>
                  </a:cubicBezTo>
                  <a:lnTo>
                    <a:pt x="3569" y="13910"/>
                  </a:lnTo>
                  <a:lnTo>
                    <a:pt x="13856" y="19721"/>
                  </a:lnTo>
                  <a:cubicBezTo>
                    <a:pt x="16256" y="21064"/>
                    <a:pt x="19171" y="21064"/>
                    <a:pt x="21571" y="19721"/>
                  </a:cubicBezTo>
                  <a:lnTo>
                    <a:pt x="31858" y="13910"/>
                  </a:lnTo>
                  <a:lnTo>
                    <a:pt x="34144" y="12482"/>
                  </a:lnTo>
                  <a:cubicBezTo>
                    <a:pt x="35354" y="12120"/>
                    <a:pt x="36040" y="10843"/>
                    <a:pt x="35678" y="9634"/>
                  </a:cubicBezTo>
                  <a:cubicBezTo>
                    <a:pt x="35459" y="8900"/>
                    <a:pt x="34887" y="8319"/>
                    <a:pt x="34144" y="8100"/>
                  </a:cubicBezTo>
                  <a:lnTo>
                    <a:pt x="21571" y="766"/>
                  </a:lnTo>
                  <a:cubicBezTo>
                    <a:pt x="19152" y="-472"/>
                    <a:pt x="16275" y="-472"/>
                    <a:pt x="13856" y="766"/>
                  </a:cubicBezTo>
                  <a:lnTo>
                    <a:pt x="1283" y="8100"/>
                  </a:lnTo>
                  <a:cubicBezTo>
                    <a:pt x="369" y="8462"/>
                    <a:pt x="-260" y="9310"/>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565" name="îṥḻîḋè">
              <a:extLst>
                <a:ext uri="{FF2B5EF4-FFF2-40B4-BE49-F238E27FC236}">
                  <a16:creationId xmlns:a16="http://schemas.microsoft.com/office/drawing/2014/main" id="{BD9F6577-7A32-4088-AE02-AFA877A3A31A}"/>
                </a:ext>
              </a:extLst>
            </p:cNvPr>
            <p:cNvSpPr/>
            <p:nvPr/>
          </p:nvSpPr>
          <p:spPr>
            <a:xfrm>
              <a:off x="5741095" y="4840403"/>
              <a:ext cx="105679" cy="61104"/>
            </a:xfrm>
            <a:custGeom>
              <a:avLst/>
              <a:gdLst>
                <a:gd name="connsiteX0" fmla="*/ 1164 w 34718"/>
                <a:gd name="connsiteY0" fmla="*/ 12006 h 20074"/>
                <a:gd name="connsiteX1" fmla="*/ 13261 w 34718"/>
                <a:gd name="connsiteY1" fmla="*/ 19054 h 20074"/>
                <a:gd name="connsiteX2" fmla="*/ 20690 w 34718"/>
                <a:gd name="connsiteY2" fmla="*/ 19054 h 20074"/>
                <a:gd name="connsiteX3" fmla="*/ 32882 w 34718"/>
                <a:gd name="connsiteY3" fmla="*/ 12006 h 20074"/>
                <a:gd name="connsiteX4" fmla="*/ 32882 w 34718"/>
                <a:gd name="connsiteY4" fmla="*/ 7719 h 20074"/>
                <a:gd name="connsiteX5" fmla="*/ 20690 w 34718"/>
                <a:gd name="connsiteY5" fmla="*/ 766 h 20074"/>
                <a:gd name="connsiteX6" fmla="*/ 13261 w 34718"/>
                <a:gd name="connsiteY6" fmla="*/ 766 h 20074"/>
                <a:gd name="connsiteX7" fmla="*/ 1164 w 34718"/>
                <a:gd name="connsiteY7" fmla="*/ 7719 h 20074"/>
                <a:gd name="connsiteX8" fmla="*/ 1164 w 34718"/>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18" h="20074">
                  <a:moveTo>
                    <a:pt x="1164" y="12006"/>
                  </a:moveTo>
                  <a:lnTo>
                    <a:pt x="13261" y="19054"/>
                  </a:lnTo>
                  <a:cubicBezTo>
                    <a:pt x="15604" y="20197"/>
                    <a:pt x="18347" y="20197"/>
                    <a:pt x="20690" y="19054"/>
                  </a:cubicBezTo>
                  <a:lnTo>
                    <a:pt x="32882" y="12006"/>
                  </a:lnTo>
                  <a:cubicBezTo>
                    <a:pt x="34882" y="10863"/>
                    <a:pt x="34882" y="8958"/>
                    <a:pt x="32882" y="7719"/>
                  </a:cubicBezTo>
                  <a:lnTo>
                    <a:pt x="20690" y="766"/>
                  </a:lnTo>
                  <a:cubicBezTo>
                    <a:pt x="18366" y="-472"/>
                    <a:pt x="15585" y="-472"/>
                    <a:pt x="13261" y="766"/>
                  </a:cubicBezTo>
                  <a:lnTo>
                    <a:pt x="1164" y="7719"/>
                  </a:lnTo>
                  <a:cubicBezTo>
                    <a:pt x="-836" y="8958"/>
                    <a:pt x="-836" y="10863"/>
                    <a:pt x="1164" y="12006"/>
                  </a:cubicBezTo>
                  <a:close/>
                </a:path>
              </a:pathLst>
            </a:custGeom>
            <a:solidFill>
              <a:srgbClr val="D1D9E8"/>
            </a:solidFill>
            <a:ln w="9525" cap="flat">
              <a:noFill/>
              <a:prstDash val="solid"/>
              <a:miter/>
            </a:ln>
          </p:spPr>
          <p:txBody>
            <a:bodyPr rtlCol="0" anchor="ctr"/>
            <a:lstStyle/>
            <a:p>
              <a:endParaRPr lang="zh-CN" altLang="en-US"/>
            </a:p>
          </p:txBody>
        </p:sp>
        <p:sp>
          <p:nvSpPr>
            <p:cNvPr id="566" name="îsḷïde">
              <a:extLst>
                <a:ext uri="{FF2B5EF4-FFF2-40B4-BE49-F238E27FC236}">
                  <a16:creationId xmlns:a16="http://schemas.microsoft.com/office/drawing/2014/main" id="{D771518E-A7C8-4F18-9E03-2096B60E411F}"/>
                </a:ext>
              </a:extLst>
            </p:cNvPr>
            <p:cNvSpPr/>
            <p:nvPr/>
          </p:nvSpPr>
          <p:spPr>
            <a:xfrm>
              <a:off x="5738995" y="4871065"/>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4 w 36099"/>
                <a:gd name="connsiteY6" fmla="*/ 6981 h 17597"/>
                <a:gd name="connsiteX7" fmla="*/ 35764 w 36099"/>
                <a:gd name="connsiteY7" fmla="*/ -163 h 17597"/>
                <a:gd name="connsiteX8" fmla="*/ 34144 w 36099"/>
                <a:gd name="connsiteY8" fmla="*/ 2028 h 17597"/>
                <a:gd name="connsiteX9" fmla="*/ 31858 w 36099"/>
                <a:gd name="connsiteY9" fmla="*/ 3457 h 17597"/>
                <a:gd name="connsiteX10" fmla="*/ 21571 w 36099"/>
                <a:gd name="connsiteY10" fmla="*/ 9267 h 17597"/>
                <a:gd name="connsiteX11" fmla="*/ 13856 w 36099"/>
                <a:gd name="connsiteY11" fmla="*/ 9267 h 17597"/>
                <a:gd name="connsiteX12" fmla="*/ 3569 w 36099"/>
                <a:gd name="connsiteY12" fmla="*/ 3457 h 17597"/>
                <a:gd name="connsiteX13" fmla="*/ 1283 w 36099"/>
                <a:gd name="connsiteY13" fmla="*/ 2028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03" y="8029"/>
                    <a:pt x="407" y="8858"/>
                    <a:pt x="1283" y="9267"/>
                  </a:cubicBezTo>
                  <a:lnTo>
                    <a:pt x="13856" y="16506"/>
                  </a:lnTo>
                  <a:cubicBezTo>
                    <a:pt x="16275" y="17744"/>
                    <a:pt x="19152" y="17744"/>
                    <a:pt x="21571" y="16506"/>
                  </a:cubicBezTo>
                  <a:lnTo>
                    <a:pt x="34144" y="9267"/>
                  </a:lnTo>
                  <a:cubicBezTo>
                    <a:pt x="35030" y="8829"/>
                    <a:pt x="35640" y="7972"/>
                    <a:pt x="35764" y="6981"/>
                  </a:cubicBezTo>
                  <a:lnTo>
                    <a:pt x="35764" y="-163"/>
                  </a:lnTo>
                  <a:cubicBezTo>
                    <a:pt x="35687" y="818"/>
                    <a:pt x="35059" y="1666"/>
                    <a:pt x="34144" y="2028"/>
                  </a:cubicBezTo>
                  <a:lnTo>
                    <a:pt x="31858" y="3457"/>
                  </a:lnTo>
                  <a:lnTo>
                    <a:pt x="21571" y="9267"/>
                  </a:lnTo>
                  <a:cubicBezTo>
                    <a:pt x="19171" y="10610"/>
                    <a:pt x="16256" y="10610"/>
                    <a:pt x="13856" y="9267"/>
                  </a:cubicBezTo>
                  <a:lnTo>
                    <a:pt x="3569" y="3457"/>
                  </a:lnTo>
                  <a:lnTo>
                    <a:pt x="1283" y="2028"/>
                  </a:lnTo>
                  <a:cubicBezTo>
                    <a:pt x="369" y="1666"/>
                    <a:pt x="-26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567" name="ïşľïḋè">
              <a:extLst>
                <a:ext uri="{FF2B5EF4-FFF2-40B4-BE49-F238E27FC236}">
                  <a16:creationId xmlns:a16="http://schemas.microsoft.com/office/drawing/2014/main" id="{935DACAA-3E5B-4163-B912-C24A7DBF2820}"/>
                </a:ext>
              </a:extLst>
            </p:cNvPr>
            <p:cNvSpPr/>
            <p:nvPr/>
          </p:nvSpPr>
          <p:spPr>
            <a:xfrm>
              <a:off x="5816405" y="4883895"/>
              <a:ext cx="109594" cy="63588"/>
            </a:xfrm>
            <a:custGeom>
              <a:avLst/>
              <a:gdLst>
                <a:gd name="connsiteX0" fmla="*/ -336 w 36004"/>
                <a:gd name="connsiteY0" fmla="*/ 10291 h 20890"/>
                <a:gd name="connsiteX1" fmla="*/ 1188 w 36004"/>
                <a:gd name="connsiteY1" fmla="*/ 12482 h 20890"/>
                <a:gd name="connsiteX2" fmla="*/ 3569 w 36004"/>
                <a:gd name="connsiteY2" fmla="*/ 13815 h 20890"/>
                <a:gd name="connsiteX3" fmla="*/ 13856 w 36004"/>
                <a:gd name="connsiteY3" fmla="*/ 19721 h 20890"/>
                <a:gd name="connsiteX4" fmla="*/ 21476 w 36004"/>
                <a:gd name="connsiteY4" fmla="*/ 19721 h 20890"/>
                <a:gd name="connsiteX5" fmla="*/ 31763 w 36004"/>
                <a:gd name="connsiteY5" fmla="*/ 13815 h 20890"/>
                <a:gd name="connsiteX6" fmla="*/ 34144 w 36004"/>
                <a:gd name="connsiteY6" fmla="*/ 12482 h 20890"/>
                <a:gd name="connsiteX7" fmla="*/ 35668 w 36004"/>
                <a:gd name="connsiteY7" fmla="*/ 10291 h 20890"/>
                <a:gd name="connsiteX8" fmla="*/ 34144 w 36004"/>
                <a:gd name="connsiteY8" fmla="*/ 8005 h 20890"/>
                <a:gd name="connsiteX9" fmla="*/ 21476 w 36004"/>
                <a:gd name="connsiteY9" fmla="*/ 766 h 20890"/>
                <a:gd name="connsiteX10" fmla="*/ 13856 w 36004"/>
                <a:gd name="connsiteY10" fmla="*/ 766 h 20890"/>
                <a:gd name="connsiteX11" fmla="*/ 1188 w 36004"/>
                <a:gd name="connsiteY11" fmla="*/ 8005 h 20890"/>
                <a:gd name="connsiteX12" fmla="*/ -336 w 36004"/>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291"/>
                  </a:moveTo>
                  <a:cubicBezTo>
                    <a:pt x="-279" y="11244"/>
                    <a:pt x="312" y="12091"/>
                    <a:pt x="1188" y="12482"/>
                  </a:cubicBezTo>
                  <a:lnTo>
                    <a:pt x="3569" y="13815"/>
                  </a:lnTo>
                  <a:lnTo>
                    <a:pt x="13856" y="19721"/>
                  </a:lnTo>
                  <a:cubicBezTo>
                    <a:pt x="16218" y="21064"/>
                    <a:pt x="19114" y="21064"/>
                    <a:pt x="21476" y="19721"/>
                  </a:cubicBezTo>
                  <a:lnTo>
                    <a:pt x="31763" y="13815"/>
                  </a:lnTo>
                  <a:lnTo>
                    <a:pt x="34144" y="12482"/>
                  </a:lnTo>
                  <a:cubicBezTo>
                    <a:pt x="35021" y="12091"/>
                    <a:pt x="35611" y="11253"/>
                    <a:pt x="35668" y="10291"/>
                  </a:cubicBezTo>
                  <a:cubicBezTo>
                    <a:pt x="35602" y="9310"/>
                    <a:pt x="35021" y="8443"/>
                    <a:pt x="34144" y="8005"/>
                  </a:cubicBezTo>
                  <a:lnTo>
                    <a:pt x="21476" y="766"/>
                  </a:lnTo>
                  <a:cubicBezTo>
                    <a:pt x="19085" y="-472"/>
                    <a:pt x="16247" y="-472"/>
                    <a:pt x="13856" y="766"/>
                  </a:cubicBezTo>
                  <a:lnTo>
                    <a:pt x="1188" y="8005"/>
                  </a:lnTo>
                  <a:cubicBezTo>
                    <a:pt x="312" y="8443"/>
                    <a:pt x="-269" y="9310"/>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568" name="îṣḻidê">
              <a:extLst>
                <a:ext uri="{FF2B5EF4-FFF2-40B4-BE49-F238E27FC236}">
                  <a16:creationId xmlns:a16="http://schemas.microsoft.com/office/drawing/2014/main" id="{640F5F01-860D-4771-B0C5-E82C3BC410F0}"/>
                </a:ext>
              </a:extLst>
            </p:cNvPr>
            <p:cNvSpPr/>
            <p:nvPr/>
          </p:nvSpPr>
          <p:spPr>
            <a:xfrm>
              <a:off x="5818073" y="4885055"/>
              <a:ext cx="105174" cy="61101"/>
            </a:xfrm>
            <a:custGeom>
              <a:avLst/>
              <a:gdLst>
                <a:gd name="connsiteX0" fmla="*/ 1021 w 34552"/>
                <a:gd name="connsiteY0" fmla="*/ 12006 h 20073"/>
                <a:gd name="connsiteX1" fmla="*/ 13118 w 34552"/>
                <a:gd name="connsiteY1" fmla="*/ 19054 h 20073"/>
                <a:gd name="connsiteX2" fmla="*/ 20547 w 34552"/>
                <a:gd name="connsiteY2" fmla="*/ 19054 h 20073"/>
                <a:gd name="connsiteX3" fmla="*/ 32644 w 34552"/>
                <a:gd name="connsiteY3" fmla="*/ 12006 h 20073"/>
                <a:gd name="connsiteX4" fmla="*/ 32644 w 34552"/>
                <a:gd name="connsiteY4" fmla="*/ 7719 h 20073"/>
                <a:gd name="connsiteX5" fmla="*/ 20547 w 34552"/>
                <a:gd name="connsiteY5" fmla="*/ 766 h 20073"/>
                <a:gd name="connsiteX6" fmla="*/ 13118 w 34552"/>
                <a:gd name="connsiteY6" fmla="*/ 766 h 20073"/>
                <a:gd name="connsiteX7" fmla="*/ 1021 w 34552"/>
                <a:gd name="connsiteY7" fmla="*/ 7719 h 20073"/>
                <a:gd name="connsiteX8" fmla="*/ 1021 w 34552"/>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552" h="20073">
                  <a:moveTo>
                    <a:pt x="1021" y="12006"/>
                  </a:moveTo>
                  <a:lnTo>
                    <a:pt x="13118" y="19054"/>
                  </a:lnTo>
                  <a:cubicBezTo>
                    <a:pt x="15461" y="20197"/>
                    <a:pt x="18204" y="20197"/>
                    <a:pt x="20547" y="19054"/>
                  </a:cubicBezTo>
                  <a:lnTo>
                    <a:pt x="32644" y="12006"/>
                  </a:lnTo>
                  <a:cubicBezTo>
                    <a:pt x="34740" y="10863"/>
                    <a:pt x="34740" y="8957"/>
                    <a:pt x="32644" y="7719"/>
                  </a:cubicBezTo>
                  <a:lnTo>
                    <a:pt x="20547" y="766"/>
                  </a:lnTo>
                  <a:cubicBezTo>
                    <a:pt x="18223" y="-472"/>
                    <a:pt x="15442" y="-472"/>
                    <a:pt x="13118" y="766"/>
                  </a:cubicBezTo>
                  <a:lnTo>
                    <a:pt x="1021" y="7719"/>
                  </a:lnTo>
                  <a:cubicBezTo>
                    <a:pt x="-789" y="9339"/>
                    <a:pt x="-789" y="10863"/>
                    <a:pt x="1021" y="12006"/>
                  </a:cubicBezTo>
                  <a:close/>
                </a:path>
              </a:pathLst>
            </a:custGeom>
            <a:solidFill>
              <a:srgbClr val="D1D9E8"/>
            </a:solidFill>
            <a:ln w="9525" cap="flat">
              <a:noFill/>
              <a:prstDash val="solid"/>
              <a:miter/>
            </a:ln>
          </p:spPr>
          <p:txBody>
            <a:bodyPr rtlCol="0" anchor="ctr"/>
            <a:lstStyle/>
            <a:p>
              <a:endParaRPr lang="zh-CN" altLang="en-US"/>
            </a:p>
          </p:txBody>
        </p:sp>
        <p:sp>
          <p:nvSpPr>
            <p:cNvPr id="569" name="îṧļiḓé">
              <a:extLst>
                <a:ext uri="{FF2B5EF4-FFF2-40B4-BE49-F238E27FC236}">
                  <a16:creationId xmlns:a16="http://schemas.microsoft.com/office/drawing/2014/main" id="{AE11A5B9-2885-45AC-B35F-0A6FFCCD5078}"/>
                </a:ext>
              </a:extLst>
            </p:cNvPr>
            <p:cNvSpPr/>
            <p:nvPr/>
          </p:nvSpPr>
          <p:spPr>
            <a:xfrm>
              <a:off x="5816405" y="4915713"/>
              <a:ext cx="109594" cy="53564"/>
            </a:xfrm>
            <a:custGeom>
              <a:avLst/>
              <a:gdLst>
                <a:gd name="connsiteX0" fmla="*/ -336 w 36004"/>
                <a:gd name="connsiteY0" fmla="*/ -163 h 17597"/>
                <a:gd name="connsiteX1" fmla="*/ -336 w 36004"/>
                <a:gd name="connsiteY1" fmla="*/ 6981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028 h 17597"/>
                <a:gd name="connsiteX9" fmla="*/ 31763 w 36004"/>
                <a:gd name="connsiteY9" fmla="*/ 3362 h 17597"/>
                <a:gd name="connsiteX10" fmla="*/ 21476 w 36004"/>
                <a:gd name="connsiteY10" fmla="*/ 9267 h 17597"/>
                <a:gd name="connsiteX11" fmla="*/ 13856 w 36004"/>
                <a:gd name="connsiteY11" fmla="*/ 9267 h 17597"/>
                <a:gd name="connsiteX12" fmla="*/ 3569 w 36004"/>
                <a:gd name="connsiteY12" fmla="*/ 3362 h 17597"/>
                <a:gd name="connsiteX13" fmla="*/ 1188 w 36004"/>
                <a:gd name="connsiteY13" fmla="*/ 2028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6981"/>
                  </a:lnTo>
                  <a:cubicBezTo>
                    <a:pt x="-269" y="7962"/>
                    <a:pt x="312" y="8829"/>
                    <a:pt x="1188" y="9267"/>
                  </a:cubicBezTo>
                  <a:lnTo>
                    <a:pt x="13856" y="16506"/>
                  </a:lnTo>
                  <a:cubicBezTo>
                    <a:pt x="16247" y="17744"/>
                    <a:pt x="19085" y="17744"/>
                    <a:pt x="21476" y="16506"/>
                  </a:cubicBezTo>
                  <a:lnTo>
                    <a:pt x="34144" y="9267"/>
                  </a:lnTo>
                  <a:cubicBezTo>
                    <a:pt x="35011" y="8819"/>
                    <a:pt x="35583" y="7953"/>
                    <a:pt x="35668" y="6981"/>
                  </a:cubicBezTo>
                  <a:lnTo>
                    <a:pt x="35668" y="-163"/>
                  </a:lnTo>
                  <a:cubicBezTo>
                    <a:pt x="35611" y="790"/>
                    <a:pt x="35021" y="1638"/>
                    <a:pt x="34144" y="2028"/>
                  </a:cubicBezTo>
                  <a:lnTo>
                    <a:pt x="31763" y="3362"/>
                  </a:lnTo>
                  <a:lnTo>
                    <a:pt x="21476" y="9267"/>
                  </a:lnTo>
                  <a:cubicBezTo>
                    <a:pt x="19114" y="10610"/>
                    <a:pt x="16218" y="10610"/>
                    <a:pt x="13856" y="9267"/>
                  </a:cubicBezTo>
                  <a:lnTo>
                    <a:pt x="3569" y="3362"/>
                  </a:lnTo>
                  <a:lnTo>
                    <a:pt x="1188" y="2028"/>
                  </a:lnTo>
                  <a:cubicBezTo>
                    <a:pt x="312" y="1638"/>
                    <a:pt x="-279" y="800"/>
                    <a:pt x="-336" y="-163"/>
                  </a:cubicBezTo>
                  <a:close/>
                </a:path>
              </a:pathLst>
            </a:custGeom>
            <a:solidFill>
              <a:srgbClr val="BF4200"/>
            </a:solidFill>
            <a:ln w="9525" cap="flat">
              <a:noFill/>
              <a:prstDash val="solid"/>
              <a:miter/>
            </a:ln>
          </p:spPr>
          <p:txBody>
            <a:bodyPr rtlCol="0" anchor="ctr"/>
            <a:lstStyle/>
            <a:p>
              <a:endParaRPr lang="zh-CN" altLang="en-US"/>
            </a:p>
          </p:txBody>
        </p:sp>
        <p:sp>
          <p:nvSpPr>
            <p:cNvPr id="570" name="îş1iḓé">
              <a:extLst>
                <a:ext uri="{FF2B5EF4-FFF2-40B4-BE49-F238E27FC236}">
                  <a16:creationId xmlns:a16="http://schemas.microsoft.com/office/drawing/2014/main" id="{B9C6AA89-8786-4F58-856F-68DF58DF5F67}"/>
                </a:ext>
              </a:extLst>
            </p:cNvPr>
            <p:cNvSpPr/>
            <p:nvPr/>
          </p:nvSpPr>
          <p:spPr>
            <a:xfrm>
              <a:off x="5893818" y="4928543"/>
              <a:ext cx="109594" cy="63588"/>
            </a:xfrm>
            <a:custGeom>
              <a:avLst/>
              <a:gdLst>
                <a:gd name="connsiteX0" fmla="*/ -336 w 36004"/>
                <a:gd name="connsiteY0" fmla="*/ 10196 h 20890"/>
                <a:gd name="connsiteX1" fmla="*/ 1188 w 36004"/>
                <a:gd name="connsiteY1" fmla="*/ 12482 h 20890"/>
                <a:gd name="connsiteX2" fmla="*/ 3474 w 36004"/>
                <a:gd name="connsiteY2" fmla="*/ 13815 h 20890"/>
                <a:gd name="connsiteX3" fmla="*/ 13761 w 36004"/>
                <a:gd name="connsiteY3" fmla="*/ 19721 h 20890"/>
                <a:gd name="connsiteX4" fmla="*/ 21476 w 36004"/>
                <a:gd name="connsiteY4" fmla="*/ 19721 h 20890"/>
                <a:gd name="connsiteX5" fmla="*/ 31763 w 36004"/>
                <a:gd name="connsiteY5" fmla="*/ 13815 h 20890"/>
                <a:gd name="connsiteX6" fmla="*/ 34049 w 36004"/>
                <a:gd name="connsiteY6" fmla="*/ 12482 h 20890"/>
                <a:gd name="connsiteX7" fmla="*/ 35668 w 36004"/>
                <a:gd name="connsiteY7" fmla="*/ 10196 h 20890"/>
                <a:gd name="connsiteX8" fmla="*/ 34049 w 36004"/>
                <a:gd name="connsiteY8" fmla="*/ 8005 h 20890"/>
                <a:gd name="connsiteX9" fmla="*/ 21476 w 36004"/>
                <a:gd name="connsiteY9" fmla="*/ 766 h 20890"/>
                <a:gd name="connsiteX10" fmla="*/ 13761 w 36004"/>
                <a:gd name="connsiteY10" fmla="*/ 766 h 20890"/>
                <a:gd name="connsiteX11" fmla="*/ 1188 w 36004"/>
                <a:gd name="connsiteY11" fmla="*/ 8005 h 20890"/>
                <a:gd name="connsiteX12" fmla="*/ -336 w 36004"/>
                <a:gd name="connsiteY12" fmla="*/ 10196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196"/>
                  </a:moveTo>
                  <a:cubicBezTo>
                    <a:pt x="-308" y="11186"/>
                    <a:pt x="283" y="12082"/>
                    <a:pt x="1188" y="12482"/>
                  </a:cubicBezTo>
                  <a:lnTo>
                    <a:pt x="3474" y="13815"/>
                  </a:lnTo>
                  <a:lnTo>
                    <a:pt x="13761" y="19721"/>
                  </a:lnTo>
                  <a:cubicBezTo>
                    <a:pt x="16161" y="21064"/>
                    <a:pt x="19076" y="21064"/>
                    <a:pt x="21476" y="19721"/>
                  </a:cubicBezTo>
                  <a:lnTo>
                    <a:pt x="31763" y="13815"/>
                  </a:lnTo>
                  <a:lnTo>
                    <a:pt x="34049" y="12482"/>
                  </a:lnTo>
                  <a:cubicBezTo>
                    <a:pt x="34992" y="12110"/>
                    <a:pt x="35630" y="11215"/>
                    <a:pt x="35668" y="10196"/>
                  </a:cubicBezTo>
                  <a:cubicBezTo>
                    <a:pt x="35573" y="9224"/>
                    <a:pt x="34944" y="8386"/>
                    <a:pt x="34049" y="8005"/>
                  </a:cubicBezTo>
                  <a:lnTo>
                    <a:pt x="21476" y="766"/>
                  </a:lnTo>
                  <a:cubicBezTo>
                    <a:pt x="19057" y="-472"/>
                    <a:pt x="16180" y="-472"/>
                    <a:pt x="13761" y="766"/>
                  </a:cubicBezTo>
                  <a:lnTo>
                    <a:pt x="1188" y="8005"/>
                  </a:lnTo>
                  <a:cubicBezTo>
                    <a:pt x="340" y="8424"/>
                    <a:pt x="-241" y="925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571" name="isḻîďe">
              <a:extLst>
                <a:ext uri="{FF2B5EF4-FFF2-40B4-BE49-F238E27FC236}">
                  <a16:creationId xmlns:a16="http://schemas.microsoft.com/office/drawing/2014/main" id="{4FC6CCDC-4DE5-4F53-875A-10F53FAFB9AC}"/>
                </a:ext>
              </a:extLst>
            </p:cNvPr>
            <p:cNvSpPr/>
            <p:nvPr/>
          </p:nvSpPr>
          <p:spPr>
            <a:xfrm>
              <a:off x="5895659" y="4929703"/>
              <a:ext cx="105618" cy="61101"/>
            </a:xfrm>
            <a:custGeom>
              <a:avLst/>
              <a:gdLst>
                <a:gd name="connsiteX0" fmla="*/ 1154 w 34698"/>
                <a:gd name="connsiteY0" fmla="*/ 12006 h 20073"/>
                <a:gd name="connsiteX1" fmla="*/ 13346 w 34698"/>
                <a:gd name="connsiteY1" fmla="*/ 19054 h 20073"/>
                <a:gd name="connsiteX2" fmla="*/ 20775 w 34698"/>
                <a:gd name="connsiteY2" fmla="*/ 19054 h 20073"/>
                <a:gd name="connsiteX3" fmla="*/ 32872 w 34698"/>
                <a:gd name="connsiteY3" fmla="*/ 12006 h 20073"/>
                <a:gd name="connsiteX4" fmla="*/ 34215 w 34698"/>
                <a:gd name="connsiteY4" fmla="*/ 9072 h 20073"/>
                <a:gd name="connsiteX5" fmla="*/ 32872 w 34698"/>
                <a:gd name="connsiteY5" fmla="*/ 7719 h 20073"/>
                <a:gd name="connsiteX6" fmla="*/ 20775 w 34698"/>
                <a:gd name="connsiteY6" fmla="*/ 766 h 20073"/>
                <a:gd name="connsiteX7" fmla="*/ 13346 w 34698"/>
                <a:gd name="connsiteY7" fmla="*/ 766 h 20073"/>
                <a:gd name="connsiteX8" fmla="*/ 1154 w 34698"/>
                <a:gd name="connsiteY8" fmla="*/ 7719 h 20073"/>
                <a:gd name="connsiteX9" fmla="*/ -189 w 34698"/>
                <a:gd name="connsiteY9" fmla="*/ 10653 h 20073"/>
                <a:gd name="connsiteX10" fmla="*/ 1154 w 34698"/>
                <a:gd name="connsiteY10"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698" h="20073">
                  <a:moveTo>
                    <a:pt x="1154" y="12006"/>
                  </a:moveTo>
                  <a:lnTo>
                    <a:pt x="13346" y="19054"/>
                  </a:lnTo>
                  <a:cubicBezTo>
                    <a:pt x="15689" y="20197"/>
                    <a:pt x="18432" y="20197"/>
                    <a:pt x="20775" y="19054"/>
                  </a:cubicBezTo>
                  <a:lnTo>
                    <a:pt x="32872" y="12006"/>
                  </a:lnTo>
                  <a:cubicBezTo>
                    <a:pt x="34053" y="11567"/>
                    <a:pt x="34663" y="10253"/>
                    <a:pt x="34215" y="9072"/>
                  </a:cubicBezTo>
                  <a:cubicBezTo>
                    <a:pt x="33986" y="8443"/>
                    <a:pt x="33491" y="7948"/>
                    <a:pt x="32872" y="7719"/>
                  </a:cubicBezTo>
                  <a:lnTo>
                    <a:pt x="20775" y="766"/>
                  </a:lnTo>
                  <a:cubicBezTo>
                    <a:pt x="18451" y="-472"/>
                    <a:pt x="15670" y="-472"/>
                    <a:pt x="13346" y="766"/>
                  </a:cubicBezTo>
                  <a:lnTo>
                    <a:pt x="1154" y="7719"/>
                  </a:lnTo>
                  <a:cubicBezTo>
                    <a:pt x="-27" y="8157"/>
                    <a:pt x="-637" y="9472"/>
                    <a:pt x="-189" y="10653"/>
                  </a:cubicBezTo>
                  <a:cubicBezTo>
                    <a:pt x="39" y="11281"/>
                    <a:pt x="535" y="11777"/>
                    <a:pt x="1154" y="12006"/>
                  </a:cubicBezTo>
                  <a:close/>
                </a:path>
              </a:pathLst>
            </a:custGeom>
            <a:solidFill>
              <a:srgbClr val="D1D9E8"/>
            </a:solidFill>
            <a:ln w="9525" cap="flat">
              <a:noFill/>
              <a:prstDash val="solid"/>
              <a:miter/>
            </a:ln>
          </p:spPr>
          <p:txBody>
            <a:bodyPr rtlCol="0" anchor="ctr"/>
            <a:lstStyle/>
            <a:p>
              <a:endParaRPr lang="zh-CN" altLang="en-US"/>
            </a:p>
          </p:txBody>
        </p:sp>
        <p:sp>
          <p:nvSpPr>
            <p:cNvPr id="572" name="îṡ1îdè">
              <a:extLst>
                <a:ext uri="{FF2B5EF4-FFF2-40B4-BE49-F238E27FC236}">
                  <a16:creationId xmlns:a16="http://schemas.microsoft.com/office/drawing/2014/main" id="{DC3669F8-BED4-4BDF-B40F-009C76F0649D}"/>
                </a:ext>
              </a:extLst>
            </p:cNvPr>
            <p:cNvSpPr/>
            <p:nvPr/>
          </p:nvSpPr>
          <p:spPr>
            <a:xfrm>
              <a:off x="5893818" y="4960072"/>
              <a:ext cx="109594" cy="53801"/>
            </a:xfrm>
            <a:custGeom>
              <a:avLst/>
              <a:gdLst>
                <a:gd name="connsiteX0" fmla="*/ -336 w 36004"/>
                <a:gd name="connsiteY0" fmla="*/ -163 h 17675"/>
                <a:gd name="connsiteX1" fmla="*/ -336 w 36004"/>
                <a:gd name="connsiteY1" fmla="*/ 7076 h 17675"/>
                <a:gd name="connsiteX2" fmla="*/ 1188 w 36004"/>
                <a:gd name="connsiteY2" fmla="*/ 9267 h 17675"/>
                <a:gd name="connsiteX3" fmla="*/ 13761 w 36004"/>
                <a:gd name="connsiteY3" fmla="*/ 16506 h 17675"/>
                <a:gd name="connsiteX4" fmla="*/ 21476 w 36004"/>
                <a:gd name="connsiteY4" fmla="*/ 16506 h 17675"/>
                <a:gd name="connsiteX5" fmla="*/ 34049 w 36004"/>
                <a:gd name="connsiteY5" fmla="*/ 9267 h 17675"/>
                <a:gd name="connsiteX6" fmla="*/ 35668 w 36004"/>
                <a:gd name="connsiteY6" fmla="*/ 7076 h 17675"/>
                <a:gd name="connsiteX7" fmla="*/ 35668 w 36004"/>
                <a:gd name="connsiteY7" fmla="*/ -163 h 17675"/>
                <a:gd name="connsiteX8" fmla="*/ 34049 w 36004"/>
                <a:gd name="connsiteY8" fmla="*/ 2123 h 17675"/>
                <a:gd name="connsiteX9" fmla="*/ 31763 w 36004"/>
                <a:gd name="connsiteY9" fmla="*/ 3457 h 17675"/>
                <a:gd name="connsiteX10" fmla="*/ 21476 w 36004"/>
                <a:gd name="connsiteY10" fmla="*/ 9362 h 17675"/>
                <a:gd name="connsiteX11" fmla="*/ 13761 w 36004"/>
                <a:gd name="connsiteY11" fmla="*/ 9362 h 17675"/>
                <a:gd name="connsiteX12" fmla="*/ 3474 w 36004"/>
                <a:gd name="connsiteY12" fmla="*/ 3457 h 17675"/>
                <a:gd name="connsiteX13" fmla="*/ 1188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98" y="8038"/>
                    <a:pt x="292" y="8896"/>
                    <a:pt x="1188" y="9267"/>
                  </a:cubicBezTo>
                  <a:lnTo>
                    <a:pt x="13761" y="16506"/>
                  </a:lnTo>
                  <a:cubicBezTo>
                    <a:pt x="16161" y="17849"/>
                    <a:pt x="19076" y="17849"/>
                    <a:pt x="21476" y="16506"/>
                  </a:cubicBezTo>
                  <a:lnTo>
                    <a:pt x="34049" y="9267"/>
                  </a:lnTo>
                  <a:cubicBezTo>
                    <a:pt x="34963" y="8905"/>
                    <a:pt x="35592" y="8058"/>
                    <a:pt x="35668" y="7076"/>
                  </a:cubicBezTo>
                  <a:lnTo>
                    <a:pt x="35668" y="-163"/>
                  </a:lnTo>
                  <a:cubicBezTo>
                    <a:pt x="35630" y="856"/>
                    <a:pt x="34992" y="1752"/>
                    <a:pt x="34049" y="2123"/>
                  </a:cubicBezTo>
                  <a:lnTo>
                    <a:pt x="31763" y="3457"/>
                  </a:lnTo>
                  <a:lnTo>
                    <a:pt x="21476" y="9362"/>
                  </a:lnTo>
                  <a:cubicBezTo>
                    <a:pt x="19076" y="10705"/>
                    <a:pt x="16161" y="10705"/>
                    <a:pt x="13761" y="9362"/>
                  </a:cubicBezTo>
                  <a:lnTo>
                    <a:pt x="3474" y="3457"/>
                  </a:lnTo>
                  <a:lnTo>
                    <a:pt x="1188" y="2123"/>
                  </a:lnTo>
                  <a:cubicBezTo>
                    <a:pt x="283" y="1723"/>
                    <a:pt x="-308"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573" name="íšḷïďê">
              <a:extLst>
                <a:ext uri="{FF2B5EF4-FFF2-40B4-BE49-F238E27FC236}">
                  <a16:creationId xmlns:a16="http://schemas.microsoft.com/office/drawing/2014/main" id="{39E2F128-1EE1-431C-BC46-57855AB8F697}"/>
                </a:ext>
              </a:extLst>
            </p:cNvPr>
            <p:cNvSpPr/>
            <p:nvPr/>
          </p:nvSpPr>
          <p:spPr>
            <a:xfrm>
              <a:off x="5970942" y="4973195"/>
              <a:ext cx="109740" cy="63350"/>
            </a:xfrm>
            <a:custGeom>
              <a:avLst/>
              <a:gdLst>
                <a:gd name="connsiteX0" fmla="*/ -336 w 36052"/>
                <a:gd name="connsiteY0" fmla="*/ 10196 h 20812"/>
                <a:gd name="connsiteX1" fmla="*/ 1188 w 36052"/>
                <a:gd name="connsiteY1" fmla="*/ 12482 h 20812"/>
                <a:gd name="connsiteX2" fmla="*/ 3569 w 36052"/>
                <a:gd name="connsiteY2" fmla="*/ 13815 h 20812"/>
                <a:gd name="connsiteX3" fmla="*/ 13856 w 36052"/>
                <a:gd name="connsiteY3" fmla="*/ 19721 h 20812"/>
                <a:gd name="connsiteX4" fmla="*/ 21476 w 36052"/>
                <a:gd name="connsiteY4" fmla="*/ 19721 h 20812"/>
                <a:gd name="connsiteX5" fmla="*/ 31763 w 36052"/>
                <a:gd name="connsiteY5" fmla="*/ 13815 h 20812"/>
                <a:gd name="connsiteX6" fmla="*/ 34144 w 36052"/>
                <a:gd name="connsiteY6" fmla="*/ 12482 h 20812"/>
                <a:gd name="connsiteX7" fmla="*/ 35573 w 36052"/>
                <a:gd name="connsiteY7" fmla="*/ 9434 h 20812"/>
                <a:gd name="connsiteX8" fmla="*/ 34144 w 36052"/>
                <a:gd name="connsiteY8" fmla="*/ 8005 h 20812"/>
                <a:gd name="connsiteX9" fmla="*/ 21476 w 36052"/>
                <a:gd name="connsiteY9" fmla="*/ 766 h 20812"/>
                <a:gd name="connsiteX10" fmla="*/ 13856 w 36052"/>
                <a:gd name="connsiteY10" fmla="*/ 766 h 20812"/>
                <a:gd name="connsiteX11" fmla="*/ 1188 w 36052"/>
                <a:gd name="connsiteY11" fmla="*/ 8005 h 20812"/>
                <a:gd name="connsiteX12" fmla="*/ -336 w 36052"/>
                <a:gd name="connsiteY12" fmla="*/ 10196 h 20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12">
                  <a:moveTo>
                    <a:pt x="-336" y="10196"/>
                  </a:moveTo>
                  <a:cubicBezTo>
                    <a:pt x="-270" y="11177"/>
                    <a:pt x="311" y="12044"/>
                    <a:pt x="1188" y="12482"/>
                  </a:cubicBezTo>
                  <a:lnTo>
                    <a:pt x="3569" y="13815"/>
                  </a:lnTo>
                  <a:lnTo>
                    <a:pt x="13856" y="19721"/>
                  </a:lnTo>
                  <a:cubicBezTo>
                    <a:pt x="16247" y="20959"/>
                    <a:pt x="19085" y="20959"/>
                    <a:pt x="21476" y="19721"/>
                  </a:cubicBezTo>
                  <a:lnTo>
                    <a:pt x="31763" y="13815"/>
                  </a:lnTo>
                  <a:lnTo>
                    <a:pt x="34144" y="12482"/>
                  </a:lnTo>
                  <a:cubicBezTo>
                    <a:pt x="35382" y="12034"/>
                    <a:pt x="36020" y="10662"/>
                    <a:pt x="35573" y="9434"/>
                  </a:cubicBezTo>
                  <a:cubicBezTo>
                    <a:pt x="35325" y="8767"/>
                    <a:pt x="34811" y="8243"/>
                    <a:pt x="34144" y="8005"/>
                  </a:cubicBezTo>
                  <a:lnTo>
                    <a:pt x="21476" y="766"/>
                  </a:lnTo>
                  <a:cubicBezTo>
                    <a:pt x="19085" y="-472"/>
                    <a:pt x="16247" y="-472"/>
                    <a:pt x="13856" y="766"/>
                  </a:cubicBezTo>
                  <a:lnTo>
                    <a:pt x="1188" y="8005"/>
                  </a:lnTo>
                  <a:cubicBezTo>
                    <a:pt x="340" y="8424"/>
                    <a:pt x="-241" y="925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574" name="iṥļidé">
              <a:extLst>
                <a:ext uri="{FF2B5EF4-FFF2-40B4-BE49-F238E27FC236}">
                  <a16:creationId xmlns:a16="http://schemas.microsoft.com/office/drawing/2014/main" id="{C6870AF5-C71C-4741-A1DD-5A5EA3F0EF1C}"/>
                </a:ext>
              </a:extLst>
            </p:cNvPr>
            <p:cNvSpPr/>
            <p:nvPr/>
          </p:nvSpPr>
          <p:spPr>
            <a:xfrm>
              <a:off x="5973073" y="4974281"/>
              <a:ext cx="105618" cy="61174"/>
            </a:xfrm>
            <a:custGeom>
              <a:avLst/>
              <a:gdLst>
                <a:gd name="connsiteX0" fmla="*/ 1154 w 34698"/>
                <a:gd name="connsiteY0" fmla="*/ 12029 h 20097"/>
                <a:gd name="connsiteX1" fmla="*/ 13251 w 34698"/>
                <a:gd name="connsiteY1" fmla="*/ 19078 h 20097"/>
                <a:gd name="connsiteX2" fmla="*/ 20680 w 34698"/>
                <a:gd name="connsiteY2" fmla="*/ 19078 h 20097"/>
                <a:gd name="connsiteX3" fmla="*/ 32872 w 34698"/>
                <a:gd name="connsiteY3" fmla="*/ 12029 h 20097"/>
                <a:gd name="connsiteX4" fmla="*/ 34215 w 34698"/>
                <a:gd name="connsiteY4" fmla="*/ 9086 h 20097"/>
                <a:gd name="connsiteX5" fmla="*/ 32872 w 34698"/>
                <a:gd name="connsiteY5" fmla="*/ 7743 h 20097"/>
                <a:gd name="connsiteX6" fmla="*/ 20680 w 34698"/>
                <a:gd name="connsiteY6" fmla="*/ 695 h 20097"/>
                <a:gd name="connsiteX7" fmla="*/ 13251 w 34698"/>
                <a:gd name="connsiteY7" fmla="*/ 695 h 20097"/>
                <a:gd name="connsiteX8" fmla="*/ 1154 w 34698"/>
                <a:gd name="connsiteY8" fmla="*/ 7743 h 20097"/>
                <a:gd name="connsiteX9" fmla="*/ -189 w 34698"/>
                <a:gd name="connsiteY9" fmla="*/ 10686 h 20097"/>
                <a:gd name="connsiteX10" fmla="*/ 1154 w 34698"/>
                <a:gd name="connsiteY10" fmla="*/ 12029 h 20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698" h="20097">
                  <a:moveTo>
                    <a:pt x="1154" y="12029"/>
                  </a:moveTo>
                  <a:lnTo>
                    <a:pt x="13251" y="19078"/>
                  </a:lnTo>
                  <a:cubicBezTo>
                    <a:pt x="15594" y="20221"/>
                    <a:pt x="18337" y="20221"/>
                    <a:pt x="20680" y="19078"/>
                  </a:cubicBezTo>
                  <a:lnTo>
                    <a:pt x="32872" y="12029"/>
                  </a:lnTo>
                  <a:cubicBezTo>
                    <a:pt x="34053" y="11591"/>
                    <a:pt x="34663" y="10277"/>
                    <a:pt x="34215" y="9086"/>
                  </a:cubicBezTo>
                  <a:cubicBezTo>
                    <a:pt x="33987" y="8467"/>
                    <a:pt x="33491" y="7972"/>
                    <a:pt x="32872" y="7743"/>
                  </a:cubicBezTo>
                  <a:lnTo>
                    <a:pt x="20680" y="695"/>
                  </a:lnTo>
                  <a:cubicBezTo>
                    <a:pt x="18337" y="-448"/>
                    <a:pt x="15594" y="-448"/>
                    <a:pt x="13251" y="695"/>
                  </a:cubicBezTo>
                  <a:lnTo>
                    <a:pt x="1154" y="7743"/>
                  </a:lnTo>
                  <a:cubicBezTo>
                    <a:pt x="-27" y="8181"/>
                    <a:pt x="-637" y="9496"/>
                    <a:pt x="-189" y="10686"/>
                  </a:cubicBezTo>
                  <a:cubicBezTo>
                    <a:pt x="40" y="11305"/>
                    <a:pt x="525" y="11801"/>
                    <a:pt x="1154" y="12029"/>
                  </a:cubicBezTo>
                  <a:close/>
                </a:path>
              </a:pathLst>
            </a:custGeom>
            <a:solidFill>
              <a:srgbClr val="D1D9E8"/>
            </a:solidFill>
            <a:ln w="9525" cap="flat">
              <a:noFill/>
              <a:prstDash val="solid"/>
              <a:miter/>
            </a:ln>
          </p:spPr>
          <p:txBody>
            <a:bodyPr rtlCol="0" anchor="ctr"/>
            <a:lstStyle/>
            <a:p>
              <a:endParaRPr lang="zh-CN" altLang="en-US"/>
            </a:p>
          </p:txBody>
        </p:sp>
        <p:sp>
          <p:nvSpPr>
            <p:cNvPr id="575" name="ïślíḋe">
              <a:extLst>
                <a:ext uri="{FF2B5EF4-FFF2-40B4-BE49-F238E27FC236}">
                  <a16:creationId xmlns:a16="http://schemas.microsoft.com/office/drawing/2014/main" id="{0F4A4764-9F9D-49CE-9DD8-4EC0046E8AE2}"/>
                </a:ext>
              </a:extLst>
            </p:cNvPr>
            <p:cNvSpPr/>
            <p:nvPr/>
          </p:nvSpPr>
          <p:spPr>
            <a:xfrm>
              <a:off x="5970942" y="5004724"/>
              <a:ext cx="109594" cy="53801"/>
            </a:xfrm>
            <a:custGeom>
              <a:avLst/>
              <a:gdLst>
                <a:gd name="connsiteX0" fmla="*/ -336 w 36004"/>
                <a:gd name="connsiteY0" fmla="*/ -163 h 17675"/>
                <a:gd name="connsiteX1" fmla="*/ -336 w 36004"/>
                <a:gd name="connsiteY1" fmla="*/ 7076 h 17675"/>
                <a:gd name="connsiteX2" fmla="*/ 1188 w 36004"/>
                <a:gd name="connsiteY2" fmla="*/ 9267 h 17675"/>
                <a:gd name="connsiteX3" fmla="*/ 13856 w 36004"/>
                <a:gd name="connsiteY3" fmla="*/ 16506 h 17675"/>
                <a:gd name="connsiteX4" fmla="*/ 21476 w 36004"/>
                <a:gd name="connsiteY4" fmla="*/ 16506 h 17675"/>
                <a:gd name="connsiteX5" fmla="*/ 34144 w 36004"/>
                <a:gd name="connsiteY5" fmla="*/ 9267 h 17675"/>
                <a:gd name="connsiteX6" fmla="*/ 35668 w 36004"/>
                <a:gd name="connsiteY6" fmla="*/ 7076 h 17675"/>
                <a:gd name="connsiteX7" fmla="*/ 35668 w 36004"/>
                <a:gd name="connsiteY7" fmla="*/ -163 h 17675"/>
                <a:gd name="connsiteX8" fmla="*/ 34144 w 36004"/>
                <a:gd name="connsiteY8" fmla="*/ 2123 h 17675"/>
                <a:gd name="connsiteX9" fmla="*/ 31763 w 36004"/>
                <a:gd name="connsiteY9" fmla="*/ 3457 h 17675"/>
                <a:gd name="connsiteX10" fmla="*/ 21476 w 36004"/>
                <a:gd name="connsiteY10" fmla="*/ 9362 h 17675"/>
                <a:gd name="connsiteX11" fmla="*/ 13856 w 36004"/>
                <a:gd name="connsiteY11" fmla="*/ 9362 h 17675"/>
                <a:gd name="connsiteX12" fmla="*/ 3569 w 36004"/>
                <a:gd name="connsiteY12" fmla="*/ 3457 h 17675"/>
                <a:gd name="connsiteX13" fmla="*/ 1188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79" y="8038"/>
                    <a:pt x="311" y="8877"/>
                    <a:pt x="1188" y="9267"/>
                  </a:cubicBezTo>
                  <a:lnTo>
                    <a:pt x="13856" y="16506"/>
                  </a:lnTo>
                  <a:cubicBezTo>
                    <a:pt x="16218" y="17849"/>
                    <a:pt x="19114" y="17849"/>
                    <a:pt x="21476" y="16506"/>
                  </a:cubicBezTo>
                  <a:lnTo>
                    <a:pt x="34144" y="9267"/>
                  </a:lnTo>
                  <a:cubicBezTo>
                    <a:pt x="35021" y="8877"/>
                    <a:pt x="35611" y="8038"/>
                    <a:pt x="35668" y="7076"/>
                  </a:cubicBezTo>
                  <a:lnTo>
                    <a:pt x="35668" y="-163"/>
                  </a:lnTo>
                  <a:cubicBezTo>
                    <a:pt x="35602" y="818"/>
                    <a:pt x="35021" y="1685"/>
                    <a:pt x="34144" y="2123"/>
                  </a:cubicBezTo>
                  <a:lnTo>
                    <a:pt x="31763" y="3457"/>
                  </a:lnTo>
                  <a:lnTo>
                    <a:pt x="21476" y="9362"/>
                  </a:lnTo>
                  <a:cubicBezTo>
                    <a:pt x="19085" y="10601"/>
                    <a:pt x="16247" y="10601"/>
                    <a:pt x="13856" y="9362"/>
                  </a:cubicBezTo>
                  <a:lnTo>
                    <a:pt x="3569" y="3457"/>
                  </a:lnTo>
                  <a:lnTo>
                    <a:pt x="1188"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576" name="iṥlîḓe">
              <a:extLst>
                <a:ext uri="{FF2B5EF4-FFF2-40B4-BE49-F238E27FC236}">
                  <a16:creationId xmlns:a16="http://schemas.microsoft.com/office/drawing/2014/main" id="{A21BA53E-C038-4BE7-82E0-B7375199128F}"/>
                </a:ext>
              </a:extLst>
            </p:cNvPr>
            <p:cNvSpPr/>
            <p:nvPr/>
          </p:nvSpPr>
          <p:spPr>
            <a:xfrm>
              <a:off x="6048352" y="5017749"/>
              <a:ext cx="109740" cy="63442"/>
            </a:xfrm>
            <a:custGeom>
              <a:avLst/>
              <a:gdLst>
                <a:gd name="connsiteX0" fmla="*/ -336 w 36052"/>
                <a:gd name="connsiteY0" fmla="*/ 10227 h 20842"/>
                <a:gd name="connsiteX1" fmla="*/ 1188 w 36052"/>
                <a:gd name="connsiteY1" fmla="*/ 12513 h 20842"/>
                <a:gd name="connsiteX2" fmla="*/ 3569 w 36052"/>
                <a:gd name="connsiteY2" fmla="*/ 13846 h 20842"/>
                <a:gd name="connsiteX3" fmla="*/ 13856 w 36052"/>
                <a:gd name="connsiteY3" fmla="*/ 19752 h 20842"/>
                <a:gd name="connsiteX4" fmla="*/ 21476 w 36052"/>
                <a:gd name="connsiteY4" fmla="*/ 19752 h 20842"/>
                <a:gd name="connsiteX5" fmla="*/ 31763 w 36052"/>
                <a:gd name="connsiteY5" fmla="*/ 13846 h 20842"/>
                <a:gd name="connsiteX6" fmla="*/ 34144 w 36052"/>
                <a:gd name="connsiteY6" fmla="*/ 12513 h 20842"/>
                <a:gd name="connsiteX7" fmla="*/ 35573 w 36052"/>
                <a:gd name="connsiteY7" fmla="*/ 9465 h 20842"/>
                <a:gd name="connsiteX8" fmla="*/ 34144 w 36052"/>
                <a:gd name="connsiteY8" fmla="*/ 8036 h 20842"/>
                <a:gd name="connsiteX9" fmla="*/ 21476 w 36052"/>
                <a:gd name="connsiteY9" fmla="*/ 702 h 20842"/>
                <a:gd name="connsiteX10" fmla="*/ 13856 w 36052"/>
                <a:gd name="connsiteY10" fmla="*/ 702 h 20842"/>
                <a:gd name="connsiteX11" fmla="*/ 1188 w 36052"/>
                <a:gd name="connsiteY11" fmla="*/ 8036 h 20842"/>
                <a:gd name="connsiteX12" fmla="*/ -336 w 36052"/>
                <a:gd name="connsiteY12" fmla="*/ 10227 h 20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2">
                  <a:moveTo>
                    <a:pt x="-336" y="10227"/>
                  </a:moveTo>
                  <a:cubicBezTo>
                    <a:pt x="-269" y="11208"/>
                    <a:pt x="312" y="12075"/>
                    <a:pt x="1188" y="12513"/>
                  </a:cubicBezTo>
                  <a:lnTo>
                    <a:pt x="3569" y="13846"/>
                  </a:lnTo>
                  <a:lnTo>
                    <a:pt x="13856" y="19752"/>
                  </a:lnTo>
                  <a:cubicBezTo>
                    <a:pt x="16247" y="20990"/>
                    <a:pt x="19085" y="20990"/>
                    <a:pt x="21476" y="19752"/>
                  </a:cubicBezTo>
                  <a:lnTo>
                    <a:pt x="31763" y="13846"/>
                  </a:lnTo>
                  <a:lnTo>
                    <a:pt x="34144" y="12513"/>
                  </a:lnTo>
                  <a:cubicBezTo>
                    <a:pt x="35382" y="12065"/>
                    <a:pt x="36021" y="10693"/>
                    <a:pt x="35573" y="9465"/>
                  </a:cubicBezTo>
                  <a:cubicBezTo>
                    <a:pt x="35325" y="8798"/>
                    <a:pt x="34811" y="8274"/>
                    <a:pt x="34144"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577" name="ísļïḍé">
              <a:extLst>
                <a:ext uri="{FF2B5EF4-FFF2-40B4-BE49-F238E27FC236}">
                  <a16:creationId xmlns:a16="http://schemas.microsoft.com/office/drawing/2014/main" id="{64555E74-C9E7-4A37-98AF-571D048AC279}"/>
                </a:ext>
              </a:extLst>
            </p:cNvPr>
            <p:cNvSpPr/>
            <p:nvPr/>
          </p:nvSpPr>
          <p:spPr>
            <a:xfrm>
              <a:off x="6050020" y="5018930"/>
              <a:ext cx="105463" cy="61104"/>
            </a:xfrm>
            <a:custGeom>
              <a:avLst/>
              <a:gdLst>
                <a:gd name="connsiteX0" fmla="*/ 1021 w 34647"/>
                <a:gd name="connsiteY0" fmla="*/ 12029 h 20074"/>
                <a:gd name="connsiteX1" fmla="*/ 13213 w 34647"/>
                <a:gd name="connsiteY1" fmla="*/ 18983 h 20074"/>
                <a:gd name="connsiteX2" fmla="*/ 20642 w 34647"/>
                <a:gd name="connsiteY2" fmla="*/ 18983 h 20074"/>
                <a:gd name="connsiteX3" fmla="*/ 32739 w 34647"/>
                <a:gd name="connsiteY3" fmla="*/ 12029 h 20074"/>
                <a:gd name="connsiteX4" fmla="*/ 32739 w 34647"/>
                <a:gd name="connsiteY4" fmla="*/ 7743 h 20074"/>
                <a:gd name="connsiteX5" fmla="*/ 20642 w 34647"/>
                <a:gd name="connsiteY5" fmla="*/ 695 h 20074"/>
                <a:gd name="connsiteX6" fmla="*/ 13213 w 34647"/>
                <a:gd name="connsiteY6" fmla="*/ 695 h 20074"/>
                <a:gd name="connsiteX7" fmla="*/ 1021 w 34647"/>
                <a:gd name="connsiteY7" fmla="*/ 7743 h 20074"/>
                <a:gd name="connsiteX8" fmla="*/ 1021 w 34647"/>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647" h="20074">
                  <a:moveTo>
                    <a:pt x="1021" y="12029"/>
                  </a:moveTo>
                  <a:lnTo>
                    <a:pt x="13213" y="18983"/>
                  </a:lnTo>
                  <a:cubicBezTo>
                    <a:pt x="15537" y="20221"/>
                    <a:pt x="18318" y="20221"/>
                    <a:pt x="20642" y="18983"/>
                  </a:cubicBezTo>
                  <a:lnTo>
                    <a:pt x="32739" y="12029"/>
                  </a:lnTo>
                  <a:cubicBezTo>
                    <a:pt x="34835" y="10791"/>
                    <a:pt x="34835" y="8886"/>
                    <a:pt x="32739" y="7743"/>
                  </a:cubicBezTo>
                  <a:lnTo>
                    <a:pt x="20642" y="695"/>
                  </a:lnTo>
                  <a:cubicBezTo>
                    <a:pt x="18299" y="-448"/>
                    <a:pt x="15556" y="-448"/>
                    <a:pt x="13213" y="695"/>
                  </a:cubicBezTo>
                  <a:lnTo>
                    <a:pt x="1021" y="7743"/>
                  </a:lnTo>
                  <a:cubicBezTo>
                    <a:pt x="-789" y="8886"/>
                    <a:pt x="-789" y="10791"/>
                    <a:pt x="1021" y="12029"/>
                  </a:cubicBezTo>
                  <a:close/>
                </a:path>
              </a:pathLst>
            </a:custGeom>
            <a:solidFill>
              <a:srgbClr val="D1D9E8"/>
            </a:solidFill>
            <a:ln w="9525" cap="flat">
              <a:noFill/>
              <a:prstDash val="solid"/>
              <a:miter/>
            </a:ln>
          </p:spPr>
          <p:txBody>
            <a:bodyPr rtlCol="0" anchor="ctr"/>
            <a:lstStyle/>
            <a:p>
              <a:endParaRPr lang="zh-CN" altLang="en-US"/>
            </a:p>
          </p:txBody>
        </p:sp>
        <p:sp>
          <p:nvSpPr>
            <p:cNvPr id="578" name="îşḷiďê">
              <a:extLst>
                <a:ext uri="{FF2B5EF4-FFF2-40B4-BE49-F238E27FC236}">
                  <a16:creationId xmlns:a16="http://schemas.microsoft.com/office/drawing/2014/main" id="{807FC88A-3169-46F4-9DA1-9F6C5E16B654}"/>
                </a:ext>
              </a:extLst>
            </p:cNvPr>
            <p:cNvSpPr/>
            <p:nvPr/>
          </p:nvSpPr>
          <p:spPr>
            <a:xfrm>
              <a:off x="6048352" y="5049375"/>
              <a:ext cx="109594" cy="53801"/>
            </a:xfrm>
            <a:custGeom>
              <a:avLst/>
              <a:gdLst>
                <a:gd name="connsiteX0" fmla="*/ -336 w 36004"/>
                <a:gd name="connsiteY0" fmla="*/ -163 h 17675"/>
                <a:gd name="connsiteX1" fmla="*/ -336 w 36004"/>
                <a:gd name="connsiteY1" fmla="*/ 7076 h 17675"/>
                <a:gd name="connsiteX2" fmla="*/ 1188 w 36004"/>
                <a:gd name="connsiteY2" fmla="*/ 9267 h 17675"/>
                <a:gd name="connsiteX3" fmla="*/ 13856 w 36004"/>
                <a:gd name="connsiteY3" fmla="*/ 16506 h 17675"/>
                <a:gd name="connsiteX4" fmla="*/ 21476 w 36004"/>
                <a:gd name="connsiteY4" fmla="*/ 16506 h 17675"/>
                <a:gd name="connsiteX5" fmla="*/ 34144 w 36004"/>
                <a:gd name="connsiteY5" fmla="*/ 9267 h 17675"/>
                <a:gd name="connsiteX6" fmla="*/ 35668 w 36004"/>
                <a:gd name="connsiteY6" fmla="*/ 6981 h 17675"/>
                <a:gd name="connsiteX7" fmla="*/ 35668 w 36004"/>
                <a:gd name="connsiteY7" fmla="*/ -163 h 17675"/>
                <a:gd name="connsiteX8" fmla="*/ 34144 w 36004"/>
                <a:gd name="connsiteY8" fmla="*/ 2123 h 17675"/>
                <a:gd name="connsiteX9" fmla="*/ 31763 w 36004"/>
                <a:gd name="connsiteY9" fmla="*/ 3457 h 17675"/>
                <a:gd name="connsiteX10" fmla="*/ 21476 w 36004"/>
                <a:gd name="connsiteY10" fmla="*/ 9362 h 17675"/>
                <a:gd name="connsiteX11" fmla="*/ 13856 w 36004"/>
                <a:gd name="connsiteY11" fmla="*/ 9362 h 17675"/>
                <a:gd name="connsiteX12" fmla="*/ 3569 w 36004"/>
                <a:gd name="connsiteY12" fmla="*/ 3457 h 17675"/>
                <a:gd name="connsiteX13" fmla="*/ 1188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79" y="8029"/>
                    <a:pt x="312" y="8876"/>
                    <a:pt x="1188" y="9267"/>
                  </a:cubicBezTo>
                  <a:lnTo>
                    <a:pt x="13856" y="16506"/>
                  </a:lnTo>
                  <a:cubicBezTo>
                    <a:pt x="16218" y="17849"/>
                    <a:pt x="19114" y="17849"/>
                    <a:pt x="21476" y="16506"/>
                  </a:cubicBezTo>
                  <a:lnTo>
                    <a:pt x="34144" y="9267"/>
                  </a:lnTo>
                  <a:cubicBezTo>
                    <a:pt x="35049" y="8867"/>
                    <a:pt x="35640" y="7971"/>
                    <a:pt x="35668" y="6981"/>
                  </a:cubicBezTo>
                  <a:lnTo>
                    <a:pt x="35668" y="-163"/>
                  </a:lnTo>
                  <a:cubicBezTo>
                    <a:pt x="35602" y="818"/>
                    <a:pt x="35021" y="1685"/>
                    <a:pt x="34144" y="2123"/>
                  </a:cubicBezTo>
                  <a:lnTo>
                    <a:pt x="31763" y="3457"/>
                  </a:lnTo>
                  <a:lnTo>
                    <a:pt x="21476" y="9362"/>
                  </a:lnTo>
                  <a:cubicBezTo>
                    <a:pt x="19085" y="10600"/>
                    <a:pt x="16247" y="10600"/>
                    <a:pt x="13856" y="9362"/>
                  </a:cubicBezTo>
                  <a:lnTo>
                    <a:pt x="3569" y="3457"/>
                  </a:lnTo>
                  <a:lnTo>
                    <a:pt x="1188" y="2123"/>
                  </a:lnTo>
                  <a:cubicBezTo>
                    <a:pt x="312"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579" name="ïṧḻíde">
              <a:extLst>
                <a:ext uri="{FF2B5EF4-FFF2-40B4-BE49-F238E27FC236}">
                  <a16:creationId xmlns:a16="http://schemas.microsoft.com/office/drawing/2014/main" id="{1261BA01-36F4-4554-8667-98B7167D33B7}"/>
                </a:ext>
              </a:extLst>
            </p:cNvPr>
            <p:cNvSpPr/>
            <p:nvPr/>
          </p:nvSpPr>
          <p:spPr>
            <a:xfrm>
              <a:off x="6125476" y="5062202"/>
              <a:ext cx="109362" cy="63588"/>
            </a:xfrm>
            <a:custGeom>
              <a:avLst/>
              <a:gdLst>
                <a:gd name="connsiteX0" fmla="*/ -336 w 35928"/>
                <a:gd name="connsiteY0" fmla="*/ 10291 h 20890"/>
                <a:gd name="connsiteX1" fmla="*/ 1283 w 35928"/>
                <a:gd name="connsiteY1" fmla="*/ 12482 h 20890"/>
                <a:gd name="connsiteX2" fmla="*/ 3569 w 35928"/>
                <a:gd name="connsiteY2" fmla="*/ 13911 h 20890"/>
                <a:gd name="connsiteX3" fmla="*/ 13856 w 35928"/>
                <a:gd name="connsiteY3" fmla="*/ 19721 h 20890"/>
                <a:gd name="connsiteX4" fmla="*/ 21571 w 35928"/>
                <a:gd name="connsiteY4" fmla="*/ 19721 h 20890"/>
                <a:gd name="connsiteX5" fmla="*/ 31858 w 35928"/>
                <a:gd name="connsiteY5" fmla="*/ 13911 h 20890"/>
                <a:gd name="connsiteX6" fmla="*/ 34144 w 35928"/>
                <a:gd name="connsiteY6" fmla="*/ 12482 h 20890"/>
                <a:gd name="connsiteX7" fmla="*/ 35402 w 35928"/>
                <a:gd name="connsiteY7" fmla="*/ 9358 h 20890"/>
                <a:gd name="connsiteX8" fmla="*/ 34144 w 35928"/>
                <a:gd name="connsiteY8" fmla="*/ 8101 h 20890"/>
                <a:gd name="connsiteX9" fmla="*/ 21571 w 35928"/>
                <a:gd name="connsiteY9" fmla="*/ 766 h 20890"/>
                <a:gd name="connsiteX10" fmla="*/ 13856 w 35928"/>
                <a:gd name="connsiteY10" fmla="*/ 766 h 20890"/>
                <a:gd name="connsiteX11" fmla="*/ 1283 w 35928"/>
                <a:gd name="connsiteY11" fmla="*/ 8101 h 20890"/>
                <a:gd name="connsiteX12" fmla="*/ -336 w 35928"/>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928" h="20890">
                  <a:moveTo>
                    <a:pt x="-336" y="10291"/>
                  </a:moveTo>
                  <a:cubicBezTo>
                    <a:pt x="-279" y="11282"/>
                    <a:pt x="350" y="12139"/>
                    <a:pt x="1283" y="12482"/>
                  </a:cubicBezTo>
                  <a:lnTo>
                    <a:pt x="3569" y="13911"/>
                  </a:lnTo>
                  <a:lnTo>
                    <a:pt x="13856" y="19721"/>
                  </a:lnTo>
                  <a:cubicBezTo>
                    <a:pt x="16256" y="21064"/>
                    <a:pt x="19171" y="21064"/>
                    <a:pt x="21571" y="19721"/>
                  </a:cubicBezTo>
                  <a:lnTo>
                    <a:pt x="31858" y="13911"/>
                  </a:lnTo>
                  <a:lnTo>
                    <a:pt x="34144" y="12482"/>
                  </a:lnTo>
                  <a:cubicBezTo>
                    <a:pt x="35354" y="11967"/>
                    <a:pt x="35916" y="10568"/>
                    <a:pt x="35402" y="9358"/>
                  </a:cubicBezTo>
                  <a:cubicBezTo>
                    <a:pt x="35164" y="8796"/>
                    <a:pt x="34706" y="8339"/>
                    <a:pt x="34144" y="8101"/>
                  </a:cubicBezTo>
                  <a:lnTo>
                    <a:pt x="21571" y="766"/>
                  </a:lnTo>
                  <a:cubicBezTo>
                    <a:pt x="19152" y="-472"/>
                    <a:pt x="16275" y="-472"/>
                    <a:pt x="13856" y="766"/>
                  </a:cubicBezTo>
                  <a:lnTo>
                    <a:pt x="1283" y="8101"/>
                  </a:lnTo>
                  <a:cubicBezTo>
                    <a:pt x="350" y="8443"/>
                    <a:pt x="-279" y="9300"/>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580" name="iS1íḓé">
              <a:extLst>
                <a:ext uri="{FF2B5EF4-FFF2-40B4-BE49-F238E27FC236}">
                  <a16:creationId xmlns:a16="http://schemas.microsoft.com/office/drawing/2014/main" id="{72738022-E8D0-4364-9428-F0050FAF5715}"/>
                </a:ext>
              </a:extLst>
            </p:cNvPr>
            <p:cNvSpPr/>
            <p:nvPr/>
          </p:nvSpPr>
          <p:spPr>
            <a:xfrm>
              <a:off x="6127360" y="5063362"/>
              <a:ext cx="105898" cy="61104"/>
            </a:xfrm>
            <a:custGeom>
              <a:avLst/>
              <a:gdLst>
                <a:gd name="connsiteX0" fmla="*/ 1235 w 34790"/>
                <a:gd name="connsiteY0" fmla="*/ 12006 h 20074"/>
                <a:gd name="connsiteX1" fmla="*/ 13332 w 34790"/>
                <a:gd name="connsiteY1" fmla="*/ 19054 h 20074"/>
                <a:gd name="connsiteX2" fmla="*/ 20761 w 34790"/>
                <a:gd name="connsiteY2" fmla="*/ 19054 h 20074"/>
                <a:gd name="connsiteX3" fmla="*/ 32953 w 34790"/>
                <a:gd name="connsiteY3" fmla="*/ 12006 h 20074"/>
                <a:gd name="connsiteX4" fmla="*/ 32953 w 34790"/>
                <a:gd name="connsiteY4" fmla="*/ 7719 h 20074"/>
                <a:gd name="connsiteX5" fmla="*/ 20761 w 34790"/>
                <a:gd name="connsiteY5" fmla="*/ 766 h 20074"/>
                <a:gd name="connsiteX6" fmla="*/ 13332 w 34790"/>
                <a:gd name="connsiteY6" fmla="*/ 766 h 20074"/>
                <a:gd name="connsiteX7" fmla="*/ 1235 w 34790"/>
                <a:gd name="connsiteY7" fmla="*/ 7719 h 20074"/>
                <a:gd name="connsiteX8" fmla="*/ 1235 w 34790"/>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4">
                  <a:moveTo>
                    <a:pt x="1235" y="12006"/>
                  </a:moveTo>
                  <a:lnTo>
                    <a:pt x="13332" y="19054"/>
                  </a:lnTo>
                  <a:cubicBezTo>
                    <a:pt x="15675" y="20197"/>
                    <a:pt x="18418" y="20197"/>
                    <a:pt x="20761" y="19054"/>
                  </a:cubicBezTo>
                  <a:lnTo>
                    <a:pt x="32953" y="12006"/>
                  </a:lnTo>
                  <a:cubicBezTo>
                    <a:pt x="34954" y="10863"/>
                    <a:pt x="34954" y="8957"/>
                    <a:pt x="32953" y="7719"/>
                  </a:cubicBezTo>
                  <a:lnTo>
                    <a:pt x="20761" y="766"/>
                  </a:lnTo>
                  <a:cubicBezTo>
                    <a:pt x="18437" y="-472"/>
                    <a:pt x="15656" y="-472"/>
                    <a:pt x="13332" y="766"/>
                  </a:cubicBezTo>
                  <a:lnTo>
                    <a:pt x="1235" y="7719"/>
                  </a:lnTo>
                  <a:cubicBezTo>
                    <a:pt x="-860" y="8957"/>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581" name="îṩliḑè">
              <a:extLst>
                <a:ext uri="{FF2B5EF4-FFF2-40B4-BE49-F238E27FC236}">
                  <a16:creationId xmlns:a16="http://schemas.microsoft.com/office/drawing/2014/main" id="{A8958DC7-B5F0-43E7-AFD5-C9CD2E185FFE}"/>
                </a:ext>
              </a:extLst>
            </p:cNvPr>
            <p:cNvSpPr/>
            <p:nvPr/>
          </p:nvSpPr>
          <p:spPr>
            <a:xfrm>
              <a:off x="6125464" y="5094023"/>
              <a:ext cx="111055" cy="54724"/>
            </a:xfrm>
            <a:custGeom>
              <a:avLst/>
              <a:gdLst>
                <a:gd name="connsiteX0" fmla="*/ -333 w 36484"/>
                <a:gd name="connsiteY0" fmla="*/ -163 h 17978"/>
                <a:gd name="connsiteX1" fmla="*/ -333 w 36484"/>
                <a:gd name="connsiteY1" fmla="*/ 7362 h 17978"/>
                <a:gd name="connsiteX2" fmla="*/ 1286 w 36484"/>
                <a:gd name="connsiteY2" fmla="*/ 9553 h 17978"/>
                <a:gd name="connsiteX3" fmla="*/ 14336 w 36484"/>
                <a:gd name="connsiteY3" fmla="*/ 16887 h 17978"/>
                <a:gd name="connsiteX4" fmla="*/ 22051 w 36484"/>
                <a:gd name="connsiteY4" fmla="*/ 16887 h 17978"/>
                <a:gd name="connsiteX5" fmla="*/ 34624 w 36484"/>
                <a:gd name="connsiteY5" fmla="*/ 9648 h 17978"/>
                <a:gd name="connsiteX6" fmla="*/ 36148 w 36484"/>
                <a:gd name="connsiteY6" fmla="*/ 7362 h 17978"/>
                <a:gd name="connsiteX7" fmla="*/ 36148 w 36484"/>
                <a:gd name="connsiteY7" fmla="*/ 218 h 17978"/>
                <a:gd name="connsiteX8" fmla="*/ 34624 w 36484"/>
                <a:gd name="connsiteY8" fmla="*/ 2409 h 17978"/>
                <a:gd name="connsiteX9" fmla="*/ 32338 w 36484"/>
                <a:gd name="connsiteY9" fmla="*/ 3838 h 17978"/>
                <a:gd name="connsiteX10" fmla="*/ 22051 w 36484"/>
                <a:gd name="connsiteY10" fmla="*/ 9648 h 17978"/>
                <a:gd name="connsiteX11" fmla="*/ 14336 w 36484"/>
                <a:gd name="connsiteY11" fmla="*/ 9648 h 17978"/>
                <a:gd name="connsiteX12" fmla="*/ 4049 w 36484"/>
                <a:gd name="connsiteY12" fmla="*/ 3838 h 17978"/>
                <a:gd name="connsiteX13" fmla="*/ 1763 w 36484"/>
                <a:gd name="connsiteY13" fmla="*/ 2409 h 17978"/>
                <a:gd name="connsiteX14" fmla="*/ -333 w 36484"/>
                <a:gd name="connsiteY14" fmla="*/ -163 h 17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484" h="17978">
                  <a:moveTo>
                    <a:pt x="-333" y="-163"/>
                  </a:moveTo>
                  <a:lnTo>
                    <a:pt x="-333" y="7362"/>
                  </a:lnTo>
                  <a:cubicBezTo>
                    <a:pt x="-238" y="8334"/>
                    <a:pt x="382" y="9172"/>
                    <a:pt x="1286" y="9553"/>
                  </a:cubicBezTo>
                  <a:lnTo>
                    <a:pt x="14336" y="16887"/>
                  </a:lnTo>
                  <a:cubicBezTo>
                    <a:pt x="16755" y="18125"/>
                    <a:pt x="19632" y="18125"/>
                    <a:pt x="22051" y="16887"/>
                  </a:cubicBezTo>
                  <a:lnTo>
                    <a:pt x="34624" y="9648"/>
                  </a:lnTo>
                  <a:cubicBezTo>
                    <a:pt x="35491" y="9200"/>
                    <a:pt x="36062" y="8334"/>
                    <a:pt x="36148" y="7362"/>
                  </a:cubicBezTo>
                  <a:lnTo>
                    <a:pt x="36148" y="218"/>
                  </a:lnTo>
                  <a:cubicBezTo>
                    <a:pt x="36110" y="1181"/>
                    <a:pt x="35519" y="2038"/>
                    <a:pt x="34624" y="2409"/>
                  </a:cubicBezTo>
                  <a:lnTo>
                    <a:pt x="32338" y="3838"/>
                  </a:lnTo>
                  <a:lnTo>
                    <a:pt x="22051" y="9648"/>
                  </a:lnTo>
                  <a:cubicBezTo>
                    <a:pt x="19651" y="10991"/>
                    <a:pt x="16736" y="10991"/>
                    <a:pt x="14336" y="9648"/>
                  </a:cubicBezTo>
                  <a:lnTo>
                    <a:pt x="4049" y="3838"/>
                  </a:lnTo>
                  <a:lnTo>
                    <a:pt x="1763" y="2409"/>
                  </a:lnTo>
                  <a:cubicBezTo>
                    <a:pt x="505" y="2219"/>
                    <a:pt x="-399" y="1104"/>
                    <a:pt x="-333" y="-163"/>
                  </a:cubicBezTo>
                  <a:close/>
                </a:path>
              </a:pathLst>
            </a:custGeom>
            <a:solidFill>
              <a:srgbClr val="BF4200"/>
            </a:solidFill>
            <a:ln w="9525" cap="flat">
              <a:noFill/>
              <a:prstDash val="solid"/>
              <a:miter/>
            </a:ln>
          </p:spPr>
          <p:txBody>
            <a:bodyPr rtlCol="0" anchor="ctr"/>
            <a:lstStyle/>
            <a:p>
              <a:endParaRPr lang="zh-CN" altLang="en-US"/>
            </a:p>
          </p:txBody>
        </p:sp>
        <p:sp>
          <p:nvSpPr>
            <p:cNvPr id="582" name="iṣ1îḍê">
              <a:extLst>
                <a:ext uri="{FF2B5EF4-FFF2-40B4-BE49-F238E27FC236}">
                  <a16:creationId xmlns:a16="http://schemas.microsoft.com/office/drawing/2014/main" id="{7C290668-8447-42D5-8A3F-B9DB325E8B40}"/>
                </a:ext>
              </a:extLst>
            </p:cNvPr>
            <p:cNvSpPr/>
            <p:nvPr/>
          </p:nvSpPr>
          <p:spPr>
            <a:xfrm>
              <a:off x="6202889" y="5107048"/>
              <a:ext cx="109740" cy="63445"/>
            </a:xfrm>
            <a:custGeom>
              <a:avLst/>
              <a:gdLst>
                <a:gd name="connsiteX0" fmla="*/ -336 w 36052"/>
                <a:gd name="connsiteY0" fmla="*/ 10227 h 20843"/>
                <a:gd name="connsiteX1" fmla="*/ 1188 w 36052"/>
                <a:gd name="connsiteY1" fmla="*/ 12513 h 20843"/>
                <a:gd name="connsiteX2" fmla="*/ 3569 w 36052"/>
                <a:gd name="connsiteY2" fmla="*/ 13846 h 20843"/>
                <a:gd name="connsiteX3" fmla="*/ 13856 w 36052"/>
                <a:gd name="connsiteY3" fmla="*/ 19752 h 20843"/>
                <a:gd name="connsiteX4" fmla="*/ 21476 w 36052"/>
                <a:gd name="connsiteY4" fmla="*/ 19752 h 20843"/>
                <a:gd name="connsiteX5" fmla="*/ 31763 w 36052"/>
                <a:gd name="connsiteY5" fmla="*/ 13846 h 20843"/>
                <a:gd name="connsiteX6" fmla="*/ 34144 w 36052"/>
                <a:gd name="connsiteY6" fmla="*/ 12513 h 20843"/>
                <a:gd name="connsiteX7" fmla="*/ 35573 w 36052"/>
                <a:gd name="connsiteY7" fmla="*/ 9465 h 20843"/>
                <a:gd name="connsiteX8" fmla="*/ 34144 w 36052"/>
                <a:gd name="connsiteY8" fmla="*/ 8036 h 20843"/>
                <a:gd name="connsiteX9" fmla="*/ 21476 w 36052"/>
                <a:gd name="connsiteY9" fmla="*/ 702 h 20843"/>
                <a:gd name="connsiteX10" fmla="*/ 13856 w 36052"/>
                <a:gd name="connsiteY10" fmla="*/ 702 h 20843"/>
                <a:gd name="connsiteX11" fmla="*/ 1188 w 36052"/>
                <a:gd name="connsiteY11" fmla="*/ 8036 h 20843"/>
                <a:gd name="connsiteX12" fmla="*/ -336 w 36052"/>
                <a:gd name="connsiteY12" fmla="*/ 10227 h 20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3">
                  <a:moveTo>
                    <a:pt x="-336" y="10227"/>
                  </a:moveTo>
                  <a:cubicBezTo>
                    <a:pt x="-270" y="11208"/>
                    <a:pt x="311" y="12075"/>
                    <a:pt x="1188" y="12513"/>
                  </a:cubicBezTo>
                  <a:lnTo>
                    <a:pt x="3569" y="13846"/>
                  </a:lnTo>
                  <a:lnTo>
                    <a:pt x="13856" y="19752"/>
                  </a:lnTo>
                  <a:cubicBezTo>
                    <a:pt x="16247" y="20990"/>
                    <a:pt x="19085" y="20990"/>
                    <a:pt x="21476" y="19752"/>
                  </a:cubicBezTo>
                  <a:lnTo>
                    <a:pt x="31763" y="13846"/>
                  </a:lnTo>
                  <a:lnTo>
                    <a:pt x="34144" y="12513"/>
                  </a:lnTo>
                  <a:cubicBezTo>
                    <a:pt x="35382" y="12065"/>
                    <a:pt x="36020" y="10694"/>
                    <a:pt x="35573" y="9465"/>
                  </a:cubicBezTo>
                  <a:cubicBezTo>
                    <a:pt x="35325" y="8798"/>
                    <a:pt x="34811" y="8274"/>
                    <a:pt x="34144"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583" name="islïḑe">
              <a:extLst>
                <a:ext uri="{FF2B5EF4-FFF2-40B4-BE49-F238E27FC236}">
                  <a16:creationId xmlns:a16="http://schemas.microsoft.com/office/drawing/2014/main" id="{835F0B99-CC58-4779-9C8C-AB007A1B8EE9}"/>
                </a:ext>
              </a:extLst>
            </p:cNvPr>
            <p:cNvSpPr/>
            <p:nvPr/>
          </p:nvSpPr>
          <p:spPr>
            <a:xfrm>
              <a:off x="6204700" y="5108811"/>
              <a:ext cx="105895" cy="61101"/>
            </a:xfrm>
            <a:custGeom>
              <a:avLst/>
              <a:gdLst>
                <a:gd name="connsiteX0" fmla="*/ 1164 w 34789"/>
                <a:gd name="connsiteY0" fmla="*/ 12029 h 20073"/>
                <a:gd name="connsiteX1" fmla="*/ 13356 w 34789"/>
                <a:gd name="connsiteY1" fmla="*/ 18983 h 20073"/>
                <a:gd name="connsiteX2" fmla="*/ 20785 w 34789"/>
                <a:gd name="connsiteY2" fmla="*/ 18983 h 20073"/>
                <a:gd name="connsiteX3" fmla="*/ 32882 w 34789"/>
                <a:gd name="connsiteY3" fmla="*/ 12029 h 20073"/>
                <a:gd name="connsiteX4" fmla="*/ 32882 w 34789"/>
                <a:gd name="connsiteY4" fmla="*/ 7743 h 20073"/>
                <a:gd name="connsiteX5" fmla="*/ 20785 w 34789"/>
                <a:gd name="connsiteY5" fmla="*/ 695 h 20073"/>
                <a:gd name="connsiteX6" fmla="*/ 13356 w 34789"/>
                <a:gd name="connsiteY6" fmla="*/ 695 h 20073"/>
                <a:gd name="connsiteX7" fmla="*/ 1164 w 34789"/>
                <a:gd name="connsiteY7" fmla="*/ 7743 h 20073"/>
                <a:gd name="connsiteX8" fmla="*/ 1164 w 34789"/>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89" h="20073">
                  <a:moveTo>
                    <a:pt x="1164" y="12029"/>
                  </a:moveTo>
                  <a:lnTo>
                    <a:pt x="13356" y="18983"/>
                  </a:lnTo>
                  <a:cubicBezTo>
                    <a:pt x="15680" y="20221"/>
                    <a:pt x="18461" y="20221"/>
                    <a:pt x="20785" y="18983"/>
                  </a:cubicBezTo>
                  <a:lnTo>
                    <a:pt x="32882" y="12029"/>
                  </a:lnTo>
                  <a:cubicBezTo>
                    <a:pt x="34977" y="10791"/>
                    <a:pt x="34977" y="8886"/>
                    <a:pt x="32882" y="7743"/>
                  </a:cubicBezTo>
                  <a:lnTo>
                    <a:pt x="20785" y="695"/>
                  </a:lnTo>
                  <a:cubicBezTo>
                    <a:pt x="18442" y="-448"/>
                    <a:pt x="15699" y="-448"/>
                    <a:pt x="13356" y="695"/>
                  </a:cubicBezTo>
                  <a:lnTo>
                    <a:pt x="1164" y="7743"/>
                  </a:lnTo>
                  <a:cubicBezTo>
                    <a:pt x="-836" y="8696"/>
                    <a:pt x="-836" y="10601"/>
                    <a:pt x="1164" y="12029"/>
                  </a:cubicBezTo>
                  <a:close/>
                </a:path>
              </a:pathLst>
            </a:custGeom>
            <a:solidFill>
              <a:srgbClr val="D1D9E8"/>
            </a:solidFill>
            <a:ln w="9525" cap="flat">
              <a:noFill/>
              <a:prstDash val="solid"/>
              <a:miter/>
            </a:ln>
          </p:spPr>
          <p:txBody>
            <a:bodyPr rtlCol="0" anchor="ctr"/>
            <a:lstStyle/>
            <a:p>
              <a:endParaRPr lang="zh-CN" altLang="en-US"/>
            </a:p>
          </p:txBody>
        </p:sp>
        <p:sp>
          <p:nvSpPr>
            <p:cNvPr id="584" name="ïṧľíḍè">
              <a:extLst>
                <a:ext uri="{FF2B5EF4-FFF2-40B4-BE49-F238E27FC236}">
                  <a16:creationId xmlns:a16="http://schemas.microsoft.com/office/drawing/2014/main" id="{014629D1-DD8E-4745-96AD-1139CA6D3498}"/>
                </a:ext>
              </a:extLst>
            </p:cNvPr>
            <p:cNvSpPr/>
            <p:nvPr/>
          </p:nvSpPr>
          <p:spPr>
            <a:xfrm>
              <a:off x="6202889" y="5138675"/>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3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3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2" y="7953"/>
                    <a:pt x="35668" y="6981"/>
                  </a:cubicBezTo>
                  <a:lnTo>
                    <a:pt x="35668" y="-163"/>
                  </a:lnTo>
                  <a:cubicBezTo>
                    <a:pt x="35602" y="818"/>
                    <a:pt x="35021" y="1685"/>
                    <a:pt x="34144" y="2123"/>
                  </a:cubicBezTo>
                  <a:lnTo>
                    <a:pt x="31763" y="3457"/>
                  </a:lnTo>
                  <a:lnTo>
                    <a:pt x="21476" y="9362"/>
                  </a:lnTo>
                  <a:cubicBezTo>
                    <a:pt x="19085" y="10601"/>
                    <a:pt x="16247" y="10601"/>
                    <a:pt x="13856" y="9362"/>
                  </a:cubicBezTo>
                  <a:lnTo>
                    <a:pt x="3569" y="3457"/>
                  </a:lnTo>
                  <a:lnTo>
                    <a:pt x="1188"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585" name="iṧľiḑé">
              <a:extLst>
                <a:ext uri="{FF2B5EF4-FFF2-40B4-BE49-F238E27FC236}">
                  <a16:creationId xmlns:a16="http://schemas.microsoft.com/office/drawing/2014/main" id="{6C4C83EE-FA58-49A5-8CC0-86D8DAD477DF}"/>
                </a:ext>
              </a:extLst>
            </p:cNvPr>
            <p:cNvSpPr/>
            <p:nvPr/>
          </p:nvSpPr>
          <p:spPr>
            <a:xfrm>
              <a:off x="6280010" y="5151502"/>
              <a:ext cx="109740" cy="63639"/>
            </a:xfrm>
            <a:custGeom>
              <a:avLst/>
              <a:gdLst>
                <a:gd name="connsiteX0" fmla="*/ -336 w 36052"/>
                <a:gd name="connsiteY0" fmla="*/ 10291 h 20907"/>
                <a:gd name="connsiteX1" fmla="*/ 1283 w 36052"/>
                <a:gd name="connsiteY1" fmla="*/ 12577 h 20907"/>
                <a:gd name="connsiteX2" fmla="*/ 3569 w 36052"/>
                <a:gd name="connsiteY2" fmla="*/ 13911 h 20907"/>
                <a:gd name="connsiteX3" fmla="*/ 13856 w 36052"/>
                <a:gd name="connsiteY3" fmla="*/ 19816 h 20907"/>
                <a:gd name="connsiteX4" fmla="*/ 21571 w 36052"/>
                <a:gd name="connsiteY4" fmla="*/ 19816 h 20907"/>
                <a:gd name="connsiteX5" fmla="*/ 31858 w 36052"/>
                <a:gd name="connsiteY5" fmla="*/ 13911 h 20907"/>
                <a:gd name="connsiteX6" fmla="*/ 34144 w 36052"/>
                <a:gd name="connsiteY6" fmla="*/ 12577 h 20907"/>
                <a:gd name="connsiteX7" fmla="*/ 35573 w 36052"/>
                <a:gd name="connsiteY7" fmla="*/ 9529 h 20907"/>
                <a:gd name="connsiteX8" fmla="*/ 34144 w 36052"/>
                <a:gd name="connsiteY8" fmla="*/ 8100 h 20907"/>
                <a:gd name="connsiteX9" fmla="*/ 21571 w 36052"/>
                <a:gd name="connsiteY9" fmla="*/ 766 h 20907"/>
                <a:gd name="connsiteX10" fmla="*/ 13856 w 36052"/>
                <a:gd name="connsiteY10" fmla="*/ 766 h 20907"/>
                <a:gd name="connsiteX11" fmla="*/ 1283 w 36052"/>
                <a:gd name="connsiteY11" fmla="*/ 8100 h 20907"/>
                <a:gd name="connsiteX12" fmla="*/ -336 w 36052"/>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907">
                  <a:moveTo>
                    <a:pt x="-336" y="10291"/>
                  </a:moveTo>
                  <a:cubicBezTo>
                    <a:pt x="-232" y="11282"/>
                    <a:pt x="378" y="12148"/>
                    <a:pt x="1283" y="12577"/>
                  </a:cubicBezTo>
                  <a:lnTo>
                    <a:pt x="3569" y="13911"/>
                  </a:lnTo>
                  <a:lnTo>
                    <a:pt x="13856" y="19816"/>
                  </a:lnTo>
                  <a:cubicBezTo>
                    <a:pt x="16275" y="21054"/>
                    <a:pt x="19152" y="21054"/>
                    <a:pt x="21571" y="19816"/>
                  </a:cubicBezTo>
                  <a:lnTo>
                    <a:pt x="31858" y="13911"/>
                  </a:lnTo>
                  <a:lnTo>
                    <a:pt x="34144" y="12577"/>
                  </a:lnTo>
                  <a:cubicBezTo>
                    <a:pt x="35382" y="12129"/>
                    <a:pt x="36020" y="10758"/>
                    <a:pt x="35573" y="9529"/>
                  </a:cubicBezTo>
                  <a:cubicBezTo>
                    <a:pt x="35325" y="8862"/>
                    <a:pt x="34811" y="8338"/>
                    <a:pt x="34144" y="8100"/>
                  </a:cubicBezTo>
                  <a:lnTo>
                    <a:pt x="21571" y="766"/>
                  </a:lnTo>
                  <a:cubicBezTo>
                    <a:pt x="19152" y="-472"/>
                    <a:pt x="16275" y="-472"/>
                    <a:pt x="13856" y="766"/>
                  </a:cubicBezTo>
                  <a:lnTo>
                    <a:pt x="1283" y="8100"/>
                  </a:lnTo>
                  <a:cubicBezTo>
                    <a:pt x="407" y="8510"/>
                    <a:pt x="-203" y="933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586" name="ïsľïḋê">
              <a:extLst>
                <a:ext uri="{FF2B5EF4-FFF2-40B4-BE49-F238E27FC236}">
                  <a16:creationId xmlns:a16="http://schemas.microsoft.com/office/drawing/2014/main" id="{D20FF1AE-4C86-41AD-ABD9-9B3110BE7C67}"/>
                </a:ext>
              </a:extLst>
            </p:cNvPr>
            <p:cNvSpPr/>
            <p:nvPr/>
          </p:nvSpPr>
          <p:spPr>
            <a:xfrm>
              <a:off x="6281967" y="5152881"/>
              <a:ext cx="105244" cy="61104"/>
            </a:xfrm>
            <a:custGeom>
              <a:avLst/>
              <a:gdLst>
                <a:gd name="connsiteX0" fmla="*/ 1021 w 34575"/>
                <a:gd name="connsiteY0" fmla="*/ 12029 h 20074"/>
                <a:gd name="connsiteX1" fmla="*/ 13118 w 34575"/>
                <a:gd name="connsiteY1" fmla="*/ 18983 h 20074"/>
                <a:gd name="connsiteX2" fmla="*/ 20547 w 34575"/>
                <a:gd name="connsiteY2" fmla="*/ 18983 h 20074"/>
                <a:gd name="connsiteX3" fmla="*/ 32739 w 34575"/>
                <a:gd name="connsiteY3" fmla="*/ 12029 h 20074"/>
                <a:gd name="connsiteX4" fmla="*/ 32739 w 34575"/>
                <a:gd name="connsiteY4" fmla="*/ 7743 h 20074"/>
                <a:gd name="connsiteX5" fmla="*/ 20547 w 34575"/>
                <a:gd name="connsiteY5" fmla="*/ 695 h 20074"/>
                <a:gd name="connsiteX6" fmla="*/ 13118 w 34575"/>
                <a:gd name="connsiteY6" fmla="*/ 695 h 20074"/>
                <a:gd name="connsiteX7" fmla="*/ 1021 w 34575"/>
                <a:gd name="connsiteY7" fmla="*/ 7743 h 20074"/>
                <a:gd name="connsiteX8" fmla="*/ 1021 w 34575"/>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575" h="20074">
                  <a:moveTo>
                    <a:pt x="1021" y="12029"/>
                  </a:moveTo>
                  <a:lnTo>
                    <a:pt x="13118" y="18983"/>
                  </a:lnTo>
                  <a:cubicBezTo>
                    <a:pt x="15442" y="20221"/>
                    <a:pt x="18223" y="20221"/>
                    <a:pt x="20547" y="18983"/>
                  </a:cubicBezTo>
                  <a:lnTo>
                    <a:pt x="32739" y="12029"/>
                  </a:lnTo>
                  <a:cubicBezTo>
                    <a:pt x="34740" y="10791"/>
                    <a:pt x="34740" y="8886"/>
                    <a:pt x="32739" y="7743"/>
                  </a:cubicBezTo>
                  <a:lnTo>
                    <a:pt x="20547" y="695"/>
                  </a:lnTo>
                  <a:cubicBezTo>
                    <a:pt x="18204" y="-448"/>
                    <a:pt x="15461" y="-448"/>
                    <a:pt x="13118" y="695"/>
                  </a:cubicBezTo>
                  <a:lnTo>
                    <a:pt x="1021" y="7743"/>
                  </a:lnTo>
                  <a:cubicBezTo>
                    <a:pt x="-789" y="8886"/>
                    <a:pt x="-789" y="10791"/>
                    <a:pt x="1021" y="12029"/>
                  </a:cubicBezTo>
                  <a:close/>
                </a:path>
              </a:pathLst>
            </a:custGeom>
            <a:solidFill>
              <a:srgbClr val="D1D9E8"/>
            </a:solidFill>
            <a:ln w="9525" cap="flat">
              <a:noFill/>
              <a:prstDash val="solid"/>
              <a:miter/>
            </a:ln>
          </p:spPr>
          <p:txBody>
            <a:bodyPr rtlCol="0" anchor="ctr"/>
            <a:lstStyle/>
            <a:p>
              <a:endParaRPr lang="zh-CN" altLang="en-US"/>
            </a:p>
          </p:txBody>
        </p:sp>
        <p:sp>
          <p:nvSpPr>
            <p:cNvPr id="587" name="íṥľíḓè">
              <a:extLst>
                <a:ext uri="{FF2B5EF4-FFF2-40B4-BE49-F238E27FC236}">
                  <a16:creationId xmlns:a16="http://schemas.microsoft.com/office/drawing/2014/main" id="{62F1AA72-40F8-455A-8A34-0D86FFF8AFA1}"/>
                </a:ext>
              </a:extLst>
            </p:cNvPr>
            <p:cNvSpPr/>
            <p:nvPr/>
          </p:nvSpPr>
          <p:spPr>
            <a:xfrm>
              <a:off x="6280010" y="5183323"/>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3 w 36099"/>
                <a:gd name="connsiteY6" fmla="*/ 6981 h 17597"/>
                <a:gd name="connsiteX7" fmla="*/ 35763 w 36099"/>
                <a:gd name="connsiteY7" fmla="*/ -163 h 17597"/>
                <a:gd name="connsiteX8" fmla="*/ 34144 w 36099"/>
                <a:gd name="connsiteY8" fmla="*/ 2123 h 17597"/>
                <a:gd name="connsiteX9" fmla="*/ 31858 w 36099"/>
                <a:gd name="connsiteY9" fmla="*/ 3457 h 17597"/>
                <a:gd name="connsiteX10" fmla="*/ 21571 w 36099"/>
                <a:gd name="connsiteY10" fmla="*/ 9362 h 17597"/>
                <a:gd name="connsiteX11" fmla="*/ 13856 w 36099"/>
                <a:gd name="connsiteY11" fmla="*/ 9362 h 17597"/>
                <a:gd name="connsiteX12" fmla="*/ 3569 w 36099"/>
                <a:gd name="connsiteY12" fmla="*/ 3457 h 17597"/>
                <a:gd name="connsiteX13" fmla="*/ 1283 w 36099"/>
                <a:gd name="connsiteY13" fmla="*/ 2123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03" y="8029"/>
                    <a:pt x="407" y="8857"/>
                    <a:pt x="1283" y="9267"/>
                  </a:cubicBezTo>
                  <a:lnTo>
                    <a:pt x="13856" y="16506"/>
                  </a:lnTo>
                  <a:cubicBezTo>
                    <a:pt x="16275" y="17744"/>
                    <a:pt x="19152" y="17744"/>
                    <a:pt x="21571" y="16506"/>
                  </a:cubicBezTo>
                  <a:lnTo>
                    <a:pt x="34144" y="9267"/>
                  </a:lnTo>
                  <a:cubicBezTo>
                    <a:pt x="35030" y="8829"/>
                    <a:pt x="35639" y="7962"/>
                    <a:pt x="35763" y="6981"/>
                  </a:cubicBezTo>
                  <a:lnTo>
                    <a:pt x="35763" y="-163"/>
                  </a:lnTo>
                  <a:cubicBezTo>
                    <a:pt x="35659" y="828"/>
                    <a:pt x="35049" y="1695"/>
                    <a:pt x="34144" y="2123"/>
                  </a:cubicBezTo>
                  <a:lnTo>
                    <a:pt x="31858" y="3457"/>
                  </a:lnTo>
                  <a:lnTo>
                    <a:pt x="21571" y="9362"/>
                  </a:lnTo>
                  <a:cubicBezTo>
                    <a:pt x="19152" y="10601"/>
                    <a:pt x="16275" y="10601"/>
                    <a:pt x="13856" y="9362"/>
                  </a:cubicBezTo>
                  <a:lnTo>
                    <a:pt x="3569" y="3457"/>
                  </a:lnTo>
                  <a:lnTo>
                    <a:pt x="1283" y="2123"/>
                  </a:lnTo>
                  <a:cubicBezTo>
                    <a:pt x="378" y="1695"/>
                    <a:pt x="-232"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588" name="ïsľide">
              <a:extLst>
                <a:ext uri="{FF2B5EF4-FFF2-40B4-BE49-F238E27FC236}">
                  <a16:creationId xmlns:a16="http://schemas.microsoft.com/office/drawing/2014/main" id="{FC26F811-B9E7-4396-BA1D-E793AEF14B45}"/>
                </a:ext>
              </a:extLst>
            </p:cNvPr>
            <p:cNvSpPr/>
            <p:nvPr/>
          </p:nvSpPr>
          <p:spPr>
            <a:xfrm>
              <a:off x="6357423" y="5196153"/>
              <a:ext cx="109594" cy="63639"/>
            </a:xfrm>
            <a:custGeom>
              <a:avLst/>
              <a:gdLst>
                <a:gd name="connsiteX0" fmla="*/ -336 w 36004"/>
                <a:gd name="connsiteY0" fmla="*/ 10291 h 20907"/>
                <a:gd name="connsiteX1" fmla="*/ 1188 w 36004"/>
                <a:gd name="connsiteY1" fmla="*/ 12577 h 20907"/>
                <a:gd name="connsiteX2" fmla="*/ 3569 w 36004"/>
                <a:gd name="connsiteY2" fmla="*/ 13910 h 20907"/>
                <a:gd name="connsiteX3" fmla="*/ 13856 w 36004"/>
                <a:gd name="connsiteY3" fmla="*/ 19816 h 20907"/>
                <a:gd name="connsiteX4" fmla="*/ 21476 w 36004"/>
                <a:gd name="connsiteY4" fmla="*/ 19816 h 20907"/>
                <a:gd name="connsiteX5" fmla="*/ 31763 w 36004"/>
                <a:gd name="connsiteY5" fmla="*/ 13910 h 20907"/>
                <a:gd name="connsiteX6" fmla="*/ 34144 w 36004"/>
                <a:gd name="connsiteY6" fmla="*/ 12577 h 20907"/>
                <a:gd name="connsiteX7" fmla="*/ 35668 w 36004"/>
                <a:gd name="connsiteY7" fmla="*/ 10291 h 20907"/>
                <a:gd name="connsiteX8" fmla="*/ 34144 w 36004"/>
                <a:gd name="connsiteY8" fmla="*/ 8100 h 20907"/>
                <a:gd name="connsiteX9" fmla="*/ 21476 w 36004"/>
                <a:gd name="connsiteY9" fmla="*/ 766 h 20907"/>
                <a:gd name="connsiteX10" fmla="*/ 13856 w 36004"/>
                <a:gd name="connsiteY10" fmla="*/ 766 h 20907"/>
                <a:gd name="connsiteX11" fmla="*/ 1188 w 36004"/>
                <a:gd name="connsiteY11" fmla="*/ 8100 h 20907"/>
                <a:gd name="connsiteX12" fmla="*/ -336 w 36004"/>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907">
                  <a:moveTo>
                    <a:pt x="-336" y="10291"/>
                  </a:moveTo>
                  <a:cubicBezTo>
                    <a:pt x="-269" y="11272"/>
                    <a:pt x="312" y="12139"/>
                    <a:pt x="1188" y="12577"/>
                  </a:cubicBezTo>
                  <a:lnTo>
                    <a:pt x="3569" y="13910"/>
                  </a:lnTo>
                  <a:lnTo>
                    <a:pt x="13856" y="19816"/>
                  </a:lnTo>
                  <a:cubicBezTo>
                    <a:pt x="16247" y="21054"/>
                    <a:pt x="19085" y="21054"/>
                    <a:pt x="21476" y="19816"/>
                  </a:cubicBezTo>
                  <a:lnTo>
                    <a:pt x="31763" y="13910"/>
                  </a:lnTo>
                  <a:lnTo>
                    <a:pt x="34144" y="12577"/>
                  </a:lnTo>
                  <a:cubicBezTo>
                    <a:pt x="35021" y="12139"/>
                    <a:pt x="35602" y="11272"/>
                    <a:pt x="35668" y="10291"/>
                  </a:cubicBezTo>
                  <a:cubicBezTo>
                    <a:pt x="35611" y="9339"/>
                    <a:pt x="35021" y="8491"/>
                    <a:pt x="34144" y="8100"/>
                  </a:cubicBezTo>
                  <a:lnTo>
                    <a:pt x="21476" y="766"/>
                  </a:lnTo>
                  <a:cubicBezTo>
                    <a:pt x="19085" y="-472"/>
                    <a:pt x="16247" y="-472"/>
                    <a:pt x="13856" y="766"/>
                  </a:cubicBezTo>
                  <a:lnTo>
                    <a:pt x="1188" y="8100"/>
                  </a:lnTo>
                  <a:cubicBezTo>
                    <a:pt x="312" y="8491"/>
                    <a:pt x="-279"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589" name="i$ļiḑê">
              <a:extLst>
                <a:ext uri="{FF2B5EF4-FFF2-40B4-BE49-F238E27FC236}">
                  <a16:creationId xmlns:a16="http://schemas.microsoft.com/office/drawing/2014/main" id="{7FEF0632-5819-4DD9-AD59-02EBA4BA15A8}"/>
                </a:ext>
              </a:extLst>
            </p:cNvPr>
            <p:cNvSpPr/>
            <p:nvPr/>
          </p:nvSpPr>
          <p:spPr>
            <a:xfrm>
              <a:off x="6359234" y="5197313"/>
              <a:ext cx="105898" cy="61104"/>
            </a:xfrm>
            <a:custGeom>
              <a:avLst/>
              <a:gdLst>
                <a:gd name="connsiteX0" fmla="*/ 1164 w 34790"/>
                <a:gd name="connsiteY0" fmla="*/ 12006 h 20074"/>
                <a:gd name="connsiteX1" fmla="*/ 13356 w 34790"/>
                <a:gd name="connsiteY1" fmla="*/ 19054 h 20074"/>
                <a:gd name="connsiteX2" fmla="*/ 20785 w 34790"/>
                <a:gd name="connsiteY2" fmla="*/ 19054 h 20074"/>
                <a:gd name="connsiteX3" fmla="*/ 32882 w 34790"/>
                <a:gd name="connsiteY3" fmla="*/ 12006 h 20074"/>
                <a:gd name="connsiteX4" fmla="*/ 32882 w 34790"/>
                <a:gd name="connsiteY4" fmla="*/ 7719 h 20074"/>
                <a:gd name="connsiteX5" fmla="*/ 20785 w 34790"/>
                <a:gd name="connsiteY5" fmla="*/ 766 h 20074"/>
                <a:gd name="connsiteX6" fmla="*/ 13356 w 34790"/>
                <a:gd name="connsiteY6" fmla="*/ 766 h 20074"/>
                <a:gd name="connsiteX7" fmla="*/ 1164 w 34790"/>
                <a:gd name="connsiteY7" fmla="*/ 7719 h 20074"/>
                <a:gd name="connsiteX8" fmla="*/ 1164 w 34790"/>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4">
                  <a:moveTo>
                    <a:pt x="1164" y="12006"/>
                  </a:moveTo>
                  <a:lnTo>
                    <a:pt x="13356" y="19054"/>
                  </a:lnTo>
                  <a:cubicBezTo>
                    <a:pt x="15699" y="20197"/>
                    <a:pt x="18442" y="20197"/>
                    <a:pt x="20785" y="19054"/>
                  </a:cubicBezTo>
                  <a:lnTo>
                    <a:pt x="32882" y="12006"/>
                  </a:lnTo>
                  <a:cubicBezTo>
                    <a:pt x="34978" y="10863"/>
                    <a:pt x="34978" y="8958"/>
                    <a:pt x="32882" y="7719"/>
                  </a:cubicBezTo>
                  <a:lnTo>
                    <a:pt x="20785" y="766"/>
                  </a:lnTo>
                  <a:cubicBezTo>
                    <a:pt x="18461" y="-472"/>
                    <a:pt x="15680" y="-472"/>
                    <a:pt x="13356" y="766"/>
                  </a:cubicBezTo>
                  <a:lnTo>
                    <a:pt x="1164" y="7719"/>
                  </a:lnTo>
                  <a:cubicBezTo>
                    <a:pt x="-836" y="8958"/>
                    <a:pt x="-836" y="10863"/>
                    <a:pt x="1164" y="12006"/>
                  </a:cubicBezTo>
                  <a:close/>
                </a:path>
              </a:pathLst>
            </a:custGeom>
            <a:solidFill>
              <a:srgbClr val="D1D9E8"/>
            </a:solidFill>
            <a:ln w="9525" cap="flat">
              <a:noFill/>
              <a:prstDash val="solid"/>
              <a:miter/>
            </a:ln>
          </p:spPr>
          <p:txBody>
            <a:bodyPr rtlCol="0" anchor="ctr"/>
            <a:lstStyle/>
            <a:p>
              <a:endParaRPr lang="zh-CN" altLang="en-US"/>
            </a:p>
          </p:txBody>
        </p:sp>
        <p:sp>
          <p:nvSpPr>
            <p:cNvPr id="590" name="íṡḻïďê">
              <a:extLst>
                <a:ext uri="{FF2B5EF4-FFF2-40B4-BE49-F238E27FC236}">
                  <a16:creationId xmlns:a16="http://schemas.microsoft.com/office/drawing/2014/main" id="{026DA0D2-F80F-40DD-ABE7-45E0118FF8AD}"/>
                </a:ext>
              </a:extLst>
            </p:cNvPr>
            <p:cNvSpPr/>
            <p:nvPr/>
          </p:nvSpPr>
          <p:spPr>
            <a:xfrm>
              <a:off x="6357423" y="5227971"/>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4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4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20"/>
                    <a:pt x="35582" y="7953"/>
                    <a:pt x="35668" y="6981"/>
                  </a:cubicBezTo>
                  <a:lnTo>
                    <a:pt x="35668" y="-163"/>
                  </a:lnTo>
                  <a:cubicBezTo>
                    <a:pt x="35602" y="819"/>
                    <a:pt x="35021" y="1685"/>
                    <a:pt x="34144" y="2124"/>
                  </a:cubicBezTo>
                  <a:lnTo>
                    <a:pt x="31763" y="3457"/>
                  </a:lnTo>
                  <a:lnTo>
                    <a:pt x="21476" y="9362"/>
                  </a:lnTo>
                  <a:cubicBezTo>
                    <a:pt x="19085" y="10601"/>
                    <a:pt x="16247" y="10601"/>
                    <a:pt x="13856" y="9362"/>
                  </a:cubicBezTo>
                  <a:lnTo>
                    <a:pt x="3569" y="3457"/>
                  </a:lnTo>
                  <a:lnTo>
                    <a:pt x="1188" y="2124"/>
                  </a:lnTo>
                  <a:cubicBezTo>
                    <a:pt x="312" y="1685"/>
                    <a:pt x="-269" y="819"/>
                    <a:pt x="-336" y="-163"/>
                  </a:cubicBezTo>
                  <a:close/>
                </a:path>
              </a:pathLst>
            </a:custGeom>
            <a:solidFill>
              <a:srgbClr val="BF4200"/>
            </a:solidFill>
            <a:ln w="9525" cap="flat">
              <a:noFill/>
              <a:prstDash val="solid"/>
              <a:miter/>
            </a:ln>
          </p:spPr>
          <p:txBody>
            <a:bodyPr rtlCol="0" anchor="ctr"/>
            <a:lstStyle/>
            <a:p>
              <a:endParaRPr lang="zh-CN" altLang="en-US"/>
            </a:p>
          </p:txBody>
        </p:sp>
        <p:sp>
          <p:nvSpPr>
            <p:cNvPr id="591" name="i$ḻíḓè">
              <a:extLst>
                <a:ext uri="{FF2B5EF4-FFF2-40B4-BE49-F238E27FC236}">
                  <a16:creationId xmlns:a16="http://schemas.microsoft.com/office/drawing/2014/main" id="{0FF5EF65-87DE-419E-A32E-011D6A1C6FCB}"/>
                </a:ext>
              </a:extLst>
            </p:cNvPr>
            <p:cNvSpPr/>
            <p:nvPr/>
          </p:nvSpPr>
          <p:spPr>
            <a:xfrm>
              <a:off x="6434544" y="5240801"/>
              <a:ext cx="109883" cy="63588"/>
            </a:xfrm>
            <a:custGeom>
              <a:avLst/>
              <a:gdLst>
                <a:gd name="connsiteX0" fmla="*/ -336 w 36099"/>
                <a:gd name="connsiteY0" fmla="*/ 10291 h 20890"/>
                <a:gd name="connsiteX1" fmla="*/ 1283 w 36099"/>
                <a:gd name="connsiteY1" fmla="*/ 12577 h 20890"/>
                <a:gd name="connsiteX2" fmla="*/ 3569 w 36099"/>
                <a:gd name="connsiteY2" fmla="*/ 13911 h 20890"/>
                <a:gd name="connsiteX3" fmla="*/ 13856 w 36099"/>
                <a:gd name="connsiteY3" fmla="*/ 19721 h 20890"/>
                <a:gd name="connsiteX4" fmla="*/ 21571 w 36099"/>
                <a:gd name="connsiteY4" fmla="*/ 19721 h 20890"/>
                <a:gd name="connsiteX5" fmla="*/ 31858 w 36099"/>
                <a:gd name="connsiteY5" fmla="*/ 13911 h 20890"/>
                <a:gd name="connsiteX6" fmla="*/ 34144 w 36099"/>
                <a:gd name="connsiteY6" fmla="*/ 12577 h 20890"/>
                <a:gd name="connsiteX7" fmla="*/ 35764 w 36099"/>
                <a:gd name="connsiteY7" fmla="*/ 10291 h 20890"/>
                <a:gd name="connsiteX8" fmla="*/ 34144 w 36099"/>
                <a:gd name="connsiteY8" fmla="*/ 8101 h 20890"/>
                <a:gd name="connsiteX9" fmla="*/ 21571 w 36099"/>
                <a:gd name="connsiteY9" fmla="*/ 766 h 20890"/>
                <a:gd name="connsiteX10" fmla="*/ 13856 w 36099"/>
                <a:gd name="connsiteY10" fmla="*/ 766 h 20890"/>
                <a:gd name="connsiteX11" fmla="*/ 1283 w 36099"/>
                <a:gd name="connsiteY11" fmla="*/ 8101 h 20890"/>
                <a:gd name="connsiteX12" fmla="*/ -336 w 36099"/>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99" h="20890">
                  <a:moveTo>
                    <a:pt x="-336" y="10291"/>
                  </a:moveTo>
                  <a:cubicBezTo>
                    <a:pt x="-269" y="11301"/>
                    <a:pt x="359" y="12187"/>
                    <a:pt x="1283" y="12577"/>
                  </a:cubicBezTo>
                  <a:lnTo>
                    <a:pt x="3569" y="13911"/>
                  </a:lnTo>
                  <a:lnTo>
                    <a:pt x="13856" y="19721"/>
                  </a:lnTo>
                  <a:cubicBezTo>
                    <a:pt x="16256" y="21064"/>
                    <a:pt x="19171" y="21064"/>
                    <a:pt x="21571" y="19721"/>
                  </a:cubicBezTo>
                  <a:lnTo>
                    <a:pt x="31858" y="13911"/>
                  </a:lnTo>
                  <a:lnTo>
                    <a:pt x="34144" y="12577"/>
                  </a:lnTo>
                  <a:cubicBezTo>
                    <a:pt x="35049" y="12149"/>
                    <a:pt x="35659" y="11282"/>
                    <a:pt x="35764" y="10291"/>
                  </a:cubicBezTo>
                  <a:cubicBezTo>
                    <a:pt x="35649" y="9329"/>
                    <a:pt x="35030" y="8491"/>
                    <a:pt x="34144" y="8101"/>
                  </a:cubicBezTo>
                  <a:lnTo>
                    <a:pt x="21571" y="766"/>
                  </a:lnTo>
                  <a:cubicBezTo>
                    <a:pt x="19152" y="-472"/>
                    <a:pt x="16275" y="-472"/>
                    <a:pt x="13856" y="766"/>
                  </a:cubicBezTo>
                  <a:lnTo>
                    <a:pt x="1283" y="8101"/>
                  </a:lnTo>
                  <a:cubicBezTo>
                    <a:pt x="369" y="8462"/>
                    <a:pt x="-260" y="9310"/>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592" name="íśḻíḑe">
              <a:extLst>
                <a:ext uri="{FF2B5EF4-FFF2-40B4-BE49-F238E27FC236}">
                  <a16:creationId xmlns:a16="http://schemas.microsoft.com/office/drawing/2014/main" id="{24D59B43-98DC-4493-84F9-D62FA869751C}"/>
                </a:ext>
              </a:extLst>
            </p:cNvPr>
            <p:cNvSpPr/>
            <p:nvPr/>
          </p:nvSpPr>
          <p:spPr>
            <a:xfrm>
              <a:off x="6436428" y="5241961"/>
              <a:ext cx="105898" cy="61101"/>
            </a:xfrm>
            <a:custGeom>
              <a:avLst/>
              <a:gdLst>
                <a:gd name="connsiteX0" fmla="*/ 1235 w 34790"/>
                <a:gd name="connsiteY0" fmla="*/ 12006 h 20073"/>
                <a:gd name="connsiteX1" fmla="*/ 13332 w 34790"/>
                <a:gd name="connsiteY1" fmla="*/ 19054 h 20073"/>
                <a:gd name="connsiteX2" fmla="*/ 20761 w 34790"/>
                <a:gd name="connsiteY2" fmla="*/ 19054 h 20073"/>
                <a:gd name="connsiteX3" fmla="*/ 32953 w 34790"/>
                <a:gd name="connsiteY3" fmla="*/ 12006 h 20073"/>
                <a:gd name="connsiteX4" fmla="*/ 32953 w 34790"/>
                <a:gd name="connsiteY4" fmla="*/ 7719 h 20073"/>
                <a:gd name="connsiteX5" fmla="*/ 20761 w 34790"/>
                <a:gd name="connsiteY5" fmla="*/ 766 h 20073"/>
                <a:gd name="connsiteX6" fmla="*/ 13332 w 34790"/>
                <a:gd name="connsiteY6" fmla="*/ 766 h 20073"/>
                <a:gd name="connsiteX7" fmla="*/ 1235 w 34790"/>
                <a:gd name="connsiteY7" fmla="*/ 7719 h 20073"/>
                <a:gd name="connsiteX8" fmla="*/ 1235 w 34790"/>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3">
                  <a:moveTo>
                    <a:pt x="1235" y="12006"/>
                  </a:moveTo>
                  <a:lnTo>
                    <a:pt x="13332" y="19054"/>
                  </a:lnTo>
                  <a:cubicBezTo>
                    <a:pt x="15675" y="20197"/>
                    <a:pt x="18418" y="20197"/>
                    <a:pt x="20761" y="19054"/>
                  </a:cubicBezTo>
                  <a:lnTo>
                    <a:pt x="32953" y="12006"/>
                  </a:lnTo>
                  <a:cubicBezTo>
                    <a:pt x="34954" y="10863"/>
                    <a:pt x="34954" y="8957"/>
                    <a:pt x="32953" y="7719"/>
                  </a:cubicBezTo>
                  <a:lnTo>
                    <a:pt x="20761" y="766"/>
                  </a:lnTo>
                  <a:cubicBezTo>
                    <a:pt x="18437" y="-472"/>
                    <a:pt x="15656" y="-472"/>
                    <a:pt x="13332" y="766"/>
                  </a:cubicBezTo>
                  <a:lnTo>
                    <a:pt x="1235" y="7719"/>
                  </a:lnTo>
                  <a:cubicBezTo>
                    <a:pt x="-860" y="8957"/>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593" name="îṩ1iḑè">
              <a:extLst>
                <a:ext uri="{FF2B5EF4-FFF2-40B4-BE49-F238E27FC236}">
                  <a16:creationId xmlns:a16="http://schemas.microsoft.com/office/drawing/2014/main" id="{33FC04AF-499E-45CE-999D-7075D5EA97C0}"/>
                </a:ext>
              </a:extLst>
            </p:cNvPr>
            <p:cNvSpPr/>
            <p:nvPr/>
          </p:nvSpPr>
          <p:spPr>
            <a:xfrm>
              <a:off x="6434544" y="5272623"/>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4 w 36099"/>
                <a:gd name="connsiteY6" fmla="*/ 6981 h 17597"/>
                <a:gd name="connsiteX7" fmla="*/ 35764 w 36099"/>
                <a:gd name="connsiteY7" fmla="*/ -163 h 17597"/>
                <a:gd name="connsiteX8" fmla="*/ 34144 w 36099"/>
                <a:gd name="connsiteY8" fmla="*/ 2123 h 17597"/>
                <a:gd name="connsiteX9" fmla="*/ 31858 w 36099"/>
                <a:gd name="connsiteY9" fmla="*/ 3457 h 17597"/>
                <a:gd name="connsiteX10" fmla="*/ 21571 w 36099"/>
                <a:gd name="connsiteY10" fmla="*/ 9267 h 17597"/>
                <a:gd name="connsiteX11" fmla="*/ 13856 w 36099"/>
                <a:gd name="connsiteY11" fmla="*/ 9267 h 17597"/>
                <a:gd name="connsiteX12" fmla="*/ 3569 w 36099"/>
                <a:gd name="connsiteY12" fmla="*/ 3457 h 17597"/>
                <a:gd name="connsiteX13" fmla="*/ 1283 w 36099"/>
                <a:gd name="connsiteY13" fmla="*/ 2123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41" y="8048"/>
                    <a:pt x="378" y="8886"/>
                    <a:pt x="1283" y="9267"/>
                  </a:cubicBezTo>
                  <a:lnTo>
                    <a:pt x="13856" y="16506"/>
                  </a:lnTo>
                  <a:cubicBezTo>
                    <a:pt x="16275" y="17744"/>
                    <a:pt x="19152" y="17744"/>
                    <a:pt x="21571" y="16506"/>
                  </a:cubicBezTo>
                  <a:lnTo>
                    <a:pt x="34144" y="9267"/>
                  </a:lnTo>
                  <a:cubicBezTo>
                    <a:pt x="35030" y="8829"/>
                    <a:pt x="35640" y="7962"/>
                    <a:pt x="35764" y="6981"/>
                  </a:cubicBezTo>
                  <a:lnTo>
                    <a:pt x="35764" y="-163"/>
                  </a:lnTo>
                  <a:cubicBezTo>
                    <a:pt x="35659" y="828"/>
                    <a:pt x="35049" y="1695"/>
                    <a:pt x="34144" y="2123"/>
                  </a:cubicBezTo>
                  <a:lnTo>
                    <a:pt x="31858" y="3457"/>
                  </a:lnTo>
                  <a:lnTo>
                    <a:pt x="21571" y="9267"/>
                  </a:lnTo>
                  <a:cubicBezTo>
                    <a:pt x="19171" y="10610"/>
                    <a:pt x="16256" y="10610"/>
                    <a:pt x="13856" y="9267"/>
                  </a:cubicBezTo>
                  <a:lnTo>
                    <a:pt x="3569" y="3457"/>
                  </a:lnTo>
                  <a:lnTo>
                    <a:pt x="1283" y="2123"/>
                  </a:lnTo>
                  <a:cubicBezTo>
                    <a:pt x="359" y="1733"/>
                    <a:pt x="-269" y="847"/>
                    <a:pt x="-336" y="-163"/>
                  </a:cubicBezTo>
                  <a:close/>
                </a:path>
              </a:pathLst>
            </a:custGeom>
            <a:solidFill>
              <a:srgbClr val="BF4200"/>
            </a:solidFill>
            <a:ln w="9525" cap="flat">
              <a:noFill/>
              <a:prstDash val="solid"/>
              <a:miter/>
            </a:ln>
          </p:spPr>
          <p:txBody>
            <a:bodyPr rtlCol="0" anchor="ctr"/>
            <a:lstStyle/>
            <a:p>
              <a:endParaRPr lang="zh-CN" altLang="en-US"/>
            </a:p>
          </p:txBody>
        </p:sp>
        <p:sp>
          <p:nvSpPr>
            <p:cNvPr id="594" name="ïSḷídè">
              <a:extLst>
                <a:ext uri="{FF2B5EF4-FFF2-40B4-BE49-F238E27FC236}">
                  <a16:creationId xmlns:a16="http://schemas.microsoft.com/office/drawing/2014/main" id="{1368FFB5-4917-434A-AA35-B07E56E16A54}"/>
                </a:ext>
              </a:extLst>
            </p:cNvPr>
            <p:cNvSpPr/>
            <p:nvPr/>
          </p:nvSpPr>
          <p:spPr>
            <a:xfrm>
              <a:off x="5235377" y="4638898"/>
              <a:ext cx="109594" cy="63639"/>
            </a:xfrm>
            <a:custGeom>
              <a:avLst/>
              <a:gdLst>
                <a:gd name="connsiteX0" fmla="*/ -336 w 36004"/>
                <a:gd name="connsiteY0" fmla="*/ 10291 h 20907"/>
                <a:gd name="connsiteX1" fmla="*/ 1188 w 36004"/>
                <a:gd name="connsiteY1" fmla="*/ 12577 h 20907"/>
                <a:gd name="connsiteX2" fmla="*/ 3569 w 36004"/>
                <a:gd name="connsiteY2" fmla="*/ 13910 h 20907"/>
                <a:gd name="connsiteX3" fmla="*/ 13856 w 36004"/>
                <a:gd name="connsiteY3" fmla="*/ 19816 h 20907"/>
                <a:gd name="connsiteX4" fmla="*/ 21476 w 36004"/>
                <a:gd name="connsiteY4" fmla="*/ 19816 h 20907"/>
                <a:gd name="connsiteX5" fmla="*/ 31763 w 36004"/>
                <a:gd name="connsiteY5" fmla="*/ 13910 h 20907"/>
                <a:gd name="connsiteX6" fmla="*/ 34144 w 36004"/>
                <a:gd name="connsiteY6" fmla="*/ 12577 h 20907"/>
                <a:gd name="connsiteX7" fmla="*/ 35668 w 36004"/>
                <a:gd name="connsiteY7" fmla="*/ 10291 h 20907"/>
                <a:gd name="connsiteX8" fmla="*/ 34144 w 36004"/>
                <a:gd name="connsiteY8" fmla="*/ 8100 h 20907"/>
                <a:gd name="connsiteX9" fmla="*/ 21476 w 36004"/>
                <a:gd name="connsiteY9" fmla="*/ 766 h 20907"/>
                <a:gd name="connsiteX10" fmla="*/ 13856 w 36004"/>
                <a:gd name="connsiteY10" fmla="*/ 766 h 20907"/>
                <a:gd name="connsiteX11" fmla="*/ 1188 w 36004"/>
                <a:gd name="connsiteY11" fmla="*/ 8100 h 20907"/>
                <a:gd name="connsiteX12" fmla="*/ -336 w 36004"/>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907">
                  <a:moveTo>
                    <a:pt x="-336" y="10291"/>
                  </a:moveTo>
                  <a:cubicBezTo>
                    <a:pt x="-270" y="11272"/>
                    <a:pt x="311" y="12139"/>
                    <a:pt x="1188" y="12577"/>
                  </a:cubicBezTo>
                  <a:lnTo>
                    <a:pt x="3569" y="13910"/>
                  </a:lnTo>
                  <a:lnTo>
                    <a:pt x="13856" y="19816"/>
                  </a:lnTo>
                  <a:cubicBezTo>
                    <a:pt x="16247" y="21054"/>
                    <a:pt x="19085" y="21054"/>
                    <a:pt x="21476" y="19816"/>
                  </a:cubicBezTo>
                  <a:lnTo>
                    <a:pt x="31763" y="13910"/>
                  </a:lnTo>
                  <a:lnTo>
                    <a:pt x="34144" y="12577"/>
                  </a:lnTo>
                  <a:cubicBezTo>
                    <a:pt x="35020" y="12139"/>
                    <a:pt x="35601" y="11272"/>
                    <a:pt x="35668" y="10291"/>
                  </a:cubicBezTo>
                  <a:cubicBezTo>
                    <a:pt x="35611" y="9339"/>
                    <a:pt x="35020" y="8491"/>
                    <a:pt x="34144" y="8100"/>
                  </a:cubicBezTo>
                  <a:lnTo>
                    <a:pt x="21476" y="766"/>
                  </a:lnTo>
                  <a:cubicBezTo>
                    <a:pt x="19085" y="-472"/>
                    <a:pt x="16247" y="-472"/>
                    <a:pt x="13856" y="766"/>
                  </a:cubicBezTo>
                  <a:lnTo>
                    <a:pt x="1188" y="8100"/>
                  </a:lnTo>
                  <a:cubicBezTo>
                    <a:pt x="311" y="8491"/>
                    <a:pt x="-279"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595" name="iṧļîḓê">
              <a:extLst>
                <a:ext uri="{FF2B5EF4-FFF2-40B4-BE49-F238E27FC236}">
                  <a16:creationId xmlns:a16="http://schemas.microsoft.com/office/drawing/2014/main" id="{F4784CA2-8CF3-4641-9E24-D97DC35F0074}"/>
                </a:ext>
              </a:extLst>
            </p:cNvPr>
            <p:cNvSpPr/>
            <p:nvPr/>
          </p:nvSpPr>
          <p:spPr>
            <a:xfrm>
              <a:off x="5237334" y="4640058"/>
              <a:ext cx="106330" cy="61104"/>
            </a:xfrm>
            <a:custGeom>
              <a:avLst/>
              <a:gdLst>
                <a:gd name="connsiteX0" fmla="*/ 1307 w 34932"/>
                <a:gd name="connsiteY0" fmla="*/ 12006 h 20074"/>
                <a:gd name="connsiteX1" fmla="*/ 13499 w 34932"/>
                <a:gd name="connsiteY1" fmla="*/ 19054 h 20074"/>
                <a:gd name="connsiteX2" fmla="*/ 20928 w 34932"/>
                <a:gd name="connsiteY2" fmla="*/ 19054 h 20074"/>
                <a:gd name="connsiteX3" fmla="*/ 33025 w 34932"/>
                <a:gd name="connsiteY3" fmla="*/ 12006 h 20074"/>
                <a:gd name="connsiteX4" fmla="*/ 33025 w 34932"/>
                <a:gd name="connsiteY4" fmla="*/ 7719 h 20074"/>
                <a:gd name="connsiteX5" fmla="*/ 20928 w 34932"/>
                <a:gd name="connsiteY5" fmla="*/ 766 h 20074"/>
                <a:gd name="connsiteX6" fmla="*/ 13499 w 34932"/>
                <a:gd name="connsiteY6" fmla="*/ 766 h 20074"/>
                <a:gd name="connsiteX7" fmla="*/ 1307 w 34932"/>
                <a:gd name="connsiteY7" fmla="*/ 7719 h 20074"/>
                <a:gd name="connsiteX8" fmla="*/ 1307 w 34932"/>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932" h="20074">
                  <a:moveTo>
                    <a:pt x="1307" y="12006"/>
                  </a:moveTo>
                  <a:lnTo>
                    <a:pt x="13499" y="19054"/>
                  </a:lnTo>
                  <a:cubicBezTo>
                    <a:pt x="15842" y="20197"/>
                    <a:pt x="18585" y="20197"/>
                    <a:pt x="20928" y="19054"/>
                  </a:cubicBezTo>
                  <a:lnTo>
                    <a:pt x="33025" y="12006"/>
                  </a:lnTo>
                  <a:cubicBezTo>
                    <a:pt x="35120" y="10863"/>
                    <a:pt x="35120" y="8958"/>
                    <a:pt x="33025" y="7719"/>
                  </a:cubicBezTo>
                  <a:lnTo>
                    <a:pt x="20928" y="766"/>
                  </a:lnTo>
                  <a:cubicBezTo>
                    <a:pt x="18604" y="-472"/>
                    <a:pt x="15823" y="-472"/>
                    <a:pt x="13499" y="766"/>
                  </a:cubicBezTo>
                  <a:lnTo>
                    <a:pt x="1307" y="7719"/>
                  </a:lnTo>
                  <a:cubicBezTo>
                    <a:pt x="-884" y="8958"/>
                    <a:pt x="-884" y="10863"/>
                    <a:pt x="1307" y="12006"/>
                  </a:cubicBezTo>
                  <a:close/>
                </a:path>
              </a:pathLst>
            </a:custGeom>
            <a:solidFill>
              <a:srgbClr val="D1D9E8"/>
            </a:solidFill>
            <a:ln w="9525" cap="flat">
              <a:noFill/>
              <a:prstDash val="solid"/>
              <a:miter/>
            </a:ln>
          </p:spPr>
          <p:txBody>
            <a:bodyPr rtlCol="0" anchor="ctr"/>
            <a:lstStyle/>
            <a:p>
              <a:endParaRPr lang="zh-CN" altLang="en-US"/>
            </a:p>
          </p:txBody>
        </p:sp>
        <p:sp>
          <p:nvSpPr>
            <p:cNvPr id="596" name="ïṣļîḋé">
              <a:extLst>
                <a:ext uri="{FF2B5EF4-FFF2-40B4-BE49-F238E27FC236}">
                  <a16:creationId xmlns:a16="http://schemas.microsoft.com/office/drawing/2014/main" id="{80240EE3-9ECB-4513-B93F-3A4EF117D7F2}"/>
                </a:ext>
              </a:extLst>
            </p:cNvPr>
            <p:cNvSpPr/>
            <p:nvPr/>
          </p:nvSpPr>
          <p:spPr>
            <a:xfrm>
              <a:off x="5235377" y="4670720"/>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4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4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20"/>
                    <a:pt x="35582" y="7953"/>
                    <a:pt x="35668" y="6981"/>
                  </a:cubicBezTo>
                  <a:lnTo>
                    <a:pt x="35668" y="-163"/>
                  </a:lnTo>
                  <a:cubicBezTo>
                    <a:pt x="35601" y="819"/>
                    <a:pt x="35020" y="1685"/>
                    <a:pt x="34144" y="2124"/>
                  </a:cubicBezTo>
                  <a:lnTo>
                    <a:pt x="31763" y="3457"/>
                  </a:lnTo>
                  <a:lnTo>
                    <a:pt x="21476" y="9362"/>
                  </a:lnTo>
                  <a:cubicBezTo>
                    <a:pt x="19085" y="10601"/>
                    <a:pt x="16247" y="10601"/>
                    <a:pt x="13856" y="9362"/>
                  </a:cubicBezTo>
                  <a:lnTo>
                    <a:pt x="3569" y="3457"/>
                  </a:lnTo>
                  <a:lnTo>
                    <a:pt x="1188" y="2124"/>
                  </a:lnTo>
                  <a:cubicBezTo>
                    <a:pt x="311" y="1685"/>
                    <a:pt x="-270" y="819"/>
                    <a:pt x="-336" y="-163"/>
                  </a:cubicBezTo>
                  <a:close/>
                </a:path>
              </a:pathLst>
            </a:custGeom>
            <a:solidFill>
              <a:srgbClr val="BF4200"/>
            </a:solidFill>
            <a:ln w="9525" cap="flat">
              <a:noFill/>
              <a:prstDash val="solid"/>
              <a:miter/>
            </a:ln>
          </p:spPr>
          <p:txBody>
            <a:bodyPr rtlCol="0" anchor="ctr"/>
            <a:lstStyle/>
            <a:p>
              <a:endParaRPr lang="zh-CN" altLang="en-US"/>
            </a:p>
          </p:txBody>
        </p:sp>
        <p:sp>
          <p:nvSpPr>
            <p:cNvPr id="597" name="íṡľiḓê">
              <a:extLst>
                <a:ext uri="{FF2B5EF4-FFF2-40B4-BE49-F238E27FC236}">
                  <a16:creationId xmlns:a16="http://schemas.microsoft.com/office/drawing/2014/main" id="{1541361F-2B11-46BD-93E1-3697F80889A5}"/>
                </a:ext>
              </a:extLst>
            </p:cNvPr>
            <p:cNvSpPr/>
            <p:nvPr/>
          </p:nvSpPr>
          <p:spPr>
            <a:xfrm>
              <a:off x="5312501" y="4683550"/>
              <a:ext cx="109362" cy="63588"/>
            </a:xfrm>
            <a:custGeom>
              <a:avLst/>
              <a:gdLst>
                <a:gd name="connsiteX0" fmla="*/ -336 w 35928"/>
                <a:gd name="connsiteY0" fmla="*/ 10291 h 20890"/>
                <a:gd name="connsiteX1" fmla="*/ 1283 w 35928"/>
                <a:gd name="connsiteY1" fmla="*/ 12482 h 20890"/>
                <a:gd name="connsiteX2" fmla="*/ 3569 w 35928"/>
                <a:gd name="connsiteY2" fmla="*/ 13911 h 20890"/>
                <a:gd name="connsiteX3" fmla="*/ 13856 w 35928"/>
                <a:gd name="connsiteY3" fmla="*/ 19721 h 20890"/>
                <a:gd name="connsiteX4" fmla="*/ 21571 w 35928"/>
                <a:gd name="connsiteY4" fmla="*/ 19721 h 20890"/>
                <a:gd name="connsiteX5" fmla="*/ 31858 w 35928"/>
                <a:gd name="connsiteY5" fmla="*/ 13911 h 20890"/>
                <a:gd name="connsiteX6" fmla="*/ 34144 w 35928"/>
                <a:gd name="connsiteY6" fmla="*/ 12482 h 20890"/>
                <a:gd name="connsiteX7" fmla="*/ 35401 w 35928"/>
                <a:gd name="connsiteY7" fmla="*/ 9358 h 20890"/>
                <a:gd name="connsiteX8" fmla="*/ 34144 w 35928"/>
                <a:gd name="connsiteY8" fmla="*/ 8101 h 20890"/>
                <a:gd name="connsiteX9" fmla="*/ 21571 w 35928"/>
                <a:gd name="connsiteY9" fmla="*/ 766 h 20890"/>
                <a:gd name="connsiteX10" fmla="*/ 13856 w 35928"/>
                <a:gd name="connsiteY10" fmla="*/ 766 h 20890"/>
                <a:gd name="connsiteX11" fmla="*/ 1283 w 35928"/>
                <a:gd name="connsiteY11" fmla="*/ 8101 h 20890"/>
                <a:gd name="connsiteX12" fmla="*/ -336 w 35928"/>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928" h="20890">
                  <a:moveTo>
                    <a:pt x="-336" y="10291"/>
                  </a:moveTo>
                  <a:cubicBezTo>
                    <a:pt x="-279" y="11282"/>
                    <a:pt x="349" y="12139"/>
                    <a:pt x="1283" y="12482"/>
                  </a:cubicBezTo>
                  <a:lnTo>
                    <a:pt x="3569" y="13911"/>
                  </a:lnTo>
                  <a:lnTo>
                    <a:pt x="13856" y="19721"/>
                  </a:lnTo>
                  <a:cubicBezTo>
                    <a:pt x="16256" y="21064"/>
                    <a:pt x="19171" y="21064"/>
                    <a:pt x="21571" y="19721"/>
                  </a:cubicBezTo>
                  <a:lnTo>
                    <a:pt x="31858" y="13911"/>
                  </a:lnTo>
                  <a:lnTo>
                    <a:pt x="34144" y="12482"/>
                  </a:lnTo>
                  <a:cubicBezTo>
                    <a:pt x="35354" y="11967"/>
                    <a:pt x="35916" y="10567"/>
                    <a:pt x="35401" y="9358"/>
                  </a:cubicBezTo>
                  <a:cubicBezTo>
                    <a:pt x="35163" y="8796"/>
                    <a:pt x="34706" y="8339"/>
                    <a:pt x="34144" y="8101"/>
                  </a:cubicBezTo>
                  <a:lnTo>
                    <a:pt x="21571" y="766"/>
                  </a:lnTo>
                  <a:cubicBezTo>
                    <a:pt x="19152" y="-472"/>
                    <a:pt x="16275" y="-472"/>
                    <a:pt x="13856" y="766"/>
                  </a:cubicBezTo>
                  <a:lnTo>
                    <a:pt x="1283" y="8101"/>
                  </a:lnTo>
                  <a:cubicBezTo>
                    <a:pt x="349" y="8443"/>
                    <a:pt x="-279" y="9300"/>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598" name="iŝḷíḑe">
              <a:extLst>
                <a:ext uri="{FF2B5EF4-FFF2-40B4-BE49-F238E27FC236}">
                  <a16:creationId xmlns:a16="http://schemas.microsoft.com/office/drawing/2014/main" id="{77DE56C7-E302-4358-99B1-148BFEFAE4A2}"/>
                </a:ext>
              </a:extLst>
            </p:cNvPr>
            <p:cNvSpPr/>
            <p:nvPr/>
          </p:nvSpPr>
          <p:spPr>
            <a:xfrm>
              <a:off x="5314385" y="4684710"/>
              <a:ext cx="105898" cy="61101"/>
            </a:xfrm>
            <a:custGeom>
              <a:avLst/>
              <a:gdLst>
                <a:gd name="connsiteX0" fmla="*/ 1235 w 34790"/>
                <a:gd name="connsiteY0" fmla="*/ 12006 h 20073"/>
                <a:gd name="connsiteX1" fmla="*/ 13332 w 34790"/>
                <a:gd name="connsiteY1" fmla="*/ 19054 h 20073"/>
                <a:gd name="connsiteX2" fmla="*/ 20762 w 34790"/>
                <a:gd name="connsiteY2" fmla="*/ 19054 h 20073"/>
                <a:gd name="connsiteX3" fmla="*/ 32954 w 34790"/>
                <a:gd name="connsiteY3" fmla="*/ 12006 h 20073"/>
                <a:gd name="connsiteX4" fmla="*/ 32954 w 34790"/>
                <a:gd name="connsiteY4" fmla="*/ 7719 h 20073"/>
                <a:gd name="connsiteX5" fmla="*/ 20762 w 34790"/>
                <a:gd name="connsiteY5" fmla="*/ 766 h 20073"/>
                <a:gd name="connsiteX6" fmla="*/ 13332 w 34790"/>
                <a:gd name="connsiteY6" fmla="*/ 766 h 20073"/>
                <a:gd name="connsiteX7" fmla="*/ 1235 w 34790"/>
                <a:gd name="connsiteY7" fmla="*/ 7719 h 20073"/>
                <a:gd name="connsiteX8" fmla="*/ 1235 w 34790"/>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3">
                  <a:moveTo>
                    <a:pt x="1235" y="12006"/>
                  </a:moveTo>
                  <a:lnTo>
                    <a:pt x="13332" y="19054"/>
                  </a:lnTo>
                  <a:cubicBezTo>
                    <a:pt x="15675" y="20197"/>
                    <a:pt x="18419" y="20197"/>
                    <a:pt x="20762" y="19054"/>
                  </a:cubicBezTo>
                  <a:lnTo>
                    <a:pt x="32954" y="12006"/>
                  </a:lnTo>
                  <a:cubicBezTo>
                    <a:pt x="34954" y="10863"/>
                    <a:pt x="34954" y="8957"/>
                    <a:pt x="32954" y="7719"/>
                  </a:cubicBezTo>
                  <a:lnTo>
                    <a:pt x="20762" y="766"/>
                  </a:lnTo>
                  <a:cubicBezTo>
                    <a:pt x="18437" y="-472"/>
                    <a:pt x="15656" y="-472"/>
                    <a:pt x="13332" y="766"/>
                  </a:cubicBezTo>
                  <a:lnTo>
                    <a:pt x="1235" y="7719"/>
                  </a:lnTo>
                  <a:cubicBezTo>
                    <a:pt x="-860" y="8957"/>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599" name="ï$ḻîďê">
              <a:extLst>
                <a:ext uri="{FF2B5EF4-FFF2-40B4-BE49-F238E27FC236}">
                  <a16:creationId xmlns:a16="http://schemas.microsoft.com/office/drawing/2014/main" id="{B0055F5A-AF39-4B01-A70F-99ACB4B041D6}"/>
                </a:ext>
              </a:extLst>
            </p:cNvPr>
            <p:cNvSpPr/>
            <p:nvPr/>
          </p:nvSpPr>
          <p:spPr>
            <a:xfrm>
              <a:off x="5312501" y="4715368"/>
              <a:ext cx="109594" cy="53564"/>
            </a:xfrm>
            <a:custGeom>
              <a:avLst/>
              <a:gdLst>
                <a:gd name="connsiteX0" fmla="*/ -336 w 36004"/>
                <a:gd name="connsiteY0" fmla="*/ -163 h 17597"/>
                <a:gd name="connsiteX1" fmla="*/ -336 w 36004"/>
                <a:gd name="connsiteY1" fmla="*/ 7076 h 17597"/>
                <a:gd name="connsiteX2" fmla="*/ 1283 w 36004"/>
                <a:gd name="connsiteY2" fmla="*/ 9267 h 17597"/>
                <a:gd name="connsiteX3" fmla="*/ 13856 w 36004"/>
                <a:gd name="connsiteY3" fmla="*/ 16506 h 17597"/>
                <a:gd name="connsiteX4" fmla="*/ 21571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028 h 17597"/>
                <a:gd name="connsiteX9" fmla="*/ 31858 w 36004"/>
                <a:gd name="connsiteY9" fmla="*/ 3457 h 17597"/>
                <a:gd name="connsiteX10" fmla="*/ 21571 w 36004"/>
                <a:gd name="connsiteY10" fmla="*/ 9267 h 17597"/>
                <a:gd name="connsiteX11" fmla="*/ 13856 w 36004"/>
                <a:gd name="connsiteY11" fmla="*/ 9267 h 17597"/>
                <a:gd name="connsiteX12" fmla="*/ 3569 w 36004"/>
                <a:gd name="connsiteY12" fmla="*/ 3457 h 17597"/>
                <a:gd name="connsiteX13" fmla="*/ 1283 w 36004"/>
                <a:gd name="connsiteY13" fmla="*/ 2028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48"/>
                    <a:pt x="387" y="8886"/>
                    <a:pt x="1283" y="9267"/>
                  </a:cubicBezTo>
                  <a:lnTo>
                    <a:pt x="13856" y="16506"/>
                  </a:lnTo>
                  <a:cubicBezTo>
                    <a:pt x="16275" y="17744"/>
                    <a:pt x="19152" y="17744"/>
                    <a:pt x="21571" y="16506"/>
                  </a:cubicBezTo>
                  <a:lnTo>
                    <a:pt x="34144" y="9267"/>
                  </a:lnTo>
                  <a:cubicBezTo>
                    <a:pt x="35011" y="8819"/>
                    <a:pt x="35582" y="7953"/>
                    <a:pt x="35668" y="6981"/>
                  </a:cubicBezTo>
                  <a:lnTo>
                    <a:pt x="35668" y="-163"/>
                  </a:lnTo>
                  <a:cubicBezTo>
                    <a:pt x="35630" y="800"/>
                    <a:pt x="35039" y="1657"/>
                    <a:pt x="34144" y="2028"/>
                  </a:cubicBezTo>
                  <a:lnTo>
                    <a:pt x="31858" y="3457"/>
                  </a:lnTo>
                  <a:lnTo>
                    <a:pt x="21571" y="9267"/>
                  </a:lnTo>
                  <a:cubicBezTo>
                    <a:pt x="19171" y="10610"/>
                    <a:pt x="16256" y="10610"/>
                    <a:pt x="13856" y="9267"/>
                  </a:cubicBezTo>
                  <a:lnTo>
                    <a:pt x="3569" y="3457"/>
                  </a:lnTo>
                  <a:lnTo>
                    <a:pt x="1283" y="2028"/>
                  </a:lnTo>
                  <a:cubicBezTo>
                    <a:pt x="349" y="1685"/>
                    <a:pt x="-279"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00" name="iṣlîḋê">
              <a:extLst>
                <a:ext uri="{FF2B5EF4-FFF2-40B4-BE49-F238E27FC236}">
                  <a16:creationId xmlns:a16="http://schemas.microsoft.com/office/drawing/2014/main" id="{F4B55C51-E311-4224-B2B8-D9AB67885FC6}"/>
                </a:ext>
              </a:extLst>
            </p:cNvPr>
            <p:cNvSpPr/>
            <p:nvPr/>
          </p:nvSpPr>
          <p:spPr>
            <a:xfrm>
              <a:off x="5389911" y="4728198"/>
              <a:ext cx="109594" cy="63588"/>
            </a:xfrm>
            <a:custGeom>
              <a:avLst/>
              <a:gdLst>
                <a:gd name="connsiteX0" fmla="*/ -336 w 36004"/>
                <a:gd name="connsiteY0" fmla="*/ 10291 h 20890"/>
                <a:gd name="connsiteX1" fmla="*/ 1188 w 36004"/>
                <a:gd name="connsiteY1" fmla="*/ 12482 h 20890"/>
                <a:gd name="connsiteX2" fmla="*/ 3569 w 36004"/>
                <a:gd name="connsiteY2" fmla="*/ 13911 h 20890"/>
                <a:gd name="connsiteX3" fmla="*/ 13856 w 36004"/>
                <a:gd name="connsiteY3" fmla="*/ 19721 h 20890"/>
                <a:gd name="connsiteX4" fmla="*/ 21476 w 36004"/>
                <a:gd name="connsiteY4" fmla="*/ 19721 h 20890"/>
                <a:gd name="connsiteX5" fmla="*/ 31763 w 36004"/>
                <a:gd name="connsiteY5" fmla="*/ 13911 h 20890"/>
                <a:gd name="connsiteX6" fmla="*/ 34144 w 36004"/>
                <a:gd name="connsiteY6" fmla="*/ 12482 h 20890"/>
                <a:gd name="connsiteX7" fmla="*/ 35668 w 36004"/>
                <a:gd name="connsiteY7" fmla="*/ 10291 h 20890"/>
                <a:gd name="connsiteX8" fmla="*/ 34144 w 36004"/>
                <a:gd name="connsiteY8" fmla="*/ 8005 h 20890"/>
                <a:gd name="connsiteX9" fmla="*/ 21476 w 36004"/>
                <a:gd name="connsiteY9" fmla="*/ 766 h 20890"/>
                <a:gd name="connsiteX10" fmla="*/ 13856 w 36004"/>
                <a:gd name="connsiteY10" fmla="*/ 766 h 20890"/>
                <a:gd name="connsiteX11" fmla="*/ 1188 w 36004"/>
                <a:gd name="connsiteY11" fmla="*/ 8005 h 20890"/>
                <a:gd name="connsiteX12" fmla="*/ -336 w 36004"/>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291"/>
                  </a:moveTo>
                  <a:cubicBezTo>
                    <a:pt x="-279" y="11244"/>
                    <a:pt x="311" y="12091"/>
                    <a:pt x="1188" y="12482"/>
                  </a:cubicBezTo>
                  <a:lnTo>
                    <a:pt x="3569" y="13911"/>
                  </a:lnTo>
                  <a:lnTo>
                    <a:pt x="13856" y="19721"/>
                  </a:lnTo>
                  <a:cubicBezTo>
                    <a:pt x="16218" y="21064"/>
                    <a:pt x="19114" y="21064"/>
                    <a:pt x="21476" y="19721"/>
                  </a:cubicBezTo>
                  <a:lnTo>
                    <a:pt x="31763" y="13911"/>
                  </a:lnTo>
                  <a:lnTo>
                    <a:pt x="34144" y="12482"/>
                  </a:lnTo>
                  <a:cubicBezTo>
                    <a:pt x="35021" y="12091"/>
                    <a:pt x="35611" y="11253"/>
                    <a:pt x="35668" y="10291"/>
                  </a:cubicBezTo>
                  <a:cubicBezTo>
                    <a:pt x="35602" y="9310"/>
                    <a:pt x="35021" y="8443"/>
                    <a:pt x="34144" y="8005"/>
                  </a:cubicBezTo>
                  <a:lnTo>
                    <a:pt x="21476" y="766"/>
                  </a:lnTo>
                  <a:cubicBezTo>
                    <a:pt x="19085" y="-472"/>
                    <a:pt x="16247" y="-472"/>
                    <a:pt x="13856" y="766"/>
                  </a:cubicBezTo>
                  <a:lnTo>
                    <a:pt x="1188" y="8005"/>
                  </a:lnTo>
                  <a:cubicBezTo>
                    <a:pt x="311" y="8443"/>
                    <a:pt x="-270" y="9310"/>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601" name="îšļiḍê">
              <a:extLst>
                <a:ext uri="{FF2B5EF4-FFF2-40B4-BE49-F238E27FC236}">
                  <a16:creationId xmlns:a16="http://schemas.microsoft.com/office/drawing/2014/main" id="{73C8149B-97EE-4EFF-82C8-04132849EF3A}"/>
                </a:ext>
              </a:extLst>
            </p:cNvPr>
            <p:cNvSpPr/>
            <p:nvPr/>
          </p:nvSpPr>
          <p:spPr>
            <a:xfrm>
              <a:off x="5391725" y="4729358"/>
              <a:ext cx="105895" cy="61101"/>
            </a:xfrm>
            <a:custGeom>
              <a:avLst/>
              <a:gdLst>
                <a:gd name="connsiteX0" fmla="*/ 1164 w 34789"/>
                <a:gd name="connsiteY0" fmla="*/ 12006 h 20073"/>
                <a:gd name="connsiteX1" fmla="*/ 13356 w 34789"/>
                <a:gd name="connsiteY1" fmla="*/ 19054 h 20073"/>
                <a:gd name="connsiteX2" fmla="*/ 20785 w 34789"/>
                <a:gd name="connsiteY2" fmla="*/ 19054 h 20073"/>
                <a:gd name="connsiteX3" fmla="*/ 32882 w 34789"/>
                <a:gd name="connsiteY3" fmla="*/ 12006 h 20073"/>
                <a:gd name="connsiteX4" fmla="*/ 32882 w 34789"/>
                <a:gd name="connsiteY4" fmla="*/ 7719 h 20073"/>
                <a:gd name="connsiteX5" fmla="*/ 20785 w 34789"/>
                <a:gd name="connsiteY5" fmla="*/ 766 h 20073"/>
                <a:gd name="connsiteX6" fmla="*/ 13356 w 34789"/>
                <a:gd name="connsiteY6" fmla="*/ 766 h 20073"/>
                <a:gd name="connsiteX7" fmla="*/ 1164 w 34789"/>
                <a:gd name="connsiteY7" fmla="*/ 7719 h 20073"/>
                <a:gd name="connsiteX8" fmla="*/ 1164 w 34789"/>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89" h="20073">
                  <a:moveTo>
                    <a:pt x="1164" y="12006"/>
                  </a:moveTo>
                  <a:lnTo>
                    <a:pt x="13356" y="19054"/>
                  </a:lnTo>
                  <a:cubicBezTo>
                    <a:pt x="15699" y="20197"/>
                    <a:pt x="18442" y="20197"/>
                    <a:pt x="20785" y="19054"/>
                  </a:cubicBezTo>
                  <a:lnTo>
                    <a:pt x="32882" y="12006"/>
                  </a:lnTo>
                  <a:cubicBezTo>
                    <a:pt x="34977" y="10863"/>
                    <a:pt x="34977" y="8957"/>
                    <a:pt x="32882" y="7719"/>
                  </a:cubicBezTo>
                  <a:lnTo>
                    <a:pt x="20785" y="766"/>
                  </a:lnTo>
                  <a:cubicBezTo>
                    <a:pt x="18461" y="-472"/>
                    <a:pt x="15680" y="-472"/>
                    <a:pt x="13356" y="766"/>
                  </a:cubicBezTo>
                  <a:lnTo>
                    <a:pt x="1164" y="7719"/>
                  </a:lnTo>
                  <a:cubicBezTo>
                    <a:pt x="-836" y="8957"/>
                    <a:pt x="-836" y="10863"/>
                    <a:pt x="1164" y="12006"/>
                  </a:cubicBezTo>
                  <a:close/>
                </a:path>
              </a:pathLst>
            </a:custGeom>
            <a:solidFill>
              <a:srgbClr val="D1D9E8"/>
            </a:solidFill>
            <a:ln w="9525" cap="flat">
              <a:noFill/>
              <a:prstDash val="solid"/>
              <a:miter/>
            </a:ln>
          </p:spPr>
          <p:txBody>
            <a:bodyPr rtlCol="0" anchor="ctr"/>
            <a:lstStyle/>
            <a:p>
              <a:endParaRPr lang="zh-CN" altLang="en-US"/>
            </a:p>
          </p:txBody>
        </p:sp>
        <p:sp>
          <p:nvSpPr>
            <p:cNvPr id="602" name="íşlíḓe">
              <a:extLst>
                <a:ext uri="{FF2B5EF4-FFF2-40B4-BE49-F238E27FC236}">
                  <a16:creationId xmlns:a16="http://schemas.microsoft.com/office/drawing/2014/main" id="{385FD81E-1524-4918-9FAD-69C91E06C98F}"/>
                </a:ext>
              </a:extLst>
            </p:cNvPr>
            <p:cNvSpPr/>
            <p:nvPr/>
          </p:nvSpPr>
          <p:spPr>
            <a:xfrm>
              <a:off x="5389911" y="4760019"/>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028 h 17597"/>
                <a:gd name="connsiteX9" fmla="*/ 31763 w 36004"/>
                <a:gd name="connsiteY9" fmla="*/ 3457 h 17597"/>
                <a:gd name="connsiteX10" fmla="*/ 21476 w 36004"/>
                <a:gd name="connsiteY10" fmla="*/ 9267 h 17597"/>
                <a:gd name="connsiteX11" fmla="*/ 13856 w 36004"/>
                <a:gd name="connsiteY11" fmla="*/ 9267 h 17597"/>
                <a:gd name="connsiteX12" fmla="*/ 3569 w 36004"/>
                <a:gd name="connsiteY12" fmla="*/ 3457 h 17597"/>
                <a:gd name="connsiteX13" fmla="*/ 1188 w 36004"/>
                <a:gd name="connsiteY13" fmla="*/ 2028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2" y="7953"/>
                    <a:pt x="35668" y="6981"/>
                  </a:cubicBezTo>
                  <a:lnTo>
                    <a:pt x="35668" y="-163"/>
                  </a:lnTo>
                  <a:cubicBezTo>
                    <a:pt x="35611" y="790"/>
                    <a:pt x="35021" y="1638"/>
                    <a:pt x="34144" y="2028"/>
                  </a:cubicBezTo>
                  <a:lnTo>
                    <a:pt x="31763" y="3457"/>
                  </a:lnTo>
                  <a:lnTo>
                    <a:pt x="21476" y="9267"/>
                  </a:lnTo>
                  <a:cubicBezTo>
                    <a:pt x="19114" y="10610"/>
                    <a:pt x="16218" y="10610"/>
                    <a:pt x="13856" y="9267"/>
                  </a:cubicBezTo>
                  <a:lnTo>
                    <a:pt x="3569" y="3457"/>
                  </a:lnTo>
                  <a:lnTo>
                    <a:pt x="1188" y="2028"/>
                  </a:lnTo>
                  <a:cubicBezTo>
                    <a:pt x="311" y="1638"/>
                    <a:pt x="-279" y="799"/>
                    <a:pt x="-336" y="-163"/>
                  </a:cubicBezTo>
                  <a:close/>
                </a:path>
              </a:pathLst>
            </a:custGeom>
            <a:solidFill>
              <a:srgbClr val="BF4200"/>
            </a:solidFill>
            <a:ln w="9525" cap="flat">
              <a:noFill/>
              <a:prstDash val="solid"/>
              <a:miter/>
            </a:ln>
          </p:spPr>
          <p:txBody>
            <a:bodyPr rtlCol="0" anchor="ctr"/>
            <a:lstStyle/>
            <a:p>
              <a:endParaRPr lang="zh-CN" altLang="en-US"/>
            </a:p>
          </p:txBody>
        </p:sp>
        <p:sp>
          <p:nvSpPr>
            <p:cNvPr id="603" name="ïṧľïḋè">
              <a:extLst>
                <a:ext uri="{FF2B5EF4-FFF2-40B4-BE49-F238E27FC236}">
                  <a16:creationId xmlns:a16="http://schemas.microsoft.com/office/drawing/2014/main" id="{2CA55B2C-5953-43DF-B3BE-2FE9239D1699}"/>
                </a:ext>
              </a:extLst>
            </p:cNvPr>
            <p:cNvSpPr/>
            <p:nvPr/>
          </p:nvSpPr>
          <p:spPr>
            <a:xfrm>
              <a:off x="5467035" y="4772849"/>
              <a:ext cx="109883" cy="63588"/>
            </a:xfrm>
            <a:custGeom>
              <a:avLst/>
              <a:gdLst>
                <a:gd name="connsiteX0" fmla="*/ -336 w 36099"/>
                <a:gd name="connsiteY0" fmla="*/ 10196 h 20890"/>
                <a:gd name="connsiteX1" fmla="*/ 1283 w 36099"/>
                <a:gd name="connsiteY1" fmla="*/ 12482 h 20890"/>
                <a:gd name="connsiteX2" fmla="*/ 3569 w 36099"/>
                <a:gd name="connsiteY2" fmla="*/ 13815 h 20890"/>
                <a:gd name="connsiteX3" fmla="*/ 13856 w 36099"/>
                <a:gd name="connsiteY3" fmla="*/ 19721 h 20890"/>
                <a:gd name="connsiteX4" fmla="*/ 21571 w 36099"/>
                <a:gd name="connsiteY4" fmla="*/ 19721 h 20890"/>
                <a:gd name="connsiteX5" fmla="*/ 31858 w 36099"/>
                <a:gd name="connsiteY5" fmla="*/ 13815 h 20890"/>
                <a:gd name="connsiteX6" fmla="*/ 34144 w 36099"/>
                <a:gd name="connsiteY6" fmla="*/ 12482 h 20890"/>
                <a:gd name="connsiteX7" fmla="*/ 35764 w 36099"/>
                <a:gd name="connsiteY7" fmla="*/ 10196 h 20890"/>
                <a:gd name="connsiteX8" fmla="*/ 34144 w 36099"/>
                <a:gd name="connsiteY8" fmla="*/ 8005 h 20890"/>
                <a:gd name="connsiteX9" fmla="*/ 21571 w 36099"/>
                <a:gd name="connsiteY9" fmla="*/ 766 h 20890"/>
                <a:gd name="connsiteX10" fmla="*/ 13856 w 36099"/>
                <a:gd name="connsiteY10" fmla="*/ 766 h 20890"/>
                <a:gd name="connsiteX11" fmla="*/ 1283 w 36099"/>
                <a:gd name="connsiteY11" fmla="*/ 8005 h 20890"/>
                <a:gd name="connsiteX12" fmla="*/ -336 w 36099"/>
                <a:gd name="connsiteY12" fmla="*/ 10196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99" h="20890">
                  <a:moveTo>
                    <a:pt x="-336" y="10196"/>
                  </a:moveTo>
                  <a:cubicBezTo>
                    <a:pt x="-251" y="11196"/>
                    <a:pt x="369" y="12072"/>
                    <a:pt x="1283" y="12482"/>
                  </a:cubicBezTo>
                  <a:lnTo>
                    <a:pt x="3569" y="13815"/>
                  </a:lnTo>
                  <a:lnTo>
                    <a:pt x="13856" y="19721"/>
                  </a:lnTo>
                  <a:cubicBezTo>
                    <a:pt x="16256" y="21064"/>
                    <a:pt x="19171" y="21064"/>
                    <a:pt x="21571" y="19721"/>
                  </a:cubicBezTo>
                  <a:lnTo>
                    <a:pt x="31858" y="13815"/>
                  </a:lnTo>
                  <a:lnTo>
                    <a:pt x="34144" y="12482"/>
                  </a:lnTo>
                  <a:cubicBezTo>
                    <a:pt x="35059" y="12072"/>
                    <a:pt x="35678" y="11196"/>
                    <a:pt x="35764" y="10196"/>
                  </a:cubicBezTo>
                  <a:cubicBezTo>
                    <a:pt x="35630" y="9243"/>
                    <a:pt x="35021" y="8414"/>
                    <a:pt x="34144" y="8005"/>
                  </a:cubicBezTo>
                  <a:lnTo>
                    <a:pt x="21571" y="766"/>
                  </a:lnTo>
                  <a:cubicBezTo>
                    <a:pt x="19152" y="-472"/>
                    <a:pt x="16275" y="-472"/>
                    <a:pt x="13856" y="766"/>
                  </a:cubicBezTo>
                  <a:lnTo>
                    <a:pt x="1283" y="8005"/>
                  </a:lnTo>
                  <a:cubicBezTo>
                    <a:pt x="407" y="8414"/>
                    <a:pt x="-203" y="924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604" name="ïŝlíḑé">
              <a:extLst>
                <a:ext uri="{FF2B5EF4-FFF2-40B4-BE49-F238E27FC236}">
                  <a16:creationId xmlns:a16="http://schemas.microsoft.com/office/drawing/2014/main" id="{DAEEEF72-7BDB-4737-B2D4-07055EB0FFE2}"/>
                </a:ext>
              </a:extLst>
            </p:cNvPr>
            <p:cNvSpPr/>
            <p:nvPr/>
          </p:nvSpPr>
          <p:spPr>
            <a:xfrm>
              <a:off x="5469281" y="4774009"/>
              <a:ext cx="106114" cy="61101"/>
            </a:xfrm>
            <a:custGeom>
              <a:avLst/>
              <a:gdLst>
                <a:gd name="connsiteX0" fmla="*/ 1307 w 34861"/>
                <a:gd name="connsiteY0" fmla="*/ 12006 h 20073"/>
                <a:gd name="connsiteX1" fmla="*/ 13403 w 34861"/>
                <a:gd name="connsiteY1" fmla="*/ 19054 h 20073"/>
                <a:gd name="connsiteX2" fmla="*/ 20833 w 34861"/>
                <a:gd name="connsiteY2" fmla="*/ 19054 h 20073"/>
                <a:gd name="connsiteX3" fmla="*/ 33025 w 34861"/>
                <a:gd name="connsiteY3" fmla="*/ 12006 h 20073"/>
                <a:gd name="connsiteX4" fmla="*/ 33025 w 34861"/>
                <a:gd name="connsiteY4" fmla="*/ 7719 h 20073"/>
                <a:gd name="connsiteX5" fmla="*/ 20833 w 34861"/>
                <a:gd name="connsiteY5" fmla="*/ 766 h 20073"/>
                <a:gd name="connsiteX6" fmla="*/ 13403 w 34861"/>
                <a:gd name="connsiteY6" fmla="*/ 766 h 20073"/>
                <a:gd name="connsiteX7" fmla="*/ 1307 w 34861"/>
                <a:gd name="connsiteY7" fmla="*/ 7719 h 20073"/>
                <a:gd name="connsiteX8" fmla="*/ 1307 w 34861"/>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861" h="20073">
                  <a:moveTo>
                    <a:pt x="1307" y="12006"/>
                  </a:moveTo>
                  <a:lnTo>
                    <a:pt x="13403" y="19054"/>
                  </a:lnTo>
                  <a:cubicBezTo>
                    <a:pt x="15747" y="20197"/>
                    <a:pt x="18490" y="20197"/>
                    <a:pt x="20833" y="19054"/>
                  </a:cubicBezTo>
                  <a:lnTo>
                    <a:pt x="33025" y="12006"/>
                  </a:lnTo>
                  <a:cubicBezTo>
                    <a:pt x="35025" y="10862"/>
                    <a:pt x="35025" y="8958"/>
                    <a:pt x="33025" y="7719"/>
                  </a:cubicBezTo>
                  <a:lnTo>
                    <a:pt x="20833" y="766"/>
                  </a:lnTo>
                  <a:cubicBezTo>
                    <a:pt x="18509" y="-472"/>
                    <a:pt x="15728" y="-472"/>
                    <a:pt x="13403" y="766"/>
                  </a:cubicBezTo>
                  <a:lnTo>
                    <a:pt x="1307" y="7719"/>
                  </a:lnTo>
                  <a:cubicBezTo>
                    <a:pt x="-884" y="8958"/>
                    <a:pt x="-884" y="10862"/>
                    <a:pt x="1307" y="12006"/>
                  </a:cubicBezTo>
                  <a:close/>
                </a:path>
              </a:pathLst>
            </a:custGeom>
            <a:solidFill>
              <a:srgbClr val="D1D9E8"/>
            </a:solidFill>
            <a:ln w="9525" cap="flat">
              <a:noFill/>
              <a:prstDash val="solid"/>
              <a:miter/>
            </a:ln>
          </p:spPr>
          <p:txBody>
            <a:bodyPr rtlCol="0" anchor="ctr"/>
            <a:lstStyle/>
            <a:p>
              <a:endParaRPr lang="zh-CN" altLang="en-US"/>
            </a:p>
          </p:txBody>
        </p:sp>
        <p:sp>
          <p:nvSpPr>
            <p:cNvPr id="605" name="ïśḷïḑé">
              <a:extLst>
                <a:ext uri="{FF2B5EF4-FFF2-40B4-BE49-F238E27FC236}">
                  <a16:creationId xmlns:a16="http://schemas.microsoft.com/office/drawing/2014/main" id="{DCA095AD-F522-4457-8E0D-1A943A8DDC7F}"/>
                </a:ext>
              </a:extLst>
            </p:cNvPr>
            <p:cNvSpPr/>
            <p:nvPr/>
          </p:nvSpPr>
          <p:spPr>
            <a:xfrm>
              <a:off x="5467035" y="4804378"/>
              <a:ext cx="109883" cy="54383"/>
            </a:xfrm>
            <a:custGeom>
              <a:avLst/>
              <a:gdLst>
                <a:gd name="connsiteX0" fmla="*/ -336 w 36099"/>
                <a:gd name="connsiteY0" fmla="*/ -163 h 17866"/>
                <a:gd name="connsiteX1" fmla="*/ -336 w 36099"/>
                <a:gd name="connsiteY1" fmla="*/ 7267 h 17866"/>
                <a:gd name="connsiteX2" fmla="*/ 1283 w 36099"/>
                <a:gd name="connsiteY2" fmla="*/ 9553 h 17866"/>
                <a:gd name="connsiteX3" fmla="*/ 13856 w 36099"/>
                <a:gd name="connsiteY3" fmla="*/ 16697 h 17866"/>
                <a:gd name="connsiteX4" fmla="*/ 21571 w 36099"/>
                <a:gd name="connsiteY4" fmla="*/ 16697 h 17866"/>
                <a:gd name="connsiteX5" fmla="*/ 34144 w 36099"/>
                <a:gd name="connsiteY5" fmla="*/ 9553 h 17866"/>
                <a:gd name="connsiteX6" fmla="*/ 35764 w 36099"/>
                <a:gd name="connsiteY6" fmla="*/ 7267 h 17866"/>
                <a:gd name="connsiteX7" fmla="*/ 35764 w 36099"/>
                <a:gd name="connsiteY7" fmla="*/ 28 h 17866"/>
                <a:gd name="connsiteX8" fmla="*/ 34144 w 36099"/>
                <a:gd name="connsiteY8" fmla="*/ 2314 h 17866"/>
                <a:gd name="connsiteX9" fmla="*/ 31858 w 36099"/>
                <a:gd name="connsiteY9" fmla="*/ 3647 h 17866"/>
                <a:gd name="connsiteX10" fmla="*/ 21571 w 36099"/>
                <a:gd name="connsiteY10" fmla="*/ 9553 h 17866"/>
                <a:gd name="connsiteX11" fmla="*/ 13856 w 36099"/>
                <a:gd name="connsiteY11" fmla="*/ 9553 h 17866"/>
                <a:gd name="connsiteX12" fmla="*/ 3569 w 36099"/>
                <a:gd name="connsiteY12" fmla="*/ 3647 h 17866"/>
                <a:gd name="connsiteX13" fmla="*/ 1283 w 36099"/>
                <a:gd name="connsiteY13" fmla="*/ 2314 h 17866"/>
                <a:gd name="connsiteX14" fmla="*/ -336 w 36099"/>
                <a:gd name="connsiteY14" fmla="*/ -163 h 178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866">
                  <a:moveTo>
                    <a:pt x="-336" y="-163"/>
                  </a:moveTo>
                  <a:lnTo>
                    <a:pt x="-336" y="7267"/>
                  </a:lnTo>
                  <a:cubicBezTo>
                    <a:pt x="-232" y="8257"/>
                    <a:pt x="378" y="9124"/>
                    <a:pt x="1283" y="9553"/>
                  </a:cubicBezTo>
                  <a:lnTo>
                    <a:pt x="13856" y="16697"/>
                  </a:lnTo>
                  <a:cubicBezTo>
                    <a:pt x="16256" y="18040"/>
                    <a:pt x="19171" y="18040"/>
                    <a:pt x="21571" y="16697"/>
                  </a:cubicBezTo>
                  <a:lnTo>
                    <a:pt x="34144" y="9553"/>
                  </a:lnTo>
                  <a:cubicBezTo>
                    <a:pt x="35030" y="9115"/>
                    <a:pt x="35640" y="8248"/>
                    <a:pt x="35764" y="7267"/>
                  </a:cubicBezTo>
                  <a:lnTo>
                    <a:pt x="35764" y="28"/>
                  </a:lnTo>
                  <a:cubicBezTo>
                    <a:pt x="35678" y="1028"/>
                    <a:pt x="35059" y="1904"/>
                    <a:pt x="34144" y="2314"/>
                  </a:cubicBezTo>
                  <a:lnTo>
                    <a:pt x="31858" y="3647"/>
                  </a:lnTo>
                  <a:lnTo>
                    <a:pt x="21571" y="9553"/>
                  </a:lnTo>
                  <a:cubicBezTo>
                    <a:pt x="19171" y="10896"/>
                    <a:pt x="16256" y="10896"/>
                    <a:pt x="13856" y="9553"/>
                  </a:cubicBezTo>
                  <a:lnTo>
                    <a:pt x="3569" y="3647"/>
                  </a:lnTo>
                  <a:lnTo>
                    <a:pt x="1283" y="2314"/>
                  </a:lnTo>
                  <a:cubicBezTo>
                    <a:pt x="311" y="1876"/>
                    <a:pt x="-317" y="904"/>
                    <a:pt x="-336" y="-163"/>
                  </a:cubicBezTo>
                  <a:close/>
                </a:path>
              </a:pathLst>
            </a:custGeom>
            <a:solidFill>
              <a:srgbClr val="BF4200"/>
            </a:solidFill>
            <a:ln w="9525" cap="flat">
              <a:noFill/>
              <a:prstDash val="solid"/>
              <a:miter/>
            </a:ln>
          </p:spPr>
          <p:txBody>
            <a:bodyPr rtlCol="0" anchor="ctr"/>
            <a:lstStyle/>
            <a:p>
              <a:endParaRPr lang="zh-CN" altLang="en-US"/>
            </a:p>
          </p:txBody>
        </p:sp>
        <p:sp>
          <p:nvSpPr>
            <p:cNvPr id="606" name="íš1îḍê">
              <a:extLst>
                <a:ext uri="{FF2B5EF4-FFF2-40B4-BE49-F238E27FC236}">
                  <a16:creationId xmlns:a16="http://schemas.microsoft.com/office/drawing/2014/main" id="{F44EB2E2-10A2-408B-9946-D6CBC333992E}"/>
                </a:ext>
              </a:extLst>
            </p:cNvPr>
            <p:cNvSpPr/>
            <p:nvPr/>
          </p:nvSpPr>
          <p:spPr>
            <a:xfrm>
              <a:off x="5544448" y="4817498"/>
              <a:ext cx="108580" cy="63588"/>
            </a:xfrm>
            <a:custGeom>
              <a:avLst/>
              <a:gdLst>
                <a:gd name="connsiteX0" fmla="*/ -336 w 35671"/>
                <a:gd name="connsiteY0" fmla="*/ 10196 h 20890"/>
                <a:gd name="connsiteX1" fmla="*/ 1187 w 35671"/>
                <a:gd name="connsiteY1" fmla="*/ 12482 h 20890"/>
                <a:gd name="connsiteX2" fmla="*/ 3569 w 35671"/>
                <a:gd name="connsiteY2" fmla="*/ 13815 h 20890"/>
                <a:gd name="connsiteX3" fmla="*/ 13856 w 35671"/>
                <a:gd name="connsiteY3" fmla="*/ 19721 h 20890"/>
                <a:gd name="connsiteX4" fmla="*/ 21476 w 35671"/>
                <a:gd name="connsiteY4" fmla="*/ 19721 h 20890"/>
                <a:gd name="connsiteX5" fmla="*/ 31763 w 35671"/>
                <a:gd name="connsiteY5" fmla="*/ 13815 h 20890"/>
                <a:gd name="connsiteX6" fmla="*/ 33763 w 35671"/>
                <a:gd name="connsiteY6" fmla="*/ 12482 h 20890"/>
                <a:gd name="connsiteX7" fmla="*/ 35192 w 35671"/>
                <a:gd name="connsiteY7" fmla="*/ 9434 h 20890"/>
                <a:gd name="connsiteX8" fmla="*/ 33763 w 35671"/>
                <a:gd name="connsiteY8" fmla="*/ 8005 h 20890"/>
                <a:gd name="connsiteX9" fmla="*/ 21095 w 35671"/>
                <a:gd name="connsiteY9" fmla="*/ 766 h 20890"/>
                <a:gd name="connsiteX10" fmla="*/ 13475 w 35671"/>
                <a:gd name="connsiteY10" fmla="*/ 766 h 20890"/>
                <a:gd name="connsiteX11" fmla="*/ 807 w 35671"/>
                <a:gd name="connsiteY11" fmla="*/ 8005 h 20890"/>
                <a:gd name="connsiteX12" fmla="*/ -336 w 35671"/>
                <a:gd name="connsiteY12" fmla="*/ 10196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671" h="20890">
                  <a:moveTo>
                    <a:pt x="-336" y="10196"/>
                  </a:moveTo>
                  <a:cubicBezTo>
                    <a:pt x="-270" y="11177"/>
                    <a:pt x="311" y="12044"/>
                    <a:pt x="1187" y="12482"/>
                  </a:cubicBezTo>
                  <a:lnTo>
                    <a:pt x="3569" y="13815"/>
                  </a:lnTo>
                  <a:lnTo>
                    <a:pt x="13856" y="19721"/>
                  </a:lnTo>
                  <a:cubicBezTo>
                    <a:pt x="16218" y="21064"/>
                    <a:pt x="19114" y="21064"/>
                    <a:pt x="21476" y="19721"/>
                  </a:cubicBezTo>
                  <a:lnTo>
                    <a:pt x="31763" y="13815"/>
                  </a:lnTo>
                  <a:lnTo>
                    <a:pt x="33763" y="12482"/>
                  </a:lnTo>
                  <a:cubicBezTo>
                    <a:pt x="35001" y="12034"/>
                    <a:pt x="35639" y="10662"/>
                    <a:pt x="35192" y="9434"/>
                  </a:cubicBezTo>
                  <a:cubicBezTo>
                    <a:pt x="34944" y="8767"/>
                    <a:pt x="34430" y="8243"/>
                    <a:pt x="33763" y="8005"/>
                  </a:cubicBezTo>
                  <a:lnTo>
                    <a:pt x="21095" y="766"/>
                  </a:lnTo>
                  <a:cubicBezTo>
                    <a:pt x="18704" y="-472"/>
                    <a:pt x="15866" y="-472"/>
                    <a:pt x="13475" y="766"/>
                  </a:cubicBezTo>
                  <a:lnTo>
                    <a:pt x="807" y="8005"/>
                  </a:lnTo>
                  <a:cubicBezTo>
                    <a:pt x="102" y="8510"/>
                    <a:pt x="-317" y="9329"/>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607" name="işlïdé">
              <a:extLst>
                <a:ext uri="{FF2B5EF4-FFF2-40B4-BE49-F238E27FC236}">
                  <a16:creationId xmlns:a16="http://schemas.microsoft.com/office/drawing/2014/main" id="{6619F2D5-9748-40DC-BF5B-137274BF8AA8}"/>
                </a:ext>
              </a:extLst>
            </p:cNvPr>
            <p:cNvSpPr/>
            <p:nvPr/>
          </p:nvSpPr>
          <p:spPr>
            <a:xfrm>
              <a:off x="5546981" y="4818877"/>
              <a:ext cx="105798" cy="61174"/>
            </a:xfrm>
            <a:custGeom>
              <a:avLst/>
              <a:gdLst>
                <a:gd name="connsiteX0" fmla="*/ 1022 w 34757"/>
                <a:gd name="connsiteY0" fmla="*/ 12029 h 20097"/>
                <a:gd name="connsiteX1" fmla="*/ 13119 w 34757"/>
                <a:gd name="connsiteY1" fmla="*/ 19078 h 20097"/>
                <a:gd name="connsiteX2" fmla="*/ 20548 w 34757"/>
                <a:gd name="connsiteY2" fmla="*/ 19078 h 20097"/>
                <a:gd name="connsiteX3" fmla="*/ 32931 w 34757"/>
                <a:gd name="connsiteY3" fmla="*/ 12029 h 20097"/>
                <a:gd name="connsiteX4" fmla="*/ 34274 w 34757"/>
                <a:gd name="connsiteY4" fmla="*/ 9086 h 20097"/>
                <a:gd name="connsiteX5" fmla="*/ 32931 w 34757"/>
                <a:gd name="connsiteY5" fmla="*/ 7743 h 20097"/>
                <a:gd name="connsiteX6" fmla="*/ 20834 w 34757"/>
                <a:gd name="connsiteY6" fmla="*/ 695 h 20097"/>
                <a:gd name="connsiteX7" fmla="*/ 13405 w 34757"/>
                <a:gd name="connsiteY7" fmla="*/ 695 h 20097"/>
                <a:gd name="connsiteX8" fmla="*/ 1308 w 34757"/>
                <a:gd name="connsiteY8" fmla="*/ 7743 h 20097"/>
                <a:gd name="connsiteX9" fmla="*/ -245 w 34757"/>
                <a:gd name="connsiteY9" fmla="*/ 10572 h 20097"/>
                <a:gd name="connsiteX10" fmla="*/ 1022 w 34757"/>
                <a:gd name="connsiteY10" fmla="*/ 12029 h 20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757" h="20097">
                  <a:moveTo>
                    <a:pt x="1022" y="12029"/>
                  </a:moveTo>
                  <a:lnTo>
                    <a:pt x="13119" y="19078"/>
                  </a:lnTo>
                  <a:cubicBezTo>
                    <a:pt x="15462" y="20221"/>
                    <a:pt x="18205" y="20221"/>
                    <a:pt x="20548" y="19078"/>
                  </a:cubicBezTo>
                  <a:lnTo>
                    <a:pt x="32931" y="12029"/>
                  </a:lnTo>
                  <a:cubicBezTo>
                    <a:pt x="34112" y="11591"/>
                    <a:pt x="34721" y="10277"/>
                    <a:pt x="34274" y="9086"/>
                  </a:cubicBezTo>
                  <a:cubicBezTo>
                    <a:pt x="34045" y="8467"/>
                    <a:pt x="33550" y="7972"/>
                    <a:pt x="32931" y="7743"/>
                  </a:cubicBezTo>
                  <a:lnTo>
                    <a:pt x="20834" y="695"/>
                  </a:lnTo>
                  <a:cubicBezTo>
                    <a:pt x="18491" y="-448"/>
                    <a:pt x="15748" y="-448"/>
                    <a:pt x="13405" y="695"/>
                  </a:cubicBezTo>
                  <a:lnTo>
                    <a:pt x="1308" y="7743"/>
                  </a:lnTo>
                  <a:cubicBezTo>
                    <a:pt x="98" y="8096"/>
                    <a:pt x="-597" y="9362"/>
                    <a:pt x="-245" y="10572"/>
                  </a:cubicBezTo>
                  <a:cubicBezTo>
                    <a:pt x="-64" y="11229"/>
                    <a:pt x="403" y="11753"/>
                    <a:pt x="1022" y="12029"/>
                  </a:cubicBezTo>
                  <a:close/>
                </a:path>
              </a:pathLst>
            </a:custGeom>
            <a:solidFill>
              <a:srgbClr val="D1D9E8"/>
            </a:solidFill>
            <a:ln w="9525" cap="flat">
              <a:noFill/>
              <a:prstDash val="solid"/>
              <a:miter/>
            </a:ln>
          </p:spPr>
          <p:txBody>
            <a:bodyPr rtlCol="0" anchor="ctr"/>
            <a:lstStyle/>
            <a:p>
              <a:endParaRPr lang="zh-CN" altLang="en-US"/>
            </a:p>
          </p:txBody>
        </p:sp>
        <p:sp>
          <p:nvSpPr>
            <p:cNvPr id="608" name="ïṡľïḓe">
              <a:extLst>
                <a:ext uri="{FF2B5EF4-FFF2-40B4-BE49-F238E27FC236}">
                  <a16:creationId xmlns:a16="http://schemas.microsoft.com/office/drawing/2014/main" id="{C1108CB1-773F-4B71-906F-37D562CFEBF7}"/>
                </a:ext>
              </a:extLst>
            </p:cNvPr>
            <p:cNvSpPr/>
            <p:nvPr/>
          </p:nvSpPr>
          <p:spPr>
            <a:xfrm>
              <a:off x="5544448" y="4849030"/>
              <a:ext cx="109594" cy="53801"/>
            </a:xfrm>
            <a:custGeom>
              <a:avLst/>
              <a:gdLst>
                <a:gd name="connsiteX0" fmla="*/ -336 w 36004"/>
                <a:gd name="connsiteY0" fmla="*/ -163 h 17675"/>
                <a:gd name="connsiteX1" fmla="*/ -336 w 36004"/>
                <a:gd name="connsiteY1" fmla="*/ 7076 h 17675"/>
                <a:gd name="connsiteX2" fmla="*/ 1187 w 36004"/>
                <a:gd name="connsiteY2" fmla="*/ 9267 h 17675"/>
                <a:gd name="connsiteX3" fmla="*/ 13856 w 36004"/>
                <a:gd name="connsiteY3" fmla="*/ 16506 h 17675"/>
                <a:gd name="connsiteX4" fmla="*/ 21476 w 36004"/>
                <a:gd name="connsiteY4" fmla="*/ 16506 h 17675"/>
                <a:gd name="connsiteX5" fmla="*/ 34144 w 36004"/>
                <a:gd name="connsiteY5" fmla="*/ 9267 h 17675"/>
                <a:gd name="connsiteX6" fmla="*/ 35668 w 36004"/>
                <a:gd name="connsiteY6" fmla="*/ 7076 h 17675"/>
                <a:gd name="connsiteX7" fmla="*/ 35668 w 36004"/>
                <a:gd name="connsiteY7" fmla="*/ -163 h 17675"/>
                <a:gd name="connsiteX8" fmla="*/ 34144 w 36004"/>
                <a:gd name="connsiteY8" fmla="*/ 2123 h 17675"/>
                <a:gd name="connsiteX9" fmla="*/ 31763 w 36004"/>
                <a:gd name="connsiteY9" fmla="*/ 3457 h 17675"/>
                <a:gd name="connsiteX10" fmla="*/ 21476 w 36004"/>
                <a:gd name="connsiteY10" fmla="*/ 9362 h 17675"/>
                <a:gd name="connsiteX11" fmla="*/ 13856 w 36004"/>
                <a:gd name="connsiteY11" fmla="*/ 9362 h 17675"/>
                <a:gd name="connsiteX12" fmla="*/ 3569 w 36004"/>
                <a:gd name="connsiteY12" fmla="*/ 3457 h 17675"/>
                <a:gd name="connsiteX13" fmla="*/ 1187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98" y="8038"/>
                    <a:pt x="292" y="8896"/>
                    <a:pt x="1187" y="9267"/>
                  </a:cubicBezTo>
                  <a:lnTo>
                    <a:pt x="13856" y="16506"/>
                  </a:lnTo>
                  <a:cubicBezTo>
                    <a:pt x="16218" y="17849"/>
                    <a:pt x="19114" y="17849"/>
                    <a:pt x="21476" y="16506"/>
                  </a:cubicBezTo>
                  <a:lnTo>
                    <a:pt x="34144" y="9267"/>
                  </a:lnTo>
                  <a:cubicBezTo>
                    <a:pt x="35020" y="8877"/>
                    <a:pt x="35611" y="8038"/>
                    <a:pt x="35668" y="7076"/>
                  </a:cubicBezTo>
                  <a:lnTo>
                    <a:pt x="35668" y="-163"/>
                  </a:lnTo>
                  <a:cubicBezTo>
                    <a:pt x="35601" y="818"/>
                    <a:pt x="35020" y="1685"/>
                    <a:pt x="34144" y="2123"/>
                  </a:cubicBezTo>
                  <a:lnTo>
                    <a:pt x="31763" y="3457"/>
                  </a:lnTo>
                  <a:lnTo>
                    <a:pt x="21476" y="9362"/>
                  </a:lnTo>
                  <a:cubicBezTo>
                    <a:pt x="19114" y="10705"/>
                    <a:pt x="16218" y="10705"/>
                    <a:pt x="13856" y="9362"/>
                  </a:cubicBezTo>
                  <a:lnTo>
                    <a:pt x="3569" y="3457"/>
                  </a:lnTo>
                  <a:lnTo>
                    <a:pt x="1187"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09" name="îSľïḓé">
              <a:extLst>
                <a:ext uri="{FF2B5EF4-FFF2-40B4-BE49-F238E27FC236}">
                  <a16:creationId xmlns:a16="http://schemas.microsoft.com/office/drawing/2014/main" id="{CB080CA6-48D3-487E-B017-66E668AEB09A}"/>
                </a:ext>
              </a:extLst>
            </p:cNvPr>
            <p:cNvSpPr/>
            <p:nvPr/>
          </p:nvSpPr>
          <p:spPr>
            <a:xfrm>
              <a:off x="5621569" y="4862207"/>
              <a:ext cx="109740" cy="63289"/>
            </a:xfrm>
            <a:custGeom>
              <a:avLst/>
              <a:gdLst>
                <a:gd name="connsiteX0" fmla="*/ -336 w 36052"/>
                <a:gd name="connsiteY0" fmla="*/ 10177 h 20792"/>
                <a:gd name="connsiteX1" fmla="*/ 1283 w 36052"/>
                <a:gd name="connsiteY1" fmla="*/ 12463 h 20792"/>
                <a:gd name="connsiteX2" fmla="*/ 3569 w 36052"/>
                <a:gd name="connsiteY2" fmla="*/ 13796 h 20792"/>
                <a:gd name="connsiteX3" fmla="*/ 13856 w 36052"/>
                <a:gd name="connsiteY3" fmla="*/ 19702 h 20792"/>
                <a:gd name="connsiteX4" fmla="*/ 21571 w 36052"/>
                <a:gd name="connsiteY4" fmla="*/ 19702 h 20792"/>
                <a:gd name="connsiteX5" fmla="*/ 31858 w 36052"/>
                <a:gd name="connsiteY5" fmla="*/ 13796 h 20792"/>
                <a:gd name="connsiteX6" fmla="*/ 34144 w 36052"/>
                <a:gd name="connsiteY6" fmla="*/ 12463 h 20792"/>
                <a:gd name="connsiteX7" fmla="*/ 35573 w 36052"/>
                <a:gd name="connsiteY7" fmla="*/ 9415 h 20792"/>
                <a:gd name="connsiteX8" fmla="*/ 34144 w 36052"/>
                <a:gd name="connsiteY8" fmla="*/ 7986 h 20792"/>
                <a:gd name="connsiteX9" fmla="*/ 21571 w 36052"/>
                <a:gd name="connsiteY9" fmla="*/ 652 h 20792"/>
                <a:gd name="connsiteX10" fmla="*/ 13856 w 36052"/>
                <a:gd name="connsiteY10" fmla="*/ 652 h 20792"/>
                <a:gd name="connsiteX11" fmla="*/ 1283 w 36052"/>
                <a:gd name="connsiteY11" fmla="*/ 7986 h 20792"/>
                <a:gd name="connsiteX12" fmla="*/ -336 w 36052"/>
                <a:gd name="connsiteY12" fmla="*/ 10177 h 20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792">
                  <a:moveTo>
                    <a:pt x="-336" y="10177"/>
                  </a:moveTo>
                  <a:cubicBezTo>
                    <a:pt x="-231" y="11167"/>
                    <a:pt x="378" y="12034"/>
                    <a:pt x="1283" y="12463"/>
                  </a:cubicBezTo>
                  <a:lnTo>
                    <a:pt x="3569" y="13796"/>
                  </a:lnTo>
                  <a:lnTo>
                    <a:pt x="13856" y="19702"/>
                  </a:lnTo>
                  <a:cubicBezTo>
                    <a:pt x="16275" y="20940"/>
                    <a:pt x="19152" y="20940"/>
                    <a:pt x="21571" y="19702"/>
                  </a:cubicBezTo>
                  <a:lnTo>
                    <a:pt x="31858" y="13796"/>
                  </a:lnTo>
                  <a:lnTo>
                    <a:pt x="34144" y="12463"/>
                  </a:lnTo>
                  <a:cubicBezTo>
                    <a:pt x="35382" y="12015"/>
                    <a:pt x="36021" y="10643"/>
                    <a:pt x="35573" y="9415"/>
                  </a:cubicBezTo>
                  <a:cubicBezTo>
                    <a:pt x="35325" y="8748"/>
                    <a:pt x="34811" y="8224"/>
                    <a:pt x="34144" y="7986"/>
                  </a:cubicBezTo>
                  <a:lnTo>
                    <a:pt x="21571" y="652"/>
                  </a:lnTo>
                  <a:cubicBezTo>
                    <a:pt x="19114" y="-434"/>
                    <a:pt x="16314" y="-434"/>
                    <a:pt x="13856" y="652"/>
                  </a:cubicBezTo>
                  <a:lnTo>
                    <a:pt x="1283" y="7986"/>
                  </a:lnTo>
                  <a:cubicBezTo>
                    <a:pt x="407" y="8396"/>
                    <a:pt x="-203" y="9224"/>
                    <a:pt x="-336" y="10177"/>
                  </a:cubicBezTo>
                  <a:close/>
                </a:path>
              </a:pathLst>
            </a:custGeom>
            <a:solidFill>
              <a:srgbClr val="FFFFFF"/>
            </a:solidFill>
            <a:ln w="9525" cap="flat">
              <a:noFill/>
              <a:prstDash val="solid"/>
              <a:miter/>
            </a:ln>
          </p:spPr>
          <p:txBody>
            <a:bodyPr rtlCol="0" anchor="ctr"/>
            <a:lstStyle/>
            <a:p>
              <a:endParaRPr lang="zh-CN" altLang="en-US"/>
            </a:p>
          </p:txBody>
        </p:sp>
        <p:sp>
          <p:nvSpPr>
            <p:cNvPr id="610" name="îṡliḋe">
              <a:extLst>
                <a:ext uri="{FF2B5EF4-FFF2-40B4-BE49-F238E27FC236}">
                  <a16:creationId xmlns:a16="http://schemas.microsoft.com/office/drawing/2014/main" id="{9B4634F1-59C4-4D48-861E-BC65E604013D}"/>
                </a:ext>
              </a:extLst>
            </p:cNvPr>
            <p:cNvSpPr/>
            <p:nvPr/>
          </p:nvSpPr>
          <p:spPr>
            <a:xfrm>
              <a:off x="5623672" y="4863236"/>
              <a:ext cx="105679" cy="61104"/>
            </a:xfrm>
            <a:custGeom>
              <a:avLst/>
              <a:gdLst>
                <a:gd name="connsiteX0" fmla="*/ 1164 w 34718"/>
                <a:gd name="connsiteY0" fmla="*/ 12029 h 20074"/>
                <a:gd name="connsiteX1" fmla="*/ 13356 w 34718"/>
                <a:gd name="connsiteY1" fmla="*/ 18983 h 20074"/>
                <a:gd name="connsiteX2" fmla="*/ 20785 w 34718"/>
                <a:gd name="connsiteY2" fmla="*/ 18983 h 20074"/>
                <a:gd name="connsiteX3" fmla="*/ 32882 w 34718"/>
                <a:gd name="connsiteY3" fmla="*/ 12029 h 20074"/>
                <a:gd name="connsiteX4" fmla="*/ 32882 w 34718"/>
                <a:gd name="connsiteY4" fmla="*/ 7743 h 20074"/>
                <a:gd name="connsiteX5" fmla="*/ 20785 w 34718"/>
                <a:gd name="connsiteY5" fmla="*/ 695 h 20074"/>
                <a:gd name="connsiteX6" fmla="*/ 13356 w 34718"/>
                <a:gd name="connsiteY6" fmla="*/ 695 h 20074"/>
                <a:gd name="connsiteX7" fmla="*/ 1164 w 34718"/>
                <a:gd name="connsiteY7" fmla="*/ 7743 h 20074"/>
                <a:gd name="connsiteX8" fmla="*/ 1164 w 34718"/>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18" h="20074">
                  <a:moveTo>
                    <a:pt x="1164" y="12029"/>
                  </a:moveTo>
                  <a:lnTo>
                    <a:pt x="13356" y="18983"/>
                  </a:lnTo>
                  <a:cubicBezTo>
                    <a:pt x="15680" y="20221"/>
                    <a:pt x="18461" y="20221"/>
                    <a:pt x="20785" y="18983"/>
                  </a:cubicBezTo>
                  <a:lnTo>
                    <a:pt x="32882" y="12029"/>
                  </a:lnTo>
                  <a:cubicBezTo>
                    <a:pt x="34882" y="10791"/>
                    <a:pt x="34882" y="8886"/>
                    <a:pt x="32882" y="7743"/>
                  </a:cubicBezTo>
                  <a:lnTo>
                    <a:pt x="20785" y="695"/>
                  </a:lnTo>
                  <a:cubicBezTo>
                    <a:pt x="18442" y="-448"/>
                    <a:pt x="15699" y="-448"/>
                    <a:pt x="13356" y="695"/>
                  </a:cubicBezTo>
                  <a:lnTo>
                    <a:pt x="1164" y="7743"/>
                  </a:lnTo>
                  <a:cubicBezTo>
                    <a:pt x="-836" y="8886"/>
                    <a:pt x="-836" y="10791"/>
                    <a:pt x="1164" y="12029"/>
                  </a:cubicBezTo>
                  <a:close/>
                </a:path>
              </a:pathLst>
            </a:custGeom>
            <a:solidFill>
              <a:srgbClr val="D1D9E8"/>
            </a:solidFill>
            <a:ln w="9525" cap="flat">
              <a:noFill/>
              <a:prstDash val="solid"/>
              <a:miter/>
            </a:ln>
          </p:spPr>
          <p:txBody>
            <a:bodyPr rtlCol="0" anchor="ctr"/>
            <a:lstStyle/>
            <a:p>
              <a:endParaRPr lang="zh-CN" altLang="en-US"/>
            </a:p>
          </p:txBody>
        </p:sp>
        <p:sp>
          <p:nvSpPr>
            <p:cNvPr id="611" name="iṣlîdê">
              <a:extLst>
                <a:ext uri="{FF2B5EF4-FFF2-40B4-BE49-F238E27FC236}">
                  <a16:creationId xmlns:a16="http://schemas.microsoft.com/office/drawing/2014/main" id="{8430C535-2B5F-41B9-9C60-19F3D87ACE9F}"/>
                </a:ext>
              </a:extLst>
            </p:cNvPr>
            <p:cNvSpPr/>
            <p:nvPr/>
          </p:nvSpPr>
          <p:spPr>
            <a:xfrm>
              <a:off x="5621569" y="4893678"/>
              <a:ext cx="109883" cy="53804"/>
            </a:xfrm>
            <a:custGeom>
              <a:avLst/>
              <a:gdLst>
                <a:gd name="connsiteX0" fmla="*/ -336 w 36099"/>
                <a:gd name="connsiteY0" fmla="*/ -163 h 17676"/>
                <a:gd name="connsiteX1" fmla="*/ -336 w 36099"/>
                <a:gd name="connsiteY1" fmla="*/ 7076 h 17676"/>
                <a:gd name="connsiteX2" fmla="*/ 1283 w 36099"/>
                <a:gd name="connsiteY2" fmla="*/ 9267 h 17676"/>
                <a:gd name="connsiteX3" fmla="*/ 13856 w 36099"/>
                <a:gd name="connsiteY3" fmla="*/ 16506 h 17676"/>
                <a:gd name="connsiteX4" fmla="*/ 21571 w 36099"/>
                <a:gd name="connsiteY4" fmla="*/ 16506 h 17676"/>
                <a:gd name="connsiteX5" fmla="*/ 34144 w 36099"/>
                <a:gd name="connsiteY5" fmla="*/ 9267 h 17676"/>
                <a:gd name="connsiteX6" fmla="*/ 35764 w 36099"/>
                <a:gd name="connsiteY6" fmla="*/ 6981 h 17676"/>
                <a:gd name="connsiteX7" fmla="*/ 35764 w 36099"/>
                <a:gd name="connsiteY7" fmla="*/ -163 h 17676"/>
                <a:gd name="connsiteX8" fmla="*/ 34144 w 36099"/>
                <a:gd name="connsiteY8" fmla="*/ 2124 h 17676"/>
                <a:gd name="connsiteX9" fmla="*/ 31858 w 36099"/>
                <a:gd name="connsiteY9" fmla="*/ 3457 h 17676"/>
                <a:gd name="connsiteX10" fmla="*/ 21571 w 36099"/>
                <a:gd name="connsiteY10" fmla="*/ 9362 h 17676"/>
                <a:gd name="connsiteX11" fmla="*/ 13856 w 36099"/>
                <a:gd name="connsiteY11" fmla="*/ 9362 h 17676"/>
                <a:gd name="connsiteX12" fmla="*/ 3569 w 36099"/>
                <a:gd name="connsiteY12" fmla="*/ 3457 h 17676"/>
                <a:gd name="connsiteX13" fmla="*/ 1283 w 36099"/>
                <a:gd name="connsiteY13" fmla="*/ 2124 h 17676"/>
                <a:gd name="connsiteX14" fmla="*/ -336 w 36099"/>
                <a:gd name="connsiteY14" fmla="*/ -163 h 17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676">
                  <a:moveTo>
                    <a:pt x="-336" y="-163"/>
                  </a:moveTo>
                  <a:lnTo>
                    <a:pt x="-336" y="7076"/>
                  </a:lnTo>
                  <a:cubicBezTo>
                    <a:pt x="-222" y="8039"/>
                    <a:pt x="397" y="8877"/>
                    <a:pt x="1283" y="9267"/>
                  </a:cubicBezTo>
                  <a:lnTo>
                    <a:pt x="13856" y="16506"/>
                  </a:lnTo>
                  <a:cubicBezTo>
                    <a:pt x="16256" y="17849"/>
                    <a:pt x="19171" y="17849"/>
                    <a:pt x="21571" y="16506"/>
                  </a:cubicBezTo>
                  <a:lnTo>
                    <a:pt x="34144" y="9267"/>
                  </a:lnTo>
                  <a:cubicBezTo>
                    <a:pt x="35087" y="8896"/>
                    <a:pt x="35725" y="8001"/>
                    <a:pt x="35764" y="6981"/>
                  </a:cubicBezTo>
                  <a:lnTo>
                    <a:pt x="35764" y="-163"/>
                  </a:lnTo>
                  <a:cubicBezTo>
                    <a:pt x="35697" y="847"/>
                    <a:pt x="35068" y="1733"/>
                    <a:pt x="34144" y="2124"/>
                  </a:cubicBezTo>
                  <a:lnTo>
                    <a:pt x="31858" y="3457"/>
                  </a:lnTo>
                  <a:lnTo>
                    <a:pt x="21571" y="9362"/>
                  </a:lnTo>
                  <a:cubicBezTo>
                    <a:pt x="19152" y="10601"/>
                    <a:pt x="16275" y="10601"/>
                    <a:pt x="13856" y="9362"/>
                  </a:cubicBezTo>
                  <a:lnTo>
                    <a:pt x="3569" y="3457"/>
                  </a:lnTo>
                  <a:lnTo>
                    <a:pt x="1283" y="2124"/>
                  </a:lnTo>
                  <a:cubicBezTo>
                    <a:pt x="378" y="1695"/>
                    <a:pt x="-231"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12" name="ïṩľîḓè">
              <a:extLst>
                <a:ext uri="{FF2B5EF4-FFF2-40B4-BE49-F238E27FC236}">
                  <a16:creationId xmlns:a16="http://schemas.microsoft.com/office/drawing/2014/main" id="{5904289F-9349-4BC6-A53C-5CE1184EACD1}"/>
                </a:ext>
              </a:extLst>
            </p:cNvPr>
            <p:cNvSpPr/>
            <p:nvPr/>
          </p:nvSpPr>
          <p:spPr>
            <a:xfrm>
              <a:off x="5698982" y="4906703"/>
              <a:ext cx="109740" cy="63445"/>
            </a:xfrm>
            <a:custGeom>
              <a:avLst/>
              <a:gdLst>
                <a:gd name="connsiteX0" fmla="*/ -336 w 36052"/>
                <a:gd name="connsiteY0" fmla="*/ 10227 h 20843"/>
                <a:gd name="connsiteX1" fmla="*/ 1188 w 36052"/>
                <a:gd name="connsiteY1" fmla="*/ 12513 h 20843"/>
                <a:gd name="connsiteX2" fmla="*/ 3569 w 36052"/>
                <a:gd name="connsiteY2" fmla="*/ 13846 h 20843"/>
                <a:gd name="connsiteX3" fmla="*/ 13856 w 36052"/>
                <a:gd name="connsiteY3" fmla="*/ 19752 h 20843"/>
                <a:gd name="connsiteX4" fmla="*/ 21476 w 36052"/>
                <a:gd name="connsiteY4" fmla="*/ 19752 h 20843"/>
                <a:gd name="connsiteX5" fmla="*/ 31763 w 36052"/>
                <a:gd name="connsiteY5" fmla="*/ 13846 h 20843"/>
                <a:gd name="connsiteX6" fmla="*/ 34144 w 36052"/>
                <a:gd name="connsiteY6" fmla="*/ 12513 h 20843"/>
                <a:gd name="connsiteX7" fmla="*/ 35573 w 36052"/>
                <a:gd name="connsiteY7" fmla="*/ 9465 h 20843"/>
                <a:gd name="connsiteX8" fmla="*/ 34144 w 36052"/>
                <a:gd name="connsiteY8" fmla="*/ 8036 h 20843"/>
                <a:gd name="connsiteX9" fmla="*/ 21476 w 36052"/>
                <a:gd name="connsiteY9" fmla="*/ 702 h 20843"/>
                <a:gd name="connsiteX10" fmla="*/ 13856 w 36052"/>
                <a:gd name="connsiteY10" fmla="*/ 702 h 20843"/>
                <a:gd name="connsiteX11" fmla="*/ 1188 w 36052"/>
                <a:gd name="connsiteY11" fmla="*/ 8036 h 20843"/>
                <a:gd name="connsiteX12" fmla="*/ -336 w 36052"/>
                <a:gd name="connsiteY12" fmla="*/ 10227 h 20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3">
                  <a:moveTo>
                    <a:pt x="-336" y="10227"/>
                  </a:moveTo>
                  <a:cubicBezTo>
                    <a:pt x="-270" y="11208"/>
                    <a:pt x="311" y="12075"/>
                    <a:pt x="1188" y="12513"/>
                  </a:cubicBezTo>
                  <a:lnTo>
                    <a:pt x="3569" y="13846"/>
                  </a:lnTo>
                  <a:lnTo>
                    <a:pt x="13856" y="19752"/>
                  </a:lnTo>
                  <a:cubicBezTo>
                    <a:pt x="16247" y="20990"/>
                    <a:pt x="19085" y="20990"/>
                    <a:pt x="21476" y="19752"/>
                  </a:cubicBezTo>
                  <a:lnTo>
                    <a:pt x="31763" y="13846"/>
                  </a:lnTo>
                  <a:lnTo>
                    <a:pt x="34144" y="12513"/>
                  </a:lnTo>
                  <a:cubicBezTo>
                    <a:pt x="35382" y="12065"/>
                    <a:pt x="36020" y="10694"/>
                    <a:pt x="35573" y="9465"/>
                  </a:cubicBezTo>
                  <a:cubicBezTo>
                    <a:pt x="35325" y="8798"/>
                    <a:pt x="34811" y="8274"/>
                    <a:pt x="34144"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613" name="ïşļîḍe">
              <a:extLst>
                <a:ext uri="{FF2B5EF4-FFF2-40B4-BE49-F238E27FC236}">
                  <a16:creationId xmlns:a16="http://schemas.microsoft.com/office/drawing/2014/main" id="{19EBC936-FBE5-494E-B7FE-55F953952D56}"/>
                </a:ext>
              </a:extLst>
            </p:cNvPr>
            <p:cNvSpPr/>
            <p:nvPr/>
          </p:nvSpPr>
          <p:spPr>
            <a:xfrm>
              <a:off x="5701012" y="4907887"/>
              <a:ext cx="106260" cy="61101"/>
            </a:xfrm>
            <a:custGeom>
              <a:avLst/>
              <a:gdLst>
                <a:gd name="connsiteX0" fmla="*/ 1378 w 34909"/>
                <a:gd name="connsiteY0" fmla="*/ 12029 h 20073"/>
                <a:gd name="connsiteX1" fmla="*/ 13475 w 34909"/>
                <a:gd name="connsiteY1" fmla="*/ 18982 h 20073"/>
                <a:gd name="connsiteX2" fmla="*/ 20904 w 34909"/>
                <a:gd name="connsiteY2" fmla="*/ 18982 h 20073"/>
                <a:gd name="connsiteX3" fmla="*/ 33001 w 34909"/>
                <a:gd name="connsiteY3" fmla="*/ 12029 h 20073"/>
                <a:gd name="connsiteX4" fmla="*/ 33001 w 34909"/>
                <a:gd name="connsiteY4" fmla="*/ 7743 h 20073"/>
                <a:gd name="connsiteX5" fmla="*/ 20904 w 34909"/>
                <a:gd name="connsiteY5" fmla="*/ 695 h 20073"/>
                <a:gd name="connsiteX6" fmla="*/ 13475 w 34909"/>
                <a:gd name="connsiteY6" fmla="*/ 695 h 20073"/>
                <a:gd name="connsiteX7" fmla="*/ 1378 w 34909"/>
                <a:gd name="connsiteY7" fmla="*/ 7743 h 20073"/>
                <a:gd name="connsiteX8" fmla="*/ 1378 w 34909"/>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909" h="20073">
                  <a:moveTo>
                    <a:pt x="1378" y="12029"/>
                  </a:moveTo>
                  <a:lnTo>
                    <a:pt x="13475" y="18982"/>
                  </a:lnTo>
                  <a:cubicBezTo>
                    <a:pt x="15799" y="20221"/>
                    <a:pt x="18580" y="20221"/>
                    <a:pt x="20904" y="18982"/>
                  </a:cubicBezTo>
                  <a:lnTo>
                    <a:pt x="33001" y="12029"/>
                  </a:lnTo>
                  <a:cubicBezTo>
                    <a:pt x="35097" y="10791"/>
                    <a:pt x="35097" y="8886"/>
                    <a:pt x="33001" y="7743"/>
                  </a:cubicBezTo>
                  <a:lnTo>
                    <a:pt x="20904" y="695"/>
                  </a:lnTo>
                  <a:cubicBezTo>
                    <a:pt x="18561" y="-448"/>
                    <a:pt x="15818" y="-448"/>
                    <a:pt x="13475" y="695"/>
                  </a:cubicBezTo>
                  <a:lnTo>
                    <a:pt x="1378" y="7743"/>
                  </a:lnTo>
                  <a:cubicBezTo>
                    <a:pt x="-908" y="8886"/>
                    <a:pt x="-908" y="10791"/>
                    <a:pt x="1378" y="12029"/>
                  </a:cubicBezTo>
                  <a:close/>
                </a:path>
              </a:pathLst>
            </a:custGeom>
            <a:solidFill>
              <a:srgbClr val="D1D9E8"/>
            </a:solidFill>
            <a:ln w="9525" cap="flat">
              <a:noFill/>
              <a:prstDash val="solid"/>
              <a:miter/>
            </a:ln>
          </p:spPr>
          <p:txBody>
            <a:bodyPr rtlCol="0" anchor="ctr"/>
            <a:lstStyle/>
            <a:p>
              <a:endParaRPr lang="zh-CN" altLang="en-US"/>
            </a:p>
          </p:txBody>
        </p:sp>
        <p:sp>
          <p:nvSpPr>
            <p:cNvPr id="614" name="isļîḋé">
              <a:extLst>
                <a:ext uri="{FF2B5EF4-FFF2-40B4-BE49-F238E27FC236}">
                  <a16:creationId xmlns:a16="http://schemas.microsoft.com/office/drawing/2014/main" id="{0E3F959E-C2A4-42E6-9D9E-34B06BE75793}"/>
                </a:ext>
              </a:extLst>
            </p:cNvPr>
            <p:cNvSpPr/>
            <p:nvPr/>
          </p:nvSpPr>
          <p:spPr>
            <a:xfrm>
              <a:off x="5698982" y="4938329"/>
              <a:ext cx="109594" cy="53801"/>
            </a:xfrm>
            <a:custGeom>
              <a:avLst/>
              <a:gdLst>
                <a:gd name="connsiteX0" fmla="*/ -336 w 36004"/>
                <a:gd name="connsiteY0" fmla="*/ -163 h 17675"/>
                <a:gd name="connsiteX1" fmla="*/ -336 w 36004"/>
                <a:gd name="connsiteY1" fmla="*/ 7076 h 17675"/>
                <a:gd name="connsiteX2" fmla="*/ 1188 w 36004"/>
                <a:gd name="connsiteY2" fmla="*/ 9267 h 17675"/>
                <a:gd name="connsiteX3" fmla="*/ 13856 w 36004"/>
                <a:gd name="connsiteY3" fmla="*/ 16506 h 17675"/>
                <a:gd name="connsiteX4" fmla="*/ 21476 w 36004"/>
                <a:gd name="connsiteY4" fmla="*/ 16506 h 17675"/>
                <a:gd name="connsiteX5" fmla="*/ 34144 w 36004"/>
                <a:gd name="connsiteY5" fmla="*/ 9267 h 17675"/>
                <a:gd name="connsiteX6" fmla="*/ 35668 w 36004"/>
                <a:gd name="connsiteY6" fmla="*/ 6981 h 17675"/>
                <a:gd name="connsiteX7" fmla="*/ 35668 w 36004"/>
                <a:gd name="connsiteY7" fmla="*/ -163 h 17675"/>
                <a:gd name="connsiteX8" fmla="*/ 34144 w 36004"/>
                <a:gd name="connsiteY8" fmla="*/ 2123 h 17675"/>
                <a:gd name="connsiteX9" fmla="*/ 31763 w 36004"/>
                <a:gd name="connsiteY9" fmla="*/ 3457 h 17675"/>
                <a:gd name="connsiteX10" fmla="*/ 21476 w 36004"/>
                <a:gd name="connsiteY10" fmla="*/ 9362 h 17675"/>
                <a:gd name="connsiteX11" fmla="*/ 13856 w 36004"/>
                <a:gd name="connsiteY11" fmla="*/ 9362 h 17675"/>
                <a:gd name="connsiteX12" fmla="*/ 3569 w 36004"/>
                <a:gd name="connsiteY12" fmla="*/ 3457 h 17675"/>
                <a:gd name="connsiteX13" fmla="*/ 1188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41" y="8019"/>
                    <a:pt x="340" y="8848"/>
                    <a:pt x="1188" y="9267"/>
                  </a:cubicBezTo>
                  <a:lnTo>
                    <a:pt x="13856" y="16506"/>
                  </a:lnTo>
                  <a:cubicBezTo>
                    <a:pt x="16218" y="17849"/>
                    <a:pt x="19114" y="17849"/>
                    <a:pt x="21476" y="16506"/>
                  </a:cubicBezTo>
                  <a:lnTo>
                    <a:pt x="34144" y="9267"/>
                  </a:lnTo>
                  <a:cubicBezTo>
                    <a:pt x="35021" y="8829"/>
                    <a:pt x="35602" y="7962"/>
                    <a:pt x="35668" y="6981"/>
                  </a:cubicBezTo>
                  <a:lnTo>
                    <a:pt x="35668" y="-163"/>
                  </a:lnTo>
                  <a:cubicBezTo>
                    <a:pt x="35602" y="818"/>
                    <a:pt x="35021" y="1685"/>
                    <a:pt x="34144" y="2123"/>
                  </a:cubicBezTo>
                  <a:lnTo>
                    <a:pt x="31763" y="3457"/>
                  </a:lnTo>
                  <a:lnTo>
                    <a:pt x="21476" y="9362"/>
                  </a:lnTo>
                  <a:cubicBezTo>
                    <a:pt x="19085" y="10601"/>
                    <a:pt x="16247" y="10601"/>
                    <a:pt x="13856" y="9362"/>
                  </a:cubicBezTo>
                  <a:lnTo>
                    <a:pt x="3569" y="3457"/>
                  </a:lnTo>
                  <a:lnTo>
                    <a:pt x="1188"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15" name="íṥ1îďe">
              <a:extLst>
                <a:ext uri="{FF2B5EF4-FFF2-40B4-BE49-F238E27FC236}">
                  <a16:creationId xmlns:a16="http://schemas.microsoft.com/office/drawing/2014/main" id="{60F2A2A9-0765-4B50-B849-578BC7A19F05}"/>
                </a:ext>
              </a:extLst>
            </p:cNvPr>
            <p:cNvSpPr/>
            <p:nvPr/>
          </p:nvSpPr>
          <p:spPr>
            <a:xfrm>
              <a:off x="5776395" y="4951354"/>
              <a:ext cx="109447" cy="63445"/>
            </a:xfrm>
            <a:custGeom>
              <a:avLst/>
              <a:gdLst>
                <a:gd name="connsiteX0" fmla="*/ -336 w 35956"/>
                <a:gd name="connsiteY0" fmla="*/ 10227 h 20843"/>
                <a:gd name="connsiteX1" fmla="*/ 1187 w 35956"/>
                <a:gd name="connsiteY1" fmla="*/ 12513 h 20843"/>
                <a:gd name="connsiteX2" fmla="*/ 3569 w 35956"/>
                <a:gd name="connsiteY2" fmla="*/ 13846 h 20843"/>
                <a:gd name="connsiteX3" fmla="*/ 13856 w 35956"/>
                <a:gd name="connsiteY3" fmla="*/ 19752 h 20843"/>
                <a:gd name="connsiteX4" fmla="*/ 21476 w 35956"/>
                <a:gd name="connsiteY4" fmla="*/ 19752 h 20843"/>
                <a:gd name="connsiteX5" fmla="*/ 31763 w 35956"/>
                <a:gd name="connsiteY5" fmla="*/ 13846 h 20843"/>
                <a:gd name="connsiteX6" fmla="*/ 34049 w 35956"/>
                <a:gd name="connsiteY6" fmla="*/ 12513 h 20843"/>
                <a:gd name="connsiteX7" fmla="*/ 35477 w 35956"/>
                <a:gd name="connsiteY7" fmla="*/ 9465 h 20843"/>
                <a:gd name="connsiteX8" fmla="*/ 34049 w 35956"/>
                <a:gd name="connsiteY8" fmla="*/ 8036 h 20843"/>
                <a:gd name="connsiteX9" fmla="*/ 21476 w 35956"/>
                <a:gd name="connsiteY9" fmla="*/ 702 h 20843"/>
                <a:gd name="connsiteX10" fmla="*/ 13856 w 35956"/>
                <a:gd name="connsiteY10" fmla="*/ 702 h 20843"/>
                <a:gd name="connsiteX11" fmla="*/ 1187 w 35956"/>
                <a:gd name="connsiteY11" fmla="*/ 8036 h 20843"/>
                <a:gd name="connsiteX12" fmla="*/ -336 w 35956"/>
                <a:gd name="connsiteY12" fmla="*/ 10227 h 20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956" h="20843">
                  <a:moveTo>
                    <a:pt x="-336" y="10227"/>
                  </a:moveTo>
                  <a:cubicBezTo>
                    <a:pt x="-270" y="11208"/>
                    <a:pt x="311" y="12075"/>
                    <a:pt x="1187" y="12513"/>
                  </a:cubicBezTo>
                  <a:lnTo>
                    <a:pt x="3569" y="13846"/>
                  </a:lnTo>
                  <a:lnTo>
                    <a:pt x="13856" y="19752"/>
                  </a:lnTo>
                  <a:cubicBezTo>
                    <a:pt x="16247" y="20990"/>
                    <a:pt x="19085" y="20990"/>
                    <a:pt x="21476" y="19752"/>
                  </a:cubicBezTo>
                  <a:lnTo>
                    <a:pt x="31763" y="13846"/>
                  </a:lnTo>
                  <a:lnTo>
                    <a:pt x="34049" y="12513"/>
                  </a:lnTo>
                  <a:cubicBezTo>
                    <a:pt x="35287" y="12065"/>
                    <a:pt x="35925" y="10693"/>
                    <a:pt x="35477" y="9465"/>
                  </a:cubicBezTo>
                  <a:cubicBezTo>
                    <a:pt x="35230" y="8798"/>
                    <a:pt x="34716" y="8274"/>
                    <a:pt x="34049" y="8036"/>
                  </a:cubicBezTo>
                  <a:lnTo>
                    <a:pt x="21476" y="702"/>
                  </a:lnTo>
                  <a:cubicBezTo>
                    <a:pt x="19066" y="-451"/>
                    <a:pt x="16266" y="-451"/>
                    <a:pt x="13856" y="702"/>
                  </a:cubicBezTo>
                  <a:lnTo>
                    <a:pt x="1187"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616" name="î$ļiḑè">
              <a:extLst>
                <a:ext uri="{FF2B5EF4-FFF2-40B4-BE49-F238E27FC236}">
                  <a16:creationId xmlns:a16="http://schemas.microsoft.com/office/drawing/2014/main" id="{88D6D309-2A1D-4D45-BE40-8E4949588D4A}"/>
                </a:ext>
              </a:extLst>
            </p:cNvPr>
            <p:cNvSpPr/>
            <p:nvPr/>
          </p:nvSpPr>
          <p:spPr>
            <a:xfrm>
              <a:off x="5778206" y="4952535"/>
              <a:ext cx="105898" cy="61101"/>
            </a:xfrm>
            <a:custGeom>
              <a:avLst/>
              <a:gdLst>
                <a:gd name="connsiteX0" fmla="*/ 1164 w 34790"/>
                <a:gd name="connsiteY0" fmla="*/ 12029 h 20073"/>
                <a:gd name="connsiteX1" fmla="*/ 13356 w 34790"/>
                <a:gd name="connsiteY1" fmla="*/ 18983 h 20073"/>
                <a:gd name="connsiteX2" fmla="*/ 20785 w 34790"/>
                <a:gd name="connsiteY2" fmla="*/ 18983 h 20073"/>
                <a:gd name="connsiteX3" fmla="*/ 32882 w 34790"/>
                <a:gd name="connsiteY3" fmla="*/ 12029 h 20073"/>
                <a:gd name="connsiteX4" fmla="*/ 32882 w 34790"/>
                <a:gd name="connsiteY4" fmla="*/ 7743 h 20073"/>
                <a:gd name="connsiteX5" fmla="*/ 20785 w 34790"/>
                <a:gd name="connsiteY5" fmla="*/ 695 h 20073"/>
                <a:gd name="connsiteX6" fmla="*/ 13356 w 34790"/>
                <a:gd name="connsiteY6" fmla="*/ 695 h 20073"/>
                <a:gd name="connsiteX7" fmla="*/ 1164 w 34790"/>
                <a:gd name="connsiteY7" fmla="*/ 7743 h 20073"/>
                <a:gd name="connsiteX8" fmla="*/ 1164 w 34790"/>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3">
                  <a:moveTo>
                    <a:pt x="1164" y="12029"/>
                  </a:moveTo>
                  <a:lnTo>
                    <a:pt x="13356" y="18983"/>
                  </a:lnTo>
                  <a:cubicBezTo>
                    <a:pt x="15680" y="20221"/>
                    <a:pt x="18461" y="20221"/>
                    <a:pt x="20785" y="18983"/>
                  </a:cubicBezTo>
                  <a:lnTo>
                    <a:pt x="32882" y="12029"/>
                  </a:lnTo>
                  <a:cubicBezTo>
                    <a:pt x="34978" y="10791"/>
                    <a:pt x="34978" y="8886"/>
                    <a:pt x="32882" y="7743"/>
                  </a:cubicBezTo>
                  <a:lnTo>
                    <a:pt x="20785" y="695"/>
                  </a:lnTo>
                  <a:cubicBezTo>
                    <a:pt x="18442" y="-448"/>
                    <a:pt x="15699" y="-448"/>
                    <a:pt x="13356" y="695"/>
                  </a:cubicBezTo>
                  <a:lnTo>
                    <a:pt x="1164" y="7743"/>
                  </a:lnTo>
                  <a:cubicBezTo>
                    <a:pt x="-836" y="8886"/>
                    <a:pt x="-836" y="10791"/>
                    <a:pt x="1164" y="12029"/>
                  </a:cubicBezTo>
                  <a:close/>
                </a:path>
              </a:pathLst>
            </a:custGeom>
            <a:solidFill>
              <a:srgbClr val="D1D9E8"/>
            </a:solidFill>
            <a:ln w="9525" cap="flat">
              <a:noFill/>
              <a:prstDash val="solid"/>
              <a:miter/>
            </a:ln>
          </p:spPr>
          <p:txBody>
            <a:bodyPr rtlCol="0" anchor="ctr"/>
            <a:lstStyle/>
            <a:p>
              <a:endParaRPr lang="zh-CN" altLang="en-US"/>
            </a:p>
          </p:txBody>
        </p:sp>
        <p:sp>
          <p:nvSpPr>
            <p:cNvPr id="617" name="íṡľîďe">
              <a:extLst>
                <a:ext uri="{FF2B5EF4-FFF2-40B4-BE49-F238E27FC236}">
                  <a16:creationId xmlns:a16="http://schemas.microsoft.com/office/drawing/2014/main" id="{4683B326-926F-4565-96B7-87D320D4241E}"/>
                </a:ext>
              </a:extLst>
            </p:cNvPr>
            <p:cNvSpPr/>
            <p:nvPr/>
          </p:nvSpPr>
          <p:spPr>
            <a:xfrm>
              <a:off x="5776395" y="4982978"/>
              <a:ext cx="109594" cy="53564"/>
            </a:xfrm>
            <a:custGeom>
              <a:avLst/>
              <a:gdLst>
                <a:gd name="connsiteX0" fmla="*/ -336 w 36004"/>
                <a:gd name="connsiteY0" fmla="*/ -163 h 17597"/>
                <a:gd name="connsiteX1" fmla="*/ -336 w 36004"/>
                <a:gd name="connsiteY1" fmla="*/ 7076 h 17597"/>
                <a:gd name="connsiteX2" fmla="*/ 1187 w 36004"/>
                <a:gd name="connsiteY2" fmla="*/ 9267 h 17597"/>
                <a:gd name="connsiteX3" fmla="*/ 13856 w 36004"/>
                <a:gd name="connsiteY3" fmla="*/ 16506 h 17597"/>
                <a:gd name="connsiteX4" fmla="*/ 21476 w 36004"/>
                <a:gd name="connsiteY4" fmla="*/ 16506 h 17597"/>
                <a:gd name="connsiteX5" fmla="*/ 34049 w 36004"/>
                <a:gd name="connsiteY5" fmla="*/ 9267 h 17597"/>
                <a:gd name="connsiteX6" fmla="*/ 35668 w 36004"/>
                <a:gd name="connsiteY6" fmla="*/ 6981 h 17597"/>
                <a:gd name="connsiteX7" fmla="*/ 35668 w 36004"/>
                <a:gd name="connsiteY7" fmla="*/ -163 h 17597"/>
                <a:gd name="connsiteX8" fmla="*/ 34049 w 36004"/>
                <a:gd name="connsiteY8" fmla="*/ 2123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7 w 36004"/>
                <a:gd name="connsiteY13" fmla="*/ 2123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7" y="9267"/>
                  </a:cubicBezTo>
                  <a:lnTo>
                    <a:pt x="13856" y="16506"/>
                  </a:lnTo>
                  <a:cubicBezTo>
                    <a:pt x="16247" y="17744"/>
                    <a:pt x="19085" y="17744"/>
                    <a:pt x="21476" y="16506"/>
                  </a:cubicBezTo>
                  <a:lnTo>
                    <a:pt x="34049" y="9267"/>
                  </a:lnTo>
                  <a:cubicBezTo>
                    <a:pt x="34963" y="8857"/>
                    <a:pt x="35582" y="7981"/>
                    <a:pt x="35668" y="6981"/>
                  </a:cubicBezTo>
                  <a:lnTo>
                    <a:pt x="35668" y="-163"/>
                  </a:lnTo>
                  <a:cubicBezTo>
                    <a:pt x="35601" y="847"/>
                    <a:pt x="34982" y="1733"/>
                    <a:pt x="34049" y="2123"/>
                  </a:cubicBezTo>
                  <a:lnTo>
                    <a:pt x="31763" y="3457"/>
                  </a:lnTo>
                  <a:lnTo>
                    <a:pt x="21476" y="9362"/>
                  </a:lnTo>
                  <a:cubicBezTo>
                    <a:pt x="19085" y="10601"/>
                    <a:pt x="16247" y="10601"/>
                    <a:pt x="13856" y="9362"/>
                  </a:cubicBezTo>
                  <a:lnTo>
                    <a:pt x="3569" y="3457"/>
                  </a:lnTo>
                  <a:lnTo>
                    <a:pt x="1187"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18" name="îşlïďê">
              <a:extLst>
                <a:ext uri="{FF2B5EF4-FFF2-40B4-BE49-F238E27FC236}">
                  <a16:creationId xmlns:a16="http://schemas.microsoft.com/office/drawing/2014/main" id="{BE9778D8-5F71-4834-8199-B96716F673B5}"/>
                </a:ext>
              </a:extLst>
            </p:cNvPr>
            <p:cNvSpPr/>
            <p:nvPr/>
          </p:nvSpPr>
          <p:spPr>
            <a:xfrm>
              <a:off x="5853516" y="4996003"/>
              <a:ext cx="109740" cy="63442"/>
            </a:xfrm>
            <a:custGeom>
              <a:avLst/>
              <a:gdLst>
                <a:gd name="connsiteX0" fmla="*/ -336 w 36052"/>
                <a:gd name="connsiteY0" fmla="*/ 10227 h 20842"/>
                <a:gd name="connsiteX1" fmla="*/ 1283 w 36052"/>
                <a:gd name="connsiteY1" fmla="*/ 12513 h 20842"/>
                <a:gd name="connsiteX2" fmla="*/ 3569 w 36052"/>
                <a:gd name="connsiteY2" fmla="*/ 13846 h 20842"/>
                <a:gd name="connsiteX3" fmla="*/ 13856 w 36052"/>
                <a:gd name="connsiteY3" fmla="*/ 19752 h 20842"/>
                <a:gd name="connsiteX4" fmla="*/ 21476 w 36052"/>
                <a:gd name="connsiteY4" fmla="*/ 19752 h 20842"/>
                <a:gd name="connsiteX5" fmla="*/ 31763 w 36052"/>
                <a:gd name="connsiteY5" fmla="*/ 13846 h 20842"/>
                <a:gd name="connsiteX6" fmla="*/ 34144 w 36052"/>
                <a:gd name="connsiteY6" fmla="*/ 12513 h 20842"/>
                <a:gd name="connsiteX7" fmla="*/ 35573 w 36052"/>
                <a:gd name="connsiteY7" fmla="*/ 9465 h 20842"/>
                <a:gd name="connsiteX8" fmla="*/ 34144 w 36052"/>
                <a:gd name="connsiteY8" fmla="*/ 8036 h 20842"/>
                <a:gd name="connsiteX9" fmla="*/ 21476 w 36052"/>
                <a:gd name="connsiteY9" fmla="*/ 702 h 20842"/>
                <a:gd name="connsiteX10" fmla="*/ 13856 w 36052"/>
                <a:gd name="connsiteY10" fmla="*/ 702 h 20842"/>
                <a:gd name="connsiteX11" fmla="*/ 1283 w 36052"/>
                <a:gd name="connsiteY11" fmla="*/ 8036 h 20842"/>
                <a:gd name="connsiteX12" fmla="*/ -336 w 36052"/>
                <a:gd name="connsiteY12" fmla="*/ 10227 h 20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2">
                  <a:moveTo>
                    <a:pt x="-336" y="10227"/>
                  </a:moveTo>
                  <a:cubicBezTo>
                    <a:pt x="-269" y="11236"/>
                    <a:pt x="350" y="12122"/>
                    <a:pt x="1283" y="12513"/>
                  </a:cubicBezTo>
                  <a:lnTo>
                    <a:pt x="3569" y="13846"/>
                  </a:lnTo>
                  <a:lnTo>
                    <a:pt x="13856" y="19752"/>
                  </a:lnTo>
                  <a:cubicBezTo>
                    <a:pt x="16247" y="20990"/>
                    <a:pt x="19085" y="20990"/>
                    <a:pt x="21476" y="19752"/>
                  </a:cubicBezTo>
                  <a:lnTo>
                    <a:pt x="31763" y="13846"/>
                  </a:lnTo>
                  <a:lnTo>
                    <a:pt x="34144" y="12513"/>
                  </a:lnTo>
                  <a:cubicBezTo>
                    <a:pt x="35382" y="12065"/>
                    <a:pt x="36021" y="10693"/>
                    <a:pt x="35573" y="9465"/>
                  </a:cubicBezTo>
                  <a:cubicBezTo>
                    <a:pt x="35325" y="8798"/>
                    <a:pt x="34811" y="8274"/>
                    <a:pt x="34144" y="8036"/>
                  </a:cubicBezTo>
                  <a:lnTo>
                    <a:pt x="21476" y="702"/>
                  </a:lnTo>
                  <a:cubicBezTo>
                    <a:pt x="19066" y="-451"/>
                    <a:pt x="16266" y="-451"/>
                    <a:pt x="13856" y="702"/>
                  </a:cubicBezTo>
                  <a:lnTo>
                    <a:pt x="1283" y="8036"/>
                  </a:lnTo>
                  <a:cubicBezTo>
                    <a:pt x="378" y="8417"/>
                    <a:pt x="-241" y="9255"/>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619" name="ïSḻiďe">
              <a:extLst>
                <a:ext uri="{FF2B5EF4-FFF2-40B4-BE49-F238E27FC236}">
                  <a16:creationId xmlns:a16="http://schemas.microsoft.com/office/drawing/2014/main" id="{7E62B54D-12EE-44FB-9EE6-EE308A611986}"/>
                </a:ext>
              </a:extLst>
            </p:cNvPr>
            <p:cNvSpPr/>
            <p:nvPr/>
          </p:nvSpPr>
          <p:spPr>
            <a:xfrm>
              <a:off x="5855400" y="4997184"/>
              <a:ext cx="105898" cy="61104"/>
            </a:xfrm>
            <a:custGeom>
              <a:avLst/>
              <a:gdLst>
                <a:gd name="connsiteX0" fmla="*/ 1235 w 34790"/>
                <a:gd name="connsiteY0" fmla="*/ 12029 h 20074"/>
                <a:gd name="connsiteX1" fmla="*/ 13332 w 34790"/>
                <a:gd name="connsiteY1" fmla="*/ 18983 h 20074"/>
                <a:gd name="connsiteX2" fmla="*/ 20761 w 34790"/>
                <a:gd name="connsiteY2" fmla="*/ 18983 h 20074"/>
                <a:gd name="connsiteX3" fmla="*/ 32954 w 34790"/>
                <a:gd name="connsiteY3" fmla="*/ 12029 h 20074"/>
                <a:gd name="connsiteX4" fmla="*/ 32954 w 34790"/>
                <a:gd name="connsiteY4" fmla="*/ 7743 h 20074"/>
                <a:gd name="connsiteX5" fmla="*/ 20761 w 34790"/>
                <a:gd name="connsiteY5" fmla="*/ 695 h 20074"/>
                <a:gd name="connsiteX6" fmla="*/ 13332 w 34790"/>
                <a:gd name="connsiteY6" fmla="*/ 695 h 20074"/>
                <a:gd name="connsiteX7" fmla="*/ 1235 w 34790"/>
                <a:gd name="connsiteY7" fmla="*/ 7743 h 20074"/>
                <a:gd name="connsiteX8" fmla="*/ 1235 w 34790"/>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4">
                  <a:moveTo>
                    <a:pt x="1235" y="12029"/>
                  </a:moveTo>
                  <a:lnTo>
                    <a:pt x="13332" y="18983"/>
                  </a:lnTo>
                  <a:cubicBezTo>
                    <a:pt x="15656" y="20221"/>
                    <a:pt x="18437" y="20221"/>
                    <a:pt x="20761" y="18983"/>
                  </a:cubicBezTo>
                  <a:lnTo>
                    <a:pt x="32954" y="12029"/>
                  </a:lnTo>
                  <a:cubicBezTo>
                    <a:pt x="34954" y="10791"/>
                    <a:pt x="34954" y="8886"/>
                    <a:pt x="32954" y="7743"/>
                  </a:cubicBezTo>
                  <a:lnTo>
                    <a:pt x="20761" y="695"/>
                  </a:lnTo>
                  <a:cubicBezTo>
                    <a:pt x="18419" y="-448"/>
                    <a:pt x="15675" y="-448"/>
                    <a:pt x="13332" y="695"/>
                  </a:cubicBezTo>
                  <a:lnTo>
                    <a:pt x="1235" y="7743"/>
                  </a:lnTo>
                  <a:cubicBezTo>
                    <a:pt x="-860" y="8886"/>
                    <a:pt x="-860" y="10601"/>
                    <a:pt x="1235" y="12029"/>
                  </a:cubicBezTo>
                  <a:close/>
                </a:path>
              </a:pathLst>
            </a:custGeom>
            <a:solidFill>
              <a:srgbClr val="D1D9E8"/>
            </a:solidFill>
            <a:ln w="9525" cap="flat">
              <a:noFill/>
              <a:prstDash val="solid"/>
              <a:miter/>
            </a:ln>
          </p:spPr>
          <p:txBody>
            <a:bodyPr rtlCol="0" anchor="ctr"/>
            <a:lstStyle/>
            <a:p>
              <a:endParaRPr lang="zh-CN" altLang="en-US"/>
            </a:p>
          </p:txBody>
        </p:sp>
        <p:sp>
          <p:nvSpPr>
            <p:cNvPr id="620" name="îṩľïḋè">
              <a:extLst>
                <a:ext uri="{FF2B5EF4-FFF2-40B4-BE49-F238E27FC236}">
                  <a16:creationId xmlns:a16="http://schemas.microsoft.com/office/drawing/2014/main" id="{33E5153B-1132-4428-92AF-849E36B8523C}"/>
                </a:ext>
              </a:extLst>
            </p:cNvPr>
            <p:cNvSpPr/>
            <p:nvPr/>
          </p:nvSpPr>
          <p:spPr>
            <a:xfrm>
              <a:off x="5853516" y="5027629"/>
              <a:ext cx="109594" cy="53564"/>
            </a:xfrm>
            <a:custGeom>
              <a:avLst/>
              <a:gdLst>
                <a:gd name="connsiteX0" fmla="*/ -336 w 36004"/>
                <a:gd name="connsiteY0" fmla="*/ -163 h 17597"/>
                <a:gd name="connsiteX1" fmla="*/ -336 w 36004"/>
                <a:gd name="connsiteY1" fmla="*/ 7076 h 17597"/>
                <a:gd name="connsiteX2" fmla="*/ 1283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3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283 w 36004"/>
                <a:gd name="connsiteY13" fmla="*/ 2123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48"/>
                    <a:pt x="378" y="8886"/>
                    <a:pt x="1283" y="9267"/>
                  </a:cubicBezTo>
                  <a:lnTo>
                    <a:pt x="13856" y="16506"/>
                  </a:lnTo>
                  <a:cubicBezTo>
                    <a:pt x="16247" y="17744"/>
                    <a:pt x="19085" y="17744"/>
                    <a:pt x="21476" y="16506"/>
                  </a:cubicBezTo>
                  <a:lnTo>
                    <a:pt x="34144" y="9267"/>
                  </a:lnTo>
                  <a:cubicBezTo>
                    <a:pt x="35011" y="8819"/>
                    <a:pt x="35583" y="7953"/>
                    <a:pt x="35668" y="6981"/>
                  </a:cubicBezTo>
                  <a:lnTo>
                    <a:pt x="35668" y="-163"/>
                  </a:lnTo>
                  <a:cubicBezTo>
                    <a:pt x="35602" y="818"/>
                    <a:pt x="35021" y="1685"/>
                    <a:pt x="34144" y="2123"/>
                  </a:cubicBezTo>
                  <a:lnTo>
                    <a:pt x="31763" y="3457"/>
                  </a:lnTo>
                  <a:lnTo>
                    <a:pt x="21476" y="9362"/>
                  </a:lnTo>
                  <a:cubicBezTo>
                    <a:pt x="19085" y="10600"/>
                    <a:pt x="16247" y="10600"/>
                    <a:pt x="13856" y="9362"/>
                  </a:cubicBezTo>
                  <a:lnTo>
                    <a:pt x="3569" y="3457"/>
                  </a:lnTo>
                  <a:lnTo>
                    <a:pt x="1283" y="2123"/>
                  </a:lnTo>
                  <a:cubicBezTo>
                    <a:pt x="350" y="1733"/>
                    <a:pt x="-269" y="847"/>
                    <a:pt x="-336" y="-163"/>
                  </a:cubicBezTo>
                  <a:close/>
                </a:path>
              </a:pathLst>
            </a:custGeom>
            <a:solidFill>
              <a:srgbClr val="BF4200"/>
            </a:solidFill>
            <a:ln w="9525" cap="flat">
              <a:noFill/>
              <a:prstDash val="solid"/>
              <a:miter/>
            </a:ln>
          </p:spPr>
          <p:txBody>
            <a:bodyPr rtlCol="0" anchor="ctr"/>
            <a:lstStyle/>
            <a:p>
              <a:endParaRPr lang="zh-CN" altLang="en-US"/>
            </a:p>
          </p:txBody>
        </p:sp>
        <p:sp>
          <p:nvSpPr>
            <p:cNvPr id="621" name="ïṡļídé">
              <a:extLst>
                <a:ext uri="{FF2B5EF4-FFF2-40B4-BE49-F238E27FC236}">
                  <a16:creationId xmlns:a16="http://schemas.microsoft.com/office/drawing/2014/main" id="{5C3D1EE0-2E15-41EA-87BC-C53FE833ED6B}"/>
                </a:ext>
              </a:extLst>
            </p:cNvPr>
            <p:cNvSpPr/>
            <p:nvPr/>
          </p:nvSpPr>
          <p:spPr>
            <a:xfrm>
              <a:off x="5930929" y="5040456"/>
              <a:ext cx="109594" cy="63639"/>
            </a:xfrm>
            <a:custGeom>
              <a:avLst/>
              <a:gdLst>
                <a:gd name="connsiteX0" fmla="*/ -336 w 36004"/>
                <a:gd name="connsiteY0" fmla="*/ 10291 h 20907"/>
                <a:gd name="connsiteX1" fmla="*/ 1188 w 36004"/>
                <a:gd name="connsiteY1" fmla="*/ 12577 h 20907"/>
                <a:gd name="connsiteX2" fmla="*/ 3569 w 36004"/>
                <a:gd name="connsiteY2" fmla="*/ 13911 h 20907"/>
                <a:gd name="connsiteX3" fmla="*/ 13856 w 36004"/>
                <a:gd name="connsiteY3" fmla="*/ 19816 h 20907"/>
                <a:gd name="connsiteX4" fmla="*/ 21476 w 36004"/>
                <a:gd name="connsiteY4" fmla="*/ 19816 h 20907"/>
                <a:gd name="connsiteX5" fmla="*/ 31763 w 36004"/>
                <a:gd name="connsiteY5" fmla="*/ 13911 h 20907"/>
                <a:gd name="connsiteX6" fmla="*/ 34144 w 36004"/>
                <a:gd name="connsiteY6" fmla="*/ 12577 h 20907"/>
                <a:gd name="connsiteX7" fmla="*/ 35668 w 36004"/>
                <a:gd name="connsiteY7" fmla="*/ 10291 h 20907"/>
                <a:gd name="connsiteX8" fmla="*/ 34144 w 36004"/>
                <a:gd name="connsiteY8" fmla="*/ 8101 h 20907"/>
                <a:gd name="connsiteX9" fmla="*/ 21476 w 36004"/>
                <a:gd name="connsiteY9" fmla="*/ 766 h 20907"/>
                <a:gd name="connsiteX10" fmla="*/ 13856 w 36004"/>
                <a:gd name="connsiteY10" fmla="*/ 766 h 20907"/>
                <a:gd name="connsiteX11" fmla="*/ 1188 w 36004"/>
                <a:gd name="connsiteY11" fmla="*/ 8101 h 20907"/>
                <a:gd name="connsiteX12" fmla="*/ -336 w 36004"/>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907">
                  <a:moveTo>
                    <a:pt x="-336" y="10291"/>
                  </a:moveTo>
                  <a:cubicBezTo>
                    <a:pt x="-270" y="11272"/>
                    <a:pt x="311" y="12139"/>
                    <a:pt x="1188" y="12577"/>
                  </a:cubicBezTo>
                  <a:lnTo>
                    <a:pt x="3569" y="13911"/>
                  </a:lnTo>
                  <a:lnTo>
                    <a:pt x="13856" y="19816"/>
                  </a:lnTo>
                  <a:cubicBezTo>
                    <a:pt x="16247" y="21054"/>
                    <a:pt x="19085" y="21054"/>
                    <a:pt x="21476" y="19816"/>
                  </a:cubicBezTo>
                  <a:lnTo>
                    <a:pt x="31763" y="13911"/>
                  </a:lnTo>
                  <a:lnTo>
                    <a:pt x="34144" y="12577"/>
                  </a:lnTo>
                  <a:cubicBezTo>
                    <a:pt x="35021" y="12139"/>
                    <a:pt x="35602" y="11272"/>
                    <a:pt x="35668" y="10291"/>
                  </a:cubicBezTo>
                  <a:cubicBezTo>
                    <a:pt x="35611" y="9339"/>
                    <a:pt x="35021" y="8491"/>
                    <a:pt x="34144" y="8101"/>
                  </a:cubicBezTo>
                  <a:lnTo>
                    <a:pt x="21476" y="766"/>
                  </a:lnTo>
                  <a:cubicBezTo>
                    <a:pt x="19085" y="-472"/>
                    <a:pt x="16247" y="-472"/>
                    <a:pt x="13856" y="766"/>
                  </a:cubicBezTo>
                  <a:lnTo>
                    <a:pt x="1188" y="8101"/>
                  </a:lnTo>
                  <a:cubicBezTo>
                    <a:pt x="311" y="8491"/>
                    <a:pt x="-279"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622" name="îṧliḋe">
              <a:extLst>
                <a:ext uri="{FF2B5EF4-FFF2-40B4-BE49-F238E27FC236}">
                  <a16:creationId xmlns:a16="http://schemas.microsoft.com/office/drawing/2014/main" id="{7AD30AA5-2E9C-4BC3-81CC-F2287C3A14D8}"/>
                </a:ext>
              </a:extLst>
            </p:cNvPr>
            <p:cNvSpPr/>
            <p:nvPr/>
          </p:nvSpPr>
          <p:spPr>
            <a:xfrm>
              <a:off x="5932747" y="5041835"/>
              <a:ext cx="106760" cy="61101"/>
            </a:xfrm>
            <a:custGeom>
              <a:avLst/>
              <a:gdLst>
                <a:gd name="connsiteX0" fmla="*/ 1448 w 35073"/>
                <a:gd name="connsiteY0" fmla="*/ 12029 h 20073"/>
                <a:gd name="connsiteX1" fmla="*/ 13640 w 35073"/>
                <a:gd name="connsiteY1" fmla="*/ 18983 h 20073"/>
                <a:gd name="connsiteX2" fmla="*/ 21069 w 35073"/>
                <a:gd name="connsiteY2" fmla="*/ 18983 h 20073"/>
                <a:gd name="connsiteX3" fmla="*/ 33166 w 35073"/>
                <a:gd name="connsiteY3" fmla="*/ 12029 h 20073"/>
                <a:gd name="connsiteX4" fmla="*/ 33166 w 35073"/>
                <a:gd name="connsiteY4" fmla="*/ 7648 h 20073"/>
                <a:gd name="connsiteX5" fmla="*/ 20498 w 35073"/>
                <a:gd name="connsiteY5" fmla="*/ 695 h 20073"/>
                <a:gd name="connsiteX6" fmla="*/ 13068 w 35073"/>
                <a:gd name="connsiteY6" fmla="*/ 695 h 20073"/>
                <a:gd name="connsiteX7" fmla="*/ 876 w 35073"/>
                <a:gd name="connsiteY7" fmla="*/ 7648 h 20073"/>
                <a:gd name="connsiteX8" fmla="*/ -29 w 35073"/>
                <a:gd name="connsiteY8" fmla="*/ 10886 h 20073"/>
                <a:gd name="connsiteX9" fmla="*/ 1448 w 35073"/>
                <a:gd name="connsiteY9"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5073" h="20073">
                  <a:moveTo>
                    <a:pt x="1448" y="12029"/>
                  </a:moveTo>
                  <a:lnTo>
                    <a:pt x="13640" y="18983"/>
                  </a:lnTo>
                  <a:cubicBezTo>
                    <a:pt x="15964" y="20221"/>
                    <a:pt x="18745" y="20221"/>
                    <a:pt x="21069" y="18983"/>
                  </a:cubicBezTo>
                  <a:lnTo>
                    <a:pt x="33166" y="12029"/>
                  </a:lnTo>
                  <a:cubicBezTo>
                    <a:pt x="35261" y="10791"/>
                    <a:pt x="35261" y="8886"/>
                    <a:pt x="33166" y="7648"/>
                  </a:cubicBezTo>
                  <a:lnTo>
                    <a:pt x="20498" y="695"/>
                  </a:lnTo>
                  <a:cubicBezTo>
                    <a:pt x="18154" y="-448"/>
                    <a:pt x="15411" y="-448"/>
                    <a:pt x="13068" y="695"/>
                  </a:cubicBezTo>
                  <a:lnTo>
                    <a:pt x="876" y="7648"/>
                  </a:lnTo>
                  <a:cubicBezTo>
                    <a:pt x="-267" y="8296"/>
                    <a:pt x="-676" y="9743"/>
                    <a:pt x="-29" y="10886"/>
                  </a:cubicBezTo>
                  <a:cubicBezTo>
                    <a:pt x="285" y="11458"/>
                    <a:pt x="819" y="11867"/>
                    <a:pt x="1448" y="12029"/>
                  </a:cubicBezTo>
                  <a:close/>
                </a:path>
              </a:pathLst>
            </a:custGeom>
            <a:solidFill>
              <a:srgbClr val="D1D9E8"/>
            </a:solidFill>
            <a:ln w="9525" cap="flat">
              <a:noFill/>
              <a:prstDash val="solid"/>
              <a:miter/>
            </a:ln>
          </p:spPr>
          <p:txBody>
            <a:bodyPr rtlCol="0" anchor="ctr"/>
            <a:lstStyle/>
            <a:p>
              <a:endParaRPr lang="zh-CN" altLang="en-US"/>
            </a:p>
          </p:txBody>
        </p:sp>
        <p:sp>
          <p:nvSpPr>
            <p:cNvPr id="623" name="ïṩlídè">
              <a:extLst>
                <a:ext uri="{FF2B5EF4-FFF2-40B4-BE49-F238E27FC236}">
                  <a16:creationId xmlns:a16="http://schemas.microsoft.com/office/drawing/2014/main" id="{86C90858-DFD3-48AA-95A3-B6B0EA3BF0BF}"/>
                </a:ext>
              </a:extLst>
            </p:cNvPr>
            <p:cNvSpPr/>
            <p:nvPr/>
          </p:nvSpPr>
          <p:spPr>
            <a:xfrm>
              <a:off x="5930929" y="5072277"/>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4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4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20"/>
                    <a:pt x="35582" y="7953"/>
                    <a:pt x="35668" y="6981"/>
                  </a:cubicBezTo>
                  <a:lnTo>
                    <a:pt x="35668" y="-163"/>
                  </a:lnTo>
                  <a:cubicBezTo>
                    <a:pt x="35602" y="818"/>
                    <a:pt x="35021" y="1685"/>
                    <a:pt x="34144" y="2124"/>
                  </a:cubicBezTo>
                  <a:lnTo>
                    <a:pt x="31763" y="3457"/>
                  </a:lnTo>
                  <a:lnTo>
                    <a:pt x="21476" y="9362"/>
                  </a:lnTo>
                  <a:cubicBezTo>
                    <a:pt x="19085" y="10601"/>
                    <a:pt x="16247" y="10601"/>
                    <a:pt x="13856" y="9362"/>
                  </a:cubicBezTo>
                  <a:lnTo>
                    <a:pt x="3569" y="3457"/>
                  </a:lnTo>
                  <a:lnTo>
                    <a:pt x="1188" y="2124"/>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24" name="iśļíḓê">
              <a:extLst>
                <a:ext uri="{FF2B5EF4-FFF2-40B4-BE49-F238E27FC236}">
                  <a16:creationId xmlns:a16="http://schemas.microsoft.com/office/drawing/2014/main" id="{8B720D40-DE24-4A09-8F98-497196DF7E34}"/>
                </a:ext>
              </a:extLst>
            </p:cNvPr>
            <p:cNvSpPr/>
            <p:nvPr/>
          </p:nvSpPr>
          <p:spPr>
            <a:xfrm>
              <a:off x="6008053" y="5085108"/>
              <a:ext cx="109883" cy="63639"/>
            </a:xfrm>
            <a:custGeom>
              <a:avLst/>
              <a:gdLst>
                <a:gd name="connsiteX0" fmla="*/ -336 w 36099"/>
                <a:gd name="connsiteY0" fmla="*/ 10291 h 20907"/>
                <a:gd name="connsiteX1" fmla="*/ 1283 w 36099"/>
                <a:gd name="connsiteY1" fmla="*/ 12577 h 20907"/>
                <a:gd name="connsiteX2" fmla="*/ 3569 w 36099"/>
                <a:gd name="connsiteY2" fmla="*/ 13911 h 20907"/>
                <a:gd name="connsiteX3" fmla="*/ 13856 w 36099"/>
                <a:gd name="connsiteY3" fmla="*/ 19816 h 20907"/>
                <a:gd name="connsiteX4" fmla="*/ 21571 w 36099"/>
                <a:gd name="connsiteY4" fmla="*/ 19816 h 20907"/>
                <a:gd name="connsiteX5" fmla="*/ 31858 w 36099"/>
                <a:gd name="connsiteY5" fmla="*/ 13911 h 20907"/>
                <a:gd name="connsiteX6" fmla="*/ 34144 w 36099"/>
                <a:gd name="connsiteY6" fmla="*/ 12577 h 20907"/>
                <a:gd name="connsiteX7" fmla="*/ 35764 w 36099"/>
                <a:gd name="connsiteY7" fmla="*/ 10291 h 20907"/>
                <a:gd name="connsiteX8" fmla="*/ 34144 w 36099"/>
                <a:gd name="connsiteY8" fmla="*/ 8100 h 20907"/>
                <a:gd name="connsiteX9" fmla="*/ 21571 w 36099"/>
                <a:gd name="connsiteY9" fmla="*/ 766 h 20907"/>
                <a:gd name="connsiteX10" fmla="*/ 13856 w 36099"/>
                <a:gd name="connsiteY10" fmla="*/ 766 h 20907"/>
                <a:gd name="connsiteX11" fmla="*/ 1283 w 36099"/>
                <a:gd name="connsiteY11" fmla="*/ 8100 h 20907"/>
                <a:gd name="connsiteX12" fmla="*/ -336 w 36099"/>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99" h="20907">
                  <a:moveTo>
                    <a:pt x="-336" y="10291"/>
                  </a:moveTo>
                  <a:cubicBezTo>
                    <a:pt x="-270" y="11301"/>
                    <a:pt x="359" y="12187"/>
                    <a:pt x="1283" y="12577"/>
                  </a:cubicBezTo>
                  <a:lnTo>
                    <a:pt x="3569" y="13911"/>
                  </a:lnTo>
                  <a:lnTo>
                    <a:pt x="13856" y="19816"/>
                  </a:lnTo>
                  <a:cubicBezTo>
                    <a:pt x="16275" y="21054"/>
                    <a:pt x="19152" y="21054"/>
                    <a:pt x="21571" y="19816"/>
                  </a:cubicBezTo>
                  <a:lnTo>
                    <a:pt x="31858" y="13911"/>
                  </a:lnTo>
                  <a:lnTo>
                    <a:pt x="34144" y="12577"/>
                  </a:lnTo>
                  <a:cubicBezTo>
                    <a:pt x="35049" y="12149"/>
                    <a:pt x="35659" y="11282"/>
                    <a:pt x="35764" y="10291"/>
                  </a:cubicBezTo>
                  <a:cubicBezTo>
                    <a:pt x="35649" y="9329"/>
                    <a:pt x="35030" y="8491"/>
                    <a:pt x="34144" y="8100"/>
                  </a:cubicBezTo>
                  <a:lnTo>
                    <a:pt x="21571" y="766"/>
                  </a:lnTo>
                  <a:cubicBezTo>
                    <a:pt x="19152" y="-472"/>
                    <a:pt x="16275" y="-472"/>
                    <a:pt x="13856" y="766"/>
                  </a:cubicBezTo>
                  <a:lnTo>
                    <a:pt x="1283" y="8100"/>
                  </a:lnTo>
                  <a:cubicBezTo>
                    <a:pt x="369" y="8462"/>
                    <a:pt x="-260" y="9310"/>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625" name="iṥlíḑe">
              <a:extLst>
                <a:ext uri="{FF2B5EF4-FFF2-40B4-BE49-F238E27FC236}">
                  <a16:creationId xmlns:a16="http://schemas.microsoft.com/office/drawing/2014/main" id="{A4FEA2B0-8C41-4D06-9801-8402CDD16068}"/>
                </a:ext>
              </a:extLst>
            </p:cNvPr>
            <p:cNvSpPr/>
            <p:nvPr/>
          </p:nvSpPr>
          <p:spPr>
            <a:xfrm>
              <a:off x="6009938" y="5086267"/>
              <a:ext cx="105895" cy="61101"/>
            </a:xfrm>
            <a:custGeom>
              <a:avLst/>
              <a:gdLst>
                <a:gd name="connsiteX0" fmla="*/ 1235 w 34789"/>
                <a:gd name="connsiteY0" fmla="*/ 12006 h 20073"/>
                <a:gd name="connsiteX1" fmla="*/ 13332 w 34789"/>
                <a:gd name="connsiteY1" fmla="*/ 19054 h 20073"/>
                <a:gd name="connsiteX2" fmla="*/ 20761 w 34789"/>
                <a:gd name="connsiteY2" fmla="*/ 19054 h 20073"/>
                <a:gd name="connsiteX3" fmla="*/ 32953 w 34789"/>
                <a:gd name="connsiteY3" fmla="*/ 12006 h 20073"/>
                <a:gd name="connsiteX4" fmla="*/ 32953 w 34789"/>
                <a:gd name="connsiteY4" fmla="*/ 7719 h 20073"/>
                <a:gd name="connsiteX5" fmla="*/ 20761 w 34789"/>
                <a:gd name="connsiteY5" fmla="*/ 766 h 20073"/>
                <a:gd name="connsiteX6" fmla="*/ 13332 w 34789"/>
                <a:gd name="connsiteY6" fmla="*/ 766 h 20073"/>
                <a:gd name="connsiteX7" fmla="*/ 1235 w 34789"/>
                <a:gd name="connsiteY7" fmla="*/ 7719 h 20073"/>
                <a:gd name="connsiteX8" fmla="*/ 1235 w 34789"/>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89" h="20073">
                  <a:moveTo>
                    <a:pt x="1235" y="12006"/>
                  </a:moveTo>
                  <a:lnTo>
                    <a:pt x="13332" y="19054"/>
                  </a:lnTo>
                  <a:cubicBezTo>
                    <a:pt x="15675" y="20197"/>
                    <a:pt x="18418" y="20197"/>
                    <a:pt x="20761" y="19054"/>
                  </a:cubicBezTo>
                  <a:lnTo>
                    <a:pt x="32953" y="12006"/>
                  </a:lnTo>
                  <a:cubicBezTo>
                    <a:pt x="34954" y="10863"/>
                    <a:pt x="34954" y="8957"/>
                    <a:pt x="32953" y="7719"/>
                  </a:cubicBezTo>
                  <a:lnTo>
                    <a:pt x="20761" y="766"/>
                  </a:lnTo>
                  <a:cubicBezTo>
                    <a:pt x="18437" y="-472"/>
                    <a:pt x="15656" y="-472"/>
                    <a:pt x="13332" y="766"/>
                  </a:cubicBezTo>
                  <a:lnTo>
                    <a:pt x="1235" y="7719"/>
                  </a:lnTo>
                  <a:cubicBezTo>
                    <a:pt x="-860" y="8957"/>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626" name="iṥ1ïḓé">
              <a:extLst>
                <a:ext uri="{FF2B5EF4-FFF2-40B4-BE49-F238E27FC236}">
                  <a16:creationId xmlns:a16="http://schemas.microsoft.com/office/drawing/2014/main" id="{F1D60A0B-47E4-4BE7-84CE-A60B4CC23647}"/>
                </a:ext>
              </a:extLst>
            </p:cNvPr>
            <p:cNvSpPr/>
            <p:nvPr/>
          </p:nvSpPr>
          <p:spPr>
            <a:xfrm>
              <a:off x="6008053" y="5116929"/>
              <a:ext cx="109015" cy="53564"/>
            </a:xfrm>
            <a:custGeom>
              <a:avLst/>
              <a:gdLst>
                <a:gd name="connsiteX0" fmla="*/ -336 w 35814"/>
                <a:gd name="connsiteY0" fmla="*/ -163 h 17597"/>
                <a:gd name="connsiteX1" fmla="*/ -336 w 35814"/>
                <a:gd name="connsiteY1" fmla="*/ 7076 h 17597"/>
                <a:gd name="connsiteX2" fmla="*/ 1283 w 35814"/>
                <a:gd name="connsiteY2" fmla="*/ 9267 h 17597"/>
                <a:gd name="connsiteX3" fmla="*/ 13856 w 35814"/>
                <a:gd name="connsiteY3" fmla="*/ 16506 h 17597"/>
                <a:gd name="connsiteX4" fmla="*/ 21571 w 35814"/>
                <a:gd name="connsiteY4" fmla="*/ 16506 h 17597"/>
                <a:gd name="connsiteX5" fmla="*/ 33858 w 35814"/>
                <a:gd name="connsiteY5" fmla="*/ 9362 h 17597"/>
                <a:gd name="connsiteX6" fmla="*/ 35478 w 35814"/>
                <a:gd name="connsiteY6" fmla="*/ 7076 h 17597"/>
                <a:gd name="connsiteX7" fmla="*/ 35478 w 35814"/>
                <a:gd name="connsiteY7" fmla="*/ -163 h 17597"/>
                <a:gd name="connsiteX8" fmla="*/ 33858 w 35814"/>
                <a:gd name="connsiteY8" fmla="*/ 2123 h 17597"/>
                <a:gd name="connsiteX9" fmla="*/ 31572 w 35814"/>
                <a:gd name="connsiteY9" fmla="*/ 3457 h 17597"/>
                <a:gd name="connsiteX10" fmla="*/ 21285 w 35814"/>
                <a:gd name="connsiteY10" fmla="*/ 9362 h 17597"/>
                <a:gd name="connsiteX11" fmla="*/ 13570 w 35814"/>
                <a:gd name="connsiteY11" fmla="*/ 9362 h 17597"/>
                <a:gd name="connsiteX12" fmla="*/ 3283 w 35814"/>
                <a:gd name="connsiteY12" fmla="*/ 3457 h 17597"/>
                <a:gd name="connsiteX13" fmla="*/ 997 w 35814"/>
                <a:gd name="connsiteY13" fmla="*/ 2123 h 17597"/>
                <a:gd name="connsiteX14" fmla="*/ -336 w 3581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5814" h="17597">
                  <a:moveTo>
                    <a:pt x="-336" y="-163"/>
                  </a:moveTo>
                  <a:lnTo>
                    <a:pt x="-336" y="7076"/>
                  </a:lnTo>
                  <a:cubicBezTo>
                    <a:pt x="-241" y="8048"/>
                    <a:pt x="387" y="8886"/>
                    <a:pt x="1283" y="9267"/>
                  </a:cubicBezTo>
                  <a:lnTo>
                    <a:pt x="13856" y="16506"/>
                  </a:lnTo>
                  <a:cubicBezTo>
                    <a:pt x="16275" y="17744"/>
                    <a:pt x="19152" y="17744"/>
                    <a:pt x="21571" y="16506"/>
                  </a:cubicBezTo>
                  <a:lnTo>
                    <a:pt x="33858" y="9362"/>
                  </a:lnTo>
                  <a:cubicBezTo>
                    <a:pt x="34744" y="8924"/>
                    <a:pt x="35354" y="8058"/>
                    <a:pt x="35478" y="7076"/>
                  </a:cubicBezTo>
                  <a:lnTo>
                    <a:pt x="35478" y="-163"/>
                  </a:lnTo>
                  <a:cubicBezTo>
                    <a:pt x="35373" y="828"/>
                    <a:pt x="34763" y="1695"/>
                    <a:pt x="33858" y="2123"/>
                  </a:cubicBezTo>
                  <a:lnTo>
                    <a:pt x="31572" y="3457"/>
                  </a:lnTo>
                  <a:lnTo>
                    <a:pt x="21285" y="9362"/>
                  </a:lnTo>
                  <a:cubicBezTo>
                    <a:pt x="18866" y="10601"/>
                    <a:pt x="15989" y="10601"/>
                    <a:pt x="13570" y="9362"/>
                  </a:cubicBezTo>
                  <a:lnTo>
                    <a:pt x="3283" y="3457"/>
                  </a:lnTo>
                  <a:lnTo>
                    <a:pt x="997" y="2123"/>
                  </a:lnTo>
                  <a:cubicBezTo>
                    <a:pt x="178" y="1647"/>
                    <a:pt x="-327" y="780"/>
                    <a:pt x="-336" y="-163"/>
                  </a:cubicBezTo>
                  <a:close/>
                </a:path>
              </a:pathLst>
            </a:custGeom>
            <a:solidFill>
              <a:srgbClr val="BF4200"/>
            </a:solidFill>
            <a:ln w="9525" cap="flat">
              <a:noFill/>
              <a:prstDash val="solid"/>
              <a:miter/>
            </a:ln>
          </p:spPr>
          <p:txBody>
            <a:bodyPr rtlCol="0" anchor="ctr"/>
            <a:lstStyle/>
            <a:p>
              <a:endParaRPr lang="zh-CN" altLang="en-US"/>
            </a:p>
          </p:txBody>
        </p:sp>
        <p:sp>
          <p:nvSpPr>
            <p:cNvPr id="627" name="îṡḻïḋe">
              <a:extLst>
                <a:ext uri="{FF2B5EF4-FFF2-40B4-BE49-F238E27FC236}">
                  <a16:creationId xmlns:a16="http://schemas.microsoft.com/office/drawing/2014/main" id="{1A52E50A-AA9B-435E-8219-9295451422B7}"/>
                </a:ext>
              </a:extLst>
            </p:cNvPr>
            <p:cNvSpPr/>
            <p:nvPr/>
          </p:nvSpPr>
          <p:spPr>
            <a:xfrm>
              <a:off x="6085464" y="5129759"/>
              <a:ext cx="109362" cy="63588"/>
            </a:xfrm>
            <a:custGeom>
              <a:avLst/>
              <a:gdLst>
                <a:gd name="connsiteX0" fmla="*/ -336 w 35928"/>
                <a:gd name="connsiteY0" fmla="*/ 10291 h 20890"/>
                <a:gd name="connsiteX1" fmla="*/ 1188 w 35928"/>
                <a:gd name="connsiteY1" fmla="*/ 12482 h 20890"/>
                <a:gd name="connsiteX2" fmla="*/ 3569 w 35928"/>
                <a:gd name="connsiteY2" fmla="*/ 13911 h 20890"/>
                <a:gd name="connsiteX3" fmla="*/ 13856 w 35928"/>
                <a:gd name="connsiteY3" fmla="*/ 19721 h 20890"/>
                <a:gd name="connsiteX4" fmla="*/ 21476 w 35928"/>
                <a:gd name="connsiteY4" fmla="*/ 19721 h 20890"/>
                <a:gd name="connsiteX5" fmla="*/ 31763 w 35928"/>
                <a:gd name="connsiteY5" fmla="*/ 13911 h 20890"/>
                <a:gd name="connsiteX6" fmla="*/ 34144 w 35928"/>
                <a:gd name="connsiteY6" fmla="*/ 12482 h 20890"/>
                <a:gd name="connsiteX7" fmla="*/ 35402 w 35928"/>
                <a:gd name="connsiteY7" fmla="*/ 9357 h 20890"/>
                <a:gd name="connsiteX8" fmla="*/ 34144 w 35928"/>
                <a:gd name="connsiteY8" fmla="*/ 8100 h 20890"/>
                <a:gd name="connsiteX9" fmla="*/ 21476 w 35928"/>
                <a:gd name="connsiteY9" fmla="*/ 766 h 20890"/>
                <a:gd name="connsiteX10" fmla="*/ 13856 w 35928"/>
                <a:gd name="connsiteY10" fmla="*/ 766 h 20890"/>
                <a:gd name="connsiteX11" fmla="*/ 1188 w 35928"/>
                <a:gd name="connsiteY11" fmla="*/ 8100 h 20890"/>
                <a:gd name="connsiteX12" fmla="*/ -336 w 35928"/>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928" h="20890">
                  <a:moveTo>
                    <a:pt x="-336" y="10291"/>
                  </a:moveTo>
                  <a:cubicBezTo>
                    <a:pt x="-298" y="11253"/>
                    <a:pt x="292" y="12110"/>
                    <a:pt x="1188" y="12482"/>
                  </a:cubicBezTo>
                  <a:lnTo>
                    <a:pt x="3569" y="13911"/>
                  </a:lnTo>
                  <a:lnTo>
                    <a:pt x="13856" y="19721"/>
                  </a:lnTo>
                  <a:cubicBezTo>
                    <a:pt x="16218" y="21064"/>
                    <a:pt x="19114" y="21064"/>
                    <a:pt x="21476" y="19721"/>
                  </a:cubicBezTo>
                  <a:lnTo>
                    <a:pt x="31763" y="13911"/>
                  </a:lnTo>
                  <a:lnTo>
                    <a:pt x="34144" y="12482"/>
                  </a:lnTo>
                  <a:cubicBezTo>
                    <a:pt x="35354" y="11967"/>
                    <a:pt x="35916" y="10567"/>
                    <a:pt x="35402" y="9357"/>
                  </a:cubicBezTo>
                  <a:cubicBezTo>
                    <a:pt x="35164" y="8796"/>
                    <a:pt x="34706" y="8338"/>
                    <a:pt x="34144" y="8100"/>
                  </a:cubicBezTo>
                  <a:lnTo>
                    <a:pt x="21476" y="766"/>
                  </a:lnTo>
                  <a:cubicBezTo>
                    <a:pt x="19085" y="-472"/>
                    <a:pt x="16247" y="-472"/>
                    <a:pt x="13856" y="766"/>
                  </a:cubicBezTo>
                  <a:lnTo>
                    <a:pt x="1188" y="8100"/>
                  </a:lnTo>
                  <a:cubicBezTo>
                    <a:pt x="292" y="8472"/>
                    <a:pt x="-298"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628" name="îṧḷîḋé">
              <a:extLst>
                <a:ext uri="{FF2B5EF4-FFF2-40B4-BE49-F238E27FC236}">
                  <a16:creationId xmlns:a16="http://schemas.microsoft.com/office/drawing/2014/main" id="{01824EF5-CDFF-40F4-829F-6868A6E02889}"/>
                </a:ext>
              </a:extLst>
            </p:cNvPr>
            <p:cNvSpPr/>
            <p:nvPr/>
          </p:nvSpPr>
          <p:spPr>
            <a:xfrm>
              <a:off x="6087348" y="5130919"/>
              <a:ext cx="105825" cy="61101"/>
            </a:xfrm>
            <a:custGeom>
              <a:avLst/>
              <a:gdLst>
                <a:gd name="connsiteX0" fmla="*/ 1235 w 34766"/>
                <a:gd name="connsiteY0" fmla="*/ 12006 h 20073"/>
                <a:gd name="connsiteX1" fmla="*/ 13332 w 34766"/>
                <a:gd name="connsiteY1" fmla="*/ 19054 h 20073"/>
                <a:gd name="connsiteX2" fmla="*/ 20761 w 34766"/>
                <a:gd name="connsiteY2" fmla="*/ 19054 h 20073"/>
                <a:gd name="connsiteX3" fmla="*/ 32858 w 34766"/>
                <a:gd name="connsiteY3" fmla="*/ 12006 h 20073"/>
                <a:gd name="connsiteX4" fmla="*/ 32858 w 34766"/>
                <a:gd name="connsiteY4" fmla="*/ 7719 h 20073"/>
                <a:gd name="connsiteX5" fmla="*/ 20761 w 34766"/>
                <a:gd name="connsiteY5" fmla="*/ 766 h 20073"/>
                <a:gd name="connsiteX6" fmla="*/ 13332 w 34766"/>
                <a:gd name="connsiteY6" fmla="*/ 766 h 20073"/>
                <a:gd name="connsiteX7" fmla="*/ 1235 w 34766"/>
                <a:gd name="connsiteY7" fmla="*/ 7719 h 20073"/>
                <a:gd name="connsiteX8" fmla="*/ 1235 w 34766"/>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6" h="20073">
                  <a:moveTo>
                    <a:pt x="1235" y="12006"/>
                  </a:moveTo>
                  <a:lnTo>
                    <a:pt x="13332" y="19054"/>
                  </a:lnTo>
                  <a:cubicBezTo>
                    <a:pt x="15675" y="20197"/>
                    <a:pt x="18419" y="20197"/>
                    <a:pt x="20761" y="19054"/>
                  </a:cubicBezTo>
                  <a:lnTo>
                    <a:pt x="32858" y="12006"/>
                  </a:lnTo>
                  <a:cubicBezTo>
                    <a:pt x="34954" y="10863"/>
                    <a:pt x="34954" y="8958"/>
                    <a:pt x="32858" y="7719"/>
                  </a:cubicBezTo>
                  <a:lnTo>
                    <a:pt x="20761" y="766"/>
                  </a:lnTo>
                  <a:cubicBezTo>
                    <a:pt x="18437" y="-472"/>
                    <a:pt x="15656" y="-472"/>
                    <a:pt x="13332" y="766"/>
                  </a:cubicBezTo>
                  <a:lnTo>
                    <a:pt x="1235" y="7719"/>
                  </a:lnTo>
                  <a:cubicBezTo>
                    <a:pt x="-860" y="8958"/>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629" name="ï$ľiḑê">
              <a:extLst>
                <a:ext uri="{FF2B5EF4-FFF2-40B4-BE49-F238E27FC236}">
                  <a16:creationId xmlns:a16="http://schemas.microsoft.com/office/drawing/2014/main" id="{E49469B0-52B4-4C30-98A4-87D2551D6F5E}"/>
                </a:ext>
              </a:extLst>
            </p:cNvPr>
            <p:cNvSpPr/>
            <p:nvPr/>
          </p:nvSpPr>
          <p:spPr>
            <a:xfrm>
              <a:off x="6085464" y="5161577"/>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028 h 17597"/>
                <a:gd name="connsiteX9" fmla="*/ 31763 w 36004"/>
                <a:gd name="connsiteY9" fmla="*/ 3457 h 17597"/>
                <a:gd name="connsiteX10" fmla="*/ 21476 w 36004"/>
                <a:gd name="connsiteY10" fmla="*/ 9267 h 17597"/>
                <a:gd name="connsiteX11" fmla="*/ 13856 w 36004"/>
                <a:gd name="connsiteY11" fmla="*/ 9267 h 17597"/>
                <a:gd name="connsiteX12" fmla="*/ 3569 w 36004"/>
                <a:gd name="connsiteY12" fmla="*/ 3457 h 17597"/>
                <a:gd name="connsiteX13" fmla="*/ 1188 w 36004"/>
                <a:gd name="connsiteY13" fmla="*/ 2028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3" y="7953"/>
                    <a:pt x="35668" y="6981"/>
                  </a:cubicBezTo>
                  <a:lnTo>
                    <a:pt x="35668" y="-163"/>
                  </a:lnTo>
                  <a:cubicBezTo>
                    <a:pt x="35630" y="799"/>
                    <a:pt x="35040" y="1656"/>
                    <a:pt x="34144" y="2028"/>
                  </a:cubicBezTo>
                  <a:lnTo>
                    <a:pt x="31763" y="3457"/>
                  </a:lnTo>
                  <a:lnTo>
                    <a:pt x="21476" y="9267"/>
                  </a:lnTo>
                  <a:cubicBezTo>
                    <a:pt x="19114" y="10610"/>
                    <a:pt x="16218" y="10610"/>
                    <a:pt x="13856" y="9267"/>
                  </a:cubicBezTo>
                  <a:lnTo>
                    <a:pt x="3569" y="3457"/>
                  </a:lnTo>
                  <a:lnTo>
                    <a:pt x="1188" y="2028"/>
                  </a:lnTo>
                  <a:cubicBezTo>
                    <a:pt x="292" y="1656"/>
                    <a:pt x="-298" y="799"/>
                    <a:pt x="-336" y="-163"/>
                  </a:cubicBezTo>
                  <a:close/>
                </a:path>
              </a:pathLst>
            </a:custGeom>
            <a:solidFill>
              <a:srgbClr val="BF4200"/>
            </a:solidFill>
            <a:ln w="9525" cap="flat">
              <a:noFill/>
              <a:prstDash val="solid"/>
              <a:miter/>
            </a:ln>
          </p:spPr>
          <p:txBody>
            <a:bodyPr rtlCol="0" anchor="ctr"/>
            <a:lstStyle/>
            <a:p>
              <a:endParaRPr lang="zh-CN" altLang="en-US"/>
            </a:p>
          </p:txBody>
        </p:sp>
        <p:sp>
          <p:nvSpPr>
            <p:cNvPr id="630" name="ïṥḷïdé">
              <a:extLst>
                <a:ext uri="{FF2B5EF4-FFF2-40B4-BE49-F238E27FC236}">
                  <a16:creationId xmlns:a16="http://schemas.microsoft.com/office/drawing/2014/main" id="{BCE871EA-5762-420C-BA15-8937A527E99D}"/>
                </a:ext>
              </a:extLst>
            </p:cNvPr>
            <p:cNvSpPr/>
            <p:nvPr/>
          </p:nvSpPr>
          <p:spPr>
            <a:xfrm>
              <a:off x="6162588" y="5174407"/>
              <a:ext cx="109883" cy="63639"/>
            </a:xfrm>
            <a:custGeom>
              <a:avLst/>
              <a:gdLst>
                <a:gd name="connsiteX0" fmla="*/ -336 w 36099"/>
                <a:gd name="connsiteY0" fmla="*/ 10291 h 20907"/>
                <a:gd name="connsiteX1" fmla="*/ 1283 w 36099"/>
                <a:gd name="connsiteY1" fmla="*/ 12577 h 20907"/>
                <a:gd name="connsiteX2" fmla="*/ 3569 w 36099"/>
                <a:gd name="connsiteY2" fmla="*/ 13910 h 20907"/>
                <a:gd name="connsiteX3" fmla="*/ 13856 w 36099"/>
                <a:gd name="connsiteY3" fmla="*/ 19816 h 20907"/>
                <a:gd name="connsiteX4" fmla="*/ 21571 w 36099"/>
                <a:gd name="connsiteY4" fmla="*/ 19816 h 20907"/>
                <a:gd name="connsiteX5" fmla="*/ 31858 w 36099"/>
                <a:gd name="connsiteY5" fmla="*/ 13910 h 20907"/>
                <a:gd name="connsiteX6" fmla="*/ 34144 w 36099"/>
                <a:gd name="connsiteY6" fmla="*/ 12577 h 20907"/>
                <a:gd name="connsiteX7" fmla="*/ 35764 w 36099"/>
                <a:gd name="connsiteY7" fmla="*/ 10291 h 20907"/>
                <a:gd name="connsiteX8" fmla="*/ 34144 w 36099"/>
                <a:gd name="connsiteY8" fmla="*/ 8100 h 20907"/>
                <a:gd name="connsiteX9" fmla="*/ 21571 w 36099"/>
                <a:gd name="connsiteY9" fmla="*/ 766 h 20907"/>
                <a:gd name="connsiteX10" fmla="*/ 13856 w 36099"/>
                <a:gd name="connsiteY10" fmla="*/ 766 h 20907"/>
                <a:gd name="connsiteX11" fmla="*/ 1283 w 36099"/>
                <a:gd name="connsiteY11" fmla="*/ 8100 h 20907"/>
                <a:gd name="connsiteX12" fmla="*/ -336 w 36099"/>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99" h="20907">
                  <a:moveTo>
                    <a:pt x="-336" y="10291"/>
                  </a:moveTo>
                  <a:cubicBezTo>
                    <a:pt x="-231" y="11282"/>
                    <a:pt x="378" y="12148"/>
                    <a:pt x="1283" y="12577"/>
                  </a:cubicBezTo>
                  <a:lnTo>
                    <a:pt x="3569" y="13910"/>
                  </a:lnTo>
                  <a:lnTo>
                    <a:pt x="13856" y="19816"/>
                  </a:lnTo>
                  <a:cubicBezTo>
                    <a:pt x="16275" y="21054"/>
                    <a:pt x="19152" y="21054"/>
                    <a:pt x="21571" y="19816"/>
                  </a:cubicBezTo>
                  <a:lnTo>
                    <a:pt x="31858" y="13910"/>
                  </a:lnTo>
                  <a:lnTo>
                    <a:pt x="34144" y="12577"/>
                  </a:lnTo>
                  <a:cubicBezTo>
                    <a:pt x="35049" y="12148"/>
                    <a:pt x="35659" y="11282"/>
                    <a:pt x="35764" y="10291"/>
                  </a:cubicBezTo>
                  <a:cubicBezTo>
                    <a:pt x="35649" y="9329"/>
                    <a:pt x="35030" y="8491"/>
                    <a:pt x="34144" y="8100"/>
                  </a:cubicBezTo>
                  <a:lnTo>
                    <a:pt x="21571" y="766"/>
                  </a:lnTo>
                  <a:cubicBezTo>
                    <a:pt x="19152" y="-472"/>
                    <a:pt x="16275" y="-472"/>
                    <a:pt x="13856" y="766"/>
                  </a:cubicBezTo>
                  <a:lnTo>
                    <a:pt x="1283" y="8100"/>
                  </a:lnTo>
                  <a:cubicBezTo>
                    <a:pt x="397" y="8491"/>
                    <a:pt x="-222"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631" name="í$1idê">
              <a:extLst>
                <a:ext uri="{FF2B5EF4-FFF2-40B4-BE49-F238E27FC236}">
                  <a16:creationId xmlns:a16="http://schemas.microsoft.com/office/drawing/2014/main" id="{A4A8BBE0-2AAC-412A-BF69-594C6D620E0E}"/>
                </a:ext>
              </a:extLst>
            </p:cNvPr>
            <p:cNvSpPr/>
            <p:nvPr/>
          </p:nvSpPr>
          <p:spPr>
            <a:xfrm>
              <a:off x="6164907" y="5175567"/>
              <a:ext cx="106330" cy="61104"/>
            </a:xfrm>
            <a:custGeom>
              <a:avLst/>
              <a:gdLst>
                <a:gd name="connsiteX0" fmla="*/ 1378 w 34932"/>
                <a:gd name="connsiteY0" fmla="*/ 12006 h 20074"/>
                <a:gd name="connsiteX1" fmla="*/ 13475 w 34932"/>
                <a:gd name="connsiteY1" fmla="*/ 19054 h 20074"/>
                <a:gd name="connsiteX2" fmla="*/ 21000 w 34932"/>
                <a:gd name="connsiteY2" fmla="*/ 19054 h 20074"/>
                <a:gd name="connsiteX3" fmla="*/ 33096 w 34932"/>
                <a:gd name="connsiteY3" fmla="*/ 12006 h 20074"/>
                <a:gd name="connsiteX4" fmla="*/ 33096 w 34932"/>
                <a:gd name="connsiteY4" fmla="*/ 7719 h 20074"/>
                <a:gd name="connsiteX5" fmla="*/ 21000 w 34932"/>
                <a:gd name="connsiteY5" fmla="*/ 766 h 20074"/>
                <a:gd name="connsiteX6" fmla="*/ 13475 w 34932"/>
                <a:gd name="connsiteY6" fmla="*/ 766 h 20074"/>
                <a:gd name="connsiteX7" fmla="*/ 1378 w 34932"/>
                <a:gd name="connsiteY7" fmla="*/ 7719 h 20074"/>
                <a:gd name="connsiteX8" fmla="*/ 1378 w 34932"/>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932" h="20074">
                  <a:moveTo>
                    <a:pt x="1378" y="12006"/>
                  </a:moveTo>
                  <a:lnTo>
                    <a:pt x="13475" y="19054"/>
                  </a:lnTo>
                  <a:cubicBezTo>
                    <a:pt x="15856" y="20197"/>
                    <a:pt x="18618" y="20197"/>
                    <a:pt x="21000" y="19054"/>
                  </a:cubicBezTo>
                  <a:lnTo>
                    <a:pt x="33096" y="12006"/>
                  </a:lnTo>
                  <a:cubicBezTo>
                    <a:pt x="35097" y="10863"/>
                    <a:pt x="35097" y="8958"/>
                    <a:pt x="33096" y="7719"/>
                  </a:cubicBezTo>
                  <a:lnTo>
                    <a:pt x="21000" y="766"/>
                  </a:lnTo>
                  <a:cubicBezTo>
                    <a:pt x="18647" y="-472"/>
                    <a:pt x="15828" y="-472"/>
                    <a:pt x="13475" y="766"/>
                  </a:cubicBezTo>
                  <a:lnTo>
                    <a:pt x="1378" y="7719"/>
                  </a:lnTo>
                  <a:cubicBezTo>
                    <a:pt x="-908" y="9148"/>
                    <a:pt x="-908" y="10863"/>
                    <a:pt x="1378" y="12006"/>
                  </a:cubicBezTo>
                  <a:close/>
                </a:path>
              </a:pathLst>
            </a:custGeom>
            <a:solidFill>
              <a:srgbClr val="D1D9E8"/>
            </a:solidFill>
            <a:ln w="9525" cap="flat">
              <a:noFill/>
              <a:prstDash val="solid"/>
              <a:miter/>
            </a:ln>
          </p:spPr>
          <p:txBody>
            <a:bodyPr rtlCol="0" anchor="ctr"/>
            <a:lstStyle/>
            <a:p>
              <a:endParaRPr lang="zh-CN" altLang="en-US"/>
            </a:p>
          </p:txBody>
        </p:sp>
        <p:sp>
          <p:nvSpPr>
            <p:cNvPr id="632" name="išļîḓé">
              <a:extLst>
                <a:ext uri="{FF2B5EF4-FFF2-40B4-BE49-F238E27FC236}">
                  <a16:creationId xmlns:a16="http://schemas.microsoft.com/office/drawing/2014/main" id="{3ADA038C-636B-4D3B-8AD0-476FC5796898}"/>
                </a:ext>
              </a:extLst>
            </p:cNvPr>
            <p:cNvSpPr/>
            <p:nvPr/>
          </p:nvSpPr>
          <p:spPr>
            <a:xfrm>
              <a:off x="6162588" y="5206229"/>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4 w 36099"/>
                <a:gd name="connsiteY6" fmla="*/ 6981 h 17597"/>
                <a:gd name="connsiteX7" fmla="*/ 35764 w 36099"/>
                <a:gd name="connsiteY7" fmla="*/ -163 h 17597"/>
                <a:gd name="connsiteX8" fmla="*/ 34144 w 36099"/>
                <a:gd name="connsiteY8" fmla="*/ 2124 h 17597"/>
                <a:gd name="connsiteX9" fmla="*/ 31858 w 36099"/>
                <a:gd name="connsiteY9" fmla="*/ 3457 h 17597"/>
                <a:gd name="connsiteX10" fmla="*/ 21571 w 36099"/>
                <a:gd name="connsiteY10" fmla="*/ 9362 h 17597"/>
                <a:gd name="connsiteX11" fmla="*/ 13856 w 36099"/>
                <a:gd name="connsiteY11" fmla="*/ 9362 h 17597"/>
                <a:gd name="connsiteX12" fmla="*/ 3569 w 36099"/>
                <a:gd name="connsiteY12" fmla="*/ 3457 h 17597"/>
                <a:gd name="connsiteX13" fmla="*/ 1283 w 36099"/>
                <a:gd name="connsiteY13" fmla="*/ 2124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03" y="8029"/>
                    <a:pt x="407" y="8858"/>
                    <a:pt x="1283" y="9267"/>
                  </a:cubicBezTo>
                  <a:lnTo>
                    <a:pt x="13856" y="16506"/>
                  </a:lnTo>
                  <a:cubicBezTo>
                    <a:pt x="16275" y="17744"/>
                    <a:pt x="19152" y="17744"/>
                    <a:pt x="21571" y="16506"/>
                  </a:cubicBezTo>
                  <a:lnTo>
                    <a:pt x="34144" y="9267"/>
                  </a:lnTo>
                  <a:cubicBezTo>
                    <a:pt x="35030" y="8829"/>
                    <a:pt x="35640" y="7972"/>
                    <a:pt x="35764" y="6981"/>
                  </a:cubicBezTo>
                  <a:lnTo>
                    <a:pt x="35764" y="-163"/>
                  </a:lnTo>
                  <a:cubicBezTo>
                    <a:pt x="35659" y="828"/>
                    <a:pt x="35049" y="1695"/>
                    <a:pt x="34144" y="2124"/>
                  </a:cubicBezTo>
                  <a:lnTo>
                    <a:pt x="31858" y="3457"/>
                  </a:lnTo>
                  <a:lnTo>
                    <a:pt x="21571" y="9362"/>
                  </a:lnTo>
                  <a:cubicBezTo>
                    <a:pt x="19152" y="10601"/>
                    <a:pt x="16275" y="10601"/>
                    <a:pt x="13856" y="9362"/>
                  </a:cubicBezTo>
                  <a:lnTo>
                    <a:pt x="3569" y="3457"/>
                  </a:lnTo>
                  <a:lnTo>
                    <a:pt x="1283" y="2124"/>
                  </a:lnTo>
                  <a:cubicBezTo>
                    <a:pt x="378" y="1695"/>
                    <a:pt x="-231"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33" name="íṡ1íḓê">
              <a:extLst>
                <a:ext uri="{FF2B5EF4-FFF2-40B4-BE49-F238E27FC236}">
                  <a16:creationId xmlns:a16="http://schemas.microsoft.com/office/drawing/2014/main" id="{0B87FBBC-EF02-4613-A4D9-E95EE405E58C}"/>
                </a:ext>
              </a:extLst>
            </p:cNvPr>
            <p:cNvSpPr/>
            <p:nvPr/>
          </p:nvSpPr>
          <p:spPr>
            <a:xfrm>
              <a:off x="6240001" y="5219056"/>
              <a:ext cx="109594" cy="63588"/>
            </a:xfrm>
            <a:custGeom>
              <a:avLst/>
              <a:gdLst>
                <a:gd name="connsiteX0" fmla="*/ -336 w 36004"/>
                <a:gd name="connsiteY0" fmla="*/ 10291 h 20890"/>
                <a:gd name="connsiteX1" fmla="*/ 1188 w 36004"/>
                <a:gd name="connsiteY1" fmla="*/ 12482 h 20890"/>
                <a:gd name="connsiteX2" fmla="*/ 3569 w 36004"/>
                <a:gd name="connsiteY2" fmla="*/ 13911 h 20890"/>
                <a:gd name="connsiteX3" fmla="*/ 13856 w 36004"/>
                <a:gd name="connsiteY3" fmla="*/ 19721 h 20890"/>
                <a:gd name="connsiteX4" fmla="*/ 21476 w 36004"/>
                <a:gd name="connsiteY4" fmla="*/ 19721 h 20890"/>
                <a:gd name="connsiteX5" fmla="*/ 31763 w 36004"/>
                <a:gd name="connsiteY5" fmla="*/ 13911 h 20890"/>
                <a:gd name="connsiteX6" fmla="*/ 34144 w 36004"/>
                <a:gd name="connsiteY6" fmla="*/ 12482 h 20890"/>
                <a:gd name="connsiteX7" fmla="*/ 35668 w 36004"/>
                <a:gd name="connsiteY7" fmla="*/ 10291 h 20890"/>
                <a:gd name="connsiteX8" fmla="*/ 34144 w 36004"/>
                <a:gd name="connsiteY8" fmla="*/ 8005 h 20890"/>
                <a:gd name="connsiteX9" fmla="*/ 21476 w 36004"/>
                <a:gd name="connsiteY9" fmla="*/ 766 h 20890"/>
                <a:gd name="connsiteX10" fmla="*/ 13856 w 36004"/>
                <a:gd name="connsiteY10" fmla="*/ 766 h 20890"/>
                <a:gd name="connsiteX11" fmla="*/ 1188 w 36004"/>
                <a:gd name="connsiteY11" fmla="*/ 8005 h 20890"/>
                <a:gd name="connsiteX12" fmla="*/ -336 w 36004"/>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291"/>
                  </a:moveTo>
                  <a:cubicBezTo>
                    <a:pt x="-279" y="11244"/>
                    <a:pt x="311" y="12091"/>
                    <a:pt x="1188" y="12482"/>
                  </a:cubicBezTo>
                  <a:lnTo>
                    <a:pt x="3569" y="13911"/>
                  </a:lnTo>
                  <a:lnTo>
                    <a:pt x="13856" y="19721"/>
                  </a:lnTo>
                  <a:cubicBezTo>
                    <a:pt x="16218" y="21064"/>
                    <a:pt x="19114" y="21064"/>
                    <a:pt x="21476" y="19721"/>
                  </a:cubicBezTo>
                  <a:lnTo>
                    <a:pt x="31763" y="13911"/>
                  </a:lnTo>
                  <a:lnTo>
                    <a:pt x="34144" y="12482"/>
                  </a:lnTo>
                  <a:cubicBezTo>
                    <a:pt x="35021" y="12091"/>
                    <a:pt x="35611" y="11253"/>
                    <a:pt x="35668" y="10291"/>
                  </a:cubicBezTo>
                  <a:cubicBezTo>
                    <a:pt x="35602" y="9310"/>
                    <a:pt x="35021" y="8443"/>
                    <a:pt x="34144" y="8005"/>
                  </a:cubicBezTo>
                  <a:lnTo>
                    <a:pt x="21476" y="766"/>
                  </a:lnTo>
                  <a:cubicBezTo>
                    <a:pt x="19085" y="-472"/>
                    <a:pt x="16247" y="-472"/>
                    <a:pt x="13856" y="766"/>
                  </a:cubicBezTo>
                  <a:lnTo>
                    <a:pt x="1188" y="8005"/>
                  </a:lnTo>
                  <a:cubicBezTo>
                    <a:pt x="311" y="8443"/>
                    <a:pt x="-270" y="9310"/>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634" name="iṥľîḑè">
              <a:extLst>
                <a:ext uri="{FF2B5EF4-FFF2-40B4-BE49-F238E27FC236}">
                  <a16:creationId xmlns:a16="http://schemas.microsoft.com/office/drawing/2014/main" id="{0BD6F299-61C4-4F1D-A889-908C1DCA85BA}"/>
                </a:ext>
              </a:extLst>
            </p:cNvPr>
            <p:cNvSpPr/>
            <p:nvPr/>
          </p:nvSpPr>
          <p:spPr>
            <a:xfrm>
              <a:off x="6241885" y="5220218"/>
              <a:ext cx="105825" cy="61101"/>
            </a:xfrm>
            <a:custGeom>
              <a:avLst/>
              <a:gdLst>
                <a:gd name="connsiteX0" fmla="*/ 1235 w 34766"/>
                <a:gd name="connsiteY0" fmla="*/ 12006 h 20073"/>
                <a:gd name="connsiteX1" fmla="*/ 13332 w 34766"/>
                <a:gd name="connsiteY1" fmla="*/ 19054 h 20073"/>
                <a:gd name="connsiteX2" fmla="*/ 20761 w 34766"/>
                <a:gd name="connsiteY2" fmla="*/ 19054 h 20073"/>
                <a:gd name="connsiteX3" fmla="*/ 32858 w 34766"/>
                <a:gd name="connsiteY3" fmla="*/ 12006 h 20073"/>
                <a:gd name="connsiteX4" fmla="*/ 32858 w 34766"/>
                <a:gd name="connsiteY4" fmla="*/ 7719 h 20073"/>
                <a:gd name="connsiteX5" fmla="*/ 20761 w 34766"/>
                <a:gd name="connsiteY5" fmla="*/ 766 h 20073"/>
                <a:gd name="connsiteX6" fmla="*/ 13332 w 34766"/>
                <a:gd name="connsiteY6" fmla="*/ 766 h 20073"/>
                <a:gd name="connsiteX7" fmla="*/ 1235 w 34766"/>
                <a:gd name="connsiteY7" fmla="*/ 7719 h 20073"/>
                <a:gd name="connsiteX8" fmla="*/ 1235 w 34766"/>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6" h="20073">
                  <a:moveTo>
                    <a:pt x="1235" y="12006"/>
                  </a:moveTo>
                  <a:lnTo>
                    <a:pt x="13332" y="19054"/>
                  </a:lnTo>
                  <a:cubicBezTo>
                    <a:pt x="15675" y="20197"/>
                    <a:pt x="18418" y="20197"/>
                    <a:pt x="20761" y="19054"/>
                  </a:cubicBezTo>
                  <a:lnTo>
                    <a:pt x="32858" y="12006"/>
                  </a:lnTo>
                  <a:cubicBezTo>
                    <a:pt x="34954" y="10863"/>
                    <a:pt x="34954" y="8957"/>
                    <a:pt x="32858" y="7719"/>
                  </a:cubicBezTo>
                  <a:lnTo>
                    <a:pt x="20761" y="766"/>
                  </a:lnTo>
                  <a:cubicBezTo>
                    <a:pt x="18437" y="-472"/>
                    <a:pt x="15656" y="-472"/>
                    <a:pt x="13332" y="766"/>
                  </a:cubicBezTo>
                  <a:lnTo>
                    <a:pt x="1235" y="7719"/>
                  </a:lnTo>
                  <a:cubicBezTo>
                    <a:pt x="-860" y="8957"/>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635" name="ïšḻidè">
              <a:extLst>
                <a:ext uri="{FF2B5EF4-FFF2-40B4-BE49-F238E27FC236}">
                  <a16:creationId xmlns:a16="http://schemas.microsoft.com/office/drawing/2014/main" id="{A7576B87-6F2E-4CC2-8FC7-0DED50BDAD78}"/>
                </a:ext>
              </a:extLst>
            </p:cNvPr>
            <p:cNvSpPr/>
            <p:nvPr/>
          </p:nvSpPr>
          <p:spPr>
            <a:xfrm>
              <a:off x="6240001" y="5250877"/>
              <a:ext cx="109594" cy="53564"/>
            </a:xfrm>
            <a:custGeom>
              <a:avLst/>
              <a:gdLst>
                <a:gd name="connsiteX0" fmla="*/ -336 w 36004"/>
                <a:gd name="connsiteY0" fmla="*/ -163 h 17597"/>
                <a:gd name="connsiteX1" fmla="*/ -336 w 36004"/>
                <a:gd name="connsiteY1" fmla="*/ 6981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028 h 17597"/>
                <a:gd name="connsiteX9" fmla="*/ 31763 w 36004"/>
                <a:gd name="connsiteY9" fmla="*/ 3457 h 17597"/>
                <a:gd name="connsiteX10" fmla="*/ 21476 w 36004"/>
                <a:gd name="connsiteY10" fmla="*/ 9267 h 17597"/>
                <a:gd name="connsiteX11" fmla="*/ 13856 w 36004"/>
                <a:gd name="connsiteY11" fmla="*/ 9267 h 17597"/>
                <a:gd name="connsiteX12" fmla="*/ 3569 w 36004"/>
                <a:gd name="connsiteY12" fmla="*/ 3457 h 17597"/>
                <a:gd name="connsiteX13" fmla="*/ 1188 w 36004"/>
                <a:gd name="connsiteY13" fmla="*/ 2028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6981"/>
                  </a:lnTo>
                  <a:cubicBezTo>
                    <a:pt x="-270" y="7962"/>
                    <a:pt x="311" y="8829"/>
                    <a:pt x="1188" y="9267"/>
                  </a:cubicBezTo>
                  <a:lnTo>
                    <a:pt x="13856" y="16506"/>
                  </a:lnTo>
                  <a:cubicBezTo>
                    <a:pt x="16247" y="17744"/>
                    <a:pt x="19085" y="17744"/>
                    <a:pt x="21476" y="16506"/>
                  </a:cubicBezTo>
                  <a:lnTo>
                    <a:pt x="34144" y="9267"/>
                  </a:lnTo>
                  <a:cubicBezTo>
                    <a:pt x="35011" y="8819"/>
                    <a:pt x="35582" y="7953"/>
                    <a:pt x="35668" y="6981"/>
                  </a:cubicBezTo>
                  <a:lnTo>
                    <a:pt x="35668" y="-163"/>
                  </a:lnTo>
                  <a:cubicBezTo>
                    <a:pt x="35611" y="790"/>
                    <a:pt x="35021" y="1638"/>
                    <a:pt x="34144" y="2028"/>
                  </a:cubicBezTo>
                  <a:lnTo>
                    <a:pt x="31763" y="3457"/>
                  </a:lnTo>
                  <a:lnTo>
                    <a:pt x="21476" y="9267"/>
                  </a:lnTo>
                  <a:cubicBezTo>
                    <a:pt x="19114" y="10610"/>
                    <a:pt x="16218" y="10610"/>
                    <a:pt x="13856" y="9267"/>
                  </a:cubicBezTo>
                  <a:lnTo>
                    <a:pt x="3569" y="3457"/>
                  </a:lnTo>
                  <a:lnTo>
                    <a:pt x="1188" y="2028"/>
                  </a:lnTo>
                  <a:cubicBezTo>
                    <a:pt x="311" y="1638"/>
                    <a:pt x="-279" y="800"/>
                    <a:pt x="-336" y="-163"/>
                  </a:cubicBezTo>
                  <a:close/>
                </a:path>
              </a:pathLst>
            </a:custGeom>
            <a:solidFill>
              <a:srgbClr val="BF4200"/>
            </a:solidFill>
            <a:ln w="9525" cap="flat">
              <a:noFill/>
              <a:prstDash val="solid"/>
              <a:miter/>
            </a:ln>
          </p:spPr>
          <p:txBody>
            <a:bodyPr rtlCol="0" anchor="ctr"/>
            <a:lstStyle/>
            <a:p>
              <a:endParaRPr lang="zh-CN" altLang="en-US"/>
            </a:p>
          </p:txBody>
        </p:sp>
        <p:sp>
          <p:nvSpPr>
            <p:cNvPr id="636" name="ïṧlíḍe">
              <a:extLst>
                <a:ext uri="{FF2B5EF4-FFF2-40B4-BE49-F238E27FC236}">
                  <a16:creationId xmlns:a16="http://schemas.microsoft.com/office/drawing/2014/main" id="{F06E6E87-8409-43F4-80C0-7C96DDFCA79F}"/>
                </a:ext>
              </a:extLst>
            </p:cNvPr>
            <p:cNvSpPr/>
            <p:nvPr/>
          </p:nvSpPr>
          <p:spPr>
            <a:xfrm>
              <a:off x="6319441" y="5266803"/>
              <a:ext cx="146416" cy="84551"/>
            </a:xfrm>
            <a:custGeom>
              <a:avLst/>
              <a:gdLst>
                <a:gd name="connsiteX0" fmla="*/ -336 w 48101"/>
                <a:gd name="connsiteY0" fmla="*/ 9941 h 27777"/>
                <a:gd name="connsiteX1" fmla="*/ 1188 w 48101"/>
                <a:gd name="connsiteY1" fmla="*/ 12227 h 27777"/>
                <a:gd name="connsiteX2" fmla="*/ 3569 w 48101"/>
                <a:gd name="connsiteY2" fmla="*/ 13560 h 27777"/>
                <a:gd name="connsiteX3" fmla="*/ 25857 w 48101"/>
                <a:gd name="connsiteY3" fmla="*/ 26800 h 27777"/>
                <a:gd name="connsiteX4" fmla="*/ 33573 w 48101"/>
                <a:gd name="connsiteY4" fmla="*/ 26800 h 27777"/>
                <a:gd name="connsiteX5" fmla="*/ 43860 w 48101"/>
                <a:gd name="connsiteY5" fmla="*/ 20799 h 27777"/>
                <a:gd name="connsiteX6" fmla="*/ 46241 w 48101"/>
                <a:gd name="connsiteY6" fmla="*/ 19466 h 27777"/>
                <a:gd name="connsiteX7" fmla="*/ 47765 w 48101"/>
                <a:gd name="connsiteY7" fmla="*/ 17847 h 27777"/>
                <a:gd name="connsiteX8" fmla="*/ 47765 w 48101"/>
                <a:gd name="connsiteY8" fmla="*/ 16704 h 27777"/>
                <a:gd name="connsiteX9" fmla="*/ 46241 w 48101"/>
                <a:gd name="connsiteY9" fmla="*/ 14989 h 27777"/>
                <a:gd name="connsiteX10" fmla="*/ 21476 w 48101"/>
                <a:gd name="connsiteY10" fmla="*/ 702 h 27777"/>
                <a:gd name="connsiteX11" fmla="*/ 13856 w 48101"/>
                <a:gd name="connsiteY11" fmla="*/ 702 h 27777"/>
                <a:gd name="connsiteX12" fmla="*/ 1188 w 48101"/>
                <a:gd name="connsiteY12" fmla="*/ 8036 h 27777"/>
                <a:gd name="connsiteX13" fmla="*/ -336 w 48101"/>
                <a:gd name="connsiteY13" fmla="*/ 9941 h 27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8101" h="27777">
                  <a:moveTo>
                    <a:pt x="-336" y="9941"/>
                  </a:moveTo>
                  <a:cubicBezTo>
                    <a:pt x="-269" y="10922"/>
                    <a:pt x="311" y="11789"/>
                    <a:pt x="1188" y="12227"/>
                  </a:cubicBezTo>
                  <a:lnTo>
                    <a:pt x="3569" y="13560"/>
                  </a:lnTo>
                  <a:lnTo>
                    <a:pt x="25857" y="26800"/>
                  </a:lnTo>
                  <a:cubicBezTo>
                    <a:pt x="28315" y="27886"/>
                    <a:pt x="31115" y="27886"/>
                    <a:pt x="33573" y="26800"/>
                  </a:cubicBezTo>
                  <a:lnTo>
                    <a:pt x="43860" y="20799"/>
                  </a:lnTo>
                  <a:lnTo>
                    <a:pt x="46241" y="19466"/>
                  </a:lnTo>
                  <a:cubicBezTo>
                    <a:pt x="46955" y="19161"/>
                    <a:pt x="47508" y="18580"/>
                    <a:pt x="47765" y="17847"/>
                  </a:cubicBezTo>
                  <a:lnTo>
                    <a:pt x="47765" y="16704"/>
                  </a:lnTo>
                  <a:cubicBezTo>
                    <a:pt x="47479" y="15961"/>
                    <a:pt x="46946" y="15351"/>
                    <a:pt x="46241" y="14989"/>
                  </a:cubicBezTo>
                  <a:lnTo>
                    <a:pt x="21476" y="702"/>
                  </a:lnTo>
                  <a:cubicBezTo>
                    <a:pt x="19066" y="-451"/>
                    <a:pt x="16266" y="-451"/>
                    <a:pt x="13856" y="702"/>
                  </a:cubicBezTo>
                  <a:lnTo>
                    <a:pt x="1188" y="8036"/>
                  </a:lnTo>
                  <a:cubicBezTo>
                    <a:pt x="416" y="8398"/>
                    <a:pt x="-155" y="9103"/>
                    <a:pt x="-336" y="9941"/>
                  </a:cubicBezTo>
                  <a:close/>
                </a:path>
              </a:pathLst>
            </a:custGeom>
            <a:solidFill>
              <a:srgbClr val="FFFFFF"/>
            </a:solidFill>
            <a:ln w="9525" cap="flat">
              <a:noFill/>
              <a:prstDash val="solid"/>
              <a:miter/>
            </a:ln>
          </p:spPr>
          <p:txBody>
            <a:bodyPr rtlCol="0" anchor="ctr"/>
            <a:lstStyle/>
            <a:p>
              <a:endParaRPr lang="zh-CN" altLang="en-US"/>
            </a:p>
          </p:txBody>
        </p:sp>
        <p:sp>
          <p:nvSpPr>
            <p:cNvPr id="637" name="ïṩḷiḑè">
              <a:extLst>
                <a:ext uri="{FF2B5EF4-FFF2-40B4-BE49-F238E27FC236}">
                  <a16:creationId xmlns:a16="http://schemas.microsoft.com/office/drawing/2014/main" id="{144B36BB-DEDA-4168-A288-9E973391AED3}"/>
                </a:ext>
              </a:extLst>
            </p:cNvPr>
            <p:cNvSpPr/>
            <p:nvPr/>
          </p:nvSpPr>
          <p:spPr>
            <a:xfrm>
              <a:off x="6321325" y="5267113"/>
              <a:ext cx="142645" cy="82338"/>
            </a:xfrm>
            <a:custGeom>
              <a:avLst/>
              <a:gdLst>
                <a:gd name="connsiteX0" fmla="*/ 25429 w 46862"/>
                <a:gd name="connsiteY0" fmla="*/ 26031 h 27050"/>
                <a:gd name="connsiteX1" fmla="*/ 1235 w 46862"/>
                <a:gd name="connsiteY1" fmla="*/ 12029 h 27050"/>
                <a:gd name="connsiteX2" fmla="*/ 1235 w 46862"/>
                <a:gd name="connsiteY2" fmla="*/ 7743 h 27050"/>
                <a:gd name="connsiteX3" fmla="*/ 13332 w 46862"/>
                <a:gd name="connsiteY3" fmla="*/ 695 h 27050"/>
                <a:gd name="connsiteX4" fmla="*/ 20761 w 46862"/>
                <a:gd name="connsiteY4" fmla="*/ 695 h 27050"/>
                <a:gd name="connsiteX5" fmla="*/ 44955 w 46862"/>
                <a:gd name="connsiteY5" fmla="*/ 14696 h 27050"/>
                <a:gd name="connsiteX6" fmla="*/ 44955 w 46862"/>
                <a:gd name="connsiteY6" fmla="*/ 18983 h 27050"/>
                <a:gd name="connsiteX7" fmla="*/ 32858 w 46862"/>
                <a:gd name="connsiteY7" fmla="*/ 26031 h 27050"/>
                <a:gd name="connsiteX8" fmla="*/ 25429 w 46862"/>
                <a:gd name="connsiteY8" fmla="*/ 26031 h 27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862" h="27050">
                  <a:moveTo>
                    <a:pt x="25429" y="26031"/>
                  </a:moveTo>
                  <a:lnTo>
                    <a:pt x="1235" y="12029"/>
                  </a:lnTo>
                  <a:cubicBezTo>
                    <a:pt x="-860" y="10791"/>
                    <a:pt x="-860" y="8886"/>
                    <a:pt x="1235" y="7743"/>
                  </a:cubicBezTo>
                  <a:lnTo>
                    <a:pt x="13332" y="695"/>
                  </a:lnTo>
                  <a:cubicBezTo>
                    <a:pt x="15675" y="-448"/>
                    <a:pt x="18418" y="-448"/>
                    <a:pt x="20761" y="695"/>
                  </a:cubicBezTo>
                  <a:lnTo>
                    <a:pt x="44955" y="14696"/>
                  </a:lnTo>
                  <a:cubicBezTo>
                    <a:pt x="47051" y="15935"/>
                    <a:pt x="47051" y="17840"/>
                    <a:pt x="44955" y="18983"/>
                  </a:cubicBezTo>
                  <a:lnTo>
                    <a:pt x="32858" y="26031"/>
                  </a:lnTo>
                  <a:cubicBezTo>
                    <a:pt x="30515" y="27174"/>
                    <a:pt x="27772" y="27174"/>
                    <a:pt x="25429" y="26031"/>
                  </a:cubicBezTo>
                  <a:close/>
                </a:path>
              </a:pathLst>
            </a:custGeom>
            <a:solidFill>
              <a:srgbClr val="D1D9E8"/>
            </a:solidFill>
            <a:ln w="9525" cap="flat">
              <a:noFill/>
              <a:prstDash val="solid"/>
              <a:miter/>
            </a:ln>
          </p:spPr>
          <p:txBody>
            <a:bodyPr rtlCol="0" anchor="ctr"/>
            <a:lstStyle/>
            <a:p>
              <a:endParaRPr lang="zh-CN" altLang="en-US"/>
            </a:p>
          </p:txBody>
        </p:sp>
        <p:sp>
          <p:nvSpPr>
            <p:cNvPr id="638" name="ï$ľïḓe">
              <a:extLst>
                <a:ext uri="{FF2B5EF4-FFF2-40B4-BE49-F238E27FC236}">
                  <a16:creationId xmlns:a16="http://schemas.microsoft.com/office/drawing/2014/main" id="{43370BBD-4A7E-4ECB-8A96-8EE709E31B3B}"/>
                </a:ext>
              </a:extLst>
            </p:cNvPr>
            <p:cNvSpPr/>
            <p:nvPr/>
          </p:nvSpPr>
          <p:spPr>
            <a:xfrm>
              <a:off x="6319441" y="5297558"/>
              <a:ext cx="145256" cy="75599"/>
            </a:xfrm>
            <a:custGeom>
              <a:avLst/>
              <a:gdLst>
                <a:gd name="connsiteX0" fmla="*/ -336 w 47720"/>
                <a:gd name="connsiteY0" fmla="*/ -163 h 24836"/>
                <a:gd name="connsiteX1" fmla="*/ -336 w 47720"/>
                <a:gd name="connsiteY1" fmla="*/ 7172 h 24836"/>
                <a:gd name="connsiteX2" fmla="*/ 1188 w 47720"/>
                <a:gd name="connsiteY2" fmla="*/ 9457 h 24836"/>
                <a:gd name="connsiteX3" fmla="*/ 25857 w 47720"/>
                <a:gd name="connsiteY3" fmla="*/ 23745 h 24836"/>
                <a:gd name="connsiteX4" fmla="*/ 33573 w 47720"/>
                <a:gd name="connsiteY4" fmla="*/ 23745 h 24836"/>
                <a:gd name="connsiteX5" fmla="*/ 45860 w 47720"/>
                <a:gd name="connsiteY5" fmla="*/ 16697 h 24836"/>
                <a:gd name="connsiteX6" fmla="*/ 47384 w 47720"/>
                <a:gd name="connsiteY6" fmla="*/ 15077 h 24836"/>
                <a:gd name="connsiteX7" fmla="*/ 47384 w 47720"/>
                <a:gd name="connsiteY7" fmla="*/ 7172 h 24836"/>
                <a:gd name="connsiteX8" fmla="*/ 45860 w 47720"/>
                <a:gd name="connsiteY8" fmla="*/ 8791 h 24836"/>
                <a:gd name="connsiteX9" fmla="*/ 43479 w 47720"/>
                <a:gd name="connsiteY9" fmla="*/ 10124 h 24836"/>
                <a:gd name="connsiteX10" fmla="*/ 33192 w 47720"/>
                <a:gd name="connsiteY10" fmla="*/ 16125 h 24836"/>
                <a:gd name="connsiteX11" fmla="*/ 25476 w 47720"/>
                <a:gd name="connsiteY11" fmla="*/ 16125 h 24836"/>
                <a:gd name="connsiteX12" fmla="*/ 3188 w 47720"/>
                <a:gd name="connsiteY12" fmla="*/ 3171 h 24836"/>
                <a:gd name="connsiteX13" fmla="*/ 807 w 47720"/>
                <a:gd name="connsiteY13" fmla="*/ 1838 h 24836"/>
                <a:gd name="connsiteX14" fmla="*/ -336 w 47720"/>
                <a:gd name="connsiteY14" fmla="*/ -163 h 24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7720" h="24836">
                  <a:moveTo>
                    <a:pt x="-336" y="-163"/>
                  </a:moveTo>
                  <a:lnTo>
                    <a:pt x="-336" y="7172"/>
                  </a:lnTo>
                  <a:cubicBezTo>
                    <a:pt x="-308" y="8162"/>
                    <a:pt x="283" y="9057"/>
                    <a:pt x="1188" y="9457"/>
                  </a:cubicBezTo>
                  <a:lnTo>
                    <a:pt x="25857" y="23745"/>
                  </a:lnTo>
                  <a:cubicBezTo>
                    <a:pt x="28277" y="24983"/>
                    <a:pt x="31153" y="24983"/>
                    <a:pt x="33573" y="23745"/>
                  </a:cubicBezTo>
                  <a:lnTo>
                    <a:pt x="45860" y="16697"/>
                  </a:lnTo>
                  <a:cubicBezTo>
                    <a:pt x="46536" y="16344"/>
                    <a:pt x="47070" y="15773"/>
                    <a:pt x="47384" y="15077"/>
                  </a:cubicBezTo>
                  <a:lnTo>
                    <a:pt x="47384" y="7172"/>
                  </a:lnTo>
                  <a:cubicBezTo>
                    <a:pt x="47127" y="7905"/>
                    <a:pt x="46574" y="8486"/>
                    <a:pt x="45860" y="8791"/>
                  </a:cubicBezTo>
                  <a:lnTo>
                    <a:pt x="43479" y="10124"/>
                  </a:lnTo>
                  <a:lnTo>
                    <a:pt x="33192" y="16125"/>
                  </a:lnTo>
                  <a:cubicBezTo>
                    <a:pt x="30734" y="17211"/>
                    <a:pt x="27934" y="17211"/>
                    <a:pt x="25476" y="16125"/>
                  </a:cubicBezTo>
                  <a:lnTo>
                    <a:pt x="3188" y="3171"/>
                  </a:lnTo>
                  <a:lnTo>
                    <a:pt x="807" y="1838"/>
                  </a:lnTo>
                  <a:cubicBezTo>
                    <a:pt x="149" y="1371"/>
                    <a:pt x="-260" y="637"/>
                    <a:pt x="-336" y="-163"/>
                  </a:cubicBezTo>
                  <a:close/>
                </a:path>
              </a:pathLst>
            </a:custGeom>
            <a:solidFill>
              <a:srgbClr val="BF4200"/>
            </a:solidFill>
            <a:ln w="9525" cap="flat">
              <a:noFill/>
              <a:prstDash val="solid"/>
              <a:miter/>
            </a:ln>
          </p:spPr>
          <p:txBody>
            <a:bodyPr rtlCol="0" anchor="ctr"/>
            <a:lstStyle/>
            <a:p>
              <a:endParaRPr lang="zh-CN" altLang="en-US"/>
            </a:p>
          </p:txBody>
        </p:sp>
        <p:sp>
          <p:nvSpPr>
            <p:cNvPr id="639" name="ïśḷïḓé">
              <a:extLst>
                <a:ext uri="{FF2B5EF4-FFF2-40B4-BE49-F238E27FC236}">
                  <a16:creationId xmlns:a16="http://schemas.microsoft.com/office/drawing/2014/main" id="{DD71FC37-7805-41ED-9226-57575B6EDB5F}"/>
                </a:ext>
              </a:extLst>
            </p:cNvPr>
            <p:cNvSpPr/>
            <p:nvPr/>
          </p:nvSpPr>
          <p:spPr>
            <a:xfrm>
              <a:off x="5155355" y="4683839"/>
              <a:ext cx="140036" cy="81035"/>
            </a:xfrm>
            <a:custGeom>
              <a:avLst/>
              <a:gdLst>
                <a:gd name="connsiteX0" fmla="*/ -336 w 46005"/>
                <a:gd name="connsiteY0" fmla="*/ 10196 h 26622"/>
                <a:gd name="connsiteX1" fmla="*/ 1188 w 46005"/>
                <a:gd name="connsiteY1" fmla="*/ 12482 h 26622"/>
                <a:gd name="connsiteX2" fmla="*/ 3569 w 46005"/>
                <a:gd name="connsiteY2" fmla="*/ 13815 h 26622"/>
                <a:gd name="connsiteX3" fmla="*/ 23762 w 46005"/>
                <a:gd name="connsiteY3" fmla="*/ 25531 h 26622"/>
                <a:gd name="connsiteX4" fmla="*/ 31477 w 46005"/>
                <a:gd name="connsiteY4" fmla="*/ 25531 h 26622"/>
                <a:gd name="connsiteX5" fmla="*/ 41669 w 46005"/>
                <a:gd name="connsiteY5" fmla="*/ 19530 h 26622"/>
                <a:gd name="connsiteX6" fmla="*/ 44146 w 46005"/>
                <a:gd name="connsiteY6" fmla="*/ 18197 h 26622"/>
                <a:gd name="connsiteX7" fmla="*/ 45669 w 46005"/>
                <a:gd name="connsiteY7" fmla="*/ 16578 h 26622"/>
                <a:gd name="connsiteX8" fmla="*/ 45669 w 46005"/>
                <a:gd name="connsiteY8" fmla="*/ 15435 h 26622"/>
                <a:gd name="connsiteX9" fmla="*/ 44146 w 46005"/>
                <a:gd name="connsiteY9" fmla="*/ 13720 h 26622"/>
                <a:gd name="connsiteX10" fmla="*/ 21476 w 46005"/>
                <a:gd name="connsiteY10" fmla="*/ 766 h 26622"/>
                <a:gd name="connsiteX11" fmla="*/ 13856 w 46005"/>
                <a:gd name="connsiteY11" fmla="*/ 766 h 26622"/>
                <a:gd name="connsiteX12" fmla="*/ 1188 w 46005"/>
                <a:gd name="connsiteY12" fmla="*/ 8005 h 26622"/>
                <a:gd name="connsiteX13" fmla="*/ -336 w 46005"/>
                <a:gd name="connsiteY13" fmla="*/ 10196 h 26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005" h="26622">
                  <a:moveTo>
                    <a:pt x="-336" y="10196"/>
                  </a:moveTo>
                  <a:cubicBezTo>
                    <a:pt x="-308" y="11186"/>
                    <a:pt x="283" y="12082"/>
                    <a:pt x="1188" y="12482"/>
                  </a:cubicBezTo>
                  <a:lnTo>
                    <a:pt x="3569" y="13815"/>
                  </a:lnTo>
                  <a:lnTo>
                    <a:pt x="23762" y="25531"/>
                  </a:lnTo>
                  <a:cubicBezTo>
                    <a:pt x="26181" y="26769"/>
                    <a:pt x="29058" y="26769"/>
                    <a:pt x="31477" y="25531"/>
                  </a:cubicBezTo>
                  <a:lnTo>
                    <a:pt x="41669" y="19530"/>
                  </a:lnTo>
                  <a:lnTo>
                    <a:pt x="44146" y="18197"/>
                  </a:lnTo>
                  <a:cubicBezTo>
                    <a:pt x="44860" y="17892"/>
                    <a:pt x="45412" y="17311"/>
                    <a:pt x="45669" y="16578"/>
                  </a:cubicBezTo>
                  <a:lnTo>
                    <a:pt x="45669" y="15435"/>
                  </a:lnTo>
                  <a:cubicBezTo>
                    <a:pt x="45365" y="14711"/>
                    <a:pt x="44822" y="14111"/>
                    <a:pt x="44146" y="13720"/>
                  </a:cubicBezTo>
                  <a:lnTo>
                    <a:pt x="21476" y="766"/>
                  </a:lnTo>
                  <a:cubicBezTo>
                    <a:pt x="19085" y="-472"/>
                    <a:pt x="16247" y="-472"/>
                    <a:pt x="13856" y="766"/>
                  </a:cubicBezTo>
                  <a:lnTo>
                    <a:pt x="1188" y="8005"/>
                  </a:lnTo>
                  <a:cubicBezTo>
                    <a:pt x="340" y="8424"/>
                    <a:pt x="-241" y="925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640" name="iṣḷîḋe">
              <a:extLst>
                <a:ext uri="{FF2B5EF4-FFF2-40B4-BE49-F238E27FC236}">
                  <a16:creationId xmlns:a16="http://schemas.microsoft.com/office/drawing/2014/main" id="{0A985908-C8E8-453F-BA69-52026F72DDEA}"/>
                </a:ext>
              </a:extLst>
            </p:cNvPr>
            <p:cNvSpPr/>
            <p:nvPr/>
          </p:nvSpPr>
          <p:spPr>
            <a:xfrm>
              <a:off x="5158067" y="4684926"/>
              <a:ext cx="136018" cy="78570"/>
            </a:xfrm>
            <a:custGeom>
              <a:avLst/>
              <a:gdLst>
                <a:gd name="connsiteX0" fmla="*/ 23252 w 44685"/>
                <a:gd name="connsiteY0" fmla="*/ 24793 h 25812"/>
                <a:gd name="connsiteX1" fmla="*/ 1154 w 44685"/>
                <a:gd name="connsiteY1" fmla="*/ 12029 h 25812"/>
                <a:gd name="connsiteX2" fmla="*/ -189 w 44685"/>
                <a:gd name="connsiteY2" fmla="*/ 9096 h 25812"/>
                <a:gd name="connsiteX3" fmla="*/ 1154 w 44685"/>
                <a:gd name="connsiteY3" fmla="*/ 7743 h 25812"/>
                <a:gd name="connsiteX4" fmla="*/ 13250 w 44685"/>
                <a:gd name="connsiteY4" fmla="*/ 695 h 25812"/>
                <a:gd name="connsiteX5" fmla="*/ 20680 w 44685"/>
                <a:gd name="connsiteY5" fmla="*/ 695 h 25812"/>
                <a:gd name="connsiteX6" fmla="*/ 42778 w 44685"/>
                <a:gd name="connsiteY6" fmla="*/ 13458 h 25812"/>
                <a:gd name="connsiteX7" fmla="*/ 42778 w 44685"/>
                <a:gd name="connsiteY7" fmla="*/ 17744 h 25812"/>
                <a:gd name="connsiteX8" fmla="*/ 30681 w 44685"/>
                <a:gd name="connsiteY8" fmla="*/ 24793 h 25812"/>
                <a:gd name="connsiteX9" fmla="*/ 23252 w 44685"/>
                <a:gd name="connsiteY9" fmla="*/ 24793 h 25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4685" h="25812">
                  <a:moveTo>
                    <a:pt x="23252" y="24793"/>
                  </a:moveTo>
                  <a:lnTo>
                    <a:pt x="1154" y="12029"/>
                  </a:lnTo>
                  <a:cubicBezTo>
                    <a:pt x="-27" y="11591"/>
                    <a:pt x="-637" y="10277"/>
                    <a:pt x="-189" y="9096"/>
                  </a:cubicBezTo>
                  <a:cubicBezTo>
                    <a:pt x="39" y="8467"/>
                    <a:pt x="535" y="7972"/>
                    <a:pt x="1154" y="7743"/>
                  </a:cubicBezTo>
                  <a:lnTo>
                    <a:pt x="13250" y="695"/>
                  </a:lnTo>
                  <a:cubicBezTo>
                    <a:pt x="15594" y="-448"/>
                    <a:pt x="18337" y="-448"/>
                    <a:pt x="20680" y="695"/>
                  </a:cubicBezTo>
                  <a:lnTo>
                    <a:pt x="42778" y="13458"/>
                  </a:lnTo>
                  <a:cubicBezTo>
                    <a:pt x="44873" y="14696"/>
                    <a:pt x="44873" y="16601"/>
                    <a:pt x="42778" y="17744"/>
                  </a:cubicBezTo>
                  <a:lnTo>
                    <a:pt x="30681" y="24793"/>
                  </a:lnTo>
                  <a:cubicBezTo>
                    <a:pt x="28338" y="25936"/>
                    <a:pt x="25595" y="25936"/>
                    <a:pt x="23252" y="24793"/>
                  </a:cubicBezTo>
                  <a:close/>
                </a:path>
              </a:pathLst>
            </a:custGeom>
            <a:solidFill>
              <a:srgbClr val="D1D9E8"/>
            </a:solidFill>
            <a:ln w="9525" cap="flat">
              <a:noFill/>
              <a:prstDash val="solid"/>
              <a:miter/>
            </a:ln>
          </p:spPr>
          <p:txBody>
            <a:bodyPr rtlCol="0" anchor="ctr"/>
            <a:lstStyle/>
            <a:p>
              <a:endParaRPr lang="zh-CN" altLang="en-US"/>
            </a:p>
          </p:txBody>
        </p:sp>
        <p:sp>
          <p:nvSpPr>
            <p:cNvPr id="641" name="ïSḷíďê">
              <a:extLst>
                <a:ext uri="{FF2B5EF4-FFF2-40B4-BE49-F238E27FC236}">
                  <a16:creationId xmlns:a16="http://schemas.microsoft.com/office/drawing/2014/main" id="{6E5D467F-B04A-4FF8-AF4F-83AD1A4304B3}"/>
                </a:ext>
              </a:extLst>
            </p:cNvPr>
            <p:cNvSpPr/>
            <p:nvPr/>
          </p:nvSpPr>
          <p:spPr>
            <a:xfrm>
              <a:off x="5155355" y="4715368"/>
              <a:ext cx="140036" cy="71249"/>
            </a:xfrm>
            <a:custGeom>
              <a:avLst/>
              <a:gdLst>
                <a:gd name="connsiteX0" fmla="*/ -336 w 46005"/>
                <a:gd name="connsiteY0" fmla="*/ -163 h 23407"/>
                <a:gd name="connsiteX1" fmla="*/ -336 w 46005"/>
                <a:gd name="connsiteY1" fmla="*/ 7076 h 23407"/>
                <a:gd name="connsiteX2" fmla="*/ 1188 w 46005"/>
                <a:gd name="connsiteY2" fmla="*/ 9267 h 23407"/>
                <a:gd name="connsiteX3" fmla="*/ 23762 w 46005"/>
                <a:gd name="connsiteY3" fmla="*/ 22317 h 23407"/>
                <a:gd name="connsiteX4" fmla="*/ 31477 w 46005"/>
                <a:gd name="connsiteY4" fmla="*/ 22317 h 23407"/>
                <a:gd name="connsiteX5" fmla="*/ 44146 w 46005"/>
                <a:gd name="connsiteY5" fmla="*/ 14982 h 23407"/>
                <a:gd name="connsiteX6" fmla="*/ 45669 w 46005"/>
                <a:gd name="connsiteY6" fmla="*/ 13363 h 23407"/>
                <a:gd name="connsiteX7" fmla="*/ 45669 w 46005"/>
                <a:gd name="connsiteY7" fmla="*/ 6219 h 23407"/>
                <a:gd name="connsiteX8" fmla="*/ 44146 w 46005"/>
                <a:gd name="connsiteY8" fmla="*/ 7838 h 23407"/>
                <a:gd name="connsiteX9" fmla="*/ 41669 w 46005"/>
                <a:gd name="connsiteY9" fmla="*/ 9172 h 23407"/>
                <a:gd name="connsiteX10" fmla="*/ 31477 w 46005"/>
                <a:gd name="connsiteY10" fmla="*/ 15173 h 23407"/>
                <a:gd name="connsiteX11" fmla="*/ 23762 w 46005"/>
                <a:gd name="connsiteY11" fmla="*/ 15173 h 23407"/>
                <a:gd name="connsiteX12" fmla="*/ 3569 w 46005"/>
                <a:gd name="connsiteY12" fmla="*/ 3457 h 23407"/>
                <a:gd name="connsiteX13" fmla="*/ 1188 w 46005"/>
                <a:gd name="connsiteY13" fmla="*/ 2124 h 23407"/>
                <a:gd name="connsiteX14" fmla="*/ -336 w 46005"/>
                <a:gd name="connsiteY14" fmla="*/ -163 h 234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6005" h="23407">
                  <a:moveTo>
                    <a:pt x="-336" y="-163"/>
                  </a:moveTo>
                  <a:lnTo>
                    <a:pt x="-336" y="7076"/>
                  </a:lnTo>
                  <a:cubicBezTo>
                    <a:pt x="-279" y="8029"/>
                    <a:pt x="311" y="8877"/>
                    <a:pt x="1188" y="9267"/>
                  </a:cubicBezTo>
                  <a:lnTo>
                    <a:pt x="23762" y="22317"/>
                  </a:lnTo>
                  <a:cubicBezTo>
                    <a:pt x="26181" y="23555"/>
                    <a:pt x="29058" y="23555"/>
                    <a:pt x="31477" y="22317"/>
                  </a:cubicBezTo>
                  <a:lnTo>
                    <a:pt x="44146" y="14982"/>
                  </a:lnTo>
                  <a:cubicBezTo>
                    <a:pt x="44822" y="14630"/>
                    <a:pt x="45355" y="14058"/>
                    <a:pt x="45669" y="13363"/>
                  </a:cubicBezTo>
                  <a:lnTo>
                    <a:pt x="45669" y="6219"/>
                  </a:lnTo>
                  <a:cubicBezTo>
                    <a:pt x="45412" y="6953"/>
                    <a:pt x="44860" y="7534"/>
                    <a:pt x="44146" y="7838"/>
                  </a:cubicBezTo>
                  <a:lnTo>
                    <a:pt x="41669" y="9172"/>
                  </a:lnTo>
                  <a:lnTo>
                    <a:pt x="31477" y="15173"/>
                  </a:lnTo>
                  <a:cubicBezTo>
                    <a:pt x="29058" y="16411"/>
                    <a:pt x="26181" y="16411"/>
                    <a:pt x="23762" y="15173"/>
                  </a:cubicBezTo>
                  <a:lnTo>
                    <a:pt x="3569" y="3457"/>
                  </a:lnTo>
                  <a:lnTo>
                    <a:pt x="1188" y="2124"/>
                  </a:lnTo>
                  <a:cubicBezTo>
                    <a:pt x="283" y="1723"/>
                    <a:pt x="-308"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42" name="íšḻiḍè">
              <a:extLst>
                <a:ext uri="{FF2B5EF4-FFF2-40B4-BE49-F238E27FC236}">
                  <a16:creationId xmlns:a16="http://schemas.microsoft.com/office/drawing/2014/main" id="{5112F7A3-11EE-4E83-B891-3E71A0CE2ADE}"/>
                </a:ext>
              </a:extLst>
            </p:cNvPr>
            <p:cNvSpPr/>
            <p:nvPr/>
          </p:nvSpPr>
          <p:spPr>
            <a:xfrm>
              <a:off x="5264952" y="4746465"/>
              <a:ext cx="109594" cy="63639"/>
            </a:xfrm>
            <a:custGeom>
              <a:avLst/>
              <a:gdLst>
                <a:gd name="connsiteX0" fmla="*/ -336 w 36004"/>
                <a:gd name="connsiteY0" fmla="*/ 10291 h 20907"/>
                <a:gd name="connsiteX1" fmla="*/ 1188 w 36004"/>
                <a:gd name="connsiteY1" fmla="*/ 12577 h 20907"/>
                <a:gd name="connsiteX2" fmla="*/ 3569 w 36004"/>
                <a:gd name="connsiteY2" fmla="*/ 13911 h 20907"/>
                <a:gd name="connsiteX3" fmla="*/ 13856 w 36004"/>
                <a:gd name="connsiteY3" fmla="*/ 19816 h 20907"/>
                <a:gd name="connsiteX4" fmla="*/ 21476 w 36004"/>
                <a:gd name="connsiteY4" fmla="*/ 19816 h 20907"/>
                <a:gd name="connsiteX5" fmla="*/ 31763 w 36004"/>
                <a:gd name="connsiteY5" fmla="*/ 13911 h 20907"/>
                <a:gd name="connsiteX6" fmla="*/ 34144 w 36004"/>
                <a:gd name="connsiteY6" fmla="*/ 12577 h 20907"/>
                <a:gd name="connsiteX7" fmla="*/ 35668 w 36004"/>
                <a:gd name="connsiteY7" fmla="*/ 10291 h 20907"/>
                <a:gd name="connsiteX8" fmla="*/ 34144 w 36004"/>
                <a:gd name="connsiteY8" fmla="*/ 8100 h 20907"/>
                <a:gd name="connsiteX9" fmla="*/ 21476 w 36004"/>
                <a:gd name="connsiteY9" fmla="*/ 766 h 20907"/>
                <a:gd name="connsiteX10" fmla="*/ 13856 w 36004"/>
                <a:gd name="connsiteY10" fmla="*/ 766 h 20907"/>
                <a:gd name="connsiteX11" fmla="*/ 1188 w 36004"/>
                <a:gd name="connsiteY11" fmla="*/ 8100 h 20907"/>
                <a:gd name="connsiteX12" fmla="*/ -336 w 36004"/>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907">
                  <a:moveTo>
                    <a:pt x="-336" y="10291"/>
                  </a:moveTo>
                  <a:cubicBezTo>
                    <a:pt x="-270" y="11272"/>
                    <a:pt x="311" y="12139"/>
                    <a:pt x="1188" y="12577"/>
                  </a:cubicBezTo>
                  <a:lnTo>
                    <a:pt x="3569" y="13911"/>
                  </a:lnTo>
                  <a:lnTo>
                    <a:pt x="13856" y="19816"/>
                  </a:lnTo>
                  <a:cubicBezTo>
                    <a:pt x="16247" y="21054"/>
                    <a:pt x="19085" y="21054"/>
                    <a:pt x="21476" y="19816"/>
                  </a:cubicBezTo>
                  <a:lnTo>
                    <a:pt x="31763" y="13911"/>
                  </a:lnTo>
                  <a:lnTo>
                    <a:pt x="34144" y="12577"/>
                  </a:lnTo>
                  <a:cubicBezTo>
                    <a:pt x="35021" y="12139"/>
                    <a:pt x="35602" y="11272"/>
                    <a:pt x="35668" y="10291"/>
                  </a:cubicBezTo>
                  <a:cubicBezTo>
                    <a:pt x="35611" y="9339"/>
                    <a:pt x="35021" y="8491"/>
                    <a:pt x="34144" y="8100"/>
                  </a:cubicBezTo>
                  <a:lnTo>
                    <a:pt x="21476" y="766"/>
                  </a:lnTo>
                  <a:cubicBezTo>
                    <a:pt x="19085" y="-472"/>
                    <a:pt x="16247" y="-472"/>
                    <a:pt x="13856" y="766"/>
                  </a:cubicBezTo>
                  <a:lnTo>
                    <a:pt x="1188" y="8100"/>
                  </a:lnTo>
                  <a:cubicBezTo>
                    <a:pt x="311" y="8491"/>
                    <a:pt x="-279"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643" name="işḻiḓè">
              <a:extLst>
                <a:ext uri="{FF2B5EF4-FFF2-40B4-BE49-F238E27FC236}">
                  <a16:creationId xmlns:a16="http://schemas.microsoft.com/office/drawing/2014/main" id="{C9DD8A0B-C777-471D-BD71-92398E24CDC1}"/>
                </a:ext>
              </a:extLst>
            </p:cNvPr>
            <p:cNvSpPr/>
            <p:nvPr/>
          </p:nvSpPr>
          <p:spPr>
            <a:xfrm>
              <a:off x="5266763" y="4747624"/>
              <a:ext cx="105895" cy="61101"/>
            </a:xfrm>
            <a:custGeom>
              <a:avLst/>
              <a:gdLst>
                <a:gd name="connsiteX0" fmla="*/ 1164 w 34789"/>
                <a:gd name="connsiteY0" fmla="*/ 12006 h 20073"/>
                <a:gd name="connsiteX1" fmla="*/ 13356 w 34789"/>
                <a:gd name="connsiteY1" fmla="*/ 19054 h 20073"/>
                <a:gd name="connsiteX2" fmla="*/ 20785 w 34789"/>
                <a:gd name="connsiteY2" fmla="*/ 19054 h 20073"/>
                <a:gd name="connsiteX3" fmla="*/ 32882 w 34789"/>
                <a:gd name="connsiteY3" fmla="*/ 12006 h 20073"/>
                <a:gd name="connsiteX4" fmla="*/ 32882 w 34789"/>
                <a:gd name="connsiteY4" fmla="*/ 7719 h 20073"/>
                <a:gd name="connsiteX5" fmla="*/ 20785 w 34789"/>
                <a:gd name="connsiteY5" fmla="*/ 766 h 20073"/>
                <a:gd name="connsiteX6" fmla="*/ 13356 w 34789"/>
                <a:gd name="connsiteY6" fmla="*/ 766 h 20073"/>
                <a:gd name="connsiteX7" fmla="*/ 1164 w 34789"/>
                <a:gd name="connsiteY7" fmla="*/ 7719 h 20073"/>
                <a:gd name="connsiteX8" fmla="*/ 1164 w 34789"/>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89" h="20073">
                  <a:moveTo>
                    <a:pt x="1164" y="12006"/>
                  </a:moveTo>
                  <a:lnTo>
                    <a:pt x="13356" y="19054"/>
                  </a:lnTo>
                  <a:cubicBezTo>
                    <a:pt x="15699" y="20197"/>
                    <a:pt x="18442" y="20197"/>
                    <a:pt x="20785" y="19054"/>
                  </a:cubicBezTo>
                  <a:lnTo>
                    <a:pt x="32882" y="12006"/>
                  </a:lnTo>
                  <a:cubicBezTo>
                    <a:pt x="34977" y="10863"/>
                    <a:pt x="34977" y="8958"/>
                    <a:pt x="32882" y="7719"/>
                  </a:cubicBezTo>
                  <a:lnTo>
                    <a:pt x="20785" y="766"/>
                  </a:lnTo>
                  <a:cubicBezTo>
                    <a:pt x="18461" y="-472"/>
                    <a:pt x="15680" y="-472"/>
                    <a:pt x="13356" y="766"/>
                  </a:cubicBezTo>
                  <a:lnTo>
                    <a:pt x="1164" y="7719"/>
                  </a:lnTo>
                  <a:cubicBezTo>
                    <a:pt x="-836" y="8958"/>
                    <a:pt x="-836" y="10863"/>
                    <a:pt x="1164" y="12006"/>
                  </a:cubicBezTo>
                  <a:close/>
                </a:path>
              </a:pathLst>
            </a:custGeom>
            <a:solidFill>
              <a:srgbClr val="D1D9E8"/>
            </a:solidFill>
            <a:ln w="9525" cap="flat">
              <a:noFill/>
              <a:prstDash val="solid"/>
              <a:miter/>
            </a:ln>
          </p:spPr>
          <p:txBody>
            <a:bodyPr rtlCol="0" anchor="ctr"/>
            <a:lstStyle/>
            <a:p>
              <a:endParaRPr lang="zh-CN" altLang="en-US"/>
            </a:p>
          </p:txBody>
        </p:sp>
        <p:sp>
          <p:nvSpPr>
            <p:cNvPr id="644" name="ïS1îḋê">
              <a:extLst>
                <a:ext uri="{FF2B5EF4-FFF2-40B4-BE49-F238E27FC236}">
                  <a16:creationId xmlns:a16="http://schemas.microsoft.com/office/drawing/2014/main" id="{92E2943E-2894-49B0-8E20-F4DF33812B67}"/>
                </a:ext>
              </a:extLst>
            </p:cNvPr>
            <p:cNvSpPr/>
            <p:nvPr/>
          </p:nvSpPr>
          <p:spPr>
            <a:xfrm>
              <a:off x="5264952" y="4778286"/>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3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3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2" y="7953"/>
                    <a:pt x="35668" y="6981"/>
                  </a:cubicBezTo>
                  <a:lnTo>
                    <a:pt x="35668" y="-163"/>
                  </a:lnTo>
                  <a:cubicBezTo>
                    <a:pt x="35602" y="818"/>
                    <a:pt x="35021" y="1685"/>
                    <a:pt x="34144" y="2123"/>
                  </a:cubicBezTo>
                  <a:lnTo>
                    <a:pt x="31763" y="3457"/>
                  </a:lnTo>
                  <a:lnTo>
                    <a:pt x="21476" y="9362"/>
                  </a:lnTo>
                  <a:cubicBezTo>
                    <a:pt x="19085" y="10601"/>
                    <a:pt x="16247" y="10601"/>
                    <a:pt x="13856" y="9362"/>
                  </a:cubicBezTo>
                  <a:lnTo>
                    <a:pt x="3569" y="3457"/>
                  </a:lnTo>
                  <a:lnTo>
                    <a:pt x="1188"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45" name="íS1ïḋê">
              <a:extLst>
                <a:ext uri="{FF2B5EF4-FFF2-40B4-BE49-F238E27FC236}">
                  <a16:creationId xmlns:a16="http://schemas.microsoft.com/office/drawing/2014/main" id="{95B4C2E7-5FBF-43A1-8DED-B325DC39224F}"/>
                </a:ext>
              </a:extLst>
            </p:cNvPr>
            <p:cNvSpPr/>
            <p:nvPr/>
          </p:nvSpPr>
          <p:spPr>
            <a:xfrm>
              <a:off x="5342073" y="4791116"/>
              <a:ext cx="109883" cy="63588"/>
            </a:xfrm>
            <a:custGeom>
              <a:avLst/>
              <a:gdLst>
                <a:gd name="connsiteX0" fmla="*/ -336 w 36099"/>
                <a:gd name="connsiteY0" fmla="*/ 10291 h 20890"/>
                <a:gd name="connsiteX1" fmla="*/ 1283 w 36099"/>
                <a:gd name="connsiteY1" fmla="*/ 12577 h 20890"/>
                <a:gd name="connsiteX2" fmla="*/ 3569 w 36099"/>
                <a:gd name="connsiteY2" fmla="*/ 13910 h 20890"/>
                <a:gd name="connsiteX3" fmla="*/ 13856 w 36099"/>
                <a:gd name="connsiteY3" fmla="*/ 19721 h 20890"/>
                <a:gd name="connsiteX4" fmla="*/ 21571 w 36099"/>
                <a:gd name="connsiteY4" fmla="*/ 19721 h 20890"/>
                <a:gd name="connsiteX5" fmla="*/ 31858 w 36099"/>
                <a:gd name="connsiteY5" fmla="*/ 13910 h 20890"/>
                <a:gd name="connsiteX6" fmla="*/ 34144 w 36099"/>
                <a:gd name="connsiteY6" fmla="*/ 12577 h 20890"/>
                <a:gd name="connsiteX7" fmla="*/ 35764 w 36099"/>
                <a:gd name="connsiteY7" fmla="*/ 10291 h 20890"/>
                <a:gd name="connsiteX8" fmla="*/ 34144 w 36099"/>
                <a:gd name="connsiteY8" fmla="*/ 8100 h 20890"/>
                <a:gd name="connsiteX9" fmla="*/ 21571 w 36099"/>
                <a:gd name="connsiteY9" fmla="*/ 766 h 20890"/>
                <a:gd name="connsiteX10" fmla="*/ 13856 w 36099"/>
                <a:gd name="connsiteY10" fmla="*/ 766 h 20890"/>
                <a:gd name="connsiteX11" fmla="*/ 1283 w 36099"/>
                <a:gd name="connsiteY11" fmla="*/ 8100 h 20890"/>
                <a:gd name="connsiteX12" fmla="*/ -336 w 36099"/>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99" h="20890">
                  <a:moveTo>
                    <a:pt x="-336" y="10291"/>
                  </a:moveTo>
                  <a:cubicBezTo>
                    <a:pt x="-270" y="11301"/>
                    <a:pt x="359" y="12186"/>
                    <a:pt x="1283" y="12577"/>
                  </a:cubicBezTo>
                  <a:lnTo>
                    <a:pt x="3569" y="13910"/>
                  </a:lnTo>
                  <a:lnTo>
                    <a:pt x="13856" y="19721"/>
                  </a:lnTo>
                  <a:cubicBezTo>
                    <a:pt x="16256" y="21064"/>
                    <a:pt x="19171" y="21064"/>
                    <a:pt x="21571" y="19721"/>
                  </a:cubicBezTo>
                  <a:lnTo>
                    <a:pt x="31858" y="13910"/>
                  </a:lnTo>
                  <a:lnTo>
                    <a:pt x="34144" y="12577"/>
                  </a:lnTo>
                  <a:cubicBezTo>
                    <a:pt x="35049" y="12148"/>
                    <a:pt x="35659" y="11282"/>
                    <a:pt x="35764" y="10291"/>
                  </a:cubicBezTo>
                  <a:cubicBezTo>
                    <a:pt x="35687" y="9310"/>
                    <a:pt x="35059" y="8462"/>
                    <a:pt x="34144" y="8100"/>
                  </a:cubicBezTo>
                  <a:lnTo>
                    <a:pt x="21571" y="766"/>
                  </a:lnTo>
                  <a:cubicBezTo>
                    <a:pt x="19152" y="-472"/>
                    <a:pt x="16275" y="-472"/>
                    <a:pt x="13856" y="766"/>
                  </a:cubicBezTo>
                  <a:lnTo>
                    <a:pt x="1283" y="8100"/>
                  </a:lnTo>
                  <a:cubicBezTo>
                    <a:pt x="349" y="8443"/>
                    <a:pt x="-279" y="9301"/>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646" name="íślîḋé">
              <a:extLst>
                <a:ext uri="{FF2B5EF4-FFF2-40B4-BE49-F238E27FC236}">
                  <a16:creationId xmlns:a16="http://schemas.microsoft.com/office/drawing/2014/main" id="{86554CDE-F7D6-477C-943D-AC85A5DC4CE5}"/>
                </a:ext>
              </a:extLst>
            </p:cNvPr>
            <p:cNvSpPr/>
            <p:nvPr/>
          </p:nvSpPr>
          <p:spPr>
            <a:xfrm>
              <a:off x="5343957" y="4792273"/>
              <a:ext cx="105895" cy="61104"/>
            </a:xfrm>
            <a:custGeom>
              <a:avLst/>
              <a:gdLst>
                <a:gd name="connsiteX0" fmla="*/ 1235 w 34789"/>
                <a:gd name="connsiteY0" fmla="*/ 12006 h 20074"/>
                <a:gd name="connsiteX1" fmla="*/ 13332 w 34789"/>
                <a:gd name="connsiteY1" fmla="*/ 19054 h 20074"/>
                <a:gd name="connsiteX2" fmla="*/ 20761 w 34789"/>
                <a:gd name="connsiteY2" fmla="*/ 19054 h 20074"/>
                <a:gd name="connsiteX3" fmla="*/ 32953 w 34789"/>
                <a:gd name="connsiteY3" fmla="*/ 12006 h 20074"/>
                <a:gd name="connsiteX4" fmla="*/ 32953 w 34789"/>
                <a:gd name="connsiteY4" fmla="*/ 7719 h 20074"/>
                <a:gd name="connsiteX5" fmla="*/ 20761 w 34789"/>
                <a:gd name="connsiteY5" fmla="*/ 766 h 20074"/>
                <a:gd name="connsiteX6" fmla="*/ 13332 w 34789"/>
                <a:gd name="connsiteY6" fmla="*/ 766 h 20074"/>
                <a:gd name="connsiteX7" fmla="*/ 1235 w 34789"/>
                <a:gd name="connsiteY7" fmla="*/ 7719 h 20074"/>
                <a:gd name="connsiteX8" fmla="*/ 1235 w 34789"/>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89" h="20074">
                  <a:moveTo>
                    <a:pt x="1235" y="12006"/>
                  </a:moveTo>
                  <a:lnTo>
                    <a:pt x="13332" y="19054"/>
                  </a:lnTo>
                  <a:cubicBezTo>
                    <a:pt x="15675" y="20197"/>
                    <a:pt x="18418" y="20197"/>
                    <a:pt x="20761" y="19054"/>
                  </a:cubicBezTo>
                  <a:lnTo>
                    <a:pt x="32953" y="12006"/>
                  </a:lnTo>
                  <a:cubicBezTo>
                    <a:pt x="34954" y="10863"/>
                    <a:pt x="34954" y="8958"/>
                    <a:pt x="32953" y="7719"/>
                  </a:cubicBezTo>
                  <a:lnTo>
                    <a:pt x="20761" y="766"/>
                  </a:lnTo>
                  <a:cubicBezTo>
                    <a:pt x="18437" y="-472"/>
                    <a:pt x="15656" y="-472"/>
                    <a:pt x="13332" y="766"/>
                  </a:cubicBezTo>
                  <a:lnTo>
                    <a:pt x="1235" y="7719"/>
                  </a:lnTo>
                  <a:cubicBezTo>
                    <a:pt x="-860" y="8958"/>
                    <a:pt x="-860" y="11244"/>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647" name="îṥľîḍê">
              <a:extLst>
                <a:ext uri="{FF2B5EF4-FFF2-40B4-BE49-F238E27FC236}">
                  <a16:creationId xmlns:a16="http://schemas.microsoft.com/office/drawing/2014/main" id="{7C52CAFB-58F4-4E3B-8132-A428B6FF5FE7}"/>
                </a:ext>
              </a:extLst>
            </p:cNvPr>
            <p:cNvSpPr/>
            <p:nvPr/>
          </p:nvSpPr>
          <p:spPr>
            <a:xfrm>
              <a:off x="5342073" y="4822934"/>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4 w 36099"/>
                <a:gd name="connsiteY6" fmla="*/ 6981 h 17597"/>
                <a:gd name="connsiteX7" fmla="*/ 35764 w 36099"/>
                <a:gd name="connsiteY7" fmla="*/ -163 h 17597"/>
                <a:gd name="connsiteX8" fmla="*/ 34144 w 36099"/>
                <a:gd name="connsiteY8" fmla="*/ 2124 h 17597"/>
                <a:gd name="connsiteX9" fmla="*/ 31858 w 36099"/>
                <a:gd name="connsiteY9" fmla="*/ 3457 h 17597"/>
                <a:gd name="connsiteX10" fmla="*/ 21571 w 36099"/>
                <a:gd name="connsiteY10" fmla="*/ 9267 h 17597"/>
                <a:gd name="connsiteX11" fmla="*/ 13856 w 36099"/>
                <a:gd name="connsiteY11" fmla="*/ 9267 h 17597"/>
                <a:gd name="connsiteX12" fmla="*/ 3569 w 36099"/>
                <a:gd name="connsiteY12" fmla="*/ 3457 h 17597"/>
                <a:gd name="connsiteX13" fmla="*/ 1283 w 36099"/>
                <a:gd name="connsiteY13" fmla="*/ 2124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41" y="8048"/>
                    <a:pt x="387" y="8886"/>
                    <a:pt x="1283" y="9267"/>
                  </a:cubicBezTo>
                  <a:lnTo>
                    <a:pt x="13856" y="16506"/>
                  </a:lnTo>
                  <a:cubicBezTo>
                    <a:pt x="16275" y="17744"/>
                    <a:pt x="19152" y="17744"/>
                    <a:pt x="21571" y="16506"/>
                  </a:cubicBezTo>
                  <a:lnTo>
                    <a:pt x="34144" y="9267"/>
                  </a:lnTo>
                  <a:cubicBezTo>
                    <a:pt x="35030" y="8829"/>
                    <a:pt x="35640" y="7972"/>
                    <a:pt x="35764" y="6981"/>
                  </a:cubicBezTo>
                  <a:lnTo>
                    <a:pt x="35764" y="-163"/>
                  </a:lnTo>
                  <a:cubicBezTo>
                    <a:pt x="35659" y="828"/>
                    <a:pt x="35049" y="1695"/>
                    <a:pt x="34144" y="2124"/>
                  </a:cubicBezTo>
                  <a:lnTo>
                    <a:pt x="31858" y="3457"/>
                  </a:lnTo>
                  <a:lnTo>
                    <a:pt x="21571" y="9267"/>
                  </a:lnTo>
                  <a:cubicBezTo>
                    <a:pt x="19171" y="10610"/>
                    <a:pt x="16256" y="10610"/>
                    <a:pt x="13856" y="9267"/>
                  </a:cubicBezTo>
                  <a:lnTo>
                    <a:pt x="3569" y="3457"/>
                  </a:lnTo>
                  <a:lnTo>
                    <a:pt x="1283" y="2124"/>
                  </a:lnTo>
                  <a:cubicBezTo>
                    <a:pt x="349" y="1733"/>
                    <a:pt x="-270" y="847"/>
                    <a:pt x="-336" y="-163"/>
                  </a:cubicBezTo>
                  <a:close/>
                </a:path>
              </a:pathLst>
            </a:custGeom>
            <a:solidFill>
              <a:srgbClr val="BF4200"/>
            </a:solidFill>
            <a:ln w="9525" cap="flat">
              <a:noFill/>
              <a:prstDash val="solid"/>
              <a:miter/>
            </a:ln>
          </p:spPr>
          <p:txBody>
            <a:bodyPr rtlCol="0" anchor="ctr"/>
            <a:lstStyle/>
            <a:p>
              <a:endParaRPr lang="zh-CN" altLang="en-US"/>
            </a:p>
          </p:txBody>
        </p:sp>
        <p:sp>
          <p:nvSpPr>
            <p:cNvPr id="648" name="íṧḷîḑê">
              <a:extLst>
                <a:ext uri="{FF2B5EF4-FFF2-40B4-BE49-F238E27FC236}">
                  <a16:creationId xmlns:a16="http://schemas.microsoft.com/office/drawing/2014/main" id="{E6E6DCE7-D015-40F4-9037-D1F2C6B589F7}"/>
                </a:ext>
              </a:extLst>
            </p:cNvPr>
            <p:cNvSpPr/>
            <p:nvPr/>
          </p:nvSpPr>
          <p:spPr>
            <a:xfrm>
              <a:off x="5419486" y="4835764"/>
              <a:ext cx="109362" cy="63588"/>
            </a:xfrm>
            <a:custGeom>
              <a:avLst/>
              <a:gdLst>
                <a:gd name="connsiteX0" fmla="*/ -336 w 35928"/>
                <a:gd name="connsiteY0" fmla="*/ 10291 h 20890"/>
                <a:gd name="connsiteX1" fmla="*/ 1188 w 35928"/>
                <a:gd name="connsiteY1" fmla="*/ 12482 h 20890"/>
                <a:gd name="connsiteX2" fmla="*/ 3569 w 35928"/>
                <a:gd name="connsiteY2" fmla="*/ 13911 h 20890"/>
                <a:gd name="connsiteX3" fmla="*/ 13856 w 35928"/>
                <a:gd name="connsiteY3" fmla="*/ 19721 h 20890"/>
                <a:gd name="connsiteX4" fmla="*/ 21476 w 35928"/>
                <a:gd name="connsiteY4" fmla="*/ 19721 h 20890"/>
                <a:gd name="connsiteX5" fmla="*/ 31763 w 35928"/>
                <a:gd name="connsiteY5" fmla="*/ 13911 h 20890"/>
                <a:gd name="connsiteX6" fmla="*/ 34144 w 35928"/>
                <a:gd name="connsiteY6" fmla="*/ 12482 h 20890"/>
                <a:gd name="connsiteX7" fmla="*/ 35402 w 35928"/>
                <a:gd name="connsiteY7" fmla="*/ 9358 h 20890"/>
                <a:gd name="connsiteX8" fmla="*/ 34144 w 35928"/>
                <a:gd name="connsiteY8" fmla="*/ 8101 h 20890"/>
                <a:gd name="connsiteX9" fmla="*/ 21476 w 35928"/>
                <a:gd name="connsiteY9" fmla="*/ 766 h 20890"/>
                <a:gd name="connsiteX10" fmla="*/ 13856 w 35928"/>
                <a:gd name="connsiteY10" fmla="*/ 766 h 20890"/>
                <a:gd name="connsiteX11" fmla="*/ 1188 w 35928"/>
                <a:gd name="connsiteY11" fmla="*/ 8101 h 20890"/>
                <a:gd name="connsiteX12" fmla="*/ -336 w 35928"/>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928" h="20890">
                  <a:moveTo>
                    <a:pt x="-336" y="10291"/>
                  </a:moveTo>
                  <a:cubicBezTo>
                    <a:pt x="-298" y="11253"/>
                    <a:pt x="292" y="12110"/>
                    <a:pt x="1188" y="12482"/>
                  </a:cubicBezTo>
                  <a:lnTo>
                    <a:pt x="3569" y="13911"/>
                  </a:lnTo>
                  <a:lnTo>
                    <a:pt x="13856" y="19721"/>
                  </a:lnTo>
                  <a:cubicBezTo>
                    <a:pt x="16218" y="21064"/>
                    <a:pt x="19114" y="21064"/>
                    <a:pt x="21476" y="19721"/>
                  </a:cubicBezTo>
                  <a:lnTo>
                    <a:pt x="31763" y="13911"/>
                  </a:lnTo>
                  <a:lnTo>
                    <a:pt x="34144" y="12482"/>
                  </a:lnTo>
                  <a:cubicBezTo>
                    <a:pt x="35354" y="11967"/>
                    <a:pt x="35916" y="10567"/>
                    <a:pt x="35402" y="9358"/>
                  </a:cubicBezTo>
                  <a:cubicBezTo>
                    <a:pt x="35164" y="8796"/>
                    <a:pt x="34706" y="8339"/>
                    <a:pt x="34144" y="8101"/>
                  </a:cubicBezTo>
                  <a:lnTo>
                    <a:pt x="21476" y="766"/>
                  </a:lnTo>
                  <a:cubicBezTo>
                    <a:pt x="19085" y="-472"/>
                    <a:pt x="16247" y="-472"/>
                    <a:pt x="13856" y="766"/>
                  </a:cubicBezTo>
                  <a:lnTo>
                    <a:pt x="1188" y="8101"/>
                  </a:lnTo>
                  <a:cubicBezTo>
                    <a:pt x="292" y="8472"/>
                    <a:pt x="-298"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649" name="îsḷíḓe">
              <a:extLst>
                <a:ext uri="{FF2B5EF4-FFF2-40B4-BE49-F238E27FC236}">
                  <a16:creationId xmlns:a16="http://schemas.microsoft.com/office/drawing/2014/main" id="{F2E462A9-0F7E-4F64-9A3E-520814826E2C}"/>
                </a:ext>
              </a:extLst>
            </p:cNvPr>
            <p:cNvSpPr/>
            <p:nvPr/>
          </p:nvSpPr>
          <p:spPr>
            <a:xfrm>
              <a:off x="5421370" y="4836924"/>
              <a:ext cx="105825" cy="61101"/>
            </a:xfrm>
            <a:custGeom>
              <a:avLst/>
              <a:gdLst>
                <a:gd name="connsiteX0" fmla="*/ 1235 w 34766"/>
                <a:gd name="connsiteY0" fmla="*/ 12006 h 20073"/>
                <a:gd name="connsiteX1" fmla="*/ 13332 w 34766"/>
                <a:gd name="connsiteY1" fmla="*/ 19054 h 20073"/>
                <a:gd name="connsiteX2" fmla="*/ 20762 w 34766"/>
                <a:gd name="connsiteY2" fmla="*/ 19054 h 20073"/>
                <a:gd name="connsiteX3" fmla="*/ 32858 w 34766"/>
                <a:gd name="connsiteY3" fmla="*/ 12006 h 20073"/>
                <a:gd name="connsiteX4" fmla="*/ 32858 w 34766"/>
                <a:gd name="connsiteY4" fmla="*/ 7719 h 20073"/>
                <a:gd name="connsiteX5" fmla="*/ 20762 w 34766"/>
                <a:gd name="connsiteY5" fmla="*/ 766 h 20073"/>
                <a:gd name="connsiteX6" fmla="*/ 13332 w 34766"/>
                <a:gd name="connsiteY6" fmla="*/ 766 h 20073"/>
                <a:gd name="connsiteX7" fmla="*/ 1235 w 34766"/>
                <a:gd name="connsiteY7" fmla="*/ 7719 h 20073"/>
                <a:gd name="connsiteX8" fmla="*/ 1235 w 34766"/>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6" h="20073">
                  <a:moveTo>
                    <a:pt x="1235" y="12006"/>
                  </a:moveTo>
                  <a:lnTo>
                    <a:pt x="13332" y="19054"/>
                  </a:lnTo>
                  <a:cubicBezTo>
                    <a:pt x="15675" y="20197"/>
                    <a:pt x="18419" y="20197"/>
                    <a:pt x="20762" y="19054"/>
                  </a:cubicBezTo>
                  <a:lnTo>
                    <a:pt x="32858" y="12006"/>
                  </a:lnTo>
                  <a:cubicBezTo>
                    <a:pt x="34954" y="10863"/>
                    <a:pt x="34954" y="8957"/>
                    <a:pt x="32858" y="7719"/>
                  </a:cubicBezTo>
                  <a:lnTo>
                    <a:pt x="20762" y="766"/>
                  </a:lnTo>
                  <a:cubicBezTo>
                    <a:pt x="18437" y="-472"/>
                    <a:pt x="15656" y="-472"/>
                    <a:pt x="13332" y="766"/>
                  </a:cubicBezTo>
                  <a:lnTo>
                    <a:pt x="1235" y="7719"/>
                  </a:lnTo>
                  <a:cubicBezTo>
                    <a:pt x="-860" y="8957"/>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650" name="isḷïďê">
              <a:extLst>
                <a:ext uri="{FF2B5EF4-FFF2-40B4-BE49-F238E27FC236}">
                  <a16:creationId xmlns:a16="http://schemas.microsoft.com/office/drawing/2014/main" id="{EDEE4D96-BA89-4F73-9AA3-6E38E95DFAA0}"/>
                </a:ext>
              </a:extLst>
            </p:cNvPr>
            <p:cNvSpPr/>
            <p:nvPr/>
          </p:nvSpPr>
          <p:spPr>
            <a:xfrm>
              <a:off x="5419486" y="4867586"/>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028 h 17597"/>
                <a:gd name="connsiteX9" fmla="*/ 31763 w 36004"/>
                <a:gd name="connsiteY9" fmla="*/ 3457 h 17597"/>
                <a:gd name="connsiteX10" fmla="*/ 21476 w 36004"/>
                <a:gd name="connsiteY10" fmla="*/ 9267 h 17597"/>
                <a:gd name="connsiteX11" fmla="*/ 13856 w 36004"/>
                <a:gd name="connsiteY11" fmla="*/ 9267 h 17597"/>
                <a:gd name="connsiteX12" fmla="*/ 3569 w 36004"/>
                <a:gd name="connsiteY12" fmla="*/ 3457 h 17597"/>
                <a:gd name="connsiteX13" fmla="*/ 1188 w 36004"/>
                <a:gd name="connsiteY13" fmla="*/ 2028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3" y="7953"/>
                    <a:pt x="35668" y="6981"/>
                  </a:cubicBezTo>
                  <a:lnTo>
                    <a:pt x="35668" y="-163"/>
                  </a:lnTo>
                  <a:cubicBezTo>
                    <a:pt x="35630" y="800"/>
                    <a:pt x="35040" y="1657"/>
                    <a:pt x="34144" y="2028"/>
                  </a:cubicBezTo>
                  <a:lnTo>
                    <a:pt x="31763" y="3457"/>
                  </a:lnTo>
                  <a:lnTo>
                    <a:pt x="21476" y="9267"/>
                  </a:lnTo>
                  <a:cubicBezTo>
                    <a:pt x="19114" y="10610"/>
                    <a:pt x="16218" y="10610"/>
                    <a:pt x="13856" y="9267"/>
                  </a:cubicBezTo>
                  <a:lnTo>
                    <a:pt x="3569" y="3457"/>
                  </a:lnTo>
                  <a:lnTo>
                    <a:pt x="1188" y="2028"/>
                  </a:lnTo>
                  <a:cubicBezTo>
                    <a:pt x="292" y="1657"/>
                    <a:pt x="-298" y="800"/>
                    <a:pt x="-336" y="-163"/>
                  </a:cubicBezTo>
                  <a:close/>
                </a:path>
              </a:pathLst>
            </a:custGeom>
            <a:solidFill>
              <a:srgbClr val="BF4200"/>
            </a:solidFill>
            <a:ln w="9525" cap="flat">
              <a:noFill/>
              <a:prstDash val="solid"/>
              <a:miter/>
            </a:ln>
          </p:spPr>
          <p:txBody>
            <a:bodyPr rtlCol="0" anchor="ctr"/>
            <a:lstStyle/>
            <a:p>
              <a:endParaRPr lang="zh-CN" altLang="en-US"/>
            </a:p>
          </p:txBody>
        </p:sp>
        <p:sp>
          <p:nvSpPr>
            <p:cNvPr id="651" name="ïṥļiḓe">
              <a:extLst>
                <a:ext uri="{FF2B5EF4-FFF2-40B4-BE49-F238E27FC236}">
                  <a16:creationId xmlns:a16="http://schemas.microsoft.com/office/drawing/2014/main" id="{FDBD5F0D-4AD6-49D8-BCE2-BD4968C67C91}"/>
                </a:ext>
              </a:extLst>
            </p:cNvPr>
            <p:cNvSpPr/>
            <p:nvPr/>
          </p:nvSpPr>
          <p:spPr>
            <a:xfrm>
              <a:off x="5496607" y="4880416"/>
              <a:ext cx="109883" cy="63588"/>
            </a:xfrm>
            <a:custGeom>
              <a:avLst/>
              <a:gdLst>
                <a:gd name="connsiteX0" fmla="*/ -336 w 36099"/>
                <a:gd name="connsiteY0" fmla="*/ 10196 h 20890"/>
                <a:gd name="connsiteX1" fmla="*/ 1283 w 36099"/>
                <a:gd name="connsiteY1" fmla="*/ 12482 h 20890"/>
                <a:gd name="connsiteX2" fmla="*/ 3569 w 36099"/>
                <a:gd name="connsiteY2" fmla="*/ 13815 h 20890"/>
                <a:gd name="connsiteX3" fmla="*/ 13856 w 36099"/>
                <a:gd name="connsiteY3" fmla="*/ 19721 h 20890"/>
                <a:gd name="connsiteX4" fmla="*/ 21571 w 36099"/>
                <a:gd name="connsiteY4" fmla="*/ 19721 h 20890"/>
                <a:gd name="connsiteX5" fmla="*/ 31858 w 36099"/>
                <a:gd name="connsiteY5" fmla="*/ 13815 h 20890"/>
                <a:gd name="connsiteX6" fmla="*/ 34144 w 36099"/>
                <a:gd name="connsiteY6" fmla="*/ 12482 h 20890"/>
                <a:gd name="connsiteX7" fmla="*/ 35764 w 36099"/>
                <a:gd name="connsiteY7" fmla="*/ 10196 h 20890"/>
                <a:gd name="connsiteX8" fmla="*/ 34144 w 36099"/>
                <a:gd name="connsiteY8" fmla="*/ 8005 h 20890"/>
                <a:gd name="connsiteX9" fmla="*/ 21571 w 36099"/>
                <a:gd name="connsiteY9" fmla="*/ 766 h 20890"/>
                <a:gd name="connsiteX10" fmla="*/ 13856 w 36099"/>
                <a:gd name="connsiteY10" fmla="*/ 766 h 20890"/>
                <a:gd name="connsiteX11" fmla="*/ 1283 w 36099"/>
                <a:gd name="connsiteY11" fmla="*/ 8005 h 20890"/>
                <a:gd name="connsiteX12" fmla="*/ -336 w 36099"/>
                <a:gd name="connsiteY12" fmla="*/ 10196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99" h="20890">
                  <a:moveTo>
                    <a:pt x="-336" y="10196"/>
                  </a:moveTo>
                  <a:cubicBezTo>
                    <a:pt x="-251" y="11196"/>
                    <a:pt x="369" y="12072"/>
                    <a:pt x="1283" y="12482"/>
                  </a:cubicBezTo>
                  <a:lnTo>
                    <a:pt x="3569" y="13815"/>
                  </a:lnTo>
                  <a:lnTo>
                    <a:pt x="13856" y="19721"/>
                  </a:lnTo>
                  <a:cubicBezTo>
                    <a:pt x="16256" y="21064"/>
                    <a:pt x="19171" y="21064"/>
                    <a:pt x="21571" y="19721"/>
                  </a:cubicBezTo>
                  <a:lnTo>
                    <a:pt x="31858" y="13815"/>
                  </a:lnTo>
                  <a:lnTo>
                    <a:pt x="34144" y="12482"/>
                  </a:lnTo>
                  <a:cubicBezTo>
                    <a:pt x="35059" y="12072"/>
                    <a:pt x="35678" y="11196"/>
                    <a:pt x="35764" y="10196"/>
                  </a:cubicBezTo>
                  <a:cubicBezTo>
                    <a:pt x="35630" y="9243"/>
                    <a:pt x="35021" y="8415"/>
                    <a:pt x="34144" y="8005"/>
                  </a:cubicBezTo>
                  <a:lnTo>
                    <a:pt x="21571" y="766"/>
                  </a:lnTo>
                  <a:cubicBezTo>
                    <a:pt x="19152" y="-472"/>
                    <a:pt x="16275" y="-472"/>
                    <a:pt x="13856" y="766"/>
                  </a:cubicBezTo>
                  <a:lnTo>
                    <a:pt x="1283" y="8005"/>
                  </a:lnTo>
                  <a:cubicBezTo>
                    <a:pt x="407" y="8415"/>
                    <a:pt x="-203" y="924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652" name="iṣḷíḍè">
              <a:extLst>
                <a:ext uri="{FF2B5EF4-FFF2-40B4-BE49-F238E27FC236}">
                  <a16:creationId xmlns:a16="http://schemas.microsoft.com/office/drawing/2014/main" id="{E86FD64F-15B9-435C-91B2-904E53EAA6C4}"/>
                </a:ext>
              </a:extLst>
            </p:cNvPr>
            <p:cNvSpPr/>
            <p:nvPr/>
          </p:nvSpPr>
          <p:spPr>
            <a:xfrm>
              <a:off x="5498710" y="4881575"/>
              <a:ext cx="105679" cy="61101"/>
            </a:xfrm>
            <a:custGeom>
              <a:avLst/>
              <a:gdLst>
                <a:gd name="connsiteX0" fmla="*/ 1164 w 34718"/>
                <a:gd name="connsiteY0" fmla="*/ 12006 h 20073"/>
                <a:gd name="connsiteX1" fmla="*/ 13260 w 34718"/>
                <a:gd name="connsiteY1" fmla="*/ 19054 h 20073"/>
                <a:gd name="connsiteX2" fmla="*/ 20785 w 34718"/>
                <a:gd name="connsiteY2" fmla="*/ 19054 h 20073"/>
                <a:gd name="connsiteX3" fmla="*/ 32882 w 34718"/>
                <a:gd name="connsiteY3" fmla="*/ 12006 h 20073"/>
                <a:gd name="connsiteX4" fmla="*/ 32882 w 34718"/>
                <a:gd name="connsiteY4" fmla="*/ 7719 h 20073"/>
                <a:gd name="connsiteX5" fmla="*/ 20785 w 34718"/>
                <a:gd name="connsiteY5" fmla="*/ 766 h 20073"/>
                <a:gd name="connsiteX6" fmla="*/ 13260 w 34718"/>
                <a:gd name="connsiteY6" fmla="*/ 766 h 20073"/>
                <a:gd name="connsiteX7" fmla="*/ 1164 w 34718"/>
                <a:gd name="connsiteY7" fmla="*/ 7719 h 20073"/>
                <a:gd name="connsiteX8" fmla="*/ 1164 w 34718"/>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18" h="20073">
                  <a:moveTo>
                    <a:pt x="1164" y="12006"/>
                  </a:moveTo>
                  <a:lnTo>
                    <a:pt x="13260" y="19054"/>
                  </a:lnTo>
                  <a:cubicBezTo>
                    <a:pt x="15642" y="20197"/>
                    <a:pt x="18404" y="20197"/>
                    <a:pt x="20785" y="19054"/>
                  </a:cubicBezTo>
                  <a:lnTo>
                    <a:pt x="32882" y="12006"/>
                  </a:lnTo>
                  <a:cubicBezTo>
                    <a:pt x="34882" y="10863"/>
                    <a:pt x="34882" y="8957"/>
                    <a:pt x="32882" y="7719"/>
                  </a:cubicBezTo>
                  <a:lnTo>
                    <a:pt x="20785" y="766"/>
                  </a:lnTo>
                  <a:cubicBezTo>
                    <a:pt x="18433" y="-472"/>
                    <a:pt x="15613" y="-472"/>
                    <a:pt x="13260" y="766"/>
                  </a:cubicBezTo>
                  <a:lnTo>
                    <a:pt x="1164" y="7719"/>
                  </a:lnTo>
                  <a:cubicBezTo>
                    <a:pt x="-836" y="8957"/>
                    <a:pt x="-836" y="10481"/>
                    <a:pt x="1164" y="12006"/>
                  </a:cubicBezTo>
                  <a:close/>
                </a:path>
              </a:pathLst>
            </a:custGeom>
            <a:solidFill>
              <a:srgbClr val="D1D9E8"/>
            </a:solidFill>
            <a:ln w="9525" cap="flat">
              <a:noFill/>
              <a:prstDash val="solid"/>
              <a:miter/>
            </a:ln>
          </p:spPr>
          <p:txBody>
            <a:bodyPr rtlCol="0" anchor="ctr"/>
            <a:lstStyle/>
            <a:p>
              <a:endParaRPr lang="zh-CN" altLang="en-US"/>
            </a:p>
          </p:txBody>
        </p:sp>
        <p:sp>
          <p:nvSpPr>
            <p:cNvPr id="653" name="ïṡļiḍè">
              <a:extLst>
                <a:ext uri="{FF2B5EF4-FFF2-40B4-BE49-F238E27FC236}">
                  <a16:creationId xmlns:a16="http://schemas.microsoft.com/office/drawing/2014/main" id="{1A8CD1FC-72C2-4F65-825F-4CCF48E49DDA}"/>
                </a:ext>
              </a:extLst>
            </p:cNvPr>
            <p:cNvSpPr/>
            <p:nvPr/>
          </p:nvSpPr>
          <p:spPr>
            <a:xfrm>
              <a:off x="5496607" y="4911945"/>
              <a:ext cx="109883" cy="53804"/>
            </a:xfrm>
            <a:custGeom>
              <a:avLst/>
              <a:gdLst>
                <a:gd name="connsiteX0" fmla="*/ -336 w 36099"/>
                <a:gd name="connsiteY0" fmla="*/ -163 h 17676"/>
                <a:gd name="connsiteX1" fmla="*/ -336 w 36099"/>
                <a:gd name="connsiteY1" fmla="*/ 7076 h 17676"/>
                <a:gd name="connsiteX2" fmla="*/ 1283 w 36099"/>
                <a:gd name="connsiteY2" fmla="*/ 9362 h 17676"/>
                <a:gd name="connsiteX3" fmla="*/ 13856 w 36099"/>
                <a:gd name="connsiteY3" fmla="*/ 16506 h 17676"/>
                <a:gd name="connsiteX4" fmla="*/ 21571 w 36099"/>
                <a:gd name="connsiteY4" fmla="*/ 16506 h 17676"/>
                <a:gd name="connsiteX5" fmla="*/ 34144 w 36099"/>
                <a:gd name="connsiteY5" fmla="*/ 9362 h 17676"/>
                <a:gd name="connsiteX6" fmla="*/ 35764 w 36099"/>
                <a:gd name="connsiteY6" fmla="*/ 7076 h 17676"/>
                <a:gd name="connsiteX7" fmla="*/ 35764 w 36099"/>
                <a:gd name="connsiteY7" fmla="*/ -163 h 17676"/>
                <a:gd name="connsiteX8" fmla="*/ 34144 w 36099"/>
                <a:gd name="connsiteY8" fmla="*/ 2124 h 17676"/>
                <a:gd name="connsiteX9" fmla="*/ 31858 w 36099"/>
                <a:gd name="connsiteY9" fmla="*/ 3457 h 17676"/>
                <a:gd name="connsiteX10" fmla="*/ 21571 w 36099"/>
                <a:gd name="connsiteY10" fmla="*/ 9362 h 17676"/>
                <a:gd name="connsiteX11" fmla="*/ 13856 w 36099"/>
                <a:gd name="connsiteY11" fmla="*/ 9362 h 17676"/>
                <a:gd name="connsiteX12" fmla="*/ 3569 w 36099"/>
                <a:gd name="connsiteY12" fmla="*/ 3457 h 17676"/>
                <a:gd name="connsiteX13" fmla="*/ 1283 w 36099"/>
                <a:gd name="connsiteY13" fmla="*/ 2124 h 17676"/>
                <a:gd name="connsiteX14" fmla="*/ -336 w 36099"/>
                <a:gd name="connsiteY14" fmla="*/ -163 h 17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676">
                  <a:moveTo>
                    <a:pt x="-336" y="-163"/>
                  </a:moveTo>
                  <a:lnTo>
                    <a:pt x="-336" y="7076"/>
                  </a:lnTo>
                  <a:cubicBezTo>
                    <a:pt x="-231" y="8067"/>
                    <a:pt x="378" y="8934"/>
                    <a:pt x="1283" y="9362"/>
                  </a:cubicBezTo>
                  <a:lnTo>
                    <a:pt x="13856" y="16506"/>
                  </a:lnTo>
                  <a:cubicBezTo>
                    <a:pt x="16256" y="17849"/>
                    <a:pt x="19171" y="17849"/>
                    <a:pt x="21571" y="16506"/>
                  </a:cubicBezTo>
                  <a:lnTo>
                    <a:pt x="34144" y="9362"/>
                  </a:lnTo>
                  <a:cubicBezTo>
                    <a:pt x="35030" y="8924"/>
                    <a:pt x="35640" y="8058"/>
                    <a:pt x="35764" y="7076"/>
                  </a:cubicBezTo>
                  <a:lnTo>
                    <a:pt x="35764" y="-163"/>
                  </a:lnTo>
                  <a:cubicBezTo>
                    <a:pt x="35678" y="838"/>
                    <a:pt x="35059" y="1714"/>
                    <a:pt x="34144" y="2124"/>
                  </a:cubicBezTo>
                  <a:lnTo>
                    <a:pt x="31858" y="3457"/>
                  </a:lnTo>
                  <a:lnTo>
                    <a:pt x="21571" y="9362"/>
                  </a:lnTo>
                  <a:cubicBezTo>
                    <a:pt x="19171" y="10706"/>
                    <a:pt x="16256" y="10706"/>
                    <a:pt x="13856" y="9362"/>
                  </a:cubicBezTo>
                  <a:lnTo>
                    <a:pt x="3569" y="3457"/>
                  </a:lnTo>
                  <a:lnTo>
                    <a:pt x="1283" y="2124"/>
                  </a:lnTo>
                  <a:cubicBezTo>
                    <a:pt x="369" y="1714"/>
                    <a:pt x="-251" y="83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54" name="ïşľiḋe">
              <a:extLst>
                <a:ext uri="{FF2B5EF4-FFF2-40B4-BE49-F238E27FC236}">
                  <a16:creationId xmlns:a16="http://schemas.microsoft.com/office/drawing/2014/main" id="{9DFCAFCB-A2AB-477E-A052-326F741B0EB4}"/>
                </a:ext>
              </a:extLst>
            </p:cNvPr>
            <p:cNvSpPr/>
            <p:nvPr/>
          </p:nvSpPr>
          <p:spPr>
            <a:xfrm>
              <a:off x="5574020" y="4925064"/>
              <a:ext cx="109594" cy="63588"/>
            </a:xfrm>
            <a:custGeom>
              <a:avLst/>
              <a:gdLst>
                <a:gd name="connsiteX0" fmla="*/ -336 w 36004"/>
                <a:gd name="connsiteY0" fmla="*/ 10196 h 20890"/>
                <a:gd name="connsiteX1" fmla="*/ 1188 w 36004"/>
                <a:gd name="connsiteY1" fmla="*/ 12482 h 20890"/>
                <a:gd name="connsiteX2" fmla="*/ 3569 w 36004"/>
                <a:gd name="connsiteY2" fmla="*/ 13815 h 20890"/>
                <a:gd name="connsiteX3" fmla="*/ 13856 w 36004"/>
                <a:gd name="connsiteY3" fmla="*/ 19721 h 20890"/>
                <a:gd name="connsiteX4" fmla="*/ 21476 w 36004"/>
                <a:gd name="connsiteY4" fmla="*/ 19721 h 20890"/>
                <a:gd name="connsiteX5" fmla="*/ 31763 w 36004"/>
                <a:gd name="connsiteY5" fmla="*/ 13815 h 20890"/>
                <a:gd name="connsiteX6" fmla="*/ 34144 w 36004"/>
                <a:gd name="connsiteY6" fmla="*/ 12482 h 20890"/>
                <a:gd name="connsiteX7" fmla="*/ 35668 w 36004"/>
                <a:gd name="connsiteY7" fmla="*/ 10196 h 20890"/>
                <a:gd name="connsiteX8" fmla="*/ 34144 w 36004"/>
                <a:gd name="connsiteY8" fmla="*/ 8005 h 20890"/>
                <a:gd name="connsiteX9" fmla="*/ 21476 w 36004"/>
                <a:gd name="connsiteY9" fmla="*/ 766 h 20890"/>
                <a:gd name="connsiteX10" fmla="*/ 13856 w 36004"/>
                <a:gd name="connsiteY10" fmla="*/ 766 h 20890"/>
                <a:gd name="connsiteX11" fmla="*/ 1188 w 36004"/>
                <a:gd name="connsiteY11" fmla="*/ 8005 h 20890"/>
                <a:gd name="connsiteX12" fmla="*/ -336 w 36004"/>
                <a:gd name="connsiteY12" fmla="*/ 10196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196"/>
                  </a:moveTo>
                  <a:cubicBezTo>
                    <a:pt x="-308" y="11186"/>
                    <a:pt x="283" y="12082"/>
                    <a:pt x="1188" y="12482"/>
                  </a:cubicBezTo>
                  <a:lnTo>
                    <a:pt x="3569" y="13815"/>
                  </a:lnTo>
                  <a:lnTo>
                    <a:pt x="13856" y="19721"/>
                  </a:lnTo>
                  <a:cubicBezTo>
                    <a:pt x="16218" y="21064"/>
                    <a:pt x="19114" y="21064"/>
                    <a:pt x="21476" y="19721"/>
                  </a:cubicBezTo>
                  <a:lnTo>
                    <a:pt x="31763" y="13815"/>
                  </a:lnTo>
                  <a:lnTo>
                    <a:pt x="34144" y="12482"/>
                  </a:lnTo>
                  <a:cubicBezTo>
                    <a:pt x="35049" y="12082"/>
                    <a:pt x="35640" y="11186"/>
                    <a:pt x="35668" y="10196"/>
                  </a:cubicBezTo>
                  <a:cubicBezTo>
                    <a:pt x="35573" y="9253"/>
                    <a:pt x="34992" y="8424"/>
                    <a:pt x="34144" y="8005"/>
                  </a:cubicBezTo>
                  <a:lnTo>
                    <a:pt x="21476" y="766"/>
                  </a:lnTo>
                  <a:cubicBezTo>
                    <a:pt x="19085" y="-472"/>
                    <a:pt x="16247" y="-472"/>
                    <a:pt x="13856" y="766"/>
                  </a:cubicBezTo>
                  <a:lnTo>
                    <a:pt x="1188" y="8005"/>
                  </a:lnTo>
                  <a:cubicBezTo>
                    <a:pt x="340" y="8424"/>
                    <a:pt x="-241" y="925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655" name="iṧļïḍe">
              <a:extLst>
                <a:ext uri="{FF2B5EF4-FFF2-40B4-BE49-F238E27FC236}">
                  <a16:creationId xmlns:a16="http://schemas.microsoft.com/office/drawing/2014/main" id="{4A3228A8-801D-42EA-8183-C649E0274FF3}"/>
                </a:ext>
              </a:extLst>
            </p:cNvPr>
            <p:cNvSpPr/>
            <p:nvPr/>
          </p:nvSpPr>
          <p:spPr>
            <a:xfrm>
              <a:off x="5576154" y="4926151"/>
              <a:ext cx="105329" cy="61174"/>
            </a:xfrm>
            <a:custGeom>
              <a:avLst/>
              <a:gdLst>
                <a:gd name="connsiteX0" fmla="*/ 1154 w 34603"/>
                <a:gd name="connsiteY0" fmla="*/ 12029 h 20097"/>
                <a:gd name="connsiteX1" fmla="*/ 13251 w 34603"/>
                <a:gd name="connsiteY1" fmla="*/ 19078 h 20097"/>
                <a:gd name="connsiteX2" fmla="*/ 20680 w 34603"/>
                <a:gd name="connsiteY2" fmla="*/ 19078 h 20097"/>
                <a:gd name="connsiteX3" fmla="*/ 32777 w 34603"/>
                <a:gd name="connsiteY3" fmla="*/ 12029 h 20097"/>
                <a:gd name="connsiteX4" fmla="*/ 34120 w 34603"/>
                <a:gd name="connsiteY4" fmla="*/ 9096 h 20097"/>
                <a:gd name="connsiteX5" fmla="*/ 32777 w 34603"/>
                <a:gd name="connsiteY5" fmla="*/ 7743 h 20097"/>
                <a:gd name="connsiteX6" fmla="*/ 20680 w 34603"/>
                <a:gd name="connsiteY6" fmla="*/ 695 h 20097"/>
                <a:gd name="connsiteX7" fmla="*/ 13251 w 34603"/>
                <a:gd name="connsiteY7" fmla="*/ 695 h 20097"/>
                <a:gd name="connsiteX8" fmla="*/ 1154 w 34603"/>
                <a:gd name="connsiteY8" fmla="*/ 7743 h 20097"/>
                <a:gd name="connsiteX9" fmla="*/ -189 w 34603"/>
                <a:gd name="connsiteY9" fmla="*/ 10686 h 20097"/>
                <a:gd name="connsiteX10" fmla="*/ 1154 w 34603"/>
                <a:gd name="connsiteY10" fmla="*/ 12029 h 20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603" h="20097">
                  <a:moveTo>
                    <a:pt x="1154" y="12029"/>
                  </a:moveTo>
                  <a:lnTo>
                    <a:pt x="13251" y="19078"/>
                  </a:lnTo>
                  <a:cubicBezTo>
                    <a:pt x="15594" y="20221"/>
                    <a:pt x="18337" y="20221"/>
                    <a:pt x="20680" y="19078"/>
                  </a:cubicBezTo>
                  <a:lnTo>
                    <a:pt x="32777" y="12029"/>
                  </a:lnTo>
                  <a:cubicBezTo>
                    <a:pt x="33958" y="11591"/>
                    <a:pt x="34568" y="10277"/>
                    <a:pt x="34120" y="9096"/>
                  </a:cubicBezTo>
                  <a:cubicBezTo>
                    <a:pt x="33891" y="8467"/>
                    <a:pt x="33396" y="7971"/>
                    <a:pt x="32777" y="7743"/>
                  </a:cubicBezTo>
                  <a:lnTo>
                    <a:pt x="20680" y="695"/>
                  </a:lnTo>
                  <a:cubicBezTo>
                    <a:pt x="18337" y="-448"/>
                    <a:pt x="15594" y="-448"/>
                    <a:pt x="13251" y="695"/>
                  </a:cubicBezTo>
                  <a:lnTo>
                    <a:pt x="1154" y="7743"/>
                  </a:lnTo>
                  <a:cubicBezTo>
                    <a:pt x="-27" y="8181"/>
                    <a:pt x="-637" y="9496"/>
                    <a:pt x="-189" y="10686"/>
                  </a:cubicBezTo>
                  <a:cubicBezTo>
                    <a:pt x="40" y="11305"/>
                    <a:pt x="535" y="11801"/>
                    <a:pt x="1154" y="12029"/>
                  </a:cubicBezTo>
                  <a:close/>
                </a:path>
              </a:pathLst>
            </a:custGeom>
            <a:solidFill>
              <a:srgbClr val="D1D9E8"/>
            </a:solidFill>
            <a:ln w="9525" cap="flat">
              <a:noFill/>
              <a:prstDash val="solid"/>
              <a:miter/>
            </a:ln>
          </p:spPr>
          <p:txBody>
            <a:bodyPr rtlCol="0" anchor="ctr"/>
            <a:lstStyle/>
            <a:p>
              <a:endParaRPr lang="zh-CN" altLang="en-US"/>
            </a:p>
          </p:txBody>
        </p:sp>
        <p:sp>
          <p:nvSpPr>
            <p:cNvPr id="656" name="ïṣḷîḓê">
              <a:extLst>
                <a:ext uri="{FF2B5EF4-FFF2-40B4-BE49-F238E27FC236}">
                  <a16:creationId xmlns:a16="http://schemas.microsoft.com/office/drawing/2014/main" id="{BA439B61-7F3F-4D9A-908C-F9CA5E484FE0}"/>
                </a:ext>
              </a:extLst>
            </p:cNvPr>
            <p:cNvSpPr/>
            <p:nvPr/>
          </p:nvSpPr>
          <p:spPr>
            <a:xfrm>
              <a:off x="5574020" y="4956596"/>
              <a:ext cx="109594" cy="53801"/>
            </a:xfrm>
            <a:custGeom>
              <a:avLst/>
              <a:gdLst>
                <a:gd name="connsiteX0" fmla="*/ -336 w 36004"/>
                <a:gd name="connsiteY0" fmla="*/ -163 h 17675"/>
                <a:gd name="connsiteX1" fmla="*/ -336 w 36004"/>
                <a:gd name="connsiteY1" fmla="*/ 7076 h 17675"/>
                <a:gd name="connsiteX2" fmla="*/ 1188 w 36004"/>
                <a:gd name="connsiteY2" fmla="*/ 9267 h 17675"/>
                <a:gd name="connsiteX3" fmla="*/ 13856 w 36004"/>
                <a:gd name="connsiteY3" fmla="*/ 16506 h 17675"/>
                <a:gd name="connsiteX4" fmla="*/ 21476 w 36004"/>
                <a:gd name="connsiteY4" fmla="*/ 16506 h 17675"/>
                <a:gd name="connsiteX5" fmla="*/ 34144 w 36004"/>
                <a:gd name="connsiteY5" fmla="*/ 9267 h 17675"/>
                <a:gd name="connsiteX6" fmla="*/ 35668 w 36004"/>
                <a:gd name="connsiteY6" fmla="*/ 7076 h 17675"/>
                <a:gd name="connsiteX7" fmla="*/ 35668 w 36004"/>
                <a:gd name="connsiteY7" fmla="*/ -163 h 17675"/>
                <a:gd name="connsiteX8" fmla="*/ 34144 w 36004"/>
                <a:gd name="connsiteY8" fmla="*/ 2123 h 17675"/>
                <a:gd name="connsiteX9" fmla="*/ 31763 w 36004"/>
                <a:gd name="connsiteY9" fmla="*/ 3457 h 17675"/>
                <a:gd name="connsiteX10" fmla="*/ 21476 w 36004"/>
                <a:gd name="connsiteY10" fmla="*/ 9362 h 17675"/>
                <a:gd name="connsiteX11" fmla="*/ 13856 w 36004"/>
                <a:gd name="connsiteY11" fmla="*/ 9362 h 17675"/>
                <a:gd name="connsiteX12" fmla="*/ 3569 w 36004"/>
                <a:gd name="connsiteY12" fmla="*/ 3457 h 17675"/>
                <a:gd name="connsiteX13" fmla="*/ 1188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98" y="8038"/>
                    <a:pt x="292" y="8896"/>
                    <a:pt x="1188" y="9267"/>
                  </a:cubicBezTo>
                  <a:lnTo>
                    <a:pt x="13856" y="16506"/>
                  </a:lnTo>
                  <a:cubicBezTo>
                    <a:pt x="16218" y="17849"/>
                    <a:pt x="19114" y="17849"/>
                    <a:pt x="21476" y="16506"/>
                  </a:cubicBezTo>
                  <a:lnTo>
                    <a:pt x="34144" y="9267"/>
                  </a:lnTo>
                  <a:cubicBezTo>
                    <a:pt x="35021" y="8877"/>
                    <a:pt x="35611" y="8038"/>
                    <a:pt x="35668" y="7076"/>
                  </a:cubicBezTo>
                  <a:lnTo>
                    <a:pt x="35668" y="-163"/>
                  </a:lnTo>
                  <a:cubicBezTo>
                    <a:pt x="35640" y="828"/>
                    <a:pt x="35049" y="1723"/>
                    <a:pt x="34144" y="2123"/>
                  </a:cubicBezTo>
                  <a:lnTo>
                    <a:pt x="31763" y="3457"/>
                  </a:lnTo>
                  <a:lnTo>
                    <a:pt x="21476" y="9362"/>
                  </a:lnTo>
                  <a:cubicBezTo>
                    <a:pt x="19114" y="10705"/>
                    <a:pt x="16218" y="10705"/>
                    <a:pt x="13856" y="9362"/>
                  </a:cubicBezTo>
                  <a:lnTo>
                    <a:pt x="3569" y="3457"/>
                  </a:lnTo>
                  <a:lnTo>
                    <a:pt x="1188" y="2123"/>
                  </a:lnTo>
                  <a:cubicBezTo>
                    <a:pt x="283" y="1723"/>
                    <a:pt x="-308"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57" name="í$1îḍê">
              <a:extLst>
                <a:ext uri="{FF2B5EF4-FFF2-40B4-BE49-F238E27FC236}">
                  <a16:creationId xmlns:a16="http://schemas.microsoft.com/office/drawing/2014/main" id="{44A90F4F-D014-4067-9638-028F0A54C08F}"/>
                </a:ext>
              </a:extLst>
            </p:cNvPr>
            <p:cNvSpPr/>
            <p:nvPr/>
          </p:nvSpPr>
          <p:spPr>
            <a:xfrm>
              <a:off x="5651433" y="4969481"/>
              <a:ext cx="109450" cy="63292"/>
            </a:xfrm>
            <a:custGeom>
              <a:avLst/>
              <a:gdLst>
                <a:gd name="connsiteX0" fmla="*/ -336 w 35957"/>
                <a:gd name="connsiteY0" fmla="*/ 10177 h 20793"/>
                <a:gd name="connsiteX1" fmla="*/ 1188 w 35957"/>
                <a:gd name="connsiteY1" fmla="*/ 12463 h 20793"/>
                <a:gd name="connsiteX2" fmla="*/ 3474 w 35957"/>
                <a:gd name="connsiteY2" fmla="*/ 13796 h 20793"/>
                <a:gd name="connsiteX3" fmla="*/ 13761 w 35957"/>
                <a:gd name="connsiteY3" fmla="*/ 19702 h 20793"/>
                <a:gd name="connsiteX4" fmla="*/ 21476 w 35957"/>
                <a:gd name="connsiteY4" fmla="*/ 19702 h 20793"/>
                <a:gd name="connsiteX5" fmla="*/ 31763 w 35957"/>
                <a:gd name="connsiteY5" fmla="*/ 13796 h 20793"/>
                <a:gd name="connsiteX6" fmla="*/ 34049 w 35957"/>
                <a:gd name="connsiteY6" fmla="*/ 12463 h 20793"/>
                <a:gd name="connsiteX7" fmla="*/ 35478 w 35957"/>
                <a:gd name="connsiteY7" fmla="*/ 9415 h 20793"/>
                <a:gd name="connsiteX8" fmla="*/ 34049 w 35957"/>
                <a:gd name="connsiteY8" fmla="*/ 7986 h 20793"/>
                <a:gd name="connsiteX9" fmla="*/ 21476 w 35957"/>
                <a:gd name="connsiteY9" fmla="*/ 652 h 20793"/>
                <a:gd name="connsiteX10" fmla="*/ 13761 w 35957"/>
                <a:gd name="connsiteY10" fmla="*/ 652 h 20793"/>
                <a:gd name="connsiteX11" fmla="*/ 1188 w 35957"/>
                <a:gd name="connsiteY11" fmla="*/ 7986 h 20793"/>
                <a:gd name="connsiteX12" fmla="*/ -336 w 35957"/>
                <a:gd name="connsiteY12" fmla="*/ 10177 h 20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957" h="20793">
                  <a:moveTo>
                    <a:pt x="-336" y="10177"/>
                  </a:moveTo>
                  <a:cubicBezTo>
                    <a:pt x="-269" y="11158"/>
                    <a:pt x="312" y="12025"/>
                    <a:pt x="1188" y="12463"/>
                  </a:cubicBezTo>
                  <a:lnTo>
                    <a:pt x="3474" y="13796"/>
                  </a:lnTo>
                  <a:lnTo>
                    <a:pt x="13761" y="19702"/>
                  </a:lnTo>
                  <a:cubicBezTo>
                    <a:pt x="16180" y="20940"/>
                    <a:pt x="19057" y="20940"/>
                    <a:pt x="21476" y="19702"/>
                  </a:cubicBezTo>
                  <a:lnTo>
                    <a:pt x="31763" y="13796"/>
                  </a:lnTo>
                  <a:lnTo>
                    <a:pt x="34049" y="12463"/>
                  </a:lnTo>
                  <a:cubicBezTo>
                    <a:pt x="35287" y="12015"/>
                    <a:pt x="35925" y="10644"/>
                    <a:pt x="35478" y="9415"/>
                  </a:cubicBezTo>
                  <a:cubicBezTo>
                    <a:pt x="35230" y="8748"/>
                    <a:pt x="34716" y="8224"/>
                    <a:pt x="34049" y="7986"/>
                  </a:cubicBezTo>
                  <a:lnTo>
                    <a:pt x="21476" y="652"/>
                  </a:lnTo>
                  <a:cubicBezTo>
                    <a:pt x="19019" y="-434"/>
                    <a:pt x="16218" y="-434"/>
                    <a:pt x="13761" y="652"/>
                  </a:cubicBezTo>
                  <a:lnTo>
                    <a:pt x="1188" y="7986"/>
                  </a:lnTo>
                  <a:cubicBezTo>
                    <a:pt x="340" y="8405"/>
                    <a:pt x="-241" y="9234"/>
                    <a:pt x="-336" y="10177"/>
                  </a:cubicBezTo>
                  <a:close/>
                </a:path>
              </a:pathLst>
            </a:custGeom>
            <a:solidFill>
              <a:srgbClr val="FFFFFF"/>
            </a:solidFill>
            <a:ln w="9525" cap="flat">
              <a:noFill/>
              <a:prstDash val="solid"/>
              <a:miter/>
            </a:ln>
          </p:spPr>
          <p:txBody>
            <a:bodyPr rtlCol="0" anchor="ctr"/>
            <a:lstStyle/>
            <a:p>
              <a:endParaRPr lang="zh-CN" altLang="en-US"/>
            </a:p>
          </p:txBody>
        </p:sp>
        <p:sp>
          <p:nvSpPr>
            <p:cNvPr id="658" name="ïsļîḑè">
              <a:extLst>
                <a:ext uri="{FF2B5EF4-FFF2-40B4-BE49-F238E27FC236}">
                  <a16:creationId xmlns:a16="http://schemas.microsoft.com/office/drawing/2014/main" id="{626CCB04-3878-4271-8E53-E03773F2F1F5}"/>
                </a:ext>
              </a:extLst>
            </p:cNvPr>
            <p:cNvSpPr/>
            <p:nvPr/>
          </p:nvSpPr>
          <p:spPr>
            <a:xfrm>
              <a:off x="5653275" y="4970802"/>
              <a:ext cx="105618" cy="61104"/>
            </a:xfrm>
            <a:custGeom>
              <a:avLst/>
              <a:gdLst>
                <a:gd name="connsiteX0" fmla="*/ 1154 w 34698"/>
                <a:gd name="connsiteY0" fmla="*/ 12029 h 20074"/>
                <a:gd name="connsiteX1" fmla="*/ 13346 w 34698"/>
                <a:gd name="connsiteY1" fmla="*/ 18983 h 20074"/>
                <a:gd name="connsiteX2" fmla="*/ 20776 w 34698"/>
                <a:gd name="connsiteY2" fmla="*/ 18983 h 20074"/>
                <a:gd name="connsiteX3" fmla="*/ 32872 w 34698"/>
                <a:gd name="connsiteY3" fmla="*/ 12029 h 20074"/>
                <a:gd name="connsiteX4" fmla="*/ 34215 w 34698"/>
                <a:gd name="connsiteY4" fmla="*/ 9086 h 20074"/>
                <a:gd name="connsiteX5" fmla="*/ 32872 w 34698"/>
                <a:gd name="connsiteY5" fmla="*/ 7743 h 20074"/>
                <a:gd name="connsiteX6" fmla="*/ 20776 w 34698"/>
                <a:gd name="connsiteY6" fmla="*/ 695 h 20074"/>
                <a:gd name="connsiteX7" fmla="*/ 13346 w 34698"/>
                <a:gd name="connsiteY7" fmla="*/ 695 h 20074"/>
                <a:gd name="connsiteX8" fmla="*/ 1154 w 34698"/>
                <a:gd name="connsiteY8" fmla="*/ 7743 h 20074"/>
                <a:gd name="connsiteX9" fmla="*/ -189 w 34698"/>
                <a:gd name="connsiteY9" fmla="*/ 10686 h 20074"/>
                <a:gd name="connsiteX10" fmla="*/ 1154 w 34698"/>
                <a:gd name="connsiteY10"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698" h="20074">
                  <a:moveTo>
                    <a:pt x="1154" y="12029"/>
                  </a:moveTo>
                  <a:lnTo>
                    <a:pt x="13346" y="18983"/>
                  </a:lnTo>
                  <a:cubicBezTo>
                    <a:pt x="15670" y="20221"/>
                    <a:pt x="18451" y="20221"/>
                    <a:pt x="20776" y="18983"/>
                  </a:cubicBezTo>
                  <a:lnTo>
                    <a:pt x="32872" y="12029"/>
                  </a:lnTo>
                  <a:cubicBezTo>
                    <a:pt x="34053" y="11591"/>
                    <a:pt x="34663" y="10277"/>
                    <a:pt x="34215" y="9086"/>
                  </a:cubicBezTo>
                  <a:cubicBezTo>
                    <a:pt x="33987" y="8467"/>
                    <a:pt x="33491" y="7972"/>
                    <a:pt x="32872" y="7743"/>
                  </a:cubicBezTo>
                  <a:lnTo>
                    <a:pt x="20776" y="695"/>
                  </a:lnTo>
                  <a:cubicBezTo>
                    <a:pt x="18432" y="-448"/>
                    <a:pt x="15689" y="-448"/>
                    <a:pt x="13346" y="695"/>
                  </a:cubicBezTo>
                  <a:lnTo>
                    <a:pt x="1154" y="7743"/>
                  </a:lnTo>
                  <a:cubicBezTo>
                    <a:pt x="-27" y="8181"/>
                    <a:pt x="-637" y="9496"/>
                    <a:pt x="-189" y="10686"/>
                  </a:cubicBezTo>
                  <a:cubicBezTo>
                    <a:pt x="40" y="11306"/>
                    <a:pt x="525" y="11801"/>
                    <a:pt x="1154" y="12029"/>
                  </a:cubicBezTo>
                  <a:close/>
                </a:path>
              </a:pathLst>
            </a:custGeom>
            <a:solidFill>
              <a:srgbClr val="D1D9E8"/>
            </a:solidFill>
            <a:ln w="9525" cap="flat">
              <a:noFill/>
              <a:prstDash val="solid"/>
              <a:miter/>
            </a:ln>
          </p:spPr>
          <p:txBody>
            <a:bodyPr rtlCol="0" anchor="ctr"/>
            <a:lstStyle/>
            <a:p>
              <a:endParaRPr lang="zh-CN" altLang="en-US"/>
            </a:p>
          </p:txBody>
        </p:sp>
        <p:sp>
          <p:nvSpPr>
            <p:cNvPr id="659" name="îşḷíďê">
              <a:extLst>
                <a:ext uri="{FF2B5EF4-FFF2-40B4-BE49-F238E27FC236}">
                  <a16:creationId xmlns:a16="http://schemas.microsoft.com/office/drawing/2014/main" id="{1FDECEB1-D88C-4EFA-B7B2-90984D19E57C}"/>
                </a:ext>
              </a:extLst>
            </p:cNvPr>
            <p:cNvSpPr/>
            <p:nvPr/>
          </p:nvSpPr>
          <p:spPr>
            <a:xfrm>
              <a:off x="5651433" y="5000955"/>
              <a:ext cx="109594" cy="53801"/>
            </a:xfrm>
            <a:custGeom>
              <a:avLst/>
              <a:gdLst>
                <a:gd name="connsiteX0" fmla="*/ -336 w 36004"/>
                <a:gd name="connsiteY0" fmla="*/ -163 h 17675"/>
                <a:gd name="connsiteX1" fmla="*/ -336 w 36004"/>
                <a:gd name="connsiteY1" fmla="*/ 7076 h 17675"/>
                <a:gd name="connsiteX2" fmla="*/ 1188 w 36004"/>
                <a:gd name="connsiteY2" fmla="*/ 9267 h 17675"/>
                <a:gd name="connsiteX3" fmla="*/ 13761 w 36004"/>
                <a:gd name="connsiteY3" fmla="*/ 16506 h 17675"/>
                <a:gd name="connsiteX4" fmla="*/ 21476 w 36004"/>
                <a:gd name="connsiteY4" fmla="*/ 16506 h 17675"/>
                <a:gd name="connsiteX5" fmla="*/ 34049 w 36004"/>
                <a:gd name="connsiteY5" fmla="*/ 9267 h 17675"/>
                <a:gd name="connsiteX6" fmla="*/ 35668 w 36004"/>
                <a:gd name="connsiteY6" fmla="*/ 6981 h 17675"/>
                <a:gd name="connsiteX7" fmla="*/ 35668 w 36004"/>
                <a:gd name="connsiteY7" fmla="*/ -163 h 17675"/>
                <a:gd name="connsiteX8" fmla="*/ 34049 w 36004"/>
                <a:gd name="connsiteY8" fmla="*/ 2123 h 17675"/>
                <a:gd name="connsiteX9" fmla="*/ 31763 w 36004"/>
                <a:gd name="connsiteY9" fmla="*/ 3457 h 17675"/>
                <a:gd name="connsiteX10" fmla="*/ 21476 w 36004"/>
                <a:gd name="connsiteY10" fmla="*/ 9362 h 17675"/>
                <a:gd name="connsiteX11" fmla="*/ 13761 w 36004"/>
                <a:gd name="connsiteY11" fmla="*/ 9362 h 17675"/>
                <a:gd name="connsiteX12" fmla="*/ 3474 w 36004"/>
                <a:gd name="connsiteY12" fmla="*/ 3457 h 17675"/>
                <a:gd name="connsiteX13" fmla="*/ 1188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79" y="8038"/>
                    <a:pt x="312" y="8877"/>
                    <a:pt x="1188" y="9267"/>
                  </a:cubicBezTo>
                  <a:lnTo>
                    <a:pt x="13761" y="16506"/>
                  </a:lnTo>
                  <a:cubicBezTo>
                    <a:pt x="16161" y="17849"/>
                    <a:pt x="19076" y="17849"/>
                    <a:pt x="21476" y="16506"/>
                  </a:cubicBezTo>
                  <a:lnTo>
                    <a:pt x="34049" y="9267"/>
                  </a:lnTo>
                  <a:cubicBezTo>
                    <a:pt x="34992" y="8896"/>
                    <a:pt x="35630" y="8000"/>
                    <a:pt x="35668" y="6981"/>
                  </a:cubicBezTo>
                  <a:lnTo>
                    <a:pt x="35668" y="-163"/>
                  </a:lnTo>
                  <a:cubicBezTo>
                    <a:pt x="35602" y="847"/>
                    <a:pt x="34982" y="1733"/>
                    <a:pt x="34049" y="2123"/>
                  </a:cubicBezTo>
                  <a:lnTo>
                    <a:pt x="31763" y="3457"/>
                  </a:lnTo>
                  <a:lnTo>
                    <a:pt x="21476" y="9362"/>
                  </a:lnTo>
                  <a:cubicBezTo>
                    <a:pt x="19057" y="10601"/>
                    <a:pt x="16180" y="10601"/>
                    <a:pt x="13761" y="9362"/>
                  </a:cubicBezTo>
                  <a:lnTo>
                    <a:pt x="3474" y="3457"/>
                  </a:lnTo>
                  <a:lnTo>
                    <a:pt x="1188" y="2123"/>
                  </a:lnTo>
                  <a:cubicBezTo>
                    <a:pt x="312"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60" name="íṣlíďê">
              <a:extLst>
                <a:ext uri="{FF2B5EF4-FFF2-40B4-BE49-F238E27FC236}">
                  <a16:creationId xmlns:a16="http://schemas.microsoft.com/office/drawing/2014/main" id="{E5329D14-67AB-4AED-84AB-82C45109985E}"/>
                </a:ext>
              </a:extLst>
            </p:cNvPr>
            <p:cNvSpPr/>
            <p:nvPr/>
          </p:nvSpPr>
          <p:spPr>
            <a:xfrm>
              <a:off x="5728554" y="5014269"/>
              <a:ext cx="109740" cy="63445"/>
            </a:xfrm>
            <a:custGeom>
              <a:avLst/>
              <a:gdLst>
                <a:gd name="connsiteX0" fmla="*/ -336 w 36052"/>
                <a:gd name="connsiteY0" fmla="*/ 10227 h 20843"/>
                <a:gd name="connsiteX1" fmla="*/ 1188 w 36052"/>
                <a:gd name="connsiteY1" fmla="*/ 12513 h 20843"/>
                <a:gd name="connsiteX2" fmla="*/ 3569 w 36052"/>
                <a:gd name="connsiteY2" fmla="*/ 13846 h 20843"/>
                <a:gd name="connsiteX3" fmla="*/ 13856 w 36052"/>
                <a:gd name="connsiteY3" fmla="*/ 19752 h 20843"/>
                <a:gd name="connsiteX4" fmla="*/ 21476 w 36052"/>
                <a:gd name="connsiteY4" fmla="*/ 19752 h 20843"/>
                <a:gd name="connsiteX5" fmla="*/ 31763 w 36052"/>
                <a:gd name="connsiteY5" fmla="*/ 13846 h 20843"/>
                <a:gd name="connsiteX6" fmla="*/ 34144 w 36052"/>
                <a:gd name="connsiteY6" fmla="*/ 12513 h 20843"/>
                <a:gd name="connsiteX7" fmla="*/ 35573 w 36052"/>
                <a:gd name="connsiteY7" fmla="*/ 9465 h 20843"/>
                <a:gd name="connsiteX8" fmla="*/ 34144 w 36052"/>
                <a:gd name="connsiteY8" fmla="*/ 8036 h 20843"/>
                <a:gd name="connsiteX9" fmla="*/ 21476 w 36052"/>
                <a:gd name="connsiteY9" fmla="*/ 702 h 20843"/>
                <a:gd name="connsiteX10" fmla="*/ 13856 w 36052"/>
                <a:gd name="connsiteY10" fmla="*/ 702 h 20843"/>
                <a:gd name="connsiteX11" fmla="*/ 1188 w 36052"/>
                <a:gd name="connsiteY11" fmla="*/ 8036 h 20843"/>
                <a:gd name="connsiteX12" fmla="*/ -336 w 36052"/>
                <a:gd name="connsiteY12" fmla="*/ 10227 h 20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3">
                  <a:moveTo>
                    <a:pt x="-336" y="10227"/>
                  </a:moveTo>
                  <a:cubicBezTo>
                    <a:pt x="-269" y="11208"/>
                    <a:pt x="312" y="12075"/>
                    <a:pt x="1188" y="12513"/>
                  </a:cubicBezTo>
                  <a:lnTo>
                    <a:pt x="3569" y="13846"/>
                  </a:lnTo>
                  <a:lnTo>
                    <a:pt x="13856" y="19752"/>
                  </a:lnTo>
                  <a:cubicBezTo>
                    <a:pt x="16247" y="20990"/>
                    <a:pt x="19085" y="20990"/>
                    <a:pt x="21476" y="19752"/>
                  </a:cubicBezTo>
                  <a:lnTo>
                    <a:pt x="31763" y="13846"/>
                  </a:lnTo>
                  <a:lnTo>
                    <a:pt x="34144" y="12513"/>
                  </a:lnTo>
                  <a:cubicBezTo>
                    <a:pt x="35382" y="12065"/>
                    <a:pt x="36021" y="10694"/>
                    <a:pt x="35573" y="9465"/>
                  </a:cubicBezTo>
                  <a:cubicBezTo>
                    <a:pt x="35325" y="8798"/>
                    <a:pt x="34811" y="8274"/>
                    <a:pt x="34144"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661" name="î$lïḓê">
              <a:extLst>
                <a:ext uri="{FF2B5EF4-FFF2-40B4-BE49-F238E27FC236}">
                  <a16:creationId xmlns:a16="http://schemas.microsoft.com/office/drawing/2014/main" id="{74E15D61-C4AC-4BF2-B973-A05FC1A2D2F7}"/>
                </a:ext>
              </a:extLst>
            </p:cNvPr>
            <p:cNvSpPr/>
            <p:nvPr/>
          </p:nvSpPr>
          <p:spPr>
            <a:xfrm>
              <a:off x="5730441" y="5015450"/>
              <a:ext cx="105898" cy="61104"/>
            </a:xfrm>
            <a:custGeom>
              <a:avLst/>
              <a:gdLst>
                <a:gd name="connsiteX0" fmla="*/ 1235 w 34790"/>
                <a:gd name="connsiteY0" fmla="*/ 12029 h 20074"/>
                <a:gd name="connsiteX1" fmla="*/ 13332 w 34790"/>
                <a:gd name="connsiteY1" fmla="*/ 18983 h 20074"/>
                <a:gd name="connsiteX2" fmla="*/ 20761 w 34790"/>
                <a:gd name="connsiteY2" fmla="*/ 18983 h 20074"/>
                <a:gd name="connsiteX3" fmla="*/ 32953 w 34790"/>
                <a:gd name="connsiteY3" fmla="*/ 12029 h 20074"/>
                <a:gd name="connsiteX4" fmla="*/ 32953 w 34790"/>
                <a:gd name="connsiteY4" fmla="*/ 7743 h 20074"/>
                <a:gd name="connsiteX5" fmla="*/ 20761 w 34790"/>
                <a:gd name="connsiteY5" fmla="*/ 695 h 20074"/>
                <a:gd name="connsiteX6" fmla="*/ 13332 w 34790"/>
                <a:gd name="connsiteY6" fmla="*/ 695 h 20074"/>
                <a:gd name="connsiteX7" fmla="*/ 1235 w 34790"/>
                <a:gd name="connsiteY7" fmla="*/ 7743 h 20074"/>
                <a:gd name="connsiteX8" fmla="*/ 1235 w 34790"/>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4">
                  <a:moveTo>
                    <a:pt x="1235" y="12029"/>
                  </a:moveTo>
                  <a:lnTo>
                    <a:pt x="13332" y="18983"/>
                  </a:lnTo>
                  <a:cubicBezTo>
                    <a:pt x="15656" y="20221"/>
                    <a:pt x="18437" y="20221"/>
                    <a:pt x="20761" y="18983"/>
                  </a:cubicBezTo>
                  <a:lnTo>
                    <a:pt x="32953" y="12029"/>
                  </a:lnTo>
                  <a:cubicBezTo>
                    <a:pt x="34954" y="10791"/>
                    <a:pt x="34954" y="8886"/>
                    <a:pt x="32953" y="7743"/>
                  </a:cubicBezTo>
                  <a:lnTo>
                    <a:pt x="20761" y="695"/>
                  </a:lnTo>
                  <a:cubicBezTo>
                    <a:pt x="18418" y="-448"/>
                    <a:pt x="15675" y="-448"/>
                    <a:pt x="13332" y="695"/>
                  </a:cubicBezTo>
                  <a:lnTo>
                    <a:pt x="1235" y="7743"/>
                  </a:lnTo>
                  <a:cubicBezTo>
                    <a:pt x="-860" y="8886"/>
                    <a:pt x="-860" y="10791"/>
                    <a:pt x="1235" y="12029"/>
                  </a:cubicBezTo>
                  <a:close/>
                </a:path>
              </a:pathLst>
            </a:custGeom>
            <a:solidFill>
              <a:srgbClr val="D1D9E8"/>
            </a:solidFill>
            <a:ln w="9525" cap="flat">
              <a:noFill/>
              <a:prstDash val="solid"/>
              <a:miter/>
            </a:ln>
          </p:spPr>
          <p:txBody>
            <a:bodyPr rtlCol="0" anchor="ctr"/>
            <a:lstStyle/>
            <a:p>
              <a:endParaRPr lang="zh-CN" altLang="en-US"/>
            </a:p>
          </p:txBody>
        </p:sp>
        <p:sp>
          <p:nvSpPr>
            <p:cNvPr id="662" name="îṩḷîḓe">
              <a:extLst>
                <a:ext uri="{FF2B5EF4-FFF2-40B4-BE49-F238E27FC236}">
                  <a16:creationId xmlns:a16="http://schemas.microsoft.com/office/drawing/2014/main" id="{0C1A9DF4-16AD-46B3-822A-B2396D4A45A4}"/>
                </a:ext>
              </a:extLst>
            </p:cNvPr>
            <p:cNvSpPr/>
            <p:nvPr/>
          </p:nvSpPr>
          <p:spPr>
            <a:xfrm>
              <a:off x="5728554" y="5045893"/>
              <a:ext cx="109594" cy="53804"/>
            </a:xfrm>
            <a:custGeom>
              <a:avLst/>
              <a:gdLst>
                <a:gd name="connsiteX0" fmla="*/ -336 w 36004"/>
                <a:gd name="connsiteY0" fmla="*/ -163 h 17676"/>
                <a:gd name="connsiteX1" fmla="*/ -336 w 36004"/>
                <a:gd name="connsiteY1" fmla="*/ 7076 h 17676"/>
                <a:gd name="connsiteX2" fmla="*/ 1188 w 36004"/>
                <a:gd name="connsiteY2" fmla="*/ 9267 h 17676"/>
                <a:gd name="connsiteX3" fmla="*/ 13856 w 36004"/>
                <a:gd name="connsiteY3" fmla="*/ 16506 h 17676"/>
                <a:gd name="connsiteX4" fmla="*/ 21476 w 36004"/>
                <a:gd name="connsiteY4" fmla="*/ 16506 h 17676"/>
                <a:gd name="connsiteX5" fmla="*/ 34144 w 36004"/>
                <a:gd name="connsiteY5" fmla="*/ 9267 h 17676"/>
                <a:gd name="connsiteX6" fmla="*/ 35668 w 36004"/>
                <a:gd name="connsiteY6" fmla="*/ 6981 h 17676"/>
                <a:gd name="connsiteX7" fmla="*/ 35668 w 36004"/>
                <a:gd name="connsiteY7" fmla="*/ -163 h 17676"/>
                <a:gd name="connsiteX8" fmla="*/ 34144 w 36004"/>
                <a:gd name="connsiteY8" fmla="*/ 2124 h 17676"/>
                <a:gd name="connsiteX9" fmla="*/ 31763 w 36004"/>
                <a:gd name="connsiteY9" fmla="*/ 3457 h 17676"/>
                <a:gd name="connsiteX10" fmla="*/ 21476 w 36004"/>
                <a:gd name="connsiteY10" fmla="*/ 9362 h 17676"/>
                <a:gd name="connsiteX11" fmla="*/ 13856 w 36004"/>
                <a:gd name="connsiteY11" fmla="*/ 9362 h 17676"/>
                <a:gd name="connsiteX12" fmla="*/ 3569 w 36004"/>
                <a:gd name="connsiteY12" fmla="*/ 3457 h 17676"/>
                <a:gd name="connsiteX13" fmla="*/ 1188 w 36004"/>
                <a:gd name="connsiteY13" fmla="*/ 2124 h 17676"/>
                <a:gd name="connsiteX14" fmla="*/ -336 w 36004"/>
                <a:gd name="connsiteY14" fmla="*/ -163 h 17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6">
                  <a:moveTo>
                    <a:pt x="-336" y="-163"/>
                  </a:moveTo>
                  <a:lnTo>
                    <a:pt x="-336" y="7076"/>
                  </a:lnTo>
                  <a:cubicBezTo>
                    <a:pt x="-279" y="8029"/>
                    <a:pt x="312" y="8877"/>
                    <a:pt x="1188" y="9267"/>
                  </a:cubicBezTo>
                  <a:lnTo>
                    <a:pt x="13856" y="16506"/>
                  </a:lnTo>
                  <a:cubicBezTo>
                    <a:pt x="16218" y="17849"/>
                    <a:pt x="19114" y="17849"/>
                    <a:pt x="21476" y="16506"/>
                  </a:cubicBezTo>
                  <a:lnTo>
                    <a:pt x="34144" y="9267"/>
                  </a:lnTo>
                  <a:cubicBezTo>
                    <a:pt x="35049" y="8867"/>
                    <a:pt x="35640" y="7972"/>
                    <a:pt x="35668" y="6981"/>
                  </a:cubicBezTo>
                  <a:lnTo>
                    <a:pt x="35668" y="-163"/>
                  </a:lnTo>
                  <a:cubicBezTo>
                    <a:pt x="35602" y="819"/>
                    <a:pt x="35021" y="1685"/>
                    <a:pt x="34144" y="2124"/>
                  </a:cubicBezTo>
                  <a:lnTo>
                    <a:pt x="31763" y="3457"/>
                  </a:lnTo>
                  <a:lnTo>
                    <a:pt x="21476" y="9362"/>
                  </a:lnTo>
                  <a:cubicBezTo>
                    <a:pt x="19085" y="10601"/>
                    <a:pt x="16247" y="10601"/>
                    <a:pt x="13856" y="9362"/>
                  </a:cubicBezTo>
                  <a:lnTo>
                    <a:pt x="3569" y="3457"/>
                  </a:lnTo>
                  <a:lnTo>
                    <a:pt x="1188" y="2124"/>
                  </a:lnTo>
                  <a:cubicBezTo>
                    <a:pt x="312" y="1685"/>
                    <a:pt x="-269" y="819"/>
                    <a:pt x="-336" y="-163"/>
                  </a:cubicBezTo>
                  <a:close/>
                </a:path>
              </a:pathLst>
            </a:custGeom>
            <a:solidFill>
              <a:srgbClr val="BF4200"/>
            </a:solidFill>
            <a:ln w="9525" cap="flat">
              <a:noFill/>
              <a:prstDash val="solid"/>
              <a:miter/>
            </a:ln>
          </p:spPr>
          <p:txBody>
            <a:bodyPr rtlCol="0" anchor="ctr"/>
            <a:lstStyle/>
            <a:p>
              <a:endParaRPr lang="zh-CN" altLang="en-US"/>
            </a:p>
          </p:txBody>
        </p:sp>
        <p:sp>
          <p:nvSpPr>
            <p:cNvPr id="663" name="íṡļíḋe">
              <a:extLst>
                <a:ext uri="{FF2B5EF4-FFF2-40B4-BE49-F238E27FC236}">
                  <a16:creationId xmlns:a16="http://schemas.microsoft.com/office/drawing/2014/main" id="{2CCCE401-C154-44EA-8C40-BDB98AC0155A}"/>
                </a:ext>
              </a:extLst>
            </p:cNvPr>
            <p:cNvSpPr/>
            <p:nvPr/>
          </p:nvSpPr>
          <p:spPr>
            <a:xfrm>
              <a:off x="5805967" y="5058921"/>
              <a:ext cx="109740" cy="63445"/>
            </a:xfrm>
            <a:custGeom>
              <a:avLst/>
              <a:gdLst>
                <a:gd name="connsiteX0" fmla="*/ -336 w 36052"/>
                <a:gd name="connsiteY0" fmla="*/ 10227 h 20843"/>
                <a:gd name="connsiteX1" fmla="*/ 1188 w 36052"/>
                <a:gd name="connsiteY1" fmla="*/ 12513 h 20843"/>
                <a:gd name="connsiteX2" fmla="*/ 3569 w 36052"/>
                <a:gd name="connsiteY2" fmla="*/ 13846 h 20843"/>
                <a:gd name="connsiteX3" fmla="*/ 13856 w 36052"/>
                <a:gd name="connsiteY3" fmla="*/ 19752 h 20843"/>
                <a:gd name="connsiteX4" fmla="*/ 21476 w 36052"/>
                <a:gd name="connsiteY4" fmla="*/ 19752 h 20843"/>
                <a:gd name="connsiteX5" fmla="*/ 31763 w 36052"/>
                <a:gd name="connsiteY5" fmla="*/ 13846 h 20843"/>
                <a:gd name="connsiteX6" fmla="*/ 34144 w 36052"/>
                <a:gd name="connsiteY6" fmla="*/ 12513 h 20843"/>
                <a:gd name="connsiteX7" fmla="*/ 35573 w 36052"/>
                <a:gd name="connsiteY7" fmla="*/ 9465 h 20843"/>
                <a:gd name="connsiteX8" fmla="*/ 34144 w 36052"/>
                <a:gd name="connsiteY8" fmla="*/ 8036 h 20843"/>
                <a:gd name="connsiteX9" fmla="*/ 21476 w 36052"/>
                <a:gd name="connsiteY9" fmla="*/ 702 h 20843"/>
                <a:gd name="connsiteX10" fmla="*/ 13856 w 36052"/>
                <a:gd name="connsiteY10" fmla="*/ 702 h 20843"/>
                <a:gd name="connsiteX11" fmla="*/ 1188 w 36052"/>
                <a:gd name="connsiteY11" fmla="*/ 8036 h 20843"/>
                <a:gd name="connsiteX12" fmla="*/ -336 w 36052"/>
                <a:gd name="connsiteY12" fmla="*/ 10227 h 20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3">
                  <a:moveTo>
                    <a:pt x="-336" y="10227"/>
                  </a:moveTo>
                  <a:cubicBezTo>
                    <a:pt x="-270" y="11208"/>
                    <a:pt x="311" y="12075"/>
                    <a:pt x="1188" y="12513"/>
                  </a:cubicBezTo>
                  <a:lnTo>
                    <a:pt x="3569" y="13846"/>
                  </a:lnTo>
                  <a:lnTo>
                    <a:pt x="13856" y="19752"/>
                  </a:lnTo>
                  <a:cubicBezTo>
                    <a:pt x="16247" y="20990"/>
                    <a:pt x="19085" y="20990"/>
                    <a:pt x="21476" y="19752"/>
                  </a:cubicBezTo>
                  <a:lnTo>
                    <a:pt x="31763" y="13846"/>
                  </a:lnTo>
                  <a:lnTo>
                    <a:pt x="34144" y="12513"/>
                  </a:lnTo>
                  <a:cubicBezTo>
                    <a:pt x="35382" y="12065"/>
                    <a:pt x="36020" y="10694"/>
                    <a:pt x="35573" y="9465"/>
                  </a:cubicBezTo>
                  <a:cubicBezTo>
                    <a:pt x="35325" y="8798"/>
                    <a:pt x="34811" y="8274"/>
                    <a:pt x="34144"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664" name="îṥliḋè">
              <a:extLst>
                <a:ext uri="{FF2B5EF4-FFF2-40B4-BE49-F238E27FC236}">
                  <a16:creationId xmlns:a16="http://schemas.microsoft.com/office/drawing/2014/main" id="{22695C9E-1F0D-4BD0-A71D-FD591A1A026A}"/>
                </a:ext>
              </a:extLst>
            </p:cNvPr>
            <p:cNvSpPr/>
            <p:nvPr/>
          </p:nvSpPr>
          <p:spPr>
            <a:xfrm>
              <a:off x="5807781" y="5060102"/>
              <a:ext cx="105895" cy="61101"/>
            </a:xfrm>
            <a:custGeom>
              <a:avLst/>
              <a:gdLst>
                <a:gd name="connsiteX0" fmla="*/ 1164 w 34789"/>
                <a:gd name="connsiteY0" fmla="*/ 12029 h 20073"/>
                <a:gd name="connsiteX1" fmla="*/ 13356 w 34789"/>
                <a:gd name="connsiteY1" fmla="*/ 18982 h 20073"/>
                <a:gd name="connsiteX2" fmla="*/ 20785 w 34789"/>
                <a:gd name="connsiteY2" fmla="*/ 18982 h 20073"/>
                <a:gd name="connsiteX3" fmla="*/ 32882 w 34789"/>
                <a:gd name="connsiteY3" fmla="*/ 12029 h 20073"/>
                <a:gd name="connsiteX4" fmla="*/ 32882 w 34789"/>
                <a:gd name="connsiteY4" fmla="*/ 7743 h 20073"/>
                <a:gd name="connsiteX5" fmla="*/ 20785 w 34789"/>
                <a:gd name="connsiteY5" fmla="*/ 695 h 20073"/>
                <a:gd name="connsiteX6" fmla="*/ 13356 w 34789"/>
                <a:gd name="connsiteY6" fmla="*/ 695 h 20073"/>
                <a:gd name="connsiteX7" fmla="*/ 1164 w 34789"/>
                <a:gd name="connsiteY7" fmla="*/ 7743 h 20073"/>
                <a:gd name="connsiteX8" fmla="*/ 1164 w 34789"/>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89" h="20073">
                  <a:moveTo>
                    <a:pt x="1164" y="12029"/>
                  </a:moveTo>
                  <a:lnTo>
                    <a:pt x="13356" y="18982"/>
                  </a:lnTo>
                  <a:cubicBezTo>
                    <a:pt x="15680" y="20221"/>
                    <a:pt x="18461" y="20221"/>
                    <a:pt x="20785" y="18982"/>
                  </a:cubicBezTo>
                  <a:lnTo>
                    <a:pt x="32882" y="12029"/>
                  </a:lnTo>
                  <a:cubicBezTo>
                    <a:pt x="34977" y="10791"/>
                    <a:pt x="34977" y="8886"/>
                    <a:pt x="32882" y="7743"/>
                  </a:cubicBezTo>
                  <a:lnTo>
                    <a:pt x="20785" y="695"/>
                  </a:lnTo>
                  <a:cubicBezTo>
                    <a:pt x="18442" y="-448"/>
                    <a:pt x="15699" y="-448"/>
                    <a:pt x="13356" y="695"/>
                  </a:cubicBezTo>
                  <a:lnTo>
                    <a:pt x="1164" y="7743"/>
                  </a:lnTo>
                  <a:cubicBezTo>
                    <a:pt x="-836" y="8981"/>
                    <a:pt x="-836" y="10791"/>
                    <a:pt x="1164" y="12029"/>
                  </a:cubicBezTo>
                  <a:close/>
                </a:path>
              </a:pathLst>
            </a:custGeom>
            <a:solidFill>
              <a:srgbClr val="D1D9E8"/>
            </a:solidFill>
            <a:ln w="9525" cap="flat">
              <a:noFill/>
              <a:prstDash val="solid"/>
              <a:miter/>
            </a:ln>
          </p:spPr>
          <p:txBody>
            <a:bodyPr rtlCol="0" anchor="ctr"/>
            <a:lstStyle/>
            <a:p>
              <a:endParaRPr lang="zh-CN" altLang="en-US"/>
            </a:p>
          </p:txBody>
        </p:sp>
        <p:sp>
          <p:nvSpPr>
            <p:cNvPr id="665" name="íṡḷïde">
              <a:extLst>
                <a:ext uri="{FF2B5EF4-FFF2-40B4-BE49-F238E27FC236}">
                  <a16:creationId xmlns:a16="http://schemas.microsoft.com/office/drawing/2014/main" id="{DC597F75-2CD6-4096-BF3E-BA3CB2001104}"/>
                </a:ext>
              </a:extLst>
            </p:cNvPr>
            <p:cNvSpPr/>
            <p:nvPr/>
          </p:nvSpPr>
          <p:spPr>
            <a:xfrm>
              <a:off x="5805967" y="5090544"/>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3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3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2" y="7953"/>
                    <a:pt x="35668" y="6981"/>
                  </a:cubicBezTo>
                  <a:lnTo>
                    <a:pt x="35668" y="-163"/>
                  </a:lnTo>
                  <a:cubicBezTo>
                    <a:pt x="35602" y="818"/>
                    <a:pt x="35021" y="1685"/>
                    <a:pt x="34144" y="2123"/>
                  </a:cubicBezTo>
                  <a:lnTo>
                    <a:pt x="31763" y="3457"/>
                  </a:lnTo>
                  <a:lnTo>
                    <a:pt x="21476" y="9362"/>
                  </a:lnTo>
                  <a:cubicBezTo>
                    <a:pt x="19085" y="10601"/>
                    <a:pt x="16247" y="10601"/>
                    <a:pt x="13856" y="9362"/>
                  </a:cubicBezTo>
                  <a:lnTo>
                    <a:pt x="3569" y="3457"/>
                  </a:lnTo>
                  <a:lnTo>
                    <a:pt x="1188"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66" name="îšliďe">
              <a:extLst>
                <a:ext uri="{FF2B5EF4-FFF2-40B4-BE49-F238E27FC236}">
                  <a16:creationId xmlns:a16="http://schemas.microsoft.com/office/drawing/2014/main" id="{D018562C-4818-4980-9C0B-3CCA69D26A11}"/>
                </a:ext>
              </a:extLst>
            </p:cNvPr>
            <p:cNvSpPr/>
            <p:nvPr/>
          </p:nvSpPr>
          <p:spPr>
            <a:xfrm>
              <a:off x="5883091" y="5103721"/>
              <a:ext cx="109740" cy="63292"/>
            </a:xfrm>
            <a:custGeom>
              <a:avLst/>
              <a:gdLst>
                <a:gd name="connsiteX0" fmla="*/ -336 w 36052"/>
                <a:gd name="connsiteY0" fmla="*/ 10177 h 20793"/>
                <a:gd name="connsiteX1" fmla="*/ 1283 w 36052"/>
                <a:gd name="connsiteY1" fmla="*/ 12463 h 20793"/>
                <a:gd name="connsiteX2" fmla="*/ 3569 w 36052"/>
                <a:gd name="connsiteY2" fmla="*/ 13796 h 20793"/>
                <a:gd name="connsiteX3" fmla="*/ 13856 w 36052"/>
                <a:gd name="connsiteY3" fmla="*/ 19702 h 20793"/>
                <a:gd name="connsiteX4" fmla="*/ 21571 w 36052"/>
                <a:gd name="connsiteY4" fmla="*/ 19702 h 20793"/>
                <a:gd name="connsiteX5" fmla="*/ 31858 w 36052"/>
                <a:gd name="connsiteY5" fmla="*/ 13796 h 20793"/>
                <a:gd name="connsiteX6" fmla="*/ 34144 w 36052"/>
                <a:gd name="connsiteY6" fmla="*/ 12463 h 20793"/>
                <a:gd name="connsiteX7" fmla="*/ 35573 w 36052"/>
                <a:gd name="connsiteY7" fmla="*/ 9415 h 20793"/>
                <a:gd name="connsiteX8" fmla="*/ 34144 w 36052"/>
                <a:gd name="connsiteY8" fmla="*/ 7986 h 20793"/>
                <a:gd name="connsiteX9" fmla="*/ 21571 w 36052"/>
                <a:gd name="connsiteY9" fmla="*/ 652 h 20793"/>
                <a:gd name="connsiteX10" fmla="*/ 13856 w 36052"/>
                <a:gd name="connsiteY10" fmla="*/ 652 h 20793"/>
                <a:gd name="connsiteX11" fmla="*/ 1283 w 36052"/>
                <a:gd name="connsiteY11" fmla="*/ 7986 h 20793"/>
                <a:gd name="connsiteX12" fmla="*/ -336 w 36052"/>
                <a:gd name="connsiteY12" fmla="*/ 10177 h 20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793">
                  <a:moveTo>
                    <a:pt x="-336" y="10177"/>
                  </a:moveTo>
                  <a:cubicBezTo>
                    <a:pt x="-270" y="11186"/>
                    <a:pt x="359" y="12072"/>
                    <a:pt x="1283" y="12463"/>
                  </a:cubicBezTo>
                  <a:lnTo>
                    <a:pt x="3569" y="13796"/>
                  </a:lnTo>
                  <a:lnTo>
                    <a:pt x="13856" y="19702"/>
                  </a:lnTo>
                  <a:cubicBezTo>
                    <a:pt x="16275" y="20940"/>
                    <a:pt x="19152" y="20940"/>
                    <a:pt x="21571" y="19702"/>
                  </a:cubicBezTo>
                  <a:lnTo>
                    <a:pt x="31858" y="13796"/>
                  </a:lnTo>
                  <a:lnTo>
                    <a:pt x="34144" y="12463"/>
                  </a:lnTo>
                  <a:cubicBezTo>
                    <a:pt x="35382" y="12015"/>
                    <a:pt x="36020" y="10643"/>
                    <a:pt x="35573" y="9415"/>
                  </a:cubicBezTo>
                  <a:cubicBezTo>
                    <a:pt x="35325" y="8748"/>
                    <a:pt x="34811" y="8224"/>
                    <a:pt x="34144" y="7986"/>
                  </a:cubicBezTo>
                  <a:lnTo>
                    <a:pt x="21571" y="652"/>
                  </a:lnTo>
                  <a:cubicBezTo>
                    <a:pt x="19114" y="-434"/>
                    <a:pt x="16313" y="-434"/>
                    <a:pt x="13856" y="652"/>
                  </a:cubicBezTo>
                  <a:lnTo>
                    <a:pt x="1283" y="7986"/>
                  </a:lnTo>
                  <a:cubicBezTo>
                    <a:pt x="378" y="8367"/>
                    <a:pt x="-241" y="9205"/>
                    <a:pt x="-336" y="10177"/>
                  </a:cubicBezTo>
                  <a:close/>
                </a:path>
              </a:pathLst>
            </a:custGeom>
            <a:solidFill>
              <a:srgbClr val="FFFFFF"/>
            </a:solidFill>
            <a:ln w="9525" cap="flat">
              <a:noFill/>
              <a:prstDash val="solid"/>
              <a:miter/>
            </a:ln>
          </p:spPr>
          <p:txBody>
            <a:bodyPr rtlCol="0" anchor="ctr"/>
            <a:lstStyle/>
            <a:p>
              <a:endParaRPr lang="zh-CN" altLang="en-US"/>
            </a:p>
          </p:txBody>
        </p:sp>
        <p:sp>
          <p:nvSpPr>
            <p:cNvPr id="667" name="î$ľïďe">
              <a:extLst>
                <a:ext uri="{FF2B5EF4-FFF2-40B4-BE49-F238E27FC236}">
                  <a16:creationId xmlns:a16="http://schemas.microsoft.com/office/drawing/2014/main" id="{6A2B2681-E49D-4696-AFF7-72BB55DD3CD5}"/>
                </a:ext>
              </a:extLst>
            </p:cNvPr>
            <p:cNvSpPr/>
            <p:nvPr/>
          </p:nvSpPr>
          <p:spPr>
            <a:xfrm>
              <a:off x="5884975" y="5104750"/>
              <a:ext cx="105898" cy="61101"/>
            </a:xfrm>
            <a:custGeom>
              <a:avLst/>
              <a:gdLst>
                <a:gd name="connsiteX0" fmla="*/ 1235 w 34790"/>
                <a:gd name="connsiteY0" fmla="*/ 12029 h 20073"/>
                <a:gd name="connsiteX1" fmla="*/ 13332 w 34790"/>
                <a:gd name="connsiteY1" fmla="*/ 18983 h 20073"/>
                <a:gd name="connsiteX2" fmla="*/ 20762 w 34790"/>
                <a:gd name="connsiteY2" fmla="*/ 18983 h 20073"/>
                <a:gd name="connsiteX3" fmla="*/ 32954 w 34790"/>
                <a:gd name="connsiteY3" fmla="*/ 12029 h 20073"/>
                <a:gd name="connsiteX4" fmla="*/ 32954 w 34790"/>
                <a:gd name="connsiteY4" fmla="*/ 7743 h 20073"/>
                <a:gd name="connsiteX5" fmla="*/ 20762 w 34790"/>
                <a:gd name="connsiteY5" fmla="*/ 695 h 20073"/>
                <a:gd name="connsiteX6" fmla="*/ 13332 w 34790"/>
                <a:gd name="connsiteY6" fmla="*/ 695 h 20073"/>
                <a:gd name="connsiteX7" fmla="*/ 1235 w 34790"/>
                <a:gd name="connsiteY7" fmla="*/ 7743 h 20073"/>
                <a:gd name="connsiteX8" fmla="*/ 1235 w 34790"/>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3">
                  <a:moveTo>
                    <a:pt x="1235" y="12029"/>
                  </a:moveTo>
                  <a:lnTo>
                    <a:pt x="13332" y="18983"/>
                  </a:lnTo>
                  <a:cubicBezTo>
                    <a:pt x="15656" y="20221"/>
                    <a:pt x="18437" y="20221"/>
                    <a:pt x="20762" y="18983"/>
                  </a:cubicBezTo>
                  <a:lnTo>
                    <a:pt x="32954" y="12029"/>
                  </a:lnTo>
                  <a:cubicBezTo>
                    <a:pt x="34954" y="10791"/>
                    <a:pt x="34954" y="8886"/>
                    <a:pt x="32954" y="7743"/>
                  </a:cubicBezTo>
                  <a:lnTo>
                    <a:pt x="20762" y="695"/>
                  </a:lnTo>
                  <a:cubicBezTo>
                    <a:pt x="18419" y="-448"/>
                    <a:pt x="15675" y="-448"/>
                    <a:pt x="13332" y="695"/>
                  </a:cubicBezTo>
                  <a:lnTo>
                    <a:pt x="1235" y="7743"/>
                  </a:lnTo>
                  <a:cubicBezTo>
                    <a:pt x="-860" y="8886"/>
                    <a:pt x="-860" y="10791"/>
                    <a:pt x="1235" y="12029"/>
                  </a:cubicBezTo>
                  <a:close/>
                </a:path>
              </a:pathLst>
            </a:custGeom>
            <a:solidFill>
              <a:srgbClr val="D1D9E8"/>
            </a:solidFill>
            <a:ln w="9525" cap="flat">
              <a:noFill/>
              <a:prstDash val="solid"/>
              <a:miter/>
            </a:ln>
          </p:spPr>
          <p:txBody>
            <a:bodyPr rtlCol="0" anchor="ctr"/>
            <a:lstStyle/>
            <a:p>
              <a:endParaRPr lang="zh-CN" altLang="en-US"/>
            </a:p>
          </p:txBody>
        </p:sp>
        <p:sp>
          <p:nvSpPr>
            <p:cNvPr id="668" name="îşlîďé">
              <a:extLst>
                <a:ext uri="{FF2B5EF4-FFF2-40B4-BE49-F238E27FC236}">
                  <a16:creationId xmlns:a16="http://schemas.microsoft.com/office/drawing/2014/main" id="{C6D203AF-485E-478E-9DE8-61F5ADA07333}"/>
                </a:ext>
              </a:extLst>
            </p:cNvPr>
            <p:cNvSpPr/>
            <p:nvPr/>
          </p:nvSpPr>
          <p:spPr>
            <a:xfrm>
              <a:off x="5883091" y="5135195"/>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4 w 36099"/>
                <a:gd name="connsiteY6" fmla="*/ 6981 h 17597"/>
                <a:gd name="connsiteX7" fmla="*/ 35764 w 36099"/>
                <a:gd name="connsiteY7" fmla="*/ -163 h 17597"/>
                <a:gd name="connsiteX8" fmla="*/ 34144 w 36099"/>
                <a:gd name="connsiteY8" fmla="*/ 2123 h 17597"/>
                <a:gd name="connsiteX9" fmla="*/ 31858 w 36099"/>
                <a:gd name="connsiteY9" fmla="*/ 3457 h 17597"/>
                <a:gd name="connsiteX10" fmla="*/ 21571 w 36099"/>
                <a:gd name="connsiteY10" fmla="*/ 9362 h 17597"/>
                <a:gd name="connsiteX11" fmla="*/ 13856 w 36099"/>
                <a:gd name="connsiteY11" fmla="*/ 9362 h 17597"/>
                <a:gd name="connsiteX12" fmla="*/ 3569 w 36099"/>
                <a:gd name="connsiteY12" fmla="*/ 3457 h 17597"/>
                <a:gd name="connsiteX13" fmla="*/ 1283 w 36099"/>
                <a:gd name="connsiteY13" fmla="*/ 2123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41" y="8048"/>
                    <a:pt x="387" y="8886"/>
                    <a:pt x="1283" y="9267"/>
                  </a:cubicBezTo>
                  <a:lnTo>
                    <a:pt x="13856" y="16506"/>
                  </a:lnTo>
                  <a:cubicBezTo>
                    <a:pt x="16275" y="17744"/>
                    <a:pt x="19152" y="17744"/>
                    <a:pt x="21571" y="16506"/>
                  </a:cubicBezTo>
                  <a:lnTo>
                    <a:pt x="34144" y="9267"/>
                  </a:lnTo>
                  <a:cubicBezTo>
                    <a:pt x="35030" y="8829"/>
                    <a:pt x="35640" y="7962"/>
                    <a:pt x="35764" y="6981"/>
                  </a:cubicBezTo>
                  <a:lnTo>
                    <a:pt x="35764" y="-163"/>
                  </a:lnTo>
                  <a:cubicBezTo>
                    <a:pt x="35659" y="828"/>
                    <a:pt x="35049" y="1695"/>
                    <a:pt x="34144" y="2123"/>
                  </a:cubicBezTo>
                  <a:lnTo>
                    <a:pt x="31858" y="3457"/>
                  </a:lnTo>
                  <a:lnTo>
                    <a:pt x="21571" y="9362"/>
                  </a:lnTo>
                  <a:cubicBezTo>
                    <a:pt x="19152" y="10601"/>
                    <a:pt x="16275" y="10601"/>
                    <a:pt x="13856" y="9362"/>
                  </a:cubicBezTo>
                  <a:lnTo>
                    <a:pt x="3569" y="3457"/>
                  </a:lnTo>
                  <a:lnTo>
                    <a:pt x="1283" y="2123"/>
                  </a:lnTo>
                  <a:cubicBezTo>
                    <a:pt x="349" y="1733"/>
                    <a:pt x="-270" y="847"/>
                    <a:pt x="-336" y="-163"/>
                  </a:cubicBezTo>
                  <a:close/>
                </a:path>
              </a:pathLst>
            </a:custGeom>
            <a:solidFill>
              <a:srgbClr val="BF4200"/>
            </a:solidFill>
            <a:ln w="9525" cap="flat">
              <a:noFill/>
              <a:prstDash val="solid"/>
              <a:miter/>
            </a:ln>
          </p:spPr>
          <p:txBody>
            <a:bodyPr rtlCol="0" anchor="ctr"/>
            <a:lstStyle/>
            <a:p>
              <a:endParaRPr lang="zh-CN" altLang="en-US"/>
            </a:p>
          </p:txBody>
        </p:sp>
        <p:sp>
          <p:nvSpPr>
            <p:cNvPr id="669" name="íşľiďè">
              <a:extLst>
                <a:ext uri="{FF2B5EF4-FFF2-40B4-BE49-F238E27FC236}">
                  <a16:creationId xmlns:a16="http://schemas.microsoft.com/office/drawing/2014/main" id="{AF2055F2-0EB7-4959-A7C9-F5F21E2F1214}"/>
                </a:ext>
              </a:extLst>
            </p:cNvPr>
            <p:cNvSpPr/>
            <p:nvPr/>
          </p:nvSpPr>
          <p:spPr>
            <a:xfrm>
              <a:off x="5960501" y="5148023"/>
              <a:ext cx="109594" cy="63639"/>
            </a:xfrm>
            <a:custGeom>
              <a:avLst/>
              <a:gdLst>
                <a:gd name="connsiteX0" fmla="*/ -336 w 36004"/>
                <a:gd name="connsiteY0" fmla="*/ 10291 h 20907"/>
                <a:gd name="connsiteX1" fmla="*/ 1188 w 36004"/>
                <a:gd name="connsiteY1" fmla="*/ 12577 h 20907"/>
                <a:gd name="connsiteX2" fmla="*/ 3569 w 36004"/>
                <a:gd name="connsiteY2" fmla="*/ 13910 h 20907"/>
                <a:gd name="connsiteX3" fmla="*/ 13856 w 36004"/>
                <a:gd name="connsiteY3" fmla="*/ 19816 h 20907"/>
                <a:gd name="connsiteX4" fmla="*/ 21476 w 36004"/>
                <a:gd name="connsiteY4" fmla="*/ 19816 h 20907"/>
                <a:gd name="connsiteX5" fmla="*/ 31763 w 36004"/>
                <a:gd name="connsiteY5" fmla="*/ 13910 h 20907"/>
                <a:gd name="connsiteX6" fmla="*/ 34144 w 36004"/>
                <a:gd name="connsiteY6" fmla="*/ 12577 h 20907"/>
                <a:gd name="connsiteX7" fmla="*/ 35668 w 36004"/>
                <a:gd name="connsiteY7" fmla="*/ 10291 h 20907"/>
                <a:gd name="connsiteX8" fmla="*/ 34144 w 36004"/>
                <a:gd name="connsiteY8" fmla="*/ 8100 h 20907"/>
                <a:gd name="connsiteX9" fmla="*/ 21476 w 36004"/>
                <a:gd name="connsiteY9" fmla="*/ 766 h 20907"/>
                <a:gd name="connsiteX10" fmla="*/ 13856 w 36004"/>
                <a:gd name="connsiteY10" fmla="*/ 766 h 20907"/>
                <a:gd name="connsiteX11" fmla="*/ 1188 w 36004"/>
                <a:gd name="connsiteY11" fmla="*/ 8100 h 20907"/>
                <a:gd name="connsiteX12" fmla="*/ -336 w 36004"/>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907">
                  <a:moveTo>
                    <a:pt x="-336" y="10291"/>
                  </a:moveTo>
                  <a:cubicBezTo>
                    <a:pt x="-269" y="11272"/>
                    <a:pt x="312" y="12139"/>
                    <a:pt x="1188" y="12577"/>
                  </a:cubicBezTo>
                  <a:lnTo>
                    <a:pt x="3569" y="13910"/>
                  </a:lnTo>
                  <a:lnTo>
                    <a:pt x="13856" y="19816"/>
                  </a:lnTo>
                  <a:cubicBezTo>
                    <a:pt x="16247" y="21054"/>
                    <a:pt x="19085" y="21054"/>
                    <a:pt x="21476" y="19816"/>
                  </a:cubicBezTo>
                  <a:lnTo>
                    <a:pt x="31763" y="13910"/>
                  </a:lnTo>
                  <a:lnTo>
                    <a:pt x="34144" y="12577"/>
                  </a:lnTo>
                  <a:cubicBezTo>
                    <a:pt x="35021" y="12139"/>
                    <a:pt x="35602" y="11272"/>
                    <a:pt x="35668" y="10291"/>
                  </a:cubicBezTo>
                  <a:cubicBezTo>
                    <a:pt x="35611" y="9339"/>
                    <a:pt x="35021" y="8491"/>
                    <a:pt x="34144" y="8100"/>
                  </a:cubicBezTo>
                  <a:lnTo>
                    <a:pt x="21476" y="766"/>
                  </a:lnTo>
                  <a:cubicBezTo>
                    <a:pt x="19085" y="-472"/>
                    <a:pt x="16247" y="-472"/>
                    <a:pt x="13856" y="766"/>
                  </a:cubicBezTo>
                  <a:lnTo>
                    <a:pt x="1188" y="8100"/>
                  </a:lnTo>
                  <a:cubicBezTo>
                    <a:pt x="312" y="8491"/>
                    <a:pt x="-279"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670" name="îṩḻïḍè">
              <a:extLst>
                <a:ext uri="{FF2B5EF4-FFF2-40B4-BE49-F238E27FC236}">
                  <a16:creationId xmlns:a16="http://schemas.microsoft.com/office/drawing/2014/main" id="{51C4106F-D0D8-4C42-8B3A-7D8503DDAE9B}"/>
                </a:ext>
              </a:extLst>
            </p:cNvPr>
            <p:cNvSpPr/>
            <p:nvPr/>
          </p:nvSpPr>
          <p:spPr>
            <a:xfrm>
              <a:off x="5962388" y="5149401"/>
              <a:ext cx="105825" cy="61104"/>
            </a:xfrm>
            <a:custGeom>
              <a:avLst/>
              <a:gdLst>
                <a:gd name="connsiteX0" fmla="*/ 1235 w 34766"/>
                <a:gd name="connsiteY0" fmla="*/ 12029 h 20074"/>
                <a:gd name="connsiteX1" fmla="*/ 13332 w 34766"/>
                <a:gd name="connsiteY1" fmla="*/ 18983 h 20074"/>
                <a:gd name="connsiteX2" fmla="*/ 20761 w 34766"/>
                <a:gd name="connsiteY2" fmla="*/ 18983 h 20074"/>
                <a:gd name="connsiteX3" fmla="*/ 32858 w 34766"/>
                <a:gd name="connsiteY3" fmla="*/ 12029 h 20074"/>
                <a:gd name="connsiteX4" fmla="*/ 32858 w 34766"/>
                <a:gd name="connsiteY4" fmla="*/ 7743 h 20074"/>
                <a:gd name="connsiteX5" fmla="*/ 20761 w 34766"/>
                <a:gd name="connsiteY5" fmla="*/ 695 h 20074"/>
                <a:gd name="connsiteX6" fmla="*/ 13332 w 34766"/>
                <a:gd name="connsiteY6" fmla="*/ 695 h 20074"/>
                <a:gd name="connsiteX7" fmla="*/ 1235 w 34766"/>
                <a:gd name="connsiteY7" fmla="*/ 8219 h 20074"/>
                <a:gd name="connsiteX8" fmla="*/ 1235 w 34766"/>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6" h="20074">
                  <a:moveTo>
                    <a:pt x="1235" y="12029"/>
                  </a:moveTo>
                  <a:lnTo>
                    <a:pt x="13332" y="18983"/>
                  </a:lnTo>
                  <a:cubicBezTo>
                    <a:pt x="15656" y="20221"/>
                    <a:pt x="18437" y="20221"/>
                    <a:pt x="20761" y="18983"/>
                  </a:cubicBezTo>
                  <a:lnTo>
                    <a:pt x="32858" y="12029"/>
                  </a:lnTo>
                  <a:cubicBezTo>
                    <a:pt x="34954" y="10791"/>
                    <a:pt x="34954" y="8886"/>
                    <a:pt x="32858" y="7743"/>
                  </a:cubicBezTo>
                  <a:lnTo>
                    <a:pt x="20761" y="695"/>
                  </a:lnTo>
                  <a:cubicBezTo>
                    <a:pt x="18418" y="-448"/>
                    <a:pt x="15675" y="-448"/>
                    <a:pt x="13332" y="695"/>
                  </a:cubicBezTo>
                  <a:lnTo>
                    <a:pt x="1235" y="8219"/>
                  </a:lnTo>
                  <a:cubicBezTo>
                    <a:pt x="-860" y="8886"/>
                    <a:pt x="-860" y="10791"/>
                    <a:pt x="1235" y="12029"/>
                  </a:cubicBezTo>
                  <a:close/>
                </a:path>
              </a:pathLst>
            </a:custGeom>
            <a:solidFill>
              <a:srgbClr val="D1D9E8"/>
            </a:solidFill>
            <a:ln w="9525" cap="flat">
              <a:noFill/>
              <a:prstDash val="solid"/>
              <a:miter/>
            </a:ln>
          </p:spPr>
          <p:txBody>
            <a:bodyPr rtlCol="0" anchor="ctr"/>
            <a:lstStyle/>
            <a:p>
              <a:endParaRPr lang="zh-CN" altLang="en-US"/>
            </a:p>
          </p:txBody>
        </p:sp>
        <p:sp>
          <p:nvSpPr>
            <p:cNvPr id="671" name="iṧlîdê">
              <a:extLst>
                <a:ext uri="{FF2B5EF4-FFF2-40B4-BE49-F238E27FC236}">
                  <a16:creationId xmlns:a16="http://schemas.microsoft.com/office/drawing/2014/main" id="{C7E544C9-1BAB-47B8-8CE7-7DB9F4C35D3D}"/>
                </a:ext>
              </a:extLst>
            </p:cNvPr>
            <p:cNvSpPr/>
            <p:nvPr/>
          </p:nvSpPr>
          <p:spPr>
            <a:xfrm>
              <a:off x="5960501" y="5179844"/>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3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3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2" y="7953"/>
                    <a:pt x="35668" y="6981"/>
                  </a:cubicBezTo>
                  <a:lnTo>
                    <a:pt x="35668" y="-163"/>
                  </a:lnTo>
                  <a:cubicBezTo>
                    <a:pt x="35602" y="818"/>
                    <a:pt x="35021" y="1685"/>
                    <a:pt x="34144" y="2123"/>
                  </a:cubicBezTo>
                  <a:lnTo>
                    <a:pt x="31763" y="3457"/>
                  </a:lnTo>
                  <a:lnTo>
                    <a:pt x="21476" y="9362"/>
                  </a:lnTo>
                  <a:cubicBezTo>
                    <a:pt x="19085" y="10600"/>
                    <a:pt x="16247" y="10600"/>
                    <a:pt x="13856" y="9362"/>
                  </a:cubicBezTo>
                  <a:lnTo>
                    <a:pt x="3569" y="3457"/>
                  </a:lnTo>
                  <a:lnTo>
                    <a:pt x="1188" y="2123"/>
                  </a:lnTo>
                  <a:cubicBezTo>
                    <a:pt x="312"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72" name="ïṡľíḓe">
              <a:extLst>
                <a:ext uri="{FF2B5EF4-FFF2-40B4-BE49-F238E27FC236}">
                  <a16:creationId xmlns:a16="http://schemas.microsoft.com/office/drawing/2014/main" id="{B7750526-DD03-4A46-AE84-88136F1A0B35}"/>
                </a:ext>
              </a:extLst>
            </p:cNvPr>
            <p:cNvSpPr/>
            <p:nvPr/>
          </p:nvSpPr>
          <p:spPr>
            <a:xfrm>
              <a:off x="6037625" y="5192674"/>
              <a:ext cx="109883" cy="63639"/>
            </a:xfrm>
            <a:custGeom>
              <a:avLst/>
              <a:gdLst>
                <a:gd name="connsiteX0" fmla="*/ -336 w 36099"/>
                <a:gd name="connsiteY0" fmla="*/ 10291 h 20907"/>
                <a:gd name="connsiteX1" fmla="*/ 1283 w 36099"/>
                <a:gd name="connsiteY1" fmla="*/ 12577 h 20907"/>
                <a:gd name="connsiteX2" fmla="*/ 3569 w 36099"/>
                <a:gd name="connsiteY2" fmla="*/ 13911 h 20907"/>
                <a:gd name="connsiteX3" fmla="*/ 13856 w 36099"/>
                <a:gd name="connsiteY3" fmla="*/ 19816 h 20907"/>
                <a:gd name="connsiteX4" fmla="*/ 21571 w 36099"/>
                <a:gd name="connsiteY4" fmla="*/ 19816 h 20907"/>
                <a:gd name="connsiteX5" fmla="*/ 31858 w 36099"/>
                <a:gd name="connsiteY5" fmla="*/ 13911 h 20907"/>
                <a:gd name="connsiteX6" fmla="*/ 34144 w 36099"/>
                <a:gd name="connsiteY6" fmla="*/ 12577 h 20907"/>
                <a:gd name="connsiteX7" fmla="*/ 35764 w 36099"/>
                <a:gd name="connsiteY7" fmla="*/ 10291 h 20907"/>
                <a:gd name="connsiteX8" fmla="*/ 34144 w 36099"/>
                <a:gd name="connsiteY8" fmla="*/ 8101 h 20907"/>
                <a:gd name="connsiteX9" fmla="*/ 21571 w 36099"/>
                <a:gd name="connsiteY9" fmla="*/ 766 h 20907"/>
                <a:gd name="connsiteX10" fmla="*/ 13856 w 36099"/>
                <a:gd name="connsiteY10" fmla="*/ 766 h 20907"/>
                <a:gd name="connsiteX11" fmla="*/ 1283 w 36099"/>
                <a:gd name="connsiteY11" fmla="*/ 8101 h 20907"/>
                <a:gd name="connsiteX12" fmla="*/ -336 w 36099"/>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99" h="20907">
                  <a:moveTo>
                    <a:pt x="-336" y="10291"/>
                  </a:moveTo>
                  <a:cubicBezTo>
                    <a:pt x="-231" y="11282"/>
                    <a:pt x="378" y="12149"/>
                    <a:pt x="1283" y="12577"/>
                  </a:cubicBezTo>
                  <a:lnTo>
                    <a:pt x="3569" y="13911"/>
                  </a:lnTo>
                  <a:lnTo>
                    <a:pt x="13856" y="19816"/>
                  </a:lnTo>
                  <a:cubicBezTo>
                    <a:pt x="16275" y="21054"/>
                    <a:pt x="19152" y="21054"/>
                    <a:pt x="21571" y="19816"/>
                  </a:cubicBezTo>
                  <a:lnTo>
                    <a:pt x="31858" y="13911"/>
                  </a:lnTo>
                  <a:lnTo>
                    <a:pt x="34144" y="12577"/>
                  </a:lnTo>
                  <a:cubicBezTo>
                    <a:pt x="35049" y="12149"/>
                    <a:pt x="35659" y="11282"/>
                    <a:pt x="35764" y="10291"/>
                  </a:cubicBezTo>
                  <a:cubicBezTo>
                    <a:pt x="35649" y="9329"/>
                    <a:pt x="35030" y="8491"/>
                    <a:pt x="34144" y="8101"/>
                  </a:cubicBezTo>
                  <a:lnTo>
                    <a:pt x="21571" y="766"/>
                  </a:lnTo>
                  <a:cubicBezTo>
                    <a:pt x="19152" y="-472"/>
                    <a:pt x="16275" y="-472"/>
                    <a:pt x="13856" y="766"/>
                  </a:cubicBezTo>
                  <a:lnTo>
                    <a:pt x="1283" y="8101"/>
                  </a:lnTo>
                  <a:cubicBezTo>
                    <a:pt x="397" y="8491"/>
                    <a:pt x="-222"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673" name="ïṧļiḑè">
              <a:extLst>
                <a:ext uri="{FF2B5EF4-FFF2-40B4-BE49-F238E27FC236}">
                  <a16:creationId xmlns:a16="http://schemas.microsoft.com/office/drawing/2014/main" id="{2601025A-5EBB-497B-9C89-F1E7AED59B3B}"/>
                </a:ext>
              </a:extLst>
            </p:cNvPr>
            <p:cNvSpPr/>
            <p:nvPr/>
          </p:nvSpPr>
          <p:spPr>
            <a:xfrm>
              <a:off x="6039729" y="5193834"/>
              <a:ext cx="105679" cy="61104"/>
            </a:xfrm>
            <a:custGeom>
              <a:avLst/>
              <a:gdLst>
                <a:gd name="connsiteX0" fmla="*/ 1164 w 34718"/>
                <a:gd name="connsiteY0" fmla="*/ 12006 h 20074"/>
                <a:gd name="connsiteX1" fmla="*/ 13260 w 34718"/>
                <a:gd name="connsiteY1" fmla="*/ 19054 h 20074"/>
                <a:gd name="connsiteX2" fmla="*/ 20690 w 34718"/>
                <a:gd name="connsiteY2" fmla="*/ 19054 h 20074"/>
                <a:gd name="connsiteX3" fmla="*/ 32882 w 34718"/>
                <a:gd name="connsiteY3" fmla="*/ 12006 h 20074"/>
                <a:gd name="connsiteX4" fmla="*/ 32882 w 34718"/>
                <a:gd name="connsiteY4" fmla="*/ 7719 h 20074"/>
                <a:gd name="connsiteX5" fmla="*/ 20690 w 34718"/>
                <a:gd name="connsiteY5" fmla="*/ 766 h 20074"/>
                <a:gd name="connsiteX6" fmla="*/ 13260 w 34718"/>
                <a:gd name="connsiteY6" fmla="*/ 766 h 20074"/>
                <a:gd name="connsiteX7" fmla="*/ 1164 w 34718"/>
                <a:gd name="connsiteY7" fmla="*/ 7719 h 20074"/>
                <a:gd name="connsiteX8" fmla="*/ 1164 w 34718"/>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18" h="20074">
                  <a:moveTo>
                    <a:pt x="1164" y="12006"/>
                  </a:moveTo>
                  <a:lnTo>
                    <a:pt x="13260" y="19054"/>
                  </a:lnTo>
                  <a:cubicBezTo>
                    <a:pt x="15604" y="20197"/>
                    <a:pt x="18347" y="20197"/>
                    <a:pt x="20690" y="19054"/>
                  </a:cubicBezTo>
                  <a:lnTo>
                    <a:pt x="32882" y="12006"/>
                  </a:lnTo>
                  <a:cubicBezTo>
                    <a:pt x="34882" y="10863"/>
                    <a:pt x="34882" y="8957"/>
                    <a:pt x="32882" y="7719"/>
                  </a:cubicBezTo>
                  <a:lnTo>
                    <a:pt x="20690" y="766"/>
                  </a:lnTo>
                  <a:cubicBezTo>
                    <a:pt x="18366" y="-472"/>
                    <a:pt x="15585" y="-472"/>
                    <a:pt x="13260" y="766"/>
                  </a:cubicBezTo>
                  <a:lnTo>
                    <a:pt x="1164" y="7719"/>
                  </a:lnTo>
                  <a:cubicBezTo>
                    <a:pt x="-836" y="8957"/>
                    <a:pt x="-836" y="10863"/>
                    <a:pt x="1164" y="12006"/>
                  </a:cubicBezTo>
                  <a:close/>
                </a:path>
              </a:pathLst>
            </a:custGeom>
            <a:solidFill>
              <a:srgbClr val="D1D9E8"/>
            </a:solidFill>
            <a:ln w="9525" cap="flat">
              <a:noFill/>
              <a:prstDash val="solid"/>
              <a:miter/>
            </a:ln>
          </p:spPr>
          <p:txBody>
            <a:bodyPr rtlCol="0" anchor="ctr"/>
            <a:lstStyle/>
            <a:p>
              <a:endParaRPr lang="zh-CN" altLang="en-US"/>
            </a:p>
          </p:txBody>
        </p:sp>
        <p:sp>
          <p:nvSpPr>
            <p:cNvPr id="674" name="íṧľiḍe">
              <a:extLst>
                <a:ext uri="{FF2B5EF4-FFF2-40B4-BE49-F238E27FC236}">
                  <a16:creationId xmlns:a16="http://schemas.microsoft.com/office/drawing/2014/main" id="{F054CE81-D558-407B-9AE3-7056834DF129}"/>
                </a:ext>
              </a:extLst>
            </p:cNvPr>
            <p:cNvSpPr/>
            <p:nvPr/>
          </p:nvSpPr>
          <p:spPr>
            <a:xfrm>
              <a:off x="6037625" y="5224492"/>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4 w 36099"/>
                <a:gd name="connsiteY6" fmla="*/ 6981 h 17597"/>
                <a:gd name="connsiteX7" fmla="*/ 35764 w 36099"/>
                <a:gd name="connsiteY7" fmla="*/ -163 h 17597"/>
                <a:gd name="connsiteX8" fmla="*/ 34144 w 36099"/>
                <a:gd name="connsiteY8" fmla="*/ 2124 h 17597"/>
                <a:gd name="connsiteX9" fmla="*/ 31858 w 36099"/>
                <a:gd name="connsiteY9" fmla="*/ 3457 h 17597"/>
                <a:gd name="connsiteX10" fmla="*/ 21571 w 36099"/>
                <a:gd name="connsiteY10" fmla="*/ 9362 h 17597"/>
                <a:gd name="connsiteX11" fmla="*/ 13856 w 36099"/>
                <a:gd name="connsiteY11" fmla="*/ 9362 h 17597"/>
                <a:gd name="connsiteX12" fmla="*/ 3569 w 36099"/>
                <a:gd name="connsiteY12" fmla="*/ 3457 h 17597"/>
                <a:gd name="connsiteX13" fmla="*/ 1283 w 36099"/>
                <a:gd name="connsiteY13" fmla="*/ 2124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03" y="8029"/>
                    <a:pt x="407" y="8858"/>
                    <a:pt x="1283" y="9267"/>
                  </a:cubicBezTo>
                  <a:lnTo>
                    <a:pt x="13856" y="16506"/>
                  </a:lnTo>
                  <a:cubicBezTo>
                    <a:pt x="16275" y="17744"/>
                    <a:pt x="19152" y="17744"/>
                    <a:pt x="21571" y="16506"/>
                  </a:cubicBezTo>
                  <a:lnTo>
                    <a:pt x="34144" y="9267"/>
                  </a:lnTo>
                  <a:cubicBezTo>
                    <a:pt x="35030" y="8829"/>
                    <a:pt x="35640" y="7972"/>
                    <a:pt x="35764" y="6981"/>
                  </a:cubicBezTo>
                  <a:lnTo>
                    <a:pt x="35764" y="-163"/>
                  </a:lnTo>
                  <a:cubicBezTo>
                    <a:pt x="35659" y="828"/>
                    <a:pt x="35049" y="1695"/>
                    <a:pt x="34144" y="2124"/>
                  </a:cubicBezTo>
                  <a:lnTo>
                    <a:pt x="31858" y="3457"/>
                  </a:lnTo>
                  <a:lnTo>
                    <a:pt x="21571" y="9362"/>
                  </a:lnTo>
                  <a:cubicBezTo>
                    <a:pt x="19152" y="10601"/>
                    <a:pt x="16275" y="10601"/>
                    <a:pt x="13856" y="9362"/>
                  </a:cubicBezTo>
                  <a:lnTo>
                    <a:pt x="3569" y="3457"/>
                  </a:lnTo>
                  <a:lnTo>
                    <a:pt x="1283" y="2124"/>
                  </a:lnTo>
                  <a:cubicBezTo>
                    <a:pt x="378" y="1695"/>
                    <a:pt x="-231"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75" name="îṣ1ïḍé">
              <a:extLst>
                <a:ext uri="{FF2B5EF4-FFF2-40B4-BE49-F238E27FC236}">
                  <a16:creationId xmlns:a16="http://schemas.microsoft.com/office/drawing/2014/main" id="{D8C151B5-9B97-401A-B8D4-A061285543E6}"/>
                </a:ext>
              </a:extLst>
            </p:cNvPr>
            <p:cNvSpPr/>
            <p:nvPr/>
          </p:nvSpPr>
          <p:spPr>
            <a:xfrm>
              <a:off x="6115038" y="5237322"/>
              <a:ext cx="109594" cy="63588"/>
            </a:xfrm>
            <a:custGeom>
              <a:avLst/>
              <a:gdLst>
                <a:gd name="connsiteX0" fmla="*/ -336 w 36004"/>
                <a:gd name="connsiteY0" fmla="*/ 10291 h 20890"/>
                <a:gd name="connsiteX1" fmla="*/ 1188 w 36004"/>
                <a:gd name="connsiteY1" fmla="*/ 12577 h 20890"/>
                <a:gd name="connsiteX2" fmla="*/ 3569 w 36004"/>
                <a:gd name="connsiteY2" fmla="*/ 13911 h 20890"/>
                <a:gd name="connsiteX3" fmla="*/ 13856 w 36004"/>
                <a:gd name="connsiteY3" fmla="*/ 19721 h 20890"/>
                <a:gd name="connsiteX4" fmla="*/ 21476 w 36004"/>
                <a:gd name="connsiteY4" fmla="*/ 19721 h 20890"/>
                <a:gd name="connsiteX5" fmla="*/ 31763 w 36004"/>
                <a:gd name="connsiteY5" fmla="*/ 13911 h 20890"/>
                <a:gd name="connsiteX6" fmla="*/ 34144 w 36004"/>
                <a:gd name="connsiteY6" fmla="*/ 12577 h 20890"/>
                <a:gd name="connsiteX7" fmla="*/ 35668 w 36004"/>
                <a:gd name="connsiteY7" fmla="*/ 10291 h 20890"/>
                <a:gd name="connsiteX8" fmla="*/ 34144 w 36004"/>
                <a:gd name="connsiteY8" fmla="*/ 8100 h 20890"/>
                <a:gd name="connsiteX9" fmla="*/ 21476 w 36004"/>
                <a:gd name="connsiteY9" fmla="*/ 766 h 20890"/>
                <a:gd name="connsiteX10" fmla="*/ 13856 w 36004"/>
                <a:gd name="connsiteY10" fmla="*/ 766 h 20890"/>
                <a:gd name="connsiteX11" fmla="*/ 1188 w 36004"/>
                <a:gd name="connsiteY11" fmla="*/ 8100 h 20890"/>
                <a:gd name="connsiteX12" fmla="*/ -336 w 36004"/>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291"/>
                  </a:moveTo>
                  <a:cubicBezTo>
                    <a:pt x="-270" y="11272"/>
                    <a:pt x="311" y="12139"/>
                    <a:pt x="1188" y="12577"/>
                  </a:cubicBezTo>
                  <a:lnTo>
                    <a:pt x="3569" y="13911"/>
                  </a:lnTo>
                  <a:lnTo>
                    <a:pt x="13856" y="19721"/>
                  </a:lnTo>
                  <a:cubicBezTo>
                    <a:pt x="16218" y="21064"/>
                    <a:pt x="19114" y="21064"/>
                    <a:pt x="21476" y="19721"/>
                  </a:cubicBezTo>
                  <a:lnTo>
                    <a:pt x="31763" y="13911"/>
                  </a:lnTo>
                  <a:lnTo>
                    <a:pt x="34144" y="12577"/>
                  </a:lnTo>
                  <a:cubicBezTo>
                    <a:pt x="35021" y="12139"/>
                    <a:pt x="35601" y="11272"/>
                    <a:pt x="35668" y="10291"/>
                  </a:cubicBezTo>
                  <a:cubicBezTo>
                    <a:pt x="35630" y="9329"/>
                    <a:pt x="35039" y="8472"/>
                    <a:pt x="34144" y="8100"/>
                  </a:cubicBezTo>
                  <a:lnTo>
                    <a:pt x="21476" y="766"/>
                  </a:lnTo>
                  <a:cubicBezTo>
                    <a:pt x="19085" y="-472"/>
                    <a:pt x="16247" y="-472"/>
                    <a:pt x="13856" y="766"/>
                  </a:cubicBezTo>
                  <a:lnTo>
                    <a:pt x="1188" y="8100"/>
                  </a:lnTo>
                  <a:cubicBezTo>
                    <a:pt x="292" y="8472"/>
                    <a:pt x="-298"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676" name="íšḷiḑe">
              <a:extLst>
                <a:ext uri="{FF2B5EF4-FFF2-40B4-BE49-F238E27FC236}">
                  <a16:creationId xmlns:a16="http://schemas.microsoft.com/office/drawing/2014/main" id="{1037291F-0716-424B-A57C-00E4980973B9}"/>
                </a:ext>
              </a:extLst>
            </p:cNvPr>
            <p:cNvSpPr/>
            <p:nvPr/>
          </p:nvSpPr>
          <p:spPr>
            <a:xfrm>
              <a:off x="6116923" y="5238482"/>
              <a:ext cx="105825" cy="61101"/>
            </a:xfrm>
            <a:custGeom>
              <a:avLst/>
              <a:gdLst>
                <a:gd name="connsiteX0" fmla="*/ 1235 w 34766"/>
                <a:gd name="connsiteY0" fmla="*/ 12006 h 20073"/>
                <a:gd name="connsiteX1" fmla="*/ 13332 w 34766"/>
                <a:gd name="connsiteY1" fmla="*/ 19054 h 20073"/>
                <a:gd name="connsiteX2" fmla="*/ 20762 w 34766"/>
                <a:gd name="connsiteY2" fmla="*/ 19054 h 20073"/>
                <a:gd name="connsiteX3" fmla="*/ 32858 w 34766"/>
                <a:gd name="connsiteY3" fmla="*/ 12006 h 20073"/>
                <a:gd name="connsiteX4" fmla="*/ 32858 w 34766"/>
                <a:gd name="connsiteY4" fmla="*/ 7719 h 20073"/>
                <a:gd name="connsiteX5" fmla="*/ 20762 w 34766"/>
                <a:gd name="connsiteY5" fmla="*/ 766 h 20073"/>
                <a:gd name="connsiteX6" fmla="*/ 13332 w 34766"/>
                <a:gd name="connsiteY6" fmla="*/ 766 h 20073"/>
                <a:gd name="connsiteX7" fmla="*/ 1235 w 34766"/>
                <a:gd name="connsiteY7" fmla="*/ 7719 h 20073"/>
                <a:gd name="connsiteX8" fmla="*/ 1235 w 34766"/>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6" h="20073">
                  <a:moveTo>
                    <a:pt x="1235" y="12006"/>
                  </a:moveTo>
                  <a:lnTo>
                    <a:pt x="13332" y="19054"/>
                  </a:lnTo>
                  <a:cubicBezTo>
                    <a:pt x="15675" y="20197"/>
                    <a:pt x="18419" y="20197"/>
                    <a:pt x="20762" y="19054"/>
                  </a:cubicBezTo>
                  <a:lnTo>
                    <a:pt x="32858" y="12006"/>
                  </a:lnTo>
                  <a:cubicBezTo>
                    <a:pt x="34954" y="10863"/>
                    <a:pt x="34954" y="8957"/>
                    <a:pt x="32858" y="7719"/>
                  </a:cubicBezTo>
                  <a:lnTo>
                    <a:pt x="20762" y="766"/>
                  </a:lnTo>
                  <a:cubicBezTo>
                    <a:pt x="18437" y="-472"/>
                    <a:pt x="15656" y="-472"/>
                    <a:pt x="13332" y="766"/>
                  </a:cubicBezTo>
                  <a:lnTo>
                    <a:pt x="1235" y="7719"/>
                  </a:lnTo>
                  <a:cubicBezTo>
                    <a:pt x="-860" y="8957"/>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677" name="îSḻíḑé">
              <a:extLst>
                <a:ext uri="{FF2B5EF4-FFF2-40B4-BE49-F238E27FC236}">
                  <a16:creationId xmlns:a16="http://schemas.microsoft.com/office/drawing/2014/main" id="{CDE79BD5-D885-4BA8-BD04-3A9194680DED}"/>
                </a:ext>
              </a:extLst>
            </p:cNvPr>
            <p:cNvSpPr/>
            <p:nvPr/>
          </p:nvSpPr>
          <p:spPr>
            <a:xfrm>
              <a:off x="6115038" y="5268854"/>
              <a:ext cx="109594" cy="53564"/>
            </a:xfrm>
            <a:custGeom>
              <a:avLst/>
              <a:gdLst>
                <a:gd name="connsiteX0" fmla="*/ -336 w 36004"/>
                <a:gd name="connsiteY0" fmla="*/ -67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4 h 17597"/>
                <a:gd name="connsiteX9" fmla="*/ 31763 w 36004"/>
                <a:gd name="connsiteY9" fmla="*/ 3457 h 17597"/>
                <a:gd name="connsiteX10" fmla="*/ 21476 w 36004"/>
                <a:gd name="connsiteY10" fmla="*/ 9267 h 17597"/>
                <a:gd name="connsiteX11" fmla="*/ 13856 w 36004"/>
                <a:gd name="connsiteY11" fmla="*/ 9267 h 17597"/>
                <a:gd name="connsiteX12" fmla="*/ 3569 w 36004"/>
                <a:gd name="connsiteY12" fmla="*/ 3457 h 17597"/>
                <a:gd name="connsiteX13" fmla="*/ 1188 w 36004"/>
                <a:gd name="connsiteY13" fmla="*/ 2124 h 17597"/>
                <a:gd name="connsiteX14" fmla="*/ -336 w 36004"/>
                <a:gd name="connsiteY14" fmla="*/ -67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67"/>
                  </a:moveTo>
                  <a:lnTo>
                    <a:pt x="-336" y="7076"/>
                  </a:lnTo>
                  <a:cubicBezTo>
                    <a:pt x="-241" y="8019"/>
                    <a:pt x="340" y="8848"/>
                    <a:pt x="1188" y="9267"/>
                  </a:cubicBezTo>
                  <a:lnTo>
                    <a:pt x="13856" y="16506"/>
                  </a:lnTo>
                  <a:cubicBezTo>
                    <a:pt x="16247" y="17744"/>
                    <a:pt x="19085" y="17744"/>
                    <a:pt x="21476" y="16506"/>
                  </a:cubicBezTo>
                  <a:lnTo>
                    <a:pt x="34144" y="9267"/>
                  </a:lnTo>
                  <a:cubicBezTo>
                    <a:pt x="35011" y="8820"/>
                    <a:pt x="35582" y="7953"/>
                    <a:pt x="35668" y="6981"/>
                  </a:cubicBezTo>
                  <a:lnTo>
                    <a:pt x="35668" y="-163"/>
                  </a:lnTo>
                  <a:cubicBezTo>
                    <a:pt x="35601" y="818"/>
                    <a:pt x="35021" y="1685"/>
                    <a:pt x="34144" y="2124"/>
                  </a:cubicBezTo>
                  <a:lnTo>
                    <a:pt x="31763" y="3457"/>
                  </a:lnTo>
                  <a:lnTo>
                    <a:pt x="21476" y="9267"/>
                  </a:lnTo>
                  <a:cubicBezTo>
                    <a:pt x="19114" y="10610"/>
                    <a:pt x="16218" y="10610"/>
                    <a:pt x="13856" y="9267"/>
                  </a:cubicBezTo>
                  <a:lnTo>
                    <a:pt x="3569" y="3457"/>
                  </a:lnTo>
                  <a:lnTo>
                    <a:pt x="1188" y="2124"/>
                  </a:lnTo>
                  <a:cubicBezTo>
                    <a:pt x="340" y="1704"/>
                    <a:pt x="-241" y="876"/>
                    <a:pt x="-336" y="-67"/>
                  </a:cubicBezTo>
                  <a:close/>
                </a:path>
              </a:pathLst>
            </a:custGeom>
            <a:solidFill>
              <a:srgbClr val="BF4200"/>
            </a:solidFill>
            <a:ln w="9525" cap="flat">
              <a:noFill/>
              <a:prstDash val="solid"/>
              <a:miter/>
            </a:ln>
          </p:spPr>
          <p:txBody>
            <a:bodyPr rtlCol="0" anchor="ctr"/>
            <a:lstStyle/>
            <a:p>
              <a:endParaRPr lang="zh-CN" altLang="en-US"/>
            </a:p>
          </p:txBody>
        </p:sp>
        <p:sp>
          <p:nvSpPr>
            <p:cNvPr id="678" name="iš1íḋe">
              <a:extLst>
                <a:ext uri="{FF2B5EF4-FFF2-40B4-BE49-F238E27FC236}">
                  <a16:creationId xmlns:a16="http://schemas.microsoft.com/office/drawing/2014/main" id="{DC56CF55-22A2-4E42-BA2B-9663F7CCB87B}"/>
                </a:ext>
              </a:extLst>
            </p:cNvPr>
            <p:cNvSpPr/>
            <p:nvPr/>
          </p:nvSpPr>
          <p:spPr>
            <a:xfrm>
              <a:off x="6193030" y="5281879"/>
              <a:ext cx="197152" cy="113892"/>
            </a:xfrm>
            <a:custGeom>
              <a:avLst/>
              <a:gdLst>
                <a:gd name="connsiteX0" fmla="*/ -336 w 64769"/>
                <a:gd name="connsiteY0" fmla="*/ 10227 h 37416"/>
                <a:gd name="connsiteX1" fmla="*/ 1188 w 64769"/>
                <a:gd name="connsiteY1" fmla="*/ 12513 h 37416"/>
                <a:gd name="connsiteX2" fmla="*/ 3569 w 64769"/>
                <a:gd name="connsiteY2" fmla="*/ 13846 h 37416"/>
                <a:gd name="connsiteX3" fmla="*/ 42431 w 64769"/>
                <a:gd name="connsiteY3" fmla="*/ 36325 h 37416"/>
                <a:gd name="connsiteX4" fmla="*/ 50241 w 64769"/>
                <a:gd name="connsiteY4" fmla="*/ 36325 h 37416"/>
                <a:gd name="connsiteX5" fmla="*/ 60433 w 64769"/>
                <a:gd name="connsiteY5" fmla="*/ 30420 h 37416"/>
                <a:gd name="connsiteX6" fmla="*/ 62814 w 64769"/>
                <a:gd name="connsiteY6" fmla="*/ 28991 h 37416"/>
                <a:gd name="connsiteX7" fmla="*/ 64434 w 64769"/>
                <a:gd name="connsiteY7" fmla="*/ 27372 h 37416"/>
                <a:gd name="connsiteX8" fmla="*/ 64434 w 64769"/>
                <a:gd name="connsiteY8" fmla="*/ 26229 h 37416"/>
                <a:gd name="connsiteX9" fmla="*/ 62814 w 64769"/>
                <a:gd name="connsiteY9" fmla="*/ 24514 h 37416"/>
                <a:gd name="connsiteX10" fmla="*/ 21476 w 64769"/>
                <a:gd name="connsiteY10" fmla="*/ 702 h 37416"/>
                <a:gd name="connsiteX11" fmla="*/ 13856 w 64769"/>
                <a:gd name="connsiteY11" fmla="*/ 702 h 37416"/>
                <a:gd name="connsiteX12" fmla="*/ 1188 w 64769"/>
                <a:gd name="connsiteY12" fmla="*/ 8036 h 37416"/>
                <a:gd name="connsiteX13" fmla="*/ -336 w 64769"/>
                <a:gd name="connsiteY13" fmla="*/ 10227 h 37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4769" h="37416">
                  <a:moveTo>
                    <a:pt x="-336" y="10227"/>
                  </a:moveTo>
                  <a:cubicBezTo>
                    <a:pt x="-270" y="11208"/>
                    <a:pt x="311" y="12075"/>
                    <a:pt x="1188" y="12513"/>
                  </a:cubicBezTo>
                  <a:lnTo>
                    <a:pt x="3569" y="13846"/>
                  </a:lnTo>
                  <a:lnTo>
                    <a:pt x="42431" y="36325"/>
                  </a:lnTo>
                  <a:cubicBezTo>
                    <a:pt x="44888" y="37563"/>
                    <a:pt x="47784" y="37563"/>
                    <a:pt x="50241" y="36325"/>
                  </a:cubicBezTo>
                  <a:lnTo>
                    <a:pt x="60433" y="30420"/>
                  </a:lnTo>
                  <a:lnTo>
                    <a:pt x="62814" y="28991"/>
                  </a:lnTo>
                  <a:cubicBezTo>
                    <a:pt x="63529" y="28658"/>
                    <a:pt x="64100" y="28086"/>
                    <a:pt x="64434" y="27372"/>
                  </a:cubicBezTo>
                  <a:lnTo>
                    <a:pt x="64434" y="26229"/>
                  </a:lnTo>
                  <a:cubicBezTo>
                    <a:pt x="64024" y="25543"/>
                    <a:pt x="63472" y="24962"/>
                    <a:pt x="62814" y="24514"/>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679" name="ïṡḷîḑé">
              <a:extLst>
                <a:ext uri="{FF2B5EF4-FFF2-40B4-BE49-F238E27FC236}">
                  <a16:creationId xmlns:a16="http://schemas.microsoft.com/office/drawing/2014/main" id="{78B57CDF-5E88-4107-997B-E4B49BD1AAAB}"/>
                </a:ext>
              </a:extLst>
            </p:cNvPr>
            <p:cNvSpPr/>
            <p:nvPr/>
          </p:nvSpPr>
          <p:spPr>
            <a:xfrm>
              <a:off x="6194336" y="5282771"/>
              <a:ext cx="193168" cy="111545"/>
            </a:xfrm>
            <a:custGeom>
              <a:avLst/>
              <a:gdLst>
                <a:gd name="connsiteX0" fmla="*/ 42193 w 63460"/>
                <a:gd name="connsiteY0" fmla="*/ 35651 h 36645"/>
                <a:gd name="connsiteX1" fmla="*/ 1235 w 63460"/>
                <a:gd name="connsiteY1" fmla="*/ 12029 h 36645"/>
                <a:gd name="connsiteX2" fmla="*/ 1235 w 63460"/>
                <a:gd name="connsiteY2" fmla="*/ 7743 h 36645"/>
                <a:gd name="connsiteX3" fmla="*/ 13332 w 63460"/>
                <a:gd name="connsiteY3" fmla="*/ 695 h 36645"/>
                <a:gd name="connsiteX4" fmla="*/ 20761 w 63460"/>
                <a:gd name="connsiteY4" fmla="*/ 695 h 36645"/>
                <a:gd name="connsiteX5" fmla="*/ 61624 w 63460"/>
                <a:gd name="connsiteY5" fmla="*/ 24317 h 36645"/>
                <a:gd name="connsiteX6" fmla="*/ 61624 w 63460"/>
                <a:gd name="connsiteY6" fmla="*/ 28603 h 36645"/>
                <a:gd name="connsiteX7" fmla="*/ 49432 w 63460"/>
                <a:gd name="connsiteY7" fmla="*/ 35556 h 36645"/>
                <a:gd name="connsiteX8" fmla="*/ 42193 w 63460"/>
                <a:gd name="connsiteY8" fmla="*/ 35651 h 36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3460" h="36645">
                  <a:moveTo>
                    <a:pt x="42193" y="35651"/>
                  </a:moveTo>
                  <a:lnTo>
                    <a:pt x="1235" y="12029"/>
                  </a:lnTo>
                  <a:cubicBezTo>
                    <a:pt x="-860" y="10791"/>
                    <a:pt x="-860" y="8886"/>
                    <a:pt x="1235" y="7743"/>
                  </a:cubicBezTo>
                  <a:lnTo>
                    <a:pt x="13332" y="695"/>
                  </a:lnTo>
                  <a:cubicBezTo>
                    <a:pt x="15675" y="-448"/>
                    <a:pt x="18418" y="-448"/>
                    <a:pt x="20761" y="695"/>
                  </a:cubicBezTo>
                  <a:lnTo>
                    <a:pt x="61624" y="24317"/>
                  </a:lnTo>
                  <a:cubicBezTo>
                    <a:pt x="63624" y="25460"/>
                    <a:pt x="63624" y="27364"/>
                    <a:pt x="61624" y="28603"/>
                  </a:cubicBezTo>
                  <a:lnTo>
                    <a:pt x="49432" y="35556"/>
                  </a:lnTo>
                  <a:cubicBezTo>
                    <a:pt x="47174" y="36756"/>
                    <a:pt x="44479" y="36794"/>
                    <a:pt x="42193" y="35651"/>
                  </a:cubicBezTo>
                  <a:close/>
                </a:path>
              </a:pathLst>
            </a:custGeom>
            <a:solidFill>
              <a:srgbClr val="D1D9E8"/>
            </a:solidFill>
            <a:ln w="9525" cap="flat">
              <a:noFill/>
              <a:prstDash val="solid"/>
              <a:miter/>
            </a:ln>
          </p:spPr>
          <p:txBody>
            <a:bodyPr rtlCol="0" anchor="ctr"/>
            <a:lstStyle/>
            <a:p>
              <a:endParaRPr lang="zh-CN" altLang="en-US"/>
            </a:p>
          </p:txBody>
        </p:sp>
        <p:sp>
          <p:nvSpPr>
            <p:cNvPr id="680" name="ïšľiďè">
              <a:extLst>
                <a:ext uri="{FF2B5EF4-FFF2-40B4-BE49-F238E27FC236}">
                  <a16:creationId xmlns:a16="http://schemas.microsoft.com/office/drawing/2014/main" id="{9E09C8D2-B3D1-40DC-8B3A-94E7720F6400}"/>
                </a:ext>
              </a:extLst>
            </p:cNvPr>
            <p:cNvSpPr/>
            <p:nvPr/>
          </p:nvSpPr>
          <p:spPr>
            <a:xfrm>
              <a:off x="6193030" y="5313503"/>
              <a:ext cx="197152" cy="104011"/>
            </a:xfrm>
            <a:custGeom>
              <a:avLst/>
              <a:gdLst>
                <a:gd name="connsiteX0" fmla="*/ -336 w 64769"/>
                <a:gd name="connsiteY0" fmla="*/ -163 h 34170"/>
                <a:gd name="connsiteX1" fmla="*/ -336 w 64769"/>
                <a:gd name="connsiteY1" fmla="*/ 6981 h 34170"/>
                <a:gd name="connsiteX2" fmla="*/ 1188 w 64769"/>
                <a:gd name="connsiteY2" fmla="*/ 9267 h 34170"/>
                <a:gd name="connsiteX3" fmla="*/ 42431 w 64769"/>
                <a:gd name="connsiteY3" fmla="*/ 33080 h 34170"/>
                <a:gd name="connsiteX4" fmla="*/ 50241 w 64769"/>
                <a:gd name="connsiteY4" fmla="*/ 33080 h 34170"/>
                <a:gd name="connsiteX5" fmla="*/ 62814 w 64769"/>
                <a:gd name="connsiteY5" fmla="*/ 25841 h 34170"/>
                <a:gd name="connsiteX6" fmla="*/ 64434 w 64769"/>
                <a:gd name="connsiteY6" fmla="*/ 24126 h 34170"/>
                <a:gd name="connsiteX7" fmla="*/ 64434 w 64769"/>
                <a:gd name="connsiteY7" fmla="*/ 16982 h 34170"/>
                <a:gd name="connsiteX8" fmla="*/ 62814 w 64769"/>
                <a:gd name="connsiteY8" fmla="*/ 18602 h 34170"/>
                <a:gd name="connsiteX9" fmla="*/ 60433 w 64769"/>
                <a:gd name="connsiteY9" fmla="*/ 20030 h 34170"/>
                <a:gd name="connsiteX10" fmla="*/ 50241 w 64769"/>
                <a:gd name="connsiteY10" fmla="*/ 25936 h 34170"/>
                <a:gd name="connsiteX11" fmla="*/ 42431 w 64769"/>
                <a:gd name="connsiteY11" fmla="*/ 25936 h 34170"/>
                <a:gd name="connsiteX12" fmla="*/ 3569 w 64769"/>
                <a:gd name="connsiteY12" fmla="*/ 3457 h 34170"/>
                <a:gd name="connsiteX13" fmla="*/ 1664 w 64769"/>
                <a:gd name="connsiteY13" fmla="*/ 1933 h 34170"/>
                <a:gd name="connsiteX14" fmla="*/ -336 w 64769"/>
                <a:gd name="connsiteY14" fmla="*/ -163 h 341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4769" h="34170">
                  <a:moveTo>
                    <a:pt x="-336" y="-163"/>
                  </a:moveTo>
                  <a:lnTo>
                    <a:pt x="-336" y="6981"/>
                  </a:lnTo>
                  <a:cubicBezTo>
                    <a:pt x="-251" y="7953"/>
                    <a:pt x="321" y="8819"/>
                    <a:pt x="1188" y="9267"/>
                  </a:cubicBezTo>
                  <a:lnTo>
                    <a:pt x="42431" y="33080"/>
                  </a:lnTo>
                  <a:cubicBezTo>
                    <a:pt x="44888" y="34318"/>
                    <a:pt x="47784" y="34318"/>
                    <a:pt x="50241" y="33080"/>
                  </a:cubicBezTo>
                  <a:lnTo>
                    <a:pt x="62814" y="25841"/>
                  </a:lnTo>
                  <a:cubicBezTo>
                    <a:pt x="63472" y="25393"/>
                    <a:pt x="64024" y="24812"/>
                    <a:pt x="64434" y="24126"/>
                  </a:cubicBezTo>
                  <a:lnTo>
                    <a:pt x="64434" y="16982"/>
                  </a:lnTo>
                  <a:cubicBezTo>
                    <a:pt x="64100" y="17697"/>
                    <a:pt x="63529" y="18268"/>
                    <a:pt x="62814" y="18602"/>
                  </a:cubicBezTo>
                  <a:lnTo>
                    <a:pt x="60433" y="20030"/>
                  </a:lnTo>
                  <a:lnTo>
                    <a:pt x="50241" y="25936"/>
                  </a:lnTo>
                  <a:cubicBezTo>
                    <a:pt x="47784" y="27174"/>
                    <a:pt x="44888" y="27174"/>
                    <a:pt x="42431" y="25936"/>
                  </a:cubicBezTo>
                  <a:lnTo>
                    <a:pt x="3569" y="3457"/>
                  </a:lnTo>
                  <a:lnTo>
                    <a:pt x="1664" y="1933"/>
                  </a:lnTo>
                  <a:cubicBezTo>
                    <a:pt x="654" y="1666"/>
                    <a:pt x="-117" y="856"/>
                    <a:pt x="-336" y="-163"/>
                  </a:cubicBezTo>
                  <a:close/>
                </a:path>
              </a:pathLst>
            </a:custGeom>
            <a:solidFill>
              <a:srgbClr val="BF4200"/>
            </a:solidFill>
            <a:ln w="9525" cap="flat">
              <a:noFill/>
              <a:prstDash val="solid"/>
              <a:miter/>
            </a:ln>
          </p:spPr>
          <p:txBody>
            <a:bodyPr rtlCol="0" anchor="ctr"/>
            <a:lstStyle/>
            <a:p>
              <a:endParaRPr lang="zh-CN" altLang="en-US"/>
            </a:p>
          </p:txBody>
        </p:sp>
        <p:sp>
          <p:nvSpPr>
            <p:cNvPr id="681" name="ïsḻïdê">
              <a:extLst>
                <a:ext uri="{FF2B5EF4-FFF2-40B4-BE49-F238E27FC236}">
                  <a16:creationId xmlns:a16="http://schemas.microsoft.com/office/drawing/2014/main" id="{C1B49851-FEA6-4150-9B6E-C504E9726A6E}"/>
                </a:ext>
              </a:extLst>
            </p:cNvPr>
            <p:cNvSpPr/>
            <p:nvPr/>
          </p:nvSpPr>
          <p:spPr>
            <a:xfrm>
              <a:off x="5077942" y="4728490"/>
              <a:ext cx="197155" cy="113803"/>
            </a:xfrm>
            <a:custGeom>
              <a:avLst/>
              <a:gdLst>
                <a:gd name="connsiteX0" fmla="*/ -336 w 64770"/>
                <a:gd name="connsiteY0" fmla="*/ 10291 h 37387"/>
                <a:gd name="connsiteX1" fmla="*/ 1188 w 64770"/>
                <a:gd name="connsiteY1" fmla="*/ 12577 h 37387"/>
                <a:gd name="connsiteX2" fmla="*/ 3569 w 64770"/>
                <a:gd name="connsiteY2" fmla="*/ 13910 h 37387"/>
                <a:gd name="connsiteX3" fmla="*/ 42431 w 64770"/>
                <a:gd name="connsiteY3" fmla="*/ 36390 h 37387"/>
                <a:gd name="connsiteX4" fmla="*/ 50242 w 64770"/>
                <a:gd name="connsiteY4" fmla="*/ 36390 h 37387"/>
                <a:gd name="connsiteX5" fmla="*/ 60433 w 64770"/>
                <a:gd name="connsiteY5" fmla="*/ 30389 h 37387"/>
                <a:gd name="connsiteX6" fmla="*/ 62814 w 64770"/>
                <a:gd name="connsiteY6" fmla="*/ 29055 h 37387"/>
                <a:gd name="connsiteX7" fmla="*/ 64434 w 64770"/>
                <a:gd name="connsiteY7" fmla="*/ 27436 h 37387"/>
                <a:gd name="connsiteX8" fmla="*/ 64434 w 64770"/>
                <a:gd name="connsiteY8" fmla="*/ 26293 h 37387"/>
                <a:gd name="connsiteX9" fmla="*/ 62814 w 64770"/>
                <a:gd name="connsiteY9" fmla="*/ 24579 h 37387"/>
                <a:gd name="connsiteX10" fmla="*/ 21476 w 64770"/>
                <a:gd name="connsiteY10" fmla="*/ 766 h 37387"/>
                <a:gd name="connsiteX11" fmla="*/ 13856 w 64770"/>
                <a:gd name="connsiteY11" fmla="*/ 766 h 37387"/>
                <a:gd name="connsiteX12" fmla="*/ 1188 w 64770"/>
                <a:gd name="connsiteY12" fmla="*/ 8100 h 37387"/>
                <a:gd name="connsiteX13" fmla="*/ -336 w 64770"/>
                <a:gd name="connsiteY13" fmla="*/ 10291 h 37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4770" h="37387">
                  <a:moveTo>
                    <a:pt x="-336" y="10291"/>
                  </a:moveTo>
                  <a:cubicBezTo>
                    <a:pt x="-269" y="11272"/>
                    <a:pt x="312" y="12139"/>
                    <a:pt x="1188" y="12577"/>
                  </a:cubicBezTo>
                  <a:lnTo>
                    <a:pt x="3569" y="13910"/>
                  </a:lnTo>
                  <a:lnTo>
                    <a:pt x="42431" y="36390"/>
                  </a:lnTo>
                  <a:cubicBezTo>
                    <a:pt x="44917" y="37504"/>
                    <a:pt x="47756" y="37504"/>
                    <a:pt x="50242" y="36390"/>
                  </a:cubicBezTo>
                  <a:lnTo>
                    <a:pt x="60433" y="30389"/>
                  </a:lnTo>
                  <a:lnTo>
                    <a:pt x="62814" y="29055"/>
                  </a:lnTo>
                  <a:cubicBezTo>
                    <a:pt x="63529" y="28722"/>
                    <a:pt x="64100" y="28150"/>
                    <a:pt x="64434" y="27436"/>
                  </a:cubicBezTo>
                  <a:lnTo>
                    <a:pt x="64434" y="26293"/>
                  </a:lnTo>
                  <a:cubicBezTo>
                    <a:pt x="64081" y="25569"/>
                    <a:pt x="63510" y="24979"/>
                    <a:pt x="62814" y="24579"/>
                  </a:cubicBezTo>
                  <a:lnTo>
                    <a:pt x="21476" y="766"/>
                  </a:lnTo>
                  <a:cubicBezTo>
                    <a:pt x="19085" y="-472"/>
                    <a:pt x="16247" y="-472"/>
                    <a:pt x="13856" y="766"/>
                  </a:cubicBezTo>
                  <a:lnTo>
                    <a:pt x="1188" y="8100"/>
                  </a:lnTo>
                  <a:cubicBezTo>
                    <a:pt x="292" y="8472"/>
                    <a:pt x="-298"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682" name="íṣ1íḑé">
              <a:extLst>
                <a:ext uri="{FF2B5EF4-FFF2-40B4-BE49-F238E27FC236}">
                  <a16:creationId xmlns:a16="http://schemas.microsoft.com/office/drawing/2014/main" id="{9B53E33C-2B14-4EBF-BD57-48DE1888EA20}"/>
                </a:ext>
              </a:extLst>
            </p:cNvPr>
            <p:cNvSpPr/>
            <p:nvPr/>
          </p:nvSpPr>
          <p:spPr>
            <a:xfrm>
              <a:off x="5079829" y="4729647"/>
              <a:ext cx="193168" cy="111551"/>
            </a:xfrm>
            <a:custGeom>
              <a:avLst/>
              <a:gdLst>
                <a:gd name="connsiteX0" fmla="*/ 42002 w 63460"/>
                <a:gd name="connsiteY0" fmla="*/ 35628 h 36647"/>
                <a:gd name="connsiteX1" fmla="*/ 1235 w 63460"/>
                <a:gd name="connsiteY1" fmla="*/ 12006 h 36647"/>
                <a:gd name="connsiteX2" fmla="*/ 1235 w 63460"/>
                <a:gd name="connsiteY2" fmla="*/ 7719 h 36647"/>
                <a:gd name="connsiteX3" fmla="*/ 13332 w 63460"/>
                <a:gd name="connsiteY3" fmla="*/ 766 h 36647"/>
                <a:gd name="connsiteX4" fmla="*/ 20761 w 63460"/>
                <a:gd name="connsiteY4" fmla="*/ 766 h 36647"/>
                <a:gd name="connsiteX5" fmla="*/ 61624 w 63460"/>
                <a:gd name="connsiteY5" fmla="*/ 24293 h 36647"/>
                <a:gd name="connsiteX6" fmla="*/ 61624 w 63460"/>
                <a:gd name="connsiteY6" fmla="*/ 28579 h 36647"/>
                <a:gd name="connsiteX7" fmla="*/ 49432 w 63460"/>
                <a:gd name="connsiteY7" fmla="*/ 35628 h 36647"/>
                <a:gd name="connsiteX8" fmla="*/ 42002 w 63460"/>
                <a:gd name="connsiteY8" fmla="*/ 35628 h 366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3460" h="36647">
                  <a:moveTo>
                    <a:pt x="42002" y="35628"/>
                  </a:moveTo>
                  <a:lnTo>
                    <a:pt x="1235" y="12006"/>
                  </a:lnTo>
                  <a:cubicBezTo>
                    <a:pt x="-860" y="10863"/>
                    <a:pt x="-860" y="8958"/>
                    <a:pt x="1235" y="7719"/>
                  </a:cubicBezTo>
                  <a:lnTo>
                    <a:pt x="13332" y="766"/>
                  </a:lnTo>
                  <a:cubicBezTo>
                    <a:pt x="15656" y="-472"/>
                    <a:pt x="18437" y="-472"/>
                    <a:pt x="20761" y="766"/>
                  </a:cubicBezTo>
                  <a:lnTo>
                    <a:pt x="61624" y="24293"/>
                  </a:lnTo>
                  <a:cubicBezTo>
                    <a:pt x="63624" y="25531"/>
                    <a:pt x="63624" y="27436"/>
                    <a:pt x="61624" y="28579"/>
                  </a:cubicBezTo>
                  <a:lnTo>
                    <a:pt x="49432" y="35628"/>
                  </a:lnTo>
                  <a:cubicBezTo>
                    <a:pt x="47089" y="36771"/>
                    <a:pt x="44345" y="36771"/>
                    <a:pt x="42002" y="35628"/>
                  </a:cubicBezTo>
                  <a:close/>
                </a:path>
              </a:pathLst>
            </a:custGeom>
            <a:solidFill>
              <a:srgbClr val="D1D9E8"/>
            </a:solidFill>
            <a:ln w="9525" cap="flat">
              <a:noFill/>
              <a:prstDash val="solid"/>
              <a:miter/>
            </a:ln>
          </p:spPr>
          <p:txBody>
            <a:bodyPr rtlCol="0" anchor="ctr"/>
            <a:lstStyle/>
            <a:p>
              <a:endParaRPr lang="zh-CN" altLang="en-US"/>
            </a:p>
          </p:txBody>
        </p:sp>
        <p:sp>
          <p:nvSpPr>
            <p:cNvPr id="683" name="íşlïdé">
              <a:extLst>
                <a:ext uri="{FF2B5EF4-FFF2-40B4-BE49-F238E27FC236}">
                  <a16:creationId xmlns:a16="http://schemas.microsoft.com/office/drawing/2014/main" id="{EA9BC7D7-1709-4AB1-8AE2-3512F967DFF1}"/>
                </a:ext>
              </a:extLst>
            </p:cNvPr>
            <p:cNvSpPr/>
            <p:nvPr/>
          </p:nvSpPr>
          <p:spPr>
            <a:xfrm>
              <a:off x="5077942" y="4760308"/>
              <a:ext cx="197155" cy="104011"/>
            </a:xfrm>
            <a:custGeom>
              <a:avLst/>
              <a:gdLst>
                <a:gd name="connsiteX0" fmla="*/ -336 w 64770"/>
                <a:gd name="connsiteY0" fmla="*/ -163 h 34170"/>
                <a:gd name="connsiteX1" fmla="*/ -336 w 64770"/>
                <a:gd name="connsiteY1" fmla="*/ 6981 h 34170"/>
                <a:gd name="connsiteX2" fmla="*/ 1188 w 64770"/>
                <a:gd name="connsiteY2" fmla="*/ 9267 h 34170"/>
                <a:gd name="connsiteX3" fmla="*/ 42431 w 64770"/>
                <a:gd name="connsiteY3" fmla="*/ 33080 h 34170"/>
                <a:gd name="connsiteX4" fmla="*/ 50242 w 64770"/>
                <a:gd name="connsiteY4" fmla="*/ 33080 h 34170"/>
                <a:gd name="connsiteX5" fmla="*/ 62814 w 64770"/>
                <a:gd name="connsiteY5" fmla="*/ 25745 h 34170"/>
                <a:gd name="connsiteX6" fmla="*/ 64434 w 64770"/>
                <a:gd name="connsiteY6" fmla="*/ 24126 h 34170"/>
                <a:gd name="connsiteX7" fmla="*/ 64434 w 64770"/>
                <a:gd name="connsiteY7" fmla="*/ 16982 h 34170"/>
                <a:gd name="connsiteX8" fmla="*/ 62814 w 64770"/>
                <a:gd name="connsiteY8" fmla="*/ 18602 h 34170"/>
                <a:gd name="connsiteX9" fmla="*/ 60433 w 64770"/>
                <a:gd name="connsiteY9" fmla="*/ 19935 h 34170"/>
                <a:gd name="connsiteX10" fmla="*/ 50242 w 64770"/>
                <a:gd name="connsiteY10" fmla="*/ 25936 h 34170"/>
                <a:gd name="connsiteX11" fmla="*/ 42431 w 64770"/>
                <a:gd name="connsiteY11" fmla="*/ 25936 h 34170"/>
                <a:gd name="connsiteX12" fmla="*/ 3569 w 64770"/>
                <a:gd name="connsiteY12" fmla="*/ 3457 h 34170"/>
                <a:gd name="connsiteX13" fmla="*/ 1188 w 64770"/>
                <a:gd name="connsiteY13" fmla="*/ 2123 h 34170"/>
                <a:gd name="connsiteX14" fmla="*/ -336 w 64770"/>
                <a:gd name="connsiteY14" fmla="*/ -163 h 341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4770" h="34170">
                  <a:moveTo>
                    <a:pt x="-336" y="-163"/>
                  </a:moveTo>
                  <a:lnTo>
                    <a:pt x="-336" y="6981"/>
                  </a:lnTo>
                  <a:cubicBezTo>
                    <a:pt x="-251" y="7953"/>
                    <a:pt x="321" y="8819"/>
                    <a:pt x="1188" y="9267"/>
                  </a:cubicBezTo>
                  <a:lnTo>
                    <a:pt x="42431" y="33080"/>
                  </a:lnTo>
                  <a:cubicBezTo>
                    <a:pt x="44889" y="34318"/>
                    <a:pt x="47784" y="34318"/>
                    <a:pt x="50242" y="33080"/>
                  </a:cubicBezTo>
                  <a:lnTo>
                    <a:pt x="62814" y="25745"/>
                  </a:lnTo>
                  <a:cubicBezTo>
                    <a:pt x="63491" y="25355"/>
                    <a:pt x="64043" y="24802"/>
                    <a:pt x="64434" y="24126"/>
                  </a:cubicBezTo>
                  <a:lnTo>
                    <a:pt x="64434" y="16982"/>
                  </a:lnTo>
                  <a:cubicBezTo>
                    <a:pt x="64100" y="17697"/>
                    <a:pt x="63529" y="18268"/>
                    <a:pt x="62814" y="18602"/>
                  </a:cubicBezTo>
                  <a:lnTo>
                    <a:pt x="60433" y="19935"/>
                  </a:lnTo>
                  <a:lnTo>
                    <a:pt x="50242" y="25936"/>
                  </a:lnTo>
                  <a:cubicBezTo>
                    <a:pt x="47756" y="27050"/>
                    <a:pt x="44917" y="27050"/>
                    <a:pt x="42431" y="25936"/>
                  </a:cubicBezTo>
                  <a:lnTo>
                    <a:pt x="3569" y="3457"/>
                  </a:lnTo>
                  <a:lnTo>
                    <a:pt x="1188" y="2123"/>
                  </a:lnTo>
                  <a:cubicBezTo>
                    <a:pt x="312"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84" name="iślïďê">
              <a:extLst>
                <a:ext uri="{FF2B5EF4-FFF2-40B4-BE49-F238E27FC236}">
                  <a16:creationId xmlns:a16="http://schemas.microsoft.com/office/drawing/2014/main" id="{3D1DC968-F4F3-416F-8BB7-C3430AEC4C14}"/>
                </a:ext>
              </a:extLst>
            </p:cNvPr>
            <p:cNvSpPr/>
            <p:nvPr/>
          </p:nvSpPr>
          <p:spPr>
            <a:xfrm>
              <a:off x="5242335" y="4824456"/>
              <a:ext cx="109594" cy="63588"/>
            </a:xfrm>
            <a:custGeom>
              <a:avLst/>
              <a:gdLst>
                <a:gd name="connsiteX0" fmla="*/ -336 w 36004"/>
                <a:gd name="connsiteY0" fmla="*/ 10196 h 20890"/>
                <a:gd name="connsiteX1" fmla="*/ 1188 w 36004"/>
                <a:gd name="connsiteY1" fmla="*/ 12482 h 20890"/>
                <a:gd name="connsiteX2" fmla="*/ 3569 w 36004"/>
                <a:gd name="connsiteY2" fmla="*/ 13815 h 20890"/>
                <a:gd name="connsiteX3" fmla="*/ 13761 w 36004"/>
                <a:gd name="connsiteY3" fmla="*/ 19721 h 20890"/>
                <a:gd name="connsiteX4" fmla="*/ 21476 w 36004"/>
                <a:gd name="connsiteY4" fmla="*/ 19721 h 20890"/>
                <a:gd name="connsiteX5" fmla="*/ 31763 w 36004"/>
                <a:gd name="connsiteY5" fmla="*/ 13815 h 20890"/>
                <a:gd name="connsiteX6" fmla="*/ 34049 w 36004"/>
                <a:gd name="connsiteY6" fmla="*/ 12482 h 20890"/>
                <a:gd name="connsiteX7" fmla="*/ 35668 w 36004"/>
                <a:gd name="connsiteY7" fmla="*/ 10196 h 20890"/>
                <a:gd name="connsiteX8" fmla="*/ 34049 w 36004"/>
                <a:gd name="connsiteY8" fmla="*/ 8005 h 20890"/>
                <a:gd name="connsiteX9" fmla="*/ 21476 w 36004"/>
                <a:gd name="connsiteY9" fmla="*/ 766 h 20890"/>
                <a:gd name="connsiteX10" fmla="*/ 13761 w 36004"/>
                <a:gd name="connsiteY10" fmla="*/ 766 h 20890"/>
                <a:gd name="connsiteX11" fmla="*/ 1188 w 36004"/>
                <a:gd name="connsiteY11" fmla="*/ 8005 h 20890"/>
                <a:gd name="connsiteX12" fmla="*/ -336 w 36004"/>
                <a:gd name="connsiteY12" fmla="*/ 10196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196"/>
                  </a:moveTo>
                  <a:cubicBezTo>
                    <a:pt x="-308" y="11186"/>
                    <a:pt x="283" y="12082"/>
                    <a:pt x="1188" y="12482"/>
                  </a:cubicBezTo>
                  <a:lnTo>
                    <a:pt x="3569" y="13815"/>
                  </a:lnTo>
                  <a:lnTo>
                    <a:pt x="13761" y="19721"/>
                  </a:lnTo>
                  <a:cubicBezTo>
                    <a:pt x="16161" y="21064"/>
                    <a:pt x="19076" y="21064"/>
                    <a:pt x="21476" y="19721"/>
                  </a:cubicBezTo>
                  <a:lnTo>
                    <a:pt x="31763" y="13815"/>
                  </a:lnTo>
                  <a:lnTo>
                    <a:pt x="34049" y="12482"/>
                  </a:lnTo>
                  <a:cubicBezTo>
                    <a:pt x="34992" y="12110"/>
                    <a:pt x="35630" y="11215"/>
                    <a:pt x="35668" y="10196"/>
                  </a:cubicBezTo>
                  <a:cubicBezTo>
                    <a:pt x="35573" y="9224"/>
                    <a:pt x="34944" y="8386"/>
                    <a:pt x="34049" y="8005"/>
                  </a:cubicBezTo>
                  <a:lnTo>
                    <a:pt x="21476" y="766"/>
                  </a:lnTo>
                  <a:cubicBezTo>
                    <a:pt x="19057" y="-472"/>
                    <a:pt x="16180" y="-472"/>
                    <a:pt x="13761" y="766"/>
                  </a:cubicBezTo>
                  <a:lnTo>
                    <a:pt x="1188" y="8005"/>
                  </a:lnTo>
                  <a:cubicBezTo>
                    <a:pt x="340" y="8424"/>
                    <a:pt x="-241" y="925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685" name="îŝľiḋê">
              <a:extLst>
                <a:ext uri="{FF2B5EF4-FFF2-40B4-BE49-F238E27FC236}">
                  <a16:creationId xmlns:a16="http://schemas.microsoft.com/office/drawing/2014/main" id="{2CD46AD2-BFFA-4AF0-A818-58D68D482447}"/>
                </a:ext>
              </a:extLst>
            </p:cNvPr>
            <p:cNvSpPr/>
            <p:nvPr/>
          </p:nvSpPr>
          <p:spPr>
            <a:xfrm>
              <a:off x="5245337" y="4825038"/>
              <a:ext cx="105618" cy="61104"/>
            </a:xfrm>
            <a:custGeom>
              <a:avLst/>
              <a:gdLst>
                <a:gd name="connsiteX0" fmla="*/ 1154 w 34698"/>
                <a:gd name="connsiteY0" fmla="*/ 12006 h 20074"/>
                <a:gd name="connsiteX1" fmla="*/ 13346 w 34698"/>
                <a:gd name="connsiteY1" fmla="*/ 19054 h 20074"/>
                <a:gd name="connsiteX2" fmla="*/ 20776 w 34698"/>
                <a:gd name="connsiteY2" fmla="*/ 19054 h 20074"/>
                <a:gd name="connsiteX3" fmla="*/ 32872 w 34698"/>
                <a:gd name="connsiteY3" fmla="*/ 12006 h 20074"/>
                <a:gd name="connsiteX4" fmla="*/ 34215 w 34698"/>
                <a:gd name="connsiteY4" fmla="*/ 9062 h 20074"/>
                <a:gd name="connsiteX5" fmla="*/ 32872 w 34698"/>
                <a:gd name="connsiteY5" fmla="*/ 7719 h 20074"/>
                <a:gd name="connsiteX6" fmla="*/ 20776 w 34698"/>
                <a:gd name="connsiteY6" fmla="*/ 766 h 20074"/>
                <a:gd name="connsiteX7" fmla="*/ 13346 w 34698"/>
                <a:gd name="connsiteY7" fmla="*/ 766 h 20074"/>
                <a:gd name="connsiteX8" fmla="*/ 1154 w 34698"/>
                <a:gd name="connsiteY8" fmla="*/ 7719 h 20074"/>
                <a:gd name="connsiteX9" fmla="*/ -189 w 34698"/>
                <a:gd name="connsiteY9" fmla="*/ 10663 h 20074"/>
                <a:gd name="connsiteX10" fmla="*/ 1154 w 34698"/>
                <a:gd name="connsiteY10"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698" h="20074">
                  <a:moveTo>
                    <a:pt x="1154" y="12006"/>
                  </a:moveTo>
                  <a:lnTo>
                    <a:pt x="13346" y="19054"/>
                  </a:lnTo>
                  <a:cubicBezTo>
                    <a:pt x="15689" y="20197"/>
                    <a:pt x="18432" y="20197"/>
                    <a:pt x="20776" y="19054"/>
                  </a:cubicBezTo>
                  <a:lnTo>
                    <a:pt x="32872" y="12006"/>
                  </a:lnTo>
                  <a:cubicBezTo>
                    <a:pt x="34053" y="11567"/>
                    <a:pt x="34663" y="10253"/>
                    <a:pt x="34215" y="9062"/>
                  </a:cubicBezTo>
                  <a:cubicBezTo>
                    <a:pt x="33987" y="8443"/>
                    <a:pt x="33491" y="7948"/>
                    <a:pt x="32872" y="7719"/>
                  </a:cubicBezTo>
                  <a:lnTo>
                    <a:pt x="20776" y="766"/>
                  </a:lnTo>
                  <a:cubicBezTo>
                    <a:pt x="18451" y="-472"/>
                    <a:pt x="15670" y="-472"/>
                    <a:pt x="13346" y="766"/>
                  </a:cubicBezTo>
                  <a:lnTo>
                    <a:pt x="1154" y="7719"/>
                  </a:lnTo>
                  <a:cubicBezTo>
                    <a:pt x="-27" y="8158"/>
                    <a:pt x="-637" y="9472"/>
                    <a:pt x="-189" y="10663"/>
                  </a:cubicBezTo>
                  <a:cubicBezTo>
                    <a:pt x="40" y="11282"/>
                    <a:pt x="535" y="11777"/>
                    <a:pt x="1154" y="12006"/>
                  </a:cubicBezTo>
                  <a:close/>
                </a:path>
              </a:pathLst>
            </a:custGeom>
            <a:solidFill>
              <a:srgbClr val="D1D9E8"/>
            </a:solidFill>
            <a:ln w="9525" cap="flat">
              <a:noFill/>
              <a:prstDash val="solid"/>
              <a:miter/>
            </a:ln>
          </p:spPr>
          <p:txBody>
            <a:bodyPr rtlCol="0" anchor="ctr"/>
            <a:lstStyle/>
            <a:p>
              <a:endParaRPr lang="zh-CN" altLang="en-US"/>
            </a:p>
          </p:txBody>
        </p:sp>
        <p:sp>
          <p:nvSpPr>
            <p:cNvPr id="686" name="ïṣ1îḍé">
              <a:extLst>
                <a:ext uri="{FF2B5EF4-FFF2-40B4-BE49-F238E27FC236}">
                  <a16:creationId xmlns:a16="http://schemas.microsoft.com/office/drawing/2014/main" id="{5104BFC3-0139-48FD-95C5-6EDB188634FE}"/>
                </a:ext>
              </a:extLst>
            </p:cNvPr>
            <p:cNvSpPr/>
            <p:nvPr/>
          </p:nvSpPr>
          <p:spPr>
            <a:xfrm>
              <a:off x="5242335" y="4855988"/>
              <a:ext cx="109594" cy="53801"/>
            </a:xfrm>
            <a:custGeom>
              <a:avLst/>
              <a:gdLst>
                <a:gd name="connsiteX0" fmla="*/ -336 w 36004"/>
                <a:gd name="connsiteY0" fmla="*/ -163 h 17675"/>
                <a:gd name="connsiteX1" fmla="*/ -336 w 36004"/>
                <a:gd name="connsiteY1" fmla="*/ 7076 h 17675"/>
                <a:gd name="connsiteX2" fmla="*/ 1188 w 36004"/>
                <a:gd name="connsiteY2" fmla="*/ 9267 h 17675"/>
                <a:gd name="connsiteX3" fmla="*/ 13761 w 36004"/>
                <a:gd name="connsiteY3" fmla="*/ 16506 h 17675"/>
                <a:gd name="connsiteX4" fmla="*/ 21476 w 36004"/>
                <a:gd name="connsiteY4" fmla="*/ 16506 h 17675"/>
                <a:gd name="connsiteX5" fmla="*/ 34049 w 36004"/>
                <a:gd name="connsiteY5" fmla="*/ 9267 h 17675"/>
                <a:gd name="connsiteX6" fmla="*/ 35668 w 36004"/>
                <a:gd name="connsiteY6" fmla="*/ 7076 h 17675"/>
                <a:gd name="connsiteX7" fmla="*/ 35668 w 36004"/>
                <a:gd name="connsiteY7" fmla="*/ -163 h 17675"/>
                <a:gd name="connsiteX8" fmla="*/ 34049 w 36004"/>
                <a:gd name="connsiteY8" fmla="*/ 2123 h 17675"/>
                <a:gd name="connsiteX9" fmla="*/ 31763 w 36004"/>
                <a:gd name="connsiteY9" fmla="*/ 3457 h 17675"/>
                <a:gd name="connsiteX10" fmla="*/ 21476 w 36004"/>
                <a:gd name="connsiteY10" fmla="*/ 9362 h 17675"/>
                <a:gd name="connsiteX11" fmla="*/ 13761 w 36004"/>
                <a:gd name="connsiteY11" fmla="*/ 9362 h 17675"/>
                <a:gd name="connsiteX12" fmla="*/ 3569 w 36004"/>
                <a:gd name="connsiteY12" fmla="*/ 3457 h 17675"/>
                <a:gd name="connsiteX13" fmla="*/ 1188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98" y="8038"/>
                    <a:pt x="292" y="8896"/>
                    <a:pt x="1188" y="9267"/>
                  </a:cubicBezTo>
                  <a:lnTo>
                    <a:pt x="13761" y="16506"/>
                  </a:lnTo>
                  <a:cubicBezTo>
                    <a:pt x="16161" y="17849"/>
                    <a:pt x="19076" y="17849"/>
                    <a:pt x="21476" y="16506"/>
                  </a:cubicBezTo>
                  <a:lnTo>
                    <a:pt x="34049" y="9267"/>
                  </a:lnTo>
                  <a:cubicBezTo>
                    <a:pt x="34963" y="8905"/>
                    <a:pt x="35592" y="8058"/>
                    <a:pt x="35668" y="7076"/>
                  </a:cubicBezTo>
                  <a:lnTo>
                    <a:pt x="35668" y="-163"/>
                  </a:lnTo>
                  <a:cubicBezTo>
                    <a:pt x="35630" y="856"/>
                    <a:pt x="34992" y="1752"/>
                    <a:pt x="34049" y="2123"/>
                  </a:cubicBezTo>
                  <a:lnTo>
                    <a:pt x="31763" y="3457"/>
                  </a:lnTo>
                  <a:lnTo>
                    <a:pt x="21476" y="9362"/>
                  </a:lnTo>
                  <a:cubicBezTo>
                    <a:pt x="19076" y="10705"/>
                    <a:pt x="16161" y="10705"/>
                    <a:pt x="13761" y="9362"/>
                  </a:cubicBezTo>
                  <a:lnTo>
                    <a:pt x="3569" y="3457"/>
                  </a:lnTo>
                  <a:lnTo>
                    <a:pt x="1188" y="2123"/>
                  </a:lnTo>
                  <a:cubicBezTo>
                    <a:pt x="283" y="1723"/>
                    <a:pt x="-308"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87" name="îśḷídé">
              <a:extLst>
                <a:ext uri="{FF2B5EF4-FFF2-40B4-BE49-F238E27FC236}">
                  <a16:creationId xmlns:a16="http://schemas.microsoft.com/office/drawing/2014/main" id="{6436A32B-0D02-4123-BFE8-6B33460164D2}"/>
                </a:ext>
              </a:extLst>
            </p:cNvPr>
            <p:cNvSpPr/>
            <p:nvPr/>
          </p:nvSpPr>
          <p:spPr>
            <a:xfrm>
              <a:off x="5320619" y="4868526"/>
              <a:ext cx="109740" cy="63588"/>
            </a:xfrm>
            <a:custGeom>
              <a:avLst/>
              <a:gdLst>
                <a:gd name="connsiteX0" fmla="*/ -336 w 36052"/>
                <a:gd name="connsiteY0" fmla="*/ 10196 h 20890"/>
                <a:gd name="connsiteX1" fmla="*/ 1187 w 36052"/>
                <a:gd name="connsiteY1" fmla="*/ 12482 h 20890"/>
                <a:gd name="connsiteX2" fmla="*/ 3569 w 36052"/>
                <a:gd name="connsiteY2" fmla="*/ 13815 h 20890"/>
                <a:gd name="connsiteX3" fmla="*/ 13856 w 36052"/>
                <a:gd name="connsiteY3" fmla="*/ 19721 h 20890"/>
                <a:gd name="connsiteX4" fmla="*/ 21476 w 36052"/>
                <a:gd name="connsiteY4" fmla="*/ 19721 h 20890"/>
                <a:gd name="connsiteX5" fmla="*/ 31763 w 36052"/>
                <a:gd name="connsiteY5" fmla="*/ 13815 h 20890"/>
                <a:gd name="connsiteX6" fmla="*/ 34144 w 36052"/>
                <a:gd name="connsiteY6" fmla="*/ 12482 h 20890"/>
                <a:gd name="connsiteX7" fmla="*/ 35573 w 36052"/>
                <a:gd name="connsiteY7" fmla="*/ 9434 h 20890"/>
                <a:gd name="connsiteX8" fmla="*/ 34144 w 36052"/>
                <a:gd name="connsiteY8" fmla="*/ 8005 h 20890"/>
                <a:gd name="connsiteX9" fmla="*/ 21476 w 36052"/>
                <a:gd name="connsiteY9" fmla="*/ 766 h 20890"/>
                <a:gd name="connsiteX10" fmla="*/ 13856 w 36052"/>
                <a:gd name="connsiteY10" fmla="*/ 766 h 20890"/>
                <a:gd name="connsiteX11" fmla="*/ 1187 w 36052"/>
                <a:gd name="connsiteY11" fmla="*/ 8005 h 20890"/>
                <a:gd name="connsiteX12" fmla="*/ -336 w 36052"/>
                <a:gd name="connsiteY12" fmla="*/ 10196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90">
                  <a:moveTo>
                    <a:pt x="-336" y="10196"/>
                  </a:moveTo>
                  <a:cubicBezTo>
                    <a:pt x="-270" y="11177"/>
                    <a:pt x="311" y="12044"/>
                    <a:pt x="1187" y="12482"/>
                  </a:cubicBezTo>
                  <a:lnTo>
                    <a:pt x="3569" y="13815"/>
                  </a:lnTo>
                  <a:lnTo>
                    <a:pt x="13856" y="19721"/>
                  </a:lnTo>
                  <a:cubicBezTo>
                    <a:pt x="16218" y="21064"/>
                    <a:pt x="19114" y="21064"/>
                    <a:pt x="21476" y="19721"/>
                  </a:cubicBezTo>
                  <a:lnTo>
                    <a:pt x="31763" y="13815"/>
                  </a:lnTo>
                  <a:lnTo>
                    <a:pt x="34144" y="12482"/>
                  </a:lnTo>
                  <a:cubicBezTo>
                    <a:pt x="35382" y="12034"/>
                    <a:pt x="36020" y="10663"/>
                    <a:pt x="35573" y="9434"/>
                  </a:cubicBezTo>
                  <a:cubicBezTo>
                    <a:pt x="35325" y="8767"/>
                    <a:pt x="34811" y="8243"/>
                    <a:pt x="34144" y="8005"/>
                  </a:cubicBezTo>
                  <a:lnTo>
                    <a:pt x="21476" y="766"/>
                  </a:lnTo>
                  <a:cubicBezTo>
                    <a:pt x="19085" y="-472"/>
                    <a:pt x="16247" y="-472"/>
                    <a:pt x="13856" y="766"/>
                  </a:cubicBezTo>
                  <a:lnTo>
                    <a:pt x="1187" y="8005"/>
                  </a:lnTo>
                  <a:cubicBezTo>
                    <a:pt x="340" y="8424"/>
                    <a:pt x="-241" y="925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688" name="ïṥḻiḋé">
              <a:extLst>
                <a:ext uri="{FF2B5EF4-FFF2-40B4-BE49-F238E27FC236}">
                  <a16:creationId xmlns:a16="http://schemas.microsoft.com/office/drawing/2014/main" id="{61085068-60E7-435A-89A5-08209D0F5E53}"/>
                </a:ext>
              </a:extLst>
            </p:cNvPr>
            <p:cNvSpPr/>
            <p:nvPr/>
          </p:nvSpPr>
          <p:spPr>
            <a:xfrm>
              <a:off x="5322750" y="4869616"/>
              <a:ext cx="105618" cy="61174"/>
            </a:xfrm>
            <a:custGeom>
              <a:avLst/>
              <a:gdLst>
                <a:gd name="connsiteX0" fmla="*/ 1154 w 34698"/>
                <a:gd name="connsiteY0" fmla="*/ 12029 h 20097"/>
                <a:gd name="connsiteX1" fmla="*/ 13251 w 34698"/>
                <a:gd name="connsiteY1" fmla="*/ 19078 h 20097"/>
                <a:gd name="connsiteX2" fmla="*/ 20680 w 34698"/>
                <a:gd name="connsiteY2" fmla="*/ 19078 h 20097"/>
                <a:gd name="connsiteX3" fmla="*/ 32872 w 34698"/>
                <a:gd name="connsiteY3" fmla="*/ 12029 h 20097"/>
                <a:gd name="connsiteX4" fmla="*/ 34215 w 34698"/>
                <a:gd name="connsiteY4" fmla="*/ 9086 h 20097"/>
                <a:gd name="connsiteX5" fmla="*/ 32872 w 34698"/>
                <a:gd name="connsiteY5" fmla="*/ 7743 h 20097"/>
                <a:gd name="connsiteX6" fmla="*/ 20680 w 34698"/>
                <a:gd name="connsiteY6" fmla="*/ 695 h 20097"/>
                <a:gd name="connsiteX7" fmla="*/ 13251 w 34698"/>
                <a:gd name="connsiteY7" fmla="*/ 695 h 20097"/>
                <a:gd name="connsiteX8" fmla="*/ 1154 w 34698"/>
                <a:gd name="connsiteY8" fmla="*/ 7743 h 20097"/>
                <a:gd name="connsiteX9" fmla="*/ -189 w 34698"/>
                <a:gd name="connsiteY9" fmla="*/ 10677 h 20097"/>
                <a:gd name="connsiteX10" fmla="*/ 1154 w 34698"/>
                <a:gd name="connsiteY10" fmla="*/ 12029 h 20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698" h="20097">
                  <a:moveTo>
                    <a:pt x="1154" y="12029"/>
                  </a:moveTo>
                  <a:lnTo>
                    <a:pt x="13251" y="19078"/>
                  </a:lnTo>
                  <a:cubicBezTo>
                    <a:pt x="15594" y="20221"/>
                    <a:pt x="18337" y="20221"/>
                    <a:pt x="20680" y="19078"/>
                  </a:cubicBezTo>
                  <a:lnTo>
                    <a:pt x="32872" y="12029"/>
                  </a:lnTo>
                  <a:cubicBezTo>
                    <a:pt x="34053" y="11591"/>
                    <a:pt x="34663" y="10277"/>
                    <a:pt x="34215" y="9086"/>
                  </a:cubicBezTo>
                  <a:cubicBezTo>
                    <a:pt x="33987" y="8467"/>
                    <a:pt x="33501" y="7972"/>
                    <a:pt x="32872" y="7743"/>
                  </a:cubicBezTo>
                  <a:lnTo>
                    <a:pt x="20680" y="695"/>
                  </a:lnTo>
                  <a:cubicBezTo>
                    <a:pt x="18337" y="-448"/>
                    <a:pt x="15594" y="-448"/>
                    <a:pt x="13251" y="695"/>
                  </a:cubicBezTo>
                  <a:lnTo>
                    <a:pt x="1154" y="7743"/>
                  </a:lnTo>
                  <a:cubicBezTo>
                    <a:pt x="-27" y="8181"/>
                    <a:pt x="-637" y="9496"/>
                    <a:pt x="-189" y="10677"/>
                  </a:cubicBezTo>
                  <a:cubicBezTo>
                    <a:pt x="39" y="11306"/>
                    <a:pt x="535" y="11801"/>
                    <a:pt x="1154" y="12029"/>
                  </a:cubicBezTo>
                  <a:close/>
                </a:path>
              </a:pathLst>
            </a:custGeom>
            <a:solidFill>
              <a:srgbClr val="D1D9E8"/>
            </a:solidFill>
            <a:ln w="9525" cap="flat">
              <a:noFill/>
              <a:prstDash val="solid"/>
              <a:miter/>
            </a:ln>
          </p:spPr>
          <p:txBody>
            <a:bodyPr rtlCol="0" anchor="ctr"/>
            <a:lstStyle/>
            <a:p>
              <a:endParaRPr lang="zh-CN" altLang="en-US"/>
            </a:p>
          </p:txBody>
        </p:sp>
        <p:sp>
          <p:nvSpPr>
            <p:cNvPr id="689" name="ísḷïdé">
              <a:extLst>
                <a:ext uri="{FF2B5EF4-FFF2-40B4-BE49-F238E27FC236}">
                  <a16:creationId xmlns:a16="http://schemas.microsoft.com/office/drawing/2014/main" id="{53144D4E-1884-4F2D-A03B-01E3343AB803}"/>
                </a:ext>
              </a:extLst>
            </p:cNvPr>
            <p:cNvSpPr/>
            <p:nvPr/>
          </p:nvSpPr>
          <p:spPr>
            <a:xfrm>
              <a:off x="5320619" y="4900058"/>
              <a:ext cx="109594" cy="53804"/>
            </a:xfrm>
            <a:custGeom>
              <a:avLst/>
              <a:gdLst>
                <a:gd name="connsiteX0" fmla="*/ -336 w 36004"/>
                <a:gd name="connsiteY0" fmla="*/ -163 h 17676"/>
                <a:gd name="connsiteX1" fmla="*/ -336 w 36004"/>
                <a:gd name="connsiteY1" fmla="*/ 7076 h 17676"/>
                <a:gd name="connsiteX2" fmla="*/ 1187 w 36004"/>
                <a:gd name="connsiteY2" fmla="*/ 9267 h 17676"/>
                <a:gd name="connsiteX3" fmla="*/ 13856 w 36004"/>
                <a:gd name="connsiteY3" fmla="*/ 16506 h 17676"/>
                <a:gd name="connsiteX4" fmla="*/ 21476 w 36004"/>
                <a:gd name="connsiteY4" fmla="*/ 16506 h 17676"/>
                <a:gd name="connsiteX5" fmla="*/ 34144 w 36004"/>
                <a:gd name="connsiteY5" fmla="*/ 9267 h 17676"/>
                <a:gd name="connsiteX6" fmla="*/ 35668 w 36004"/>
                <a:gd name="connsiteY6" fmla="*/ 7076 h 17676"/>
                <a:gd name="connsiteX7" fmla="*/ 35668 w 36004"/>
                <a:gd name="connsiteY7" fmla="*/ -163 h 17676"/>
                <a:gd name="connsiteX8" fmla="*/ 34144 w 36004"/>
                <a:gd name="connsiteY8" fmla="*/ 2124 h 17676"/>
                <a:gd name="connsiteX9" fmla="*/ 31763 w 36004"/>
                <a:gd name="connsiteY9" fmla="*/ 3457 h 17676"/>
                <a:gd name="connsiteX10" fmla="*/ 21476 w 36004"/>
                <a:gd name="connsiteY10" fmla="*/ 9362 h 17676"/>
                <a:gd name="connsiteX11" fmla="*/ 13856 w 36004"/>
                <a:gd name="connsiteY11" fmla="*/ 9362 h 17676"/>
                <a:gd name="connsiteX12" fmla="*/ 3569 w 36004"/>
                <a:gd name="connsiteY12" fmla="*/ 3457 h 17676"/>
                <a:gd name="connsiteX13" fmla="*/ 1187 w 36004"/>
                <a:gd name="connsiteY13" fmla="*/ 2124 h 17676"/>
                <a:gd name="connsiteX14" fmla="*/ -336 w 36004"/>
                <a:gd name="connsiteY14" fmla="*/ -163 h 17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6">
                  <a:moveTo>
                    <a:pt x="-336" y="-163"/>
                  </a:moveTo>
                  <a:lnTo>
                    <a:pt x="-336" y="7076"/>
                  </a:lnTo>
                  <a:cubicBezTo>
                    <a:pt x="-279" y="8029"/>
                    <a:pt x="311" y="8877"/>
                    <a:pt x="1187" y="9267"/>
                  </a:cubicBezTo>
                  <a:lnTo>
                    <a:pt x="13856" y="16506"/>
                  </a:lnTo>
                  <a:cubicBezTo>
                    <a:pt x="16218" y="17849"/>
                    <a:pt x="19114" y="17849"/>
                    <a:pt x="21476" y="16506"/>
                  </a:cubicBezTo>
                  <a:lnTo>
                    <a:pt x="34144" y="9267"/>
                  </a:lnTo>
                  <a:cubicBezTo>
                    <a:pt x="35020" y="8877"/>
                    <a:pt x="35611" y="8039"/>
                    <a:pt x="35668" y="7076"/>
                  </a:cubicBezTo>
                  <a:lnTo>
                    <a:pt x="35668" y="-163"/>
                  </a:lnTo>
                  <a:cubicBezTo>
                    <a:pt x="35601" y="818"/>
                    <a:pt x="35020" y="1685"/>
                    <a:pt x="34144" y="2124"/>
                  </a:cubicBezTo>
                  <a:lnTo>
                    <a:pt x="31763" y="3457"/>
                  </a:lnTo>
                  <a:lnTo>
                    <a:pt x="21476" y="9362"/>
                  </a:lnTo>
                  <a:cubicBezTo>
                    <a:pt x="19114" y="10706"/>
                    <a:pt x="16218" y="10706"/>
                    <a:pt x="13856" y="9362"/>
                  </a:cubicBezTo>
                  <a:lnTo>
                    <a:pt x="3569" y="3457"/>
                  </a:lnTo>
                  <a:lnTo>
                    <a:pt x="1187" y="2124"/>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90" name="išlïdè">
              <a:extLst>
                <a:ext uri="{FF2B5EF4-FFF2-40B4-BE49-F238E27FC236}">
                  <a16:creationId xmlns:a16="http://schemas.microsoft.com/office/drawing/2014/main" id="{4A128708-420C-4622-B4B8-E5D440F0D2A1}"/>
                </a:ext>
              </a:extLst>
            </p:cNvPr>
            <p:cNvSpPr/>
            <p:nvPr/>
          </p:nvSpPr>
          <p:spPr>
            <a:xfrm>
              <a:off x="5398029" y="4913083"/>
              <a:ext cx="109740" cy="63445"/>
            </a:xfrm>
            <a:custGeom>
              <a:avLst/>
              <a:gdLst>
                <a:gd name="connsiteX0" fmla="*/ -336 w 36052"/>
                <a:gd name="connsiteY0" fmla="*/ 10227 h 20843"/>
                <a:gd name="connsiteX1" fmla="*/ 1188 w 36052"/>
                <a:gd name="connsiteY1" fmla="*/ 12513 h 20843"/>
                <a:gd name="connsiteX2" fmla="*/ 3569 w 36052"/>
                <a:gd name="connsiteY2" fmla="*/ 13846 h 20843"/>
                <a:gd name="connsiteX3" fmla="*/ 13856 w 36052"/>
                <a:gd name="connsiteY3" fmla="*/ 19752 h 20843"/>
                <a:gd name="connsiteX4" fmla="*/ 21476 w 36052"/>
                <a:gd name="connsiteY4" fmla="*/ 19752 h 20843"/>
                <a:gd name="connsiteX5" fmla="*/ 31763 w 36052"/>
                <a:gd name="connsiteY5" fmla="*/ 13846 h 20843"/>
                <a:gd name="connsiteX6" fmla="*/ 34144 w 36052"/>
                <a:gd name="connsiteY6" fmla="*/ 12513 h 20843"/>
                <a:gd name="connsiteX7" fmla="*/ 35573 w 36052"/>
                <a:gd name="connsiteY7" fmla="*/ 9465 h 20843"/>
                <a:gd name="connsiteX8" fmla="*/ 34144 w 36052"/>
                <a:gd name="connsiteY8" fmla="*/ 8036 h 20843"/>
                <a:gd name="connsiteX9" fmla="*/ 21476 w 36052"/>
                <a:gd name="connsiteY9" fmla="*/ 702 h 20843"/>
                <a:gd name="connsiteX10" fmla="*/ 13856 w 36052"/>
                <a:gd name="connsiteY10" fmla="*/ 702 h 20843"/>
                <a:gd name="connsiteX11" fmla="*/ 1188 w 36052"/>
                <a:gd name="connsiteY11" fmla="*/ 8036 h 20843"/>
                <a:gd name="connsiteX12" fmla="*/ -336 w 36052"/>
                <a:gd name="connsiteY12" fmla="*/ 10227 h 20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3">
                  <a:moveTo>
                    <a:pt x="-336" y="10227"/>
                  </a:moveTo>
                  <a:cubicBezTo>
                    <a:pt x="-269" y="11208"/>
                    <a:pt x="311" y="12075"/>
                    <a:pt x="1188" y="12513"/>
                  </a:cubicBezTo>
                  <a:lnTo>
                    <a:pt x="3569" y="13846"/>
                  </a:lnTo>
                  <a:lnTo>
                    <a:pt x="13856" y="19752"/>
                  </a:lnTo>
                  <a:cubicBezTo>
                    <a:pt x="16247" y="20990"/>
                    <a:pt x="19085" y="20990"/>
                    <a:pt x="21476" y="19752"/>
                  </a:cubicBezTo>
                  <a:lnTo>
                    <a:pt x="31763" y="13846"/>
                  </a:lnTo>
                  <a:lnTo>
                    <a:pt x="34144" y="12513"/>
                  </a:lnTo>
                  <a:cubicBezTo>
                    <a:pt x="35382" y="12065"/>
                    <a:pt x="36021" y="10694"/>
                    <a:pt x="35573" y="9465"/>
                  </a:cubicBezTo>
                  <a:cubicBezTo>
                    <a:pt x="35325" y="8798"/>
                    <a:pt x="34811" y="8274"/>
                    <a:pt x="34144"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691" name="í$ľíḑê">
              <a:extLst>
                <a:ext uri="{FF2B5EF4-FFF2-40B4-BE49-F238E27FC236}">
                  <a16:creationId xmlns:a16="http://schemas.microsoft.com/office/drawing/2014/main" id="{EC4C8923-3078-4C79-B984-5AB592B55BAB}"/>
                </a:ext>
              </a:extLst>
            </p:cNvPr>
            <p:cNvSpPr/>
            <p:nvPr/>
          </p:nvSpPr>
          <p:spPr>
            <a:xfrm>
              <a:off x="5399843" y="4914264"/>
              <a:ext cx="105898" cy="61101"/>
            </a:xfrm>
            <a:custGeom>
              <a:avLst/>
              <a:gdLst>
                <a:gd name="connsiteX0" fmla="*/ 1164 w 34790"/>
                <a:gd name="connsiteY0" fmla="*/ 12029 h 20073"/>
                <a:gd name="connsiteX1" fmla="*/ 13356 w 34790"/>
                <a:gd name="connsiteY1" fmla="*/ 18982 h 20073"/>
                <a:gd name="connsiteX2" fmla="*/ 20785 w 34790"/>
                <a:gd name="connsiteY2" fmla="*/ 18982 h 20073"/>
                <a:gd name="connsiteX3" fmla="*/ 32882 w 34790"/>
                <a:gd name="connsiteY3" fmla="*/ 12029 h 20073"/>
                <a:gd name="connsiteX4" fmla="*/ 32882 w 34790"/>
                <a:gd name="connsiteY4" fmla="*/ 7743 h 20073"/>
                <a:gd name="connsiteX5" fmla="*/ 20785 w 34790"/>
                <a:gd name="connsiteY5" fmla="*/ 695 h 20073"/>
                <a:gd name="connsiteX6" fmla="*/ 13356 w 34790"/>
                <a:gd name="connsiteY6" fmla="*/ 695 h 20073"/>
                <a:gd name="connsiteX7" fmla="*/ 1164 w 34790"/>
                <a:gd name="connsiteY7" fmla="*/ 7743 h 20073"/>
                <a:gd name="connsiteX8" fmla="*/ 1164 w 34790"/>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3">
                  <a:moveTo>
                    <a:pt x="1164" y="12029"/>
                  </a:moveTo>
                  <a:lnTo>
                    <a:pt x="13356" y="18982"/>
                  </a:lnTo>
                  <a:cubicBezTo>
                    <a:pt x="15680" y="20221"/>
                    <a:pt x="18461" y="20221"/>
                    <a:pt x="20785" y="18982"/>
                  </a:cubicBezTo>
                  <a:lnTo>
                    <a:pt x="32882" y="12029"/>
                  </a:lnTo>
                  <a:cubicBezTo>
                    <a:pt x="34978" y="10791"/>
                    <a:pt x="34978" y="8886"/>
                    <a:pt x="32882" y="7743"/>
                  </a:cubicBezTo>
                  <a:lnTo>
                    <a:pt x="20785" y="695"/>
                  </a:lnTo>
                  <a:cubicBezTo>
                    <a:pt x="18442" y="-448"/>
                    <a:pt x="15699" y="-448"/>
                    <a:pt x="13356" y="695"/>
                  </a:cubicBezTo>
                  <a:lnTo>
                    <a:pt x="1164" y="7743"/>
                  </a:lnTo>
                  <a:cubicBezTo>
                    <a:pt x="-836" y="9267"/>
                    <a:pt x="-836" y="10791"/>
                    <a:pt x="1164" y="12029"/>
                  </a:cubicBezTo>
                  <a:close/>
                </a:path>
              </a:pathLst>
            </a:custGeom>
            <a:solidFill>
              <a:srgbClr val="D1D9E8"/>
            </a:solidFill>
            <a:ln w="9525" cap="flat">
              <a:noFill/>
              <a:prstDash val="solid"/>
              <a:miter/>
            </a:ln>
          </p:spPr>
          <p:txBody>
            <a:bodyPr rtlCol="0" anchor="ctr"/>
            <a:lstStyle/>
            <a:p>
              <a:endParaRPr lang="zh-CN" altLang="en-US"/>
            </a:p>
          </p:txBody>
        </p:sp>
        <p:sp>
          <p:nvSpPr>
            <p:cNvPr id="692" name="îšľîdê">
              <a:extLst>
                <a:ext uri="{FF2B5EF4-FFF2-40B4-BE49-F238E27FC236}">
                  <a16:creationId xmlns:a16="http://schemas.microsoft.com/office/drawing/2014/main" id="{0EBE916F-CBE6-4D8C-8396-1826B9917480}"/>
                </a:ext>
              </a:extLst>
            </p:cNvPr>
            <p:cNvSpPr/>
            <p:nvPr/>
          </p:nvSpPr>
          <p:spPr>
            <a:xfrm>
              <a:off x="5398029" y="4944707"/>
              <a:ext cx="109594" cy="53801"/>
            </a:xfrm>
            <a:custGeom>
              <a:avLst/>
              <a:gdLst>
                <a:gd name="connsiteX0" fmla="*/ -336 w 36004"/>
                <a:gd name="connsiteY0" fmla="*/ -163 h 17675"/>
                <a:gd name="connsiteX1" fmla="*/ -336 w 36004"/>
                <a:gd name="connsiteY1" fmla="*/ 7076 h 17675"/>
                <a:gd name="connsiteX2" fmla="*/ 1188 w 36004"/>
                <a:gd name="connsiteY2" fmla="*/ 9267 h 17675"/>
                <a:gd name="connsiteX3" fmla="*/ 13856 w 36004"/>
                <a:gd name="connsiteY3" fmla="*/ 16506 h 17675"/>
                <a:gd name="connsiteX4" fmla="*/ 21476 w 36004"/>
                <a:gd name="connsiteY4" fmla="*/ 16506 h 17675"/>
                <a:gd name="connsiteX5" fmla="*/ 34144 w 36004"/>
                <a:gd name="connsiteY5" fmla="*/ 9267 h 17675"/>
                <a:gd name="connsiteX6" fmla="*/ 35668 w 36004"/>
                <a:gd name="connsiteY6" fmla="*/ 6981 h 17675"/>
                <a:gd name="connsiteX7" fmla="*/ 35668 w 36004"/>
                <a:gd name="connsiteY7" fmla="*/ -163 h 17675"/>
                <a:gd name="connsiteX8" fmla="*/ 34144 w 36004"/>
                <a:gd name="connsiteY8" fmla="*/ 2123 h 17675"/>
                <a:gd name="connsiteX9" fmla="*/ 31763 w 36004"/>
                <a:gd name="connsiteY9" fmla="*/ 3457 h 17675"/>
                <a:gd name="connsiteX10" fmla="*/ 21476 w 36004"/>
                <a:gd name="connsiteY10" fmla="*/ 9362 h 17675"/>
                <a:gd name="connsiteX11" fmla="*/ 13856 w 36004"/>
                <a:gd name="connsiteY11" fmla="*/ 9362 h 17675"/>
                <a:gd name="connsiteX12" fmla="*/ 3569 w 36004"/>
                <a:gd name="connsiteY12" fmla="*/ 3457 h 17675"/>
                <a:gd name="connsiteX13" fmla="*/ 1188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79" y="8038"/>
                    <a:pt x="311" y="8877"/>
                    <a:pt x="1188" y="9267"/>
                  </a:cubicBezTo>
                  <a:lnTo>
                    <a:pt x="13856" y="16506"/>
                  </a:lnTo>
                  <a:cubicBezTo>
                    <a:pt x="16218" y="17849"/>
                    <a:pt x="19114" y="17849"/>
                    <a:pt x="21476" y="16506"/>
                  </a:cubicBezTo>
                  <a:lnTo>
                    <a:pt x="34144" y="9267"/>
                  </a:lnTo>
                  <a:cubicBezTo>
                    <a:pt x="35049" y="8867"/>
                    <a:pt x="35640" y="7972"/>
                    <a:pt x="35668" y="6981"/>
                  </a:cubicBezTo>
                  <a:lnTo>
                    <a:pt x="35668" y="-163"/>
                  </a:lnTo>
                  <a:cubicBezTo>
                    <a:pt x="35602" y="818"/>
                    <a:pt x="35021" y="1685"/>
                    <a:pt x="34144" y="2123"/>
                  </a:cubicBezTo>
                  <a:lnTo>
                    <a:pt x="31763" y="3457"/>
                  </a:lnTo>
                  <a:lnTo>
                    <a:pt x="21476" y="9362"/>
                  </a:lnTo>
                  <a:cubicBezTo>
                    <a:pt x="19085" y="10601"/>
                    <a:pt x="16247" y="10601"/>
                    <a:pt x="13856" y="9362"/>
                  </a:cubicBezTo>
                  <a:lnTo>
                    <a:pt x="3569" y="3457"/>
                  </a:lnTo>
                  <a:lnTo>
                    <a:pt x="1188" y="2123"/>
                  </a:lnTo>
                  <a:cubicBezTo>
                    <a:pt x="311"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93" name="îṧ1îdè">
              <a:extLst>
                <a:ext uri="{FF2B5EF4-FFF2-40B4-BE49-F238E27FC236}">
                  <a16:creationId xmlns:a16="http://schemas.microsoft.com/office/drawing/2014/main" id="{F5B38880-B596-4876-B564-E91B5B98F1F6}"/>
                </a:ext>
              </a:extLst>
            </p:cNvPr>
            <p:cNvSpPr/>
            <p:nvPr/>
          </p:nvSpPr>
          <p:spPr>
            <a:xfrm>
              <a:off x="5474282" y="4957884"/>
              <a:ext cx="109740" cy="63292"/>
            </a:xfrm>
            <a:custGeom>
              <a:avLst/>
              <a:gdLst>
                <a:gd name="connsiteX0" fmla="*/ -336 w 36052"/>
                <a:gd name="connsiteY0" fmla="*/ 10177 h 20793"/>
                <a:gd name="connsiteX1" fmla="*/ 1283 w 36052"/>
                <a:gd name="connsiteY1" fmla="*/ 12463 h 20793"/>
                <a:gd name="connsiteX2" fmla="*/ 3569 w 36052"/>
                <a:gd name="connsiteY2" fmla="*/ 13796 h 20793"/>
                <a:gd name="connsiteX3" fmla="*/ 13856 w 36052"/>
                <a:gd name="connsiteY3" fmla="*/ 19702 h 20793"/>
                <a:gd name="connsiteX4" fmla="*/ 21571 w 36052"/>
                <a:gd name="connsiteY4" fmla="*/ 19702 h 20793"/>
                <a:gd name="connsiteX5" fmla="*/ 31858 w 36052"/>
                <a:gd name="connsiteY5" fmla="*/ 13796 h 20793"/>
                <a:gd name="connsiteX6" fmla="*/ 34144 w 36052"/>
                <a:gd name="connsiteY6" fmla="*/ 12463 h 20793"/>
                <a:gd name="connsiteX7" fmla="*/ 35573 w 36052"/>
                <a:gd name="connsiteY7" fmla="*/ 9415 h 20793"/>
                <a:gd name="connsiteX8" fmla="*/ 34144 w 36052"/>
                <a:gd name="connsiteY8" fmla="*/ 7986 h 20793"/>
                <a:gd name="connsiteX9" fmla="*/ 21571 w 36052"/>
                <a:gd name="connsiteY9" fmla="*/ 652 h 20793"/>
                <a:gd name="connsiteX10" fmla="*/ 13856 w 36052"/>
                <a:gd name="connsiteY10" fmla="*/ 652 h 20793"/>
                <a:gd name="connsiteX11" fmla="*/ 1283 w 36052"/>
                <a:gd name="connsiteY11" fmla="*/ 7986 h 20793"/>
                <a:gd name="connsiteX12" fmla="*/ -336 w 36052"/>
                <a:gd name="connsiteY12" fmla="*/ 10177 h 20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793">
                  <a:moveTo>
                    <a:pt x="-336" y="10177"/>
                  </a:moveTo>
                  <a:cubicBezTo>
                    <a:pt x="-270" y="11186"/>
                    <a:pt x="359" y="12072"/>
                    <a:pt x="1283" y="12463"/>
                  </a:cubicBezTo>
                  <a:lnTo>
                    <a:pt x="3569" y="13796"/>
                  </a:lnTo>
                  <a:lnTo>
                    <a:pt x="13856" y="19702"/>
                  </a:lnTo>
                  <a:cubicBezTo>
                    <a:pt x="16275" y="20940"/>
                    <a:pt x="19152" y="20940"/>
                    <a:pt x="21571" y="19702"/>
                  </a:cubicBezTo>
                  <a:lnTo>
                    <a:pt x="31858" y="13796"/>
                  </a:lnTo>
                  <a:lnTo>
                    <a:pt x="34144" y="12463"/>
                  </a:lnTo>
                  <a:cubicBezTo>
                    <a:pt x="35382" y="12015"/>
                    <a:pt x="36020" y="10643"/>
                    <a:pt x="35573" y="9415"/>
                  </a:cubicBezTo>
                  <a:cubicBezTo>
                    <a:pt x="35325" y="8748"/>
                    <a:pt x="34811" y="8224"/>
                    <a:pt x="34144" y="7986"/>
                  </a:cubicBezTo>
                  <a:lnTo>
                    <a:pt x="21571" y="652"/>
                  </a:lnTo>
                  <a:cubicBezTo>
                    <a:pt x="19114" y="-434"/>
                    <a:pt x="16313" y="-434"/>
                    <a:pt x="13856" y="652"/>
                  </a:cubicBezTo>
                  <a:lnTo>
                    <a:pt x="1283" y="7986"/>
                  </a:lnTo>
                  <a:cubicBezTo>
                    <a:pt x="387" y="8367"/>
                    <a:pt x="-241" y="9205"/>
                    <a:pt x="-336" y="10177"/>
                  </a:cubicBezTo>
                  <a:close/>
                </a:path>
              </a:pathLst>
            </a:custGeom>
            <a:solidFill>
              <a:srgbClr val="FFFFFF"/>
            </a:solidFill>
            <a:ln w="9525" cap="flat">
              <a:noFill/>
              <a:prstDash val="solid"/>
              <a:miter/>
            </a:ln>
          </p:spPr>
          <p:txBody>
            <a:bodyPr rtlCol="0" anchor="ctr"/>
            <a:lstStyle/>
            <a:p>
              <a:endParaRPr lang="zh-CN" altLang="en-US"/>
            </a:p>
          </p:txBody>
        </p:sp>
        <p:sp>
          <p:nvSpPr>
            <p:cNvPr id="694" name="iṩľïḑe">
              <a:extLst>
                <a:ext uri="{FF2B5EF4-FFF2-40B4-BE49-F238E27FC236}">
                  <a16:creationId xmlns:a16="http://schemas.microsoft.com/office/drawing/2014/main" id="{4ADD2ACB-B330-443B-AE8E-5D8C2ECFE2B0}"/>
                </a:ext>
              </a:extLst>
            </p:cNvPr>
            <p:cNvSpPr/>
            <p:nvPr/>
          </p:nvSpPr>
          <p:spPr>
            <a:xfrm>
              <a:off x="5476167" y="4958913"/>
              <a:ext cx="106766" cy="61101"/>
            </a:xfrm>
            <a:custGeom>
              <a:avLst/>
              <a:gdLst>
                <a:gd name="connsiteX0" fmla="*/ 1521 w 35075"/>
                <a:gd name="connsiteY0" fmla="*/ 12029 h 20073"/>
                <a:gd name="connsiteX1" fmla="*/ 13618 w 35075"/>
                <a:gd name="connsiteY1" fmla="*/ 18983 h 20073"/>
                <a:gd name="connsiteX2" fmla="*/ 21047 w 35075"/>
                <a:gd name="connsiteY2" fmla="*/ 18983 h 20073"/>
                <a:gd name="connsiteX3" fmla="*/ 33239 w 35075"/>
                <a:gd name="connsiteY3" fmla="*/ 12029 h 20073"/>
                <a:gd name="connsiteX4" fmla="*/ 33239 w 35075"/>
                <a:gd name="connsiteY4" fmla="*/ 7743 h 20073"/>
                <a:gd name="connsiteX5" fmla="*/ 21047 w 35075"/>
                <a:gd name="connsiteY5" fmla="*/ 695 h 20073"/>
                <a:gd name="connsiteX6" fmla="*/ 13618 w 35075"/>
                <a:gd name="connsiteY6" fmla="*/ 695 h 20073"/>
                <a:gd name="connsiteX7" fmla="*/ 1521 w 35075"/>
                <a:gd name="connsiteY7" fmla="*/ 7743 h 20073"/>
                <a:gd name="connsiteX8" fmla="*/ 1521 w 35075"/>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075" h="20073">
                  <a:moveTo>
                    <a:pt x="1521" y="12029"/>
                  </a:moveTo>
                  <a:lnTo>
                    <a:pt x="13618" y="18983"/>
                  </a:lnTo>
                  <a:cubicBezTo>
                    <a:pt x="15942" y="20221"/>
                    <a:pt x="18723" y="20221"/>
                    <a:pt x="21047" y="18983"/>
                  </a:cubicBezTo>
                  <a:lnTo>
                    <a:pt x="33239" y="12029"/>
                  </a:lnTo>
                  <a:cubicBezTo>
                    <a:pt x="35239" y="10791"/>
                    <a:pt x="35239" y="8886"/>
                    <a:pt x="33239" y="7743"/>
                  </a:cubicBezTo>
                  <a:lnTo>
                    <a:pt x="21047" y="695"/>
                  </a:lnTo>
                  <a:cubicBezTo>
                    <a:pt x="18704" y="-448"/>
                    <a:pt x="15961" y="-448"/>
                    <a:pt x="13618" y="695"/>
                  </a:cubicBezTo>
                  <a:lnTo>
                    <a:pt x="1521" y="7743"/>
                  </a:lnTo>
                  <a:cubicBezTo>
                    <a:pt x="-955" y="8886"/>
                    <a:pt x="-955" y="10791"/>
                    <a:pt x="1521" y="12029"/>
                  </a:cubicBezTo>
                  <a:close/>
                </a:path>
              </a:pathLst>
            </a:custGeom>
            <a:solidFill>
              <a:srgbClr val="D1D9E8"/>
            </a:solidFill>
            <a:ln w="9525" cap="flat">
              <a:noFill/>
              <a:prstDash val="solid"/>
              <a:miter/>
            </a:ln>
          </p:spPr>
          <p:txBody>
            <a:bodyPr rtlCol="0" anchor="ctr"/>
            <a:lstStyle/>
            <a:p>
              <a:endParaRPr lang="zh-CN" altLang="en-US"/>
            </a:p>
          </p:txBody>
        </p:sp>
        <p:sp>
          <p:nvSpPr>
            <p:cNvPr id="695" name="ïšľíḍé">
              <a:extLst>
                <a:ext uri="{FF2B5EF4-FFF2-40B4-BE49-F238E27FC236}">
                  <a16:creationId xmlns:a16="http://schemas.microsoft.com/office/drawing/2014/main" id="{4B600CE1-1803-48E4-A7D2-C51D6A2F264E}"/>
                </a:ext>
              </a:extLst>
            </p:cNvPr>
            <p:cNvSpPr/>
            <p:nvPr/>
          </p:nvSpPr>
          <p:spPr>
            <a:xfrm>
              <a:off x="5474282" y="4989358"/>
              <a:ext cx="109883" cy="53801"/>
            </a:xfrm>
            <a:custGeom>
              <a:avLst/>
              <a:gdLst>
                <a:gd name="connsiteX0" fmla="*/ -336 w 36099"/>
                <a:gd name="connsiteY0" fmla="*/ -163 h 17675"/>
                <a:gd name="connsiteX1" fmla="*/ -336 w 36099"/>
                <a:gd name="connsiteY1" fmla="*/ 7076 h 17675"/>
                <a:gd name="connsiteX2" fmla="*/ 1283 w 36099"/>
                <a:gd name="connsiteY2" fmla="*/ 9267 h 17675"/>
                <a:gd name="connsiteX3" fmla="*/ 13856 w 36099"/>
                <a:gd name="connsiteY3" fmla="*/ 16506 h 17675"/>
                <a:gd name="connsiteX4" fmla="*/ 21571 w 36099"/>
                <a:gd name="connsiteY4" fmla="*/ 16506 h 17675"/>
                <a:gd name="connsiteX5" fmla="*/ 34144 w 36099"/>
                <a:gd name="connsiteY5" fmla="*/ 9267 h 17675"/>
                <a:gd name="connsiteX6" fmla="*/ 35764 w 36099"/>
                <a:gd name="connsiteY6" fmla="*/ 6981 h 17675"/>
                <a:gd name="connsiteX7" fmla="*/ 35764 w 36099"/>
                <a:gd name="connsiteY7" fmla="*/ -163 h 17675"/>
                <a:gd name="connsiteX8" fmla="*/ 34144 w 36099"/>
                <a:gd name="connsiteY8" fmla="*/ 2123 h 17675"/>
                <a:gd name="connsiteX9" fmla="*/ 31858 w 36099"/>
                <a:gd name="connsiteY9" fmla="*/ 3457 h 17675"/>
                <a:gd name="connsiteX10" fmla="*/ 21571 w 36099"/>
                <a:gd name="connsiteY10" fmla="*/ 9362 h 17675"/>
                <a:gd name="connsiteX11" fmla="*/ 13856 w 36099"/>
                <a:gd name="connsiteY11" fmla="*/ 9362 h 17675"/>
                <a:gd name="connsiteX12" fmla="*/ 3569 w 36099"/>
                <a:gd name="connsiteY12" fmla="*/ 3457 h 17675"/>
                <a:gd name="connsiteX13" fmla="*/ 1283 w 36099"/>
                <a:gd name="connsiteY13" fmla="*/ 2123 h 17675"/>
                <a:gd name="connsiteX14" fmla="*/ -336 w 36099"/>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675">
                  <a:moveTo>
                    <a:pt x="-336" y="-163"/>
                  </a:moveTo>
                  <a:lnTo>
                    <a:pt x="-336" y="7076"/>
                  </a:lnTo>
                  <a:cubicBezTo>
                    <a:pt x="-241" y="8048"/>
                    <a:pt x="387" y="8886"/>
                    <a:pt x="1283" y="9267"/>
                  </a:cubicBezTo>
                  <a:lnTo>
                    <a:pt x="13856" y="16506"/>
                  </a:lnTo>
                  <a:cubicBezTo>
                    <a:pt x="16256" y="17849"/>
                    <a:pt x="19171" y="17849"/>
                    <a:pt x="21571" y="16506"/>
                  </a:cubicBezTo>
                  <a:lnTo>
                    <a:pt x="34144" y="9267"/>
                  </a:lnTo>
                  <a:cubicBezTo>
                    <a:pt x="35049" y="8839"/>
                    <a:pt x="35659" y="7972"/>
                    <a:pt x="35764" y="6981"/>
                  </a:cubicBezTo>
                  <a:lnTo>
                    <a:pt x="35764" y="-163"/>
                  </a:lnTo>
                  <a:cubicBezTo>
                    <a:pt x="35659" y="828"/>
                    <a:pt x="35049" y="1695"/>
                    <a:pt x="34144" y="2123"/>
                  </a:cubicBezTo>
                  <a:lnTo>
                    <a:pt x="31858" y="3457"/>
                  </a:lnTo>
                  <a:lnTo>
                    <a:pt x="21571" y="9362"/>
                  </a:lnTo>
                  <a:cubicBezTo>
                    <a:pt x="19152" y="10601"/>
                    <a:pt x="16275" y="10601"/>
                    <a:pt x="13856" y="9362"/>
                  </a:cubicBezTo>
                  <a:lnTo>
                    <a:pt x="3569" y="3457"/>
                  </a:lnTo>
                  <a:lnTo>
                    <a:pt x="1283" y="2123"/>
                  </a:lnTo>
                  <a:cubicBezTo>
                    <a:pt x="359" y="1733"/>
                    <a:pt x="-270" y="847"/>
                    <a:pt x="-336" y="-163"/>
                  </a:cubicBezTo>
                  <a:close/>
                </a:path>
              </a:pathLst>
            </a:custGeom>
            <a:solidFill>
              <a:srgbClr val="BF4200"/>
            </a:solidFill>
            <a:ln w="9525" cap="flat">
              <a:noFill/>
              <a:prstDash val="solid"/>
              <a:miter/>
            </a:ln>
          </p:spPr>
          <p:txBody>
            <a:bodyPr rtlCol="0" anchor="ctr"/>
            <a:lstStyle/>
            <a:p>
              <a:endParaRPr lang="zh-CN" altLang="en-US"/>
            </a:p>
          </p:txBody>
        </p:sp>
        <p:sp>
          <p:nvSpPr>
            <p:cNvPr id="696" name="íṣ1íḓê">
              <a:extLst>
                <a:ext uri="{FF2B5EF4-FFF2-40B4-BE49-F238E27FC236}">
                  <a16:creationId xmlns:a16="http://schemas.microsoft.com/office/drawing/2014/main" id="{829E2809-2336-47A9-A924-26018F3E6733}"/>
                </a:ext>
              </a:extLst>
            </p:cNvPr>
            <p:cNvSpPr/>
            <p:nvPr/>
          </p:nvSpPr>
          <p:spPr>
            <a:xfrm>
              <a:off x="5552566" y="5002383"/>
              <a:ext cx="109740" cy="63442"/>
            </a:xfrm>
            <a:custGeom>
              <a:avLst/>
              <a:gdLst>
                <a:gd name="connsiteX0" fmla="*/ -336 w 36052"/>
                <a:gd name="connsiteY0" fmla="*/ 10227 h 20842"/>
                <a:gd name="connsiteX1" fmla="*/ 1187 w 36052"/>
                <a:gd name="connsiteY1" fmla="*/ 12513 h 20842"/>
                <a:gd name="connsiteX2" fmla="*/ 3569 w 36052"/>
                <a:gd name="connsiteY2" fmla="*/ 13846 h 20842"/>
                <a:gd name="connsiteX3" fmla="*/ 13856 w 36052"/>
                <a:gd name="connsiteY3" fmla="*/ 19752 h 20842"/>
                <a:gd name="connsiteX4" fmla="*/ 21476 w 36052"/>
                <a:gd name="connsiteY4" fmla="*/ 19752 h 20842"/>
                <a:gd name="connsiteX5" fmla="*/ 31763 w 36052"/>
                <a:gd name="connsiteY5" fmla="*/ 13846 h 20842"/>
                <a:gd name="connsiteX6" fmla="*/ 34144 w 36052"/>
                <a:gd name="connsiteY6" fmla="*/ 12513 h 20842"/>
                <a:gd name="connsiteX7" fmla="*/ 35573 w 36052"/>
                <a:gd name="connsiteY7" fmla="*/ 9465 h 20842"/>
                <a:gd name="connsiteX8" fmla="*/ 34144 w 36052"/>
                <a:gd name="connsiteY8" fmla="*/ 8036 h 20842"/>
                <a:gd name="connsiteX9" fmla="*/ 21476 w 36052"/>
                <a:gd name="connsiteY9" fmla="*/ 702 h 20842"/>
                <a:gd name="connsiteX10" fmla="*/ 13856 w 36052"/>
                <a:gd name="connsiteY10" fmla="*/ 702 h 20842"/>
                <a:gd name="connsiteX11" fmla="*/ 1187 w 36052"/>
                <a:gd name="connsiteY11" fmla="*/ 8036 h 20842"/>
                <a:gd name="connsiteX12" fmla="*/ -336 w 36052"/>
                <a:gd name="connsiteY12" fmla="*/ 10227 h 20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2">
                  <a:moveTo>
                    <a:pt x="-336" y="10227"/>
                  </a:moveTo>
                  <a:cubicBezTo>
                    <a:pt x="-270" y="11208"/>
                    <a:pt x="311" y="12075"/>
                    <a:pt x="1187" y="12513"/>
                  </a:cubicBezTo>
                  <a:lnTo>
                    <a:pt x="3569" y="13846"/>
                  </a:lnTo>
                  <a:lnTo>
                    <a:pt x="13856" y="19752"/>
                  </a:lnTo>
                  <a:cubicBezTo>
                    <a:pt x="16247" y="20990"/>
                    <a:pt x="19085" y="20990"/>
                    <a:pt x="21476" y="19752"/>
                  </a:cubicBezTo>
                  <a:lnTo>
                    <a:pt x="31763" y="13846"/>
                  </a:lnTo>
                  <a:lnTo>
                    <a:pt x="34144" y="12513"/>
                  </a:lnTo>
                  <a:cubicBezTo>
                    <a:pt x="35382" y="12065"/>
                    <a:pt x="36020" y="10693"/>
                    <a:pt x="35573" y="9465"/>
                  </a:cubicBezTo>
                  <a:cubicBezTo>
                    <a:pt x="35325" y="8798"/>
                    <a:pt x="34811" y="8274"/>
                    <a:pt x="34144" y="8036"/>
                  </a:cubicBezTo>
                  <a:lnTo>
                    <a:pt x="21476" y="702"/>
                  </a:lnTo>
                  <a:cubicBezTo>
                    <a:pt x="19066" y="-451"/>
                    <a:pt x="16266" y="-451"/>
                    <a:pt x="13856" y="702"/>
                  </a:cubicBezTo>
                  <a:lnTo>
                    <a:pt x="1187"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697" name="iṥḻïḓè">
              <a:extLst>
                <a:ext uri="{FF2B5EF4-FFF2-40B4-BE49-F238E27FC236}">
                  <a16:creationId xmlns:a16="http://schemas.microsoft.com/office/drawing/2014/main" id="{5E55F4F6-DA3B-442B-8E33-9C37EB5265CC}"/>
                </a:ext>
              </a:extLst>
            </p:cNvPr>
            <p:cNvSpPr/>
            <p:nvPr/>
          </p:nvSpPr>
          <p:spPr>
            <a:xfrm>
              <a:off x="5554450" y="5003564"/>
              <a:ext cx="105825" cy="61104"/>
            </a:xfrm>
            <a:custGeom>
              <a:avLst/>
              <a:gdLst>
                <a:gd name="connsiteX0" fmla="*/ 1235 w 34766"/>
                <a:gd name="connsiteY0" fmla="*/ 12029 h 20074"/>
                <a:gd name="connsiteX1" fmla="*/ 13332 w 34766"/>
                <a:gd name="connsiteY1" fmla="*/ 18983 h 20074"/>
                <a:gd name="connsiteX2" fmla="*/ 20762 w 34766"/>
                <a:gd name="connsiteY2" fmla="*/ 18983 h 20074"/>
                <a:gd name="connsiteX3" fmla="*/ 32858 w 34766"/>
                <a:gd name="connsiteY3" fmla="*/ 12029 h 20074"/>
                <a:gd name="connsiteX4" fmla="*/ 32858 w 34766"/>
                <a:gd name="connsiteY4" fmla="*/ 7743 h 20074"/>
                <a:gd name="connsiteX5" fmla="*/ 20762 w 34766"/>
                <a:gd name="connsiteY5" fmla="*/ 695 h 20074"/>
                <a:gd name="connsiteX6" fmla="*/ 13332 w 34766"/>
                <a:gd name="connsiteY6" fmla="*/ 695 h 20074"/>
                <a:gd name="connsiteX7" fmla="*/ 1235 w 34766"/>
                <a:gd name="connsiteY7" fmla="*/ 7743 h 20074"/>
                <a:gd name="connsiteX8" fmla="*/ 1235 w 34766"/>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6" h="20074">
                  <a:moveTo>
                    <a:pt x="1235" y="12029"/>
                  </a:moveTo>
                  <a:lnTo>
                    <a:pt x="13332" y="18983"/>
                  </a:lnTo>
                  <a:cubicBezTo>
                    <a:pt x="15656" y="20221"/>
                    <a:pt x="18437" y="20221"/>
                    <a:pt x="20762" y="18983"/>
                  </a:cubicBezTo>
                  <a:lnTo>
                    <a:pt x="32858" y="12029"/>
                  </a:lnTo>
                  <a:cubicBezTo>
                    <a:pt x="34954" y="10791"/>
                    <a:pt x="34954" y="8886"/>
                    <a:pt x="32858" y="7743"/>
                  </a:cubicBezTo>
                  <a:lnTo>
                    <a:pt x="20762" y="695"/>
                  </a:lnTo>
                  <a:cubicBezTo>
                    <a:pt x="18419" y="-448"/>
                    <a:pt x="15675" y="-448"/>
                    <a:pt x="13332" y="695"/>
                  </a:cubicBezTo>
                  <a:lnTo>
                    <a:pt x="1235" y="7743"/>
                  </a:lnTo>
                  <a:cubicBezTo>
                    <a:pt x="-860" y="8505"/>
                    <a:pt x="-860" y="10791"/>
                    <a:pt x="1235" y="12029"/>
                  </a:cubicBezTo>
                  <a:close/>
                </a:path>
              </a:pathLst>
            </a:custGeom>
            <a:solidFill>
              <a:srgbClr val="D1D9E8"/>
            </a:solidFill>
            <a:ln w="9525" cap="flat">
              <a:noFill/>
              <a:prstDash val="solid"/>
              <a:miter/>
            </a:ln>
          </p:spPr>
          <p:txBody>
            <a:bodyPr rtlCol="0" anchor="ctr"/>
            <a:lstStyle/>
            <a:p>
              <a:endParaRPr lang="zh-CN" altLang="en-US"/>
            </a:p>
          </p:txBody>
        </p:sp>
        <p:sp>
          <p:nvSpPr>
            <p:cNvPr id="698" name="iṧ1idè">
              <a:extLst>
                <a:ext uri="{FF2B5EF4-FFF2-40B4-BE49-F238E27FC236}">
                  <a16:creationId xmlns:a16="http://schemas.microsoft.com/office/drawing/2014/main" id="{DD6D111A-2534-4BDF-897E-49E58700A2A2}"/>
                </a:ext>
              </a:extLst>
            </p:cNvPr>
            <p:cNvSpPr/>
            <p:nvPr/>
          </p:nvSpPr>
          <p:spPr>
            <a:xfrm>
              <a:off x="5552566" y="5034006"/>
              <a:ext cx="109594" cy="53564"/>
            </a:xfrm>
            <a:custGeom>
              <a:avLst/>
              <a:gdLst>
                <a:gd name="connsiteX0" fmla="*/ -336 w 36004"/>
                <a:gd name="connsiteY0" fmla="*/ -163 h 17597"/>
                <a:gd name="connsiteX1" fmla="*/ -336 w 36004"/>
                <a:gd name="connsiteY1" fmla="*/ 7076 h 17597"/>
                <a:gd name="connsiteX2" fmla="*/ 1187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3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7 w 36004"/>
                <a:gd name="connsiteY13" fmla="*/ 2123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7" y="9267"/>
                  </a:cubicBezTo>
                  <a:lnTo>
                    <a:pt x="13856" y="16506"/>
                  </a:lnTo>
                  <a:cubicBezTo>
                    <a:pt x="16247" y="17744"/>
                    <a:pt x="19085" y="17744"/>
                    <a:pt x="21476" y="16506"/>
                  </a:cubicBezTo>
                  <a:lnTo>
                    <a:pt x="34144" y="9267"/>
                  </a:lnTo>
                  <a:cubicBezTo>
                    <a:pt x="35011" y="8819"/>
                    <a:pt x="35582" y="7953"/>
                    <a:pt x="35668" y="6981"/>
                  </a:cubicBezTo>
                  <a:lnTo>
                    <a:pt x="35668" y="-163"/>
                  </a:lnTo>
                  <a:cubicBezTo>
                    <a:pt x="35601" y="818"/>
                    <a:pt x="35020" y="1685"/>
                    <a:pt x="34144" y="2123"/>
                  </a:cubicBezTo>
                  <a:lnTo>
                    <a:pt x="31763" y="3457"/>
                  </a:lnTo>
                  <a:lnTo>
                    <a:pt x="21476" y="9362"/>
                  </a:lnTo>
                  <a:cubicBezTo>
                    <a:pt x="19085" y="10600"/>
                    <a:pt x="16247" y="10600"/>
                    <a:pt x="13856" y="9362"/>
                  </a:cubicBezTo>
                  <a:lnTo>
                    <a:pt x="3569" y="3457"/>
                  </a:lnTo>
                  <a:lnTo>
                    <a:pt x="1187"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99" name="îṩḷïďé">
              <a:extLst>
                <a:ext uri="{FF2B5EF4-FFF2-40B4-BE49-F238E27FC236}">
                  <a16:creationId xmlns:a16="http://schemas.microsoft.com/office/drawing/2014/main" id="{649061F3-B284-4E64-9A0C-F84B8CD2EC0E}"/>
                </a:ext>
              </a:extLst>
            </p:cNvPr>
            <p:cNvSpPr/>
            <p:nvPr/>
          </p:nvSpPr>
          <p:spPr>
            <a:xfrm>
              <a:off x="5629687" y="5046836"/>
              <a:ext cx="109740" cy="63639"/>
            </a:xfrm>
            <a:custGeom>
              <a:avLst/>
              <a:gdLst>
                <a:gd name="connsiteX0" fmla="*/ -336 w 36052"/>
                <a:gd name="connsiteY0" fmla="*/ 10291 h 20907"/>
                <a:gd name="connsiteX1" fmla="*/ 1283 w 36052"/>
                <a:gd name="connsiteY1" fmla="*/ 12577 h 20907"/>
                <a:gd name="connsiteX2" fmla="*/ 3569 w 36052"/>
                <a:gd name="connsiteY2" fmla="*/ 13911 h 20907"/>
                <a:gd name="connsiteX3" fmla="*/ 13856 w 36052"/>
                <a:gd name="connsiteY3" fmla="*/ 19816 h 20907"/>
                <a:gd name="connsiteX4" fmla="*/ 21571 w 36052"/>
                <a:gd name="connsiteY4" fmla="*/ 19816 h 20907"/>
                <a:gd name="connsiteX5" fmla="*/ 31858 w 36052"/>
                <a:gd name="connsiteY5" fmla="*/ 13911 h 20907"/>
                <a:gd name="connsiteX6" fmla="*/ 34144 w 36052"/>
                <a:gd name="connsiteY6" fmla="*/ 12577 h 20907"/>
                <a:gd name="connsiteX7" fmla="*/ 35573 w 36052"/>
                <a:gd name="connsiteY7" fmla="*/ 9529 h 20907"/>
                <a:gd name="connsiteX8" fmla="*/ 34144 w 36052"/>
                <a:gd name="connsiteY8" fmla="*/ 8101 h 20907"/>
                <a:gd name="connsiteX9" fmla="*/ 21571 w 36052"/>
                <a:gd name="connsiteY9" fmla="*/ 766 h 20907"/>
                <a:gd name="connsiteX10" fmla="*/ 13856 w 36052"/>
                <a:gd name="connsiteY10" fmla="*/ 766 h 20907"/>
                <a:gd name="connsiteX11" fmla="*/ 1283 w 36052"/>
                <a:gd name="connsiteY11" fmla="*/ 8101 h 20907"/>
                <a:gd name="connsiteX12" fmla="*/ -336 w 36052"/>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907">
                  <a:moveTo>
                    <a:pt x="-336" y="10291"/>
                  </a:moveTo>
                  <a:cubicBezTo>
                    <a:pt x="-231" y="11282"/>
                    <a:pt x="378" y="12149"/>
                    <a:pt x="1283" y="12577"/>
                  </a:cubicBezTo>
                  <a:lnTo>
                    <a:pt x="3569" y="13911"/>
                  </a:lnTo>
                  <a:lnTo>
                    <a:pt x="13856" y="19816"/>
                  </a:lnTo>
                  <a:cubicBezTo>
                    <a:pt x="16275" y="21054"/>
                    <a:pt x="19152" y="21054"/>
                    <a:pt x="21571" y="19816"/>
                  </a:cubicBezTo>
                  <a:lnTo>
                    <a:pt x="31858" y="13911"/>
                  </a:lnTo>
                  <a:lnTo>
                    <a:pt x="34144" y="12577"/>
                  </a:lnTo>
                  <a:cubicBezTo>
                    <a:pt x="35382" y="12129"/>
                    <a:pt x="36021" y="10758"/>
                    <a:pt x="35573" y="9529"/>
                  </a:cubicBezTo>
                  <a:cubicBezTo>
                    <a:pt x="35325" y="8862"/>
                    <a:pt x="34811" y="8339"/>
                    <a:pt x="34144" y="8101"/>
                  </a:cubicBezTo>
                  <a:lnTo>
                    <a:pt x="21571" y="766"/>
                  </a:lnTo>
                  <a:cubicBezTo>
                    <a:pt x="19152" y="-472"/>
                    <a:pt x="16275" y="-472"/>
                    <a:pt x="13856" y="766"/>
                  </a:cubicBezTo>
                  <a:lnTo>
                    <a:pt x="1283" y="8101"/>
                  </a:lnTo>
                  <a:cubicBezTo>
                    <a:pt x="407" y="8510"/>
                    <a:pt x="-203" y="933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700" name="iŝļíḍé">
              <a:extLst>
                <a:ext uri="{FF2B5EF4-FFF2-40B4-BE49-F238E27FC236}">
                  <a16:creationId xmlns:a16="http://schemas.microsoft.com/office/drawing/2014/main" id="{84D6CD58-E516-415C-96FC-2D75C5043732}"/>
                </a:ext>
              </a:extLst>
            </p:cNvPr>
            <p:cNvSpPr/>
            <p:nvPr/>
          </p:nvSpPr>
          <p:spPr>
            <a:xfrm>
              <a:off x="5631791" y="5048215"/>
              <a:ext cx="105679" cy="61101"/>
            </a:xfrm>
            <a:custGeom>
              <a:avLst/>
              <a:gdLst>
                <a:gd name="connsiteX0" fmla="*/ 1164 w 34718"/>
                <a:gd name="connsiteY0" fmla="*/ 12029 h 20073"/>
                <a:gd name="connsiteX1" fmla="*/ 13260 w 34718"/>
                <a:gd name="connsiteY1" fmla="*/ 18983 h 20073"/>
                <a:gd name="connsiteX2" fmla="*/ 20690 w 34718"/>
                <a:gd name="connsiteY2" fmla="*/ 18983 h 20073"/>
                <a:gd name="connsiteX3" fmla="*/ 32882 w 34718"/>
                <a:gd name="connsiteY3" fmla="*/ 12029 h 20073"/>
                <a:gd name="connsiteX4" fmla="*/ 32882 w 34718"/>
                <a:gd name="connsiteY4" fmla="*/ 7743 h 20073"/>
                <a:gd name="connsiteX5" fmla="*/ 20690 w 34718"/>
                <a:gd name="connsiteY5" fmla="*/ 695 h 20073"/>
                <a:gd name="connsiteX6" fmla="*/ 13260 w 34718"/>
                <a:gd name="connsiteY6" fmla="*/ 695 h 20073"/>
                <a:gd name="connsiteX7" fmla="*/ 1164 w 34718"/>
                <a:gd name="connsiteY7" fmla="*/ 7743 h 20073"/>
                <a:gd name="connsiteX8" fmla="*/ 1164 w 34718"/>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18" h="20073">
                  <a:moveTo>
                    <a:pt x="1164" y="12029"/>
                  </a:moveTo>
                  <a:lnTo>
                    <a:pt x="13260" y="18983"/>
                  </a:lnTo>
                  <a:cubicBezTo>
                    <a:pt x="15585" y="20221"/>
                    <a:pt x="18366" y="20221"/>
                    <a:pt x="20690" y="18983"/>
                  </a:cubicBezTo>
                  <a:lnTo>
                    <a:pt x="32882" y="12029"/>
                  </a:lnTo>
                  <a:cubicBezTo>
                    <a:pt x="34882" y="10791"/>
                    <a:pt x="34882" y="8886"/>
                    <a:pt x="32882" y="7743"/>
                  </a:cubicBezTo>
                  <a:lnTo>
                    <a:pt x="20690" y="695"/>
                  </a:lnTo>
                  <a:cubicBezTo>
                    <a:pt x="18347" y="-448"/>
                    <a:pt x="15604" y="-448"/>
                    <a:pt x="13260" y="695"/>
                  </a:cubicBezTo>
                  <a:lnTo>
                    <a:pt x="1164" y="7743"/>
                  </a:lnTo>
                  <a:cubicBezTo>
                    <a:pt x="-836" y="8886"/>
                    <a:pt x="-836" y="10791"/>
                    <a:pt x="1164" y="12029"/>
                  </a:cubicBezTo>
                  <a:close/>
                </a:path>
              </a:pathLst>
            </a:custGeom>
            <a:solidFill>
              <a:srgbClr val="D1D9E8"/>
            </a:solidFill>
            <a:ln w="9525" cap="flat">
              <a:noFill/>
              <a:prstDash val="solid"/>
              <a:miter/>
            </a:ln>
          </p:spPr>
          <p:txBody>
            <a:bodyPr rtlCol="0" anchor="ctr"/>
            <a:lstStyle/>
            <a:p>
              <a:endParaRPr lang="zh-CN" altLang="en-US"/>
            </a:p>
          </p:txBody>
        </p:sp>
        <p:sp>
          <p:nvSpPr>
            <p:cNvPr id="701" name="íśľïḍè">
              <a:extLst>
                <a:ext uri="{FF2B5EF4-FFF2-40B4-BE49-F238E27FC236}">
                  <a16:creationId xmlns:a16="http://schemas.microsoft.com/office/drawing/2014/main" id="{1FA15F51-98B4-44E8-84CC-9B5580DCA6D2}"/>
                </a:ext>
              </a:extLst>
            </p:cNvPr>
            <p:cNvSpPr/>
            <p:nvPr/>
          </p:nvSpPr>
          <p:spPr>
            <a:xfrm>
              <a:off x="5629687" y="5078658"/>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4 w 36099"/>
                <a:gd name="connsiteY6" fmla="*/ 6981 h 17597"/>
                <a:gd name="connsiteX7" fmla="*/ 35764 w 36099"/>
                <a:gd name="connsiteY7" fmla="*/ -163 h 17597"/>
                <a:gd name="connsiteX8" fmla="*/ 34144 w 36099"/>
                <a:gd name="connsiteY8" fmla="*/ 2124 h 17597"/>
                <a:gd name="connsiteX9" fmla="*/ 31858 w 36099"/>
                <a:gd name="connsiteY9" fmla="*/ 3457 h 17597"/>
                <a:gd name="connsiteX10" fmla="*/ 21571 w 36099"/>
                <a:gd name="connsiteY10" fmla="*/ 9362 h 17597"/>
                <a:gd name="connsiteX11" fmla="*/ 13856 w 36099"/>
                <a:gd name="connsiteY11" fmla="*/ 9362 h 17597"/>
                <a:gd name="connsiteX12" fmla="*/ 3569 w 36099"/>
                <a:gd name="connsiteY12" fmla="*/ 3457 h 17597"/>
                <a:gd name="connsiteX13" fmla="*/ 1283 w 36099"/>
                <a:gd name="connsiteY13" fmla="*/ 2124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03" y="8029"/>
                    <a:pt x="407" y="8858"/>
                    <a:pt x="1283" y="9267"/>
                  </a:cubicBezTo>
                  <a:lnTo>
                    <a:pt x="13856" y="16506"/>
                  </a:lnTo>
                  <a:cubicBezTo>
                    <a:pt x="16275" y="17744"/>
                    <a:pt x="19152" y="17744"/>
                    <a:pt x="21571" y="16506"/>
                  </a:cubicBezTo>
                  <a:lnTo>
                    <a:pt x="34144" y="9267"/>
                  </a:lnTo>
                  <a:cubicBezTo>
                    <a:pt x="35030" y="8829"/>
                    <a:pt x="35640" y="7972"/>
                    <a:pt x="35764" y="6981"/>
                  </a:cubicBezTo>
                  <a:lnTo>
                    <a:pt x="35764" y="-163"/>
                  </a:lnTo>
                  <a:cubicBezTo>
                    <a:pt x="35659" y="828"/>
                    <a:pt x="35049" y="1695"/>
                    <a:pt x="34144" y="2124"/>
                  </a:cubicBezTo>
                  <a:lnTo>
                    <a:pt x="31858" y="3457"/>
                  </a:lnTo>
                  <a:lnTo>
                    <a:pt x="21571" y="9362"/>
                  </a:lnTo>
                  <a:cubicBezTo>
                    <a:pt x="19152" y="10601"/>
                    <a:pt x="16275" y="10601"/>
                    <a:pt x="13856" y="9362"/>
                  </a:cubicBezTo>
                  <a:lnTo>
                    <a:pt x="3569" y="3457"/>
                  </a:lnTo>
                  <a:lnTo>
                    <a:pt x="1283" y="2124"/>
                  </a:lnTo>
                  <a:cubicBezTo>
                    <a:pt x="378" y="1695"/>
                    <a:pt x="-231"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02" name="îṡḻiḍè">
              <a:extLst>
                <a:ext uri="{FF2B5EF4-FFF2-40B4-BE49-F238E27FC236}">
                  <a16:creationId xmlns:a16="http://schemas.microsoft.com/office/drawing/2014/main" id="{38BF5413-1691-43E3-9BB7-047D417A7722}"/>
                </a:ext>
              </a:extLst>
            </p:cNvPr>
            <p:cNvSpPr/>
            <p:nvPr/>
          </p:nvSpPr>
          <p:spPr>
            <a:xfrm>
              <a:off x="5706230" y="5091488"/>
              <a:ext cx="109594" cy="63639"/>
            </a:xfrm>
            <a:custGeom>
              <a:avLst/>
              <a:gdLst>
                <a:gd name="connsiteX0" fmla="*/ -336 w 36004"/>
                <a:gd name="connsiteY0" fmla="*/ 10291 h 20907"/>
                <a:gd name="connsiteX1" fmla="*/ 1188 w 36004"/>
                <a:gd name="connsiteY1" fmla="*/ 12577 h 20907"/>
                <a:gd name="connsiteX2" fmla="*/ 3569 w 36004"/>
                <a:gd name="connsiteY2" fmla="*/ 13911 h 20907"/>
                <a:gd name="connsiteX3" fmla="*/ 13856 w 36004"/>
                <a:gd name="connsiteY3" fmla="*/ 19816 h 20907"/>
                <a:gd name="connsiteX4" fmla="*/ 21476 w 36004"/>
                <a:gd name="connsiteY4" fmla="*/ 19816 h 20907"/>
                <a:gd name="connsiteX5" fmla="*/ 31763 w 36004"/>
                <a:gd name="connsiteY5" fmla="*/ 13911 h 20907"/>
                <a:gd name="connsiteX6" fmla="*/ 34144 w 36004"/>
                <a:gd name="connsiteY6" fmla="*/ 12577 h 20907"/>
                <a:gd name="connsiteX7" fmla="*/ 35668 w 36004"/>
                <a:gd name="connsiteY7" fmla="*/ 10291 h 20907"/>
                <a:gd name="connsiteX8" fmla="*/ 34144 w 36004"/>
                <a:gd name="connsiteY8" fmla="*/ 8100 h 20907"/>
                <a:gd name="connsiteX9" fmla="*/ 21476 w 36004"/>
                <a:gd name="connsiteY9" fmla="*/ 766 h 20907"/>
                <a:gd name="connsiteX10" fmla="*/ 13856 w 36004"/>
                <a:gd name="connsiteY10" fmla="*/ 766 h 20907"/>
                <a:gd name="connsiteX11" fmla="*/ 1188 w 36004"/>
                <a:gd name="connsiteY11" fmla="*/ 8100 h 20907"/>
                <a:gd name="connsiteX12" fmla="*/ -336 w 36004"/>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907">
                  <a:moveTo>
                    <a:pt x="-336" y="10291"/>
                  </a:moveTo>
                  <a:cubicBezTo>
                    <a:pt x="-270" y="11272"/>
                    <a:pt x="311" y="12139"/>
                    <a:pt x="1188" y="12577"/>
                  </a:cubicBezTo>
                  <a:lnTo>
                    <a:pt x="3569" y="13911"/>
                  </a:lnTo>
                  <a:lnTo>
                    <a:pt x="13856" y="19816"/>
                  </a:lnTo>
                  <a:cubicBezTo>
                    <a:pt x="16247" y="21054"/>
                    <a:pt x="19085" y="21054"/>
                    <a:pt x="21476" y="19816"/>
                  </a:cubicBezTo>
                  <a:lnTo>
                    <a:pt x="31763" y="13911"/>
                  </a:lnTo>
                  <a:lnTo>
                    <a:pt x="34144" y="12577"/>
                  </a:lnTo>
                  <a:cubicBezTo>
                    <a:pt x="35021" y="12139"/>
                    <a:pt x="35602" y="11272"/>
                    <a:pt x="35668" y="10291"/>
                  </a:cubicBezTo>
                  <a:cubicBezTo>
                    <a:pt x="35611" y="9339"/>
                    <a:pt x="35021" y="8491"/>
                    <a:pt x="34144" y="8100"/>
                  </a:cubicBezTo>
                  <a:lnTo>
                    <a:pt x="21476" y="766"/>
                  </a:lnTo>
                  <a:cubicBezTo>
                    <a:pt x="19085" y="-472"/>
                    <a:pt x="16247" y="-472"/>
                    <a:pt x="13856" y="766"/>
                  </a:cubicBezTo>
                  <a:lnTo>
                    <a:pt x="1188" y="8100"/>
                  </a:lnTo>
                  <a:cubicBezTo>
                    <a:pt x="311" y="8491"/>
                    <a:pt x="-279"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703" name="ísḷiḑê">
              <a:extLst>
                <a:ext uri="{FF2B5EF4-FFF2-40B4-BE49-F238E27FC236}">
                  <a16:creationId xmlns:a16="http://schemas.microsoft.com/office/drawing/2014/main" id="{18557B00-E9C7-4D8C-A348-9AD6131757A5}"/>
                </a:ext>
              </a:extLst>
            </p:cNvPr>
            <p:cNvSpPr/>
            <p:nvPr/>
          </p:nvSpPr>
          <p:spPr>
            <a:xfrm>
              <a:off x="5708114" y="5092647"/>
              <a:ext cx="106693" cy="61101"/>
            </a:xfrm>
            <a:custGeom>
              <a:avLst/>
              <a:gdLst>
                <a:gd name="connsiteX0" fmla="*/ 1521 w 35051"/>
                <a:gd name="connsiteY0" fmla="*/ 12006 h 20073"/>
                <a:gd name="connsiteX1" fmla="*/ 13618 w 35051"/>
                <a:gd name="connsiteY1" fmla="*/ 19054 h 20073"/>
                <a:gd name="connsiteX2" fmla="*/ 21047 w 35051"/>
                <a:gd name="connsiteY2" fmla="*/ 19054 h 20073"/>
                <a:gd name="connsiteX3" fmla="*/ 33144 w 35051"/>
                <a:gd name="connsiteY3" fmla="*/ 12006 h 20073"/>
                <a:gd name="connsiteX4" fmla="*/ 33144 w 35051"/>
                <a:gd name="connsiteY4" fmla="*/ 7719 h 20073"/>
                <a:gd name="connsiteX5" fmla="*/ 21047 w 35051"/>
                <a:gd name="connsiteY5" fmla="*/ 766 h 20073"/>
                <a:gd name="connsiteX6" fmla="*/ 13618 w 35051"/>
                <a:gd name="connsiteY6" fmla="*/ 766 h 20073"/>
                <a:gd name="connsiteX7" fmla="*/ 1521 w 35051"/>
                <a:gd name="connsiteY7" fmla="*/ 7719 h 20073"/>
                <a:gd name="connsiteX8" fmla="*/ 1521 w 35051"/>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051" h="20073">
                  <a:moveTo>
                    <a:pt x="1521" y="12006"/>
                  </a:moveTo>
                  <a:lnTo>
                    <a:pt x="13618" y="19054"/>
                  </a:lnTo>
                  <a:cubicBezTo>
                    <a:pt x="15961" y="20197"/>
                    <a:pt x="18704" y="20197"/>
                    <a:pt x="21047" y="19054"/>
                  </a:cubicBezTo>
                  <a:lnTo>
                    <a:pt x="33144" y="12006"/>
                  </a:lnTo>
                  <a:cubicBezTo>
                    <a:pt x="35239" y="10863"/>
                    <a:pt x="35239" y="8957"/>
                    <a:pt x="33144" y="7719"/>
                  </a:cubicBezTo>
                  <a:lnTo>
                    <a:pt x="21047" y="766"/>
                  </a:lnTo>
                  <a:cubicBezTo>
                    <a:pt x="18723" y="-472"/>
                    <a:pt x="15942" y="-472"/>
                    <a:pt x="13618" y="766"/>
                  </a:cubicBezTo>
                  <a:lnTo>
                    <a:pt x="1521" y="7719"/>
                  </a:lnTo>
                  <a:cubicBezTo>
                    <a:pt x="-955" y="8957"/>
                    <a:pt x="-955" y="10863"/>
                    <a:pt x="1521" y="12006"/>
                  </a:cubicBezTo>
                  <a:close/>
                </a:path>
              </a:pathLst>
            </a:custGeom>
            <a:solidFill>
              <a:srgbClr val="D1D9E8"/>
            </a:solidFill>
            <a:ln w="9525" cap="flat">
              <a:noFill/>
              <a:prstDash val="solid"/>
              <a:miter/>
            </a:ln>
          </p:spPr>
          <p:txBody>
            <a:bodyPr rtlCol="0" anchor="ctr"/>
            <a:lstStyle/>
            <a:p>
              <a:endParaRPr lang="zh-CN" altLang="en-US"/>
            </a:p>
          </p:txBody>
        </p:sp>
        <p:sp>
          <p:nvSpPr>
            <p:cNvPr id="704" name="ïşḷiḓê">
              <a:extLst>
                <a:ext uri="{FF2B5EF4-FFF2-40B4-BE49-F238E27FC236}">
                  <a16:creationId xmlns:a16="http://schemas.microsoft.com/office/drawing/2014/main" id="{88E711A4-B166-45BB-AEB6-C435E71E7153}"/>
                </a:ext>
              </a:extLst>
            </p:cNvPr>
            <p:cNvSpPr/>
            <p:nvPr/>
          </p:nvSpPr>
          <p:spPr>
            <a:xfrm>
              <a:off x="5706230" y="5123306"/>
              <a:ext cx="109594" cy="54142"/>
            </a:xfrm>
            <a:custGeom>
              <a:avLst/>
              <a:gdLst>
                <a:gd name="connsiteX0" fmla="*/ -336 w 36004"/>
                <a:gd name="connsiteY0" fmla="*/ -163 h 17787"/>
                <a:gd name="connsiteX1" fmla="*/ -336 w 36004"/>
                <a:gd name="connsiteY1" fmla="*/ 7267 h 17787"/>
                <a:gd name="connsiteX2" fmla="*/ 1188 w 36004"/>
                <a:gd name="connsiteY2" fmla="*/ 9458 h 17787"/>
                <a:gd name="connsiteX3" fmla="*/ 13856 w 36004"/>
                <a:gd name="connsiteY3" fmla="*/ 16697 h 17787"/>
                <a:gd name="connsiteX4" fmla="*/ 21476 w 36004"/>
                <a:gd name="connsiteY4" fmla="*/ 16697 h 17787"/>
                <a:gd name="connsiteX5" fmla="*/ 34144 w 36004"/>
                <a:gd name="connsiteY5" fmla="*/ 9458 h 17787"/>
                <a:gd name="connsiteX6" fmla="*/ 35668 w 36004"/>
                <a:gd name="connsiteY6" fmla="*/ 7172 h 17787"/>
                <a:gd name="connsiteX7" fmla="*/ 35668 w 36004"/>
                <a:gd name="connsiteY7" fmla="*/ 28 h 17787"/>
                <a:gd name="connsiteX8" fmla="*/ 34144 w 36004"/>
                <a:gd name="connsiteY8" fmla="*/ 2314 h 17787"/>
                <a:gd name="connsiteX9" fmla="*/ 31763 w 36004"/>
                <a:gd name="connsiteY9" fmla="*/ 3647 h 17787"/>
                <a:gd name="connsiteX10" fmla="*/ 21476 w 36004"/>
                <a:gd name="connsiteY10" fmla="*/ 9553 h 17787"/>
                <a:gd name="connsiteX11" fmla="*/ 13856 w 36004"/>
                <a:gd name="connsiteY11" fmla="*/ 9553 h 17787"/>
                <a:gd name="connsiteX12" fmla="*/ 3569 w 36004"/>
                <a:gd name="connsiteY12" fmla="*/ 3647 h 17787"/>
                <a:gd name="connsiteX13" fmla="*/ 1188 w 36004"/>
                <a:gd name="connsiteY13" fmla="*/ 2314 h 17787"/>
                <a:gd name="connsiteX14" fmla="*/ -336 w 36004"/>
                <a:gd name="connsiteY14" fmla="*/ -163 h 17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787">
                  <a:moveTo>
                    <a:pt x="-336" y="-163"/>
                  </a:moveTo>
                  <a:lnTo>
                    <a:pt x="-336" y="7267"/>
                  </a:lnTo>
                  <a:cubicBezTo>
                    <a:pt x="-241" y="8210"/>
                    <a:pt x="340" y="9039"/>
                    <a:pt x="1188" y="9458"/>
                  </a:cubicBezTo>
                  <a:lnTo>
                    <a:pt x="13856" y="16697"/>
                  </a:lnTo>
                  <a:cubicBezTo>
                    <a:pt x="16247" y="17935"/>
                    <a:pt x="19085" y="17935"/>
                    <a:pt x="21476" y="16697"/>
                  </a:cubicBezTo>
                  <a:lnTo>
                    <a:pt x="34144" y="9458"/>
                  </a:lnTo>
                  <a:cubicBezTo>
                    <a:pt x="35011" y="9010"/>
                    <a:pt x="35582" y="8143"/>
                    <a:pt x="35668" y="7172"/>
                  </a:cubicBezTo>
                  <a:lnTo>
                    <a:pt x="35668" y="28"/>
                  </a:lnTo>
                  <a:cubicBezTo>
                    <a:pt x="35602" y="1009"/>
                    <a:pt x="35021" y="1876"/>
                    <a:pt x="34144" y="2314"/>
                  </a:cubicBezTo>
                  <a:lnTo>
                    <a:pt x="31763" y="3647"/>
                  </a:lnTo>
                  <a:lnTo>
                    <a:pt x="21476" y="9553"/>
                  </a:lnTo>
                  <a:cubicBezTo>
                    <a:pt x="19085" y="10791"/>
                    <a:pt x="16247" y="10791"/>
                    <a:pt x="13856" y="9553"/>
                  </a:cubicBezTo>
                  <a:lnTo>
                    <a:pt x="3569" y="3647"/>
                  </a:lnTo>
                  <a:lnTo>
                    <a:pt x="1188" y="2314"/>
                  </a:lnTo>
                  <a:cubicBezTo>
                    <a:pt x="254" y="1847"/>
                    <a:pt x="-336" y="885"/>
                    <a:pt x="-336" y="-163"/>
                  </a:cubicBezTo>
                  <a:close/>
                </a:path>
              </a:pathLst>
            </a:custGeom>
            <a:solidFill>
              <a:srgbClr val="BF4200"/>
            </a:solidFill>
            <a:ln w="9525" cap="flat">
              <a:noFill/>
              <a:prstDash val="solid"/>
              <a:miter/>
            </a:ln>
          </p:spPr>
          <p:txBody>
            <a:bodyPr rtlCol="0" anchor="ctr"/>
            <a:lstStyle/>
            <a:p>
              <a:endParaRPr lang="zh-CN" altLang="en-US"/>
            </a:p>
          </p:txBody>
        </p:sp>
        <p:sp>
          <p:nvSpPr>
            <p:cNvPr id="705" name="ïṩḷîḋe">
              <a:extLst>
                <a:ext uri="{FF2B5EF4-FFF2-40B4-BE49-F238E27FC236}">
                  <a16:creationId xmlns:a16="http://schemas.microsoft.com/office/drawing/2014/main" id="{CA04ECC8-0A7E-4661-86D6-300386EEE136}"/>
                </a:ext>
              </a:extLst>
            </p:cNvPr>
            <p:cNvSpPr/>
            <p:nvPr/>
          </p:nvSpPr>
          <p:spPr>
            <a:xfrm>
              <a:off x="5784224" y="5136136"/>
              <a:ext cx="109883" cy="63639"/>
            </a:xfrm>
            <a:custGeom>
              <a:avLst/>
              <a:gdLst>
                <a:gd name="connsiteX0" fmla="*/ -336 w 36099"/>
                <a:gd name="connsiteY0" fmla="*/ 10291 h 20907"/>
                <a:gd name="connsiteX1" fmla="*/ 1283 w 36099"/>
                <a:gd name="connsiteY1" fmla="*/ 12577 h 20907"/>
                <a:gd name="connsiteX2" fmla="*/ 3569 w 36099"/>
                <a:gd name="connsiteY2" fmla="*/ 13911 h 20907"/>
                <a:gd name="connsiteX3" fmla="*/ 13856 w 36099"/>
                <a:gd name="connsiteY3" fmla="*/ 19816 h 20907"/>
                <a:gd name="connsiteX4" fmla="*/ 21571 w 36099"/>
                <a:gd name="connsiteY4" fmla="*/ 19816 h 20907"/>
                <a:gd name="connsiteX5" fmla="*/ 31858 w 36099"/>
                <a:gd name="connsiteY5" fmla="*/ 13911 h 20907"/>
                <a:gd name="connsiteX6" fmla="*/ 34144 w 36099"/>
                <a:gd name="connsiteY6" fmla="*/ 12577 h 20907"/>
                <a:gd name="connsiteX7" fmla="*/ 35764 w 36099"/>
                <a:gd name="connsiteY7" fmla="*/ 10291 h 20907"/>
                <a:gd name="connsiteX8" fmla="*/ 34144 w 36099"/>
                <a:gd name="connsiteY8" fmla="*/ 8100 h 20907"/>
                <a:gd name="connsiteX9" fmla="*/ 21571 w 36099"/>
                <a:gd name="connsiteY9" fmla="*/ 766 h 20907"/>
                <a:gd name="connsiteX10" fmla="*/ 13856 w 36099"/>
                <a:gd name="connsiteY10" fmla="*/ 766 h 20907"/>
                <a:gd name="connsiteX11" fmla="*/ 1283 w 36099"/>
                <a:gd name="connsiteY11" fmla="*/ 8100 h 20907"/>
                <a:gd name="connsiteX12" fmla="*/ -336 w 36099"/>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99" h="20907">
                  <a:moveTo>
                    <a:pt x="-336" y="10291"/>
                  </a:moveTo>
                  <a:cubicBezTo>
                    <a:pt x="-232" y="11282"/>
                    <a:pt x="378" y="12148"/>
                    <a:pt x="1283" y="12577"/>
                  </a:cubicBezTo>
                  <a:lnTo>
                    <a:pt x="3569" y="13911"/>
                  </a:lnTo>
                  <a:lnTo>
                    <a:pt x="13856" y="19816"/>
                  </a:lnTo>
                  <a:cubicBezTo>
                    <a:pt x="16275" y="21054"/>
                    <a:pt x="19152" y="21054"/>
                    <a:pt x="21571" y="19816"/>
                  </a:cubicBezTo>
                  <a:lnTo>
                    <a:pt x="31858" y="13911"/>
                  </a:lnTo>
                  <a:lnTo>
                    <a:pt x="34144" y="12577"/>
                  </a:lnTo>
                  <a:cubicBezTo>
                    <a:pt x="35077" y="12187"/>
                    <a:pt x="35697" y="11301"/>
                    <a:pt x="35764" y="10291"/>
                  </a:cubicBezTo>
                  <a:cubicBezTo>
                    <a:pt x="35687" y="9310"/>
                    <a:pt x="35059" y="8462"/>
                    <a:pt x="34144" y="8100"/>
                  </a:cubicBezTo>
                  <a:lnTo>
                    <a:pt x="21571" y="766"/>
                  </a:lnTo>
                  <a:cubicBezTo>
                    <a:pt x="19152" y="-472"/>
                    <a:pt x="16275" y="-472"/>
                    <a:pt x="13856" y="766"/>
                  </a:cubicBezTo>
                  <a:lnTo>
                    <a:pt x="1283" y="8100"/>
                  </a:lnTo>
                  <a:cubicBezTo>
                    <a:pt x="397" y="8491"/>
                    <a:pt x="-222"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706" name="íṧ1iḑè">
              <a:extLst>
                <a:ext uri="{FF2B5EF4-FFF2-40B4-BE49-F238E27FC236}">
                  <a16:creationId xmlns:a16="http://schemas.microsoft.com/office/drawing/2014/main" id="{4A5EE799-FEDC-454A-B8F7-D23BCDB04B26}"/>
                </a:ext>
              </a:extLst>
            </p:cNvPr>
            <p:cNvSpPr/>
            <p:nvPr/>
          </p:nvSpPr>
          <p:spPr>
            <a:xfrm>
              <a:off x="5786395" y="5137296"/>
              <a:ext cx="105828" cy="61682"/>
            </a:xfrm>
            <a:custGeom>
              <a:avLst/>
              <a:gdLst>
                <a:gd name="connsiteX0" fmla="*/ 1141 w 34767"/>
                <a:gd name="connsiteY0" fmla="*/ 12196 h 20264"/>
                <a:gd name="connsiteX1" fmla="*/ 13333 w 34767"/>
                <a:gd name="connsiteY1" fmla="*/ 19244 h 20264"/>
                <a:gd name="connsiteX2" fmla="*/ 20763 w 34767"/>
                <a:gd name="connsiteY2" fmla="*/ 19244 h 20264"/>
                <a:gd name="connsiteX3" fmla="*/ 32859 w 34767"/>
                <a:gd name="connsiteY3" fmla="*/ 12196 h 20264"/>
                <a:gd name="connsiteX4" fmla="*/ 32859 w 34767"/>
                <a:gd name="connsiteY4" fmla="*/ 7910 h 20264"/>
                <a:gd name="connsiteX5" fmla="*/ 20953 w 34767"/>
                <a:gd name="connsiteY5" fmla="*/ 766 h 20264"/>
                <a:gd name="connsiteX6" fmla="*/ 13523 w 34767"/>
                <a:gd name="connsiteY6" fmla="*/ 766 h 20264"/>
                <a:gd name="connsiteX7" fmla="*/ 1331 w 34767"/>
                <a:gd name="connsiteY7" fmla="*/ 7719 h 20264"/>
                <a:gd name="connsiteX8" fmla="*/ 1141 w 34767"/>
                <a:gd name="connsiteY8" fmla="*/ 12196 h 20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7" h="20264">
                  <a:moveTo>
                    <a:pt x="1141" y="12196"/>
                  </a:moveTo>
                  <a:lnTo>
                    <a:pt x="13333" y="19244"/>
                  </a:lnTo>
                  <a:cubicBezTo>
                    <a:pt x="15676" y="20387"/>
                    <a:pt x="18419" y="20387"/>
                    <a:pt x="20763" y="19244"/>
                  </a:cubicBezTo>
                  <a:lnTo>
                    <a:pt x="32859" y="12196"/>
                  </a:lnTo>
                  <a:cubicBezTo>
                    <a:pt x="34955" y="11053"/>
                    <a:pt x="34955" y="9148"/>
                    <a:pt x="32859" y="7910"/>
                  </a:cubicBezTo>
                  <a:lnTo>
                    <a:pt x="20953" y="766"/>
                  </a:lnTo>
                  <a:cubicBezTo>
                    <a:pt x="18629" y="-472"/>
                    <a:pt x="15847" y="-472"/>
                    <a:pt x="13523" y="766"/>
                  </a:cubicBezTo>
                  <a:lnTo>
                    <a:pt x="1331" y="7719"/>
                  </a:lnTo>
                  <a:cubicBezTo>
                    <a:pt x="-859" y="8958"/>
                    <a:pt x="-859" y="10862"/>
                    <a:pt x="1141" y="12196"/>
                  </a:cubicBezTo>
                  <a:close/>
                </a:path>
              </a:pathLst>
            </a:custGeom>
            <a:solidFill>
              <a:srgbClr val="D1D9E8"/>
            </a:solidFill>
            <a:ln w="9525" cap="flat">
              <a:noFill/>
              <a:prstDash val="solid"/>
              <a:miter/>
            </a:ln>
          </p:spPr>
          <p:txBody>
            <a:bodyPr rtlCol="0" anchor="ctr"/>
            <a:lstStyle/>
            <a:p>
              <a:endParaRPr lang="zh-CN" altLang="en-US"/>
            </a:p>
          </p:txBody>
        </p:sp>
        <p:sp>
          <p:nvSpPr>
            <p:cNvPr id="707" name="ïṡľîḋé">
              <a:extLst>
                <a:ext uri="{FF2B5EF4-FFF2-40B4-BE49-F238E27FC236}">
                  <a16:creationId xmlns:a16="http://schemas.microsoft.com/office/drawing/2014/main" id="{7CC78594-D98B-42FD-844E-239DC8C7754A}"/>
                </a:ext>
              </a:extLst>
            </p:cNvPr>
            <p:cNvSpPr/>
            <p:nvPr/>
          </p:nvSpPr>
          <p:spPr>
            <a:xfrm>
              <a:off x="5784224" y="5167957"/>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4 w 36099"/>
                <a:gd name="connsiteY6" fmla="*/ 6981 h 17597"/>
                <a:gd name="connsiteX7" fmla="*/ 35764 w 36099"/>
                <a:gd name="connsiteY7" fmla="*/ -163 h 17597"/>
                <a:gd name="connsiteX8" fmla="*/ 34144 w 36099"/>
                <a:gd name="connsiteY8" fmla="*/ 2123 h 17597"/>
                <a:gd name="connsiteX9" fmla="*/ 31858 w 36099"/>
                <a:gd name="connsiteY9" fmla="*/ 3457 h 17597"/>
                <a:gd name="connsiteX10" fmla="*/ 21571 w 36099"/>
                <a:gd name="connsiteY10" fmla="*/ 9362 h 17597"/>
                <a:gd name="connsiteX11" fmla="*/ 13856 w 36099"/>
                <a:gd name="connsiteY11" fmla="*/ 9362 h 17597"/>
                <a:gd name="connsiteX12" fmla="*/ 3569 w 36099"/>
                <a:gd name="connsiteY12" fmla="*/ 3457 h 17597"/>
                <a:gd name="connsiteX13" fmla="*/ 1283 w 36099"/>
                <a:gd name="connsiteY13" fmla="*/ 2123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03" y="8029"/>
                    <a:pt x="407" y="8857"/>
                    <a:pt x="1283" y="9267"/>
                  </a:cubicBezTo>
                  <a:lnTo>
                    <a:pt x="13856" y="16506"/>
                  </a:lnTo>
                  <a:cubicBezTo>
                    <a:pt x="16275" y="17744"/>
                    <a:pt x="19152" y="17744"/>
                    <a:pt x="21571" y="16506"/>
                  </a:cubicBezTo>
                  <a:lnTo>
                    <a:pt x="34144" y="9267"/>
                  </a:lnTo>
                  <a:cubicBezTo>
                    <a:pt x="35059" y="8857"/>
                    <a:pt x="35678" y="7981"/>
                    <a:pt x="35764" y="6981"/>
                  </a:cubicBezTo>
                  <a:lnTo>
                    <a:pt x="35764" y="-163"/>
                  </a:lnTo>
                  <a:cubicBezTo>
                    <a:pt x="35697" y="847"/>
                    <a:pt x="35077" y="1733"/>
                    <a:pt x="34144" y="2123"/>
                  </a:cubicBezTo>
                  <a:lnTo>
                    <a:pt x="31858" y="3457"/>
                  </a:lnTo>
                  <a:lnTo>
                    <a:pt x="21571" y="9362"/>
                  </a:lnTo>
                  <a:cubicBezTo>
                    <a:pt x="19152" y="10601"/>
                    <a:pt x="16275" y="10601"/>
                    <a:pt x="13856" y="9362"/>
                  </a:cubicBezTo>
                  <a:lnTo>
                    <a:pt x="3569" y="3457"/>
                  </a:lnTo>
                  <a:lnTo>
                    <a:pt x="1283" y="2123"/>
                  </a:lnTo>
                  <a:cubicBezTo>
                    <a:pt x="378" y="1695"/>
                    <a:pt x="-232"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08" name="íṩ1íḍê">
              <a:extLst>
                <a:ext uri="{FF2B5EF4-FFF2-40B4-BE49-F238E27FC236}">
                  <a16:creationId xmlns:a16="http://schemas.microsoft.com/office/drawing/2014/main" id="{32DBC4E1-F499-4602-A8C0-21D91E071DC1}"/>
                </a:ext>
              </a:extLst>
            </p:cNvPr>
            <p:cNvSpPr/>
            <p:nvPr/>
          </p:nvSpPr>
          <p:spPr>
            <a:xfrm>
              <a:off x="5861634" y="5180787"/>
              <a:ext cx="109362" cy="63588"/>
            </a:xfrm>
            <a:custGeom>
              <a:avLst/>
              <a:gdLst>
                <a:gd name="connsiteX0" fmla="*/ -336 w 35928"/>
                <a:gd name="connsiteY0" fmla="*/ 10291 h 20890"/>
                <a:gd name="connsiteX1" fmla="*/ 1188 w 35928"/>
                <a:gd name="connsiteY1" fmla="*/ 12482 h 20890"/>
                <a:gd name="connsiteX2" fmla="*/ 3569 w 35928"/>
                <a:gd name="connsiteY2" fmla="*/ 13910 h 20890"/>
                <a:gd name="connsiteX3" fmla="*/ 13856 w 35928"/>
                <a:gd name="connsiteY3" fmla="*/ 19721 h 20890"/>
                <a:gd name="connsiteX4" fmla="*/ 21476 w 35928"/>
                <a:gd name="connsiteY4" fmla="*/ 19721 h 20890"/>
                <a:gd name="connsiteX5" fmla="*/ 31763 w 35928"/>
                <a:gd name="connsiteY5" fmla="*/ 13910 h 20890"/>
                <a:gd name="connsiteX6" fmla="*/ 34144 w 35928"/>
                <a:gd name="connsiteY6" fmla="*/ 12482 h 20890"/>
                <a:gd name="connsiteX7" fmla="*/ 35402 w 35928"/>
                <a:gd name="connsiteY7" fmla="*/ 9358 h 20890"/>
                <a:gd name="connsiteX8" fmla="*/ 34144 w 35928"/>
                <a:gd name="connsiteY8" fmla="*/ 8100 h 20890"/>
                <a:gd name="connsiteX9" fmla="*/ 21476 w 35928"/>
                <a:gd name="connsiteY9" fmla="*/ 766 h 20890"/>
                <a:gd name="connsiteX10" fmla="*/ 13856 w 35928"/>
                <a:gd name="connsiteY10" fmla="*/ 766 h 20890"/>
                <a:gd name="connsiteX11" fmla="*/ 1188 w 35928"/>
                <a:gd name="connsiteY11" fmla="*/ 8100 h 20890"/>
                <a:gd name="connsiteX12" fmla="*/ -336 w 35928"/>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928" h="20890">
                  <a:moveTo>
                    <a:pt x="-336" y="10291"/>
                  </a:moveTo>
                  <a:cubicBezTo>
                    <a:pt x="-298" y="11253"/>
                    <a:pt x="292" y="12110"/>
                    <a:pt x="1188" y="12482"/>
                  </a:cubicBezTo>
                  <a:lnTo>
                    <a:pt x="3569" y="13910"/>
                  </a:lnTo>
                  <a:lnTo>
                    <a:pt x="13856" y="19721"/>
                  </a:lnTo>
                  <a:cubicBezTo>
                    <a:pt x="16218" y="21064"/>
                    <a:pt x="19114" y="21064"/>
                    <a:pt x="21476" y="19721"/>
                  </a:cubicBezTo>
                  <a:lnTo>
                    <a:pt x="31763" y="13910"/>
                  </a:lnTo>
                  <a:lnTo>
                    <a:pt x="34144" y="12482"/>
                  </a:lnTo>
                  <a:cubicBezTo>
                    <a:pt x="35354" y="11968"/>
                    <a:pt x="35916" y="10567"/>
                    <a:pt x="35402" y="9358"/>
                  </a:cubicBezTo>
                  <a:cubicBezTo>
                    <a:pt x="35164" y="8796"/>
                    <a:pt x="34706" y="8338"/>
                    <a:pt x="34144" y="8100"/>
                  </a:cubicBezTo>
                  <a:lnTo>
                    <a:pt x="21476" y="766"/>
                  </a:lnTo>
                  <a:cubicBezTo>
                    <a:pt x="19085" y="-472"/>
                    <a:pt x="16247" y="-472"/>
                    <a:pt x="13856" y="766"/>
                  </a:cubicBezTo>
                  <a:lnTo>
                    <a:pt x="1188" y="8100"/>
                  </a:lnTo>
                  <a:cubicBezTo>
                    <a:pt x="292" y="8472"/>
                    <a:pt x="-298"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709" name="ïS1ïḍé">
              <a:extLst>
                <a:ext uri="{FF2B5EF4-FFF2-40B4-BE49-F238E27FC236}">
                  <a16:creationId xmlns:a16="http://schemas.microsoft.com/office/drawing/2014/main" id="{9D66241F-5565-4851-BC76-A89778898827}"/>
                </a:ext>
              </a:extLst>
            </p:cNvPr>
            <p:cNvSpPr/>
            <p:nvPr/>
          </p:nvSpPr>
          <p:spPr>
            <a:xfrm>
              <a:off x="5863519" y="5181944"/>
              <a:ext cx="105898" cy="61104"/>
            </a:xfrm>
            <a:custGeom>
              <a:avLst/>
              <a:gdLst>
                <a:gd name="connsiteX0" fmla="*/ 1235 w 34790"/>
                <a:gd name="connsiteY0" fmla="*/ 12006 h 20074"/>
                <a:gd name="connsiteX1" fmla="*/ 13332 w 34790"/>
                <a:gd name="connsiteY1" fmla="*/ 19054 h 20074"/>
                <a:gd name="connsiteX2" fmla="*/ 20762 w 34790"/>
                <a:gd name="connsiteY2" fmla="*/ 19054 h 20074"/>
                <a:gd name="connsiteX3" fmla="*/ 32954 w 34790"/>
                <a:gd name="connsiteY3" fmla="*/ 12006 h 20074"/>
                <a:gd name="connsiteX4" fmla="*/ 32954 w 34790"/>
                <a:gd name="connsiteY4" fmla="*/ 7719 h 20074"/>
                <a:gd name="connsiteX5" fmla="*/ 20762 w 34790"/>
                <a:gd name="connsiteY5" fmla="*/ 766 h 20074"/>
                <a:gd name="connsiteX6" fmla="*/ 13332 w 34790"/>
                <a:gd name="connsiteY6" fmla="*/ 766 h 20074"/>
                <a:gd name="connsiteX7" fmla="*/ 1235 w 34790"/>
                <a:gd name="connsiteY7" fmla="*/ 7719 h 20074"/>
                <a:gd name="connsiteX8" fmla="*/ 1235 w 34790"/>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4">
                  <a:moveTo>
                    <a:pt x="1235" y="12006"/>
                  </a:moveTo>
                  <a:lnTo>
                    <a:pt x="13332" y="19054"/>
                  </a:lnTo>
                  <a:cubicBezTo>
                    <a:pt x="15675" y="20197"/>
                    <a:pt x="18419" y="20197"/>
                    <a:pt x="20762" y="19054"/>
                  </a:cubicBezTo>
                  <a:lnTo>
                    <a:pt x="32954" y="12006"/>
                  </a:lnTo>
                  <a:cubicBezTo>
                    <a:pt x="34954" y="10863"/>
                    <a:pt x="34954" y="8958"/>
                    <a:pt x="32954" y="7719"/>
                  </a:cubicBezTo>
                  <a:lnTo>
                    <a:pt x="20762" y="766"/>
                  </a:lnTo>
                  <a:cubicBezTo>
                    <a:pt x="18437" y="-472"/>
                    <a:pt x="15656" y="-472"/>
                    <a:pt x="13332" y="766"/>
                  </a:cubicBezTo>
                  <a:lnTo>
                    <a:pt x="1235" y="7719"/>
                  </a:lnTo>
                  <a:cubicBezTo>
                    <a:pt x="-860" y="8958"/>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710" name="ïṡļîďê">
              <a:extLst>
                <a:ext uri="{FF2B5EF4-FFF2-40B4-BE49-F238E27FC236}">
                  <a16:creationId xmlns:a16="http://schemas.microsoft.com/office/drawing/2014/main" id="{0FAA26E7-5C15-4DD0-B9A3-032D8165BDF5}"/>
                </a:ext>
              </a:extLst>
            </p:cNvPr>
            <p:cNvSpPr/>
            <p:nvPr/>
          </p:nvSpPr>
          <p:spPr>
            <a:xfrm>
              <a:off x="5861634" y="5212606"/>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028 h 17597"/>
                <a:gd name="connsiteX9" fmla="*/ 31763 w 36004"/>
                <a:gd name="connsiteY9" fmla="*/ 3457 h 17597"/>
                <a:gd name="connsiteX10" fmla="*/ 21476 w 36004"/>
                <a:gd name="connsiteY10" fmla="*/ 9267 h 17597"/>
                <a:gd name="connsiteX11" fmla="*/ 13856 w 36004"/>
                <a:gd name="connsiteY11" fmla="*/ 9267 h 17597"/>
                <a:gd name="connsiteX12" fmla="*/ 3569 w 36004"/>
                <a:gd name="connsiteY12" fmla="*/ 3457 h 17597"/>
                <a:gd name="connsiteX13" fmla="*/ 1188 w 36004"/>
                <a:gd name="connsiteY13" fmla="*/ 2028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20"/>
                    <a:pt x="35583" y="7953"/>
                    <a:pt x="35668" y="6981"/>
                  </a:cubicBezTo>
                  <a:lnTo>
                    <a:pt x="35668" y="-163"/>
                  </a:lnTo>
                  <a:cubicBezTo>
                    <a:pt x="35630" y="800"/>
                    <a:pt x="35040" y="1657"/>
                    <a:pt x="34144" y="2028"/>
                  </a:cubicBezTo>
                  <a:lnTo>
                    <a:pt x="31763" y="3457"/>
                  </a:lnTo>
                  <a:lnTo>
                    <a:pt x="21476" y="9267"/>
                  </a:lnTo>
                  <a:cubicBezTo>
                    <a:pt x="19114" y="10610"/>
                    <a:pt x="16218" y="10610"/>
                    <a:pt x="13856" y="9267"/>
                  </a:cubicBezTo>
                  <a:lnTo>
                    <a:pt x="3569" y="3457"/>
                  </a:lnTo>
                  <a:lnTo>
                    <a:pt x="1188" y="2028"/>
                  </a:lnTo>
                  <a:cubicBezTo>
                    <a:pt x="292" y="1657"/>
                    <a:pt x="-298" y="800"/>
                    <a:pt x="-336" y="-163"/>
                  </a:cubicBezTo>
                  <a:close/>
                </a:path>
              </a:pathLst>
            </a:custGeom>
            <a:solidFill>
              <a:srgbClr val="BF4200"/>
            </a:solidFill>
            <a:ln w="9525" cap="flat">
              <a:noFill/>
              <a:prstDash val="solid"/>
              <a:miter/>
            </a:ln>
          </p:spPr>
          <p:txBody>
            <a:bodyPr rtlCol="0" anchor="ctr"/>
            <a:lstStyle/>
            <a:p>
              <a:endParaRPr lang="zh-CN" altLang="en-US"/>
            </a:p>
          </p:txBody>
        </p:sp>
        <p:sp>
          <p:nvSpPr>
            <p:cNvPr id="711" name="î$1ïḓé">
              <a:extLst>
                <a:ext uri="{FF2B5EF4-FFF2-40B4-BE49-F238E27FC236}">
                  <a16:creationId xmlns:a16="http://schemas.microsoft.com/office/drawing/2014/main" id="{36CC1510-06C2-4A52-91E8-9B6439EFC445}"/>
                </a:ext>
              </a:extLst>
            </p:cNvPr>
            <p:cNvSpPr/>
            <p:nvPr/>
          </p:nvSpPr>
          <p:spPr>
            <a:xfrm>
              <a:off x="5938177" y="5225436"/>
              <a:ext cx="109594" cy="63588"/>
            </a:xfrm>
            <a:custGeom>
              <a:avLst/>
              <a:gdLst>
                <a:gd name="connsiteX0" fmla="*/ -336 w 36004"/>
                <a:gd name="connsiteY0" fmla="*/ 10291 h 20890"/>
                <a:gd name="connsiteX1" fmla="*/ 1188 w 36004"/>
                <a:gd name="connsiteY1" fmla="*/ 12482 h 20890"/>
                <a:gd name="connsiteX2" fmla="*/ 3569 w 36004"/>
                <a:gd name="connsiteY2" fmla="*/ 13911 h 20890"/>
                <a:gd name="connsiteX3" fmla="*/ 13856 w 36004"/>
                <a:gd name="connsiteY3" fmla="*/ 19721 h 20890"/>
                <a:gd name="connsiteX4" fmla="*/ 21476 w 36004"/>
                <a:gd name="connsiteY4" fmla="*/ 19721 h 20890"/>
                <a:gd name="connsiteX5" fmla="*/ 31763 w 36004"/>
                <a:gd name="connsiteY5" fmla="*/ 13911 h 20890"/>
                <a:gd name="connsiteX6" fmla="*/ 34144 w 36004"/>
                <a:gd name="connsiteY6" fmla="*/ 12482 h 20890"/>
                <a:gd name="connsiteX7" fmla="*/ 35668 w 36004"/>
                <a:gd name="connsiteY7" fmla="*/ 10291 h 20890"/>
                <a:gd name="connsiteX8" fmla="*/ 34144 w 36004"/>
                <a:gd name="connsiteY8" fmla="*/ 8005 h 20890"/>
                <a:gd name="connsiteX9" fmla="*/ 21476 w 36004"/>
                <a:gd name="connsiteY9" fmla="*/ 766 h 20890"/>
                <a:gd name="connsiteX10" fmla="*/ 13856 w 36004"/>
                <a:gd name="connsiteY10" fmla="*/ 766 h 20890"/>
                <a:gd name="connsiteX11" fmla="*/ 1188 w 36004"/>
                <a:gd name="connsiteY11" fmla="*/ 8005 h 20890"/>
                <a:gd name="connsiteX12" fmla="*/ -336 w 36004"/>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291"/>
                  </a:moveTo>
                  <a:cubicBezTo>
                    <a:pt x="-279" y="11244"/>
                    <a:pt x="311" y="12091"/>
                    <a:pt x="1188" y="12482"/>
                  </a:cubicBezTo>
                  <a:lnTo>
                    <a:pt x="3569" y="13911"/>
                  </a:lnTo>
                  <a:lnTo>
                    <a:pt x="13856" y="19721"/>
                  </a:lnTo>
                  <a:cubicBezTo>
                    <a:pt x="16218" y="21064"/>
                    <a:pt x="19114" y="21064"/>
                    <a:pt x="21476" y="19721"/>
                  </a:cubicBezTo>
                  <a:lnTo>
                    <a:pt x="31763" y="13911"/>
                  </a:lnTo>
                  <a:lnTo>
                    <a:pt x="34144" y="12482"/>
                  </a:lnTo>
                  <a:cubicBezTo>
                    <a:pt x="35021" y="12091"/>
                    <a:pt x="35611" y="11253"/>
                    <a:pt x="35668" y="10291"/>
                  </a:cubicBezTo>
                  <a:cubicBezTo>
                    <a:pt x="35602" y="9310"/>
                    <a:pt x="35021" y="8443"/>
                    <a:pt x="34144" y="8005"/>
                  </a:cubicBezTo>
                  <a:lnTo>
                    <a:pt x="21476" y="766"/>
                  </a:lnTo>
                  <a:cubicBezTo>
                    <a:pt x="19085" y="-472"/>
                    <a:pt x="16247" y="-472"/>
                    <a:pt x="13856" y="766"/>
                  </a:cubicBezTo>
                  <a:lnTo>
                    <a:pt x="1188" y="8005"/>
                  </a:lnTo>
                  <a:cubicBezTo>
                    <a:pt x="311" y="8443"/>
                    <a:pt x="-270" y="9310"/>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712" name="íśļídè">
              <a:extLst>
                <a:ext uri="{FF2B5EF4-FFF2-40B4-BE49-F238E27FC236}">
                  <a16:creationId xmlns:a16="http://schemas.microsoft.com/office/drawing/2014/main" id="{E1AC06DC-F730-4EA8-B4CD-4F038A553FBD}"/>
                </a:ext>
              </a:extLst>
            </p:cNvPr>
            <p:cNvSpPr/>
            <p:nvPr/>
          </p:nvSpPr>
          <p:spPr>
            <a:xfrm>
              <a:off x="5939991" y="5226595"/>
              <a:ext cx="106766" cy="61101"/>
            </a:xfrm>
            <a:custGeom>
              <a:avLst/>
              <a:gdLst>
                <a:gd name="connsiteX0" fmla="*/ 1450 w 35075"/>
                <a:gd name="connsiteY0" fmla="*/ 12006 h 20073"/>
                <a:gd name="connsiteX1" fmla="*/ 13642 w 35075"/>
                <a:gd name="connsiteY1" fmla="*/ 19054 h 20073"/>
                <a:gd name="connsiteX2" fmla="*/ 21071 w 35075"/>
                <a:gd name="connsiteY2" fmla="*/ 19054 h 20073"/>
                <a:gd name="connsiteX3" fmla="*/ 33168 w 35075"/>
                <a:gd name="connsiteY3" fmla="*/ 12006 h 20073"/>
                <a:gd name="connsiteX4" fmla="*/ 33168 w 35075"/>
                <a:gd name="connsiteY4" fmla="*/ 7719 h 20073"/>
                <a:gd name="connsiteX5" fmla="*/ 21071 w 35075"/>
                <a:gd name="connsiteY5" fmla="*/ 766 h 20073"/>
                <a:gd name="connsiteX6" fmla="*/ 13642 w 35075"/>
                <a:gd name="connsiteY6" fmla="*/ 766 h 20073"/>
                <a:gd name="connsiteX7" fmla="*/ 1450 w 35075"/>
                <a:gd name="connsiteY7" fmla="*/ 7719 h 20073"/>
                <a:gd name="connsiteX8" fmla="*/ 1450 w 35075"/>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075" h="20073">
                  <a:moveTo>
                    <a:pt x="1450" y="12006"/>
                  </a:moveTo>
                  <a:lnTo>
                    <a:pt x="13642" y="19054"/>
                  </a:lnTo>
                  <a:cubicBezTo>
                    <a:pt x="15985" y="20197"/>
                    <a:pt x="18728" y="20197"/>
                    <a:pt x="21071" y="19054"/>
                  </a:cubicBezTo>
                  <a:lnTo>
                    <a:pt x="33168" y="12006"/>
                  </a:lnTo>
                  <a:cubicBezTo>
                    <a:pt x="35263" y="10863"/>
                    <a:pt x="35263" y="8957"/>
                    <a:pt x="33168" y="7719"/>
                  </a:cubicBezTo>
                  <a:lnTo>
                    <a:pt x="21071" y="766"/>
                  </a:lnTo>
                  <a:cubicBezTo>
                    <a:pt x="18747" y="-472"/>
                    <a:pt x="15966" y="-472"/>
                    <a:pt x="13642" y="766"/>
                  </a:cubicBezTo>
                  <a:lnTo>
                    <a:pt x="1450" y="7719"/>
                  </a:lnTo>
                  <a:cubicBezTo>
                    <a:pt x="-932" y="8957"/>
                    <a:pt x="-932" y="10863"/>
                    <a:pt x="1450" y="12006"/>
                  </a:cubicBezTo>
                  <a:close/>
                </a:path>
              </a:pathLst>
            </a:custGeom>
            <a:solidFill>
              <a:srgbClr val="D1D9E8"/>
            </a:solidFill>
            <a:ln w="9525" cap="flat">
              <a:noFill/>
              <a:prstDash val="solid"/>
              <a:miter/>
            </a:ln>
          </p:spPr>
          <p:txBody>
            <a:bodyPr rtlCol="0" anchor="ctr"/>
            <a:lstStyle/>
            <a:p>
              <a:endParaRPr lang="zh-CN" altLang="en-US"/>
            </a:p>
          </p:txBody>
        </p:sp>
        <p:sp>
          <p:nvSpPr>
            <p:cNvPr id="713" name="íṡļiḓe">
              <a:extLst>
                <a:ext uri="{FF2B5EF4-FFF2-40B4-BE49-F238E27FC236}">
                  <a16:creationId xmlns:a16="http://schemas.microsoft.com/office/drawing/2014/main" id="{ABCBD151-9D9E-46AB-9A37-DB31ACD09BDE}"/>
                </a:ext>
              </a:extLst>
            </p:cNvPr>
            <p:cNvSpPr/>
            <p:nvPr/>
          </p:nvSpPr>
          <p:spPr>
            <a:xfrm>
              <a:off x="5938177" y="5257257"/>
              <a:ext cx="109594" cy="53564"/>
            </a:xfrm>
            <a:custGeom>
              <a:avLst/>
              <a:gdLst>
                <a:gd name="connsiteX0" fmla="*/ -336 w 36004"/>
                <a:gd name="connsiteY0" fmla="*/ -163 h 17597"/>
                <a:gd name="connsiteX1" fmla="*/ -336 w 36004"/>
                <a:gd name="connsiteY1" fmla="*/ 6981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028 h 17597"/>
                <a:gd name="connsiteX9" fmla="*/ 31763 w 36004"/>
                <a:gd name="connsiteY9" fmla="*/ 3457 h 17597"/>
                <a:gd name="connsiteX10" fmla="*/ 21476 w 36004"/>
                <a:gd name="connsiteY10" fmla="*/ 9267 h 17597"/>
                <a:gd name="connsiteX11" fmla="*/ 13856 w 36004"/>
                <a:gd name="connsiteY11" fmla="*/ 9267 h 17597"/>
                <a:gd name="connsiteX12" fmla="*/ 3569 w 36004"/>
                <a:gd name="connsiteY12" fmla="*/ 3457 h 17597"/>
                <a:gd name="connsiteX13" fmla="*/ 1188 w 36004"/>
                <a:gd name="connsiteY13" fmla="*/ 2028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6981"/>
                  </a:lnTo>
                  <a:cubicBezTo>
                    <a:pt x="-270" y="7962"/>
                    <a:pt x="311" y="8829"/>
                    <a:pt x="1188" y="9267"/>
                  </a:cubicBezTo>
                  <a:lnTo>
                    <a:pt x="13856" y="16506"/>
                  </a:lnTo>
                  <a:cubicBezTo>
                    <a:pt x="16247" y="17744"/>
                    <a:pt x="19085" y="17744"/>
                    <a:pt x="21476" y="16506"/>
                  </a:cubicBezTo>
                  <a:lnTo>
                    <a:pt x="34144" y="9267"/>
                  </a:lnTo>
                  <a:cubicBezTo>
                    <a:pt x="35011" y="8819"/>
                    <a:pt x="35582" y="7953"/>
                    <a:pt x="35668" y="6981"/>
                  </a:cubicBezTo>
                  <a:lnTo>
                    <a:pt x="35668" y="-163"/>
                  </a:lnTo>
                  <a:cubicBezTo>
                    <a:pt x="35611" y="790"/>
                    <a:pt x="35021" y="1638"/>
                    <a:pt x="34144" y="2028"/>
                  </a:cubicBezTo>
                  <a:lnTo>
                    <a:pt x="31763" y="3457"/>
                  </a:lnTo>
                  <a:lnTo>
                    <a:pt x="21476" y="9267"/>
                  </a:lnTo>
                  <a:cubicBezTo>
                    <a:pt x="19114" y="10610"/>
                    <a:pt x="16218" y="10610"/>
                    <a:pt x="13856" y="9267"/>
                  </a:cubicBezTo>
                  <a:lnTo>
                    <a:pt x="3569" y="3457"/>
                  </a:lnTo>
                  <a:lnTo>
                    <a:pt x="1188" y="2028"/>
                  </a:lnTo>
                  <a:cubicBezTo>
                    <a:pt x="311" y="1638"/>
                    <a:pt x="-279" y="800"/>
                    <a:pt x="-336" y="-163"/>
                  </a:cubicBezTo>
                  <a:close/>
                </a:path>
              </a:pathLst>
            </a:custGeom>
            <a:solidFill>
              <a:srgbClr val="BF4200"/>
            </a:solidFill>
            <a:ln w="9525" cap="flat">
              <a:noFill/>
              <a:prstDash val="solid"/>
              <a:miter/>
            </a:ln>
          </p:spPr>
          <p:txBody>
            <a:bodyPr rtlCol="0" anchor="ctr"/>
            <a:lstStyle/>
            <a:p>
              <a:endParaRPr lang="zh-CN" altLang="en-US"/>
            </a:p>
          </p:txBody>
        </p:sp>
        <p:sp>
          <p:nvSpPr>
            <p:cNvPr id="714" name="ïṥ1iḓè">
              <a:extLst>
                <a:ext uri="{FF2B5EF4-FFF2-40B4-BE49-F238E27FC236}">
                  <a16:creationId xmlns:a16="http://schemas.microsoft.com/office/drawing/2014/main" id="{88DA513E-BD49-44D4-AAD5-CD6C1BA9C2EC}"/>
                </a:ext>
              </a:extLst>
            </p:cNvPr>
            <p:cNvSpPr/>
            <p:nvPr/>
          </p:nvSpPr>
          <p:spPr>
            <a:xfrm>
              <a:off x="6016172" y="5270087"/>
              <a:ext cx="109594" cy="63588"/>
            </a:xfrm>
            <a:custGeom>
              <a:avLst/>
              <a:gdLst>
                <a:gd name="connsiteX0" fmla="*/ -336 w 36004"/>
                <a:gd name="connsiteY0" fmla="*/ 10196 h 20890"/>
                <a:gd name="connsiteX1" fmla="*/ 1283 w 36004"/>
                <a:gd name="connsiteY1" fmla="*/ 12482 h 20890"/>
                <a:gd name="connsiteX2" fmla="*/ 3569 w 36004"/>
                <a:gd name="connsiteY2" fmla="*/ 13815 h 20890"/>
                <a:gd name="connsiteX3" fmla="*/ 13856 w 36004"/>
                <a:gd name="connsiteY3" fmla="*/ 19721 h 20890"/>
                <a:gd name="connsiteX4" fmla="*/ 21571 w 36004"/>
                <a:gd name="connsiteY4" fmla="*/ 19721 h 20890"/>
                <a:gd name="connsiteX5" fmla="*/ 31858 w 36004"/>
                <a:gd name="connsiteY5" fmla="*/ 13815 h 20890"/>
                <a:gd name="connsiteX6" fmla="*/ 34144 w 36004"/>
                <a:gd name="connsiteY6" fmla="*/ 12482 h 20890"/>
                <a:gd name="connsiteX7" fmla="*/ 35668 w 36004"/>
                <a:gd name="connsiteY7" fmla="*/ 10196 h 20890"/>
                <a:gd name="connsiteX8" fmla="*/ 34144 w 36004"/>
                <a:gd name="connsiteY8" fmla="*/ 8005 h 20890"/>
                <a:gd name="connsiteX9" fmla="*/ 21571 w 36004"/>
                <a:gd name="connsiteY9" fmla="*/ 766 h 20890"/>
                <a:gd name="connsiteX10" fmla="*/ 13856 w 36004"/>
                <a:gd name="connsiteY10" fmla="*/ 766 h 20890"/>
                <a:gd name="connsiteX11" fmla="*/ 1283 w 36004"/>
                <a:gd name="connsiteY11" fmla="*/ 8005 h 20890"/>
                <a:gd name="connsiteX12" fmla="*/ -336 w 36004"/>
                <a:gd name="connsiteY12" fmla="*/ 10196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196"/>
                  </a:moveTo>
                  <a:cubicBezTo>
                    <a:pt x="-298" y="11215"/>
                    <a:pt x="340" y="12110"/>
                    <a:pt x="1283" y="12482"/>
                  </a:cubicBezTo>
                  <a:lnTo>
                    <a:pt x="3569" y="13815"/>
                  </a:lnTo>
                  <a:lnTo>
                    <a:pt x="13856" y="19721"/>
                  </a:lnTo>
                  <a:cubicBezTo>
                    <a:pt x="16256" y="21064"/>
                    <a:pt x="19171" y="21064"/>
                    <a:pt x="21571" y="19721"/>
                  </a:cubicBezTo>
                  <a:lnTo>
                    <a:pt x="31858" y="13815"/>
                  </a:lnTo>
                  <a:lnTo>
                    <a:pt x="34144" y="12482"/>
                  </a:lnTo>
                  <a:cubicBezTo>
                    <a:pt x="35049" y="12082"/>
                    <a:pt x="35640" y="11186"/>
                    <a:pt x="35668" y="10196"/>
                  </a:cubicBezTo>
                  <a:cubicBezTo>
                    <a:pt x="35573" y="9253"/>
                    <a:pt x="34992" y="8424"/>
                    <a:pt x="34144" y="8005"/>
                  </a:cubicBezTo>
                  <a:lnTo>
                    <a:pt x="21571" y="766"/>
                  </a:lnTo>
                  <a:cubicBezTo>
                    <a:pt x="19152" y="-472"/>
                    <a:pt x="16275" y="-472"/>
                    <a:pt x="13856" y="766"/>
                  </a:cubicBezTo>
                  <a:lnTo>
                    <a:pt x="1283" y="8005"/>
                  </a:lnTo>
                  <a:cubicBezTo>
                    <a:pt x="378" y="8386"/>
                    <a:pt x="-241" y="9224"/>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715" name="ïṣľîḋe">
              <a:extLst>
                <a:ext uri="{FF2B5EF4-FFF2-40B4-BE49-F238E27FC236}">
                  <a16:creationId xmlns:a16="http://schemas.microsoft.com/office/drawing/2014/main" id="{FDB4F631-4094-441E-8CCA-6713AA610FCE}"/>
                </a:ext>
              </a:extLst>
            </p:cNvPr>
            <p:cNvSpPr/>
            <p:nvPr/>
          </p:nvSpPr>
          <p:spPr>
            <a:xfrm>
              <a:off x="6018302" y="5271247"/>
              <a:ext cx="105618" cy="61101"/>
            </a:xfrm>
            <a:custGeom>
              <a:avLst/>
              <a:gdLst>
                <a:gd name="connsiteX0" fmla="*/ 1154 w 34698"/>
                <a:gd name="connsiteY0" fmla="*/ 12006 h 20073"/>
                <a:gd name="connsiteX1" fmla="*/ 13251 w 34698"/>
                <a:gd name="connsiteY1" fmla="*/ 19054 h 20073"/>
                <a:gd name="connsiteX2" fmla="*/ 20680 w 34698"/>
                <a:gd name="connsiteY2" fmla="*/ 19054 h 20073"/>
                <a:gd name="connsiteX3" fmla="*/ 32872 w 34698"/>
                <a:gd name="connsiteY3" fmla="*/ 12006 h 20073"/>
                <a:gd name="connsiteX4" fmla="*/ 34215 w 34698"/>
                <a:gd name="connsiteY4" fmla="*/ 9072 h 20073"/>
                <a:gd name="connsiteX5" fmla="*/ 32872 w 34698"/>
                <a:gd name="connsiteY5" fmla="*/ 7719 h 20073"/>
                <a:gd name="connsiteX6" fmla="*/ 20680 w 34698"/>
                <a:gd name="connsiteY6" fmla="*/ 766 h 20073"/>
                <a:gd name="connsiteX7" fmla="*/ 13251 w 34698"/>
                <a:gd name="connsiteY7" fmla="*/ 766 h 20073"/>
                <a:gd name="connsiteX8" fmla="*/ 1154 w 34698"/>
                <a:gd name="connsiteY8" fmla="*/ 7719 h 20073"/>
                <a:gd name="connsiteX9" fmla="*/ -189 w 34698"/>
                <a:gd name="connsiteY9" fmla="*/ 10653 h 20073"/>
                <a:gd name="connsiteX10" fmla="*/ 1154 w 34698"/>
                <a:gd name="connsiteY10"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698" h="20073">
                  <a:moveTo>
                    <a:pt x="1154" y="12006"/>
                  </a:moveTo>
                  <a:lnTo>
                    <a:pt x="13251" y="19054"/>
                  </a:lnTo>
                  <a:cubicBezTo>
                    <a:pt x="15594" y="20197"/>
                    <a:pt x="18337" y="20197"/>
                    <a:pt x="20680" y="19054"/>
                  </a:cubicBezTo>
                  <a:lnTo>
                    <a:pt x="32872" y="12006"/>
                  </a:lnTo>
                  <a:cubicBezTo>
                    <a:pt x="34053" y="11567"/>
                    <a:pt x="34663" y="10253"/>
                    <a:pt x="34215" y="9072"/>
                  </a:cubicBezTo>
                  <a:cubicBezTo>
                    <a:pt x="33987" y="8443"/>
                    <a:pt x="33491" y="7948"/>
                    <a:pt x="32872" y="7719"/>
                  </a:cubicBezTo>
                  <a:lnTo>
                    <a:pt x="20680" y="766"/>
                  </a:lnTo>
                  <a:cubicBezTo>
                    <a:pt x="18356" y="-472"/>
                    <a:pt x="15575" y="-472"/>
                    <a:pt x="13251" y="766"/>
                  </a:cubicBezTo>
                  <a:lnTo>
                    <a:pt x="1154" y="7719"/>
                  </a:lnTo>
                  <a:cubicBezTo>
                    <a:pt x="-27" y="8158"/>
                    <a:pt x="-637" y="9472"/>
                    <a:pt x="-189" y="10653"/>
                  </a:cubicBezTo>
                  <a:cubicBezTo>
                    <a:pt x="40" y="11281"/>
                    <a:pt x="535" y="11777"/>
                    <a:pt x="1154" y="12006"/>
                  </a:cubicBezTo>
                  <a:close/>
                </a:path>
              </a:pathLst>
            </a:custGeom>
            <a:solidFill>
              <a:srgbClr val="D1D9E8"/>
            </a:solidFill>
            <a:ln w="9525" cap="flat">
              <a:noFill/>
              <a:prstDash val="solid"/>
              <a:miter/>
            </a:ln>
          </p:spPr>
          <p:txBody>
            <a:bodyPr rtlCol="0" anchor="ctr"/>
            <a:lstStyle/>
            <a:p>
              <a:endParaRPr lang="zh-CN" altLang="en-US"/>
            </a:p>
          </p:txBody>
        </p:sp>
        <p:sp>
          <p:nvSpPr>
            <p:cNvPr id="716" name="ïṡľíďe">
              <a:extLst>
                <a:ext uri="{FF2B5EF4-FFF2-40B4-BE49-F238E27FC236}">
                  <a16:creationId xmlns:a16="http://schemas.microsoft.com/office/drawing/2014/main" id="{9BAFDF80-C007-4444-8CA6-988D5E1FE504}"/>
                </a:ext>
              </a:extLst>
            </p:cNvPr>
            <p:cNvSpPr/>
            <p:nvPr/>
          </p:nvSpPr>
          <p:spPr>
            <a:xfrm>
              <a:off x="6016172" y="5301616"/>
              <a:ext cx="109594" cy="53801"/>
            </a:xfrm>
            <a:custGeom>
              <a:avLst/>
              <a:gdLst>
                <a:gd name="connsiteX0" fmla="*/ -336 w 36004"/>
                <a:gd name="connsiteY0" fmla="*/ -163 h 17675"/>
                <a:gd name="connsiteX1" fmla="*/ -336 w 36004"/>
                <a:gd name="connsiteY1" fmla="*/ 7076 h 17675"/>
                <a:gd name="connsiteX2" fmla="*/ 1283 w 36004"/>
                <a:gd name="connsiteY2" fmla="*/ 9267 h 17675"/>
                <a:gd name="connsiteX3" fmla="*/ 13856 w 36004"/>
                <a:gd name="connsiteY3" fmla="*/ 16506 h 17675"/>
                <a:gd name="connsiteX4" fmla="*/ 21571 w 36004"/>
                <a:gd name="connsiteY4" fmla="*/ 16506 h 17675"/>
                <a:gd name="connsiteX5" fmla="*/ 34144 w 36004"/>
                <a:gd name="connsiteY5" fmla="*/ 9267 h 17675"/>
                <a:gd name="connsiteX6" fmla="*/ 35668 w 36004"/>
                <a:gd name="connsiteY6" fmla="*/ 7076 h 17675"/>
                <a:gd name="connsiteX7" fmla="*/ 35668 w 36004"/>
                <a:gd name="connsiteY7" fmla="*/ -163 h 17675"/>
                <a:gd name="connsiteX8" fmla="*/ 34144 w 36004"/>
                <a:gd name="connsiteY8" fmla="*/ 2123 h 17675"/>
                <a:gd name="connsiteX9" fmla="*/ 31858 w 36004"/>
                <a:gd name="connsiteY9" fmla="*/ 3457 h 17675"/>
                <a:gd name="connsiteX10" fmla="*/ 21571 w 36004"/>
                <a:gd name="connsiteY10" fmla="*/ 9362 h 17675"/>
                <a:gd name="connsiteX11" fmla="*/ 13856 w 36004"/>
                <a:gd name="connsiteY11" fmla="*/ 9362 h 17675"/>
                <a:gd name="connsiteX12" fmla="*/ 3569 w 36004"/>
                <a:gd name="connsiteY12" fmla="*/ 3457 h 17675"/>
                <a:gd name="connsiteX13" fmla="*/ 1283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79" y="8067"/>
                    <a:pt x="349" y="8924"/>
                    <a:pt x="1283" y="9267"/>
                  </a:cubicBezTo>
                  <a:lnTo>
                    <a:pt x="13856" y="16506"/>
                  </a:lnTo>
                  <a:cubicBezTo>
                    <a:pt x="16256" y="17849"/>
                    <a:pt x="19171" y="17849"/>
                    <a:pt x="21571" y="16506"/>
                  </a:cubicBezTo>
                  <a:lnTo>
                    <a:pt x="34144" y="9267"/>
                  </a:lnTo>
                  <a:cubicBezTo>
                    <a:pt x="35021" y="8877"/>
                    <a:pt x="35611" y="8029"/>
                    <a:pt x="35668" y="7076"/>
                  </a:cubicBezTo>
                  <a:lnTo>
                    <a:pt x="35668" y="-163"/>
                  </a:lnTo>
                  <a:cubicBezTo>
                    <a:pt x="35640" y="828"/>
                    <a:pt x="35049" y="1723"/>
                    <a:pt x="34144" y="2123"/>
                  </a:cubicBezTo>
                  <a:lnTo>
                    <a:pt x="31858" y="3457"/>
                  </a:lnTo>
                  <a:lnTo>
                    <a:pt x="21571" y="9362"/>
                  </a:lnTo>
                  <a:cubicBezTo>
                    <a:pt x="19171" y="10705"/>
                    <a:pt x="16256" y="10705"/>
                    <a:pt x="13856" y="9362"/>
                  </a:cubicBezTo>
                  <a:lnTo>
                    <a:pt x="3569" y="3457"/>
                  </a:lnTo>
                  <a:lnTo>
                    <a:pt x="1283" y="2123"/>
                  </a:lnTo>
                  <a:cubicBezTo>
                    <a:pt x="340" y="1752"/>
                    <a:pt x="-298" y="856"/>
                    <a:pt x="-336" y="-163"/>
                  </a:cubicBezTo>
                  <a:close/>
                </a:path>
              </a:pathLst>
            </a:custGeom>
            <a:solidFill>
              <a:srgbClr val="BF4200"/>
            </a:solidFill>
            <a:ln w="9525" cap="flat">
              <a:noFill/>
              <a:prstDash val="solid"/>
              <a:miter/>
            </a:ln>
          </p:spPr>
          <p:txBody>
            <a:bodyPr rtlCol="0" anchor="ctr"/>
            <a:lstStyle/>
            <a:p>
              <a:endParaRPr lang="zh-CN" altLang="en-US"/>
            </a:p>
          </p:txBody>
        </p:sp>
        <p:sp>
          <p:nvSpPr>
            <p:cNvPr id="717" name="îṩḷíďe">
              <a:extLst>
                <a:ext uri="{FF2B5EF4-FFF2-40B4-BE49-F238E27FC236}">
                  <a16:creationId xmlns:a16="http://schemas.microsoft.com/office/drawing/2014/main" id="{A16F4784-E2F8-4468-BD19-2E135638C365}"/>
                </a:ext>
              </a:extLst>
            </p:cNvPr>
            <p:cNvSpPr/>
            <p:nvPr/>
          </p:nvSpPr>
          <p:spPr>
            <a:xfrm>
              <a:off x="6093582" y="5314735"/>
              <a:ext cx="109740" cy="63588"/>
            </a:xfrm>
            <a:custGeom>
              <a:avLst/>
              <a:gdLst>
                <a:gd name="connsiteX0" fmla="*/ -336 w 36052"/>
                <a:gd name="connsiteY0" fmla="*/ 10196 h 20890"/>
                <a:gd name="connsiteX1" fmla="*/ 1188 w 36052"/>
                <a:gd name="connsiteY1" fmla="*/ 12482 h 20890"/>
                <a:gd name="connsiteX2" fmla="*/ 3569 w 36052"/>
                <a:gd name="connsiteY2" fmla="*/ 13815 h 20890"/>
                <a:gd name="connsiteX3" fmla="*/ 13856 w 36052"/>
                <a:gd name="connsiteY3" fmla="*/ 19721 h 20890"/>
                <a:gd name="connsiteX4" fmla="*/ 21476 w 36052"/>
                <a:gd name="connsiteY4" fmla="*/ 19721 h 20890"/>
                <a:gd name="connsiteX5" fmla="*/ 31763 w 36052"/>
                <a:gd name="connsiteY5" fmla="*/ 13815 h 20890"/>
                <a:gd name="connsiteX6" fmla="*/ 34144 w 36052"/>
                <a:gd name="connsiteY6" fmla="*/ 12482 h 20890"/>
                <a:gd name="connsiteX7" fmla="*/ 35573 w 36052"/>
                <a:gd name="connsiteY7" fmla="*/ 9434 h 20890"/>
                <a:gd name="connsiteX8" fmla="*/ 34144 w 36052"/>
                <a:gd name="connsiteY8" fmla="*/ 8005 h 20890"/>
                <a:gd name="connsiteX9" fmla="*/ 21476 w 36052"/>
                <a:gd name="connsiteY9" fmla="*/ 766 h 20890"/>
                <a:gd name="connsiteX10" fmla="*/ 13856 w 36052"/>
                <a:gd name="connsiteY10" fmla="*/ 766 h 20890"/>
                <a:gd name="connsiteX11" fmla="*/ 1188 w 36052"/>
                <a:gd name="connsiteY11" fmla="*/ 8005 h 20890"/>
                <a:gd name="connsiteX12" fmla="*/ -336 w 36052"/>
                <a:gd name="connsiteY12" fmla="*/ 10196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90">
                  <a:moveTo>
                    <a:pt x="-336" y="10196"/>
                  </a:moveTo>
                  <a:cubicBezTo>
                    <a:pt x="-269" y="11177"/>
                    <a:pt x="312" y="12044"/>
                    <a:pt x="1188" y="12482"/>
                  </a:cubicBezTo>
                  <a:lnTo>
                    <a:pt x="3569" y="13815"/>
                  </a:lnTo>
                  <a:lnTo>
                    <a:pt x="13856" y="19721"/>
                  </a:lnTo>
                  <a:cubicBezTo>
                    <a:pt x="16218" y="21064"/>
                    <a:pt x="19114" y="21064"/>
                    <a:pt x="21476" y="19721"/>
                  </a:cubicBezTo>
                  <a:lnTo>
                    <a:pt x="31763" y="13815"/>
                  </a:lnTo>
                  <a:lnTo>
                    <a:pt x="34144" y="12482"/>
                  </a:lnTo>
                  <a:cubicBezTo>
                    <a:pt x="35382" y="12034"/>
                    <a:pt x="36021" y="10663"/>
                    <a:pt x="35573" y="9434"/>
                  </a:cubicBezTo>
                  <a:cubicBezTo>
                    <a:pt x="35325" y="8767"/>
                    <a:pt x="34811" y="8243"/>
                    <a:pt x="34144" y="8005"/>
                  </a:cubicBezTo>
                  <a:lnTo>
                    <a:pt x="21476" y="766"/>
                  </a:lnTo>
                  <a:cubicBezTo>
                    <a:pt x="19085" y="-472"/>
                    <a:pt x="16247" y="-472"/>
                    <a:pt x="13856" y="766"/>
                  </a:cubicBezTo>
                  <a:lnTo>
                    <a:pt x="1188" y="8005"/>
                  </a:lnTo>
                  <a:cubicBezTo>
                    <a:pt x="340" y="8424"/>
                    <a:pt x="-241" y="925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718" name="iṡḻïḍe">
              <a:extLst>
                <a:ext uri="{FF2B5EF4-FFF2-40B4-BE49-F238E27FC236}">
                  <a16:creationId xmlns:a16="http://schemas.microsoft.com/office/drawing/2014/main" id="{C4177F47-5A50-47EE-AD7D-DDCB2E3BE2F5}"/>
                </a:ext>
              </a:extLst>
            </p:cNvPr>
            <p:cNvSpPr/>
            <p:nvPr/>
          </p:nvSpPr>
          <p:spPr>
            <a:xfrm>
              <a:off x="6095426" y="5315822"/>
              <a:ext cx="105618" cy="61174"/>
            </a:xfrm>
            <a:custGeom>
              <a:avLst/>
              <a:gdLst>
                <a:gd name="connsiteX0" fmla="*/ 1154 w 34698"/>
                <a:gd name="connsiteY0" fmla="*/ 12030 h 20097"/>
                <a:gd name="connsiteX1" fmla="*/ 13346 w 34698"/>
                <a:gd name="connsiteY1" fmla="*/ 19078 h 20097"/>
                <a:gd name="connsiteX2" fmla="*/ 20776 w 34698"/>
                <a:gd name="connsiteY2" fmla="*/ 19078 h 20097"/>
                <a:gd name="connsiteX3" fmla="*/ 32872 w 34698"/>
                <a:gd name="connsiteY3" fmla="*/ 12030 h 20097"/>
                <a:gd name="connsiteX4" fmla="*/ 34215 w 34698"/>
                <a:gd name="connsiteY4" fmla="*/ 9096 h 20097"/>
                <a:gd name="connsiteX5" fmla="*/ 32872 w 34698"/>
                <a:gd name="connsiteY5" fmla="*/ 7743 h 20097"/>
                <a:gd name="connsiteX6" fmla="*/ 20776 w 34698"/>
                <a:gd name="connsiteY6" fmla="*/ 695 h 20097"/>
                <a:gd name="connsiteX7" fmla="*/ 13346 w 34698"/>
                <a:gd name="connsiteY7" fmla="*/ 695 h 20097"/>
                <a:gd name="connsiteX8" fmla="*/ 1154 w 34698"/>
                <a:gd name="connsiteY8" fmla="*/ 7743 h 20097"/>
                <a:gd name="connsiteX9" fmla="*/ -189 w 34698"/>
                <a:gd name="connsiteY9" fmla="*/ 10686 h 20097"/>
                <a:gd name="connsiteX10" fmla="*/ 1154 w 34698"/>
                <a:gd name="connsiteY10" fmla="*/ 12030 h 20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698" h="20097">
                  <a:moveTo>
                    <a:pt x="1154" y="12030"/>
                  </a:moveTo>
                  <a:lnTo>
                    <a:pt x="13346" y="19078"/>
                  </a:lnTo>
                  <a:cubicBezTo>
                    <a:pt x="15689" y="20221"/>
                    <a:pt x="18432" y="20221"/>
                    <a:pt x="20776" y="19078"/>
                  </a:cubicBezTo>
                  <a:lnTo>
                    <a:pt x="32872" y="12030"/>
                  </a:lnTo>
                  <a:cubicBezTo>
                    <a:pt x="34053" y="11591"/>
                    <a:pt x="34663" y="10277"/>
                    <a:pt x="34215" y="9096"/>
                  </a:cubicBezTo>
                  <a:cubicBezTo>
                    <a:pt x="33987" y="8467"/>
                    <a:pt x="33491" y="7972"/>
                    <a:pt x="32872" y="7743"/>
                  </a:cubicBezTo>
                  <a:lnTo>
                    <a:pt x="20776" y="695"/>
                  </a:lnTo>
                  <a:cubicBezTo>
                    <a:pt x="18432" y="-448"/>
                    <a:pt x="15689" y="-448"/>
                    <a:pt x="13346" y="695"/>
                  </a:cubicBezTo>
                  <a:lnTo>
                    <a:pt x="1154" y="7743"/>
                  </a:lnTo>
                  <a:cubicBezTo>
                    <a:pt x="-27" y="8181"/>
                    <a:pt x="-637" y="9496"/>
                    <a:pt x="-189" y="10686"/>
                  </a:cubicBezTo>
                  <a:cubicBezTo>
                    <a:pt x="40" y="11305"/>
                    <a:pt x="525" y="11801"/>
                    <a:pt x="1154" y="12030"/>
                  </a:cubicBezTo>
                  <a:close/>
                </a:path>
              </a:pathLst>
            </a:custGeom>
            <a:solidFill>
              <a:srgbClr val="D1D9E8"/>
            </a:solidFill>
            <a:ln w="9525" cap="flat">
              <a:noFill/>
              <a:prstDash val="solid"/>
              <a:miter/>
            </a:ln>
          </p:spPr>
          <p:txBody>
            <a:bodyPr rtlCol="0" anchor="ctr"/>
            <a:lstStyle/>
            <a:p>
              <a:endParaRPr lang="zh-CN" altLang="en-US"/>
            </a:p>
          </p:txBody>
        </p:sp>
        <p:sp>
          <p:nvSpPr>
            <p:cNvPr id="719" name="ïšḷíḓè">
              <a:extLst>
                <a:ext uri="{FF2B5EF4-FFF2-40B4-BE49-F238E27FC236}">
                  <a16:creationId xmlns:a16="http://schemas.microsoft.com/office/drawing/2014/main" id="{AE9A3FCB-D92D-4FE3-B558-873297612735}"/>
                </a:ext>
              </a:extLst>
            </p:cNvPr>
            <p:cNvSpPr/>
            <p:nvPr/>
          </p:nvSpPr>
          <p:spPr>
            <a:xfrm>
              <a:off x="6093582" y="5346267"/>
              <a:ext cx="109594" cy="53801"/>
            </a:xfrm>
            <a:custGeom>
              <a:avLst/>
              <a:gdLst>
                <a:gd name="connsiteX0" fmla="*/ -336 w 36004"/>
                <a:gd name="connsiteY0" fmla="*/ -163 h 17675"/>
                <a:gd name="connsiteX1" fmla="*/ -336 w 36004"/>
                <a:gd name="connsiteY1" fmla="*/ 7076 h 17675"/>
                <a:gd name="connsiteX2" fmla="*/ 1188 w 36004"/>
                <a:gd name="connsiteY2" fmla="*/ 9267 h 17675"/>
                <a:gd name="connsiteX3" fmla="*/ 13856 w 36004"/>
                <a:gd name="connsiteY3" fmla="*/ 16506 h 17675"/>
                <a:gd name="connsiteX4" fmla="*/ 21476 w 36004"/>
                <a:gd name="connsiteY4" fmla="*/ 16506 h 17675"/>
                <a:gd name="connsiteX5" fmla="*/ 34144 w 36004"/>
                <a:gd name="connsiteY5" fmla="*/ 9267 h 17675"/>
                <a:gd name="connsiteX6" fmla="*/ 35668 w 36004"/>
                <a:gd name="connsiteY6" fmla="*/ 7076 h 17675"/>
                <a:gd name="connsiteX7" fmla="*/ 35668 w 36004"/>
                <a:gd name="connsiteY7" fmla="*/ -163 h 17675"/>
                <a:gd name="connsiteX8" fmla="*/ 34144 w 36004"/>
                <a:gd name="connsiteY8" fmla="*/ 2123 h 17675"/>
                <a:gd name="connsiteX9" fmla="*/ 31763 w 36004"/>
                <a:gd name="connsiteY9" fmla="*/ 3457 h 17675"/>
                <a:gd name="connsiteX10" fmla="*/ 21476 w 36004"/>
                <a:gd name="connsiteY10" fmla="*/ 9362 h 17675"/>
                <a:gd name="connsiteX11" fmla="*/ 13856 w 36004"/>
                <a:gd name="connsiteY11" fmla="*/ 9362 h 17675"/>
                <a:gd name="connsiteX12" fmla="*/ 3569 w 36004"/>
                <a:gd name="connsiteY12" fmla="*/ 3457 h 17675"/>
                <a:gd name="connsiteX13" fmla="*/ 1188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79" y="8038"/>
                    <a:pt x="312" y="8877"/>
                    <a:pt x="1188" y="9267"/>
                  </a:cubicBezTo>
                  <a:lnTo>
                    <a:pt x="13856" y="16506"/>
                  </a:lnTo>
                  <a:cubicBezTo>
                    <a:pt x="16218" y="17849"/>
                    <a:pt x="19114" y="17849"/>
                    <a:pt x="21476" y="16506"/>
                  </a:cubicBezTo>
                  <a:lnTo>
                    <a:pt x="34144" y="9267"/>
                  </a:lnTo>
                  <a:cubicBezTo>
                    <a:pt x="35021" y="8877"/>
                    <a:pt x="35611" y="8038"/>
                    <a:pt x="35668" y="7076"/>
                  </a:cubicBezTo>
                  <a:lnTo>
                    <a:pt x="35668" y="-163"/>
                  </a:lnTo>
                  <a:cubicBezTo>
                    <a:pt x="35602" y="818"/>
                    <a:pt x="35021" y="1685"/>
                    <a:pt x="34144" y="2123"/>
                  </a:cubicBezTo>
                  <a:lnTo>
                    <a:pt x="31763" y="3457"/>
                  </a:lnTo>
                  <a:lnTo>
                    <a:pt x="21476" y="9362"/>
                  </a:lnTo>
                  <a:cubicBezTo>
                    <a:pt x="19114" y="10705"/>
                    <a:pt x="16218" y="10705"/>
                    <a:pt x="13856" y="9362"/>
                  </a:cubicBezTo>
                  <a:lnTo>
                    <a:pt x="3569" y="3457"/>
                  </a:lnTo>
                  <a:lnTo>
                    <a:pt x="1188" y="2123"/>
                  </a:lnTo>
                  <a:cubicBezTo>
                    <a:pt x="312"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20" name="ïṣľïďe">
              <a:extLst>
                <a:ext uri="{FF2B5EF4-FFF2-40B4-BE49-F238E27FC236}">
                  <a16:creationId xmlns:a16="http://schemas.microsoft.com/office/drawing/2014/main" id="{2327C3B3-EC49-4358-AEF6-30541FC1F3CB}"/>
                </a:ext>
              </a:extLst>
            </p:cNvPr>
            <p:cNvSpPr/>
            <p:nvPr/>
          </p:nvSpPr>
          <p:spPr>
            <a:xfrm>
              <a:off x="6170124" y="5359384"/>
              <a:ext cx="140036" cy="80688"/>
            </a:xfrm>
            <a:custGeom>
              <a:avLst/>
              <a:gdLst>
                <a:gd name="connsiteX0" fmla="*/ -336 w 46005"/>
                <a:gd name="connsiteY0" fmla="*/ 10196 h 26508"/>
                <a:gd name="connsiteX1" fmla="*/ 1283 w 46005"/>
                <a:gd name="connsiteY1" fmla="*/ 12482 h 26508"/>
                <a:gd name="connsiteX2" fmla="*/ 3569 w 46005"/>
                <a:gd name="connsiteY2" fmla="*/ 13815 h 26508"/>
                <a:gd name="connsiteX3" fmla="*/ 23762 w 46005"/>
                <a:gd name="connsiteY3" fmla="*/ 25531 h 26508"/>
                <a:gd name="connsiteX4" fmla="*/ 31477 w 46005"/>
                <a:gd name="connsiteY4" fmla="*/ 25531 h 26508"/>
                <a:gd name="connsiteX5" fmla="*/ 41764 w 46005"/>
                <a:gd name="connsiteY5" fmla="*/ 19530 h 26508"/>
                <a:gd name="connsiteX6" fmla="*/ 44146 w 46005"/>
                <a:gd name="connsiteY6" fmla="*/ 18197 h 26508"/>
                <a:gd name="connsiteX7" fmla="*/ 45669 w 46005"/>
                <a:gd name="connsiteY7" fmla="*/ 16578 h 26508"/>
                <a:gd name="connsiteX8" fmla="*/ 45669 w 46005"/>
                <a:gd name="connsiteY8" fmla="*/ 15435 h 26508"/>
                <a:gd name="connsiteX9" fmla="*/ 44146 w 46005"/>
                <a:gd name="connsiteY9" fmla="*/ 13720 h 26508"/>
                <a:gd name="connsiteX10" fmla="*/ 21571 w 46005"/>
                <a:gd name="connsiteY10" fmla="*/ 766 h 26508"/>
                <a:gd name="connsiteX11" fmla="*/ 13856 w 46005"/>
                <a:gd name="connsiteY11" fmla="*/ 766 h 26508"/>
                <a:gd name="connsiteX12" fmla="*/ 1283 w 46005"/>
                <a:gd name="connsiteY12" fmla="*/ 8005 h 26508"/>
                <a:gd name="connsiteX13" fmla="*/ -336 w 46005"/>
                <a:gd name="connsiteY13" fmla="*/ 10196 h 26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005" h="26508">
                  <a:moveTo>
                    <a:pt x="-336" y="10196"/>
                  </a:moveTo>
                  <a:cubicBezTo>
                    <a:pt x="-270" y="11206"/>
                    <a:pt x="359" y="12091"/>
                    <a:pt x="1283" y="12482"/>
                  </a:cubicBezTo>
                  <a:lnTo>
                    <a:pt x="3569" y="13815"/>
                  </a:lnTo>
                  <a:lnTo>
                    <a:pt x="23762" y="25531"/>
                  </a:lnTo>
                  <a:cubicBezTo>
                    <a:pt x="26219" y="26617"/>
                    <a:pt x="29020" y="26617"/>
                    <a:pt x="31477" y="25531"/>
                  </a:cubicBezTo>
                  <a:lnTo>
                    <a:pt x="41764" y="19530"/>
                  </a:lnTo>
                  <a:lnTo>
                    <a:pt x="44146" y="18197"/>
                  </a:lnTo>
                  <a:cubicBezTo>
                    <a:pt x="44860" y="17892"/>
                    <a:pt x="45412" y="17311"/>
                    <a:pt x="45669" y="16578"/>
                  </a:cubicBezTo>
                  <a:lnTo>
                    <a:pt x="45669" y="15435"/>
                  </a:lnTo>
                  <a:cubicBezTo>
                    <a:pt x="45384" y="14692"/>
                    <a:pt x="44841" y="14082"/>
                    <a:pt x="44146" y="13720"/>
                  </a:cubicBezTo>
                  <a:lnTo>
                    <a:pt x="21571" y="766"/>
                  </a:lnTo>
                  <a:cubicBezTo>
                    <a:pt x="19152" y="-472"/>
                    <a:pt x="16275" y="-472"/>
                    <a:pt x="13856" y="766"/>
                  </a:cubicBezTo>
                  <a:lnTo>
                    <a:pt x="1283" y="8005"/>
                  </a:lnTo>
                  <a:cubicBezTo>
                    <a:pt x="387" y="8386"/>
                    <a:pt x="-241" y="9224"/>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721" name="iṧ1íḑé">
              <a:extLst>
                <a:ext uri="{FF2B5EF4-FFF2-40B4-BE49-F238E27FC236}">
                  <a16:creationId xmlns:a16="http://schemas.microsoft.com/office/drawing/2014/main" id="{2B4EA32B-C625-4A74-9EB3-91D7A807A7E0}"/>
                </a:ext>
              </a:extLst>
            </p:cNvPr>
            <p:cNvSpPr/>
            <p:nvPr/>
          </p:nvSpPr>
          <p:spPr>
            <a:xfrm>
              <a:off x="6172836" y="5359892"/>
              <a:ext cx="136018" cy="78570"/>
            </a:xfrm>
            <a:custGeom>
              <a:avLst/>
              <a:gdLst>
                <a:gd name="connsiteX0" fmla="*/ 23252 w 44685"/>
                <a:gd name="connsiteY0" fmla="*/ 24793 h 25812"/>
                <a:gd name="connsiteX1" fmla="*/ 1154 w 44685"/>
                <a:gd name="connsiteY1" fmla="*/ 12029 h 25812"/>
                <a:gd name="connsiteX2" fmla="*/ -189 w 44685"/>
                <a:gd name="connsiteY2" fmla="*/ 9096 h 25812"/>
                <a:gd name="connsiteX3" fmla="*/ 1154 w 44685"/>
                <a:gd name="connsiteY3" fmla="*/ 7743 h 25812"/>
                <a:gd name="connsiteX4" fmla="*/ 13250 w 44685"/>
                <a:gd name="connsiteY4" fmla="*/ 695 h 25812"/>
                <a:gd name="connsiteX5" fmla="*/ 20680 w 44685"/>
                <a:gd name="connsiteY5" fmla="*/ 695 h 25812"/>
                <a:gd name="connsiteX6" fmla="*/ 42778 w 44685"/>
                <a:gd name="connsiteY6" fmla="*/ 13458 h 25812"/>
                <a:gd name="connsiteX7" fmla="*/ 42778 w 44685"/>
                <a:gd name="connsiteY7" fmla="*/ 17744 h 25812"/>
                <a:gd name="connsiteX8" fmla="*/ 30681 w 44685"/>
                <a:gd name="connsiteY8" fmla="*/ 24793 h 25812"/>
                <a:gd name="connsiteX9" fmla="*/ 23252 w 44685"/>
                <a:gd name="connsiteY9" fmla="*/ 24793 h 25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4685" h="25812">
                  <a:moveTo>
                    <a:pt x="23252" y="24793"/>
                  </a:moveTo>
                  <a:lnTo>
                    <a:pt x="1154" y="12029"/>
                  </a:lnTo>
                  <a:cubicBezTo>
                    <a:pt x="-27" y="11591"/>
                    <a:pt x="-637" y="10277"/>
                    <a:pt x="-189" y="9096"/>
                  </a:cubicBezTo>
                  <a:cubicBezTo>
                    <a:pt x="39" y="8467"/>
                    <a:pt x="535" y="7972"/>
                    <a:pt x="1154" y="7743"/>
                  </a:cubicBezTo>
                  <a:lnTo>
                    <a:pt x="13250" y="695"/>
                  </a:lnTo>
                  <a:cubicBezTo>
                    <a:pt x="15594" y="-448"/>
                    <a:pt x="18337" y="-448"/>
                    <a:pt x="20680" y="695"/>
                  </a:cubicBezTo>
                  <a:lnTo>
                    <a:pt x="42778" y="13458"/>
                  </a:lnTo>
                  <a:cubicBezTo>
                    <a:pt x="44873" y="14696"/>
                    <a:pt x="44873" y="16601"/>
                    <a:pt x="42778" y="17744"/>
                  </a:cubicBezTo>
                  <a:lnTo>
                    <a:pt x="30681" y="24793"/>
                  </a:lnTo>
                  <a:cubicBezTo>
                    <a:pt x="28338" y="25936"/>
                    <a:pt x="25595" y="25936"/>
                    <a:pt x="23252" y="24793"/>
                  </a:cubicBezTo>
                  <a:close/>
                </a:path>
              </a:pathLst>
            </a:custGeom>
            <a:solidFill>
              <a:srgbClr val="D1D9E8"/>
            </a:solidFill>
            <a:ln w="9525" cap="flat">
              <a:noFill/>
              <a:prstDash val="solid"/>
              <a:miter/>
            </a:ln>
          </p:spPr>
          <p:txBody>
            <a:bodyPr rtlCol="0" anchor="ctr"/>
            <a:lstStyle/>
            <a:p>
              <a:endParaRPr lang="zh-CN" altLang="en-US"/>
            </a:p>
          </p:txBody>
        </p:sp>
        <p:sp>
          <p:nvSpPr>
            <p:cNvPr id="722" name="ïšľíḍe">
              <a:extLst>
                <a:ext uri="{FF2B5EF4-FFF2-40B4-BE49-F238E27FC236}">
                  <a16:creationId xmlns:a16="http://schemas.microsoft.com/office/drawing/2014/main" id="{3C6EFFCF-C920-4B79-9C79-BED7046010F3}"/>
                </a:ext>
              </a:extLst>
            </p:cNvPr>
            <p:cNvSpPr/>
            <p:nvPr/>
          </p:nvSpPr>
          <p:spPr>
            <a:xfrm>
              <a:off x="6170124" y="5390916"/>
              <a:ext cx="140036" cy="71249"/>
            </a:xfrm>
            <a:custGeom>
              <a:avLst/>
              <a:gdLst>
                <a:gd name="connsiteX0" fmla="*/ -336 w 46005"/>
                <a:gd name="connsiteY0" fmla="*/ -163 h 23407"/>
                <a:gd name="connsiteX1" fmla="*/ -336 w 46005"/>
                <a:gd name="connsiteY1" fmla="*/ 7076 h 23407"/>
                <a:gd name="connsiteX2" fmla="*/ 1283 w 46005"/>
                <a:gd name="connsiteY2" fmla="*/ 9267 h 23407"/>
                <a:gd name="connsiteX3" fmla="*/ 23762 w 46005"/>
                <a:gd name="connsiteY3" fmla="*/ 22316 h 23407"/>
                <a:gd name="connsiteX4" fmla="*/ 31477 w 46005"/>
                <a:gd name="connsiteY4" fmla="*/ 22316 h 23407"/>
                <a:gd name="connsiteX5" fmla="*/ 44146 w 46005"/>
                <a:gd name="connsiteY5" fmla="*/ 14982 h 23407"/>
                <a:gd name="connsiteX6" fmla="*/ 45669 w 46005"/>
                <a:gd name="connsiteY6" fmla="*/ 13363 h 23407"/>
                <a:gd name="connsiteX7" fmla="*/ 45669 w 46005"/>
                <a:gd name="connsiteY7" fmla="*/ 6219 h 23407"/>
                <a:gd name="connsiteX8" fmla="*/ 44146 w 46005"/>
                <a:gd name="connsiteY8" fmla="*/ 7838 h 23407"/>
                <a:gd name="connsiteX9" fmla="*/ 41764 w 46005"/>
                <a:gd name="connsiteY9" fmla="*/ 9172 h 23407"/>
                <a:gd name="connsiteX10" fmla="*/ 31477 w 46005"/>
                <a:gd name="connsiteY10" fmla="*/ 15172 h 23407"/>
                <a:gd name="connsiteX11" fmla="*/ 23762 w 46005"/>
                <a:gd name="connsiteY11" fmla="*/ 15172 h 23407"/>
                <a:gd name="connsiteX12" fmla="*/ 3569 w 46005"/>
                <a:gd name="connsiteY12" fmla="*/ 3457 h 23407"/>
                <a:gd name="connsiteX13" fmla="*/ 1283 w 46005"/>
                <a:gd name="connsiteY13" fmla="*/ 2123 h 23407"/>
                <a:gd name="connsiteX14" fmla="*/ -336 w 46005"/>
                <a:gd name="connsiteY14" fmla="*/ -163 h 234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6005" h="23407">
                  <a:moveTo>
                    <a:pt x="-336" y="-163"/>
                  </a:moveTo>
                  <a:lnTo>
                    <a:pt x="-336" y="7076"/>
                  </a:lnTo>
                  <a:cubicBezTo>
                    <a:pt x="-260" y="8057"/>
                    <a:pt x="369" y="8905"/>
                    <a:pt x="1283" y="9267"/>
                  </a:cubicBezTo>
                  <a:lnTo>
                    <a:pt x="23762" y="22316"/>
                  </a:lnTo>
                  <a:cubicBezTo>
                    <a:pt x="26181" y="23555"/>
                    <a:pt x="29058" y="23555"/>
                    <a:pt x="31477" y="22316"/>
                  </a:cubicBezTo>
                  <a:lnTo>
                    <a:pt x="44146" y="14982"/>
                  </a:lnTo>
                  <a:cubicBezTo>
                    <a:pt x="44822" y="14629"/>
                    <a:pt x="45355" y="14058"/>
                    <a:pt x="45669" y="13363"/>
                  </a:cubicBezTo>
                  <a:lnTo>
                    <a:pt x="45669" y="6219"/>
                  </a:lnTo>
                  <a:cubicBezTo>
                    <a:pt x="45412" y="6952"/>
                    <a:pt x="44860" y="7533"/>
                    <a:pt x="44146" y="7838"/>
                  </a:cubicBezTo>
                  <a:lnTo>
                    <a:pt x="41764" y="9172"/>
                  </a:lnTo>
                  <a:lnTo>
                    <a:pt x="31477" y="15172"/>
                  </a:lnTo>
                  <a:cubicBezTo>
                    <a:pt x="29020" y="16258"/>
                    <a:pt x="26219" y="16258"/>
                    <a:pt x="23762" y="15172"/>
                  </a:cubicBezTo>
                  <a:lnTo>
                    <a:pt x="3569" y="3457"/>
                  </a:lnTo>
                  <a:lnTo>
                    <a:pt x="1283" y="2123"/>
                  </a:lnTo>
                  <a:cubicBezTo>
                    <a:pt x="359" y="1733"/>
                    <a:pt x="-270" y="847"/>
                    <a:pt x="-336" y="-163"/>
                  </a:cubicBezTo>
                  <a:close/>
                </a:path>
              </a:pathLst>
            </a:custGeom>
            <a:solidFill>
              <a:srgbClr val="BF4200"/>
            </a:solidFill>
            <a:ln w="9525" cap="flat">
              <a:noFill/>
              <a:prstDash val="solid"/>
              <a:miter/>
            </a:ln>
          </p:spPr>
          <p:txBody>
            <a:bodyPr rtlCol="0" anchor="ctr"/>
            <a:lstStyle/>
            <a:p>
              <a:endParaRPr lang="zh-CN" altLang="en-US"/>
            </a:p>
          </p:txBody>
        </p:sp>
        <p:sp>
          <p:nvSpPr>
            <p:cNvPr id="723" name="îṩļïďè">
              <a:extLst>
                <a:ext uri="{FF2B5EF4-FFF2-40B4-BE49-F238E27FC236}">
                  <a16:creationId xmlns:a16="http://schemas.microsoft.com/office/drawing/2014/main" id="{BFD1DF04-B970-4585-B02D-9EE43FC8FBFC}"/>
                </a:ext>
              </a:extLst>
            </p:cNvPr>
            <p:cNvSpPr/>
            <p:nvPr/>
          </p:nvSpPr>
          <p:spPr>
            <a:xfrm>
              <a:off x="4999080" y="4774588"/>
              <a:ext cx="140036" cy="81035"/>
            </a:xfrm>
            <a:custGeom>
              <a:avLst/>
              <a:gdLst>
                <a:gd name="connsiteX0" fmla="*/ -336 w 46005"/>
                <a:gd name="connsiteY0" fmla="*/ 10291 h 26622"/>
                <a:gd name="connsiteX1" fmla="*/ 1283 w 46005"/>
                <a:gd name="connsiteY1" fmla="*/ 12577 h 26622"/>
                <a:gd name="connsiteX2" fmla="*/ 3569 w 46005"/>
                <a:gd name="connsiteY2" fmla="*/ 13911 h 26622"/>
                <a:gd name="connsiteX3" fmla="*/ 23762 w 46005"/>
                <a:gd name="connsiteY3" fmla="*/ 25531 h 26622"/>
                <a:gd name="connsiteX4" fmla="*/ 31572 w 46005"/>
                <a:gd name="connsiteY4" fmla="*/ 25531 h 26622"/>
                <a:gd name="connsiteX5" fmla="*/ 41764 w 46005"/>
                <a:gd name="connsiteY5" fmla="*/ 19625 h 26622"/>
                <a:gd name="connsiteX6" fmla="*/ 44146 w 46005"/>
                <a:gd name="connsiteY6" fmla="*/ 18292 h 26622"/>
                <a:gd name="connsiteX7" fmla="*/ 45670 w 46005"/>
                <a:gd name="connsiteY7" fmla="*/ 16578 h 26622"/>
                <a:gd name="connsiteX8" fmla="*/ 45670 w 46005"/>
                <a:gd name="connsiteY8" fmla="*/ 15530 h 26622"/>
                <a:gd name="connsiteX9" fmla="*/ 44146 w 46005"/>
                <a:gd name="connsiteY9" fmla="*/ 13815 h 26622"/>
                <a:gd name="connsiteX10" fmla="*/ 21571 w 46005"/>
                <a:gd name="connsiteY10" fmla="*/ 766 h 26622"/>
                <a:gd name="connsiteX11" fmla="*/ 13856 w 46005"/>
                <a:gd name="connsiteY11" fmla="*/ 766 h 26622"/>
                <a:gd name="connsiteX12" fmla="*/ 1283 w 46005"/>
                <a:gd name="connsiteY12" fmla="*/ 8100 h 26622"/>
                <a:gd name="connsiteX13" fmla="*/ -336 w 46005"/>
                <a:gd name="connsiteY13" fmla="*/ 10291 h 26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005" h="26622">
                  <a:moveTo>
                    <a:pt x="-336" y="10291"/>
                  </a:moveTo>
                  <a:cubicBezTo>
                    <a:pt x="-231" y="11282"/>
                    <a:pt x="378" y="12148"/>
                    <a:pt x="1283" y="12577"/>
                  </a:cubicBezTo>
                  <a:lnTo>
                    <a:pt x="3569" y="13911"/>
                  </a:lnTo>
                  <a:lnTo>
                    <a:pt x="23762" y="25531"/>
                  </a:lnTo>
                  <a:cubicBezTo>
                    <a:pt x="26220" y="26769"/>
                    <a:pt x="29115" y="26769"/>
                    <a:pt x="31572" y="25531"/>
                  </a:cubicBezTo>
                  <a:lnTo>
                    <a:pt x="41764" y="19625"/>
                  </a:lnTo>
                  <a:lnTo>
                    <a:pt x="44146" y="18292"/>
                  </a:lnTo>
                  <a:cubicBezTo>
                    <a:pt x="44850" y="17930"/>
                    <a:pt x="45384" y="17321"/>
                    <a:pt x="45670" y="16578"/>
                  </a:cubicBezTo>
                  <a:lnTo>
                    <a:pt x="45670" y="15530"/>
                  </a:lnTo>
                  <a:cubicBezTo>
                    <a:pt x="45384" y="14787"/>
                    <a:pt x="44850" y="14177"/>
                    <a:pt x="44146" y="13815"/>
                  </a:cubicBezTo>
                  <a:lnTo>
                    <a:pt x="21571" y="766"/>
                  </a:lnTo>
                  <a:cubicBezTo>
                    <a:pt x="19152" y="-472"/>
                    <a:pt x="16275" y="-472"/>
                    <a:pt x="13856" y="766"/>
                  </a:cubicBezTo>
                  <a:lnTo>
                    <a:pt x="1283" y="8100"/>
                  </a:lnTo>
                  <a:cubicBezTo>
                    <a:pt x="397" y="8491"/>
                    <a:pt x="-222"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724" name="í$líḓè">
              <a:extLst>
                <a:ext uri="{FF2B5EF4-FFF2-40B4-BE49-F238E27FC236}">
                  <a16:creationId xmlns:a16="http://schemas.microsoft.com/office/drawing/2014/main" id="{42BB5702-613B-4259-BD74-D0CA2FFDF602}"/>
                </a:ext>
              </a:extLst>
            </p:cNvPr>
            <p:cNvSpPr/>
            <p:nvPr/>
          </p:nvSpPr>
          <p:spPr>
            <a:xfrm>
              <a:off x="5001183" y="4775747"/>
              <a:ext cx="136121" cy="78716"/>
            </a:xfrm>
            <a:custGeom>
              <a:avLst/>
              <a:gdLst>
                <a:gd name="connsiteX0" fmla="*/ 23262 w 44719"/>
                <a:gd name="connsiteY0" fmla="*/ 24769 h 25860"/>
                <a:gd name="connsiteX1" fmla="*/ 1164 w 44719"/>
                <a:gd name="connsiteY1" fmla="*/ 12006 h 25860"/>
                <a:gd name="connsiteX2" fmla="*/ 1164 w 44719"/>
                <a:gd name="connsiteY2" fmla="*/ 7719 h 25860"/>
                <a:gd name="connsiteX3" fmla="*/ 13356 w 44719"/>
                <a:gd name="connsiteY3" fmla="*/ 766 h 25860"/>
                <a:gd name="connsiteX4" fmla="*/ 20785 w 44719"/>
                <a:gd name="connsiteY4" fmla="*/ 766 h 25860"/>
                <a:gd name="connsiteX5" fmla="*/ 42883 w 44719"/>
                <a:gd name="connsiteY5" fmla="*/ 13530 h 25860"/>
                <a:gd name="connsiteX6" fmla="*/ 42883 w 44719"/>
                <a:gd name="connsiteY6" fmla="*/ 17816 h 25860"/>
                <a:gd name="connsiteX7" fmla="*/ 30691 w 44719"/>
                <a:gd name="connsiteY7" fmla="*/ 24769 h 25860"/>
                <a:gd name="connsiteX8" fmla="*/ 23262 w 44719"/>
                <a:gd name="connsiteY8" fmla="*/ 24769 h 25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719" h="25860">
                  <a:moveTo>
                    <a:pt x="23262" y="24769"/>
                  </a:moveTo>
                  <a:lnTo>
                    <a:pt x="1164" y="12006"/>
                  </a:lnTo>
                  <a:cubicBezTo>
                    <a:pt x="-836" y="10863"/>
                    <a:pt x="-836" y="8958"/>
                    <a:pt x="1164" y="7719"/>
                  </a:cubicBezTo>
                  <a:lnTo>
                    <a:pt x="13356" y="766"/>
                  </a:lnTo>
                  <a:cubicBezTo>
                    <a:pt x="15680" y="-472"/>
                    <a:pt x="18461" y="-472"/>
                    <a:pt x="20785" y="766"/>
                  </a:cubicBezTo>
                  <a:lnTo>
                    <a:pt x="42883" y="13530"/>
                  </a:lnTo>
                  <a:cubicBezTo>
                    <a:pt x="44884" y="14673"/>
                    <a:pt x="44884" y="16577"/>
                    <a:pt x="42883" y="17816"/>
                  </a:cubicBezTo>
                  <a:lnTo>
                    <a:pt x="30691" y="24769"/>
                  </a:lnTo>
                  <a:cubicBezTo>
                    <a:pt x="28367" y="26007"/>
                    <a:pt x="25586" y="26007"/>
                    <a:pt x="23262" y="24769"/>
                  </a:cubicBezTo>
                  <a:close/>
                </a:path>
              </a:pathLst>
            </a:custGeom>
            <a:solidFill>
              <a:srgbClr val="D1D9E8"/>
            </a:solidFill>
            <a:ln w="9525" cap="flat">
              <a:noFill/>
              <a:prstDash val="solid"/>
              <a:miter/>
            </a:ln>
          </p:spPr>
          <p:txBody>
            <a:bodyPr rtlCol="0" anchor="ctr"/>
            <a:lstStyle/>
            <a:p>
              <a:endParaRPr lang="zh-CN" altLang="en-US"/>
            </a:p>
          </p:txBody>
        </p:sp>
        <p:sp>
          <p:nvSpPr>
            <p:cNvPr id="725" name="íṥḷïḑè">
              <a:extLst>
                <a:ext uri="{FF2B5EF4-FFF2-40B4-BE49-F238E27FC236}">
                  <a16:creationId xmlns:a16="http://schemas.microsoft.com/office/drawing/2014/main" id="{F932B142-4D32-465F-8D6B-35AEC0A91430}"/>
                </a:ext>
              </a:extLst>
            </p:cNvPr>
            <p:cNvSpPr/>
            <p:nvPr/>
          </p:nvSpPr>
          <p:spPr>
            <a:xfrm>
              <a:off x="4999080" y="4806409"/>
              <a:ext cx="140036" cy="69806"/>
            </a:xfrm>
            <a:custGeom>
              <a:avLst/>
              <a:gdLst>
                <a:gd name="connsiteX0" fmla="*/ -336 w 46005"/>
                <a:gd name="connsiteY0" fmla="*/ -163 h 22933"/>
                <a:gd name="connsiteX1" fmla="*/ -336 w 46005"/>
                <a:gd name="connsiteY1" fmla="*/ 6600 h 22933"/>
                <a:gd name="connsiteX2" fmla="*/ 1283 w 46005"/>
                <a:gd name="connsiteY2" fmla="*/ 8886 h 22933"/>
                <a:gd name="connsiteX3" fmla="*/ 23762 w 46005"/>
                <a:gd name="connsiteY3" fmla="*/ 21935 h 22933"/>
                <a:gd name="connsiteX4" fmla="*/ 31572 w 46005"/>
                <a:gd name="connsiteY4" fmla="*/ 21935 h 22933"/>
                <a:gd name="connsiteX5" fmla="*/ 44146 w 46005"/>
                <a:gd name="connsiteY5" fmla="*/ 14601 h 22933"/>
                <a:gd name="connsiteX6" fmla="*/ 45670 w 46005"/>
                <a:gd name="connsiteY6" fmla="*/ 12982 h 22933"/>
                <a:gd name="connsiteX7" fmla="*/ 45670 w 46005"/>
                <a:gd name="connsiteY7" fmla="*/ 6600 h 22933"/>
                <a:gd name="connsiteX8" fmla="*/ 44146 w 46005"/>
                <a:gd name="connsiteY8" fmla="*/ 8314 h 22933"/>
                <a:gd name="connsiteX9" fmla="*/ 41764 w 46005"/>
                <a:gd name="connsiteY9" fmla="*/ 9648 h 22933"/>
                <a:gd name="connsiteX10" fmla="*/ 31572 w 46005"/>
                <a:gd name="connsiteY10" fmla="*/ 15554 h 22933"/>
                <a:gd name="connsiteX11" fmla="*/ 23762 w 46005"/>
                <a:gd name="connsiteY11" fmla="*/ 15554 h 22933"/>
                <a:gd name="connsiteX12" fmla="*/ 3379 w 46005"/>
                <a:gd name="connsiteY12" fmla="*/ 3457 h 22933"/>
                <a:gd name="connsiteX13" fmla="*/ 1093 w 46005"/>
                <a:gd name="connsiteY13" fmla="*/ 2123 h 22933"/>
                <a:gd name="connsiteX14" fmla="*/ -336 w 46005"/>
                <a:gd name="connsiteY14" fmla="*/ -163 h 229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6005" h="22933">
                  <a:moveTo>
                    <a:pt x="-336" y="-163"/>
                  </a:moveTo>
                  <a:lnTo>
                    <a:pt x="-336" y="6600"/>
                  </a:lnTo>
                  <a:cubicBezTo>
                    <a:pt x="-213" y="7581"/>
                    <a:pt x="397" y="8448"/>
                    <a:pt x="1283" y="8886"/>
                  </a:cubicBezTo>
                  <a:lnTo>
                    <a:pt x="23762" y="21935"/>
                  </a:lnTo>
                  <a:cubicBezTo>
                    <a:pt x="26248" y="23050"/>
                    <a:pt x="29087" y="23050"/>
                    <a:pt x="31572" y="21935"/>
                  </a:cubicBezTo>
                  <a:lnTo>
                    <a:pt x="44146" y="14601"/>
                  </a:lnTo>
                  <a:cubicBezTo>
                    <a:pt x="44822" y="14249"/>
                    <a:pt x="45355" y="13677"/>
                    <a:pt x="45670" y="12982"/>
                  </a:cubicBezTo>
                  <a:lnTo>
                    <a:pt x="45670" y="6600"/>
                  </a:lnTo>
                  <a:cubicBezTo>
                    <a:pt x="45384" y="7343"/>
                    <a:pt x="44850" y="7953"/>
                    <a:pt x="44146" y="8314"/>
                  </a:cubicBezTo>
                  <a:lnTo>
                    <a:pt x="41764" y="9648"/>
                  </a:lnTo>
                  <a:lnTo>
                    <a:pt x="31572" y="15554"/>
                  </a:lnTo>
                  <a:cubicBezTo>
                    <a:pt x="29115" y="16792"/>
                    <a:pt x="26220" y="16792"/>
                    <a:pt x="23762" y="15554"/>
                  </a:cubicBezTo>
                  <a:lnTo>
                    <a:pt x="3379" y="3457"/>
                  </a:lnTo>
                  <a:lnTo>
                    <a:pt x="1093" y="2123"/>
                  </a:lnTo>
                  <a:cubicBezTo>
                    <a:pt x="264" y="1647"/>
                    <a:pt x="-269" y="790"/>
                    <a:pt x="-336" y="-163"/>
                  </a:cubicBezTo>
                  <a:close/>
                </a:path>
              </a:pathLst>
            </a:custGeom>
            <a:solidFill>
              <a:srgbClr val="BF4200"/>
            </a:solidFill>
            <a:ln w="9525" cap="flat">
              <a:noFill/>
              <a:prstDash val="solid"/>
              <a:miter/>
            </a:ln>
          </p:spPr>
          <p:txBody>
            <a:bodyPr rtlCol="0" anchor="ctr"/>
            <a:lstStyle/>
            <a:p>
              <a:endParaRPr lang="zh-CN" altLang="en-US"/>
            </a:p>
          </p:txBody>
        </p:sp>
        <p:sp>
          <p:nvSpPr>
            <p:cNvPr id="726" name="îšļîde">
              <a:extLst>
                <a:ext uri="{FF2B5EF4-FFF2-40B4-BE49-F238E27FC236}">
                  <a16:creationId xmlns:a16="http://schemas.microsoft.com/office/drawing/2014/main" id="{E682B62B-E71D-4ED0-85D1-5DB3ECBA7565}"/>
                </a:ext>
              </a:extLst>
            </p:cNvPr>
            <p:cNvSpPr/>
            <p:nvPr/>
          </p:nvSpPr>
          <p:spPr>
            <a:xfrm>
              <a:off x="5107806" y="4836635"/>
              <a:ext cx="109594" cy="63639"/>
            </a:xfrm>
            <a:custGeom>
              <a:avLst/>
              <a:gdLst>
                <a:gd name="connsiteX0" fmla="*/ -336 w 36004"/>
                <a:gd name="connsiteY0" fmla="*/ 10291 h 20907"/>
                <a:gd name="connsiteX1" fmla="*/ 1188 w 36004"/>
                <a:gd name="connsiteY1" fmla="*/ 12577 h 20907"/>
                <a:gd name="connsiteX2" fmla="*/ 3569 w 36004"/>
                <a:gd name="connsiteY2" fmla="*/ 13911 h 20907"/>
                <a:gd name="connsiteX3" fmla="*/ 13856 w 36004"/>
                <a:gd name="connsiteY3" fmla="*/ 19816 h 20907"/>
                <a:gd name="connsiteX4" fmla="*/ 21476 w 36004"/>
                <a:gd name="connsiteY4" fmla="*/ 19816 h 20907"/>
                <a:gd name="connsiteX5" fmla="*/ 31763 w 36004"/>
                <a:gd name="connsiteY5" fmla="*/ 13911 h 20907"/>
                <a:gd name="connsiteX6" fmla="*/ 34144 w 36004"/>
                <a:gd name="connsiteY6" fmla="*/ 12577 h 20907"/>
                <a:gd name="connsiteX7" fmla="*/ 35668 w 36004"/>
                <a:gd name="connsiteY7" fmla="*/ 10291 h 20907"/>
                <a:gd name="connsiteX8" fmla="*/ 34144 w 36004"/>
                <a:gd name="connsiteY8" fmla="*/ 8101 h 20907"/>
                <a:gd name="connsiteX9" fmla="*/ 21476 w 36004"/>
                <a:gd name="connsiteY9" fmla="*/ 766 h 20907"/>
                <a:gd name="connsiteX10" fmla="*/ 13856 w 36004"/>
                <a:gd name="connsiteY10" fmla="*/ 766 h 20907"/>
                <a:gd name="connsiteX11" fmla="*/ 1188 w 36004"/>
                <a:gd name="connsiteY11" fmla="*/ 8101 h 20907"/>
                <a:gd name="connsiteX12" fmla="*/ -336 w 36004"/>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907">
                  <a:moveTo>
                    <a:pt x="-336" y="10291"/>
                  </a:moveTo>
                  <a:cubicBezTo>
                    <a:pt x="-269" y="11272"/>
                    <a:pt x="312" y="12139"/>
                    <a:pt x="1188" y="12577"/>
                  </a:cubicBezTo>
                  <a:lnTo>
                    <a:pt x="3569" y="13911"/>
                  </a:lnTo>
                  <a:lnTo>
                    <a:pt x="13856" y="19816"/>
                  </a:lnTo>
                  <a:cubicBezTo>
                    <a:pt x="16247" y="21054"/>
                    <a:pt x="19085" y="21054"/>
                    <a:pt x="21476" y="19816"/>
                  </a:cubicBezTo>
                  <a:lnTo>
                    <a:pt x="31763" y="13911"/>
                  </a:lnTo>
                  <a:lnTo>
                    <a:pt x="34144" y="12577"/>
                  </a:lnTo>
                  <a:cubicBezTo>
                    <a:pt x="35021" y="12139"/>
                    <a:pt x="35602" y="11272"/>
                    <a:pt x="35668" y="10291"/>
                  </a:cubicBezTo>
                  <a:cubicBezTo>
                    <a:pt x="35611" y="9339"/>
                    <a:pt x="35021" y="8491"/>
                    <a:pt x="34144" y="8101"/>
                  </a:cubicBezTo>
                  <a:lnTo>
                    <a:pt x="21476" y="766"/>
                  </a:lnTo>
                  <a:cubicBezTo>
                    <a:pt x="19085" y="-472"/>
                    <a:pt x="16247" y="-472"/>
                    <a:pt x="13856" y="766"/>
                  </a:cubicBezTo>
                  <a:lnTo>
                    <a:pt x="1188" y="8101"/>
                  </a:lnTo>
                  <a:cubicBezTo>
                    <a:pt x="312" y="8491"/>
                    <a:pt x="-279"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727" name="iŝḻíḓé">
              <a:extLst>
                <a:ext uri="{FF2B5EF4-FFF2-40B4-BE49-F238E27FC236}">
                  <a16:creationId xmlns:a16="http://schemas.microsoft.com/office/drawing/2014/main" id="{00958AEB-AB5F-43DE-AA7E-849008BF07A8}"/>
                </a:ext>
              </a:extLst>
            </p:cNvPr>
            <p:cNvSpPr/>
            <p:nvPr/>
          </p:nvSpPr>
          <p:spPr>
            <a:xfrm>
              <a:off x="5109690" y="4837795"/>
              <a:ext cx="105898" cy="61104"/>
            </a:xfrm>
            <a:custGeom>
              <a:avLst/>
              <a:gdLst>
                <a:gd name="connsiteX0" fmla="*/ 1235 w 34790"/>
                <a:gd name="connsiteY0" fmla="*/ 12006 h 20074"/>
                <a:gd name="connsiteX1" fmla="*/ 13332 w 34790"/>
                <a:gd name="connsiteY1" fmla="*/ 19054 h 20074"/>
                <a:gd name="connsiteX2" fmla="*/ 20762 w 34790"/>
                <a:gd name="connsiteY2" fmla="*/ 19054 h 20074"/>
                <a:gd name="connsiteX3" fmla="*/ 32954 w 34790"/>
                <a:gd name="connsiteY3" fmla="*/ 12006 h 20074"/>
                <a:gd name="connsiteX4" fmla="*/ 32954 w 34790"/>
                <a:gd name="connsiteY4" fmla="*/ 7719 h 20074"/>
                <a:gd name="connsiteX5" fmla="*/ 20762 w 34790"/>
                <a:gd name="connsiteY5" fmla="*/ 766 h 20074"/>
                <a:gd name="connsiteX6" fmla="*/ 13332 w 34790"/>
                <a:gd name="connsiteY6" fmla="*/ 766 h 20074"/>
                <a:gd name="connsiteX7" fmla="*/ 1235 w 34790"/>
                <a:gd name="connsiteY7" fmla="*/ 7719 h 20074"/>
                <a:gd name="connsiteX8" fmla="*/ 1235 w 34790"/>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4">
                  <a:moveTo>
                    <a:pt x="1235" y="12006"/>
                  </a:moveTo>
                  <a:lnTo>
                    <a:pt x="13332" y="19054"/>
                  </a:lnTo>
                  <a:cubicBezTo>
                    <a:pt x="15675" y="20197"/>
                    <a:pt x="18419" y="20197"/>
                    <a:pt x="20762" y="19054"/>
                  </a:cubicBezTo>
                  <a:lnTo>
                    <a:pt x="32954" y="12006"/>
                  </a:lnTo>
                  <a:cubicBezTo>
                    <a:pt x="34954" y="10863"/>
                    <a:pt x="34954" y="8957"/>
                    <a:pt x="32954" y="7719"/>
                  </a:cubicBezTo>
                  <a:lnTo>
                    <a:pt x="20762" y="766"/>
                  </a:lnTo>
                  <a:cubicBezTo>
                    <a:pt x="18437" y="-472"/>
                    <a:pt x="15656" y="-472"/>
                    <a:pt x="13332" y="766"/>
                  </a:cubicBezTo>
                  <a:lnTo>
                    <a:pt x="1235" y="7719"/>
                  </a:lnTo>
                  <a:cubicBezTo>
                    <a:pt x="-860" y="8957"/>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728" name="îṡľíḓe">
              <a:extLst>
                <a:ext uri="{FF2B5EF4-FFF2-40B4-BE49-F238E27FC236}">
                  <a16:creationId xmlns:a16="http://schemas.microsoft.com/office/drawing/2014/main" id="{CE218FC2-88ED-4F75-A550-5B1D498B5BC5}"/>
                </a:ext>
              </a:extLst>
            </p:cNvPr>
            <p:cNvSpPr/>
            <p:nvPr/>
          </p:nvSpPr>
          <p:spPr>
            <a:xfrm>
              <a:off x="5107806" y="4868453"/>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4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4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3" y="7953"/>
                    <a:pt x="35668" y="6981"/>
                  </a:cubicBezTo>
                  <a:lnTo>
                    <a:pt x="35668" y="-163"/>
                  </a:lnTo>
                  <a:cubicBezTo>
                    <a:pt x="35602" y="818"/>
                    <a:pt x="35021" y="1685"/>
                    <a:pt x="34144" y="2124"/>
                  </a:cubicBezTo>
                  <a:lnTo>
                    <a:pt x="31763" y="3457"/>
                  </a:lnTo>
                  <a:lnTo>
                    <a:pt x="21476" y="9362"/>
                  </a:lnTo>
                  <a:cubicBezTo>
                    <a:pt x="19085" y="10601"/>
                    <a:pt x="16247" y="10601"/>
                    <a:pt x="13856" y="9362"/>
                  </a:cubicBezTo>
                  <a:lnTo>
                    <a:pt x="3569" y="3457"/>
                  </a:lnTo>
                  <a:lnTo>
                    <a:pt x="1188" y="2124"/>
                  </a:lnTo>
                  <a:cubicBezTo>
                    <a:pt x="312"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29" name="ïšḷiḍé">
              <a:extLst>
                <a:ext uri="{FF2B5EF4-FFF2-40B4-BE49-F238E27FC236}">
                  <a16:creationId xmlns:a16="http://schemas.microsoft.com/office/drawing/2014/main" id="{45ECB459-51E0-4AFE-85A9-1DFDD17DDBC3}"/>
                </a:ext>
              </a:extLst>
            </p:cNvPr>
            <p:cNvSpPr/>
            <p:nvPr/>
          </p:nvSpPr>
          <p:spPr>
            <a:xfrm>
              <a:off x="5184348" y="4882154"/>
              <a:ext cx="109594" cy="63639"/>
            </a:xfrm>
            <a:custGeom>
              <a:avLst/>
              <a:gdLst>
                <a:gd name="connsiteX0" fmla="*/ -336 w 36004"/>
                <a:gd name="connsiteY0" fmla="*/ 10291 h 20907"/>
                <a:gd name="connsiteX1" fmla="*/ 1188 w 36004"/>
                <a:gd name="connsiteY1" fmla="*/ 12577 h 20907"/>
                <a:gd name="connsiteX2" fmla="*/ 3569 w 36004"/>
                <a:gd name="connsiteY2" fmla="*/ 13911 h 20907"/>
                <a:gd name="connsiteX3" fmla="*/ 13856 w 36004"/>
                <a:gd name="connsiteY3" fmla="*/ 19816 h 20907"/>
                <a:gd name="connsiteX4" fmla="*/ 21476 w 36004"/>
                <a:gd name="connsiteY4" fmla="*/ 19816 h 20907"/>
                <a:gd name="connsiteX5" fmla="*/ 31763 w 36004"/>
                <a:gd name="connsiteY5" fmla="*/ 13911 h 20907"/>
                <a:gd name="connsiteX6" fmla="*/ 34049 w 36004"/>
                <a:gd name="connsiteY6" fmla="*/ 12577 h 20907"/>
                <a:gd name="connsiteX7" fmla="*/ 35668 w 36004"/>
                <a:gd name="connsiteY7" fmla="*/ 10291 h 20907"/>
                <a:gd name="connsiteX8" fmla="*/ 34049 w 36004"/>
                <a:gd name="connsiteY8" fmla="*/ 8100 h 20907"/>
                <a:gd name="connsiteX9" fmla="*/ 21476 w 36004"/>
                <a:gd name="connsiteY9" fmla="*/ 766 h 20907"/>
                <a:gd name="connsiteX10" fmla="*/ 13856 w 36004"/>
                <a:gd name="connsiteY10" fmla="*/ 766 h 20907"/>
                <a:gd name="connsiteX11" fmla="*/ 1188 w 36004"/>
                <a:gd name="connsiteY11" fmla="*/ 8100 h 20907"/>
                <a:gd name="connsiteX12" fmla="*/ -336 w 36004"/>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907">
                  <a:moveTo>
                    <a:pt x="-336" y="10291"/>
                  </a:moveTo>
                  <a:cubicBezTo>
                    <a:pt x="-270" y="11272"/>
                    <a:pt x="311" y="12139"/>
                    <a:pt x="1188" y="12577"/>
                  </a:cubicBezTo>
                  <a:lnTo>
                    <a:pt x="3569" y="13911"/>
                  </a:lnTo>
                  <a:lnTo>
                    <a:pt x="13856" y="19816"/>
                  </a:lnTo>
                  <a:cubicBezTo>
                    <a:pt x="16247" y="21054"/>
                    <a:pt x="19085" y="21054"/>
                    <a:pt x="21476" y="19816"/>
                  </a:cubicBezTo>
                  <a:lnTo>
                    <a:pt x="31763" y="13911"/>
                  </a:lnTo>
                  <a:lnTo>
                    <a:pt x="34049" y="12577"/>
                  </a:lnTo>
                  <a:cubicBezTo>
                    <a:pt x="34973" y="12187"/>
                    <a:pt x="35602" y="11301"/>
                    <a:pt x="35668" y="10291"/>
                  </a:cubicBezTo>
                  <a:cubicBezTo>
                    <a:pt x="35592" y="9310"/>
                    <a:pt x="34963" y="8462"/>
                    <a:pt x="34049" y="8100"/>
                  </a:cubicBezTo>
                  <a:lnTo>
                    <a:pt x="21476" y="766"/>
                  </a:lnTo>
                  <a:cubicBezTo>
                    <a:pt x="19085" y="-472"/>
                    <a:pt x="16247" y="-472"/>
                    <a:pt x="13856" y="766"/>
                  </a:cubicBezTo>
                  <a:lnTo>
                    <a:pt x="1188" y="8100"/>
                  </a:lnTo>
                  <a:cubicBezTo>
                    <a:pt x="311" y="8491"/>
                    <a:pt x="-279"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730" name="ïš1îde">
              <a:extLst>
                <a:ext uri="{FF2B5EF4-FFF2-40B4-BE49-F238E27FC236}">
                  <a16:creationId xmlns:a16="http://schemas.microsoft.com/office/drawing/2014/main" id="{7ACA539A-A8E4-4295-973C-02E72437392C}"/>
                </a:ext>
              </a:extLst>
            </p:cNvPr>
            <p:cNvSpPr/>
            <p:nvPr/>
          </p:nvSpPr>
          <p:spPr>
            <a:xfrm>
              <a:off x="5186163" y="4882443"/>
              <a:ext cx="106766" cy="61101"/>
            </a:xfrm>
            <a:custGeom>
              <a:avLst/>
              <a:gdLst>
                <a:gd name="connsiteX0" fmla="*/ 1450 w 35075"/>
                <a:gd name="connsiteY0" fmla="*/ 12006 h 20073"/>
                <a:gd name="connsiteX1" fmla="*/ 13642 w 35075"/>
                <a:gd name="connsiteY1" fmla="*/ 19054 h 20073"/>
                <a:gd name="connsiteX2" fmla="*/ 21071 w 35075"/>
                <a:gd name="connsiteY2" fmla="*/ 19054 h 20073"/>
                <a:gd name="connsiteX3" fmla="*/ 33168 w 35075"/>
                <a:gd name="connsiteY3" fmla="*/ 12006 h 20073"/>
                <a:gd name="connsiteX4" fmla="*/ 33168 w 35075"/>
                <a:gd name="connsiteY4" fmla="*/ 7719 h 20073"/>
                <a:gd name="connsiteX5" fmla="*/ 21071 w 35075"/>
                <a:gd name="connsiteY5" fmla="*/ 766 h 20073"/>
                <a:gd name="connsiteX6" fmla="*/ 13642 w 35075"/>
                <a:gd name="connsiteY6" fmla="*/ 766 h 20073"/>
                <a:gd name="connsiteX7" fmla="*/ 1450 w 35075"/>
                <a:gd name="connsiteY7" fmla="*/ 7719 h 20073"/>
                <a:gd name="connsiteX8" fmla="*/ 1450 w 35075"/>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075" h="20073">
                  <a:moveTo>
                    <a:pt x="1450" y="12006"/>
                  </a:moveTo>
                  <a:lnTo>
                    <a:pt x="13642" y="19054"/>
                  </a:lnTo>
                  <a:cubicBezTo>
                    <a:pt x="15985" y="20197"/>
                    <a:pt x="18728" y="20197"/>
                    <a:pt x="21071" y="19054"/>
                  </a:cubicBezTo>
                  <a:lnTo>
                    <a:pt x="33168" y="12006"/>
                  </a:lnTo>
                  <a:cubicBezTo>
                    <a:pt x="35263" y="10863"/>
                    <a:pt x="35263" y="8957"/>
                    <a:pt x="33168" y="7719"/>
                  </a:cubicBezTo>
                  <a:lnTo>
                    <a:pt x="21071" y="766"/>
                  </a:lnTo>
                  <a:cubicBezTo>
                    <a:pt x="18747" y="-472"/>
                    <a:pt x="15966" y="-472"/>
                    <a:pt x="13642" y="766"/>
                  </a:cubicBezTo>
                  <a:lnTo>
                    <a:pt x="1450" y="7719"/>
                  </a:lnTo>
                  <a:cubicBezTo>
                    <a:pt x="-932" y="8957"/>
                    <a:pt x="-932" y="10863"/>
                    <a:pt x="1450" y="12006"/>
                  </a:cubicBezTo>
                  <a:close/>
                </a:path>
              </a:pathLst>
            </a:custGeom>
            <a:solidFill>
              <a:srgbClr val="D1D9E8"/>
            </a:solidFill>
            <a:ln w="9525" cap="flat">
              <a:noFill/>
              <a:prstDash val="solid"/>
              <a:miter/>
            </a:ln>
          </p:spPr>
          <p:txBody>
            <a:bodyPr rtlCol="0" anchor="ctr"/>
            <a:lstStyle/>
            <a:p>
              <a:endParaRPr lang="zh-CN" altLang="en-US"/>
            </a:p>
          </p:txBody>
        </p:sp>
        <p:sp>
          <p:nvSpPr>
            <p:cNvPr id="731" name="ïSliḓé">
              <a:extLst>
                <a:ext uri="{FF2B5EF4-FFF2-40B4-BE49-F238E27FC236}">
                  <a16:creationId xmlns:a16="http://schemas.microsoft.com/office/drawing/2014/main" id="{37FF4F82-FF48-4170-866A-D5DCE5352208}"/>
                </a:ext>
              </a:extLst>
            </p:cNvPr>
            <p:cNvSpPr/>
            <p:nvPr/>
          </p:nvSpPr>
          <p:spPr>
            <a:xfrm>
              <a:off x="5184348" y="4913975"/>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049 w 36004"/>
                <a:gd name="connsiteY5" fmla="*/ 9267 h 17597"/>
                <a:gd name="connsiteX6" fmla="*/ 35668 w 36004"/>
                <a:gd name="connsiteY6" fmla="*/ 6981 h 17597"/>
                <a:gd name="connsiteX7" fmla="*/ 35668 w 36004"/>
                <a:gd name="connsiteY7" fmla="*/ -163 h 17597"/>
                <a:gd name="connsiteX8" fmla="*/ 34049 w 36004"/>
                <a:gd name="connsiteY8" fmla="*/ 2123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3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049" y="9267"/>
                  </a:lnTo>
                  <a:cubicBezTo>
                    <a:pt x="34963" y="8857"/>
                    <a:pt x="35582" y="7981"/>
                    <a:pt x="35668" y="6981"/>
                  </a:cubicBezTo>
                  <a:lnTo>
                    <a:pt x="35668" y="-163"/>
                  </a:lnTo>
                  <a:cubicBezTo>
                    <a:pt x="35602" y="847"/>
                    <a:pt x="34973" y="1733"/>
                    <a:pt x="34049" y="2123"/>
                  </a:cubicBezTo>
                  <a:lnTo>
                    <a:pt x="31763" y="3457"/>
                  </a:lnTo>
                  <a:lnTo>
                    <a:pt x="21476" y="9362"/>
                  </a:lnTo>
                  <a:cubicBezTo>
                    <a:pt x="19085" y="10601"/>
                    <a:pt x="16247" y="10601"/>
                    <a:pt x="13856" y="9362"/>
                  </a:cubicBezTo>
                  <a:lnTo>
                    <a:pt x="3569" y="3457"/>
                  </a:lnTo>
                  <a:lnTo>
                    <a:pt x="1188"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32" name="îşlíďe">
              <a:extLst>
                <a:ext uri="{FF2B5EF4-FFF2-40B4-BE49-F238E27FC236}">
                  <a16:creationId xmlns:a16="http://schemas.microsoft.com/office/drawing/2014/main" id="{3EB3ED79-19CA-45E7-942A-9D88B0E92A9C}"/>
                </a:ext>
              </a:extLst>
            </p:cNvPr>
            <p:cNvSpPr/>
            <p:nvPr/>
          </p:nvSpPr>
          <p:spPr>
            <a:xfrm>
              <a:off x="5262343" y="4925935"/>
              <a:ext cx="109362" cy="63588"/>
            </a:xfrm>
            <a:custGeom>
              <a:avLst/>
              <a:gdLst>
                <a:gd name="connsiteX0" fmla="*/ -336 w 35928"/>
                <a:gd name="connsiteY0" fmla="*/ 10291 h 20890"/>
                <a:gd name="connsiteX1" fmla="*/ 1188 w 35928"/>
                <a:gd name="connsiteY1" fmla="*/ 12482 h 20890"/>
                <a:gd name="connsiteX2" fmla="*/ 3569 w 35928"/>
                <a:gd name="connsiteY2" fmla="*/ 13911 h 20890"/>
                <a:gd name="connsiteX3" fmla="*/ 13856 w 35928"/>
                <a:gd name="connsiteY3" fmla="*/ 19721 h 20890"/>
                <a:gd name="connsiteX4" fmla="*/ 21476 w 35928"/>
                <a:gd name="connsiteY4" fmla="*/ 19721 h 20890"/>
                <a:gd name="connsiteX5" fmla="*/ 31763 w 35928"/>
                <a:gd name="connsiteY5" fmla="*/ 13911 h 20890"/>
                <a:gd name="connsiteX6" fmla="*/ 34144 w 35928"/>
                <a:gd name="connsiteY6" fmla="*/ 12482 h 20890"/>
                <a:gd name="connsiteX7" fmla="*/ 35401 w 35928"/>
                <a:gd name="connsiteY7" fmla="*/ 9357 h 20890"/>
                <a:gd name="connsiteX8" fmla="*/ 34144 w 35928"/>
                <a:gd name="connsiteY8" fmla="*/ 8100 h 20890"/>
                <a:gd name="connsiteX9" fmla="*/ 21476 w 35928"/>
                <a:gd name="connsiteY9" fmla="*/ 766 h 20890"/>
                <a:gd name="connsiteX10" fmla="*/ 13856 w 35928"/>
                <a:gd name="connsiteY10" fmla="*/ 766 h 20890"/>
                <a:gd name="connsiteX11" fmla="*/ 1188 w 35928"/>
                <a:gd name="connsiteY11" fmla="*/ 8100 h 20890"/>
                <a:gd name="connsiteX12" fmla="*/ -336 w 35928"/>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928" h="20890">
                  <a:moveTo>
                    <a:pt x="-336" y="10291"/>
                  </a:moveTo>
                  <a:cubicBezTo>
                    <a:pt x="-298" y="11253"/>
                    <a:pt x="292" y="12110"/>
                    <a:pt x="1188" y="12482"/>
                  </a:cubicBezTo>
                  <a:lnTo>
                    <a:pt x="3569" y="13911"/>
                  </a:lnTo>
                  <a:lnTo>
                    <a:pt x="13856" y="19721"/>
                  </a:lnTo>
                  <a:cubicBezTo>
                    <a:pt x="16218" y="21064"/>
                    <a:pt x="19114" y="21064"/>
                    <a:pt x="21476" y="19721"/>
                  </a:cubicBezTo>
                  <a:lnTo>
                    <a:pt x="31763" y="13911"/>
                  </a:lnTo>
                  <a:lnTo>
                    <a:pt x="34144" y="12482"/>
                  </a:lnTo>
                  <a:cubicBezTo>
                    <a:pt x="35354" y="11967"/>
                    <a:pt x="35916" y="10567"/>
                    <a:pt x="35401" y="9357"/>
                  </a:cubicBezTo>
                  <a:cubicBezTo>
                    <a:pt x="35163" y="8796"/>
                    <a:pt x="34706" y="8338"/>
                    <a:pt x="34144" y="8100"/>
                  </a:cubicBezTo>
                  <a:lnTo>
                    <a:pt x="21476" y="766"/>
                  </a:lnTo>
                  <a:cubicBezTo>
                    <a:pt x="19085" y="-472"/>
                    <a:pt x="16247" y="-472"/>
                    <a:pt x="13856" y="766"/>
                  </a:cubicBezTo>
                  <a:lnTo>
                    <a:pt x="1188" y="8100"/>
                  </a:lnTo>
                  <a:cubicBezTo>
                    <a:pt x="292" y="8472"/>
                    <a:pt x="-298"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733" name="ísľîḓè">
              <a:extLst>
                <a:ext uri="{FF2B5EF4-FFF2-40B4-BE49-F238E27FC236}">
                  <a16:creationId xmlns:a16="http://schemas.microsoft.com/office/drawing/2014/main" id="{3FB93348-B9D5-40E4-8F2D-BA40A8E211D0}"/>
                </a:ext>
              </a:extLst>
            </p:cNvPr>
            <p:cNvSpPr/>
            <p:nvPr/>
          </p:nvSpPr>
          <p:spPr>
            <a:xfrm>
              <a:off x="5264154" y="4927094"/>
              <a:ext cx="105895" cy="61101"/>
            </a:xfrm>
            <a:custGeom>
              <a:avLst/>
              <a:gdLst>
                <a:gd name="connsiteX0" fmla="*/ 1164 w 34789"/>
                <a:gd name="connsiteY0" fmla="*/ 12006 h 20073"/>
                <a:gd name="connsiteX1" fmla="*/ 13356 w 34789"/>
                <a:gd name="connsiteY1" fmla="*/ 19054 h 20073"/>
                <a:gd name="connsiteX2" fmla="*/ 20785 w 34789"/>
                <a:gd name="connsiteY2" fmla="*/ 19054 h 20073"/>
                <a:gd name="connsiteX3" fmla="*/ 32882 w 34789"/>
                <a:gd name="connsiteY3" fmla="*/ 12006 h 20073"/>
                <a:gd name="connsiteX4" fmla="*/ 32882 w 34789"/>
                <a:gd name="connsiteY4" fmla="*/ 7719 h 20073"/>
                <a:gd name="connsiteX5" fmla="*/ 20785 w 34789"/>
                <a:gd name="connsiteY5" fmla="*/ 766 h 20073"/>
                <a:gd name="connsiteX6" fmla="*/ 13356 w 34789"/>
                <a:gd name="connsiteY6" fmla="*/ 766 h 20073"/>
                <a:gd name="connsiteX7" fmla="*/ 1164 w 34789"/>
                <a:gd name="connsiteY7" fmla="*/ 7719 h 20073"/>
                <a:gd name="connsiteX8" fmla="*/ 1164 w 34789"/>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89" h="20073">
                  <a:moveTo>
                    <a:pt x="1164" y="12006"/>
                  </a:moveTo>
                  <a:lnTo>
                    <a:pt x="13356" y="19054"/>
                  </a:lnTo>
                  <a:cubicBezTo>
                    <a:pt x="15699" y="20197"/>
                    <a:pt x="18442" y="20197"/>
                    <a:pt x="20785" y="19054"/>
                  </a:cubicBezTo>
                  <a:lnTo>
                    <a:pt x="32882" y="12006"/>
                  </a:lnTo>
                  <a:cubicBezTo>
                    <a:pt x="34977" y="10862"/>
                    <a:pt x="34977" y="8958"/>
                    <a:pt x="32882" y="7719"/>
                  </a:cubicBezTo>
                  <a:lnTo>
                    <a:pt x="20785" y="766"/>
                  </a:lnTo>
                  <a:cubicBezTo>
                    <a:pt x="18461" y="-472"/>
                    <a:pt x="15680" y="-472"/>
                    <a:pt x="13356" y="766"/>
                  </a:cubicBezTo>
                  <a:lnTo>
                    <a:pt x="1164" y="7719"/>
                  </a:lnTo>
                  <a:cubicBezTo>
                    <a:pt x="-836" y="8958"/>
                    <a:pt x="-836" y="10862"/>
                    <a:pt x="1164" y="12006"/>
                  </a:cubicBezTo>
                  <a:close/>
                </a:path>
              </a:pathLst>
            </a:custGeom>
            <a:solidFill>
              <a:srgbClr val="D1D9E8"/>
            </a:solidFill>
            <a:ln w="9525" cap="flat">
              <a:noFill/>
              <a:prstDash val="solid"/>
              <a:miter/>
            </a:ln>
          </p:spPr>
          <p:txBody>
            <a:bodyPr rtlCol="0" anchor="ctr"/>
            <a:lstStyle/>
            <a:p>
              <a:endParaRPr lang="zh-CN" altLang="en-US"/>
            </a:p>
          </p:txBody>
        </p:sp>
        <p:sp>
          <p:nvSpPr>
            <p:cNvPr id="734" name="ïşḷíďé">
              <a:extLst>
                <a:ext uri="{FF2B5EF4-FFF2-40B4-BE49-F238E27FC236}">
                  <a16:creationId xmlns:a16="http://schemas.microsoft.com/office/drawing/2014/main" id="{551F6F8C-7868-40C9-A4E1-F87D00AD81F3}"/>
                </a:ext>
              </a:extLst>
            </p:cNvPr>
            <p:cNvSpPr/>
            <p:nvPr/>
          </p:nvSpPr>
          <p:spPr>
            <a:xfrm>
              <a:off x="5262343" y="4957756"/>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028 h 17597"/>
                <a:gd name="connsiteX9" fmla="*/ 31763 w 36004"/>
                <a:gd name="connsiteY9" fmla="*/ 3457 h 17597"/>
                <a:gd name="connsiteX10" fmla="*/ 21476 w 36004"/>
                <a:gd name="connsiteY10" fmla="*/ 9267 h 17597"/>
                <a:gd name="connsiteX11" fmla="*/ 13856 w 36004"/>
                <a:gd name="connsiteY11" fmla="*/ 9267 h 17597"/>
                <a:gd name="connsiteX12" fmla="*/ 3569 w 36004"/>
                <a:gd name="connsiteY12" fmla="*/ 3457 h 17597"/>
                <a:gd name="connsiteX13" fmla="*/ 1188 w 36004"/>
                <a:gd name="connsiteY13" fmla="*/ 2028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2" y="7953"/>
                    <a:pt x="35668" y="6981"/>
                  </a:cubicBezTo>
                  <a:lnTo>
                    <a:pt x="35668" y="-163"/>
                  </a:lnTo>
                  <a:cubicBezTo>
                    <a:pt x="35630" y="799"/>
                    <a:pt x="35039" y="1656"/>
                    <a:pt x="34144" y="2028"/>
                  </a:cubicBezTo>
                  <a:lnTo>
                    <a:pt x="31763" y="3457"/>
                  </a:lnTo>
                  <a:lnTo>
                    <a:pt x="21476" y="9267"/>
                  </a:lnTo>
                  <a:cubicBezTo>
                    <a:pt x="19114" y="10610"/>
                    <a:pt x="16218" y="10610"/>
                    <a:pt x="13856" y="9267"/>
                  </a:cubicBezTo>
                  <a:lnTo>
                    <a:pt x="3569" y="3457"/>
                  </a:lnTo>
                  <a:lnTo>
                    <a:pt x="1188" y="2028"/>
                  </a:lnTo>
                  <a:cubicBezTo>
                    <a:pt x="292" y="1656"/>
                    <a:pt x="-298" y="799"/>
                    <a:pt x="-336" y="-163"/>
                  </a:cubicBezTo>
                  <a:close/>
                </a:path>
              </a:pathLst>
            </a:custGeom>
            <a:solidFill>
              <a:srgbClr val="BF4200"/>
            </a:solidFill>
            <a:ln w="9525" cap="flat">
              <a:noFill/>
              <a:prstDash val="solid"/>
              <a:miter/>
            </a:ln>
          </p:spPr>
          <p:txBody>
            <a:bodyPr rtlCol="0" anchor="ctr"/>
            <a:lstStyle/>
            <a:p>
              <a:endParaRPr lang="zh-CN" altLang="en-US"/>
            </a:p>
          </p:txBody>
        </p:sp>
        <p:sp>
          <p:nvSpPr>
            <p:cNvPr id="735" name="îṩľïḑè">
              <a:extLst>
                <a:ext uri="{FF2B5EF4-FFF2-40B4-BE49-F238E27FC236}">
                  <a16:creationId xmlns:a16="http://schemas.microsoft.com/office/drawing/2014/main" id="{41680ECD-4712-48AA-9682-CDCF19CAA5C2}"/>
                </a:ext>
              </a:extLst>
            </p:cNvPr>
            <p:cNvSpPr/>
            <p:nvPr/>
          </p:nvSpPr>
          <p:spPr>
            <a:xfrm>
              <a:off x="5339464" y="4970583"/>
              <a:ext cx="109594" cy="63588"/>
            </a:xfrm>
            <a:custGeom>
              <a:avLst/>
              <a:gdLst>
                <a:gd name="connsiteX0" fmla="*/ -336 w 36004"/>
                <a:gd name="connsiteY0" fmla="*/ 10291 h 20890"/>
                <a:gd name="connsiteX1" fmla="*/ 1283 w 36004"/>
                <a:gd name="connsiteY1" fmla="*/ 12482 h 20890"/>
                <a:gd name="connsiteX2" fmla="*/ 3569 w 36004"/>
                <a:gd name="connsiteY2" fmla="*/ 13815 h 20890"/>
                <a:gd name="connsiteX3" fmla="*/ 13856 w 36004"/>
                <a:gd name="connsiteY3" fmla="*/ 19721 h 20890"/>
                <a:gd name="connsiteX4" fmla="*/ 21571 w 36004"/>
                <a:gd name="connsiteY4" fmla="*/ 19721 h 20890"/>
                <a:gd name="connsiteX5" fmla="*/ 31858 w 36004"/>
                <a:gd name="connsiteY5" fmla="*/ 13815 h 20890"/>
                <a:gd name="connsiteX6" fmla="*/ 34144 w 36004"/>
                <a:gd name="connsiteY6" fmla="*/ 12482 h 20890"/>
                <a:gd name="connsiteX7" fmla="*/ 35668 w 36004"/>
                <a:gd name="connsiteY7" fmla="*/ 10291 h 20890"/>
                <a:gd name="connsiteX8" fmla="*/ 34144 w 36004"/>
                <a:gd name="connsiteY8" fmla="*/ 8005 h 20890"/>
                <a:gd name="connsiteX9" fmla="*/ 21571 w 36004"/>
                <a:gd name="connsiteY9" fmla="*/ 766 h 20890"/>
                <a:gd name="connsiteX10" fmla="*/ 13856 w 36004"/>
                <a:gd name="connsiteY10" fmla="*/ 766 h 20890"/>
                <a:gd name="connsiteX11" fmla="*/ 1283 w 36004"/>
                <a:gd name="connsiteY11" fmla="*/ 8005 h 20890"/>
                <a:gd name="connsiteX12" fmla="*/ -336 w 36004"/>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291"/>
                  </a:moveTo>
                  <a:cubicBezTo>
                    <a:pt x="-260" y="11272"/>
                    <a:pt x="369" y="12120"/>
                    <a:pt x="1283" y="12482"/>
                  </a:cubicBezTo>
                  <a:lnTo>
                    <a:pt x="3569" y="13815"/>
                  </a:lnTo>
                  <a:lnTo>
                    <a:pt x="13856" y="19721"/>
                  </a:lnTo>
                  <a:cubicBezTo>
                    <a:pt x="16256" y="21064"/>
                    <a:pt x="19171" y="21064"/>
                    <a:pt x="21571" y="19721"/>
                  </a:cubicBezTo>
                  <a:lnTo>
                    <a:pt x="31858" y="13815"/>
                  </a:lnTo>
                  <a:lnTo>
                    <a:pt x="34144" y="12482"/>
                  </a:lnTo>
                  <a:cubicBezTo>
                    <a:pt x="35021" y="12091"/>
                    <a:pt x="35611" y="11253"/>
                    <a:pt x="35668" y="10291"/>
                  </a:cubicBezTo>
                  <a:cubicBezTo>
                    <a:pt x="35601" y="9310"/>
                    <a:pt x="35021" y="8443"/>
                    <a:pt x="34144" y="8005"/>
                  </a:cubicBezTo>
                  <a:lnTo>
                    <a:pt x="21571" y="766"/>
                  </a:lnTo>
                  <a:cubicBezTo>
                    <a:pt x="19152" y="-472"/>
                    <a:pt x="16275" y="-472"/>
                    <a:pt x="13856" y="766"/>
                  </a:cubicBezTo>
                  <a:lnTo>
                    <a:pt x="1283" y="8005"/>
                  </a:lnTo>
                  <a:cubicBezTo>
                    <a:pt x="349" y="8396"/>
                    <a:pt x="-270" y="9281"/>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736" name="iṡḷïḋê">
              <a:extLst>
                <a:ext uri="{FF2B5EF4-FFF2-40B4-BE49-F238E27FC236}">
                  <a16:creationId xmlns:a16="http://schemas.microsoft.com/office/drawing/2014/main" id="{869809BB-92F1-4986-80AD-A9069C3F36E1}"/>
                </a:ext>
              </a:extLst>
            </p:cNvPr>
            <p:cNvSpPr/>
            <p:nvPr/>
          </p:nvSpPr>
          <p:spPr>
            <a:xfrm>
              <a:off x="5341348" y="4971743"/>
              <a:ext cx="105898" cy="61104"/>
            </a:xfrm>
            <a:custGeom>
              <a:avLst/>
              <a:gdLst>
                <a:gd name="connsiteX0" fmla="*/ 1235 w 34790"/>
                <a:gd name="connsiteY0" fmla="*/ 12006 h 20074"/>
                <a:gd name="connsiteX1" fmla="*/ 13332 w 34790"/>
                <a:gd name="connsiteY1" fmla="*/ 19054 h 20074"/>
                <a:gd name="connsiteX2" fmla="*/ 20762 w 34790"/>
                <a:gd name="connsiteY2" fmla="*/ 19054 h 20074"/>
                <a:gd name="connsiteX3" fmla="*/ 32954 w 34790"/>
                <a:gd name="connsiteY3" fmla="*/ 12006 h 20074"/>
                <a:gd name="connsiteX4" fmla="*/ 32954 w 34790"/>
                <a:gd name="connsiteY4" fmla="*/ 7719 h 20074"/>
                <a:gd name="connsiteX5" fmla="*/ 20762 w 34790"/>
                <a:gd name="connsiteY5" fmla="*/ 766 h 20074"/>
                <a:gd name="connsiteX6" fmla="*/ 13332 w 34790"/>
                <a:gd name="connsiteY6" fmla="*/ 766 h 20074"/>
                <a:gd name="connsiteX7" fmla="*/ 1235 w 34790"/>
                <a:gd name="connsiteY7" fmla="*/ 7719 h 20074"/>
                <a:gd name="connsiteX8" fmla="*/ 1235 w 34790"/>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4">
                  <a:moveTo>
                    <a:pt x="1235" y="12006"/>
                  </a:moveTo>
                  <a:lnTo>
                    <a:pt x="13332" y="19054"/>
                  </a:lnTo>
                  <a:cubicBezTo>
                    <a:pt x="15675" y="20197"/>
                    <a:pt x="18419" y="20197"/>
                    <a:pt x="20762" y="19054"/>
                  </a:cubicBezTo>
                  <a:lnTo>
                    <a:pt x="32954" y="12006"/>
                  </a:lnTo>
                  <a:cubicBezTo>
                    <a:pt x="34954" y="10863"/>
                    <a:pt x="34954" y="8958"/>
                    <a:pt x="32954" y="7719"/>
                  </a:cubicBezTo>
                  <a:lnTo>
                    <a:pt x="20762" y="766"/>
                  </a:lnTo>
                  <a:cubicBezTo>
                    <a:pt x="18437" y="-472"/>
                    <a:pt x="15656" y="-472"/>
                    <a:pt x="13332" y="766"/>
                  </a:cubicBezTo>
                  <a:lnTo>
                    <a:pt x="1235" y="7719"/>
                  </a:lnTo>
                  <a:cubicBezTo>
                    <a:pt x="-860" y="9434"/>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737" name="iṡļïḓê">
              <a:extLst>
                <a:ext uri="{FF2B5EF4-FFF2-40B4-BE49-F238E27FC236}">
                  <a16:creationId xmlns:a16="http://schemas.microsoft.com/office/drawing/2014/main" id="{DDA5E6AA-F7BC-41D7-B5FC-EB19B596CA59}"/>
                </a:ext>
              </a:extLst>
            </p:cNvPr>
            <p:cNvSpPr/>
            <p:nvPr/>
          </p:nvSpPr>
          <p:spPr>
            <a:xfrm>
              <a:off x="5339464" y="5001244"/>
              <a:ext cx="110464" cy="54724"/>
            </a:xfrm>
            <a:custGeom>
              <a:avLst/>
              <a:gdLst>
                <a:gd name="connsiteX0" fmla="*/ -336 w 36290"/>
                <a:gd name="connsiteY0" fmla="*/ 218 h 17978"/>
                <a:gd name="connsiteX1" fmla="*/ -336 w 36290"/>
                <a:gd name="connsiteY1" fmla="*/ 7362 h 17978"/>
                <a:gd name="connsiteX2" fmla="*/ 1283 w 36290"/>
                <a:gd name="connsiteY2" fmla="*/ 9648 h 17978"/>
                <a:gd name="connsiteX3" fmla="*/ 13856 w 36290"/>
                <a:gd name="connsiteY3" fmla="*/ 16887 h 17978"/>
                <a:gd name="connsiteX4" fmla="*/ 21571 w 36290"/>
                <a:gd name="connsiteY4" fmla="*/ 16887 h 17978"/>
                <a:gd name="connsiteX5" fmla="*/ 34430 w 36290"/>
                <a:gd name="connsiteY5" fmla="*/ 9267 h 17978"/>
                <a:gd name="connsiteX6" fmla="*/ 35954 w 36290"/>
                <a:gd name="connsiteY6" fmla="*/ 6981 h 17978"/>
                <a:gd name="connsiteX7" fmla="*/ 35954 w 36290"/>
                <a:gd name="connsiteY7" fmla="*/ -163 h 17978"/>
                <a:gd name="connsiteX8" fmla="*/ 34430 w 36290"/>
                <a:gd name="connsiteY8" fmla="*/ 2028 h 17978"/>
                <a:gd name="connsiteX9" fmla="*/ 32144 w 36290"/>
                <a:gd name="connsiteY9" fmla="*/ 3362 h 17978"/>
                <a:gd name="connsiteX10" fmla="*/ 21857 w 36290"/>
                <a:gd name="connsiteY10" fmla="*/ 9267 h 17978"/>
                <a:gd name="connsiteX11" fmla="*/ 14142 w 36290"/>
                <a:gd name="connsiteY11" fmla="*/ 9267 h 17978"/>
                <a:gd name="connsiteX12" fmla="*/ 3855 w 36290"/>
                <a:gd name="connsiteY12" fmla="*/ 3362 h 17978"/>
                <a:gd name="connsiteX13" fmla="*/ 1568 w 36290"/>
                <a:gd name="connsiteY13" fmla="*/ 2028 h 17978"/>
                <a:gd name="connsiteX14" fmla="*/ -336 w 36290"/>
                <a:gd name="connsiteY14" fmla="*/ 218 h 17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290" h="17978">
                  <a:moveTo>
                    <a:pt x="-336" y="218"/>
                  </a:moveTo>
                  <a:lnTo>
                    <a:pt x="-336" y="7362"/>
                  </a:lnTo>
                  <a:cubicBezTo>
                    <a:pt x="-270" y="8372"/>
                    <a:pt x="359" y="9257"/>
                    <a:pt x="1283" y="9648"/>
                  </a:cubicBezTo>
                  <a:lnTo>
                    <a:pt x="13856" y="16887"/>
                  </a:lnTo>
                  <a:cubicBezTo>
                    <a:pt x="16275" y="18125"/>
                    <a:pt x="19152" y="18125"/>
                    <a:pt x="21571" y="16887"/>
                  </a:cubicBezTo>
                  <a:lnTo>
                    <a:pt x="34430" y="9267"/>
                  </a:lnTo>
                  <a:cubicBezTo>
                    <a:pt x="35297" y="8819"/>
                    <a:pt x="35868" y="7953"/>
                    <a:pt x="35954" y="6981"/>
                  </a:cubicBezTo>
                  <a:lnTo>
                    <a:pt x="35954" y="-163"/>
                  </a:lnTo>
                  <a:cubicBezTo>
                    <a:pt x="35897" y="799"/>
                    <a:pt x="35306" y="1638"/>
                    <a:pt x="34430" y="2028"/>
                  </a:cubicBezTo>
                  <a:lnTo>
                    <a:pt x="32144" y="3362"/>
                  </a:lnTo>
                  <a:lnTo>
                    <a:pt x="21857" y="9267"/>
                  </a:lnTo>
                  <a:cubicBezTo>
                    <a:pt x="19457" y="10610"/>
                    <a:pt x="16542" y="10610"/>
                    <a:pt x="14142" y="9267"/>
                  </a:cubicBezTo>
                  <a:lnTo>
                    <a:pt x="3855" y="3362"/>
                  </a:lnTo>
                  <a:lnTo>
                    <a:pt x="1568" y="2028"/>
                  </a:lnTo>
                  <a:cubicBezTo>
                    <a:pt x="654" y="1818"/>
                    <a:pt x="-79" y="1123"/>
                    <a:pt x="-336" y="218"/>
                  </a:cubicBezTo>
                  <a:close/>
                </a:path>
              </a:pathLst>
            </a:custGeom>
            <a:solidFill>
              <a:srgbClr val="BF4200"/>
            </a:solidFill>
            <a:ln w="9525" cap="flat">
              <a:noFill/>
              <a:prstDash val="solid"/>
              <a:miter/>
            </a:ln>
          </p:spPr>
          <p:txBody>
            <a:bodyPr rtlCol="0" anchor="ctr"/>
            <a:lstStyle/>
            <a:p>
              <a:endParaRPr lang="zh-CN" altLang="en-US"/>
            </a:p>
          </p:txBody>
        </p:sp>
        <p:sp>
          <p:nvSpPr>
            <p:cNvPr id="738" name="ïṩḻîḓè">
              <a:extLst>
                <a:ext uri="{FF2B5EF4-FFF2-40B4-BE49-F238E27FC236}">
                  <a16:creationId xmlns:a16="http://schemas.microsoft.com/office/drawing/2014/main" id="{11AB723C-F5EC-4166-922C-18B6637B5766}"/>
                </a:ext>
              </a:extLst>
            </p:cNvPr>
            <p:cNvSpPr/>
            <p:nvPr/>
          </p:nvSpPr>
          <p:spPr>
            <a:xfrm>
              <a:off x="5416296" y="5015234"/>
              <a:ext cx="109594" cy="63588"/>
            </a:xfrm>
            <a:custGeom>
              <a:avLst/>
              <a:gdLst>
                <a:gd name="connsiteX0" fmla="*/ -336 w 36004"/>
                <a:gd name="connsiteY0" fmla="*/ 10196 h 20890"/>
                <a:gd name="connsiteX1" fmla="*/ 1188 w 36004"/>
                <a:gd name="connsiteY1" fmla="*/ 12482 h 20890"/>
                <a:gd name="connsiteX2" fmla="*/ 3569 w 36004"/>
                <a:gd name="connsiteY2" fmla="*/ 13815 h 20890"/>
                <a:gd name="connsiteX3" fmla="*/ 13856 w 36004"/>
                <a:gd name="connsiteY3" fmla="*/ 19721 h 20890"/>
                <a:gd name="connsiteX4" fmla="*/ 21476 w 36004"/>
                <a:gd name="connsiteY4" fmla="*/ 19721 h 20890"/>
                <a:gd name="connsiteX5" fmla="*/ 31763 w 36004"/>
                <a:gd name="connsiteY5" fmla="*/ 13815 h 20890"/>
                <a:gd name="connsiteX6" fmla="*/ 34144 w 36004"/>
                <a:gd name="connsiteY6" fmla="*/ 12482 h 20890"/>
                <a:gd name="connsiteX7" fmla="*/ 35668 w 36004"/>
                <a:gd name="connsiteY7" fmla="*/ 10196 h 20890"/>
                <a:gd name="connsiteX8" fmla="*/ 34144 w 36004"/>
                <a:gd name="connsiteY8" fmla="*/ 8005 h 20890"/>
                <a:gd name="connsiteX9" fmla="*/ 21476 w 36004"/>
                <a:gd name="connsiteY9" fmla="*/ 766 h 20890"/>
                <a:gd name="connsiteX10" fmla="*/ 13856 w 36004"/>
                <a:gd name="connsiteY10" fmla="*/ 766 h 20890"/>
                <a:gd name="connsiteX11" fmla="*/ 1188 w 36004"/>
                <a:gd name="connsiteY11" fmla="*/ 8005 h 20890"/>
                <a:gd name="connsiteX12" fmla="*/ -336 w 36004"/>
                <a:gd name="connsiteY12" fmla="*/ 10196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196"/>
                  </a:moveTo>
                  <a:cubicBezTo>
                    <a:pt x="-308" y="11186"/>
                    <a:pt x="283" y="12082"/>
                    <a:pt x="1188" y="12482"/>
                  </a:cubicBezTo>
                  <a:lnTo>
                    <a:pt x="3569" y="13815"/>
                  </a:lnTo>
                  <a:lnTo>
                    <a:pt x="13856" y="19721"/>
                  </a:lnTo>
                  <a:cubicBezTo>
                    <a:pt x="16218" y="21064"/>
                    <a:pt x="19114" y="21064"/>
                    <a:pt x="21476" y="19721"/>
                  </a:cubicBezTo>
                  <a:lnTo>
                    <a:pt x="31763" y="13815"/>
                  </a:lnTo>
                  <a:lnTo>
                    <a:pt x="34144" y="12482"/>
                  </a:lnTo>
                  <a:cubicBezTo>
                    <a:pt x="35049" y="12082"/>
                    <a:pt x="35640" y="11186"/>
                    <a:pt x="35668" y="10196"/>
                  </a:cubicBezTo>
                  <a:cubicBezTo>
                    <a:pt x="35573" y="9253"/>
                    <a:pt x="34992" y="8424"/>
                    <a:pt x="34144" y="8005"/>
                  </a:cubicBezTo>
                  <a:lnTo>
                    <a:pt x="21476" y="766"/>
                  </a:lnTo>
                  <a:cubicBezTo>
                    <a:pt x="19085" y="-472"/>
                    <a:pt x="16247" y="-472"/>
                    <a:pt x="13856" y="766"/>
                  </a:cubicBezTo>
                  <a:lnTo>
                    <a:pt x="1188" y="8005"/>
                  </a:lnTo>
                  <a:cubicBezTo>
                    <a:pt x="340" y="8424"/>
                    <a:pt x="-241" y="925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739" name="í$1ïḓe">
              <a:extLst>
                <a:ext uri="{FF2B5EF4-FFF2-40B4-BE49-F238E27FC236}">
                  <a16:creationId xmlns:a16="http://schemas.microsoft.com/office/drawing/2014/main" id="{63A36A64-1E52-4B38-BCDE-2B245F301AEF}"/>
                </a:ext>
              </a:extLst>
            </p:cNvPr>
            <p:cNvSpPr/>
            <p:nvPr/>
          </p:nvSpPr>
          <p:spPr>
            <a:xfrm>
              <a:off x="5419008" y="5016394"/>
              <a:ext cx="105329" cy="61101"/>
            </a:xfrm>
            <a:custGeom>
              <a:avLst/>
              <a:gdLst>
                <a:gd name="connsiteX0" fmla="*/ 1154 w 34603"/>
                <a:gd name="connsiteY0" fmla="*/ 12006 h 20073"/>
                <a:gd name="connsiteX1" fmla="*/ 13250 w 34603"/>
                <a:gd name="connsiteY1" fmla="*/ 19054 h 20073"/>
                <a:gd name="connsiteX2" fmla="*/ 20680 w 34603"/>
                <a:gd name="connsiteY2" fmla="*/ 19054 h 20073"/>
                <a:gd name="connsiteX3" fmla="*/ 32777 w 34603"/>
                <a:gd name="connsiteY3" fmla="*/ 12006 h 20073"/>
                <a:gd name="connsiteX4" fmla="*/ 34120 w 34603"/>
                <a:gd name="connsiteY4" fmla="*/ 9062 h 20073"/>
                <a:gd name="connsiteX5" fmla="*/ 32777 w 34603"/>
                <a:gd name="connsiteY5" fmla="*/ 7719 h 20073"/>
                <a:gd name="connsiteX6" fmla="*/ 20680 w 34603"/>
                <a:gd name="connsiteY6" fmla="*/ 766 h 20073"/>
                <a:gd name="connsiteX7" fmla="*/ 13250 w 34603"/>
                <a:gd name="connsiteY7" fmla="*/ 766 h 20073"/>
                <a:gd name="connsiteX8" fmla="*/ 1154 w 34603"/>
                <a:gd name="connsiteY8" fmla="*/ 7719 h 20073"/>
                <a:gd name="connsiteX9" fmla="*/ -189 w 34603"/>
                <a:gd name="connsiteY9" fmla="*/ 10653 h 20073"/>
                <a:gd name="connsiteX10" fmla="*/ 1154 w 34603"/>
                <a:gd name="connsiteY10"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603" h="20073">
                  <a:moveTo>
                    <a:pt x="1154" y="12006"/>
                  </a:moveTo>
                  <a:lnTo>
                    <a:pt x="13250" y="19054"/>
                  </a:lnTo>
                  <a:cubicBezTo>
                    <a:pt x="15594" y="20197"/>
                    <a:pt x="18337" y="20197"/>
                    <a:pt x="20680" y="19054"/>
                  </a:cubicBezTo>
                  <a:lnTo>
                    <a:pt x="32777" y="12006"/>
                  </a:lnTo>
                  <a:cubicBezTo>
                    <a:pt x="33958" y="11567"/>
                    <a:pt x="34567" y="10253"/>
                    <a:pt x="34120" y="9062"/>
                  </a:cubicBezTo>
                  <a:cubicBezTo>
                    <a:pt x="33891" y="8443"/>
                    <a:pt x="33396" y="7948"/>
                    <a:pt x="32777" y="7719"/>
                  </a:cubicBezTo>
                  <a:lnTo>
                    <a:pt x="20680" y="766"/>
                  </a:lnTo>
                  <a:cubicBezTo>
                    <a:pt x="18356" y="-472"/>
                    <a:pt x="15575" y="-472"/>
                    <a:pt x="13250" y="766"/>
                  </a:cubicBezTo>
                  <a:lnTo>
                    <a:pt x="1154" y="7719"/>
                  </a:lnTo>
                  <a:cubicBezTo>
                    <a:pt x="-27" y="8158"/>
                    <a:pt x="-637" y="9472"/>
                    <a:pt x="-189" y="10653"/>
                  </a:cubicBezTo>
                  <a:cubicBezTo>
                    <a:pt x="39" y="11282"/>
                    <a:pt x="535" y="11777"/>
                    <a:pt x="1154" y="12006"/>
                  </a:cubicBezTo>
                  <a:close/>
                </a:path>
              </a:pathLst>
            </a:custGeom>
            <a:solidFill>
              <a:srgbClr val="D1D9E8"/>
            </a:solidFill>
            <a:ln w="9525" cap="flat">
              <a:noFill/>
              <a:prstDash val="solid"/>
              <a:miter/>
            </a:ln>
          </p:spPr>
          <p:txBody>
            <a:bodyPr rtlCol="0" anchor="ctr"/>
            <a:lstStyle/>
            <a:p>
              <a:endParaRPr lang="zh-CN" altLang="en-US"/>
            </a:p>
          </p:txBody>
        </p:sp>
        <p:sp>
          <p:nvSpPr>
            <p:cNvPr id="740" name="iṥ1îḓè">
              <a:extLst>
                <a:ext uri="{FF2B5EF4-FFF2-40B4-BE49-F238E27FC236}">
                  <a16:creationId xmlns:a16="http://schemas.microsoft.com/office/drawing/2014/main" id="{90DB9E14-DBEB-45D1-914D-0A4BA3F412DB}"/>
                </a:ext>
              </a:extLst>
            </p:cNvPr>
            <p:cNvSpPr/>
            <p:nvPr/>
          </p:nvSpPr>
          <p:spPr>
            <a:xfrm>
              <a:off x="5416296" y="5046763"/>
              <a:ext cx="109594" cy="53804"/>
            </a:xfrm>
            <a:custGeom>
              <a:avLst/>
              <a:gdLst>
                <a:gd name="connsiteX0" fmla="*/ -336 w 36004"/>
                <a:gd name="connsiteY0" fmla="*/ -163 h 17676"/>
                <a:gd name="connsiteX1" fmla="*/ -336 w 36004"/>
                <a:gd name="connsiteY1" fmla="*/ 7076 h 17676"/>
                <a:gd name="connsiteX2" fmla="*/ 1188 w 36004"/>
                <a:gd name="connsiteY2" fmla="*/ 9267 h 17676"/>
                <a:gd name="connsiteX3" fmla="*/ 13856 w 36004"/>
                <a:gd name="connsiteY3" fmla="*/ 16506 h 17676"/>
                <a:gd name="connsiteX4" fmla="*/ 21476 w 36004"/>
                <a:gd name="connsiteY4" fmla="*/ 16506 h 17676"/>
                <a:gd name="connsiteX5" fmla="*/ 34144 w 36004"/>
                <a:gd name="connsiteY5" fmla="*/ 9267 h 17676"/>
                <a:gd name="connsiteX6" fmla="*/ 35668 w 36004"/>
                <a:gd name="connsiteY6" fmla="*/ 7076 h 17676"/>
                <a:gd name="connsiteX7" fmla="*/ 35668 w 36004"/>
                <a:gd name="connsiteY7" fmla="*/ -163 h 17676"/>
                <a:gd name="connsiteX8" fmla="*/ 34144 w 36004"/>
                <a:gd name="connsiteY8" fmla="*/ 2124 h 17676"/>
                <a:gd name="connsiteX9" fmla="*/ 31763 w 36004"/>
                <a:gd name="connsiteY9" fmla="*/ 3457 h 17676"/>
                <a:gd name="connsiteX10" fmla="*/ 21476 w 36004"/>
                <a:gd name="connsiteY10" fmla="*/ 9362 h 17676"/>
                <a:gd name="connsiteX11" fmla="*/ 13856 w 36004"/>
                <a:gd name="connsiteY11" fmla="*/ 9362 h 17676"/>
                <a:gd name="connsiteX12" fmla="*/ 3569 w 36004"/>
                <a:gd name="connsiteY12" fmla="*/ 3457 h 17676"/>
                <a:gd name="connsiteX13" fmla="*/ 1188 w 36004"/>
                <a:gd name="connsiteY13" fmla="*/ 2124 h 17676"/>
                <a:gd name="connsiteX14" fmla="*/ -336 w 36004"/>
                <a:gd name="connsiteY14" fmla="*/ -163 h 17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6">
                  <a:moveTo>
                    <a:pt x="-336" y="-163"/>
                  </a:moveTo>
                  <a:lnTo>
                    <a:pt x="-336" y="7076"/>
                  </a:lnTo>
                  <a:cubicBezTo>
                    <a:pt x="-298" y="8039"/>
                    <a:pt x="292" y="8896"/>
                    <a:pt x="1188" y="9267"/>
                  </a:cubicBezTo>
                  <a:lnTo>
                    <a:pt x="13856" y="16506"/>
                  </a:lnTo>
                  <a:cubicBezTo>
                    <a:pt x="16218" y="17849"/>
                    <a:pt x="19114" y="17849"/>
                    <a:pt x="21476" y="16506"/>
                  </a:cubicBezTo>
                  <a:lnTo>
                    <a:pt x="34144" y="9267"/>
                  </a:lnTo>
                  <a:cubicBezTo>
                    <a:pt x="35021" y="8877"/>
                    <a:pt x="35611" y="8039"/>
                    <a:pt x="35668" y="7076"/>
                  </a:cubicBezTo>
                  <a:lnTo>
                    <a:pt x="35668" y="-163"/>
                  </a:lnTo>
                  <a:cubicBezTo>
                    <a:pt x="35640" y="828"/>
                    <a:pt x="35049" y="1724"/>
                    <a:pt x="34144" y="2124"/>
                  </a:cubicBezTo>
                  <a:lnTo>
                    <a:pt x="31763" y="3457"/>
                  </a:lnTo>
                  <a:lnTo>
                    <a:pt x="21476" y="9362"/>
                  </a:lnTo>
                  <a:cubicBezTo>
                    <a:pt x="19114" y="10706"/>
                    <a:pt x="16218" y="10706"/>
                    <a:pt x="13856" y="9362"/>
                  </a:cubicBezTo>
                  <a:lnTo>
                    <a:pt x="3569" y="3457"/>
                  </a:lnTo>
                  <a:lnTo>
                    <a:pt x="1188" y="2124"/>
                  </a:lnTo>
                  <a:cubicBezTo>
                    <a:pt x="283" y="1724"/>
                    <a:pt x="-308"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41" name="iṧľiḍé">
              <a:extLst>
                <a:ext uri="{FF2B5EF4-FFF2-40B4-BE49-F238E27FC236}">
                  <a16:creationId xmlns:a16="http://schemas.microsoft.com/office/drawing/2014/main" id="{59696EA9-896D-400D-B028-03E79E259CDE}"/>
                </a:ext>
              </a:extLst>
            </p:cNvPr>
            <p:cNvSpPr/>
            <p:nvPr/>
          </p:nvSpPr>
          <p:spPr>
            <a:xfrm>
              <a:off x="5493998" y="5059883"/>
              <a:ext cx="109740" cy="63350"/>
            </a:xfrm>
            <a:custGeom>
              <a:avLst/>
              <a:gdLst>
                <a:gd name="connsiteX0" fmla="*/ -336 w 36052"/>
                <a:gd name="connsiteY0" fmla="*/ 10196 h 20812"/>
                <a:gd name="connsiteX1" fmla="*/ 1283 w 36052"/>
                <a:gd name="connsiteY1" fmla="*/ 12482 h 20812"/>
                <a:gd name="connsiteX2" fmla="*/ 3569 w 36052"/>
                <a:gd name="connsiteY2" fmla="*/ 13815 h 20812"/>
                <a:gd name="connsiteX3" fmla="*/ 13856 w 36052"/>
                <a:gd name="connsiteY3" fmla="*/ 19721 h 20812"/>
                <a:gd name="connsiteX4" fmla="*/ 21571 w 36052"/>
                <a:gd name="connsiteY4" fmla="*/ 19721 h 20812"/>
                <a:gd name="connsiteX5" fmla="*/ 31858 w 36052"/>
                <a:gd name="connsiteY5" fmla="*/ 13815 h 20812"/>
                <a:gd name="connsiteX6" fmla="*/ 34144 w 36052"/>
                <a:gd name="connsiteY6" fmla="*/ 12482 h 20812"/>
                <a:gd name="connsiteX7" fmla="*/ 35573 w 36052"/>
                <a:gd name="connsiteY7" fmla="*/ 9434 h 20812"/>
                <a:gd name="connsiteX8" fmla="*/ 34144 w 36052"/>
                <a:gd name="connsiteY8" fmla="*/ 8005 h 20812"/>
                <a:gd name="connsiteX9" fmla="*/ 21571 w 36052"/>
                <a:gd name="connsiteY9" fmla="*/ 766 h 20812"/>
                <a:gd name="connsiteX10" fmla="*/ 13856 w 36052"/>
                <a:gd name="connsiteY10" fmla="*/ 766 h 20812"/>
                <a:gd name="connsiteX11" fmla="*/ 1283 w 36052"/>
                <a:gd name="connsiteY11" fmla="*/ 8005 h 20812"/>
                <a:gd name="connsiteX12" fmla="*/ -336 w 36052"/>
                <a:gd name="connsiteY12" fmla="*/ 10196 h 20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12">
                  <a:moveTo>
                    <a:pt x="-336" y="10196"/>
                  </a:moveTo>
                  <a:cubicBezTo>
                    <a:pt x="-231" y="11186"/>
                    <a:pt x="378" y="12053"/>
                    <a:pt x="1283" y="12482"/>
                  </a:cubicBezTo>
                  <a:lnTo>
                    <a:pt x="3569" y="13815"/>
                  </a:lnTo>
                  <a:lnTo>
                    <a:pt x="13856" y="19721"/>
                  </a:lnTo>
                  <a:cubicBezTo>
                    <a:pt x="16275" y="20959"/>
                    <a:pt x="19152" y="20959"/>
                    <a:pt x="21571" y="19721"/>
                  </a:cubicBezTo>
                  <a:lnTo>
                    <a:pt x="31858" y="13815"/>
                  </a:lnTo>
                  <a:lnTo>
                    <a:pt x="34144" y="12482"/>
                  </a:lnTo>
                  <a:cubicBezTo>
                    <a:pt x="35382" y="12034"/>
                    <a:pt x="36021" y="10663"/>
                    <a:pt x="35573" y="9434"/>
                  </a:cubicBezTo>
                  <a:cubicBezTo>
                    <a:pt x="35325" y="8767"/>
                    <a:pt x="34811" y="8243"/>
                    <a:pt x="34144" y="8005"/>
                  </a:cubicBezTo>
                  <a:lnTo>
                    <a:pt x="21571" y="766"/>
                  </a:lnTo>
                  <a:cubicBezTo>
                    <a:pt x="19152" y="-472"/>
                    <a:pt x="16275" y="-472"/>
                    <a:pt x="13856" y="766"/>
                  </a:cubicBezTo>
                  <a:lnTo>
                    <a:pt x="1283" y="8005"/>
                  </a:lnTo>
                  <a:cubicBezTo>
                    <a:pt x="407" y="8415"/>
                    <a:pt x="-203" y="924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742" name="íṣḷîḑè">
              <a:extLst>
                <a:ext uri="{FF2B5EF4-FFF2-40B4-BE49-F238E27FC236}">
                  <a16:creationId xmlns:a16="http://schemas.microsoft.com/office/drawing/2014/main" id="{927C74EA-7C9A-470A-B6EA-1CF334DABAE0}"/>
                </a:ext>
              </a:extLst>
            </p:cNvPr>
            <p:cNvSpPr/>
            <p:nvPr/>
          </p:nvSpPr>
          <p:spPr>
            <a:xfrm>
              <a:off x="5496132" y="5060972"/>
              <a:ext cx="105618" cy="61174"/>
            </a:xfrm>
            <a:custGeom>
              <a:avLst/>
              <a:gdLst>
                <a:gd name="connsiteX0" fmla="*/ 1154 w 34698"/>
                <a:gd name="connsiteY0" fmla="*/ 12029 h 20097"/>
                <a:gd name="connsiteX1" fmla="*/ 13251 w 34698"/>
                <a:gd name="connsiteY1" fmla="*/ 19078 h 20097"/>
                <a:gd name="connsiteX2" fmla="*/ 20680 w 34698"/>
                <a:gd name="connsiteY2" fmla="*/ 19078 h 20097"/>
                <a:gd name="connsiteX3" fmla="*/ 32872 w 34698"/>
                <a:gd name="connsiteY3" fmla="*/ 12029 h 20097"/>
                <a:gd name="connsiteX4" fmla="*/ 34215 w 34698"/>
                <a:gd name="connsiteY4" fmla="*/ 9096 h 20097"/>
                <a:gd name="connsiteX5" fmla="*/ 32872 w 34698"/>
                <a:gd name="connsiteY5" fmla="*/ 7743 h 20097"/>
                <a:gd name="connsiteX6" fmla="*/ 20680 w 34698"/>
                <a:gd name="connsiteY6" fmla="*/ 695 h 20097"/>
                <a:gd name="connsiteX7" fmla="*/ 13251 w 34698"/>
                <a:gd name="connsiteY7" fmla="*/ 695 h 20097"/>
                <a:gd name="connsiteX8" fmla="*/ 1154 w 34698"/>
                <a:gd name="connsiteY8" fmla="*/ 7743 h 20097"/>
                <a:gd name="connsiteX9" fmla="*/ -189 w 34698"/>
                <a:gd name="connsiteY9" fmla="*/ 10677 h 20097"/>
                <a:gd name="connsiteX10" fmla="*/ 1154 w 34698"/>
                <a:gd name="connsiteY10" fmla="*/ 12029 h 20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698" h="20097">
                  <a:moveTo>
                    <a:pt x="1154" y="12029"/>
                  </a:moveTo>
                  <a:lnTo>
                    <a:pt x="13251" y="19078"/>
                  </a:lnTo>
                  <a:cubicBezTo>
                    <a:pt x="15594" y="20221"/>
                    <a:pt x="18337" y="20221"/>
                    <a:pt x="20680" y="19078"/>
                  </a:cubicBezTo>
                  <a:lnTo>
                    <a:pt x="32872" y="12029"/>
                  </a:lnTo>
                  <a:cubicBezTo>
                    <a:pt x="34053" y="11591"/>
                    <a:pt x="34663" y="10277"/>
                    <a:pt x="34215" y="9096"/>
                  </a:cubicBezTo>
                  <a:cubicBezTo>
                    <a:pt x="33986" y="8467"/>
                    <a:pt x="33491" y="7972"/>
                    <a:pt x="32872" y="7743"/>
                  </a:cubicBezTo>
                  <a:lnTo>
                    <a:pt x="20680" y="695"/>
                  </a:lnTo>
                  <a:cubicBezTo>
                    <a:pt x="18337" y="-448"/>
                    <a:pt x="15594" y="-448"/>
                    <a:pt x="13251" y="695"/>
                  </a:cubicBezTo>
                  <a:lnTo>
                    <a:pt x="1154" y="7743"/>
                  </a:lnTo>
                  <a:cubicBezTo>
                    <a:pt x="-27" y="8181"/>
                    <a:pt x="-637" y="9496"/>
                    <a:pt x="-189" y="10677"/>
                  </a:cubicBezTo>
                  <a:cubicBezTo>
                    <a:pt x="39" y="11305"/>
                    <a:pt x="535" y="11801"/>
                    <a:pt x="1154" y="12029"/>
                  </a:cubicBezTo>
                  <a:close/>
                </a:path>
              </a:pathLst>
            </a:custGeom>
            <a:solidFill>
              <a:srgbClr val="D1D9E8"/>
            </a:solidFill>
            <a:ln w="9525" cap="flat">
              <a:noFill/>
              <a:prstDash val="solid"/>
              <a:miter/>
            </a:ln>
          </p:spPr>
          <p:txBody>
            <a:bodyPr rtlCol="0" anchor="ctr"/>
            <a:lstStyle/>
            <a:p>
              <a:endParaRPr lang="zh-CN" altLang="en-US"/>
            </a:p>
          </p:txBody>
        </p:sp>
        <p:sp>
          <p:nvSpPr>
            <p:cNvPr id="743" name="îSlïḑé">
              <a:extLst>
                <a:ext uri="{FF2B5EF4-FFF2-40B4-BE49-F238E27FC236}">
                  <a16:creationId xmlns:a16="http://schemas.microsoft.com/office/drawing/2014/main" id="{42468E60-4921-4E25-88E4-BD2224C94268}"/>
                </a:ext>
              </a:extLst>
            </p:cNvPr>
            <p:cNvSpPr/>
            <p:nvPr/>
          </p:nvSpPr>
          <p:spPr>
            <a:xfrm>
              <a:off x="5493998" y="5091415"/>
              <a:ext cx="109883" cy="53801"/>
            </a:xfrm>
            <a:custGeom>
              <a:avLst/>
              <a:gdLst>
                <a:gd name="connsiteX0" fmla="*/ -336 w 36099"/>
                <a:gd name="connsiteY0" fmla="*/ -163 h 17675"/>
                <a:gd name="connsiteX1" fmla="*/ -336 w 36099"/>
                <a:gd name="connsiteY1" fmla="*/ 7076 h 17675"/>
                <a:gd name="connsiteX2" fmla="*/ 1283 w 36099"/>
                <a:gd name="connsiteY2" fmla="*/ 9267 h 17675"/>
                <a:gd name="connsiteX3" fmla="*/ 13856 w 36099"/>
                <a:gd name="connsiteY3" fmla="*/ 16506 h 17675"/>
                <a:gd name="connsiteX4" fmla="*/ 21571 w 36099"/>
                <a:gd name="connsiteY4" fmla="*/ 16506 h 17675"/>
                <a:gd name="connsiteX5" fmla="*/ 34144 w 36099"/>
                <a:gd name="connsiteY5" fmla="*/ 9267 h 17675"/>
                <a:gd name="connsiteX6" fmla="*/ 35764 w 36099"/>
                <a:gd name="connsiteY6" fmla="*/ 7076 h 17675"/>
                <a:gd name="connsiteX7" fmla="*/ 35764 w 36099"/>
                <a:gd name="connsiteY7" fmla="*/ -163 h 17675"/>
                <a:gd name="connsiteX8" fmla="*/ 34144 w 36099"/>
                <a:gd name="connsiteY8" fmla="*/ 2123 h 17675"/>
                <a:gd name="connsiteX9" fmla="*/ 31858 w 36099"/>
                <a:gd name="connsiteY9" fmla="*/ 3457 h 17675"/>
                <a:gd name="connsiteX10" fmla="*/ 21571 w 36099"/>
                <a:gd name="connsiteY10" fmla="*/ 9362 h 17675"/>
                <a:gd name="connsiteX11" fmla="*/ 13856 w 36099"/>
                <a:gd name="connsiteY11" fmla="*/ 9362 h 17675"/>
                <a:gd name="connsiteX12" fmla="*/ 3569 w 36099"/>
                <a:gd name="connsiteY12" fmla="*/ 3457 h 17675"/>
                <a:gd name="connsiteX13" fmla="*/ 1283 w 36099"/>
                <a:gd name="connsiteY13" fmla="*/ 2123 h 17675"/>
                <a:gd name="connsiteX14" fmla="*/ -336 w 36099"/>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675">
                  <a:moveTo>
                    <a:pt x="-336" y="-163"/>
                  </a:moveTo>
                  <a:lnTo>
                    <a:pt x="-336" y="7076"/>
                  </a:lnTo>
                  <a:cubicBezTo>
                    <a:pt x="-222" y="8038"/>
                    <a:pt x="397" y="8877"/>
                    <a:pt x="1283" y="9267"/>
                  </a:cubicBezTo>
                  <a:lnTo>
                    <a:pt x="13856" y="16506"/>
                  </a:lnTo>
                  <a:cubicBezTo>
                    <a:pt x="16256" y="17849"/>
                    <a:pt x="19171" y="17849"/>
                    <a:pt x="21571" y="16506"/>
                  </a:cubicBezTo>
                  <a:lnTo>
                    <a:pt x="34144" y="9267"/>
                  </a:lnTo>
                  <a:cubicBezTo>
                    <a:pt x="35030" y="8877"/>
                    <a:pt x="35649" y="8038"/>
                    <a:pt x="35764" y="7076"/>
                  </a:cubicBezTo>
                  <a:lnTo>
                    <a:pt x="35764" y="-163"/>
                  </a:lnTo>
                  <a:cubicBezTo>
                    <a:pt x="35659" y="828"/>
                    <a:pt x="35049" y="1695"/>
                    <a:pt x="34144" y="2123"/>
                  </a:cubicBezTo>
                  <a:lnTo>
                    <a:pt x="31858" y="3457"/>
                  </a:lnTo>
                  <a:lnTo>
                    <a:pt x="21571" y="9362"/>
                  </a:lnTo>
                  <a:cubicBezTo>
                    <a:pt x="19152" y="10601"/>
                    <a:pt x="16275" y="10601"/>
                    <a:pt x="13856" y="9362"/>
                  </a:cubicBezTo>
                  <a:lnTo>
                    <a:pt x="3569" y="3457"/>
                  </a:lnTo>
                  <a:lnTo>
                    <a:pt x="1283" y="2123"/>
                  </a:lnTo>
                  <a:cubicBezTo>
                    <a:pt x="378" y="1695"/>
                    <a:pt x="-231"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44" name="îšḷiḑè">
              <a:extLst>
                <a:ext uri="{FF2B5EF4-FFF2-40B4-BE49-F238E27FC236}">
                  <a16:creationId xmlns:a16="http://schemas.microsoft.com/office/drawing/2014/main" id="{DDFB7903-C374-4223-9C70-10657E43A362}"/>
                </a:ext>
              </a:extLst>
            </p:cNvPr>
            <p:cNvSpPr/>
            <p:nvPr/>
          </p:nvSpPr>
          <p:spPr>
            <a:xfrm>
              <a:off x="5571411" y="5104440"/>
              <a:ext cx="109740" cy="63445"/>
            </a:xfrm>
            <a:custGeom>
              <a:avLst/>
              <a:gdLst>
                <a:gd name="connsiteX0" fmla="*/ -336 w 36052"/>
                <a:gd name="connsiteY0" fmla="*/ 10227 h 20843"/>
                <a:gd name="connsiteX1" fmla="*/ 1188 w 36052"/>
                <a:gd name="connsiteY1" fmla="*/ 12513 h 20843"/>
                <a:gd name="connsiteX2" fmla="*/ 3569 w 36052"/>
                <a:gd name="connsiteY2" fmla="*/ 13846 h 20843"/>
                <a:gd name="connsiteX3" fmla="*/ 13856 w 36052"/>
                <a:gd name="connsiteY3" fmla="*/ 19752 h 20843"/>
                <a:gd name="connsiteX4" fmla="*/ 21476 w 36052"/>
                <a:gd name="connsiteY4" fmla="*/ 19752 h 20843"/>
                <a:gd name="connsiteX5" fmla="*/ 31763 w 36052"/>
                <a:gd name="connsiteY5" fmla="*/ 13846 h 20843"/>
                <a:gd name="connsiteX6" fmla="*/ 34144 w 36052"/>
                <a:gd name="connsiteY6" fmla="*/ 12513 h 20843"/>
                <a:gd name="connsiteX7" fmla="*/ 35573 w 36052"/>
                <a:gd name="connsiteY7" fmla="*/ 9465 h 20843"/>
                <a:gd name="connsiteX8" fmla="*/ 34144 w 36052"/>
                <a:gd name="connsiteY8" fmla="*/ 8036 h 20843"/>
                <a:gd name="connsiteX9" fmla="*/ 21476 w 36052"/>
                <a:gd name="connsiteY9" fmla="*/ 702 h 20843"/>
                <a:gd name="connsiteX10" fmla="*/ 13856 w 36052"/>
                <a:gd name="connsiteY10" fmla="*/ 702 h 20843"/>
                <a:gd name="connsiteX11" fmla="*/ 1188 w 36052"/>
                <a:gd name="connsiteY11" fmla="*/ 8036 h 20843"/>
                <a:gd name="connsiteX12" fmla="*/ -336 w 36052"/>
                <a:gd name="connsiteY12" fmla="*/ 10227 h 20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3">
                  <a:moveTo>
                    <a:pt x="-336" y="10227"/>
                  </a:moveTo>
                  <a:cubicBezTo>
                    <a:pt x="-270" y="11208"/>
                    <a:pt x="311" y="12075"/>
                    <a:pt x="1188" y="12513"/>
                  </a:cubicBezTo>
                  <a:lnTo>
                    <a:pt x="3569" y="13846"/>
                  </a:lnTo>
                  <a:lnTo>
                    <a:pt x="13856" y="19752"/>
                  </a:lnTo>
                  <a:cubicBezTo>
                    <a:pt x="16247" y="20990"/>
                    <a:pt x="19085" y="20990"/>
                    <a:pt x="21476" y="19752"/>
                  </a:cubicBezTo>
                  <a:lnTo>
                    <a:pt x="31763" y="13846"/>
                  </a:lnTo>
                  <a:lnTo>
                    <a:pt x="34144" y="12513"/>
                  </a:lnTo>
                  <a:cubicBezTo>
                    <a:pt x="35382" y="12065"/>
                    <a:pt x="36020" y="10694"/>
                    <a:pt x="35573" y="9465"/>
                  </a:cubicBezTo>
                  <a:cubicBezTo>
                    <a:pt x="35325" y="8798"/>
                    <a:pt x="34811" y="8274"/>
                    <a:pt x="34144"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745" name="i$ļîḑê">
              <a:extLst>
                <a:ext uri="{FF2B5EF4-FFF2-40B4-BE49-F238E27FC236}">
                  <a16:creationId xmlns:a16="http://schemas.microsoft.com/office/drawing/2014/main" id="{CC5B2D39-3831-48B7-9CEA-D3914233B968}"/>
                </a:ext>
              </a:extLst>
            </p:cNvPr>
            <p:cNvSpPr/>
            <p:nvPr/>
          </p:nvSpPr>
          <p:spPr>
            <a:xfrm>
              <a:off x="5573295" y="5105621"/>
              <a:ext cx="105825" cy="61101"/>
            </a:xfrm>
            <a:custGeom>
              <a:avLst/>
              <a:gdLst>
                <a:gd name="connsiteX0" fmla="*/ 1235 w 34766"/>
                <a:gd name="connsiteY0" fmla="*/ 12030 h 20073"/>
                <a:gd name="connsiteX1" fmla="*/ 13332 w 34766"/>
                <a:gd name="connsiteY1" fmla="*/ 18983 h 20073"/>
                <a:gd name="connsiteX2" fmla="*/ 20762 w 34766"/>
                <a:gd name="connsiteY2" fmla="*/ 18983 h 20073"/>
                <a:gd name="connsiteX3" fmla="*/ 32858 w 34766"/>
                <a:gd name="connsiteY3" fmla="*/ 12030 h 20073"/>
                <a:gd name="connsiteX4" fmla="*/ 32858 w 34766"/>
                <a:gd name="connsiteY4" fmla="*/ 7743 h 20073"/>
                <a:gd name="connsiteX5" fmla="*/ 20762 w 34766"/>
                <a:gd name="connsiteY5" fmla="*/ 695 h 20073"/>
                <a:gd name="connsiteX6" fmla="*/ 13332 w 34766"/>
                <a:gd name="connsiteY6" fmla="*/ 695 h 20073"/>
                <a:gd name="connsiteX7" fmla="*/ 1235 w 34766"/>
                <a:gd name="connsiteY7" fmla="*/ 7743 h 20073"/>
                <a:gd name="connsiteX8" fmla="*/ 1235 w 34766"/>
                <a:gd name="connsiteY8" fmla="*/ 12030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6" h="20073">
                  <a:moveTo>
                    <a:pt x="1235" y="12030"/>
                  </a:moveTo>
                  <a:lnTo>
                    <a:pt x="13332" y="18983"/>
                  </a:lnTo>
                  <a:cubicBezTo>
                    <a:pt x="15656" y="20221"/>
                    <a:pt x="18437" y="20221"/>
                    <a:pt x="20762" y="18983"/>
                  </a:cubicBezTo>
                  <a:lnTo>
                    <a:pt x="32858" y="12030"/>
                  </a:lnTo>
                  <a:cubicBezTo>
                    <a:pt x="34954" y="10791"/>
                    <a:pt x="34954" y="8886"/>
                    <a:pt x="32858" y="7743"/>
                  </a:cubicBezTo>
                  <a:lnTo>
                    <a:pt x="20762" y="695"/>
                  </a:lnTo>
                  <a:cubicBezTo>
                    <a:pt x="18419" y="-448"/>
                    <a:pt x="15675" y="-448"/>
                    <a:pt x="13332" y="695"/>
                  </a:cubicBezTo>
                  <a:lnTo>
                    <a:pt x="1235" y="7743"/>
                  </a:lnTo>
                  <a:cubicBezTo>
                    <a:pt x="-860" y="8886"/>
                    <a:pt x="-860" y="10791"/>
                    <a:pt x="1235" y="12030"/>
                  </a:cubicBezTo>
                  <a:close/>
                </a:path>
              </a:pathLst>
            </a:custGeom>
            <a:solidFill>
              <a:srgbClr val="D1D9E8"/>
            </a:solidFill>
            <a:ln w="9525" cap="flat">
              <a:noFill/>
              <a:prstDash val="solid"/>
              <a:miter/>
            </a:ln>
          </p:spPr>
          <p:txBody>
            <a:bodyPr rtlCol="0" anchor="ctr"/>
            <a:lstStyle/>
            <a:p>
              <a:endParaRPr lang="zh-CN" altLang="en-US"/>
            </a:p>
          </p:txBody>
        </p:sp>
        <p:sp>
          <p:nvSpPr>
            <p:cNvPr id="746" name="îṥḷiḓe">
              <a:extLst>
                <a:ext uri="{FF2B5EF4-FFF2-40B4-BE49-F238E27FC236}">
                  <a16:creationId xmlns:a16="http://schemas.microsoft.com/office/drawing/2014/main" id="{D82267E0-1868-4E72-A8F4-1E8C98462757}"/>
                </a:ext>
              </a:extLst>
            </p:cNvPr>
            <p:cNvSpPr/>
            <p:nvPr/>
          </p:nvSpPr>
          <p:spPr>
            <a:xfrm>
              <a:off x="5571411" y="5136063"/>
              <a:ext cx="109594" cy="53801"/>
            </a:xfrm>
            <a:custGeom>
              <a:avLst/>
              <a:gdLst>
                <a:gd name="connsiteX0" fmla="*/ -336 w 36004"/>
                <a:gd name="connsiteY0" fmla="*/ -163 h 17675"/>
                <a:gd name="connsiteX1" fmla="*/ -336 w 36004"/>
                <a:gd name="connsiteY1" fmla="*/ 7076 h 17675"/>
                <a:gd name="connsiteX2" fmla="*/ 1188 w 36004"/>
                <a:gd name="connsiteY2" fmla="*/ 9267 h 17675"/>
                <a:gd name="connsiteX3" fmla="*/ 13856 w 36004"/>
                <a:gd name="connsiteY3" fmla="*/ 16506 h 17675"/>
                <a:gd name="connsiteX4" fmla="*/ 21476 w 36004"/>
                <a:gd name="connsiteY4" fmla="*/ 16506 h 17675"/>
                <a:gd name="connsiteX5" fmla="*/ 34144 w 36004"/>
                <a:gd name="connsiteY5" fmla="*/ 9267 h 17675"/>
                <a:gd name="connsiteX6" fmla="*/ 35668 w 36004"/>
                <a:gd name="connsiteY6" fmla="*/ 6981 h 17675"/>
                <a:gd name="connsiteX7" fmla="*/ 35668 w 36004"/>
                <a:gd name="connsiteY7" fmla="*/ -163 h 17675"/>
                <a:gd name="connsiteX8" fmla="*/ 34144 w 36004"/>
                <a:gd name="connsiteY8" fmla="*/ 2123 h 17675"/>
                <a:gd name="connsiteX9" fmla="*/ 31763 w 36004"/>
                <a:gd name="connsiteY9" fmla="*/ 3457 h 17675"/>
                <a:gd name="connsiteX10" fmla="*/ 21476 w 36004"/>
                <a:gd name="connsiteY10" fmla="*/ 9362 h 17675"/>
                <a:gd name="connsiteX11" fmla="*/ 13856 w 36004"/>
                <a:gd name="connsiteY11" fmla="*/ 9362 h 17675"/>
                <a:gd name="connsiteX12" fmla="*/ 3569 w 36004"/>
                <a:gd name="connsiteY12" fmla="*/ 3457 h 17675"/>
                <a:gd name="connsiteX13" fmla="*/ 1188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79" y="8038"/>
                    <a:pt x="311" y="8877"/>
                    <a:pt x="1188" y="9267"/>
                  </a:cubicBezTo>
                  <a:lnTo>
                    <a:pt x="13856" y="16506"/>
                  </a:lnTo>
                  <a:cubicBezTo>
                    <a:pt x="16218" y="17849"/>
                    <a:pt x="19114" y="17849"/>
                    <a:pt x="21476" y="16506"/>
                  </a:cubicBezTo>
                  <a:lnTo>
                    <a:pt x="34144" y="9267"/>
                  </a:lnTo>
                  <a:cubicBezTo>
                    <a:pt x="35049" y="8867"/>
                    <a:pt x="35640" y="7972"/>
                    <a:pt x="35668" y="6981"/>
                  </a:cubicBezTo>
                  <a:lnTo>
                    <a:pt x="35668" y="-163"/>
                  </a:lnTo>
                  <a:cubicBezTo>
                    <a:pt x="35601" y="818"/>
                    <a:pt x="35021" y="1685"/>
                    <a:pt x="34144" y="2123"/>
                  </a:cubicBezTo>
                  <a:lnTo>
                    <a:pt x="31763" y="3457"/>
                  </a:lnTo>
                  <a:lnTo>
                    <a:pt x="21476" y="9362"/>
                  </a:lnTo>
                  <a:cubicBezTo>
                    <a:pt x="19085" y="10601"/>
                    <a:pt x="16247" y="10601"/>
                    <a:pt x="13856" y="9362"/>
                  </a:cubicBezTo>
                  <a:lnTo>
                    <a:pt x="3569" y="3457"/>
                  </a:lnTo>
                  <a:lnTo>
                    <a:pt x="1188"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47" name="íşḻíde">
              <a:extLst>
                <a:ext uri="{FF2B5EF4-FFF2-40B4-BE49-F238E27FC236}">
                  <a16:creationId xmlns:a16="http://schemas.microsoft.com/office/drawing/2014/main" id="{688CA885-4697-4E1E-BDEC-6258328FC44B}"/>
                </a:ext>
              </a:extLst>
            </p:cNvPr>
            <p:cNvSpPr/>
            <p:nvPr/>
          </p:nvSpPr>
          <p:spPr>
            <a:xfrm>
              <a:off x="5648243" y="5149240"/>
              <a:ext cx="109740" cy="63289"/>
            </a:xfrm>
            <a:custGeom>
              <a:avLst/>
              <a:gdLst>
                <a:gd name="connsiteX0" fmla="*/ -336 w 36052"/>
                <a:gd name="connsiteY0" fmla="*/ 10177 h 20792"/>
                <a:gd name="connsiteX1" fmla="*/ 1283 w 36052"/>
                <a:gd name="connsiteY1" fmla="*/ 12463 h 20792"/>
                <a:gd name="connsiteX2" fmla="*/ 3569 w 36052"/>
                <a:gd name="connsiteY2" fmla="*/ 13796 h 20792"/>
                <a:gd name="connsiteX3" fmla="*/ 13856 w 36052"/>
                <a:gd name="connsiteY3" fmla="*/ 19702 h 20792"/>
                <a:gd name="connsiteX4" fmla="*/ 21571 w 36052"/>
                <a:gd name="connsiteY4" fmla="*/ 19702 h 20792"/>
                <a:gd name="connsiteX5" fmla="*/ 31858 w 36052"/>
                <a:gd name="connsiteY5" fmla="*/ 13796 h 20792"/>
                <a:gd name="connsiteX6" fmla="*/ 34144 w 36052"/>
                <a:gd name="connsiteY6" fmla="*/ 12463 h 20792"/>
                <a:gd name="connsiteX7" fmla="*/ 35573 w 36052"/>
                <a:gd name="connsiteY7" fmla="*/ 9415 h 20792"/>
                <a:gd name="connsiteX8" fmla="*/ 34144 w 36052"/>
                <a:gd name="connsiteY8" fmla="*/ 7986 h 20792"/>
                <a:gd name="connsiteX9" fmla="*/ 21571 w 36052"/>
                <a:gd name="connsiteY9" fmla="*/ 652 h 20792"/>
                <a:gd name="connsiteX10" fmla="*/ 13856 w 36052"/>
                <a:gd name="connsiteY10" fmla="*/ 652 h 20792"/>
                <a:gd name="connsiteX11" fmla="*/ 1283 w 36052"/>
                <a:gd name="connsiteY11" fmla="*/ 7986 h 20792"/>
                <a:gd name="connsiteX12" fmla="*/ -336 w 36052"/>
                <a:gd name="connsiteY12" fmla="*/ 10177 h 20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792">
                  <a:moveTo>
                    <a:pt x="-336" y="10177"/>
                  </a:moveTo>
                  <a:cubicBezTo>
                    <a:pt x="-232" y="11167"/>
                    <a:pt x="378" y="12034"/>
                    <a:pt x="1283" y="12463"/>
                  </a:cubicBezTo>
                  <a:lnTo>
                    <a:pt x="3569" y="13796"/>
                  </a:lnTo>
                  <a:lnTo>
                    <a:pt x="13856" y="19702"/>
                  </a:lnTo>
                  <a:cubicBezTo>
                    <a:pt x="16275" y="20940"/>
                    <a:pt x="19152" y="20940"/>
                    <a:pt x="21571" y="19702"/>
                  </a:cubicBezTo>
                  <a:lnTo>
                    <a:pt x="31858" y="13796"/>
                  </a:lnTo>
                  <a:lnTo>
                    <a:pt x="34144" y="12463"/>
                  </a:lnTo>
                  <a:cubicBezTo>
                    <a:pt x="35382" y="12015"/>
                    <a:pt x="36020" y="10643"/>
                    <a:pt x="35573" y="9415"/>
                  </a:cubicBezTo>
                  <a:cubicBezTo>
                    <a:pt x="35325" y="8748"/>
                    <a:pt x="34811" y="8224"/>
                    <a:pt x="34144" y="7986"/>
                  </a:cubicBezTo>
                  <a:lnTo>
                    <a:pt x="21571" y="652"/>
                  </a:lnTo>
                  <a:cubicBezTo>
                    <a:pt x="19114" y="-434"/>
                    <a:pt x="16313" y="-434"/>
                    <a:pt x="13856" y="652"/>
                  </a:cubicBezTo>
                  <a:lnTo>
                    <a:pt x="1283" y="7986"/>
                  </a:lnTo>
                  <a:cubicBezTo>
                    <a:pt x="407" y="8396"/>
                    <a:pt x="-203" y="9224"/>
                    <a:pt x="-336" y="10177"/>
                  </a:cubicBezTo>
                  <a:close/>
                </a:path>
              </a:pathLst>
            </a:custGeom>
            <a:solidFill>
              <a:srgbClr val="FFFFFF"/>
            </a:solidFill>
            <a:ln w="9525" cap="flat">
              <a:noFill/>
              <a:prstDash val="solid"/>
              <a:miter/>
            </a:ln>
          </p:spPr>
          <p:txBody>
            <a:bodyPr rtlCol="0" anchor="ctr"/>
            <a:lstStyle/>
            <a:p>
              <a:endParaRPr lang="zh-CN" altLang="en-US"/>
            </a:p>
          </p:txBody>
        </p:sp>
        <p:sp>
          <p:nvSpPr>
            <p:cNvPr id="748" name="îŝḷîdé">
              <a:extLst>
                <a:ext uri="{FF2B5EF4-FFF2-40B4-BE49-F238E27FC236}">
                  <a16:creationId xmlns:a16="http://schemas.microsoft.com/office/drawing/2014/main" id="{EBE0AC25-5AF7-4E92-91C4-516BDBCFC911}"/>
                </a:ext>
              </a:extLst>
            </p:cNvPr>
            <p:cNvSpPr/>
            <p:nvPr/>
          </p:nvSpPr>
          <p:spPr>
            <a:xfrm>
              <a:off x="5649984" y="5150269"/>
              <a:ext cx="106330" cy="61104"/>
            </a:xfrm>
            <a:custGeom>
              <a:avLst/>
              <a:gdLst>
                <a:gd name="connsiteX0" fmla="*/ 1378 w 34932"/>
                <a:gd name="connsiteY0" fmla="*/ 12029 h 20074"/>
                <a:gd name="connsiteX1" fmla="*/ 13570 w 34932"/>
                <a:gd name="connsiteY1" fmla="*/ 18983 h 20074"/>
                <a:gd name="connsiteX2" fmla="*/ 21000 w 34932"/>
                <a:gd name="connsiteY2" fmla="*/ 18983 h 20074"/>
                <a:gd name="connsiteX3" fmla="*/ 33097 w 34932"/>
                <a:gd name="connsiteY3" fmla="*/ 12029 h 20074"/>
                <a:gd name="connsiteX4" fmla="*/ 33097 w 34932"/>
                <a:gd name="connsiteY4" fmla="*/ 7743 h 20074"/>
                <a:gd name="connsiteX5" fmla="*/ 21000 w 34932"/>
                <a:gd name="connsiteY5" fmla="*/ 695 h 20074"/>
                <a:gd name="connsiteX6" fmla="*/ 13570 w 34932"/>
                <a:gd name="connsiteY6" fmla="*/ 695 h 20074"/>
                <a:gd name="connsiteX7" fmla="*/ 1378 w 34932"/>
                <a:gd name="connsiteY7" fmla="*/ 7743 h 20074"/>
                <a:gd name="connsiteX8" fmla="*/ 1378 w 34932"/>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932" h="20074">
                  <a:moveTo>
                    <a:pt x="1378" y="12029"/>
                  </a:moveTo>
                  <a:lnTo>
                    <a:pt x="13570" y="18983"/>
                  </a:lnTo>
                  <a:cubicBezTo>
                    <a:pt x="15894" y="20221"/>
                    <a:pt x="18676" y="20221"/>
                    <a:pt x="21000" y="18983"/>
                  </a:cubicBezTo>
                  <a:lnTo>
                    <a:pt x="33097" y="12029"/>
                  </a:lnTo>
                  <a:cubicBezTo>
                    <a:pt x="35097" y="10791"/>
                    <a:pt x="35097" y="8886"/>
                    <a:pt x="33097" y="7743"/>
                  </a:cubicBezTo>
                  <a:lnTo>
                    <a:pt x="21000" y="695"/>
                  </a:lnTo>
                  <a:cubicBezTo>
                    <a:pt x="18656" y="-448"/>
                    <a:pt x="15913" y="-448"/>
                    <a:pt x="13570" y="695"/>
                  </a:cubicBezTo>
                  <a:lnTo>
                    <a:pt x="1378" y="7743"/>
                  </a:lnTo>
                  <a:cubicBezTo>
                    <a:pt x="-908" y="8886"/>
                    <a:pt x="-908" y="10791"/>
                    <a:pt x="1378" y="12029"/>
                  </a:cubicBezTo>
                  <a:close/>
                </a:path>
              </a:pathLst>
            </a:custGeom>
            <a:solidFill>
              <a:srgbClr val="D1D9E8"/>
            </a:solidFill>
            <a:ln w="9525" cap="flat">
              <a:noFill/>
              <a:prstDash val="solid"/>
              <a:miter/>
            </a:ln>
          </p:spPr>
          <p:txBody>
            <a:bodyPr rtlCol="0" anchor="ctr"/>
            <a:lstStyle/>
            <a:p>
              <a:endParaRPr lang="zh-CN" altLang="en-US"/>
            </a:p>
          </p:txBody>
        </p:sp>
        <p:sp>
          <p:nvSpPr>
            <p:cNvPr id="749" name="ïś1îďê">
              <a:extLst>
                <a:ext uri="{FF2B5EF4-FFF2-40B4-BE49-F238E27FC236}">
                  <a16:creationId xmlns:a16="http://schemas.microsoft.com/office/drawing/2014/main" id="{0D7796B6-D7C8-4F91-84EC-33815DAAA207}"/>
                </a:ext>
              </a:extLst>
            </p:cNvPr>
            <p:cNvSpPr/>
            <p:nvPr/>
          </p:nvSpPr>
          <p:spPr>
            <a:xfrm>
              <a:off x="5648240" y="5180714"/>
              <a:ext cx="109889" cy="54961"/>
            </a:xfrm>
            <a:custGeom>
              <a:avLst/>
              <a:gdLst>
                <a:gd name="connsiteX0" fmla="*/ -335 w 36101"/>
                <a:gd name="connsiteY0" fmla="*/ -163 h 18056"/>
                <a:gd name="connsiteX1" fmla="*/ -335 w 36101"/>
                <a:gd name="connsiteY1" fmla="*/ 7457 h 18056"/>
                <a:gd name="connsiteX2" fmla="*/ 1285 w 36101"/>
                <a:gd name="connsiteY2" fmla="*/ 9648 h 18056"/>
                <a:gd name="connsiteX3" fmla="*/ 13857 w 36101"/>
                <a:gd name="connsiteY3" fmla="*/ 16887 h 18056"/>
                <a:gd name="connsiteX4" fmla="*/ 21573 w 36101"/>
                <a:gd name="connsiteY4" fmla="*/ 16887 h 18056"/>
                <a:gd name="connsiteX5" fmla="*/ 34146 w 36101"/>
                <a:gd name="connsiteY5" fmla="*/ 9648 h 18056"/>
                <a:gd name="connsiteX6" fmla="*/ 35765 w 36101"/>
                <a:gd name="connsiteY6" fmla="*/ 7362 h 18056"/>
                <a:gd name="connsiteX7" fmla="*/ 35765 w 36101"/>
                <a:gd name="connsiteY7" fmla="*/ 218 h 18056"/>
                <a:gd name="connsiteX8" fmla="*/ 34146 w 36101"/>
                <a:gd name="connsiteY8" fmla="*/ 2504 h 18056"/>
                <a:gd name="connsiteX9" fmla="*/ 31860 w 36101"/>
                <a:gd name="connsiteY9" fmla="*/ 3838 h 18056"/>
                <a:gd name="connsiteX10" fmla="*/ 21573 w 36101"/>
                <a:gd name="connsiteY10" fmla="*/ 9743 h 18056"/>
                <a:gd name="connsiteX11" fmla="*/ 13857 w 36101"/>
                <a:gd name="connsiteY11" fmla="*/ 9743 h 18056"/>
                <a:gd name="connsiteX12" fmla="*/ 3571 w 36101"/>
                <a:gd name="connsiteY12" fmla="*/ 3838 h 18056"/>
                <a:gd name="connsiteX13" fmla="*/ 1285 w 36101"/>
                <a:gd name="connsiteY13" fmla="*/ 2504 h 18056"/>
                <a:gd name="connsiteX14" fmla="*/ -335 w 36101"/>
                <a:gd name="connsiteY14" fmla="*/ -163 h 18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101" h="18056">
                  <a:moveTo>
                    <a:pt x="-335" y="-163"/>
                  </a:moveTo>
                  <a:lnTo>
                    <a:pt x="-335" y="7457"/>
                  </a:lnTo>
                  <a:cubicBezTo>
                    <a:pt x="-201" y="8410"/>
                    <a:pt x="408" y="9239"/>
                    <a:pt x="1285" y="9648"/>
                  </a:cubicBezTo>
                  <a:lnTo>
                    <a:pt x="13857" y="16887"/>
                  </a:lnTo>
                  <a:cubicBezTo>
                    <a:pt x="16258" y="18230"/>
                    <a:pt x="19173" y="18230"/>
                    <a:pt x="21573" y="16887"/>
                  </a:cubicBezTo>
                  <a:lnTo>
                    <a:pt x="34146" y="9648"/>
                  </a:lnTo>
                  <a:cubicBezTo>
                    <a:pt x="35070" y="9257"/>
                    <a:pt x="35698" y="8372"/>
                    <a:pt x="35765" y="7362"/>
                  </a:cubicBezTo>
                  <a:lnTo>
                    <a:pt x="35765" y="218"/>
                  </a:lnTo>
                  <a:cubicBezTo>
                    <a:pt x="35698" y="1228"/>
                    <a:pt x="35070" y="2114"/>
                    <a:pt x="34146" y="2504"/>
                  </a:cubicBezTo>
                  <a:lnTo>
                    <a:pt x="31860" y="3838"/>
                  </a:lnTo>
                  <a:lnTo>
                    <a:pt x="21573" y="9743"/>
                  </a:lnTo>
                  <a:cubicBezTo>
                    <a:pt x="19153" y="10981"/>
                    <a:pt x="16277" y="10981"/>
                    <a:pt x="13857" y="9743"/>
                  </a:cubicBezTo>
                  <a:lnTo>
                    <a:pt x="3571" y="3838"/>
                  </a:lnTo>
                  <a:lnTo>
                    <a:pt x="1285" y="2504"/>
                  </a:lnTo>
                  <a:cubicBezTo>
                    <a:pt x="265" y="2018"/>
                    <a:pt x="-373" y="971"/>
                    <a:pt x="-335" y="-163"/>
                  </a:cubicBezTo>
                  <a:close/>
                </a:path>
              </a:pathLst>
            </a:custGeom>
            <a:solidFill>
              <a:srgbClr val="BF4200"/>
            </a:solidFill>
            <a:ln w="9525" cap="flat">
              <a:noFill/>
              <a:prstDash val="solid"/>
              <a:miter/>
            </a:ln>
          </p:spPr>
          <p:txBody>
            <a:bodyPr rtlCol="0" anchor="ctr"/>
            <a:lstStyle/>
            <a:p>
              <a:endParaRPr lang="zh-CN" altLang="en-US"/>
            </a:p>
          </p:txBody>
        </p:sp>
        <p:sp>
          <p:nvSpPr>
            <p:cNvPr id="750" name="îslïḓè">
              <a:extLst>
                <a:ext uri="{FF2B5EF4-FFF2-40B4-BE49-F238E27FC236}">
                  <a16:creationId xmlns:a16="http://schemas.microsoft.com/office/drawing/2014/main" id="{E3DEC783-FAC2-4F35-9CB8-20D881237EF0}"/>
                </a:ext>
              </a:extLst>
            </p:cNvPr>
            <p:cNvSpPr/>
            <p:nvPr/>
          </p:nvSpPr>
          <p:spPr>
            <a:xfrm>
              <a:off x="5725945" y="5193739"/>
              <a:ext cx="109740" cy="63445"/>
            </a:xfrm>
            <a:custGeom>
              <a:avLst/>
              <a:gdLst>
                <a:gd name="connsiteX0" fmla="*/ -336 w 36052"/>
                <a:gd name="connsiteY0" fmla="*/ 10227 h 20843"/>
                <a:gd name="connsiteX1" fmla="*/ 1188 w 36052"/>
                <a:gd name="connsiteY1" fmla="*/ 12513 h 20843"/>
                <a:gd name="connsiteX2" fmla="*/ 3569 w 36052"/>
                <a:gd name="connsiteY2" fmla="*/ 13846 h 20843"/>
                <a:gd name="connsiteX3" fmla="*/ 13856 w 36052"/>
                <a:gd name="connsiteY3" fmla="*/ 19752 h 20843"/>
                <a:gd name="connsiteX4" fmla="*/ 21476 w 36052"/>
                <a:gd name="connsiteY4" fmla="*/ 19752 h 20843"/>
                <a:gd name="connsiteX5" fmla="*/ 31763 w 36052"/>
                <a:gd name="connsiteY5" fmla="*/ 13846 h 20843"/>
                <a:gd name="connsiteX6" fmla="*/ 34144 w 36052"/>
                <a:gd name="connsiteY6" fmla="*/ 12513 h 20843"/>
                <a:gd name="connsiteX7" fmla="*/ 35573 w 36052"/>
                <a:gd name="connsiteY7" fmla="*/ 9465 h 20843"/>
                <a:gd name="connsiteX8" fmla="*/ 34144 w 36052"/>
                <a:gd name="connsiteY8" fmla="*/ 8036 h 20843"/>
                <a:gd name="connsiteX9" fmla="*/ 21476 w 36052"/>
                <a:gd name="connsiteY9" fmla="*/ 702 h 20843"/>
                <a:gd name="connsiteX10" fmla="*/ 13856 w 36052"/>
                <a:gd name="connsiteY10" fmla="*/ 702 h 20843"/>
                <a:gd name="connsiteX11" fmla="*/ 1188 w 36052"/>
                <a:gd name="connsiteY11" fmla="*/ 8036 h 20843"/>
                <a:gd name="connsiteX12" fmla="*/ -336 w 36052"/>
                <a:gd name="connsiteY12" fmla="*/ 10227 h 20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3">
                  <a:moveTo>
                    <a:pt x="-336" y="10227"/>
                  </a:moveTo>
                  <a:cubicBezTo>
                    <a:pt x="-269" y="11208"/>
                    <a:pt x="311" y="12075"/>
                    <a:pt x="1188" y="12513"/>
                  </a:cubicBezTo>
                  <a:lnTo>
                    <a:pt x="3569" y="13846"/>
                  </a:lnTo>
                  <a:lnTo>
                    <a:pt x="13856" y="19752"/>
                  </a:lnTo>
                  <a:cubicBezTo>
                    <a:pt x="16247" y="20990"/>
                    <a:pt x="19085" y="20990"/>
                    <a:pt x="21476" y="19752"/>
                  </a:cubicBezTo>
                  <a:lnTo>
                    <a:pt x="31763" y="13846"/>
                  </a:lnTo>
                  <a:lnTo>
                    <a:pt x="34144" y="12513"/>
                  </a:lnTo>
                  <a:cubicBezTo>
                    <a:pt x="35382" y="12065"/>
                    <a:pt x="36021" y="10694"/>
                    <a:pt x="35573" y="9465"/>
                  </a:cubicBezTo>
                  <a:cubicBezTo>
                    <a:pt x="35325" y="8798"/>
                    <a:pt x="34811" y="8274"/>
                    <a:pt x="34144"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751" name="ïṧ1iďê">
              <a:extLst>
                <a:ext uri="{FF2B5EF4-FFF2-40B4-BE49-F238E27FC236}">
                  <a16:creationId xmlns:a16="http://schemas.microsoft.com/office/drawing/2014/main" id="{196062B8-5CC3-414E-BB3D-236296D19742}"/>
                </a:ext>
              </a:extLst>
            </p:cNvPr>
            <p:cNvSpPr/>
            <p:nvPr/>
          </p:nvSpPr>
          <p:spPr>
            <a:xfrm>
              <a:off x="5727829" y="5195791"/>
              <a:ext cx="105898" cy="61101"/>
            </a:xfrm>
            <a:custGeom>
              <a:avLst/>
              <a:gdLst>
                <a:gd name="connsiteX0" fmla="*/ 1235 w 34790"/>
                <a:gd name="connsiteY0" fmla="*/ 12029 h 20073"/>
                <a:gd name="connsiteX1" fmla="*/ 13332 w 34790"/>
                <a:gd name="connsiteY1" fmla="*/ 18983 h 20073"/>
                <a:gd name="connsiteX2" fmla="*/ 20761 w 34790"/>
                <a:gd name="connsiteY2" fmla="*/ 18983 h 20073"/>
                <a:gd name="connsiteX3" fmla="*/ 32953 w 34790"/>
                <a:gd name="connsiteY3" fmla="*/ 12029 h 20073"/>
                <a:gd name="connsiteX4" fmla="*/ 32953 w 34790"/>
                <a:gd name="connsiteY4" fmla="*/ 7743 h 20073"/>
                <a:gd name="connsiteX5" fmla="*/ 20761 w 34790"/>
                <a:gd name="connsiteY5" fmla="*/ 695 h 20073"/>
                <a:gd name="connsiteX6" fmla="*/ 13332 w 34790"/>
                <a:gd name="connsiteY6" fmla="*/ 695 h 20073"/>
                <a:gd name="connsiteX7" fmla="*/ 1235 w 34790"/>
                <a:gd name="connsiteY7" fmla="*/ 7743 h 20073"/>
                <a:gd name="connsiteX8" fmla="*/ 1235 w 34790"/>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3">
                  <a:moveTo>
                    <a:pt x="1235" y="12029"/>
                  </a:moveTo>
                  <a:lnTo>
                    <a:pt x="13332" y="18983"/>
                  </a:lnTo>
                  <a:cubicBezTo>
                    <a:pt x="15656" y="20221"/>
                    <a:pt x="18437" y="20221"/>
                    <a:pt x="20761" y="18983"/>
                  </a:cubicBezTo>
                  <a:lnTo>
                    <a:pt x="32953" y="12029"/>
                  </a:lnTo>
                  <a:cubicBezTo>
                    <a:pt x="34954" y="10791"/>
                    <a:pt x="34954" y="8886"/>
                    <a:pt x="32953" y="7743"/>
                  </a:cubicBezTo>
                  <a:lnTo>
                    <a:pt x="20761" y="695"/>
                  </a:lnTo>
                  <a:cubicBezTo>
                    <a:pt x="18418" y="-448"/>
                    <a:pt x="15675" y="-448"/>
                    <a:pt x="13332" y="695"/>
                  </a:cubicBezTo>
                  <a:lnTo>
                    <a:pt x="1235" y="7743"/>
                  </a:lnTo>
                  <a:cubicBezTo>
                    <a:pt x="-860" y="8600"/>
                    <a:pt x="-860" y="10505"/>
                    <a:pt x="1235" y="12029"/>
                  </a:cubicBezTo>
                  <a:close/>
                </a:path>
              </a:pathLst>
            </a:custGeom>
            <a:solidFill>
              <a:srgbClr val="D1D9E8"/>
            </a:solidFill>
            <a:ln w="9525" cap="flat">
              <a:noFill/>
              <a:prstDash val="solid"/>
              <a:miter/>
            </a:ln>
          </p:spPr>
          <p:txBody>
            <a:bodyPr rtlCol="0" anchor="ctr"/>
            <a:lstStyle/>
            <a:p>
              <a:endParaRPr lang="zh-CN" altLang="en-US"/>
            </a:p>
          </p:txBody>
        </p:sp>
        <p:sp>
          <p:nvSpPr>
            <p:cNvPr id="752" name="îṩľiḑé">
              <a:extLst>
                <a:ext uri="{FF2B5EF4-FFF2-40B4-BE49-F238E27FC236}">
                  <a16:creationId xmlns:a16="http://schemas.microsoft.com/office/drawing/2014/main" id="{D84F20E0-0431-4D53-8BD4-8134669C4253}"/>
                </a:ext>
              </a:extLst>
            </p:cNvPr>
            <p:cNvSpPr/>
            <p:nvPr/>
          </p:nvSpPr>
          <p:spPr>
            <a:xfrm>
              <a:off x="5725945" y="5225363"/>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4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4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20"/>
                    <a:pt x="35582" y="7953"/>
                    <a:pt x="35668" y="6981"/>
                  </a:cubicBezTo>
                  <a:lnTo>
                    <a:pt x="35668" y="-163"/>
                  </a:lnTo>
                  <a:cubicBezTo>
                    <a:pt x="35602" y="818"/>
                    <a:pt x="35021" y="1685"/>
                    <a:pt x="34144" y="2124"/>
                  </a:cubicBezTo>
                  <a:lnTo>
                    <a:pt x="31763" y="3457"/>
                  </a:lnTo>
                  <a:lnTo>
                    <a:pt x="21476" y="9362"/>
                  </a:lnTo>
                  <a:cubicBezTo>
                    <a:pt x="19085" y="10601"/>
                    <a:pt x="16247" y="10601"/>
                    <a:pt x="13856" y="9362"/>
                  </a:cubicBezTo>
                  <a:lnTo>
                    <a:pt x="3569" y="3457"/>
                  </a:lnTo>
                  <a:lnTo>
                    <a:pt x="1188" y="2124"/>
                  </a:lnTo>
                  <a:cubicBezTo>
                    <a:pt x="311"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53" name="îṡḷîḍê">
              <a:extLst>
                <a:ext uri="{FF2B5EF4-FFF2-40B4-BE49-F238E27FC236}">
                  <a16:creationId xmlns:a16="http://schemas.microsoft.com/office/drawing/2014/main" id="{39B618A4-1EBC-4C34-8A77-911134B0F03A}"/>
                </a:ext>
              </a:extLst>
            </p:cNvPr>
            <p:cNvSpPr/>
            <p:nvPr/>
          </p:nvSpPr>
          <p:spPr>
            <a:xfrm>
              <a:off x="5803358" y="5238388"/>
              <a:ext cx="109447" cy="63445"/>
            </a:xfrm>
            <a:custGeom>
              <a:avLst/>
              <a:gdLst>
                <a:gd name="connsiteX0" fmla="*/ -336 w 35956"/>
                <a:gd name="connsiteY0" fmla="*/ 10227 h 20843"/>
                <a:gd name="connsiteX1" fmla="*/ 1188 w 35956"/>
                <a:gd name="connsiteY1" fmla="*/ 12513 h 20843"/>
                <a:gd name="connsiteX2" fmla="*/ 3569 w 35956"/>
                <a:gd name="connsiteY2" fmla="*/ 13846 h 20843"/>
                <a:gd name="connsiteX3" fmla="*/ 13856 w 35956"/>
                <a:gd name="connsiteY3" fmla="*/ 19752 h 20843"/>
                <a:gd name="connsiteX4" fmla="*/ 21476 w 35956"/>
                <a:gd name="connsiteY4" fmla="*/ 19752 h 20843"/>
                <a:gd name="connsiteX5" fmla="*/ 31763 w 35956"/>
                <a:gd name="connsiteY5" fmla="*/ 13846 h 20843"/>
                <a:gd name="connsiteX6" fmla="*/ 34049 w 35956"/>
                <a:gd name="connsiteY6" fmla="*/ 12513 h 20843"/>
                <a:gd name="connsiteX7" fmla="*/ 35477 w 35956"/>
                <a:gd name="connsiteY7" fmla="*/ 9465 h 20843"/>
                <a:gd name="connsiteX8" fmla="*/ 34049 w 35956"/>
                <a:gd name="connsiteY8" fmla="*/ 8036 h 20843"/>
                <a:gd name="connsiteX9" fmla="*/ 21476 w 35956"/>
                <a:gd name="connsiteY9" fmla="*/ 702 h 20843"/>
                <a:gd name="connsiteX10" fmla="*/ 13856 w 35956"/>
                <a:gd name="connsiteY10" fmla="*/ 702 h 20843"/>
                <a:gd name="connsiteX11" fmla="*/ 1188 w 35956"/>
                <a:gd name="connsiteY11" fmla="*/ 8036 h 20843"/>
                <a:gd name="connsiteX12" fmla="*/ -336 w 35956"/>
                <a:gd name="connsiteY12" fmla="*/ 10227 h 20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956" h="20843">
                  <a:moveTo>
                    <a:pt x="-336" y="10227"/>
                  </a:moveTo>
                  <a:cubicBezTo>
                    <a:pt x="-270" y="11208"/>
                    <a:pt x="311" y="12075"/>
                    <a:pt x="1188" y="12513"/>
                  </a:cubicBezTo>
                  <a:lnTo>
                    <a:pt x="3569" y="13846"/>
                  </a:lnTo>
                  <a:lnTo>
                    <a:pt x="13856" y="19752"/>
                  </a:lnTo>
                  <a:cubicBezTo>
                    <a:pt x="16247" y="20990"/>
                    <a:pt x="19085" y="20990"/>
                    <a:pt x="21476" y="19752"/>
                  </a:cubicBezTo>
                  <a:lnTo>
                    <a:pt x="31763" y="13846"/>
                  </a:lnTo>
                  <a:lnTo>
                    <a:pt x="34049" y="12513"/>
                  </a:lnTo>
                  <a:cubicBezTo>
                    <a:pt x="35287" y="12065"/>
                    <a:pt x="35925" y="10694"/>
                    <a:pt x="35477" y="9465"/>
                  </a:cubicBezTo>
                  <a:cubicBezTo>
                    <a:pt x="35230" y="8798"/>
                    <a:pt x="34716" y="8274"/>
                    <a:pt x="34049"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754" name="ïṥ1ïďè">
              <a:extLst>
                <a:ext uri="{FF2B5EF4-FFF2-40B4-BE49-F238E27FC236}">
                  <a16:creationId xmlns:a16="http://schemas.microsoft.com/office/drawing/2014/main" id="{66E77DE4-7691-4EC9-AAFB-FFC6EFB852B2}"/>
                </a:ext>
              </a:extLst>
            </p:cNvPr>
            <p:cNvSpPr/>
            <p:nvPr/>
          </p:nvSpPr>
          <p:spPr>
            <a:xfrm>
              <a:off x="5805170" y="5239572"/>
              <a:ext cx="105898" cy="61101"/>
            </a:xfrm>
            <a:custGeom>
              <a:avLst/>
              <a:gdLst>
                <a:gd name="connsiteX0" fmla="*/ 1164 w 34790"/>
                <a:gd name="connsiteY0" fmla="*/ 12029 h 20073"/>
                <a:gd name="connsiteX1" fmla="*/ 13356 w 34790"/>
                <a:gd name="connsiteY1" fmla="*/ 18982 h 20073"/>
                <a:gd name="connsiteX2" fmla="*/ 20785 w 34790"/>
                <a:gd name="connsiteY2" fmla="*/ 18982 h 20073"/>
                <a:gd name="connsiteX3" fmla="*/ 32882 w 34790"/>
                <a:gd name="connsiteY3" fmla="*/ 12029 h 20073"/>
                <a:gd name="connsiteX4" fmla="*/ 32882 w 34790"/>
                <a:gd name="connsiteY4" fmla="*/ 7743 h 20073"/>
                <a:gd name="connsiteX5" fmla="*/ 20785 w 34790"/>
                <a:gd name="connsiteY5" fmla="*/ 695 h 20073"/>
                <a:gd name="connsiteX6" fmla="*/ 13356 w 34790"/>
                <a:gd name="connsiteY6" fmla="*/ 695 h 20073"/>
                <a:gd name="connsiteX7" fmla="*/ 1164 w 34790"/>
                <a:gd name="connsiteY7" fmla="*/ 7743 h 20073"/>
                <a:gd name="connsiteX8" fmla="*/ 1164 w 34790"/>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3">
                  <a:moveTo>
                    <a:pt x="1164" y="12029"/>
                  </a:moveTo>
                  <a:lnTo>
                    <a:pt x="13356" y="18982"/>
                  </a:lnTo>
                  <a:cubicBezTo>
                    <a:pt x="15680" y="20221"/>
                    <a:pt x="18461" y="20221"/>
                    <a:pt x="20785" y="18982"/>
                  </a:cubicBezTo>
                  <a:lnTo>
                    <a:pt x="32882" y="12029"/>
                  </a:lnTo>
                  <a:cubicBezTo>
                    <a:pt x="34978" y="10791"/>
                    <a:pt x="34978" y="8886"/>
                    <a:pt x="32882" y="7743"/>
                  </a:cubicBezTo>
                  <a:lnTo>
                    <a:pt x="20785" y="695"/>
                  </a:lnTo>
                  <a:cubicBezTo>
                    <a:pt x="18442" y="-448"/>
                    <a:pt x="15699" y="-448"/>
                    <a:pt x="13356" y="695"/>
                  </a:cubicBezTo>
                  <a:lnTo>
                    <a:pt x="1164" y="7743"/>
                  </a:lnTo>
                  <a:cubicBezTo>
                    <a:pt x="-836" y="8886"/>
                    <a:pt x="-836" y="10791"/>
                    <a:pt x="1164" y="12029"/>
                  </a:cubicBezTo>
                  <a:close/>
                </a:path>
              </a:pathLst>
            </a:custGeom>
            <a:solidFill>
              <a:srgbClr val="D1D9E8"/>
            </a:solidFill>
            <a:ln w="9525" cap="flat">
              <a:noFill/>
              <a:prstDash val="solid"/>
              <a:miter/>
            </a:ln>
          </p:spPr>
          <p:txBody>
            <a:bodyPr rtlCol="0" anchor="ctr"/>
            <a:lstStyle/>
            <a:p>
              <a:endParaRPr lang="zh-CN" altLang="en-US"/>
            </a:p>
          </p:txBody>
        </p:sp>
        <p:sp>
          <p:nvSpPr>
            <p:cNvPr id="755" name="îsļïḑé">
              <a:extLst>
                <a:ext uri="{FF2B5EF4-FFF2-40B4-BE49-F238E27FC236}">
                  <a16:creationId xmlns:a16="http://schemas.microsoft.com/office/drawing/2014/main" id="{CD9273CC-D65A-40AC-A298-37CB0AC1F338}"/>
                </a:ext>
              </a:extLst>
            </p:cNvPr>
            <p:cNvSpPr/>
            <p:nvPr/>
          </p:nvSpPr>
          <p:spPr>
            <a:xfrm>
              <a:off x="5803358" y="5268854"/>
              <a:ext cx="109594" cy="53804"/>
            </a:xfrm>
            <a:custGeom>
              <a:avLst/>
              <a:gdLst>
                <a:gd name="connsiteX0" fmla="*/ -336 w 36004"/>
                <a:gd name="connsiteY0" fmla="*/ 218 h 17676"/>
                <a:gd name="connsiteX1" fmla="*/ -336 w 36004"/>
                <a:gd name="connsiteY1" fmla="*/ 7076 h 17676"/>
                <a:gd name="connsiteX2" fmla="*/ 1188 w 36004"/>
                <a:gd name="connsiteY2" fmla="*/ 9267 h 17676"/>
                <a:gd name="connsiteX3" fmla="*/ 13856 w 36004"/>
                <a:gd name="connsiteY3" fmla="*/ 16506 h 17676"/>
                <a:gd name="connsiteX4" fmla="*/ 21476 w 36004"/>
                <a:gd name="connsiteY4" fmla="*/ 16506 h 17676"/>
                <a:gd name="connsiteX5" fmla="*/ 34049 w 36004"/>
                <a:gd name="connsiteY5" fmla="*/ 9267 h 17676"/>
                <a:gd name="connsiteX6" fmla="*/ 35668 w 36004"/>
                <a:gd name="connsiteY6" fmla="*/ 6981 h 17676"/>
                <a:gd name="connsiteX7" fmla="*/ 35668 w 36004"/>
                <a:gd name="connsiteY7" fmla="*/ -163 h 17676"/>
                <a:gd name="connsiteX8" fmla="*/ 34049 w 36004"/>
                <a:gd name="connsiteY8" fmla="*/ 2124 h 17676"/>
                <a:gd name="connsiteX9" fmla="*/ 31763 w 36004"/>
                <a:gd name="connsiteY9" fmla="*/ 3457 h 17676"/>
                <a:gd name="connsiteX10" fmla="*/ 21476 w 36004"/>
                <a:gd name="connsiteY10" fmla="*/ 9362 h 17676"/>
                <a:gd name="connsiteX11" fmla="*/ 13856 w 36004"/>
                <a:gd name="connsiteY11" fmla="*/ 9362 h 17676"/>
                <a:gd name="connsiteX12" fmla="*/ 3569 w 36004"/>
                <a:gd name="connsiteY12" fmla="*/ 3457 h 17676"/>
                <a:gd name="connsiteX13" fmla="*/ 1188 w 36004"/>
                <a:gd name="connsiteY13" fmla="*/ 2124 h 17676"/>
                <a:gd name="connsiteX14" fmla="*/ -336 w 36004"/>
                <a:gd name="connsiteY14" fmla="*/ 218 h 17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6">
                  <a:moveTo>
                    <a:pt x="-336" y="218"/>
                  </a:moveTo>
                  <a:lnTo>
                    <a:pt x="-336" y="7076"/>
                  </a:lnTo>
                  <a:cubicBezTo>
                    <a:pt x="-279" y="8029"/>
                    <a:pt x="311" y="8877"/>
                    <a:pt x="1188" y="9267"/>
                  </a:cubicBezTo>
                  <a:lnTo>
                    <a:pt x="13856" y="16506"/>
                  </a:lnTo>
                  <a:cubicBezTo>
                    <a:pt x="16218" y="17849"/>
                    <a:pt x="19114" y="17849"/>
                    <a:pt x="21476" y="16506"/>
                  </a:cubicBezTo>
                  <a:lnTo>
                    <a:pt x="34049" y="9267"/>
                  </a:lnTo>
                  <a:cubicBezTo>
                    <a:pt x="34992" y="8896"/>
                    <a:pt x="35630" y="8000"/>
                    <a:pt x="35668" y="6981"/>
                  </a:cubicBezTo>
                  <a:lnTo>
                    <a:pt x="35668" y="-163"/>
                  </a:lnTo>
                  <a:cubicBezTo>
                    <a:pt x="35601" y="847"/>
                    <a:pt x="34973" y="1733"/>
                    <a:pt x="34049" y="2124"/>
                  </a:cubicBezTo>
                  <a:lnTo>
                    <a:pt x="31763" y="3457"/>
                  </a:lnTo>
                  <a:lnTo>
                    <a:pt x="21476" y="9362"/>
                  </a:lnTo>
                  <a:cubicBezTo>
                    <a:pt x="19085" y="10601"/>
                    <a:pt x="16247" y="10601"/>
                    <a:pt x="13856" y="9362"/>
                  </a:cubicBezTo>
                  <a:lnTo>
                    <a:pt x="3569" y="3457"/>
                  </a:lnTo>
                  <a:lnTo>
                    <a:pt x="1188" y="2124"/>
                  </a:lnTo>
                  <a:cubicBezTo>
                    <a:pt x="416" y="1761"/>
                    <a:pt x="-156" y="1057"/>
                    <a:pt x="-336" y="218"/>
                  </a:cubicBezTo>
                  <a:close/>
                </a:path>
              </a:pathLst>
            </a:custGeom>
            <a:solidFill>
              <a:srgbClr val="BF4200"/>
            </a:solidFill>
            <a:ln w="9525" cap="flat">
              <a:noFill/>
              <a:prstDash val="solid"/>
              <a:miter/>
            </a:ln>
          </p:spPr>
          <p:txBody>
            <a:bodyPr rtlCol="0" anchor="ctr"/>
            <a:lstStyle/>
            <a:p>
              <a:endParaRPr lang="zh-CN" altLang="en-US"/>
            </a:p>
          </p:txBody>
        </p:sp>
        <p:sp>
          <p:nvSpPr>
            <p:cNvPr id="756" name="ïṥ1îḍè">
              <a:extLst>
                <a:ext uri="{FF2B5EF4-FFF2-40B4-BE49-F238E27FC236}">
                  <a16:creationId xmlns:a16="http://schemas.microsoft.com/office/drawing/2014/main" id="{292D7253-DAD1-4D7B-9FBA-5238B7AAB45A}"/>
                </a:ext>
              </a:extLst>
            </p:cNvPr>
            <p:cNvSpPr/>
            <p:nvPr/>
          </p:nvSpPr>
          <p:spPr>
            <a:xfrm>
              <a:off x="5880190" y="5283039"/>
              <a:ext cx="109740" cy="63445"/>
            </a:xfrm>
            <a:custGeom>
              <a:avLst/>
              <a:gdLst>
                <a:gd name="connsiteX0" fmla="*/ -336 w 36052"/>
                <a:gd name="connsiteY0" fmla="*/ 10227 h 20843"/>
                <a:gd name="connsiteX1" fmla="*/ 1188 w 36052"/>
                <a:gd name="connsiteY1" fmla="*/ 12513 h 20843"/>
                <a:gd name="connsiteX2" fmla="*/ 3569 w 36052"/>
                <a:gd name="connsiteY2" fmla="*/ 13846 h 20843"/>
                <a:gd name="connsiteX3" fmla="*/ 13856 w 36052"/>
                <a:gd name="connsiteY3" fmla="*/ 19752 h 20843"/>
                <a:gd name="connsiteX4" fmla="*/ 21476 w 36052"/>
                <a:gd name="connsiteY4" fmla="*/ 19752 h 20843"/>
                <a:gd name="connsiteX5" fmla="*/ 31763 w 36052"/>
                <a:gd name="connsiteY5" fmla="*/ 13846 h 20843"/>
                <a:gd name="connsiteX6" fmla="*/ 34144 w 36052"/>
                <a:gd name="connsiteY6" fmla="*/ 12513 h 20843"/>
                <a:gd name="connsiteX7" fmla="*/ 35573 w 36052"/>
                <a:gd name="connsiteY7" fmla="*/ 9465 h 20843"/>
                <a:gd name="connsiteX8" fmla="*/ 34144 w 36052"/>
                <a:gd name="connsiteY8" fmla="*/ 8036 h 20843"/>
                <a:gd name="connsiteX9" fmla="*/ 21476 w 36052"/>
                <a:gd name="connsiteY9" fmla="*/ 702 h 20843"/>
                <a:gd name="connsiteX10" fmla="*/ 13856 w 36052"/>
                <a:gd name="connsiteY10" fmla="*/ 702 h 20843"/>
                <a:gd name="connsiteX11" fmla="*/ 1188 w 36052"/>
                <a:gd name="connsiteY11" fmla="*/ 8036 h 20843"/>
                <a:gd name="connsiteX12" fmla="*/ -336 w 36052"/>
                <a:gd name="connsiteY12" fmla="*/ 10227 h 20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3">
                  <a:moveTo>
                    <a:pt x="-336" y="10227"/>
                  </a:moveTo>
                  <a:cubicBezTo>
                    <a:pt x="-270" y="11208"/>
                    <a:pt x="311" y="12075"/>
                    <a:pt x="1188" y="12513"/>
                  </a:cubicBezTo>
                  <a:lnTo>
                    <a:pt x="3569" y="13846"/>
                  </a:lnTo>
                  <a:lnTo>
                    <a:pt x="13856" y="19752"/>
                  </a:lnTo>
                  <a:cubicBezTo>
                    <a:pt x="16247" y="20990"/>
                    <a:pt x="19085" y="20990"/>
                    <a:pt x="21476" y="19752"/>
                  </a:cubicBezTo>
                  <a:lnTo>
                    <a:pt x="31763" y="13846"/>
                  </a:lnTo>
                  <a:lnTo>
                    <a:pt x="34144" y="12513"/>
                  </a:lnTo>
                  <a:cubicBezTo>
                    <a:pt x="35382" y="12065"/>
                    <a:pt x="36020" y="10693"/>
                    <a:pt x="35573" y="9465"/>
                  </a:cubicBezTo>
                  <a:cubicBezTo>
                    <a:pt x="35325" y="8798"/>
                    <a:pt x="34811" y="8274"/>
                    <a:pt x="34144"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757" name="iṩḷîďé">
              <a:extLst>
                <a:ext uri="{FF2B5EF4-FFF2-40B4-BE49-F238E27FC236}">
                  <a16:creationId xmlns:a16="http://schemas.microsoft.com/office/drawing/2014/main" id="{2BDA689A-97F4-4FBB-9FC6-1F359020D99D}"/>
                </a:ext>
              </a:extLst>
            </p:cNvPr>
            <p:cNvSpPr/>
            <p:nvPr/>
          </p:nvSpPr>
          <p:spPr>
            <a:xfrm>
              <a:off x="5881931" y="5284220"/>
              <a:ext cx="106550" cy="61104"/>
            </a:xfrm>
            <a:custGeom>
              <a:avLst/>
              <a:gdLst>
                <a:gd name="connsiteX0" fmla="*/ 1378 w 35004"/>
                <a:gd name="connsiteY0" fmla="*/ 12029 h 20074"/>
                <a:gd name="connsiteX1" fmla="*/ 13570 w 35004"/>
                <a:gd name="connsiteY1" fmla="*/ 18983 h 20074"/>
                <a:gd name="connsiteX2" fmla="*/ 21000 w 35004"/>
                <a:gd name="connsiteY2" fmla="*/ 18983 h 20074"/>
                <a:gd name="connsiteX3" fmla="*/ 33097 w 35004"/>
                <a:gd name="connsiteY3" fmla="*/ 12029 h 20074"/>
                <a:gd name="connsiteX4" fmla="*/ 33097 w 35004"/>
                <a:gd name="connsiteY4" fmla="*/ 7743 h 20074"/>
                <a:gd name="connsiteX5" fmla="*/ 21000 w 35004"/>
                <a:gd name="connsiteY5" fmla="*/ 695 h 20074"/>
                <a:gd name="connsiteX6" fmla="*/ 13570 w 35004"/>
                <a:gd name="connsiteY6" fmla="*/ 695 h 20074"/>
                <a:gd name="connsiteX7" fmla="*/ 1378 w 35004"/>
                <a:gd name="connsiteY7" fmla="*/ 7743 h 20074"/>
                <a:gd name="connsiteX8" fmla="*/ 1378 w 35004"/>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004" h="20074">
                  <a:moveTo>
                    <a:pt x="1378" y="12029"/>
                  </a:moveTo>
                  <a:lnTo>
                    <a:pt x="13570" y="18983"/>
                  </a:lnTo>
                  <a:cubicBezTo>
                    <a:pt x="15894" y="20221"/>
                    <a:pt x="18676" y="20221"/>
                    <a:pt x="21000" y="18983"/>
                  </a:cubicBezTo>
                  <a:lnTo>
                    <a:pt x="33097" y="12029"/>
                  </a:lnTo>
                  <a:cubicBezTo>
                    <a:pt x="35192" y="10791"/>
                    <a:pt x="35192" y="8886"/>
                    <a:pt x="33097" y="7743"/>
                  </a:cubicBezTo>
                  <a:lnTo>
                    <a:pt x="21000" y="695"/>
                  </a:lnTo>
                  <a:cubicBezTo>
                    <a:pt x="18656" y="-448"/>
                    <a:pt x="15913" y="-448"/>
                    <a:pt x="13570" y="695"/>
                  </a:cubicBezTo>
                  <a:lnTo>
                    <a:pt x="1378" y="7743"/>
                  </a:lnTo>
                  <a:cubicBezTo>
                    <a:pt x="-908" y="8886"/>
                    <a:pt x="-908" y="10791"/>
                    <a:pt x="1378" y="12029"/>
                  </a:cubicBezTo>
                  <a:close/>
                </a:path>
              </a:pathLst>
            </a:custGeom>
            <a:solidFill>
              <a:srgbClr val="D1D9E8"/>
            </a:solidFill>
            <a:ln w="9525" cap="flat">
              <a:noFill/>
              <a:prstDash val="solid"/>
              <a:miter/>
            </a:ln>
          </p:spPr>
          <p:txBody>
            <a:bodyPr rtlCol="0" anchor="ctr"/>
            <a:lstStyle/>
            <a:p>
              <a:endParaRPr lang="zh-CN" altLang="en-US"/>
            </a:p>
          </p:txBody>
        </p:sp>
        <p:sp>
          <p:nvSpPr>
            <p:cNvPr id="758" name="íŝḷíďé">
              <a:extLst>
                <a:ext uri="{FF2B5EF4-FFF2-40B4-BE49-F238E27FC236}">
                  <a16:creationId xmlns:a16="http://schemas.microsoft.com/office/drawing/2014/main" id="{0672DC44-DFB5-4EE6-A7DC-62CEDDA27E7A}"/>
                </a:ext>
              </a:extLst>
            </p:cNvPr>
            <p:cNvSpPr/>
            <p:nvPr/>
          </p:nvSpPr>
          <p:spPr>
            <a:xfrm>
              <a:off x="5880190" y="5314662"/>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3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3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2" y="7953"/>
                    <a:pt x="35668" y="6981"/>
                  </a:cubicBezTo>
                  <a:lnTo>
                    <a:pt x="35668" y="-163"/>
                  </a:lnTo>
                  <a:cubicBezTo>
                    <a:pt x="35602" y="818"/>
                    <a:pt x="35021" y="1685"/>
                    <a:pt x="34144" y="2123"/>
                  </a:cubicBezTo>
                  <a:lnTo>
                    <a:pt x="31763" y="3457"/>
                  </a:lnTo>
                  <a:lnTo>
                    <a:pt x="21476" y="9362"/>
                  </a:lnTo>
                  <a:cubicBezTo>
                    <a:pt x="19085" y="10601"/>
                    <a:pt x="16247" y="10601"/>
                    <a:pt x="13856" y="9362"/>
                  </a:cubicBezTo>
                  <a:lnTo>
                    <a:pt x="3569" y="3457"/>
                  </a:lnTo>
                  <a:lnTo>
                    <a:pt x="1188"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59" name="ïsḷíde">
              <a:extLst>
                <a:ext uri="{FF2B5EF4-FFF2-40B4-BE49-F238E27FC236}">
                  <a16:creationId xmlns:a16="http://schemas.microsoft.com/office/drawing/2014/main" id="{ED7A2CB4-55DE-4FA9-B8AB-57A3CF3AEC20}"/>
                </a:ext>
              </a:extLst>
            </p:cNvPr>
            <p:cNvSpPr/>
            <p:nvPr/>
          </p:nvSpPr>
          <p:spPr>
            <a:xfrm>
              <a:off x="5957893" y="5327492"/>
              <a:ext cx="109594" cy="63639"/>
            </a:xfrm>
            <a:custGeom>
              <a:avLst/>
              <a:gdLst>
                <a:gd name="connsiteX0" fmla="*/ -336 w 36004"/>
                <a:gd name="connsiteY0" fmla="*/ 10291 h 20907"/>
                <a:gd name="connsiteX1" fmla="*/ 1188 w 36004"/>
                <a:gd name="connsiteY1" fmla="*/ 12577 h 20907"/>
                <a:gd name="connsiteX2" fmla="*/ 3569 w 36004"/>
                <a:gd name="connsiteY2" fmla="*/ 13910 h 20907"/>
                <a:gd name="connsiteX3" fmla="*/ 13856 w 36004"/>
                <a:gd name="connsiteY3" fmla="*/ 19816 h 20907"/>
                <a:gd name="connsiteX4" fmla="*/ 21476 w 36004"/>
                <a:gd name="connsiteY4" fmla="*/ 19816 h 20907"/>
                <a:gd name="connsiteX5" fmla="*/ 31763 w 36004"/>
                <a:gd name="connsiteY5" fmla="*/ 13910 h 20907"/>
                <a:gd name="connsiteX6" fmla="*/ 34144 w 36004"/>
                <a:gd name="connsiteY6" fmla="*/ 12577 h 20907"/>
                <a:gd name="connsiteX7" fmla="*/ 35668 w 36004"/>
                <a:gd name="connsiteY7" fmla="*/ 10291 h 20907"/>
                <a:gd name="connsiteX8" fmla="*/ 34144 w 36004"/>
                <a:gd name="connsiteY8" fmla="*/ 8100 h 20907"/>
                <a:gd name="connsiteX9" fmla="*/ 21476 w 36004"/>
                <a:gd name="connsiteY9" fmla="*/ 766 h 20907"/>
                <a:gd name="connsiteX10" fmla="*/ 13856 w 36004"/>
                <a:gd name="connsiteY10" fmla="*/ 766 h 20907"/>
                <a:gd name="connsiteX11" fmla="*/ 1188 w 36004"/>
                <a:gd name="connsiteY11" fmla="*/ 8100 h 20907"/>
                <a:gd name="connsiteX12" fmla="*/ -336 w 36004"/>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907">
                  <a:moveTo>
                    <a:pt x="-336" y="10291"/>
                  </a:moveTo>
                  <a:cubicBezTo>
                    <a:pt x="-269" y="11272"/>
                    <a:pt x="311" y="12139"/>
                    <a:pt x="1188" y="12577"/>
                  </a:cubicBezTo>
                  <a:lnTo>
                    <a:pt x="3569" y="13910"/>
                  </a:lnTo>
                  <a:lnTo>
                    <a:pt x="13856" y="19816"/>
                  </a:lnTo>
                  <a:cubicBezTo>
                    <a:pt x="16247" y="21054"/>
                    <a:pt x="19085" y="21054"/>
                    <a:pt x="21476" y="19816"/>
                  </a:cubicBezTo>
                  <a:lnTo>
                    <a:pt x="31763" y="13910"/>
                  </a:lnTo>
                  <a:lnTo>
                    <a:pt x="34144" y="12577"/>
                  </a:lnTo>
                  <a:cubicBezTo>
                    <a:pt x="35021" y="12139"/>
                    <a:pt x="35602" y="11272"/>
                    <a:pt x="35668" y="10291"/>
                  </a:cubicBezTo>
                  <a:cubicBezTo>
                    <a:pt x="35611" y="9339"/>
                    <a:pt x="35021" y="8491"/>
                    <a:pt x="34144" y="8100"/>
                  </a:cubicBezTo>
                  <a:lnTo>
                    <a:pt x="21476" y="766"/>
                  </a:lnTo>
                  <a:cubicBezTo>
                    <a:pt x="19085" y="-472"/>
                    <a:pt x="16247" y="-472"/>
                    <a:pt x="13856" y="766"/>
                  </a:cubicBezTo>
                  <a:lnTo>
                    <a:pt x="1188" y="8100"/>
                  </a:lnTo>
                  <a:cubicBezTo>
                    <a:pt x="311" y="8491"/>
                    <a:pt x="-279"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760" name="işḻîḋê">
              <a:extLst>
                <a:ext uri="{FF2B5EF4-FFF2-40B4-BE49-F238E27FC236}">
                  <a16:creationId xmlns:a16="http://schemas.microsoft.com/office/drawing/2014/main" id="{AEC3B2BC-6010-466F-9AEA-3F316BC7528C}"/>
                </a:ext>
              </a:extLst>
            </p:cNvPr>
            <p:cNvSpPr/>
            <p:nvPr/>
          </p:nvSpPr>
          <p:spPr>
            <a:xfrm>
              <a:off x="5959841" y="5328868"/>
              <a:ext cx="105761" cy="61104"/>
            </a:xfrm>
            <a:custGeom>
              <a:avLst/>
              <a:gdLst>
                <a:gd name="connsiteX0" fmla="*/ 1119 w 34745"/>
                <a:gd name="connsiteY0" fmla="*/ 12029 h 20074"/>
                <a:gd name="connsiteX1" fmla="*/ 13311 w 34745"/>
                <a:gd name="connsiteY1" fmla="*/ 18983 h 20074"/>
                <a:gd name="connsiteX2" fmla="*/ 20741 w 34745"/>
                <a:gd name="connsiteY2" fmla="*/ 18983 h 20074"/>
                <a:gd name="connsiteX3" fmla="*/ 32838 w 34745"/>
                <a:gd name="connsiteY3" fmla="*/ 12029 h 20074"/>
                <a:gd name="connsiteX4" fmla="*/ 32838 w 34745"/>
                <a:gd name="connsiteY4" fmla="*/ 7743 h 20074"/>
                <a:gd name="connsiteX5" fmla="*/ 21122 w 34745"/>
                <a:gd name="connsiteY5" fmla="*/ 695 h 20074"/>
                <a:gd name="connsiteX6" fmla="*/ 13692 w 34745"/>
                <a:gd name="connsiteY6" fmla="*/ 695 h 20074"/>
                <a:gd name="connsiteX7" fmla="*/ 1500 w 34745"/>
                <a:gd name="connsiteY7" fmla="*/ 7743 h 20074"/>
                <a:gd name="connsiteX8" fmla="*/ 1119 w 34745"/>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45" h="20074">
                  <a:moveTo>
                    <a:pt x="1119" y="12029"/>
                  </a:moveTo>
                  <a:lnTo>
                    <a:pt x="13311" y="18983"/>
                  </a:lnTo>
                  <a:cubicBezTo>
                    <a:pt x="15636" y="20221"/>
                    <a:pt x="18417" y="20221"/>
                    <a:pt x="20741" y="18983"/>
                  </a:cubicBezTo>
                  <a:lnTo>
                    <a:pt x="32838" y="12029"/>
                  </a:lnTo>
                  <a:cubicBezTo>
                    <a:pt x="34933" y="10791"/>
                    <a:pt x="34933" y="8886"/>
                    <a:pt x="32838" y="7743"/>
                  </a:cubicBezTo>
                  <a:lnTo>
                    <a:pt x="21122" y="695"/>
                  </a:lnTo>
                  <a:cubicBezTo>
                    <a:pt x="18779" y="-448"/>
                    <a:pt x="16036" y="-448"/>
                    <a:pt x="13692" y="695"/>
                  </a:cubicBezTo>
                  <a:lnTo>
                    <a:pt x="1500" y="7743"/>
                  </a:lnTo>
                  <a:cubicBezTo>
                    <a:pt x="-881" y="8886"/>
                    <a:pt x="-881" y="10791"/>
                    <a:pt x="1119" y="12029"/>
                  </a:cubicBezTo>
                  <a:close/>
                </a:path>
              </a:pathLst>
            </a:custGeom>
            <a:solidFill>
              <a:srgbClr val="D1D9E8"/>
            </a:solidFill>
            <a:ln w="9525" cap="flat">
              <a:noFill/>
              <a:prstDash val="solid"/>
              <a:miter/>
            </a:ln>
          </p:spPr>
          <p:txBody>
            <a:bodyPr rtlCol="0" anchor="ctr"/>
            <a:lstStyle/>
            <a:p>
              <a:endParaRPr lang="zh-CN" altLang="en-US"/>
            </a:p>
          </p:txBody>
        </p:sp>
        <p:sp>
          <p:nvSpPr>
            <p:cNvPr id="761" name="íṧḻïḍê">
              <a:extLst>
                <a:ext uri="{FF2B5EF4-FFF2-40B4-BE49-F238E27FC236}">
                  <a16:creationId xmlns:a16="http://schemas.microsoft.com/office/drawing/2014/main" id="{54C459E8-DDFA-43D9-A6BA-4F95DBF1A99A}"/>
                </a:ext>
              </a:extLst>
            </p:cNvPr>
            <p:cNvSpPr/>
            <p:nvPr/>
          </p:nvSpPr>
          <p:spPr>
            <a:xfrm>
              <a:off x="5957893" y="5359314"/>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4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4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20"/>
                    <a:pt x="35582" y="7953"/>
                    <a:pt x="35668" y="6981"/>
                  </a:cubicBezTo>
                  <a:lnTo>
                    <a:pt x="35668" y="-163"/>
                  </a:lnTo>
                  <a:cubicBezTo>
                    <a:pt x="35602" y="819"/>
                    <a:pt x="35021" y="1685"/>
                    <a:pt x="34144" y="2124"/>
                  </a:cubicBezTo>
                  <a:lnTo>
                    <a:pt x="31763" y="3457"/>
                  </a:lnTo>
                  <a:lnTo>
                    <a:pt x="21476" y="9362"/>
                  </a:lnTo>
                  <a:cubicBezTo>
                    <a:pt x="19085" y="10601"/>
                    <a:pt x="16247" y="10601"/>
                    <a:pt x="13856" y="9362"/>
                  </a:cubicBezTo>
                  <a:lnTo>
                    <a:pt x="3569" y="3457"/>
                  </a:lnTo>
                  <a:lnTo>
                    <a:pt x="1188" y="2124"/>
                  </a:lnTo>
                  <a:cubicBezTo>
                    <a:pt x="311" y="1685"/>
                    <a:pt x="-269" y="819"/>
                    <a:pt x="-336" y="-163"/>
                  </a:cubicBezTo>
                  <a:close/>
                </a:path>
              </a:pathLst>
            </a:custGeom>
            <a:solidFill>
              <a:srgbClr val="BF4200"/>
            </a:solidFill>
            <a:ln w="9525" cap="flat">
              <a:noFill/>
              <a:prstDash val="solid"/>
              <a:miter/>
            </a:ln>
          </p:spPr>
          <p:txBody>
            <a:bodyPr rtlCol="0" anchor="ctr"/>
            <a:lstStyle/>
            <a:p>
              <a:endParaRPr lang="zh-CN" altLang="en-US"/>
            </a:p>
          </p:txBody>
        </p:sp>
        <p:sp>
          <p:nvSpPr>
            <p:cNvPr id="762" name="íşḻîḍê">
              <a:extLst>
                <a:ext uri="{FF2B5EF4-FFF2-40B4-BE49-F238E27FC236}">
                  <a16:creationId xmlns:a16="http://schemas.microsoft.com/office/drawing/2014/main" id="{51A328CD-D0DB-4693-A594-CD23A1F004A9}"/>
                </a:ext>
              </a:extLst>
            </p:cNvPr>
            <p:cNvSpPr/>
            <p:nvPr/>
          </p:nvSpPr>
          <p:spPr>
            <a:xfrm>
              <a:off x="6035595" y="5373498"/>
              <a:ext cx="197155" cy="113892"/>
            </a:xfrm>
            <a:custGeom>
              <a:avLst/>
              <a:gdLst>
                <a:gd name="connsiteX0" fmla="*/ -336 w 64770"/>
                <a:gd name="connsiteY0" fmla="*/ 10227 h 37416"/>
                <a:gd name="connsiteX1" fmla="*/ 1188 w 64770"/>
                <a:gd name="connsiteY1" fmla="*/ 12513 h 37416"/>
                <a:gd name="connsiteX2" fmla="*/ 3569 w 64770"/>
                <a:gd name="connsiteY2" fmla="*/ 13846 h 37416"/>
                <a:gd name="connsiteX3" fmla="*/ 42526 w 64770"/>
                <a:gd name="connsiteY3" fmla="*/ 36325 h 37416"/>
                <a:gd name="connsiteX4" fmla="*/ 50242 w 64770"/>
                <a:gd name="connsiteY4" fmla="*/ 36325 h 37416"/>
                <a:gd name="connsiteX5" fmla="*/ 60433 w 64770"/>
                <a:gd name="connsiteY5" fmla="*/ 30420 h 37416"/>
                <a:gd name="connsiteX6" fmla="*/ 62814 w 64770"/>
                <a:gd name="connsiteY6" fmla="*/ 28991 h 37416"/>
                <a:gd name="connsiteX7" fmla="*/ 64434 w 64770"/>
                <a:gd name="connsiteY7" fmla="*/ 27372 h 37416"/>
                <a:gd name="connsiteX8" fmla="*/ 64434 w 64770"/>
                <a:gd name="connsiteY8" fmla="*/ 26229 h 37416"/>
                <a:gd name="connsiteX9" fmla="*/ 62814 w 64770"/>
                <a:gd name="connsiteY9" fmla="*/ 24610 h 37416"/>
                <a:gd name="connsiteX10" fmla="*/ 21476 w 64770"/>
                <a:gd name="connsiteY10" fmla="*/ 702 h 37416"/>
                <a:gd name="connsiteX11" fmla="*/ 13856 w 64770"/>
                <a:gd name="connsiteY11" fmla="*/ 702 h 37416"/>
                <a:gd name="connsiteX12" fmla="*/ 1188 w 64770"/>
                <a:gd name="connsiteY12" fmla="*/ 8036 h 37416"/>
                <a:gd name="connsiteX13" fmla="*/ -336 w 64770"/>
                <a:gd name="connsiteY13" fmla="*/ 10227 h 37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4770" h="37416">
                  <a:moveTo>
                    <a:pt x="-336" y="10227"/>
                  </a:moveTo>
                  <a:cubicBezTo>
                    <a:pt x="-269" y="11208"/>
                    <a:pt x="312" y="12075"/>
                    <a:pt x="1188" y="12513"/>
                  </a:cubicBezTo>
                  <a:lnTo>
                    <a:pt x="3569" y="13846"/>
                  </a:lnTo>
                  <a:lnTo>
                    <a:pt x="42526" y="36325"/>
                  </a:lnTo>
                  <a:cubicBezTo>
                    <a:pt x="44946" y="37563"/>
                    <a:pt x="47822" y="37563"/>
                    <a:pt x="50242" y="36325"/>
                  </a:cubicBezTo>
                  <a:lnTo>
                    <a:pt x="60433" y="30420"/>
                  </a:lnTo>
                  <a:lnTo>
                    <a:pt x="62814" y="28991"/>
                  </a:lnTo>
                  <a:cubicBezTo>
                    <a:pt x="63529" y="28658"/>
                    <a:pt x="64100" y="28086"/>
                    <a:pt x="64434" y="27372"/>
                  </a:cubicBezTo>
                  <a:lnTo>
                    <a:pt x="64434" y="26229"/>
                  </a:lnTo>
                  <a:cubicBezTo>
                    <a:pt x="64043" y="25553"/>
                    <a:pt x="63491" y="25000"/>
                    <a:pt x="62814" y="24610"/>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763" name="isḷíḓe">
              <a:extLst>
                <a:ext uri="{FF2B5EF4-FFF2-40B4-BE49-F238E27FC236}">
                  <a16:creationId xmlns:a16="http://schemas.microsoft.com/office/drawing/2014/main" id="{071DD57A-0C44-4039-8C6D-74CCE1CD3299}"/>
                </a:ext>
              </a:extLst>
            </p:cNvPr>
            <p:cNvSpPr/>
            <p:nvPr/>
          </p:nvSpPr>
          <p:spPr>
            <a:xfrm>
              <a:off x="6037479" y="5374679"/>
              <a:ext cx="193168" cy="111551"/>
            </a:xfrm>
            <a:custGeom>
              <a:avLst/>
              <a:gdLst>
                <a:gd name="connsiteX0" fmla="*/ 42002 w 63460"/>
                <a:gd name="connsiteY0" fmla="*/ 35556 h 36647"/>
                <a:gd name="connsiteX1" fmla="*/ 1235 w 63460"/>
                <a:gd name="connsiteY1" fmla="*/ 12030 h 36647"/>
                <a:gd name="connsiteX2" fmla="*/ 1235 w 63460"/>
                <a:gd name="connsiteY2" fmla="*/ 7743 h 36647"/>
                <a:gd name="connsiteX3" fmla="*/ 13332 w 63460"/>
                <a:gd name="connsiteY3" fmla="*/ 695 h 36647"/>
                <a:gd name="connsiteX4" fmla="*/ 20762 w 63460"/>
                <a:gd name="connsiteY4" fmla="*/ 695 h 36647"/>
                <a:gd name="connsiteX5" fmla="*/ 61624 w 63460"/>
                <a:gd name="connsiteY5" fmla="*/ 24317 h 36647"/>
                <a:gd name="connsiteX6" fmla="*/ 61624 w 63460"/>
                <a:gd name="connsiteY6" fmla="*/ 28603 h 36647"/>
                <a:gd name="connsiteX7" fmla="*/ 49432 w 63460"/>
                <a:gd name="connsiteY7" fmla="*/ 35556 h 36647"/>
                <a:gd name="connsiteX8" fmla="*/ 42002 w 63460"/>
                <a:gd name="connsiteY8" fmla="*/ 35556 h 366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3460" h="36647">
                  <a:moveTo>
                    <a:pt x="42002" y="35556"/>
                  </a:moveTo>
                  <a:lnTo>
                    <a:pt x="1235" y="12030"/>
                  </a:lnTo>
                  <a:cubicBezTo>
                    <a:pt x="-860" y="10791"/>
                    <a:pt x="-860" y="8886"/>
                    <a:pt x="1235" y="7743"/>
                  </a:cubicBezTo>
                  <a:lnTo>
                    <a:pt x="13332" y="695"/>
                  </a:lnTo>
                  <a:cubicBezTo>
                    <a:pt x="15675" y="-448"/>
                    <a:pt x="18419" y="-448"/>
                    <a:pt x="20762" y="695"/>
                  </a:cubicBezTo>
                  <a:lnTo>
                    <a:pt x="61624" y="24317"/>
                  </a:lnTo>
                  <a:cubicBezTo>
                    <a:pt x="63624" y="25460"/>
                    <a:pt x="63624" y="27365"/>
                    <a:pt x="61624" y="28603"/>
                  </a:cubicBezTo>
                  <a:lnTo>
                    <a:pt x="49432" y="35556"/>
                  </a:lnTo>
                  <a:cubicBezTo>
                    <a:pt x="47108" y="36794"/>
                    <a:pt x="44327" y="36794"/>
                    <a:pt x="42002" y="35556"/>
                  </a:cubicBezTo>
                  <a:close/>
                </a:path>
              </a:pathLst>
            </a:custGeom>
            <a:solidFill>
              <a:srgbClr val="D1D9E8"/>
            </a:solidFill>
            <a:ln w="9525" cap="flat">
              <a:noFill/>
              <a:prstDash val="solid"/>
              <a:miter/>
            </a:ln>
          </p:spPr>
          <p:txBody>
            <a:bodyPr rtlCol="0" anchor="ctr"/>
            <a:lstStyle/>
            <a:p>
              <a:endParaRPr lang="zh-CN" altLang="en-US"/>
            </a:p>
          </p:txBody>
        </p:sp>
        <p:sp>
          <p:nvSpPr>
            <p:cNvPr id="764" name="îś1iďè">
              <a:extLst>
                <a:ext uri="{FF2B5EF4-FFF2-40B4-BE49-F238E27FC236}">
                  <a16:creationId xmlns:a16="http://schemas.microsoft.com/office/drawing/2014/main" id="{7D9D27D9-6748-4614-A112-2C98BE28EC17}"/>
                </a:ext>
              </a:extLst>
            </p:cNvPr>
            <p:cNvSpPr/>
            <p:nvPr/>
          </p:nvSpPr>
          <p:spPr>
            <a:xfrm>
              <a:off x="6035595" y="5405122"/>
              <a:ext cx="197155" cy="104011"/>
            </a:xfrm>
            <a:custGeom>
              <a:avLst/>
              <a:gdLst>
                <a:gd name="connsiteX0" fmla="*/ -336 w 64770"/>
                <a:gd name="connsiteY0" fmla="*/ -163 h 34170"/>
                <a:gd name="connsiteX1" fmla="*/ -336 w 64770"/>
                <a:gd name="connsiteY1" fmla="*/ 6981 h 34170"/>
                <a:gd name="connsiteX2" fmla="*/ 1188 w 64770"/>
                <a:gd name="connsiteY2" fmla="*/ 9267 h 34170"/>
                <a:gd name="connsiteX3" fmla="*/ 42526 w 64770"/>
                <a:gd name="connsiteY3" fmla="*/ 33080 h 34170"/>
                <a:gd name="connsiteX4" fmla="*/ 50242 w 64770"/>
                <a:gd name="connsiteY4" fmla="*/ 33080 h 34170"/>
                <a:gd name="connsiteX5" fmla="*/ 62814 w 64770"/>
                <a:gd name="connsiteY5" fmla="*/ 25841 h 34170"/>
                <a:gd name="connsiteX6" fmla="*/ 64434 w 64770"/>
                <a:gd name="connsiteY6" fmla="*/ 24221 h 34170"/>
                <a:gd name="connsiteX7" fmla="*/ 64434 w 64770"/>
                <a:gd name="connsiteY7" fmla="*/ 16982 h 34170"/>
                <a:gd name="connsiteX8" fmla="*/ 62814 w 64770"/>
                <a:gd name="connsiteY8" fmla="*/ 18602 h 34170"/>
                <a:gd name="connsiteX9" fmla="*/ 60433 w 64770"/>
                <a:gd name="connsiteY9" fmla="*/ 20030 h 34170"/>
                <a:gd name="connsiteX10" fmla="*/ 50242 w 64770"/>
                <a:gd name="connsiteY10" fmla="*/ 25936 h 34170"/>
                <a:gd name="connsiteX11" fmla="*/ 42526 w 64770"/>
                <a:gd name="connsiteY11" fmla="*/ 25936 h 34170"/>
                <a:gd name="connsiteX12" fmla="*/ 3569 w 64770"/>
                <a:gd name="connsiteY12" fmla="*/ 3457 h 34170"/>
                <a:gd name="connsiteX13" fmla="*/ 1188 w 64770"/>
                <a:gd name="connsiteY13" fmla="*/ 2123 h 34170"/>
                <a:gd name="connsiteX14" fmla="*/ -336 w 64770"/>
                <a:gd name="connsiteY14" fmla="*/ -163 h 341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4770" h="34170">
                  <a:moveTo>
                    <a:pt x="-336" y="-163"/>
                  </a:moveTo>
                  <a:lnTo>
                    <a:pt x="-336" y="6981"/>
                  </a:lnTo>
                  <a:cubicBezTo>
                    <a:pt x="-269" y="7962"/>
                    <a:pt x="312" y="8829"/>
                    <a:pt x="1188" y="9267"/>
                  </a:cubicBezTo>
                  <a:lnTo>
                    <a:pt x="42526" y="33080"/>
                  </a:lnTo>
                  <a:cubicBezTo>
                    <a:pt x="44946" y="34318"/>
                    <a:pt x="47822" y="34318"/>
                    <a:pt x="50242" y="33080"/>
                  </a:cubicBezTo>
                  <a:lnTo>
                    <a:pt x="62814" y="25841"/>
                  </a:lnTo>
                  <a:cubicBezTo>
                    <a:pt x="63443" y="25402"/>
                    <a:pt x="63996" y="24850"/>
                    <a:pt x="64434" y="24221"/>
                  </a:cubicBezTo>
                  <a:lnTo>
                    <a:pt x="64434" y="16982"/>
                  </a:lnTo>
                  <a:cubicBezTo>
                    <a:pt x="64100" y="17697"/>
                    <a:pt x="63529" y="18268"/>
                    <a:pt x="62814" y="18602"/>
                  </a:cubicBezTo>
                  <a:lnTo>
                    <a:pt x="60433" y="20030"/>
                  </a:lnTo>
                  <a:lnTo>
                    <a:pt x="50242" y="25936"/>
                  </a:lnTo>
                  <a:cubicBezTo>
                    <a:pt x="47822" y="27174"/>
                    <a:pt x="44946" y="27174"/>
                    <a:pt x="42526" y="25936"/>
                  </a:cubicBezTo>
                  <a:lnTo>
                    <a:pt x="3569" y="3457"/>
                  </a:lnTo>
                  <a:lnTo>
                    <a:pt x="1188" y="2123"/>
                  </a:lnTo>
                  <a:cubicBezTo>
                    <a:pt x="312"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65" name="ïṩľïḍè">
              <a:extLst>
                <a:ext uri="{FF2B5EF4-FFF2-40B4-BE49-F238E27FC236}">
                  <a16:creationId xmlns:a16="http://schemas.microsoft.com/office/drawing/2014/main" id="{04B388A3-46D6-45E3-9172-A529AA2E238C}"/>
                </a:ext>
              </a:extLst>
            </p:cNvPr>
            <p:cNvSpPr/>
            <p:nvPr/>
          </p:nvSpPr>
          <p:spPr>
            <a:xfrm>
              <a:off x="4920799" y="4820746"/>
              <a:ext cx="109740" cy="63289"/>
            </a:xfrm>
            <a:custGeom>
              <a:avLst/>
              <a:gdLst>
                <a:gd name="connsiteX0" fmla="*/ -336 w 36052"/>
                <a:gd name="connsiteY0" fmla="*/ 10177 h 20792"/>
                <a:gd name="connsiteX1" fmla="*/ 1283 w 36052"/>
                <a:gd name="connsiteY1" fmla="*/ 12463 h 20792"/>
                <a:gd name="connsiteX2" fmla="*/ 3569 w 36052"/>
                <a:gd name="connsiteY2" fmla="*/ 13796 h 20792"/>
                <a:gd name="connsiteX3" fmla="*/ 13856 w 36052"/>
                <a:gd name="connsiteY3" fmla="*/ 19702 h 20792"/>
                <a:gd name="connsiteX4" fmla="*/ 21571 w 36052"/>
                <a:gd name="connsiteY4" fmla="*/ 19702 h 20792"/>
                <a:gd name="connsiteX5" fmla="*/ 31858 w 36052"/>
                <a:gd name="connsiteY5" fmla="*/ 13796 h 20792"/>
                <a:gd name="connsiteX6" fmla="*/ 34144 w 36052"/>
                <a:gd name="connsiteY6" fmla="*/ 12463 h 20792"/>
                <a:gd name="connsiteX7" fmla="*/ 35573 w 36052"/>
                <a:gd name="connsiteY7" fmla="*/ 9415 h 20792"/>
                <a:gd name="connsiteX8" fmla="*/ 34144 w 36052"/>
                <a:gd name="connsiteY8" fmla="*/ 7986 h 20792"/>
                <a:gd name="connsiteX9" fmla="*/ 21571 w 36052"/>
                <a:gd name="connsiteY9" fmla="*/ 652 h 20792"/>
                <a:gd name="connsiteX10" fmla="*/ 13856 w 36052"/>
                <a:gd name="connsiteY10" fmla="*/ 652 h 20792"/>
                <a:gd name="connsiteX11" fmla="*/ 1283 w 36052"/>
                <a:gd name="connsiteY11" fmla="*/ 7986 h 20792"/>
                <a:gd name="connsiteX12" fmla="*/ -336 w 36052"/>
                <a:gd name="connsiteY12" fmla="*/ 10177 h 20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792">
                  <a:moveTo>
                    <a:pt x="-336" y="10177"/>
                  </a:moveTo>
                  <a:cubicBezTo>
                    <a:pt x="-232" y="11167"/>
                    <a:pt x="378" y="12034"/>
                    <a:pt x="1283" y="12463"/>
                  </a:cubicBezTo>
                  <a:lnTo>
                    <a:pt x="3569" y="13796"/>
                  </a:lnTo>
                  <a:lnTo>
                    <a:pt x="13856" y="19702"/>
                  </a:lnTo>
                  <a:cubicBezTo>
                    <a:pt x="16275" y="20940"/>
                    <a:pt x="19152" y="20940"/>
                    <a:pt x="21571" y="19702"/>
                  </a:cubicBezTo>
                  <a:lnTo>
                    <a:pt x="31858" y="13796"/>
                  </a:lnTo>
                  <a:lnTo>
                    <a:pt x="34144" y="12463"/>
                  </a:lnTo>
                  <a:cubicBezTo>
                    <a:pt x="35382" y="12015"/>
                    <a:pt x="36020" y="10643"/>
                    <a:pt x="35573" y="9415"/>
                  </a:cubicBezTo>
                  <a:cubicBezTo>
                    <a:pt x="35325" y="8748"/>
                    <a:pt x="34811" y="8224"/>
                    <a:pt x="34144" y="7986"/>
                  </a:cubicBezTo>
                  <a:lnTo>
                    <a:pt x="21571" y="652"/>
                  </a:lnTo>
                  <a:cubicBezTo>
                    <a:pt x="19114" y="-434"/>
                    <a:pt x="16313" y="-434"/>
                    <a:pt x="13856" y="652"/>
                  </a:cubicBezTo>
                  <a:lnTo>
                    <a:pt x="1283" y="7986"/>
                  </a:lnTo>
                  <a:cubicBezTo>
                    <a:pt x="407" y="8396"/>
                    <a:pt x="-203" y="9224"/>
                    <a:pt x="-336" y="10177"/>
                  </a:cubicBezTo>
                  <a:close/>
                </a:path>
              </a:pathLst>
            </a:custGeom>
            <a:solidFill>
              <a:srgbClr val="FFFFFF"/>
            </a:solidFill>
            <a:ln w="9525" cap="flat">
              <a:noFill/>
              <a:prstDash val="solid"/>
              <a:miter/>
            </a:ln>
          </p:spPr>
          <p:txBody>
            <a:bodyPr rtlCol="0" anchor="ctr"/>
            <a:lstStyle/>
            <a:p>
              <a:endParaRPr lang="zh-CN" altLang="en-US"/>
            </a:p>
          </p:txBody>
        </p:sp>
        <p:sp>
          <p:nvSpPr>
            <p:cNvPr id="766" name="íṩlïḋe">
              <a:extLst>
                <a:ext uri="{FF2B5EF4-FFF2-40B4-BE49-F238E27FC236}">
                  <a16:creationId xmlns:a16="http://schemas.microsoft.com/office/drawing/2014/main" id="{7539D7A0-EB84-49B5-93C0-DED68F7C194B}"/>
                </a:ext>
              </a:extLst>
            </p:cNvPr>
            <p:cNvSpPr/>
            <p:nvPr/>
          </p:nvSpPr>
          <p:spPr>
            <a:xfrm>
              <a:off x="4922902" y="4821774"/>
              <a:ext cx="105679" cy="61101"/>
            </a:xfrm>
            <a:custGeom>
              <a:avLst/>
              <a:gdLst>
                <a:gd name="connsiteX0" fmla="*/ 1164 w 34718"/>
                <a:gd name="connsiteY0" fmla="*/ 12029 h 20073"/>
                <a:gd name="connsiteX1" fmla="*/ 13261 w 34718"/>
                <a:gd name="connsiteY1" fmla="*/ 18982 h 20073"/>
                <a:gd name="connsiteX2" fmla="*/ 20690 w 34718"/>
                <a:gd name="connsiteY2" fmla="*/ 18982 h 20073"/>
                <a:gd name="connsiteX3" fmla="*/ 32882 w 34718"/>
                <a:gd name="connsiteY3" fmla="*/ 12029 h 20073"/>
                <a:gd name="connsiteX4" fmla="*/ 32882 w 34718"/>
                <a:gd name="connsiteY4" fmla="*/ 7743 h 20073"/>
                <a:gd name="connsiteX5" fmla="*/ 20690 w 34718"/>
                <a:gd name="connsiteY5" fmla="*/ 695 h 20073"/>
                <a:gd name="connsiteX6" fmla="*/ 13261 w 34718"/>
                <a:gd name="connsiteY6" fmla="*/ 695 h 20073"/>
                <a:gd name="connsiteX7" fmla="*/ 1164 w 34718"/>
                <a:gd name="connsiteY7" fmla="*/ 7743 h 20073"/>
                <a:gd name="connsiteX8" fmla="*/ 1164 w 34718"/>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18" h="20073">
                  <a:moveTo>
                    <a:pt x="1164" y="12029"/>
                  </a:moveTo>
                  <a:lnTo>
                    <a:pt x="13261" y="18982"/>
                  </a:lnTo>
                  <a:cubicBezTo>
                    <a:pt x="15585" y="20221"/>
                    <a:pt x="18366" y="20221"/>
                    <a:pt x="20690" y="18982"/>
                  </a:cubicBezTo>
                  <a:lnTo>
                    <a:pt x="32882" y="12029"/>
                  </a:lnTo>
                  <a:cubicBezTo>
                    <a:pt x="34882" y="10791"/>
                    <a:pt x="34882" y="8886"/>
                    <a:pt x="32882" y="7743"/>
                  </a:cubicBezTo>
                  <a:lnTo>
                    <a:pt x="20690" y="695"/>
                  </a:lnTo>
                  <a:cubicBezTo>
                    <a:pt x="18347" y="-448"/>
                    <a:pt x="15604" y="-448"/>
                    <a:pt x="13261" y="695"/>
                  </a:cubicBezTo>
                  <a:lnTo>
                    <a:pt x="1164" y="7743"/>
                  </a:lnTo>
                  <a:cubicBezTo>
                    <a:pt x="-836" y="8886"/>
                    <a:pt x="-836" y="11077"/>
                    <a:pt x="1164" y="12029"/>
                  </a:cubicBezTo>
                  <a:close/>
                </a:path>
              </a:pathLst>
            </a:custGeom>
            <a:solidFill>
              <a:srgbClr val="D1D9E8"/>
            </a:solidFill>
            <a:ln w="9525" cap="flat">
              <a:noFill/>
              <a:prstDash val="solid"/>
              <a:miter/>
            </a:ln>
          </p:spPr>
          <p:txBody>
            <a:bodyPr rtlCol="0" anchor="ctr"/>
            <a:lstStyle/>
            <a:p>
              <a:endParaRPr lang="zh-CN" altLang="en-US"/>
            </a:p>
          </p:txBody>
        </p:sp>
        <p:sp>
          <p:nvSpPr>
            <p:cNvPr id="767" name="îṩlïďe">
              <a:extLst>
                <a:ext uri="{FF2B5EF4-FFF2-40B4-BE49-F238E27FC236}">
                  <a16:creationId xmlns:a16="http://schemas.microsoft.com/office/drawing/2014/main" id="{1D5F43EE-1618-49B2-AA2A-0D77F4E30E8F}"/>
                </a:ext>
              </a:extLst>
            </p:cNvPr>
            <p:cNvSpPr/>
            <p:nvPr/>
          </p:nvSpPr>
          <p:spPr>
            <a:xfrm>
              <a:off x="4920799" y="4852217"/>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4 w 36099"/>
                <a:gd name="connsiteY6" fmla="*/ 6981 h 17597"/>
                <a:gd name="connsiteX7" fmla="*/ 35764 w 36099"/>
                <a:gd name="connsiteY7" fmla="*/ -163 h 17597"/>
                <a:gd name="connsiteX8" fmla="*/ 34144 w 36099"/>
                <a:gd name="connsiteY8" fmla="*/ 2123 h 17597"/>
                <a:gd name="connsiteX9" fmla="*/ 31858 w 36099"/>
                <a:gd name="connsiteY9" fmla="*/ 3457 h 17597"/>
                <a:gd name="connsiteX10" fmla="*/ 21571 w 36099"/>
                <a:gd name="connsiteY10" fmla="*/ 9362 h 17597"/>
                <a:gd name="connsiteX11" fmla="*/ 13856 w 36099"/>
                <a:gd name="connsiteY11" fmla="*/ 9362 h 17597"/>
                <a:gd name="connsiteX12" fmla="*/ 3569 w 36099"/>
                <a:gd name="connsiteY12" fmla="*/ 3457 h 17597"/>
                <a:gd name="connsiteX13" fmla="*/ 1283 w 36099"/>
                <a:gd name="connsiteY13" fmla="*/ 2123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03" y="8029"/>
                    <a:pt x="407" y="8857"/>
                    <a:pt x="1283" y="9267"/>
                  </a:cubicBezTo>
                  <a:lnTo>
                    <a:pt x="13856" y="16506"/>
                  </a:lnTo>
                  <a:cubicBezTo>
                    <a:pt x="16275" y="17744"/>
                    <a:pt x="19152" y="17744"/>
                    <a:pt x="21571" y="16506"/>
                  </a:cubicBezTo>
                  <a:lnTo>
                    <a:pt x="34144" y="9267"/>
                  </a:lnTo>
                  <a:cubicBezTo>
                    <a:pt x="35030" y="8829"/>
                    <a:pt x="35640" y="7962"/>
                    <a:pt x="35764" y="6981"/>
                  </a:cubicBezTo>
                  <a:lnTo>
                    <a:pt x="35764" y="-163"/>
                  </a:lnTo>
                  <a:cubicBezTo>
                    <a:pt x="35659" y="828"/>
                    <a:pt x="35049" y="1695"/>
                    <a:pt x="34144" y="2123"/>
                  </a:cubicBezTo>
                  <a:lnTo>
                    <a:pt x="31858" y="3457"/>
                  </a:lnTo>
                  <a:lnTo>
                    <a:pt x="21571" y="9362"/>
                  </a:lnTo>
                  <a:cubicBezTo>
                    <a:pt x="19152" y="10601"/>
                    <a:pt x="16275" y="10601"/>
                    <a:pt x="13856" y="9362"/>
                  </a:cubicBezTo>
                  <a:lnTo>
                    <a:pt x="3569" y="3457"/>
                  </a:lnTo>
                  <a:lnTo>
                    <a:pt x="1283" y="2123"/>
                  </a:lnTo>
                  <a:cubicBezTo>
                    <a:pt x="378" y="1695"/>
                    <a:pt x="-232"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68" name="îṩḷîḋe">
              <a:extLst>
                <a:ext uri="{FF2B5EF4-FFF2-40B4-BE49-F238E27FC236}">
                  <a16:creationId xmlns:a16="http://schemas.microsoft.com/office/drawing/2014/main" id="{720027C5-90CE-437D-9089-D36A073C7668}"/>
                </a:ext>
              </a:extLst>
            </p:cNvPr>
            <p:cNvSpPr/>
            <p:nvPr/>
          </p:nvSpPr>
          <p:spPr>
            <a:xfrm>
              <a:off x="4998212" y="4865047"/>
              <a:ext cx="109740" cy="63639"/>
            </a:xfrm>
            <a:custGeom>
              <a:avLst/>
              <a:gdLst>
                <a:gd name="connsiteX0" fmla="*/ -336 w 36052"/>
                <a:gd name="connsiteY0" fmla="*/ 10291 h 20907"/>
                <a:gd name="connsiteX1" fmla="*/ 1188 w 36052"/>
                <a:gd name="connsiteY1" fmla="*/ 12577 h 20907"/>
                <a:gd name="connsiteX2" fmla="*/ 3569 w 36052"/>
                <a:gd name="connsiteY2" fmla="*/ 13911 h 20907"/>
                <a:gd name="connsiteX3" fmla="*/ 13856 w 36052"/>
                <a:gd name="connsiteY3" fmla="*/ 19816 h 20907"/>
                <a:gd name="connsiteX4" fmla="*/ 21476 w 36052"/>
                <a:gd name="connsiteY4" fmla="*/ 19816 h 20907"/>
                <a:gd name="connsiteX5" fmla="*/ 31763 w 36052"/>
                <a:gd name="connsiteY5" fmla="*/ 13911 h 20907"/>
                <a:gd name="connsiteX6" fmla="*/ 34144 w 36052"/>
                <a:gd name="connsiteY6" fmla="*/ 12577 h 20907"/>
                <a:gd name="connsiteX7" fmla="*/ 35573 w 36052"/>
                <a:gd name="connsiteY7" fmla="*/ 9529 h 20907"/>
                <a:gd name="connsiteX8" fmla="*/ 34144 w 36052"/>
                <a:gd name="connsiteY8" fmla="*/ 8100 h 20907"/>
                <a:gd name="connsiteX9" fmla="*/ 21476 w 36052"/>
                <a:gd name="connsiteY9" fmla="*/ 766 h 20907"/>
                <a:gd name="connsiteX10" fmla="*/ 13856 w 36052"/>
                <a:gd name="connsiteY10" fmla="*/ 766 h 20907"/>
                <a:gd name="connsiteX11" fmla="*/ 1188 w 36052"/>
                <a:gd name="connsiteY11" fmla="*/ 8100 h 20907"/>
                <a:gd name="connsiteX12" fmla="*/ -336 w 36052"/>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907">
                  <a:moveTo>
                    <a:pt x="-336" y="10291"/>
                  </a:moveTo>
                  <a:cubicBezTo>
                    <a:pt x="-269" y="11272"/>
                    <a:pt x="312" y="12139"/>
                    <a:pt x="1188" y="12577"/>
                  </a:cubicBezTo>
                  <a:lnTo>
                    <a:pt x="3569" y="13911"/>
                  </a:lnTo>
                  <a:lnTo>
                    <a:pt x="13856" y="19816"/>
                  </a:lnTo>
                  <a:cubicBezTo>
                    <a:pt x="16247" y="21054"/>
                    <a:pt x="19085" y="21054"/>
                    <a:pt x="21476" y="19816"/>
                  </a:cubicBezTo>
                  <a:lnTo>
                    <a:pt x="31763" y="13911"/>
                  </a:lnTo>
                  <a:lnTo>
                    <a:pt x="34144" y="12577"/>
                  </a:lnTo>
                  <a:cubicBezTo>
                    <a:pt x="35382" y="12129"/>
                    <a:pt x="36021" y="10758"/>
                    <a:pt x="35573" y="9529"/>
                  </a:cubicBezTo>
                  <a:cubicBezTo>
                    <a:pt x="35325" y="8862"/>
                    <a:pt x="34811" y="8338"/>
                    <a:pt x="34144" y="8100"/>
                  </a:cubicBezTo>
                  <a:lnTo>
                    <a:pt x="21476" y="766"/>
                  </a:lnTo>
                  <a:cubicBezTo>
                    <a:pt x="19085" y="-472"/>
                    <a:pt x="16247" y="-472"/>
                    <a:pt x="13856" y="766"/>
                  </a:cubicBezTo>
                  <a:lnTo>
                    <a:pt x="1188" y="8100"/>
                  </a:lnTo>
                  <a:cubicBezTo>
                    <a:pt x="340" y="8519"/>
                    <a:pt x="-241" y="9348"/>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769" name="îṧlïdê">
              <a:extLst>
                <a:ext uri="{FF2B5EF4-FFF2-40B4-BE49-F238E27FC236}">
                  <a16:creationId xmlns:a16="http://schemas.microsoft.com/office/drawing/2014/main" id="{D296E0A0-D5E7-4207-9A7F-EFCE78822F3D}"/>
                </a:ext>
              </a:extLst>
            </p:cNvPr>
            <p:cNvSpPr/>
            <p:nvPr/>
          </p:nvSpPr>
          <p:spPr>
            <a:xfrm>
              <a:off x="5000096" y="4866426"/>
              <a:ext cx="105825" cy="61101"/>
            </a:xfrm>
            <a:custGeom>
              <a:avLst/>
              <a:gdLst>
                <a:gd name="connsiteX0" fmla="*/ 1235 w 34766"/>
                <a:gd name="connsiteY0" fmla="*/ 12030 h 20073"/>
                <a:gd name="connsiteX1" fmla="*/ 13332 w 34766"/>
                <a:gd name="connsiteY1" fmla="*/ 18983 h 20073"/>
                <a:gd name="connsiteX2" fmla="*/ 20761 w 34766"/>
                <a:gd name="connsiteY2" fmla="*/ 18983 h 20073"/>
                <a:gd name="connsiteX3" fmla="*/ 32858 w 34766"/>
                <a:gd name="connsiteY3" fmla="*/ 12030 h 20073"/>
                <a:gd name="connsiteX4" fmla="*/ 32858 w 34766"/>
                <a:gd name="connsiteY4" fmla="*/ 7743 h 20073"/>
                <a:gd name="connsiteX5" fmla="*/ 20761 w 34766"/>
                <a:gd name="connsiteY5" fmla="*/ 695 h 20073"/>
                <a:gd name="connsiteX6" fmla="*/ 13332 w 34766"/>
                <a:gd name="connsiteY6" fmla="*/ 695 h 20073"/>
                <a:gd name="connsiteX7" fmla="*/ 1235 w 34766"/>
                <a:gd name="connsiteY7" fmla="*/ 7743 h 20073"/>
                <a:gd name="connsiteX8" fmla="*/ 1235 w 34766"/>
                <a:gd name="connsiteY8" fmla="*/ 12030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6" h="20073">
                  <a:moveTo>
                    <a:pt x="1235" y="12030"/>
                  </a:moveTo>
                  <a:lnTo>
                    <a:pt x="13332" y="18983"/>
                  </a:lnTo>
                  <a:cubicBezTo>
                    <a:pt x="15656" y="20221"/>
                    <a:pt x="18437" y="20221"/>
                    <a:pt x="20761" y="18983"/>
                  </a:cubicBezTo>
                  <a:lnTo>
                    <a:pt x="32858" y="12030"/>
                  </a:lnTo>
                  <a:cubicBezTo>
                    <a:pt x="34954" y="10791"/>
                    <a:pt x="34954" y="8886"/>
                    <a:pt x="32858" y="7743"/>
                  </a:cubicBezTo>
                  <a:lnTo>
                    <a:pt x="20761" y="695"/>
                  </a:lnTo>
                  <a:cubicBezTo>
                    <a:pt x="18419" y="-448"/>
                    <a:pt x="15675" y="-448"/>
                    <a:pt x="13332" y="695"/>
                  </a:cubicBezTo>
                  <a:lnTo>
                    <a:pt x="1235" y="7743"/>
                  </a:lnTo>
                  <a:cubicBezTo>
                    <a:pt x="-860" y="8886"/>
                    <a:pt x="-860" y="10791"/>
                    <a:pt x="1235" y="12030"/>
                  </a:cubicBezTo>
                  <a:close/>
                </a:path>
              </a:pathLst>
            </a:custGeom>
            <a:solidFill>
              <a:srgbClr val="D1D9E8"/>
            </a:solidFill>
            <a:ln w="9525" cap="flat">
              <a:noFill/>
              <a:prstDash val="solid"/>
              <a:miter/>
            </a:ln>
          </p:spPr>
          <p:txBody>
            <a:bodyPr rtlCol="0" anchor="ctr"/>
            <a:lstStyle/>
            <a:p>
              <a:endParaRPr lang="zh-CN" altLang="en-US"/>
            </a:p>
          </p:txBody>
        </p:sp>
        <p:sp>
          <p:nvSpPr>
            <p:cNvPr id="770" name="î$ḻíďê">
              <a:extLst>
                <a:ext uri="{FF2B5EF4-FFF2-40B4-BE49-F238E27FC236}">
                  <a16:creationId xmlns:a16="http://schemas.microsoft.com/office/drawing/2014/main" id="{A5EA3187-8D26-44EB-A0BF-8BFA9FA1CFE6}"/>
                </a:ext>
              </a:extLst>
            </p:cNvPr>
            <p:cNvSpPr/>
            <p:nvPr/>
          </p:nvSpPr>
          <p:spPr>
            <a:xfrm>
              <a:off x="4998212" y="4896868"/>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3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3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3" y="7953"/>
                    <a:pt x="35668" y="6981"/>
                  </a:cubicBezTo>
                  <a:lnTo>
                    <a:pt x="35668" y="-163"/>
                  </a:lnTo>
                  <a:cubicBezTo>
                    <a:pt x="35602" y="818"/>
                    <a:pt x="35021" y="1685"/>
                    <a:pt x="34144" y="2123"/>
                  </a:cubicBezTo>
                  <a:lnTo>
                    <a:pt x="31763" y="3457"/>
                  </a:lnTo>
                  <a:lnTo>
                    <a:pt x="21476" y="9362"/>
                  </a:lnTo>
                  <a:cubicBezTo>
                    <a:pt x="19085" y="10601"/>
                    <a:pt x="16247" y="10601"/>
                    <a:pt x="13856" y="9362"/>
                  </a:cubicBezTo>
                  <a:lnTo>
                    <a:pt x="3569" y="3457"/>
                  </a:lnTo>
                  <a:lnTo>
                    <a:pt x="1188" y="2123"/>
                  </a:lnTo>
                  <a:cubicBezTo>
                    <a:pt x="312"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71" name="îṥľîḋê">
              <a:extLst>
                <a:ext uri="{FF2B5EF4-FFF2-40B4-BE49-F238E27FC236}">
                  <a16:creationId xmlns:a16="http://schemas.microsoft.com/office/drawing/2014/main" id="{E3F1E167-18E3-4513-AC3F-490566F5DE83}"/>
                </a:ext>
              </a:extLst>
            </p:cNvPr>
            <p:cNvSpPr/>
            <p:nvPr/>
          </p:nvSpPr>
          <p:spPr>
            <a:xfrm>
              <a:off x="5075333" y="4911147"/>
              <a:ext cx="109015" cy="63639"/>
            </a:xfrm>
            <a:custGeom>
              <a:avLst/>
              <a:gdLst>
                <a:gd name="connsiteX0" fmla="*/ -336 w 35814"/>
                <a:gd name="connsiteY0" fmla="*/ 10291 h 20907"/>
                <a:gd name="connsiteX1" fmla="*/ 1283 w 35814"/>
                <a:gd name="connsiteY1" fmla="*/ 12577 h 20907"/>
                <a:gd name="connsiteX2" fmla="*/ 3569 w 35814"/>
                <a:gd name="connsiteY2" fmla="*/ 13911 h 20907"/>
                <a:gd name="connsiteX3" fmla="*/ 13856 w 35814"/>
                <a:gd name="connsiteY3" fmla="*/ 19816 h 20907"/>
                <a:gd name="connsiteX4" fmla="*/ 21571 w 35814"/>
                <a:gd name="connsiteY4" fmla="*/ 19816 h 20907"/>
                <a:gd name="connsiteX5" fmla="*/ 31858 w 35814"/>
                <a:gd name="connsiteY5" fmla="*/ 13911 h 20907"/>
                <a:gd name="connsiteX6" fmla="*/ 34144 w 35814"/>
                <a:gd name="connsiteY6" fmla="*/ 12577 h 20907"/>
                <a:gd name="connsiteX7" fmla="*/ 35478 w 35814"/>
                <a:gd name="connsiteY7" fmla="*/ 10291 h 20907"/>
                <a:gd name="connsiteX8" fmla="*/ 33858 w 35814"/>
                <a:gd name="connsiteY8" fmla="*/ 8100 h 20907"/>
                <a:gd name="connsiteX9" fmla="*/ 21286 w 35814"/>
                <a:gd name="connsiteY9" fmla="*/ 766 h 20907"/>
                <a:gd name="connsiteX10" fmla="*/ 13570 w 35814"/>
                <a:gd name="connsiteY10" fmla="*/ 766 h 20907"/>
                <a:gd name="connsiteX11" fmla="*/ 997 w 35814"/>
                <a:gd name="connsiteY11" fmla="*/ 8100 h 20907"/>
                <a:gd name="connsiteX12" fmla="*/ -336 w 35814"/>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814" h="20907">
                  <a:moveTo>
                    <a:pt x="-336" y="10291"/>
                  </a:moveTo>
                  <a:cubicBezTo>
                    <a:pt x="-231" y="11282"/>
                    <a:pt x="378" y="12149"/>
                    <a:pt x="1283" y="12577"/>
                  </a:cubicBezTo>
                  <a:lnTo>
                    <a:pt x="3569" y="13911"/>
                  </a:lnTo>
                  <a:lnTo>
                    <a:pt x="13856" y="19816"/>
                  </a:lnTo>
                  <a:cubicBezTo>
                    <a:pt x="16275" y="21054"/>
                    <a:pt x="19152" y="21054"/>
                    <a:pt x="21571" y="19816"/>
                  </a:cubicBezTo>
                  <a:lnTo>
                    <a:pt x="31858" y="13911"/>
                  </a:lnTo>
                  <a:lnTo>
                    <a:pt x="34144" y="12577"/>
                  </a:lnTo>
                  <a:cubicBezTo>
                    <a:pt x="34964" y="12101"/>
                    <a:pt x="35468" y="11234"/>
                    <a:pt x="35478" y="10291"/>
                  </a:cubicBezTo>
                  <a:cubicBezTo>
                    <a:pt x="35402" y="9310"/>
                    <a:pt x="34773" y="8462"/>
                    <a:pt x="33858" y="8100"/>
                  </a:cubicBezTo>
                  <a:lnTo>
                    <a:pt x="21286" y="766"/>
                  </a:lnTo>
                  <a:cubicBezTo>
                    <a:pt x="18866" y="-472"/>
                    <a:pt x="15990" y="-472"/>
                    <a:pt x="13570" y="766"/>
                  </a:cubicBezTo>
                  <a:lnTo>
                    <a:pt x="997" y="8100"/>
                  </a:lnTo>
                  <a:cubicBezTo>
                    <a:pt x="216" y="8567"/>
                    <a:pt x="-279" y="9386"/>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772" name="ïṡḷîḑè">
              <a:extLst>
                <a:ext uri="{FF2B5EF4-FFF2-40B4-BE49-F238E27FC236}">
                  <a16:creationId xmlns:a16="http://schemas.microsoft.com/office/drawing/2014/main" id="{8897BE13-B5A0-46CE-9E47-8D566C462FEC}"/>
                </a:ext>
              </a:extLst>
            </p:cNvPr>
            <p:cNvSpPr/>
            <p:nvPr/>
          </p:nvSpPr>
          <p:spPr>
            <a:xfrm>
              <a:off x="5077437" y="4910858"/>
              <a:ext cx="105679" cy="61104"/>
            </a:xfrm>
            <a:custGeom>
              <a:avLst/>
              <a:gdLst>
                <a:gd name="connsiteX0" fmla="*/ 1164 w 34718"/>
                <a:gd name="connsiteY0" fmla="*/ 12006 h 20074"/>
                <a:gd name="connsiteX1" fmla="*/ 13356 w 34718"/>
                <a:gd name="connsiteY1" fmla="*/ 19054 h 20074"/>
                <a:gd name="connsiteX2" fmla="*/ 20785 w 34718"/>
                <a:gd name="connsiteY2" fmla="*/ 19054 h 20074"/>
                <a:gd name="connsiteX3" fmla="*/ 32882 w 34718"/>
                <a:gd name="connsiteY3" fmla="*/ 12006 h 20074"/>
                <a:gd name="connsiteX4" fmla="*/ 32882 w 34718"/>
                <a:gd name="connsiteY4" fmla="*/ 7719 h 20074"/>
                <a:gd name="connsiteX5" fmla="*/ 20785 w 34718"/>
                <a:gd name="connsiteY5" fmla="*/ 766 h 20074"/>
                <a:gd name="connsiteX6" fmla="*/ 13356 w 34718"/>
                <a:gd name="connsiteY6" fmla="*/ 766 h 20074"/>
                <a:gd name="connsiteX7" fmla="*/ 1164 w 34718"/>
                <a:gd name="connsiteY7" fmla="*/ 7719 h 20074"/>
                <a:gd name="connsiteX8" fmla="*/ 1164 w 34718"/>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18" h="20074">
                  <a:moveTo>
                    <a:pt x="1164" y="12006"/>
                  </a:moveTo>
                  <a:lnTo>
                    <a:pt x="13356" y="19054"/>
                  </a:lnTo>
                  <a:cubicBezTo>
                    <a:pt x="15699" y="20197"/>
                    <a:pt x="18442" y="20197"/>
                    <a:pt x="20785" y="19054"/>
                  </a:cubicBezTo>
                  <a:lnTo>
                    <a:pt x="32882" y="12006"/>
                  </a:lnTo>
                  <a:cubicBezTo>
                    <a:pt x="34882" y="10863"/>
                    <a:pt x="34882" y="8958"/>
                    <a:pt x="32882" y="7719"/>
                  </a:cubicBezTo>
                  <a:lnTo>
                    <a:pt x="20785" y="766"/>
                  </a:lnTo>
                  <a:cubicBezTo>
                    <a:pt x="18461" y="-472"/>
                    <a:pt x="15680" y="-472"/>
                    <a:pt x="13356" y="766"/>
                  </a:cubicBezTo>
                  <a:lnTo>
                    <a:pt x="1164" y="7719"/>
                  </a:lnTo>
                  <a:cubicBezTo>
                    <a:pt x="-836" y="8958"/>
                    <a:pt x="-836" y="10863"/>
                    <a:pt x="1164" y="12006"/>
                  </a:cubicBezTo>
                  <a:close/>
                </a:path>
              </a:pathLst>
            </a:custGeom>
            <a:solidFill>
              <a:srgbClr val="D1D9E8"/>
            </a:solidFill>
            <a:ln w="9525" cap="flat">
              <a:noFill/>
              <a:prstDash val="solid"/>
              <a:miter/>
            </a:ln>
          </p:spPr>
          <p:txBody>
            <a:bodyPr rtlCol="0" anchor="ctr"/>
            <a:lstStyle/>
            <a:p>
              <a:endParaRPr lang="zh-CN" altLang="en-US"/>
            </a:p>
          </p:txBody>
        </p:sp>
        <p:sp>
          <p:nvSpPr>
            <p:cNvPr id="773" name="ïŝľiḑé">
              <a:extLst>
                <a:ext uri="{FF2B5EF4-FFF2-40B4-BE49-F238E27FC236}">
                  <a16:creationId xmlns:a16="http://schemas.microsoft.com/office/drawing/2014/main" id="{B392D23A-7B7B-4934-960E-4E73E80226E8}"/>
                </a:ext>
              </a:extLst>
            </p:cNvPr>
            <p:cNvSpPr/>
            <p:nvPr/>
          </p:nvSpPr>
          <p:spPr>
            <a:xfrm>
              <a:off x="5075333" y="4942968"/>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4 w 36099"/>
                <a:gd name="connsiteY6" fmla="*/ 6981 h 17597"/>
                <a:gd name="connsiteX7" fmla="*/ 35764 w 36099"/>
                <a:gd name="connsiteY7" fmla="*/ -163 h 17597"/>
                <a:gd name="connsiteX8" fmla="*/ 34144 w 36099"/>
                <a:gd name="connsiteY8" fmla="*/ 2123 h 17597"/>
                <a:gd name="connsiteX9" fmla="*/ 31858 w 36099"/>
                <a:gd name="connsiteY9" fmla="*/ 3457 h 17597"/>
                <a:gd name="connsiteX10" fmla="*/ 21571 w 36099"/>
                <a:gd name="connsiteY10" fmla="*/ 9362 h 17597"/>
                <a:gd name="connsiteX11" fmla="*/ 13856 w 36099"/>
                <a:gd name="connsiteY11" fmla="*/ 9362 h 17597"/>
                <a:gd name="connsiteX12" fmla="*/ 3569 w 36099"/>
                <a:gd name="connsiteY12" fmla="*/ 3457 h 17597"/>
                <a:gd name="connsiteX13" fmla="*/ 1283 w 36099"/>
                <a:gd name="connsiteY13" fmla="*/ 2123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03" y="8038"/>
                    <a:pt x="407" y="8857"/>
                    <a:pt x="1283" y="9267"/>
                  </a:cubicBezTo>
                  <a:lnTo>
                    <a:pt x="13856" y="16506"/>
                  </a:lnTo>
                  <a:cubicBezTo>
                    <a:pt x="16275" y="17744"/>
                    <a:pt x="19152" y="17744"/>
                    <a:pt x="21571" y="16506"/>
                  </a:cubicBezTo>
                  <a:lnTo>
                    <a:pt x="34144" y="9267"/>
                  </a:lnTo>
                  <a:cubicBezTo>
                    <a:pt x="35059" y="8857"/>
                    <a:pt x="35678" y="7981"/>
                    <a:pt x="35764" y="6981"/>
                  </a:cubicBezTo>
                  <a:lnTo>
                    <a:pt x="35764" y="-163"/>
                  </a:lnTo>
                  <a:cubicBezTo>
                    <a:pt x="35697" y="847"/>
                    <a:pt x="35068" y="1733"/>
                    <a:pt x="34144" y="2123"/>
                  </a:cubicBezTo>
                  <a:lnTo>
                    <a:pt x="31858" y="3457"/>
                  </a:lnTo>
                  <a:lnTo>
                    <a:pt x="21571" y="9362"/>
                  </a:lnTo>
                  <a:cubicBezTo>
                    <a:pt x="19152" y="10601"/>
                    <a:pt x="16275" y="10601"/>
                    <a:pt x="13856" y="9362"/>
                  </a:cubicBezTo>
                  <a:lnTo>
                    <a:pt x="3569" y="3457"/>
                  </a:lnTo>
                  <a:lnTo>
                    <a:pt x="1283" y="2123"/>
                  </a:lnTo>
                  <a:cubicBezTo>
                    <a:pt x="378" y="1695"/>
                    <a:pt x="-231"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74" name="ïslíḋé">
              <a:extLst>
                <a:ext uri="{FF2B5EF4-FFF2-40B4-BE49-F238E27FC236}">
                  <a16:creationId xmlns:a16="http://schemas.microsoft.com/office/drawing/2014/main" id="{71B060B7-65A2-47F6-8352-3D76221B386F}"/>
                </a:ext>
              </a:extLst>
            </p:cNvPr>
            <p:cNvSpPr/>
            <p:nvPr/>
          </p:nvSpPr>
          <p:spPr>
            <a:xfrm>
              <a:off x="5152746" y="4953476"/>
              <a:ext cx="140036" cy="81035"/>
            </a:xfrm>
            <a:custGeom>
              <a:avLst/>
              <a:gdLst>
                <a:gd name="connsiteX0" fmla="*/ -336 w 46005"/>
                <a:gd name="connsiteY0" fmla="*/ 10196 h 26622"/>
                <a:gd name="connsiteX1" fmla="*/ 1283 w 46005"/>
                <a:gd name="connsiteY1" fmla="*/ 12482 h 26622"/>
                <a:gd name="connsiteX2" fmla="*/ 3569 w 46005"/>
                <a:gd name="connsiteY2" fmla="*/ 13815 h 26622"/>
                <a:gd name="connsiteX3" fmla="*/ 23762 w 46005"/>
                <a:gd name="connsiteY3" fmla="*/ 25531 h 26622"/>
                <a:gd name="connsiteX4" fmla="*/ 31477 w 46005"/>
                <a:gd name="connsiteY4" fmla="*/ 25531 h 26622"/>
                <a:gd name="connsiteX5" fmla="*/ 41764 w 46005"/>
                <a:gd name="connsiteY5" fmla="*/ 19530 h 26622"/>
                <a:gd name="connsiteX6" fmla="*/ 44145 w 46005"/>
                <a:gd name="connsiteY6" fmla="*/ 18197 h 26622"/>
                <a:gd name="connsiteX7" fmla="*/ 45669 w 46005"/>
                <a:gd name="connsiteY7" fmla="*/ 16578 h 26622"/>
                <a:gd name="connsiteX8" fmla="*/ 45669 w 46005"/>
                <a:gd name="connsiteY8" fmla="*/ 15435 h 26622"/>
                <a:gd name="connsiteX9" fmla="*/ 44145 w 46005"/>
                <a:gd name="connsiteY9" fmla="*/ 13720 h 26622"/>
                <a:gd name="connsiteX10" fmla="*/ 21571 w 46005"/>
                <a:gd name="connsiteY10" fmla="*/ 766 h 26622"/>
                <a:gd name="connsiteX11" fmla="*/ 13856 w 46005"/>
                <a:gd name="connsiteY11" fmla="*/ 766 h 26622"/>
                <a:gd name="connsiteX12" fmla="*/ 1283 w 46005"/>
                <a:gd name="connsiteY12" fmla="*/ 8005 h 26622"/>
                <a:gd name="connsiteX13" fmla="*/ -336 w 46005"/>
                <a:gd name="connsiteY13" fmla="*/ 10196 h 26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005" h="26622">
                  <a:moveTo>
                    <a:pt x="-336" y="10196"/>
                  </a:moveTo>
                  <a:cubicBezTo>
                    <a:pt x="-298" y="11215"/>
                    <a:pt x="340" y="12110"/>
                    <a:pt x="1283" y="12482"/>
                  </a:cubicBezTo>
                  <a:lnTo>
                    <a:pt x="3569" y="13815"/>
                  </a:lnTo>
                  <a:lnTo>
                    <a:pt x="23762" y="25531"/>
                  </a:lnTo>
                  <a:cubicBezTo>
                    <a:pt x="26181" y="26769"/>
                    <a:pt x="29058" y="26769"/>
                    <a:pt x="31477" y="25531"/>
                  </a:cubicBezTo>
                  <a:lnTo>
                    <a:pt x="41764" y="19530"/>
                  </a:lnTo>
                  <a:lnTo>
                    <a:pt x="44145" y="18197"/>
                  </a:lnTo>
                  <a:cubicBezTo>
                    <a:pt x="44860" y="17892"/>
                    <a:pt x="45412" y="17311"/>
                    <a:pt x="45669" y="16578"/>
                  </a:cubicBezTo>
                  <a:lnTo>
                    <a:pt x="45669" y="15435"/>
                  </a:lnTo>
                  <a:cubicBezTo>
                    <a:pt x="45384" y="14692"/>
                    <a:pt x="44850" y="14082"/>
                    <a:pt x="44145" y="13720"/>
                  </a:cubicBezTo>
                  <a:lnTo>
                    <a:pt x="21571" y="766"/>
                  </a:lnTo>
                  <a:cubicBezTo>
                    <a:pt x="19152" y="-472"/>
                    <a:pt x="16275" y="-472"/>
                    <a:pt x="13856" y="766"/>
                  </a:cubicBezTo>
                  <a:lnTo>
                    <a:pt x="1283" y="8005"/>
                  </a:lnTo>
                  <a:cubicBezTo>
                    <a:pt x="378" y="8386"/>
                    <a:pt x="-241" y="9224"/>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775" name="iṩľide">
              <a:extLst>
                <a:ext uri="{FF2B5EF4-FFF2-40B4-BE49-F238E27FC236}">
                  <a16:creationId xmlns:a16="http://schemas.microsoft.com/office/drawing/2014/main" id="{3CF7866E-A5F9-4F76-893F-B9D584EDAC8D}"/>
                </a:ext>
              </a:extLst>
            </p:cNvPr>
            <p:cNvSpPr/>
            <p:nvPr/>
          </p:nvSpPr>
          <p:spPr>
            <a:xfrm>
              <a:off x="5154880" y="4953984"/>
              <a:ext cx="136021" cy="78570"/>
            </a:xfrm>
            <a:custGeom>
              <a:avLst/>
              <a:gdLst>
                <a:gd name="connsiteX0" fmla="*/ 23252 w 44686"/>
                <a:gd name="connsiteY0" fmla="*/ 24793 h 25812"/>
                <a:gd name="connsiteX1" fmla="*/ 1154 w 44686"/>
                <a:gd name="connsiteY1" fmla="*/ 12029 h 25812"/>
                <a:gd name="connsiteX2" fmla="*/ -189 w 44686"/>
                <a:gd name="connsiteY2" fmla="*/ 9096 h 25812"/>
                <a:gd name="connsiteX3" fmla="*/ 1154 w 44686"/>
                <a:gd name="connsiteY3" fmla="*/ 7743 h 25812"/>
                <a:gd name="connsiteX4" fmla="*/ 13251 w 44686"/>
                <a:gd name="connsiteY4" fmla="*/ 695 h 25812"/>
                <a:gd name="connsiteX5" fmla="*/ 20680 w 44686"/>
                <a:gd name="connsiteY5" fmla="*/ 695 h 25812"/>
                <a:gd name="connsiteX6" fmla="*/ 42778 w 44686"/>
                <a:gd name="connsiteY6" fmla="*/ 13458 h 25812"/>
                <a:gd name="connsiteX7" fmla="*/ 42778 w 44686"/>
                <a:gd name="connsiteY7" fmla="*/ 17744 h 25812"/>
                <a:gd name="connsiteX8" fmla="*/ 30681 w 44686"/>
                <a:gd name="connsiteY8" fmla="*/ 24793 h 25812"/>
                <a:gd name="connsiteX9" fmla="*/ 23252 w 44686"/>
                <a:gd name="connsiteY9" fmla="*/ 24793 h 25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4686" h="25812">
                  <a:moveTo>
                    <a:pt x="23252" y="24793"/>
                  </a:moveTo>
                  <a:lnTo>
                    <a:pt x="1154" y="12029"/>
                  </a:lnTo>
                  <a:cubicBezTo>
                    <a:pt x="-27" y="11591"/>
                    <a:pt x="-637" y="10277"/>
                    <a:pt x="-189" y="9096"/>
                  </a:cubicBezTo>
                  <a:cubicBezTo>
                    <a:pt x="40" y="8467"/>
                    <a:pt x="535" y="7972"/>
                    <a:pt x="1154" y="7743"/>
                  </a:cubicBezTo>
                  <a:lnTo>
                    <a:pt x="13251" y="695"/>
                  </a:lnTo>
                  <a:cubicBezTo>
                    <a:pt x="15594" y="-448"/>
                    <a:pt x="18337" y="-448"/>
                    <a:pt x="20680" y="695"/>
                  </a:cubicBezTo>
                  <a:lnTo>
                    <a:pt x="42778" y="13458"/>
                  </a:lnTo>
                  <a:cubicBezTo>
                    <a:pt x="44874" y="14696"/>
                    <a:pt x="44874" y="16601"/>
                    <a:pt x="42778" y="17744"/>
                  </a:cubicBezTo>
                  <a:lnTo>
                    <a:pt x="30681" y="24793"/>
                  </a:lnTo>
                  <a:cubicBezTo>
                    <a:pt x="28338" y="25936"/>
                    <a:pt x="25595" y="25936"/>
                    <a:pt x="23252" y="24793"/>
                  </a:cubicBezTo>
                  <a:close/>
                </a:path>
              </a:pathLst>
            </a:custGeom>
            <a:solidFill>
              <a:srgbClr val="D1D9E8"/>
            </a:solidFill>
            <a:ln w="9525" cap="flat">
              <a:noFill/>
              <a:prstDash val="solid"/>
              <a:miter/>
            </a:ln>
          </p:spPr>
          <p:txBody>
            <a:bodyPr rtlCol="0" anchor="ctr"/>
            <a:lstStyle/>
            <a:p>
              <a:endParaRPr lang="zh-CN" altLang="en-US"/>
            </a:p>
          </p:txBody>
        </p:sp>
        <p:sp>
          <p:nvSpPr>
            <p:cNvPr id="776" name="iśľíḋè">
              <a:extLst>
                <a:ext uri="{FF2B5EF4-FFF2-40B4-BE49-F238E27FC236}">
                  <a16:creationId xmlns:a16="http://schemas.microsoft.com/office/drawing/2014/main" id="{3E9E979B-266C-49FC-AC2E-809C258F0A99}"/>
                </a:ext>
              </a:extLst>
            </p:cNvPr>
            <p:cNvSpPr/>
            <p:nvPr/>
          </p:nvSpPr>
          <p:spPr>
            <a:xfrm>
              <a:off x="5152746" y="4985008"/>
              <a:ext cx="140036" cy="71249"/>
            </a:xfrm>
            <a:custGeom>
              <a:avLst/>
              <a:gdLst>
                <a:gd name="connsiteX0" fmla="*/ -336 w 46005"/>
                <a:gd name="connsiteY0" fmla="*/ -163 h 23407"/>
                <a:gd name="connsiteX1" fmla="*/ -336 w 46005"/>
                <a:gd name="connsiteY1" fmla="*/ 7076 h 23407"/>
                <a:gd name="connsiteX2" fmla="*/ 1283 w 46005"/>
                <a:gd name="connsiteY2" fmla="*/ 9267 h 23407"/>
                <a:gd name="connsiteX3" fmla="*/ 23762 w 46005"/>
                <a:gd name="connsiteY3" fmla="*/ 22316 h 23407"/>
                <a:gd name="connsiteX4" fmla="*/ 31477 w 46005"/>
                <a:gd name="connsiteY4" fmla="*/ 22316 h 23407"/>
                <a:gd name="connsiteX5" fmla="*/ 44145 w 46005"/>
                <a:gd name="connsiteY5" fmla="*/ 14982 h 23407"/>
                <a:gd name="connsiteX6" fmla="*/ 45669 w 46005"/>
                <a:gd name="connsiteY6" fmla="*/ 13363 h 23407"/>
                <a:gd name="connsiteX7" fmla="*/ 45669 w 46005"/>
                <a:gd name="connsiteY7" fmla="*/ 6219 h 23407"/>
                <a:gd name="connsiteX8" fmla="*/ 44145 w 46005"/>
                <a:gd name="connsiteY8" fmla="*/ 7838 h 23407"/>
                <a:gd name="connsiteX9" fmla="*/ 41764 w 46005"/>
                <a:gd name="connsiteY9" fmla="*/ 9172 h 23407"/>
                <a:gd name="connsiteX10" fmla="*/ 31477 w 46005"/>
                <a:gd name="connsiteY10" fmla="*/ 15172 h 23407"/>
                <a:gd name="connsiteX11" fmla="*/ 23762 w 46005"/>
                <a:gd name="connsiteY11" fmla="*/ 15172 h 23407"/>
                <a:gd name="connsiteX12" fmla="*/ 3569 w 46005"/>
                <a:gd name="connsiteY12" fmla="*/ 3457 h 23407"/>
                <a:gd name="connsiteX13" fmla="*/ 1283 w 46005"/>
                <a:gd name="connsiteY13" fmla="*/ 2123 h 23407"/>
                <a:gd name="connsiteX14" fmla="*/ -336 w 46005"/>
                <a:gd name="connsiteY14" fmla="*/ -163 h 234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6005" h="23407">
                  <a:moveTo>
                    <a:pt x="-336" y="-163"/>
                  </a:moveTo>
                  <a:lnTo>
                    <a:pt x="-336" y="7076"/>
                  </a:lnTo>
                  <a:cubicBezTo>
                    <a:pt x="-260" y="8057"/>
                    <a:pt x="369" y="8905"/>
                    <a:pt x="1283" y="9267"/>
                  </a:cubicBezTo>
                  <a:lnTo>
                    <a:pt x="23762" y="22316"/>
                  </a:lnTo>
                  <a:cubicBezTo>
                    <a:pt x="26181" y="23555"/>
                    <a:pt x="29058" y="23555"/>
                    <a:pt x="31477" y="22316"/>
                  </a:cubicBezTo>
                  <a:lnTo>
                    <a:pt x="44145" y="14982"/>
                  </a:lnTo>
                  <a:cubicBezTo>
                    <a:pt x="44822" y="14629"/>
                    <a:pt x="45355" y="14058"/>
                    <a:pt x="45669" y="13363"/>
                  </a:cubicBezTo>
                  <a:lnTo>
                    <a:pt x="45669" y="6219"/>
                  </a:lnTo>
                  <a:cubicBezTo>
                    <a:pt x="45412" y="6952"/>
                    <a:pt x="44860" y="7533"/>
                    <a:pt x="44145" y="7838"/>
                  </a:cubicBezTo>
                  <a:lnTo>
                    <a:pt x="41764" y="9172"/>
                  </a:lnTo>
                  <a:lnTo>
                    <a:pt x="31477" y="15172"/>
                  </a:lnTo>
                  <a:cubicBezTo>
                    <a:pt x="29058" y="16411"/>
                    <a:pt x="26181" y="16411"/>
                    <a:pt x="23762" y="15172"/>
                  </a:cubicBezTo>
                  <a:lnTo>
                    <a:pt x="3569" y="3457"/>
                  </a:lnTo>
                  <a:lnTo>
                    <a:pt x="1283" y="2123"/>
                  </a:lnTo>
                  <a:cubicBezTo>
                    <a:pt x="340" y="1752"/>
                    <a:pt x="-298" y="856"/>
                    <a:pt x="-336" y="-163"/>
                  </a:cubicBezTo>
                  <a:close/>
                </a:path>
              </a:pathLst>
            </a:custGeom>
            <a:solidFill>
              <a:srgbClr val="BF4200"/>
            </a:solidFill>
            <a:ln w="9525" cap="flat">
              <a:noFill/>
              <a:prstDash val="solid"/>
              <a:miter/>
            </a:ln>
          </p:spPr>
          <p:txBody>
            <a:bodyPr rtlCol="0" anchor="ctr"/>
            <a:lstStyle/>
            <a:p>
              <a:endParaRPr lang="zh-CN" altLang="en-US"/>
            </a:p>
          </p:txBody>
        </p:sp>
        <p:sp>
          <p:nvSpPr>
            <p:cNvPr id="777" name="îşlïďê">
              <a:extLst>
                <a:ext uri="{FF2B5EF4-FFF2-40B4-BE49-F238E27FC236}">
                  <a16:creationId xmlns:a16="http://schemas.microsoft.com/office/drawing/2014/main" id="{ADCC4F74-B715-4A72-B74F-8D0A24CE443D}"/>
                </a:ext>
              </a:extLst>
            </p:cNvPr>
            <p:cNvSpPr/>
            <p:nvPr/>
          </p:nvSpPr>
          <p:spPr>
            <a:xfrm>
              <a:off x="5261180" y="5016300"/>
              <a:ext cx="505645" cy="291913"/>
            </a:xfrm>
            <a:custGeom>
              <a:avLst/>
              <a:gdLst>
                <a:gd name="connsiteX0" fmla="*/ -336 w 166116"/>
                <a:gd name="connsiteY0" fmla="*/ 10227 h 95900"/>
                <a:gd name="connsiteX1" fmla="*/ 1188 w 166116"/>
                <a:gd name="connsiteY1" fmla="*/ 12513 h 95900"/>
                <a:gd name="connsiteX2" fmla="*/ 3569 w 166116"/>
                <a:gd name="connsiteY2" fmla="*/ 13846 h 95900"/>
                <a:gd name="connsiteX3" fmla="*/ 143872 w 166116"/>
                <a:gd name="connsiteY3" fmla="*/ 94809 h 95900"/>
                <a:gd name="connsiteX4" fmla="*/ 151588 w 166116"/>
                <a:gd name="connsiteY4" fmla="*/ 94809 h 95900"/>
                <a:gd name="connsiteX5" fmla="*/ 161779 w 166116"/>
                <a:gd name="connsiteY5" fmla="*/ 88903 h 95900"/>
                <a:gd name="connsiteX6" fmla="*/ 164161 w 166116"/>
                <a:gd name="connsiteY6" fmla="*/ 87570 h 95900"/>
                <a:gd name="connsiteX7" fmla="*/ 165780 w 166116"/>
                <a:gd name="connsiteY7" fmla="*/ 85951 h 95900"/>
                <a:gd name="connsiteX8" fmla="*/ 165780 w 166116"/>
                <a:gd name="connsiteY8" fmla="*/ 84808 h 95900"/>
                <a:gd name="connsiteX9" fmla="*/ 164161 w 166116"/>
                <a:gd name="connsiteY9" fmla="*/ 83093 h 95900"/>
                <a:gd name="connsiteX10" fmla="*/ 21286 w 166116"/>
                <a:gd name="connsiteY10" fmla="*/ 702 h 95900"/>
                <a:gd name="connsiteX11" fmla="*/ 13665 w 166116"/>
                <a:gd name="connsiteY11" fmla="*/ 702 h 95900"/>
                <a:gd name="connsiteX12" fmla="*/ 997 w 166116"/>
                <a:gd name="connsiteY12" fmla="*/ 8036 h 95900"/>
                <a:gd name="connsiteX13" fmla="*/ -336 w 166116"/>
                <a:gd name="connsiteY13" fmla="*/ 10227 h 95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6116" h="95900">
                  <a:moveTo>
                    <a:pt x="-336" y="10227"/>
                  </a:moveTo>
                  <a:cubicBezTo>
                    <a:pt x="-269" y="11208"/>
                    <a:pt x="311" y="12075"/>
                    <a:pt x="1188" y="12513"/>
                  </a:cubicBezTo>
                  <a:lnTo>
                    <a:pt x="3569" y="13846"/>
                  </a:lnTo>
                  <a:lnTo>
                    <a:pt x="143872" y="94809"/>
                  </a:lnTo>
                  <a:cubicBezTo>
                    <a:pt x="146292" y="96047"/>
                    <a:pt x="149168" y="96047"/>
                    <a:pt x="151588" y="94809"/>
                  </a:cubicBezTo>
                  <a:lnTo>
                    <a:pt x="161779" y="88903"/>
                  </a:lnTo>
                  <a:lnTo>
                    <a:pt x="164161" y="87570"/>
                  </a:lnTo>
                  <a:cubicBezTo>
                    <a:pt x="164875" y="87236"/>
                    <a:pt x="165446" y="86665"/>
                    <a:pt x="165780" y="85951"/>
                  </a:cubicBezTo>
                  <a:lnTo>
                    <a:pt x="165780" y="84808"/>
                  </a:lnTo>
                  <a:cubicBezTo>
                    <a:pt x="165484" y="84046"/>
                    <a:pt x="164903" y="83436"/>
                    <a:pt x="164161" y="83093"/>
                  </a:cubicBezTo>
                  <a:lnTo>
                    <a:pt x="21286" y="702"/>
                  </a:lnTo>
                  <a:cubicBezTo>
                    <a:pt x="18876" y="-451"/>
                    <a:pt x="16075" y="-451"/>
                    <a:pt x="13665" y="702"/>
                  </a:cubicBezTo>
                  <a:lnTo>
                    <a:pt x="997" y="8036"/>
                  </a:lnTo>
                  <a:cubicBezTo>
                    <a:pt x="216" y="8503"/>
                    <a:pt x="-279" y="9322"/>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778" name="íşlïďè">
              <a:extLst>
                <a:ext uri="{FF2B5EF4-FFF2-40B4-BE49-F238E27FC236}">
                  <a16:creationId xmlns:a16="http://schemas.microsoft.com/office/drawing/2014/main" id="{70B64131-23E6-4B1F-B036-7D7B5362AEE3}"/>
                </a:ext>
              </a:extLst>
            </p:cNvPr>
            <p:cNvSpPr/>
            <p:nvPr/>
          </p:nvSpPr>
          <p:spPr>
            <a:xfrm>
              <a:off x="5263067" y="5017481"/>
              <a:ext cx="501657" cy="289569"/>
            </a:xfrm>
            <a:custGeom>
              <a:avLst/>
              <a:gdLst>
                <a:gd name="connsiteX0" fmla="*/ 143348 w 164806"/>
                <a:gd name="connsiteY0" fmla="*/ 94039 h 95130"/>
                <a:gd name="connsiteX1" fmla="*/ 1235 w 164806"/>
                <a:gd name="connsiteY1" fmla="*/ 12029 h 95130"/>
                <a:gd name="connsiteX2" fmla="*/ 1235 w 164806"/>
                <a:gd name="connsiteY2" fmla="*/ 7743 h 95130"/>
                <a:gd name="connsiteX3" fmla="*/ 13332 w 164806"/>
                <a:gd name="connsiteY3" fmla="*/ 695 h 95130"/>
                <a:gd name="connsiteX4" fmla="*/ 20761 w 164806"/>
                <a:gd name="connsiteY4" fmla="*/ 695 h 95130"/>
                <a:gd name="connsiteX5" fmla="*/ 162970 w 164806"/>
                <a:gd name="connsiteY5" fmla="*/ 82800 h 95130"/>
                <a:gd name="connsiteX6" fmla="*/ 162970 w 164806"/>
                <a:gd name="connsiteY6" fmla="*/ 87086 h 95130"/>
                <a:gd name="connsiteX7" fmla="*/ 150778 w 164806"/>
                <a:gd name="connsiteY7" fmla="*/ 94039 h 95130"/>
                <a:gd name="connsiteX8" fmla="*/ 143348 w 164806"/>
                <a:gd name="connsiteY8" fmla="*/ 94039 h 95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4806" h="95130">
                  <a:moveTo>
                    <a:pt x="143348" y="94039"/>
                  </a:moveTo>
                  <a:lnTo>
                    <a:pt x="1235" y="12029"/>
                  </a:lnTo>
                  <a:cubicBezTo>
                    <a:pt x="-860" y="10791"/>
                    <a:pt x="-860" y="8886"/>
                    <a:pt x="1235" y="7743"/>
                  </a:cubicBezTo>
                  <a:lnTo>
                    <a:pt x="13332" y="695"/>
                  </a:lnTo>
                  <a:cubicBezTo>
                    <a:pt x="15675" y="-448"/>
                    <a:pt x="18418" y="-448"/>
                    <a:pt x="20761" y="695"/>
                  </a:cubicBezTo>
                  <a:lnTo>
                    <a:pt x="162970" y="82800"/>
                  </a:lnTo>
                  <a:cubicBezTo>
                    <a:pt x="164970" y="83943"/>
                    <a:pt x="164970" y="85848"/>
                    <a:pt x="162970" y="87086"/>
                  </a:cubicBezTo>
                  <a:lnTo>
                    <a:pt x="150778" y="94039"/>
                  </a:lnTo>
                  <a:cubicBezTo>
                    <a:pt x="148454" y="95278"/>
                    <a:pt x="145672" y="95278"/>
                    <a:pt x="143348" y="94039"/>
                  </a:cubicBezTo>
                  <a:close/>
                </a:path>
              </a:pathLst>
            </a:custGeom>
            <a:solidFill>
              <a:srgbClr val="D1D9E8"/>
            </a:solidFill>
            <a:ln w="9525" cap="flat">
              <a:noFill/>
              <a:prstDash val="solid"/>
              <a:miter/>
            </a:ln>
          </p:spPr>
          <p:txBody>
            <a:bodyPr rtlCol="0" anchor="ctr"/>
            <a:lstStyle/>
            <a:p>
              <a:endParaRPr lang="zh-CN" altLang="en-US"/>
            </a:p>
          </p:txBody>
        </p:sp>
        <p:sp>
          <p:nvSpPr>
            <p:cNvPr id="779" name="îṥļíḓê">
              <a:extLst>
                <a:ext uri="{FF2B5EF4-FFF2-40B4-BE49-F238E27FC236}">
                  <a16:creationId xmlns:a16="http://schemas.microsoft.com/office/drawing/2014/main" id="{ECED8C06-AB4B-4A49-91EB-B07AAC223F6A}"/>
                </a:ext>
              </a:extLst>
            </p:cNvPr>
            <p:cNvSpPr/>
            <p:nvPr/>
          </p:nvSpPr>
          <p:spPr>
            <a:xfrm>
              <a:off x="5261180" y="5047923"/>
              <a:ext cx="506223" cy="281974"/>
            </a:xfrm>
            <a:custGeom>
              <a:avLst/>
              <a:gdLst>
                <a:gd name="connsiteX0" fmla="*/ -336 w 166306"/>
                <a:gd name="connsiteY0" fmla="*/ -163 h 92635"/>
                <a:gd name="connsiteX1" fmla="*/ -336 w 166306"/>
                <a:gd name="connsiteY1" fmla="*/ 6981 h 92635"/>
                <a:gd name="connsiteX2" fmla="*/ 1188 w 166306"/>
                <a:gd name="connsiteY2" fmla="*/ 9267 h 92635"/>
                <a:gd name="connsiteX3" fmla="*/ 144063 w 166306"/>
                <a:gd name="connsiteY3" fmla="*/ 91659 h 92635"/>
                <a:gd name="connsiteX4" fmla="*/ 151778 w 166306"/>
                <a:gd name="connsiteY4" fmla="*/ 91659 h 92635"/>
                <a:gd name="connsiteX5" fmla="*/ 164351 w 166306"/>
                <a:gd name="connsiteY5" fmla="*/ 84324 h 92635"/>
                <a:gd name="connsiteX6" fmla="*/ 165970 w 166306"/>
                <a:gd name="connsiteY6" fmla="*/ 82705 h 92635"/>
                <a:gd name="connsiteX7" fmla="*/ 165970 w 166306"/>
                <a:gd name="connsiteY7" fmla="*/ 75561 h 92635"/>
                <a:gd name="connsiteX8" fmla="*/ 164351 w 166306"/>
                <a:gd name="connsiteY8" fmla="*/ 77180 h 92635"/>
                <a:gd name="connsiteX9" fmla="*/ 161970 w 166306"/>
                <a:gd name="connsiteY9" fmla="*/ 78514 h 92635"/>
                <a:gd name="connsiteX10" fmla="*/ 151778 w 166306"/>
                <a:gd name="connsiteY10" fmla="*/ 84419 h 92635"/>
                <a:gd name="connsiteX11" fmla="*/ 144063 w 166306"/>
                <a:gd name="connsiteY11" fmla="*/ 84419 h 92635"/>
                <a:gd name="connsiteX12" fmla="*/ 3569 w 166306"/>
                <a:gd name="connsiteY12" fmla="*/ 3457 h 92635"/>
                <a:gd name="connsiteX13" fmla="*/ 1188 w 166306"/>
                <a:gd name="connsiteY13" fmla="*/ 2123 h 92635"/>
                <a:gd name="connsiteX14" fmla="*/ -336 w 166306"/>
                <a:gd name="connsiteY14" fmla="*/ -163 h 92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66306" h="92635">
                  <a:moveTo>
                    <a:pt x="-336" y="-163"/>
                  </a:moveTo>
                  <a:lnTo>
                    <a:pt x="-336" y="6981"/>
                  </a:lnTo>
                  <a:cubicBezTo>
                    <a:pt x="-251" y="7953"/>
                    <a:pt x="321" y="8819"/>
                    <a:pt x="1188" y="9267"/>
                  </a:cubicBezTo>
                  <a:lnTo>
                    <a:pt x="144063" y="91659"/>
                  </a:lnTo>
                  <a:cubicBezTo>
                    <a:pt x="146520" y="92744"/>
                    <a:pt x="149321" y="92744"/>
                    <a:pt x="151778" y="91659"/>
                  </a:cubicBezTo>
                  <a:lnTo>
                    <a:pt x="164351" y="84324"/>
                  </a:lnTo>
                  <a:cubicBezTo>
                    <a:pt x="165066" y="83991"/>
                    <a:pt x="165637" y="83419"/>
                    <a:pt x="165970" y="82705"/>
                  </a:cubicBezTo>
                  <a:lnTo>
                    <a:pt x="165970" y="75561"/>
                  </a:lnTo>
                  <a:cubicBezTo>
                    <a:pt x="165637" y="76275"/>
                    <a:pt x="165066" y="76847"/>
                    <a:pt x="164351" y="77180"/>
                  </a:cubicBezTo>
                  <a:lnTo>
                    <a:pt x="161970" y="78514"/>
                  </a:lnTo>
                  <a:lnTo>
                    <a:pt x="151778" y="84419"/>
                  </a:lnTo>
                  <a:cubicBezTo>
                    <a:pt x="149359" y="85658"/>
                    <a:pt x="146482" y="85658"/>
                    <a:pt x="144063" y="84419"/>
                  </a:cubicBezTo>
                  <a:lnTo>
                    <a:pt x="3569" y="3457"/>
                  </a:lnTo>
                  <a:lnTo>
                    <a:pt x="1188" y="2123"/>
                  </a:lnTo>
                  <a:cubicBezTo>
                    <a:pt x="311"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80" name="îslïḍé">
              <a:extLst>
                <a:ext uri="{FF2B5EF4-FFF2-40B4-BE49-F238E27FC236}">
                  <a16:creationId xmlns:a16="http://schemas.microsoft.com/office/drawing/2014/main" id="{27F7D28B-2636-47A5-BC3F-FD044A2AB783}"/>
                </a:ext>
              </a:extLst>
            </p:cNvPr>
            <p:cNvSpPr/>
            <p:nvPr/>
          </p:nvSpPr>
          <p:spPr>
            <a:xfrm>
              <a:off x="5735223" y="5289705"/>
              <a:ext cx="109740" cy="63445"/>
            </a:xfrm>
            <a:custGeom>
              <a:avLst/>
              <a:gdLst>
                <a:gd name="connsiteX0" fmla="*/ -336 w 36052"/>
                <a:gd name="connsiteY0" fmla="*/ 10227 h 20843"/>
                <a:gd name="connsiteX1" fmla="*/ 1188 w 36052"/>
                <a:gd name="connsiteY1" fmla="*/ 12513 h 20843"/>
                <a:gd name="connsiteX2" fmla="*/ 3569 w 36052"/>
                <a:gd name="connsiteY2" fmla="*/ 13846 h 20843"/>
                <a:gd name="connsiteX3" fmla="*/ 13856 w 36052"/>
                <a:gd name="connsiteY3" fmla="*/ 19752 h 20843"/>
                <a:gd name="connsiteX4" fmla="*/ 21476 w 36052"/>
                <a:gd name="connsiteY4" fmla="*/ 19752 h 20843"/>
                <a:gd name="connsiteX5" fmla="*/ 31763 w 36052"/>
                <a:gd name="connsiteY5" fmla="*/ 13846 h 20843"/>
                <a:gd name="connsiteX6" fmla="*/ 34144 w 36052"/>
                <a:gd name="connsiteY6" fmla="*/ 12513 h 20843"/>
                <a:gd name="connsiteX7" fmla="*/ 35573 w 36052"/>
                <a:gd name="connsiteY7" fmla="*/ 9465 h 20843"/>
                <a:gd name="connsiteX8" fmla="*/ 34144 w 36052"/>
                <a:gd name="connsiteY8" fmla="*/ 8036 h 20843"/>
                <a:gd name="connsiteX9" fmla="*/ 21476 w 36052"/>
                <a:gd name="connsiteY9" fmla="*/ 702 h 20843"/>
                <a:gd name="connsiteX10" fmla="*/ 13856 w 36052"/>
                <a:gd name="connsiteY10" fmla="*/ 702 h 20843"/>
                <a:gd name="connsiteX11" fmla="*/ 1188 w 36052"/>
                <a:gd name="connsiteY11" fmla="*/ 8036 h 20843"/>
                <a:gd name="connsiteX12" fmla="*/ -336 w 36052"/>
                <a:gd name="connsiteY12" fmla="*/ 10227 h 20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3">
                  <a:moveTo>
                    <a:pt x="-336" y="10227"/>
                  </a:moveTo>
                  <a:cubicBezTo>
                    <a:pt x="-270" y="11208"/>
                    <a:pt x="311" y="12075"/>
                    <a:pt x="1188" y="12513"/>
                  </a:cubicBezTo>
                  <a:lnTo>
                    <a:pt x="3569" y="13846"/>
                  </a:lnTo>
                  <a:lnTo>
                    <a:pt x="13856" y="19752"/>
                  </a:lnTo>
                  <a:cubicBezTo>
                    <a:pt x="16247" y="20990"/>
                    <a:pt x="19085" y="20990"/>
                    <a:pt x="21476" y="19752"/>
                  </a:cubicBezTo>
                  <a:lnTo>
                    <a:pt x="31763" y="13846"/>
                  </a:lnTo>
                  <a:lnTo>
                    <a:pt x="34144" y="12513"/>
                  </a:lnTo>
                  <a:cubicBezTo>
                    <a:pt x="35382" y="12065"/>
                    <a:pt x="36020" y="10694"/>
                    <a:pt x="35573" y="9465"/>
                  </a:cubicBezTo>
                  <a:cubicBezTo>
                    <a:pt x="35325" y="8798"/>
                    <a:pt x="34811" y="8274"/>
                    <a:pt x="34144"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781" name="îṣlîḍè">
              <a:extLst>
                <a:ext uri="{FF2B5EF4-FFF2-40B4-BE49-F238E27FC236}">
                  <a16:creationId xmlns:a16="http://schemas.microsoft.com/office/drawing/2014/main" id="{A419EBA3-666B-4FE5-B4D0-839476ED0445}"/>
                </a:ext>
              </a:extLst>
            </p:cNvPr>
            <p:cNvSpPr/>
            <p:nvPr/>
          </p:nvSpPr>
          <p:spPr>
            <a:xfrm>
              <a:off x="5736818" y="5290889"/>
              <a:ext cx="105898" cy="61104"/>
            </a:xfrm>
            <a:custGeom>
              <a:avLst/>
              <a:gdLst>
                <a:gd name="connsiteX0" fmla="*/ 1235 w 34790"/>
                <a:gd name="connsiteY0" fmla="*/ 12029 h 20074"/>
                <a:gd name="connsiteX1" fmla="*/ 13332 w 34790"/>
                <a:gd name="connsiteY1" fmla="*/ 18983 h 20074"/>
                <a:gd name="connsiteX2" fmla="*/ 20761 w 34790"/>
                <a:gd name="connsiteY2" fmla="*/ 18983 h 20074"/>
                <a:gd name="connsiteX3" fmla="*/ 32953 w 34790"/>
                <a:gd name="connsiteY3" fmla="*/ 12029 h 20074"/>
                <a:gd name="connsiteX4" fmla="*/ 32953 w 34790"/>
                <a:gd name="connsiteY4" fmla="*/ 7743 h 20074"/>
                <a:gd name="connsiteX5" fmla="*/ 20761 w 34790"/>
                <a:gd name="connsiteY5" fmla="*/ 695 h 20074"/>
                <a:gd name="connsiteX6" fmla="*/ 13332 w 34790"/>
                <a:gd name="connsiteY6" fmla="*/ 695 h 20074"/>
                <a:gd name="connsiteX7" fmla="*/ 1235 w 34790"/>
                <a:gd name="connsiteY7" fmla="*/ 7743 h 20074"/>
                <a:gd name="connsiteX8" fmla="*/ 1235 w 34790"/>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4">
                  <a:moveTo>
                    <a:pt x="1235" y="12029"/>
                  </a:moveTo>
                  <a:lnTo>
                    <a:pt x="13332" y="18983"/>
                  </a:lnTo>
                  <a:cubicBezTo>
                    <a:pt x="15656" y="20221"/>
                    <a:pt x="18437" y="20221"/>
                    <a:pt x="20761" y="18983"/>
                  </a:cubicBezTo>
                  <a:lnTo>
                    <a:pt x="32953" y="12029"/>
                  </a:lnTo>
                  <a:cubicBezTo>
                    <a:pt x="34954" y="10791"/>
                    <a:pt x="34954" y="8886"/>
                    <a:pt x="32953" y="7743"/>
                  </a:cubicBezTo>
                  <a:lnTo>
                    <a:pt x="20761" y="695"/>
                  </a:lnTo>
                  <a:cubicBezTo>
                    <a:pt x="18418" y="-448"/>
                    <a:pt x="15675" y="-448"/>
                    <a:pt x="13332" y="695"/>
                  </a:cubicBezTo>
                  <a:lnTo>
                    <a:pt x="1235" y="7743"/>
                  </a:lnTo>
                  <a:cubicBezTo>
                    <a:pt x="-860" y="9362"/>
                    <a:pt x="-860" y="10791"/>
                    <a:pt x="1235" y="12029"/>
                  </a:cubicBezTo>
                  <a:close/>
                </a:path>
              </a:pathLst>
            </a:custGeom>
            <a:solidFill>
              <a:srgbClr val="D1D9E8"/>
            </a:solidFill>
            <a:ln w="9525" cap="flat">
              <a:noFill/>
              <a:prstDash val="solid"/>
              <a:miter/>
            </a:ln>
          </p:spPr>
          <p:txBody>
            <a:bodyPr rtlCol="0" anchor="ctr"/>
            <a:lstStyle/>
            <a:p>
              <a:endParaRPr lang="zh-CN" altLang="en-US"/>
            </a:p>
          </p:txBody>
        </p:sp>
        <p:sp>
          <p:nvSpPr>
            <p:cNvPr id="782" name="ïṩľïḑé">
              <a:extLst>
                <a:ext uri="{FF2B5EF4-FFF2-40B4-BE49-F238E27FC236}">
                  <a16:creationId xmlns:a16="http://schemas.microsoft.com/office/drawing/2014/main" id="{2FA2C075-7330-4BD4-AFA1-C4A750A28101}"/>
                </a:ext>
              </a:extLst>
            </p:cNvPr>
            <p:cNvSpPr/>
            <p:nvPr/>
          </p:nvSpPr>
          <p:spPr>
            <a:xfrm>
              <a:off x="5735223" y="5321332"/>
              <a:ext cx="109594" cy="53804"/>
            </a:xfrm>
            <a:custGeom>
              <a:avLst/>
              <a:gdLst>
                <a:gd name="connsiteX0" fmla="*/ -336 w 36004"/>
                <a:gd name="connsiteY0" fmla="*/ -163 h 17676"/>
                <a:gd name="connsiteX1" fmla="*/ -336 w 36004"/>
                <a:gd name="connsiteY1" fmla="*/ 7076 h 17676"/>
                <a:gd name="connsiteX2" fmla="*/ 1188 w 36004"/>
                <a:gd name="connsiteY2" fmla="*/ 9267 h 17676"/>
                <a:gd name="connsiteX3" fmla="*/ 13856 w 36004"/>
                <a:gd name="connsiteY3" fmla="*/ 16506 h 17676"/>
                <a:gd name="connsiteX4" fmla="*/ 21476 w 36004"/>
                <a:gd name="connsiteY4" fmla="*/ 16506 h 17676"/>
                <a:gd name="connsiteX5" fmla="*/ 34144 w 36004"/>
                <a:gd name="connsiteY5" fmla="*/ 9267 h 17676"/>
                <a:gd name="connsiteX6" fmla="*/ 35668 w 36004"/>
                <a:gd name="connsiteY6" fmla="*/ 6981 h 17676"/>
                <a:gd name="connsiteX7" fmla="*/ 35668 w 36004"/>
                <a:gd name="connsiteY7" fmla="*/ -163 h 17676"/>
                <a:gd name="connsiteX8" fmla="*/ 34144 w 36004"/>
                <a:gd name="connsiteY8" fmla="*/ 2124 h 17676"/>
                <a:gd name="connsiteX9" fmla="*/ 31763 w 36004"/>
                <a:gd name="connsiteY9" fmla="*/ 3457 h 17676"/>
                <a:gd name="connsiteX10" fmla="*/ 21476 w 36004"/>
                <a:gd name="connsiteY10" fmla="*/ 9362 h 17676"/>
                <a:gd name="connsiteX11" fmla="*/ 13856 w 36004"/>
                <a:gd name="connsiteY11" fmla="*/ 9362 h 17676"/>
                <a:gd name="connsiteX12" fmla="*/ 3569 w 36004"/>
                <a:gd name="connsiteY12" fmla="*/ 3457 h 17676"/>
                <a:gd name="connsiteX13" fmla="*/ 1188 w 36004"/>
                <a:gd name="connsiteY13" fmla="*/ 2124 h 17676"/>
                <a:gd name="connsiteX14" fmla="*/ -336 w 36004"/>
                <a:gd name="connsiteY14" fmla="*/ -163 h 17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6">
                  <a:moveTo>
                    <a:pt x="-336" y="-163"/>
                  </a:moveTo>
                  <a:lnTo>
                    <a:pt x="-336" y="7076"/>
                  </a:lnTo>
                  <a:cubicBezTo>
                    <a:pt x="-279" y="8029"/>
                    <a:pt x="311" y="8877"/>
                    <a:pt x="1188" y="9267"/>
                  </a:cubicBezTo>
                  <a:lnTo>
                    <a:pt x="13856" y="16506"/>
                  </a:lnTo>
                  <a:cubicBezTo>
                    <a:pt x="16218" y="17849"/>
                    <a:pt x="19114" y="17849"/>
                    <a:pt x="21476" y="16506"/>
                  </a:cubicBezTo>
                  <a:lnTo>
                    <a:pt x="34144" y="9267"/>
                  </a:lnTo>
                  <a:cubicBezTo>
                    <a:pt x="35049" y="8867"/>
                    <a:pt x="35640" y="7972"/>
                    <a:pt x="35668" y="6981"/>
                  </a:cubicBezTo>
                  <a:lnTo>
                    <a:pt x="35668" y="-163"/>
                  </a:lnTo>
                  <a:cubicBezTo>
                    <a:pt x="35602" y="819"/>
                    <a:pt x="35021" y="1685"/>
                    <a:pt x="34144" y="2124"/>
                  </a:cubicBezTo>
                  <a:lnTo>
                    <a:pt x="31763" y="3457"/>
                  </a:lnTo>
                  <a:lnTo>
                    <a:pt x="21476" y="9362"/>
                  </a:lnTo>
                  <a:cubicBezTo>
                    <a:pt x="19085" y="10601"/>
                    <a:pt x="16247" y="10601"/>
                    <a:pt x="13856" y="9362"/>
                  </a:cubicBezTo>
                  <a:lnTo>
                    <a:pt x="3569" y="3457"/>
                  </a:lnTo>
                  <a:lnTo>
                    <a:pt x="1188" y="2124"/>
                  </a:lnTo>
                  <a:cubicBezTo>
                    <a:pt x="311" y="1685"/>
                    <a:pt x="-270" y="819"/>
                    <a:pt x="-336" y="-163"/>
                  </a:cubicBezTo>
                  <a:close/>
                </a:path>
              </a:pathLst>
            </a:custGeom>
            <a:solidFill>
              <a:srgbClr val="BF4200"/>
            </a:solidFill>
            <a:ln w="9525" cap="flat">
              <a:noFill/>
              <a:prstDash val="solid"/>
              <a:miter/>
            </a:ln>
          </p:spPr>
          <p:txBody>
            <a:bodyPr rtlCol="0" anchor="ctr"/>
            <a:lstStyle/>
            <a:p>
              <a:endParaRPr lang="zh-CN" altLang="en-US"/>
            </a:p>
          </p:txBody>
        </p:sp>
        <p:sp>
          <p:nvSpPr>
            <p:cNvPr id="783" name="íşlídè">
              <a:extLst>
                <a:ext uri="{FF2B5EF4-FFF2-40B4-BE49-F238E27FC236}">
                  <a16:creationId xmlns:a16="http://schemas.microsoft.com/office/drawing/2014/main" id="{E3A65BA0-C3E1-4C3A-8966-C537DC70B9D7}"/>
                </a:ext>
              </a:extLst>
            </p:cNvPr>
            <p:cNvSpPr/>
            <p:nvPr/>
          </p:nvSpPr>
          <p:spPr>
            <a:xfrm>
              <a:off x="5812636" y="5334451"/>
              <a:ext cx="108202" cy="63588"/>
            </a:xfrm>
            <a:custGeom>
              <a:avLst/>
              <a:gdLst>
                <a:gd name="connsiteX0" fmla="*/ -336 w 35547"/>
                <a:gd name="connsiteY0" fmla="*/ 10291 h 20890"/>
                <a:gd name="connsiteX1" fmla="*/ 1187 w 35547"/>
                <a:gd name="connsiteY1" fmla="*/ 12482 h 20890"/>
                <a:gd name="connsiteX2" fmla="*/ 3569 w 35547"/>
                <a:gd name="connsiteY2" fmla="*/ 13911 h 20890"/>
                <a:gd name="connsiteX3" fmla="*/ 13856 w 35547"/>
                <a:gd name="connsiteY3" fmla="*/ 19721 h 20890"/>
                <a:gd name="connsiteX4" fmla="*/ 21476 w 35547"/>
                <a:gd name="connsiteY4" fmla="*/ 19721 h 20890"/>
                <a:gd name="connsiteX5" fmla="*/ 31382 w 35547"/>
                <a:gd name="connsiteY5" fmla="*/ 14101 h 20890"/>
                <a:gd name="connsiteX6" fmla="*/ 33763 w 35547"/>
                <a:gd name="connsiteY6" fmla="*/ 12672 h 20890"/>
                <a:gd name="connsiteX7" fmla="*/ 35020 w 35547"/>
                <a:gd name="connsiteY7" fmla="*/ 9548 h 20890"/>
                <a:gd name="connsiteX8" fmla="*/ 33763 w 35547"/>
                <a:gd name="connsiteY8" fmla="*/ 8291 h 20890"/>
                <a:gd name="connsiteX9" fmla="*/ 21857 w 35547"/>
                <a:gd name="connsiteY9" fmla="*/ 766 h 20890"/>
                <a:gd name="connsiteX10" fmla="*/ 14237 w 35547"/>
                <a:gd name="connsiteY10" fmla="*/ 766 h 20890"/>
                <a:gd name="connsiteX11" fmla="*/ 1568 w 35547"/>
                <a:gd name="connsiteY11" fmla="*/ 8100 h 20890"/>
                <a:gd name="connsiteX12" fmla="*/ -336 w 35547"/>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547" h="20890">
                  <a:moveTo>
                    <a:pt x="-336" y="10291"/>
                  </a:moveTo>
                  <a:cubicBezTo>
                    <a:pt x="-298" y="11253"/>
                    <a:pt x="292" y="12110"/>
                    <a:pt x="1187" y="12482"/>
                  </a:cubicBezTo>
                  <a:lnTo>
                    <a:pt x="3569" y="13911"/>
                  </a:lnTo>
                  <a:lnTo>
                    <a:pt x="13856" y="19721"/>
                  </a:lnTo>
                  <a:cubicBezTo>
                    <a:pt x="16218" y="21064"/>
                    <a:pt x="19114" y="21064"/>
                    <a:pt x="21476" y="19721"/>
                  </a:cubicBezTo>
                  <a:lnTo>
                    <a:pt x="31382" y="14101"/>
                  </a:lnTo>
                  <a:lnTo>
                    <a:pt x="33763" y="12672"/>
                  </a:lnTo>
                  <a:cubicBezTo>
                    <a:pt x="34973" y="12158"/>
                    <a:pt x="35535" y="10758"/>
                    <a:pt x="35020" y="9548"/>
                  </a:cubicBezTo>
                  <a:cubicBezTo>
                    <a:pt x="34782" y="8986"/>
                    <a:pt x="34325" y="8529"/>
                    <a:pt x="33763" y="8291"/>
                  </a:cubicBezTo>
                  <a:lnTo>
                    <a:pt x="21857" y="766"/>
                  </a:lnTo>
                  <a:cubicBezTo>
                    <a:pt x="19466" y="-472"/>
                    <a:pt x="16627" y="-472"/>
                    <a:pt x="14237" y="766"/>
                  </a:cubicBezTo>
                  <a:lnTo>
                    <a:pt x="1568" y="8100"/>
                  </a:lnTo>
                  <a:cubicBezTo>
                    <a:pt x="530" y="8338"/>
                    <a:pt x="-241" y="9224"/>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784" name="í$ľiḑé">
              <a:extLst>
                <a:ext uri="{FF2B5EF4-FFF2-40B4-BE49-F238E27FC236}">
                  <a16:creationId xmlns:a16="http://schemas.microsoft.com/office/drawing/2014/main" id="{11DBEB68-2D0A-42DB-8E1B-E47D7A5160E3}"/>
                </a:ext>
              </a:extLst>
            </p:cNvPr>
            <p:cNvSpPr/>
            <p:nvPr/>
          </p:nvSpPr>
          <p:spPr>
            <a:xfrm>
              <a:off x="5814521" y="5335611"/>
              <a:ext cx="105825" cy="61101"/>
            </a:xfrm>
            <a:custGeom>
              <a:avLst/>
              <a:gdLst>
                <a:gd name="connsiteX0" fmla="*/ 1235 w 34766"/>
                <a:gd name="connsiteY0" fmla="*/ 12006 h 20073"/>
                <a:gd name="connsiteX1" fmla="*/ 13332 w 34766"/>
                <a:gd name="connsiteY1" fmla="*/ 19054 h 20073"/>
                <a:gd name="connsiteX2" fmla="*/ 20762 w 34766"/>
                <a:gd name="connsiteY2" fmla="*/ 19054 h 20073"/>
                <a:gd name="connsiteX3" fmla="*/ 32858 w 34766"/>
                <a:gd name="connsiteY3" fmla="*/ 12006 h 20073"/>
                <a:gd name="connsiteX4" fmla="*/ 32858 w 34766"/>
                <a:gd name="connsiteY4" fmla="*/ 7719 h 20073"/>
                <a:gd name="connsiteX5" fmla="*/ 20762 w 34766"/>
                <a:gd name="connsiteY5" fmla="*/ 766 h 20073"/>
                <a:gd name="connsiteX6" fmla="*/ 13332 w 34766"/>
                <a:gd name="connsiteY6" fmla="*/ 766 h 20073"/>
                <a:gd name="connsiteX7" fmla="*/ 1235 w 34766"/>
                <a:gd name="connsiteY7" fmla="*/ 7719 h 20073"/>
                <a:gd name="connsiteX8" fmla="*/ 1235 w 34766"/>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6" h="20073">
                  <a:moveTo>
                    <a:pt x="1235" y="12006"/>
                  </a:moveTo>
                  <a:lnTo>
                    <a:pt x="13332" y="19054"/>
                  </a:lnTo>
                  <a:cubicBezTo>
                    <a:pt x="15675" y="20197"/>
                    <a:pt x="18419" y="20197"/>
                    <a:pt x="20762" y="19054"/>
                  </a:cubicBezTo>
                  <a:lnTo>
                    <a:pt x="32858" y="12006"/>
                  </a:lnTo>
                  <a:cubicBezTo>
                    <a:pt x="34954" y="10863"/>
                    <a:pt x="34954" y="8957"/>
                    <a:pt x="32858" y="7719"/>
                  </a:cubicBezTo>
                  <a:lnTo>
                    <a:pt x="20762" y="766"/>
                  </a:lnTo>
                  <a:cubicBezTo>
                    <a:pt x="18437" y="-472"/>
                    <a:pt x="15656" y="-472"/>
                    <a:pt x="13332" y="766"/>
                  </a:cubicBezTo>
                  <a:lnTo>
                    <a:pt x="1235" y="7719"/>
                  </a:lnTo>
                  <a:cubicBezTo>
                    <a:pt x="-860" y="8957"/>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785" name="îṧļîḑe">
              <a:extLst>
                <a:ext uri="{FF2B5EF4-FFF2-40B4-BE49-F238E27FC236}">
                  <a16:creationId xmlns:a16="http://schemas.microsoft.com/office/drawing/2014/main" id="{C5537C90-9E55-421D-BA35-C043D68A67DB}"/>
                </a:ext>
              </a:extLst>
            </p:cNvPr>
            <p:cNvSpPr/>
            <p:nvPr/>
          </p:nvSpPr>
          <p:spPr>
            <a:xfrm>
              <a:off x="5812591" y="5366272"/>
              <a:ext cx="109639" cy="53564"/>
            </a:xfrm>
            <a:custGeom>
              <a:avLst/>
              <a:gdLst>
                <a:gd name="connsiteX0" fmla="*/ -321 w 36019"/>
                <a:gd name="connsiteY0" fmla="*/ -163 h 17597"/>
                <a:gd name="connsiteX1" fmla="*/ -321 w 36019"/>
                <a:gd name="connsiteY1" fmla="*/ 7076 h 17597"/>
                <a:gd name="connsiteX2" fmla="*/ 1203 w 36019"/>
                <a:gd name="connsiteY2" fmla="*/ 9267 h 17597"/>
                <a:gd name="connsiteX3" fmla="*/ 13871 w 36019"/>
                <a:gd name="connsiteY3" fmla="*/ 16506 h 17597"/>
                <a:gd name="connsiteX4" fmla="*/ 21491 w 36019"/>
                <a:gd name="connsiteY4" fmla="*/ 16506 h 17597"/>
                <a:gd name="connsiteX5" fmla="*/ 34159 w 36019"/>
                <a:gd name="connsiteY5" fmla="*/ 9267 h 17597"/>
                <a:gd name="connsiteX6" fmla="*/ 35684 w 36019"/>
                <a:gd name="connsiteY6" fmla="*/ 6981 h 17597"/>
                <a:gd name="connsiteX7" fmla="*/ 35684 w 36019"/>
                <a:gd name="connsiteY7" fmla="*/ -163 h 17597"/>
                <a:gd name="connsiteX8" fmla="*/ 34159 w 36019"/>
                <a:gd name="connsiteY8" fmla="*/ 2028 h 17597"/>
                <a:gd name="connsiteX9" fmla="*/ 31397 w 36019"/>
                <a:gd name="connsiteY9" fmla="*/ 3647 h 17597"/>
                <a:gd name="connsiteX10" fmla="*/ 21110 w 36019"/>
                <a:gd name="connsiteY10" fmla="*/ 9457 h 17597"/>
                <a:gd name="connsiteX11" fmla="*/ 13490 w 36019"/>
                <a:gd name="connsiteY11" fmla="*/ 9457 h 17597"/>
                <a:gd name="connsiteX12" fmla="*/ 3203 w 36019"/>
                <a:gd name="connsiteY12" fmla="*/ 3647 h 17597"/>
                <a:gd name="connsiteX13" fmla="*/ 822 w 36019"/>
                <a:gd name="connsiteY13" fmla="*/ 2219 h 17597"/>
                <a:gd name="connsiteX14" fmla="*/ -321 w 3601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19" h="17597">
                  <a:moveTo>
                    <a:pt x="-321" y="-163"/>
                  </a:moveTo>
                  <a:lnTo>
                    <a:pt x="-321" y="7076"/>
                  </a:lnTo>
                  <a:cubicBezTo>
                    <a:pt x="-226" y="8019"/>
                    <a:pt x="355" y="8848"/>
                    <a:pt x="1203" y="9267"/>
                  </a:cubicBezTo>
                  <a:lnTo>
                    <a:pt x="13871" y="16506"/>
                  </a:lnTo>
                  <a:cubicBezTo>
                    <a:pt x="16262" y="17744"/>
                    <a:pt x="19101" y="17744"/>
                    <a:pt x="21491" y="16506"/>
                  </a:cubicBezTo>
                  <a:lnTo>
                    <a:pt x="34159" y="9267"/>
                  </a:lnTo>
                  <a:cubicBezTo>
                    <a:pt x="35026" y="8819"/>
                    <a:pt x="35598" y="7953"/>
                    <a:pt x="35684" y="6981"/>
                  </a:cubicBezTo>
                  <a:lnTo>
                    <a:pt x="35684" y="-163"/>
                  </a:lnTo>
                  <a:cubicBezTo>
                    <a:pt x="35645" y="799"/>
                    <a:pt x="35055" y="1656"/>
                    <a:pt x="34159" y="2028"/>
                  </a:cubicBezTo>
                  <a:lnTo>
                    <a:pt x="31397" y="3647"/>
                  </a:lnTo>
                  <a:lnTo>
                    <a:pt x="21110" y="9457"/>
                  </a:lnTo>
                  <a:cubicBezTo>
                    <a:pt x="18748" y="10801"/>
                    <a:pt x="15852" y="10801"/>
                    <a:pt x="13490" y="9457"/>
                  </a:cubicBezTo>
                  <a:lnTo>
                    <a:pt x="3203" y="3647"/>
                  </a:lnTo>
                  <a:lnTo>
                    <a:pt x="822" y="2219"/>
                  </a:lnTo>
                  <a:cubicBezTo>
                    <a:pt x="12" y="1714"/>
                    <a:pt x="-426" y="780"/>
                    <a:pt x="-321" y="-163"/>
                  </a:cubicBezTo>
                  <a:close/>
                </a:path>
              </a:pathLst>
            </a:custGeom>
            <a:solidFill>
              <a:srgbClr val="BF4200"/>
            </a:solidFill>
            <a:ln w="9525" cap="flat">
              <a:noFill/>
              <a:prstDash val="solid"/>
              <a:miter/>
            </a:ln>
          </p:spPr>
          <p:txBody>
            <a:bodyPr rtlCol="0" anchor="ctr"/>
            <a:lstStyle/>
            <a:p>
              <a:endParaRPr lang="zh-CN" altLang="en-US"/>
            </a:p>
          </p:txBody>
        </p:sp>
        <p:sp>
          <p:nvSpPr>
            <p:cNvPr id="786" name="iṣļîḋè">
              <a:extLst>
                <a:ext uri="{FF2B5EF4-FFF2-40B4-BE49-F238E27FC236}">
                  <a16:creationId xmlns:a16="http://schemas.microsoft.com/office/drawing/2014/main" id="{63566C68-D1FD-4277-A6E3-EF17EFE1B74B}"/>
                </a:ext>
              </a:extLst>
            </p:cNvPr>
            <p:cNvSpPr/>
            <p:nvPr/>
          </p:nvSpPr>
          <p:spPr>
            <a:xfrm>
              <a:off x="5889757" y="5379102"/>
              <a:ext cx="109450" cy="63350"/>
            </a:xfrm>
            <a:custGeom>
              <a:avLst/>
              <a:gdLst>
                <a:gd name="connsiteX0" fmla="*/ -336 w 35957"/>
                <a:gd name="connsiteY0" fmla="*/ 10196 h 20812"/>
                <a:gd name="connsiteX1" fmla="*/ 1188 w 35957"/>
                <a:gd name="connsiteY1" fmla="*/ 12482 h 20812"/>
                <a:gd name="connsiteX2" fmla="*/ 3569 w 35957"/>
                <a:gd name="connsiteY2" fmla="*/ 13815 h 20812"/>
                <a:gd name="connsiteX3" fmla="*/ 13761 w 35957"/>
                <a:gd name="connsiteY3" fmla="*/ 19721 h 20812"/>
                <a:gd name="connsiteX4" fmla="*/ 21476 w 35957"/>
                <a:gd name="connsiteY4" fmla="*/ 19721 h 20812"/>
                <a:gd name="connsiteX5" fmla="*/ 31763 w 35957"/>
                <a:gd name="connsiteY5" fmla="*/ 13815 h 20812"/>
                <a:gd name="connsiteX6" fmla="*/ 34049 w 35957"/>
                <a:gd name="connsiteY6" fmla="*/ 12482 h 20812"/>
                <a:gd name="connsiteX7" fmla="*/ 35478 w 35957"/>
                <a:gd name="connsiteY7" fmla="*/ 9434 h 20812"/>
                <a:gd name="connsiteX8" fmla="*/ 34049 w 35957"/>
                <a:gd name="connsiteY8" fmla="*/ 8005 h 20812"/>
                <a:gd name="connsiteX9" fmla="*/ 21476 w 35957"/>
                <a:gd name="connsiteY9" fmla="*/ 766 h 20812"/>
                <a:gd name="connsiteX10" fmla="*/ 13761 w 35957"/>
                <a:gd name="connsiteY10" fmla="*/ 766 h 20812"/>
                <a:gd name="connsiteX11" fmla="*/ 1188 w 35957"/>
                <a:gd name="connsiteY11" fmla="*/ 8005 h 20812"/>
                <a:gd name="connsiteX12" fmla="*/ -336 w 35957"/>
                <a:gd name="connsiteY12" fmla="*/ 10196 h 20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957" h="20812">
                  <a:moveTo>
                    <a:pt x="-336" y="10196"/>
                  </a:moveTo>
                  <a:cubicBezTo>
                    <a:pt x="-269" y="11177"/>
                    <a:pt x="312" y="12044"/>
                    <a:pt x="1188" y="12482"/>
                  </a:cubicBezTo>
                  <a:lnTo>
                    <a:pt x="3569" y="13815"/>
                  </a:lnTo>
                  <a:lnTo>
                    <a:pt x="13761" y="19721"/>
                  </a:lnTo>
                  <a:cubicBezTo>
                    <a:pt x="16180" y="20959"/>
                    <a:pt x="19057" y="20959"/>
                    <a:pt x="21476" y="19721"/>
                  </a:cubicBezTo>
                  <a:lnTo>
                    <a:pt x="31763" y="13815"/>
                  </a:lnTo>
                  <a:lnTo>
                    <a:pt x="34049" y="12482"/>
                  </a:lnTo>
                  <a:cubicBezTo>
                    <a:pt x="35287" y="12034"/>
                    <a:pt x="35925" y="10662"/>
                    <a:pt x="35478" y="9434"/>
                  </a:cubicBezTo>
                  <a:cubicBezTo>
                    <a:pt x="35230" y="8767"/>
                    <a:pt x="34716" y="8243"/>
                    <a:pt x="34049" y="8005"/>
                  </a:cubicBezTo>
                  <a:lnTo>
                    <a:pt x="21476" y="766"/>
                  </a:lnTo>
                  <a:cubicBezTo>
                    <a:pt x="19057" y="-472"/>
                    <a:pt x="16180" y="-472"/>
                    <a:pt x="13761" y="766"/>
                  </a:cubicBezTo>
                  <a:lnTo>
                    <a:pt x="1188" y="8005"/>
                  </a:lnTo>
                  <a:cubicBezTo>
                    <a:pt x="340" y="8424"/>
                    <a:pt x="-241" y="925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787" name="îŝļïdé">
              <a:extLst>
                <a:ext uri="{FF2B5EF4-FFF2-40B4-BE49-F238E27FC236}">
                  <a16:creationId xmlns:a16="http://schemas.microsoft.com/office/drawing/2014/main" id="{EFFC3D8F-9F4D-4ED2-99EE-199335A81C1E}"/>
                </a:ext>
              </a:extLst>
            </p:cNvPr>
            <p:cNvSpPr/>
            <p:nvPr/>
          </p:nvSpPr>
          <p:spPr>
            <a:xfrm>
              <a:off x="5891602" y="5380189"/>
              <a:ext cx="105618" cy="61174"/>
            </a:xfrm>
            <a:custGeom>
              <a:avLst/>
              <a:gdLst>
                <a:gd name="connsiteX0" fmla="*/ 1154 w 34698"/>
                <a:gd name="connsiteY0" fmla="*/ 12029 h 20097"/>
                <a:gd name="connsiteX1" fmla="*/ 13346 w 34698"/>
                <a:gd name="connsiteY1" fmla="*/ 19078 h 20097"/>
                <a:gd name="connsiteX2" fmla="*/ 20775 w 34698"/>
                <a:gd name="connsiteY2" fmla="*/ 19078 h 20097"/>
                <a:gd name="connsiteX3" fmla="*/ 32872 w 34698"/>
                <a:gd name="connsiteY3" fmla="*/ 12029 h 20097"/>
                <a:gd name="connsiteX4" fmla="*/ 34215 w 34698"/>
                <a:gd name="connsiteY4" fmla="*/ 9086 h 20097"/>
                <a:gd name="connsiteX5" fmla="*/ 32872 w 34698"/>
                <a:gd name="connsiteY5" fmla="*/ 7743 h 20097"/>
                <a:gd name="connsiteX6" fmla="*/ 20775 w 34698"/>
                <a:gd name="connsiteY6" fmla="*/ 695 h 20097"/>
                <a:gd name="connsiteX7" fmla="*/ 13346 w 34698"/>
                <a:gd name="connsiteY7" fmla="*/ 695 h 20097"/>
                <a:gd name="connsiteX8" fmla="*/ 1154 w 34698"/>
                <a:gd name="connsiteY8" fmla="*/ 7743 h 20097"/>
                <a:gd name="connsiteX9" fmla="*/ -189 w 34698"/>
                <a:gd name="connsiteY9" fmla="*/ 10686 h 20097"/>
                <a:gd name="connsiteX10" fmla="*/ 1154 w 34698"/>
                <a:gd name="connsiteY10" fmla="*/ 12029 h 20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698" h="20097">
                  <a:moveTo>
                    <a:pt x="1154" y="12029"/>
                  </a:moveTo>
                  <a:lnTo>
                    <a:pt x="13346" y="19078"/>
                  </a:lnTo>
                  <a:cubicBezTo>
                    <a:pt x="15689" y="20221"/>
                    <a:pt x="18432" y="20221"/>
                    <a:pt x="20775" y="19078"/>
                  </a:cubicBezTo>
                  <a:lnTo>
                    <a:pt x="32872" y="12029"/>
                  </a:lnTo>
                  <a:cubicBezTo>
                    <a:pt x="34053" y="11591"/>
                    <a:pt x="34663" y="10277"/>
                    <a:pt x="34215" y="9086"/>
                  </a:cubicBezTo>
                  <a:cubicBezTo>
                    <a:pt x="33987" y="8467"/>
                    <a:pt x="33491" y="7972"/>
                    <a:pt x="32872" y="7743"/>
                  </a:cubicBezTo>
                  <a:lnTo>
                    <a:pt x="20775" y="695"/>
                  </a:lnTo>
                  <a:cubicBezTo>
                    <a:pt x="18432" y="-448"/>
                    <a:pt x="15689" y="-448"/>
                    <a:pt x="13346" y="695"/>
                  </a:cubicBezTo>
                  <a:lnTo>
                    <a:pt x="1154" y="7743"/>
                  </a:lnTo>
                  <a:cubicBezTo>
                    <a:pt x="-27" y="8181"/>
                    <a:pt x="-637" y="9496"/>
                    <a:pt x="-189" y="10686"/>
                  </a:cubicBezTo>
                  <a:cubicBezTo>
                    <a:pt x="40" y="11305"/>
                    <a:pt x="525" y="11801"/>
                    <a:pt x="1154" y="12029"/>
                  </a:cubicBezTo>
                  <a:close/>
                </a:path>
              </a:pathLst>
            </a:custGeom>
            <a:solidFill>
              <a:srgbClr val="D1D9E8"/>
            </a:solidFill>
            <a:ln w="9525" cap="flat">
              <a:noFill/>
              <a:prstDash val="solid"/>
              <a:miter/>
            </a:ln>
          </p:spPr>
          <p:txBody>
            <a:bodyPr rtlCol="0" anchor="ctr"/>
            <a:lstStyle/>
            <a:p>
              <a:endParaRPr lang="zh-CN" altLang="en-US"/>
            </a:p>
          </p:txBody>
        </p:sp>
        <p:sp>
          <p:nvSpPr>
            <p:cNvPr id="788" name="ïṣḻïdé">
              <a:extLst>
                <a:ext uri="{FF2B5EF4-FFF2-40B4-BE49-F238E27FC236}">
                  <a16:creationId xmlns:a16="http://schemas.microsoft.com/office/drawing/2014/main" id="{5C282766-58CD-4819-880B-9FFB23DE5FC5}"/>
                </a:ext>
              </a:extLst>
            </p:cNvPr>
            <p:cNvSpPr/>
            <p:nvPr/>
          </p:nvSpPr>
          <p:spPr>
            <a:xfrm>
              <a:off x="5889757" y="5410631"/>
              <a:ext cx="109594" cy="53801"/>
            </a:xfrm>
            <a:custGeom>
              <a:avLst/>
              <a:gdLst>
                <a:gd name="connsiteX0" fmla="*/ -336 w 36004"/>
                <a:gd name="connsiteY0" fmla="*/ -163 h 17675"/>
                <a:gd name="connsiteX1" fmla="*/ -336 w 36004"/>
                <a:gd name="connsiteY1" fmla="*/ 7076 h 17675"/>
                <a:gd name="connsiteX2" fmla="*/ 1188 w 36004"/>
                <a:gd name="connsiteY2" fmla="*/ 9267 h 17675"/>
                <a:gd name="connsiteX3" fmla="*/ 13761 w 36004"/>
                <a:gd name="connsiteY3" fmla="*/ 16506 h 17675"/>
                <a:gd name="connsiteX4" fmla="*/ 21476 w 36004"/>
                <a:gd name="connsiteY4" fmla="*/ 16506 h 17675"/>
                <a:gd name="connsiteX5" fmla="*/ 34049 w 36004"/>
                <a:gd name="connsiteY5" fmla="*/ 9267 h 17675"/>
                <a:gd name="connsiteX6" fmla="*/ 35668 w 36004"/>
                <a:gd name="connsiteY6" fmla="*/ 7076 h 17675"/>
                <a:gd name="connsiteX7" fmla="*/ 35668 w 36004"/>
                <a:gd name="connsiteY7" fmla="*/ -163 h 17675"/>
                <a:gd name="connsiteX8" fmla="*/ 34049 w 36004"/>
                <a:gd name="connsiteY8" fmla="*/ 2123 h 17675"/>
                <a:gd name="connsiteX9" fmla="*/ 31763 w 36004"/>
                <a:gd name="connsiteY9" fmla="*/ 3457 h 17675"/>
                <a:gd name="connsiteX10" fmla="*/ 21476 w 36004"/>
                <a:gd name="connsiteY10" fmla="*/ 9362 h 17675"/>
                <a:gd name="connsiteX11" fmla="*/ 13761 w 36004"/>
                <a:gd name="connsiteY11" fmla="*/ 9362 h 17675"/>
                <a:gd name="connsiteX12" fmla="*/ 3569 w 36004"/>
                <a:gd name="connsiteY12" fmla="*/ 3457 h 17675"/>
                <a:gd name="connsiteX13" fmla="*/ 1188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79" y="8038"/>
                    <a:pt x="312" y="8877"/>
                    <a:pt x="1188" y="9267"/>
                  </a:cubicBezTo>
                  <a:lnTo>
                    <a:pt x="13761" y="16506"/>
                  </a:lnTo>
                  <a:cubicBezTo>
                    <a:pt x="16161" y="17849"/>
                    <a:pt x="19076" y="17849"/>
                    <a:pt x="21476" y="16506"/>
                  </a:cubicBezTo>
                  <a:lnTo>
                    <a:pt x="34049" y="9267"/>
                  </a:lnTo>
                  <a:cubicBezTo>
                    <a:pt x="34964" y="8905"/>
                    <a:pt x="35592" y="8058"/>
                    <a:pt x="35668" y="7076"/>
                  </a:cubicBezTo>
                  <a:lnTo>
                    <a:pt x="35668" y="-163"/>
                  </a:lnTo>
                  <a:cubicBezTo>
                    <a:pt x="35602" y="847"/>
                    <a:pt x="34973" y="1733"/>
                    <a:pt x="34049" y="2123"/>
                  </a:cubicBezTo>
                  <a:lnTo>
                    <a:pt x="31763" y="3457"/>
                  </a:lnTo>
                  <a:lnTo>
                    <a:pt x="21476" y="9362"/>
                  </a:lnTo>
                  <a:cubicBezTo>
                    <a:pt x="19057" y="10601"/>
                    <a:pt x="16180" y="10601"/>
                    <a:pt x="13761" y="9362"/>
                  </a:cubicBezTo>
                  <a:lnTo>
                    <a:pt x="3569" y="3457"/>
                  </a:lnTo>
                  <a:lnTo>
                    <a:pt x="1188" y="2123"/>
                  </a:lnTo>
                  <a:cubicBezTo>
                    <a:pt x="312"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89" name="îś1ïḍe">
              <a:extLst>
                <a:ext uri="{FF2B5EF4-FFF2-40B4-BE49-F238E27FC236}">
                  <a16:creationId xmlns:a16="http://schemas.microsoft.com/office/drawing/2014/main" id="{DE082C42-174D-4580-ACD5-0752B0C76AFA}"/>
                </a:ext>
              </a:extLst>
            </p:cNvPr>
            <p:cNvSpPr/>
            <p:nvPr/>
          </p:nvSpPr>
          <p:spPr>
            <a:xfrm>
              <a:off x="5997905" y="5423656"/>
              <a:ext cx="78716" cy="45467"/>
            </a:xfrm>
            <a:custGeom>
              <a:avLst/>
              <a:gdLst>
                <a:gd name="connsiteX0" fmla="*/ -336 w 25860"/>
                <a:gd name="connsiteY0" fmla="*/ 4321 h 14937"/>
                <a:gd name="connsiteX1" fmla="*/ 1283 w 25860"/>
                <a:gd name="connsiteY1" fmla="*/ 6607 h 14937"/>
                <a:gd name="connsiteX2" fmla="*/ 3569 w 25860"/>
                <a:gd name="connsiteY2" fmla="*/ 7941 h 14937"/>
                <a:gd name="connsiteX3" fmla="*/ 13856 w 25860"/>
                <a:gd name="connsiteY3" fmla="*/ 13846 h 14937"/>
                <a:gd name="connsiteX4" fmla="*/ 21571 w 25860"/>
                <a:gd name="connsiteY4" fmla="*/ 13846 h 14937"/>
                <a:gd name="connsiteX5" fmla="*/ 21571 w 25860"/>
                <a:gd name="connsiteY5" fmla="*/ 13846 h 14937"/>
                <a:gd name="connsiteX6" fmla="*/ 23952 w 25860"/>
                <a:gd name="connsiteY6" fmla="*/ 12513 h 14937"/>
                <a:gd name="connsiteX7" fmla="*/ 25381 w 25860"/>
                <a:gd name="connsiteY7" fmla="*/ 9465 h 14937"/>
                <a:gd name="connsiteX8" fmla="*/ 23952 w 25860"/>
                <a:gd name="connsiteY8" fmla="*/ 8036 h 14937"/>
                <a:gd name="connsiteX9" fmla="*/ 11284 w 25860"/>
                <a:gd name="connsiteY9" fmla="*/ 702 h 14937"/>
                <a:gd name="connsiteX10" fmla="*/ 3664 w 25860"/>
                <a:gd name="connsiteY10" fmla="*/ 702 h 14937"/>
                <a:gd name="connsiteX11" fmla="*/ 1283 w 25860"/>
                <a:gd name="connsiteY11" fmla="*/ 2130 h 14937"/>
                <a:gd name="connsiteX12" fmla="*/ -336 w 25860"/>
                <a:gd name="connsiteY12" fmla="*/ 4321 h 149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5860" h="14937">
                  <a:moveTo>
                    <a:pt x="-336" y="4321"/>
                  </a:moveTo>
                  <a:cubicBezTo>
                    <a:pt x="-231" y="5312"/>
                    <a:pt x="378" y="6178"/>
                    <a:pt x="1283" y="6607"/>
                  </a:cubicBezTo>
                  <a:lnTo>
                    <a:pt x="3569" y="7941"/>
                  </a:lnTo>
                  <a:lnTo>
                    <a:pt x="13856" y="13846"/>
                  </a:lnTo>
                  <a:cubicBezTo>
                    <a:pt x="16275" y="15084"/>
                    <a:pt x="19152" y="15084"/>
                    <a:pt x="21571" y="13846"/>
                  </a:cubicBezTo>
                  <a:lnTo>
                    <a:pt x="21571" y="13846"/>
                  </a:lnTo>
                  <a:lnTo>
                    <a:pt x="23952" y="12513"/>
                  </a:lnTo>
                  <a:cubicBezTo>
                    <a:pt x="25191" y="12065"/>
                    <a:pt x="25829" y="10693"/>
                    <a:pt x="25381" y="9465"/>
                  </a:cubicBezTo>
                  <a:cubicBezTo>
                    <a:pt x="25134" y="8798"/>
                    <a:pt x="24619" y="8274"/>
                    <a:pt x="23952" y="8036"/>
                  </a:cubicBezTo>
                  <a:lnTo>
                    <a:pt x="11284" y="702"/>
                  </a:lnTo>
                  <a:cubicBezTo>
                    <a:pt x="8874" y="-451"/>
                    <a:pt x="6074" y="-451"/>
                    <a:pt x="3664" y="702"/>
                  </a:cubicBezTo>
                  <a:lnTo>
                    <a:pt x="1283" y="2130"/>
                  </a:lnTo>
                  <a:cubicBezTo>
                    <a:pt x="397" y="2521"/>
                    <a:pt x="-222" y="3359"/>
                    <a:pt x="-336" y="4321"/>
                  </a:cubicBezTo>
                  <a:close/>
                </a:path>
              </a:pathLst>
            </a:custGeom>
            <a:solidFill>
              <a:srgbClr val="FFFFFF"/>
            </a:solidFill>
            <a:ln w="9525" cap="flat">
              <a:noFill/>
              <a:prstDash val="solid"/>
              <a:miter/>
            </a:ln>
          </p:spPr>
          <p:txBody>
            <a:bodyPr rtlCol="0" anchor="ctr"/>
            <a:lstStyle/>
            <a:p>
              <a:endParaRPr lang="zh-CN" altLang="en-US"/>
            </a:p>
          </p:txBody>
        </p:sp>
        <p:sp>
          <p:nvSpPr>
            <p:cNvPr id="790" name="iṥ1îdé">
              <a:extLst>
                <a:ext uri="{FF2B5EF4-FFF2-40B4-BE49-F238E27FC236}">
                  <a16:creationId xmlns:a16="http://schemas.microsoft.com/office/drawing/2014/main" id="{36FA47B0-500F-4D49-980E-6E2BA962E36C}"/>
                </a:ext>
              </a:extLst>
            </p:cNvPr>
            <p:cNvSpPr/>
            <p:nvPr/>
          </p:nvSpPr>
          <p:spPr>
            <a:xfrm>
              <a:off x="6000005" y="5424837"/>
              <a:ext cx="74585" cy="42910"/>
            </a:xfrm>
            <a:custGeom>
              <a:avLst/>
              <a:gdLst>
                <a:gd name="connsiteX0" fmla="*/ 1164 w 24503"/>
                <a:gd name="connsiteY0" fmla="*/ 6029 h 14097"/>
                <a:gd name="connsiteX1" fmla="*/ 13261 w 24503"/>
                <a:gd name="connsiteY1" fmla="*/ 13077 h 14097"/>
                <a:gd name="connsiteX2" fmla="*/ 20690 w 24503"/>
                <a:gd name="connsiteY2" fmla="*/ 13077 h 14097"/>
                <a:gd name="connsiteX3" fmla="*/ 22595 w 24503"/>
                <a:gd name="connsiteY3" fmla="*/ 12029 h 14097"/>
                <a:gd name="connsiteX4" fmla="*/ 22595 w 24503"/>
                <a:gd name="connsiteY4" fmla="*/ 7743 h 14097"/>
                <a:gd name="connsiteX5" fmla="*/ 10498 w 24503"/>
                <a:gd name="connsiteY5" fmla="*/ 695 h 14097"/>
                <a:gd name="connsiteX6" fmla="*/ 3069 w 24503"/>
                <a:gd name="connsiteY6" fmla="*/ 695 h 14097"/>
                <a:gd name="connsiteX7" fmla="*/ 1164 w 24503"/>
                <a:gd name="connsiteY7" fmla="*/ 1742 h 14097"/>
                <a:gd name="connsiteX8" fmla="*/ 1164 w 24503"/>
                <a:gd name="connsiteY8" fmla="*/ 6029 h 14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503" h="14097">
                  <a:moveTo>
                    <a:pt x="1164" y="6029"/>
                  </a:moveTo>
                  <a:lnTo>
                    <a:pt x="13261" y="13077"/>
                  </a:lnTo>
                  <a:cubicBezTo>
                    <a:pt x="15604" y="14220"/>
                    <a:pt x="18347" y="14220"/>
                    <a:pt x="20690" y="13077"/>
                  </a:cubicBezTo>
                  <a:lnTo>
                    <a:pt x="22595" y="12029"/>
                  </a:lnTo>
                  <a:cubicBezTo>
                    <a:pt x="24691" y="10791"/>
                    <a:pt x="24691" y="8886"/>
                    <a:pt x="22595" y="7743"/>
                  </a:cubicBezTo>
                  <a:lnTo>
                    <a:pt x="10498" y="695"/>
                  </a:lnTo>
                  <a:cubicBezTo>
                    <a:pt x="8155" y="-448"/>
                    <a:pt x="5412" y="-448"/>
                    <a:pt x="3069" y="695"/>
                  </a:cubicBezTo>
                  <a:lnTo>
                    <a:pt x="1164" y="1742"/>
                  </a:lnTo>
                  <a:cubicBezTo>
                    <a:pt x="-836" y="3457"/>
                    <a:pt x="-836" y="4886"/>
                    <a:pt x="1164" y="6029"/>
                  </a:cubicBezTo>
                  <a:close/>
                </a:path>
              </a:pathLst>
            </a:custGeom>
            <a:solidFill>
              <a:srgbClr val="D1D9E8"/>
            </a:solidFill>
            <a:ln w="9525" cap="flat">
              <a:noFill/>
              <a:prstDash val="solid"/>
              <a:miter/>
            </a:ln>
          </p:spPr>
          <p:txBody>
            <a:bodyPr rtlCol="0" anchor="ctr"/>
            <a:lstStyle/>
            <a:p>
              <a:endParaRPr lang="zh-CN" altLang="en-US"/>
            </a:p>
          </p:txBody>
        </p:sp>
        <p:sp>
          <p:nvSpPr>
            <p:cNvPr id="791" name="î$ḷíďê">
              <a:extLst>
                <a:ext uri="{FF2B5EF4-FFF2-40B4-BE49-F238E27FC236}">
                  <a16:creationId xmlns:a16="http://schemas.microsoft.com/office/drawing/2014/main" id="{CCC638CA-300F-42BE-9FF5-B85462D88B9A}"/>
                </a:ext>
              </a:extLst>
            </p:cNvPr>
            <p:cNvSpPr/>
            <p:nvPr/>
          </p:nvSpPr>
          <p:spPr>
            <a:xfrm>
              <a:off x="5997905" y="5437305"/>
              <a:ext cx="78570" cy="53564"/>
            </a:xfrm>
            <a:custGeom>
              <a:avLst/>
              <a:gdLst>
                <a:gd name="connsiteX0" fmla="*/ -336 w 25812"/>
                <a:gd name="connsiteY0" fmla="*/ -163 h 17597"/>
                <a:gd name="connsiteX1" fmla="*/ -336 w 25812"/>
                <a:gd name="connsiteY1" fmla="*/ 7076 h 17597"/>
                <a:gd name="connsiteX2" fmla="*/ 1283 w 25812"/>
                <a:gd name="connsiteY2" fmla="*/ 9267 h 17597"/>
                <a:gd name="connsiteX3" fmla="*/ 13856 w 25812"/>
                <a:gd name="connsiteY3" fmla="*/ 16506 h 17597"/>
                <a:gd name="connsiteX4" fmla="*/ 21571 w 25812"/>
                <a:gd name="connsiteY4" fmla="*/ 16506 h 17597"/>
                <a:gd name="connsiteX5" fmla="*/ 23952 w 25812"/>
                <a:gd name="connsiteY5" fmla="*/ 15173 h 17597"/>
                <a:gd name="connsiteX6" fmla="*/ 25476 w 25812"/>
                <a:gd name="connsiteY6" fmla="*/ 12887 h 17597"/>
                <a:gd name="connsiteX7" fmla="*/ 25476 w 25812"/>
                <a:gd name="connsiteY7" fmla="*/ 5743 h 17597"/>
                <a:gd name="connsiteX8" fmla="*/ 23952 w 25812"/>
                <a:gd name="connsiteY8" fmla="*/ 8029 h 17597"/>
                <a:gd name="connsiteX9" fmla="*/ 21571 w 25812"/>
                <a:gd name="connsiteY9" fmla="*/ 9362 h 17597"/>
                <a:gd name="connsiteX10" fmla="*/ 21571 w 25812"/>
                <a:gd name="connsiteY10" fmla="*/ 9362 h 17597"/>
                <a:gd name="connsiteX11" fmla="*/ 13856 w 25812"/>
                <a:gd name="connsiteY11" fmla="*/ 9362 h 17597"/>
                <a:gd name="connsiteX12" fmla="*/ 3569 w 25812"/>
                <a:gd name="connsiteY12" fmla="*/ 3457 h 17597"/>
                <a:gd name="connsiteX13" fmla="*/ 1283 w 25812"/>
                <a:gd name="connsiteY13" fmla="*/ 2124 h 17597"/>
                <a:gd name="connsiteX14" fmla="*/ -336 w 25812"/>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5812" h="17597">
                  <a:moveTo>
                    <a:pt x="-336" y="-163"/>
                  </a:moveTo>
                  <a:lnTo>
                    <a:pt x="-336" y="7076"/>
                  </a:lnTo>
                  <a:cubicBezTo>
                    <a:pt x="-203" y="8029"/>
                    <a:pt x="407" y="8858"/>
                    <a:pt x="1283" y="9267"/>
                  </a:cubicBezTo>
                  <a:lnTo>
                    <a:pt x="13856" y="16506"/>
                  </a:lnTo>
                  <a:cubicBezTo>
                    <a:pt x="16275" y="17744"/>
                    <a:pt x="19152" y="17744"/>
                    <a:pt x="21571" y="16506"/>
                  </a:cubicBezTo>
                  <a:lnTo>
                    <a:pt x="23952" y="15173"/>
                  </a:lnTo>
                  <a:cubicBezTo>
                    <a:pt x="24819" y="14725"/>
                    <a:pt x="25391" y="13858"/>
                    <a:pt x="25476" y="12887"/>
                  </a:cubicBezTo>
                  <a:lnTo>
                    <a:pt x="25476" y="5743"/>
                  </a:lnTo>
                  <a:cubicBezTo>
                    <a:pt x="25410" y="6724"/>
                    <a:pt x="24829" y="7591"/>
                    <a:pt x="23952" y="8029"/>
                  </a:cubicBezTo>
                  <a:lnTo>
                    <a:pt x="21571" y="9362"/>
                  </a:lnTo>
                  <a:lnTo>
                    <a:pt x="21571" y="9362"/>
                  </a:lnTo>
                  <a:cubicBezTo>
                    <a:pt x="19152" y="10601"/>
                    <a:pt x="16275" y="10601"/>
                    <a:pt x="13856" y="9362"/>
                  </a:cubicBezTo>
                  <a:lnTo>
                    <a:pt x="3569" y="3457"/>
                  </a:lnTo>
                  <a:lnTo>
                    <a:pt x="1283" y="2124"/>
                  </a:lnTo>
                  <a:cubicBezTo>
                    <a:pt x="378" y="1695"/>
                    <a:pt x="-231"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92" name="iṧḷïḓè">
              <a:extLst>
                <a:ext uri="{FF2B5EF4-FFF2-40B4-BE49-F238E27FC236}">
                  <a16:creationId xmlns:a16="http://schemas.microsoft.com/office/drawing/2014/main" id="{F5E83523-9450-49B7-91EB-01D2E70E1E39}"/>
                </a:ext>
              </a:extLst>
            </p:cNvPr>
            <p:cNvSpPr/>
            <p:nvPr/>
          </p:nvSpPr>
          <p:spPr>
            <a:xfrm>
              <a:off x="5967170" y="5441436"/>
              <a:ext cx="78603" cy="45902"/>
            </a:xfrm>
            <a:custGeom>
              <a:avLst/>
              <a:gdLst>
                <a:gd name="connsiteX0" fmla="*/ -336 w 25823"/>
                <a:gd name="connsiteY0" fmla="*/ 4386 h 15080"/>
                <a:gd name="connsiteX1" fmla="*/ 1283 w 25823"/>
                <a:gd name="connsiteY1" fmla="*/ 6672 h 15080"/>
                <a:gd name="connsiteX2" fmla="*/ 3569 w 25823"/>
                <a:gd name="connsiteY2" fmla="*/ 8005 h 15080"/>
                <a:gd name="connsiteX3" fmla="*/ 13856 w 25823"/>
                <a:gd name="connsiteY3" fmla="*/ 13911 h 15080"/>
                <a:gd name="connsiteX4" fmla="*/ 21571 w 25823"/>
                <a:gd name="connsiteY4" fmla="*/ 13911 h 15080"/>
                <a:gd name="connsiteX5" fmla="*/ 21571 w 25823"/>
                <a:gd name="connsiteY5" fmla="*/ 13911 h 15080"/>
                <a:gd name="connsiteX6" fmla="*/ 23857 w 25823"/>
                <a:gd name="connsiteY6" fmla="*/ 12482 h 15080"/>
                <a:gd name="connsiteX7" fmla="*/ 25391 w 25823"/>
                <a:gd name="connsiteY7" fmla="*/ 9634 h 15080"/>
                <a:gd name="connsiteX8" fmla="*/ 23857 w 25823"/>
                <a:gd name="connsiteY8" fmla="*/ 8100 h 15080"/>
                <a:gd name="connsiteX9" fmla="*/ 11284 w 25823"/>
                <a:gd name="connsiteY9" fmla="*/ 766 h 15080"/>
                <a:gd name="connsiteX10" fmla="*/ 3569 w 25823"/>
                <a:gd name="connsiteY10" fmla="*/ 766 h 15080"/>
                <a:gd name="connsiteX11" fmla="*/ 1283 w 25823"/>
                <a:gd name="connsiteY11" fmla="*/ 2099 h 15080"/>
                <a:gd name="connsiteX12" fmla="*/ -336 w 25823"/>
                <a:gd name="connsiteY12" fmla="*/ 4386 h 15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5823" h="15080">
                  <a:moveTo>
                    <a:pt x="-336" y="4386"/>
                  </a:moveTo>
                  <a:cubicBezTo>
                    <a:pt x="-298" y="5405"/>
                    <a:pt x="340" y="6300"/>
                    <a:pt x="1283" y="6672"/>
                  </a:cubicBezTo>
                  <a:lnTo>
                    <a:pt x="3569" y="8005"/>
                  </a:lnTo>
                  <a:lnTo>
                    <a:pt x="13856" y="13911"/>
                  </a:lnTo>
                  <a:cubicBezTo>
                    <a:pt x="16256" y="15254"/>
                    <a:pt x="19171" y="15254"/>
                    <a:pt x="21571" y="13911"/>
                  </a:cubicBezTo>
                  <a:lnTo>
                    <a:pt x="21571" y="13911"/>
                  </a:lnTo>
                  <a:lnTo>
                    <a:pt x="23857" y="12482"/>
                  </a:lnTo>
                  <a:cubicBezTo>
                    <a:pt x="25067" y="12120"/>
                    <a:pt x="25753" y="10843"/>
                    <a:pt x="25391" y="9634"/>
                  </a:cubicBezTo>
                  <a:cubicBezTo>
                    <a:pt x="25172" y="8900"/>
                    <a:pt x="24600" y="8319"/>
                    <a:pt x="23857" y="8100"/>
                  </a:cubicBezTo>
                  <a:lnTo>
                    <a:pt x="11284" y="766"/>
                  </a:lnTo>
                  <a:cubicBezTo>
                    <a:pt x="8865" y="-472"/>
                    <a:pt x="5988" y="-472"/>
                    <a:pt x="3569" y="766"/>
                  </a:cubicBezTo>
                  <a:lnTo>
                    <a:pt x="1283" y="2099"/>
                  </a:lnTo>
                  <a:cubicBezTo>
                    <a:pt x="359" y="2490"/>
                    <a:pt x="-270" y="3376"/>
                    <a:pt x="-336" y="4386"/>
                  </a:cubicBezTo>
                  <a:close/>
                </a:path>
              </a:pathLst>
            </a:custGeom>
            <a:solidFill>
              <a:srgbClr val="FFFFFF"/>
            </a:solidFill>
            <a:ln w="9525" cap="flat">
              <a:noFill/>
              <a:prstDash val="solid"/>
              <a:miter/>
            </a:ln>
          </p:spPr>
          <p:txBody>
            <a:bodyPr rtlCol="0" anchor="ctr"/>
            <a:lstStyle/>
            <a:p>
              <a:endParaRPr lang="zh-CN" altLang="en-US"/>
            </a:p>
          </p:txBody>
        </p:sp>
        <p:sp>
          <p:nvSpPr>
            <p:cNvPr id="793" name="ïṣ1ïdê">
              <a:extLst>
                <a:ext uri="{FF2B5EF4-FFF2-40B4-BE49-F238E27FC236}">
                  <a16:creationId xmlns:a16="http://schemas.microsoft.com/office/drawing/2014/main" id="{B6893468-5703-4826-B42C-C3CC0145243B}"/>
                </a:ext>
              </a:extLst>
            </p:cNvPr>
            <p:cNvSpPr/>
            <p:nvPr/>
          </p:nvSpPr>
          <p:spPr>
            <a:xfrm>
              <a:off x="5968692" y="5442885"/>
              <a:ext cx="74585" cy="43126"/>
            </a:xfrm>
            <a:custGeom>
              <a:avLst/>
              <a:gdLst>
                <a:gd name="connsiteX0" fmla="*/ 1164 w 24503"/>
                <a:gd name="connsiteY0" fmla="*/ 6100 h 14168"/>
                <a:gd name="connsiteX1" fmla="*/ 13261 w 24503"/>
                <a:gd name="connsiteY1" fmla="*/ 13149 h 14168"/>
                <a:gd name="connsiteX2" fmla="*/ 20690 w 24503"/>
                <a:gd name="connsiteY2" fmla="*/ 13149 h 14168"/>
                <a:gd name="connsiteX3" fmla="*/ 22595 w 24503"/>
                <a:gd name="connsiteY3" fmla="*/ 12006 h 14168"/>
                <a:gd name="connsiteX4" fmla="*/ 22595 w 24503"/>
                <a:gd name="connsiteY4" fmla="*/ 7719 h 14168"/>
                <a:gd name="connsiteX5" fmla="*/ 10498 w 24503"/>
                <a:gd name="connsiteY5" fmla="*/ 766 h 14168"/>
                <a:gd name="connsiteX6" fmla="*/ 3069 w 24503"/>
                <a:gd name="connsiteY6" fmla="*/ 766 h 14168"/>
                <a:gd name="connsiteX7" fmla="*/ 1164 w 24503"/>
                <a:gd name="connsiteY7" fmla="*/ 1814 h 14168"/>
                <a:gd name="connsiteX8" fmla="*/ 1164 w 24503"/>
                <a:gd name="connsiteY8" fmla="*/ 6100 h 14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503" h="14168">
                  <a:moveTo>
                    <a:pt x="1164" y="6100"/>
                  </a:moveTo>
                  <a:lnTo>
                    <a:pt x="13261" y="13149"/>
                  </a:lnTo>
                  <a:cubicBezTo>
                    <a:pt x="15604" y="14292"/>
                    <a:pt x="18347" y="14292"/>
                    <a:pt x="20690" y="13149"/>
                  </a:cubicBezTo>
                  <a:lnTo>
                    <a:pt x="22595" y="12006"/>
                  </a:lnTo>
                  <a:cubicBezTo>
                    <a:pt x="24691" y="10863"/>
                    <a:pt x="24691" y="8958"/>
                    <a:pt x="22595" y="7719"/>
                  </a:cubicBezTo>
                  <a:lnTo>
                    <a:pt x="10498" y="766"/>
                  </a:lnTo>
                  <a:cubicBezTo>
                    <a:pt x="8174" y="-472"/>
                    <a:pt x="5393" y="-472"/>
                    <a:pt x="3069" y="766"/>
                  </a:cubicBezTo>
                  <a:lnTo>
                    <a:pt x="1164" y="1814"/>
                  </a:lnTo>
                  <a:cubicBezTo>
                    <a:pt x="-836" y="3052"/>
                    <a:pt x="-836" y="4957"/>
                    <a:pt x="1164" y="6100"/>
                  </a:cubicBezTo>
                  <a:close/>
                </a:path>
              </a:pathLst>
            </a:custGeom>
            <a:solidFill>
              <a:srgbClr val="D1D9E8"/>
            </a:solidFill>
            <a:ln w="9525" cap="flat">
              <a:noFill/>
              <a:prstDash val="solid"/>
              <a:miter/>
            </a:ln>
          </p:spPr>
          <p:txBody>
            <a:bodyPr rtlCol="0" anchor="ctr"/>
            <a:lstStyle/>
            <a:p>
              <a:endParaRPr lang="zh-CN" altLang="en-US"/>
            </a:p>
          </p:txBody>
        </p:sp>
        <p:sp>
          <p:nvSpPr>
            <p:cNvPr id="794" name="îŝḷïďè">
              <a:extLst>
                <a:ext uri="{FF2B5EF4-FFF2-40B4-BE49-F238E27FC236}">
                  <a16:creationId xmlns:a16="http://schemas.microsoft.com/office/drawing/2014/main" id="{624DE2D7-5E3D-47EE-AB25-A7DFCCE78D52}"/>
                </a:ext>
              </a:extLst>
            </p:cNvPr>
            <p:cNvSpPr/>
            <p:nvPr/>
          </p:nvSpPr>
          <p:spPr>
            <a:xfrm>
              <a:off x="5967170" y="5455283"/>
              <a:ext cx="78570" cy="53801"/>
            </a:xfrm>
            <a:custGeom>
              <a:avLst/>
              <a:gdLst>
                <a:gd name="connsiteX0" fmla="*/ -336 w 25812"/>
                <a:gd name="connsiteY0" fmla="*/ -163 h 17675"/>
                <a:gd name="connsiteX1" fmla="*/ -336 w 25812"/>
                <a:gd name="connsiteY1" fmla="*/ 7076 h 17675"/>
                <a:gd name="connsiteX2" fmla="*/ 1283 w 25812"/>
                <a:gd name="connsiteY2" fmla="*/ 9267 h 17675"/>
                <a:gd name="connsiteX3" fmla="*/ 13856 w 25812"/>
                <a:gd name="connsiteY3" fmla="*/ 16506 h 17675"/>
                <a:gd name="connsiteX4" fmla="*/ 21571 w 25812"/>
                <a:gd name="connsiteY4" fmla="*/ 16506 h 17675"/>
                <a:gd name="connsiteX5" fmla="*/ 23857 w 25812"/>
                <a:gd name="connsiteY5" fmla="*/ 15268 h 17675"/>
                <a:gd name="connsiteX6" fmla="*/ 25476 w 25812"/>
                <a:gd name="connsiteY6" fmla="*/ 12982 h 17675"/>
                <a:gd name="connsiteX7" fmla="*/ 25476 w 25812"/>
                <a:gd name="connsiteY7" fmla="*/ 5838 h 17675"/>
                <a:gd name="connsiteX8" fmla="*/ 23857 w 25812"/>
                <a:gd name="connsiteY8" fmla="*/ 8029 h 17675"/>
                <a:gd name="connsiteX9" fmla="*/ 21571 w 25812"/>
                <a:gd name="connsiteY9" fmla="*/ 9457 h 17675"/>
                <a:gd name="connsiteX10" fmla="*/ 21571 w 25812"/>
                <a:gd name="connsiteY10" fmla="*/ 9457 h 17675"/>
                <a:gd name="connsiteX11" fmla="*/ 13856 w 25812"/>
                <a:gd name="connsiteY11" fmla="*/ 9457 h 17675"/>
                <a:gd name="connsiteX12" fmla="*/ 3569 w 25812"/>
                <a:gd name="connsiteY12" fmla="*/ 3552 h 17675"/>
                <a:gd name="connsiteX13" fmla="*/ 1283 w 25812"/>
                <a:gd name="connsiteY13" fmla="*/ 2219 h 17675"/>
                <a:gd name="connsiteX14" fmla="*/ -336 w 25812"/>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5812" h="17675">
                  <a:moveTo>
                    <a:pt x="-336" y="-163"/>
                  </a:moveTo>
                  <a:lnTo>
                    <a:pt x="-336" y="7076"/>
                  </a:lnTo>
                  <a:cubicBezTo>
                    <a:pt x="-279" y="8067"/>
                    <a:pt x="349" y="8924"/>
                    <a:pt x="1283" y="9267"/>
                  </a:cubicBezTo>
                  <a:lnTo>
                    <a:pt x="13856" y="16506"/>
                  </a:lnTo>
                  <a:cubicBezTo>
                    <a:pt x="16256" y="17849"/>
                    <a:pt x="19171" y="17849"/>
                    <a:pt x="21571" y="16506"/>
                  </a:cubicBezTo>
                  <a:lnTo>
                    <a:pt x="23857" y="15268"/>
                  </a:lnTo>
                  <a:cubicBezTo>
                    <a:pt x="24771" y="14858"/>
                    <a:pt x="25391" y="13982"/>
                    <a:pt x="25476" y="12982"/>
                  </a:cubicBezTo>
                  <a:lnTo>
                    <a:pt x="25476" y="5838"/>
                  </a:lnTo>
                  <a:cubicBezTo>
                    <a:pt x="25419" y="6829"/>
                    <a:pt x="24791" y="7686"/>
                    <a:pt x="23857" y="8029"/>
                  </a:cubicBezTo>
                  <a:lnTo>
                    <a:pt x="21571" y="9457"/>
                  </a:lnTo>
                  <a:lnTo>
                    <a:pt x="21571" y="9457"/>
                  </a:lnTo>
                  <a:cubicBezTo>
                    <a:pt x="19171" y="10801"/>
                    <a:pt x="16256" y="10801"/>
                    <a:pt x="13856" y="9457"/>
                  </a:cubicBezTo>
                  <a:lnTo>
                    <a:pt x="3569" y="3552"/>
                  </a:lnTo>
                  <a:lnTo>
                    <a:pt x="1283" y="2219"/>
                  </a:lnTo>
                  <a:cubicBezTo>
                    <a:pt x="311" y="1828"/>
                    <a:pt x="-336" y="885"/>
                    <a:pt x="-336" y="-163"/>
                  </a:cubicBezTo>
                  <a:close/>
                </a:path>
              </a:pathLst>
            </a:custGeom>
            <a:solidFill>
              <a:srgbClr val="BF4200"/>
            </a:solidFill>
            <a:ln w="9525" cap="flat">
              <a:noFill/>
              <a:prstDash val="solid"/>
              <a:miter/>
            </a:ln>
          </p:spPr>
          <p:txBody>
            <a:bodyPr rtlCol="0" anchor="ctr"/>
            <a:lstStyle/>
            <a:p>
              <a:endParaRPr lang="zh-CN" altLang="en-US"/>
            </a:p>
          </p:txBody>
        </p:sp>
        <p:sp>
          <p:nvSpPr>
            <p:cNvPr id="795" name="islíḋé">
              <a:extLst>
                <a:ext uri="{FF2B5EF4-FFF2-40B4-BE49-F238E27FC236}">
                  <a16:creationId xmlns:a16="http://schemas.microsoft.com/office/drawing/2014/main" id="{B15E2F62-4A7C-48F9-BBB5-624B381CE9E7}"/>
                </a:ext>
              </a:extLst>
            </p:cNvPr>
            <p:cNvSpPr/>
            <p:nvPr/>
          </p:nvSpPr>
          <p:spPr>
            <a:xfrm>
              <a:off x="6044294" y="5468110"/>
              <a:ext cx="109594" cy="63588"/>
            </a:xfrm>
            <a:custGeom>
              <a:avLst/>
              <a:gdLst>
                <a:gd name="connsiteX0" fmla="*/ -336 w 36004"/>
                <a:gd name="connsiteY0" fmla="*/ 10291 h 20890"/>
                <a:gd name="connsiteX1" fmla="*/ 1188 w 36004"/>
                <a:gd name="connsiteY1" fmla="*/ 12577 h 20890"/>
                <a:gd name="connsiteX2" fmla="*/ 3569 w 36004"/>
                <a:gd name="connsiteY2" fmla="*/ 13911 h 20890"/>
                <a:gd name="connsiteX3" fmla="*/ 13856 w 36004"/>
                <a:gd name="connsiteY3" fmla="*/ 19721 h 20890"/>
                <a:gd name="connsiteX4" fmla="*/ 21476 w 36004"/>
                <a:gd name="connsiteY4" fmla="*/ 19721 h 20890"/>
                <a:gd name="connsiteX5" fmla="*/ 31763 w 36004"/>
                <a:gd name="connsiteY5" fmla="*/ 13911 h 20890"/>
                <a:gd name="connsiteX6" fmla="*/ 34144 w 36004"/>
                <a:gd name="connsiteY6" fmla="*/ 12577 h 20890"/>
                <a:gd name="connsiteX7" fmla="*/ 35668 w 36004"/>
                <a:gd name="connsiteY7" fmla="*/ 10291 h 20890"/>
                <a:gd name="connsiteX8" fmla="*/ 34144 w 36004"/>
                <a:gd name="connsiteY8" fmla="*/ 8101 h 20890"/>
                <a:gd name="connsiteX9" fmla="*/ 21476 w 36004"/>
                <a:gd name="connsiteY9" fmla="*/ 766 h 20890"/>
                <a:gd name="connsiteX10" fmla="*/ 13856 w 36004"/>
                <a:gd name="connsiteY10" fmla="*/ 766 h 20890"/>
                <a:gd name="connsiteX11" fmla="*/ 1188 w 36004"/>
                <a:gd name="connsiteY11" fmla="*/ 8101 h 20890"/>
                <a:gd name="connsiteX12" fmla="*/ -336 w 36004"/>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291"/>
                  </a:moveTo>
                  <a:cubicBezTo>
                    <a:pt x="-270" y="11272"/>
                    <a:pt x="311" y="12139"/>
                    <a:pt x="1188" y="12577"/>
                  </a:cubicBezTo>
                  <a:lnTo>
                    <a:pt x="3569" y="13911"/>
                  </a:lnTo>
                  <a:lnTo>
                    <a:pt x="13856" y="19721"/>
                  </a:lnTo>
                  <a:cubicBezTo>
                    <a:pt x="16218" y="21064"/>
                    <a:pt x="19114" y="21064"/>
                    <a:pt x="21476" y="19721"/>
                  </a:cubicBezTo>
                  <a:lnTo>
                    <a:pt x="31763" y="13911"/>
                  </a:lnTo>
                  <a:lnTo>
                    <a:pt x="34144" y="12577"/>
                  </a:lnTo>
                  <a:cubicBezTo>
                    <a:pt x="35021" y="12139"/>
                    <a:pt x="35602" y="11272"/>
                    <a:pt x="35668" y="10291"/>
                  </a:cubicBezTo>
                  <a:cubicBezTo>
                    <a:pt x="35611" y="9339"/>
                    <a:pt x="35021" y="8491"/>
                    <a:pt x="34144" y="8101"/>
                  </a:cubicBezTo>
                  <a:lnTo>
                    <a:pt x="21476" y="766"/>
                  </a:lnTo>
                  <a:cubicBezTo>
                    <a:pt x="19085" y="-472"/>
                    <a:pt x="16247" y="-472"/>
                    <a:pt x="13856" y="766"/>
                  </a:cubicBezTo>
                  <a:lnTo>
                    <a:pt x="1188" y="8101"/>
                  </a:lnTo>
                  <a:cubicBezTo>
                    <a:pt x="311" y="8491"/>
                    <a:pt x="-279"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796" name="íşļïdê">
              <a:extLst>
                <a:ext uri="{FF2B5EF4-FFF2-40B4-BE49-F238E27FC236}">
                  <a16:creationId xmlns:a16="http://schemas.microsoft.com/office/drawing/2014/main" id="{EA1DC5C8-3296-475C-AA25-5F9B59ED2ABC}"/>
                </a:ext>
              </a:extLst>
            </p:cNvPr>
            <p:cNvSpPr/>
            <p:nvPr/>
          </p:nvSpPr>
          <p:spPr>
            <a:xfrm>
              <a:off x="6046179" y="5469269"/>
              <a:ext cx="105825" cy="61104"/>
            </a:xfrm>
            <a:custGeom>
              <a:avLst/>
              <a:gdLst>
                <a:gd name="connsiteX0" fmla="*/ 1235 w 34766"/>
                <a:gd name="connsiteY0" fmla="*/ 12006 h 20074"/>
                <a:gd name="connsiteX1" fmla="*/ 13332 w 34766"/>
                <a:gd name="connsiteY1" fmla="*/ 19054 h 20074"/>
                <a:gd name="connsiteX2" fmla="*/ 20761 w 34766"/>
                <a:gd name="connsiteY2" fmla="*/ 19054 h 20074"/>
                <a:gd name="connsiteX3" fmla="*/ 32858 w 34766"/>
                <a:gd name="connsiteY3" fmla="*/ 12006 h 20074"/>
                <a:gd name="connsiteX4" fmla="*/ 32858 w 34766"/>
                <a:gd name="connsiteY4" fmla="*/ 7719 h 20074"/>
                <a:gd name="connsiteX5" fmla="*/ 20761 w 34766"/>
                <a:gd name="connsiteY5" fmla="*/ 766 h 20074"/>
                <a:gd name="connsiteX6" fmla="*/ 13332 w 34766"/>
                <a:gd name="connsiteY6" fmla="*/ 766 h 20074"/>
                <a:gd name="connsiteX7" fmla="*/ 1235 w 34766"/>
                <a:gd name="connsiteY7" fmla="*/ 7719 h 20074"/>
                <a:gd name="connsiteX8" fmla="*/ 1235 w 34766"/>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6" h="20074">
                  <a:moveTo>
                    <a:pt x="1235" y="12006"/>
                  </a:moveTo>
                  <a:lnTo>
                    <a:pt x="13332" y="19054"/>
                  </a:lnTo>
                  <a:cubicBezTo>
                    <a:pt x="15675" y="20197"/>
                    <a:pt x="18418" y="20197"/>
                    <a:pt x="20761" y="19054"/>
                  </a:cubicBezTo>
                  <a:lnTo>
                    <a:pt x="32858" y="12006"/>
                  </a:lnTo>
                  <a:cubicBezTo>
                    <a:pt x="34954" y="10863"/>
                    <a:pt x="34954" y="8957"/>
                    <a:pt x="32858" y="7719"/>
                  </a:cubicBezTo>
                  <a:lnTo>
                    <a:pt x="20761" y="766"/>
                  </a:lnTo>
                  <a:cubicBezTo>
                    <a:pt x="18437" y="-472"/>
                    <a:pt x="15656" y="-472"/>
                    <a:pt x="13332" y="766"/>
                  </a:cubicBezTo>
                  <a:lnTo>
                    <a:pt x="1235" y="7719"/>
                  </a:lnTo>
                  <a:cubicBezTo>
                    <a:pt x="-860" y="8957"/>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797" name="îṣḷïḓè">
              <a:extLst>
                <a:ext uri="{FF2B5EF4-FFF2-40B4-BE49-F238E27FC236}">
                  <a16:creationId xmlns:a16="http://schemas.microsoft.com/office/drawing/2014/main" id="{324F7CB5-ED1E-4C42-94F3-222683A99F0B}"/>
                </a:ext>
              </a:extLst>
            </p:cNvPr>
            <p:cNvSpPr/>
            <p:nvPr/>
          </p:nvSpPr>
          <p:spPr>
            <a:xfrm>
              <a:off x="6044288" y="5499931"/>
              <a:ext cx="109600" cy="54435"/>
            </a:xfrm>
            <a:custGeom>
              <a:avLst/>
              <a:gdLst>
                <a:gd name="connsiteX0" fmla="*/ -335 w 36006"/>
                <a:gd name="connsiteY0" fmla="*/ -163 h 17883"/>
                <a:gd name="connsiteX1" fmla="*/ -335 w 36006"/>
                <a:gd name="connsiteY1" fmla="*/ 7362 h 17883"/>
                <a:gd name="connsiteX2" fmla="*/ 1189 w 36006"/>
                <a:gd name="connsiteY2" fmla="*/ 9553 h 17883"/>
                <a:gd name="connsiteX3" fmla="*/ 13858 w 36006"/>
                <a:gd name="connsiteY3" fmla="*/ 16792 h 17883"/>
                <a:gd name="connsiteX4" fmla="*/ 21478 w 36006"/>
                <a:gd name="connsiteY4" fmla="*/ 16792 h 17883"/>
                <a:gd name="connsiteX5" fmla="*/ 34146 w 36006"/>
                <a:gd name="connsiteY5" fmla="*/ 9553 h 17883"/>
                <a:gd name="connsiteX6" fmla="*/ 35670 w 36006"/>
                <a:gd name="connsiteY6" fmla="*/ 7267 h 17883"/>
                <a:gd name="connsiteX7" fmla="*/ 35670 w 36006"/>
                <a:gd name="connsiteY7" fmla="*/ 123 h 17883"/>
                <a:gd name="connsiteX8" fmla="*/ 34146 w 36006"/>
                <a:gd name="connsiteY8" fmla="*/ 2409 h 17883"/>
                <a:gd name="connsiteX9" fmla="*/ 31765 w 36006"/>
                <a:gd name="connsiteY9" fmla="*/ 3743 h 17883"/>
                <a:gd name="connsiteX10" fmla="*/ 21478 w 36006"/>
                <a:gd name="connsiteY10" fmla="*/ 9553 h 17883"/>
                <a:gd name="connsiteX11" fmla="*/ 13858 w 36006"/>
                <a:gd name="connsiteY11" fmla="*/ 9553 h 17883"/>
                <a:gd name="connsiteX12" fmla="*/ 3571 w 36006"/>
                <a:gd name="connsiteY12" fmla="*/ 3743 h 17883"/>
                <a:gd name="connsiteX13" fmla="*/ 1189 w 36006"/>
                <a:gd name="connsiteY13" fmla="*/ 2409 h 17883"/>
                <a:gd name="connsiteX14" fmla="*/ -335 w 36006"/>
                <a:gd name="connsiteY14" fmla="*/ -163 h 17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6" h="17883">
                  <a:moveTo>
                    <a:pt x="-335" y="-163"/>
                  </a:moveTo>
                  <a:lnTo>
                    <a:pt x="-335" y="7362"/>
                  </a:lnTo>
                  <a:cubicBezTo>
                    <a:pt x="-239" y="8305"/>
                    <a:pt x="342" y="9134"/>
                    <a:pt x="1189" y="9553"/>
                  </a:cubicBezTo>
                  <a:lnTo>
                    <a:pt x="13858" y="16792"/>
                  </a:lnTo>
                  <a:cubicBezTo>
                    <a:pt x="16248" y="18030"/>
                    <a:pt x="19087" y="18030"/>
                    <a:pt x="21478" y="16792"/>
                  </a:cubicBezTo>
                  <a:lnTo>
                    <a:pt x="34146" y="9553"/>
                  </a:lnTo>
                  <a:cubicBezTo>
                    <a:pt x="35013" y="9105"/>
                    <a:pt x="35584" y="8239"/>
                    <a:pt x="35670" y="7267"/>
                  </a:cubicBezTo>
                  <a:lnTo>
                    <a:pt x="35670" y="123"/>
                  </a:lnTo>
                  <a:cubicBezTo>
                    <a:pt x="35603" y="1104"/>
                    <a:pt x="35022" y="1971"/>
                    <a:pt x="34146" y="2409"/>
                  </a:cubicBezTo>
                  <a:lnTo>
                    <a:pt x="31765" y="3743"/>
                  </a:lnTo>
                  <a:lnTo>
                    <a:pt x="21478" y="9553"/>
                  </a:lnTo>
                  <a:cubicBezTo>
                    <a:pt x="19115" y="10896"/>
                    <a:pt x="16220" y="10896"/>
                    <a:pt x="13858" y="9553"/>
                  </a:cubicBezTo>
                  <a:lnTo>
                    <a:pt x="3571" y="3743"/>
                  </a:lnTo>
                  <a:lnTo>
                    <a:pt x="1189" y="2409"/>
                  </a:lnTo>
                  <a:cubicBezTo>
                    <a:pt x="218" y="1923"/>
                    <a:pt x="-373" y="923"/>
                    <a:pt x="-335" y="-163"/>
                  </a:cubicBezTo>
                  <a:close/>
                </a:path>
              </a:pathLst>
            </a:custGeom>
            <a:solidFill>
              <a:srgbClr val="BF4200"/>
            </a:solidFill>
            <a:ln w="9525" cap="flat">
              <a:noFill/>
              <a:prstDash val="solid"/>
              <a:miter/>
            </a:ln>
          </p:spPr>
          <p:txBody>
            <a:bodyPr rtlCol="0" anchor="ctr"/>
            <a:lstStyle/>
            <a:p>
              <a:endParaRPr lang="zh-CN" altLang="en-US"/>
            </a:p>
          </p:txBody>
        </p:sp>
        <p:sp>
          <p:nvSpPr>
            <p:cNvPr id="798" name="ïŝľîdê">
              <a:extLst>
                <a:ext uri="{FF2B5EF4-FFF2-40B4-BE49-F238E27FC236}">
                  <a16:creationId xmlns:a16="http://schemas.microsoft.com/office/drawing/2014/main" id="{34CA68B2-58AC-49D4-8884-C13252F074A8}"/>
                </a:ext>
              </a:extLst>
            </p:cNvPr>
            <p:cNvSpPr/>
            <p:nvPr/>
          </p:nvSpPr>
          <p:spPr>
            <a:xfrm>
              <a:off x="5927812" y="4346502"/>
              <a:ext cx="1038326" cy="599437"/>
            </a:xfrm>
            <a:custGeom>
              <a:avLst/>
              <a:gdLst>
                <a:gd name="connsiteX0" fmla="*/ 126894 w 341114"/>
                <a:gd name="connsiteY0" fmla="*/ 182551 h 196929"/>
                <a:gd name="connsiteX1" fmla="*/ 24310 w 341114"/>
                <a:gd name="connsiteY1" fmla="*/ 123305 h 196929"/>
                <a:gd name="connsiteX2" fmla="*/ 24310 w 341114"/>
                <a:gd name="connsiteY2" fmla="*/ 54630 h 196929"/>
                <a:gd name="connsiteX3" fmla="*/ 94509 w 341114"/>
                <a:gd name="connsiteY3" fmla="*/ 14053 h 196929"/>
                <a:gd name="connsiteX4" fmla="*/ 213571 w 341114"/>
                <a:gd name="connsiteY4" fmla="*/ 14053 h 196929"/>
                <a:gd name="connsiteX5" fmla="*/ 316060 w 341114"/>
                <a:gd name="connsiteY5" fmla="*/ 73299 h 196929"/>
                <a:gd name="connsiteX6" fmla="*/ 316060 w 341114"/>
                <a:gd name="connsiteY6" fmla="*/ 141974 h 196929"/>
                <a:gd name="connsiteX7" fmla="*/ 245861 w 341114"/>
                <a:gd name="connsiteY7" fmla="*/ 182551 h 196929"/>
                <a:gd name="connsiteX8" fmla="*/ 126894 w 341114"/>
                <a:gd name="connsiteY8" fmla="*/ 182551 h 196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1114" h="196929">
                  <a:moveTo>
                    <a:pt x="126894" y="182551"/>
                  </a:moveTo>
                  <a:lnTo>
                    <a:pt x="24310" y="123305"/>
                  </a:lnTo>
                  <a:cubicBezTo>
                    <a:pt x="-8552" y="104255"/>
                    <a:pt x="-8552" y="73585"/>
                    <a:pt x="24310" y="54630"/>
                  </a:cubicBezTo>
                  <a:lnTo>
                    <a:pt x="94509" y="14053"/>
                  </a:lnTo>
                  <a:cubicBezTo>
                    <a:pt x="131932" y="-4901"/>
                    <a:pt x="176148" y="-4901"/>
                    <a:pt x="213571" y="14053"/>
                  </a:cubicBezTo>
                  <a:lnTo>
                    <a:pt x="316060" y="73299"/>
                  </a:lnTo>
                  <a:cubicBezTo>
                    <a:pt x="349017" y="92349"/>
                    <a:pt x="349017" y="123019"/>
                    <a:pt x="316060" y="141974"/>
                  </a:cubicBezTo>
                  <a:lnTo>
                    <a:pt x="245861" y="182551"/>
                  </a:lnTo>
                  <a:cubicBezTo>
                    <a:pt x="208475" y="201506"/>
                    <a:pt x="164279" y="201506"/>
                    <a:pt x="126894" y="182551"/>
                  </a:cubicBezTo>
                  <a:close/>
                </a:path>
              </a:pathLst>
            </a:custGeom>
            <a:solidFill>
              <a:srgbClr val="BF4200"/>
            </a:solidFill>
            <a:ln w="9525" cap="flat">
              <a:noFill/>
              <a:prstDash val="solid"/>
              <a:miter/>
            </a:ln>
          </p:spPr>
          <p:txBody>
            <a:bodyPr rtlCol="0" anchor="ctr"/>
            <a:lstStyle/>
            <a:p>
              <a:endParaRPr lang="zh-CN" altLang="en-US"/>
            </a:p>
          </p:txBody>
        </p:sp>
        <p:sp>
          <p:nvSpPr>
            <p:cNvPr id="799" name="iśľidè">
              <a:extLst>
                <a:ext uri="{FF2B5EF4-FFF2-40B4-BE49-F238E27FC236}">
                  <a16:creationId xmlns:a16="http://schemas.microsoft.com/office/drawing/2014/main" id="{65E867A8-5334-46AE-B99E-C3A6429353C4}"/>
                </a:ext>
              </a:extLst>
            </p:cNvPr>
            <p:cNvSpPr/>
            <p:nvPr/>
          </p:nvSpPr>
          <p:spPr>
            <a:xfrm>
              <a:off x="5927812" y="4311710"/>
              <a:ext cx="1038326" cy="599437"/>
            </a:xfrm>
            <a:custGeom>
              <a:avLst/>
              <a:gdLst>
                <a:gd name="connsiteX0" fmla="*/ 126894 w 341114"/>
                <a:gd name="connsiteY0" fmla="*/ 182551 h 196929"/>
                <a:gd name="connsiteX1" fmla="*/ 24310 w 341114"/>
                <a:gd name="connsiteY1" fmla="*/ 123305 h 196929"/>
                <a:gd name="connsiteX2" fmla="*/ 24310 w 341114"/>
                <a:gd name="connsiteY2" fmla="*/ 54630 h 196929"/>
                <a:gd name="connsiteX3" fmla="*/ 94509 w 341114"/>
                <a:gd name="connsiteY3" fmla="*/ 14053 h 196929"/>
                <a:gd name="connsiteX4" fmla="*/ 213571 w 341114"/>
                <a:gd name="connsiteY4" fmla="*/ 14053 h 196929"/>
                <a:gd name="connsiteX5" fmla="*/ 316060 w 341114"/>
                <a:gd name="connsiteY5" fmla="*/ 73299 h 196929"/>
                <a:gd name="connsiteX6" fmla="*/ 316060 w 341114"/>
                <a:gd name="connsiteY6" fmla="*/ 141974 h 196929"/>
                <a:gd name="connsiteX7" fmla="*/ 245861 w 341114"/>
                <a:gd name="connsiteY7" fmla="*/ 182551 h 196929"/>
                <a:gd name="connsiteX8" fmla="*/ 126894 w 341114"/>
                <a:gd name="connsiteY8" fmla="*/ 182551 h 196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1114" h="196929">
                  <a:moveTo>
                    <a:pt x="126894" y="182551"/>
                  </a:moveTo>
                  <a:lnTo>
                    <a:pt x="24310" y="123305"/>
                  </a:lnTo>
                  <a:cubicBezTo>
                    <a:pt x="-8552" y="104255"/>
                    <a:pt x="-8552" y="73585"/>
                    <a:pt x="24310" y="54630"/>
                  </a:cubicBezTo>
                  <a:lnTo>
                    <a:pt x="94509" y="14053"/>
                  </a:lnTo>
                  <a:cubicBezTo>
                    <a:pt x="131932" y="-4901"/>
                    <a:pt x="176148" y="-4901"/>
                    <a:pt x="213571" y="14053"/>
                  </a:cubicBezTo>
                  <a:lnTo>
                    <a:pt x="316060" y="73299"/>
                  </a:lnTo>
                  <a:cubicBezTo>
                    <a:pt x="349017" y="92349"/>
                    <a:pt x="349017" y="123019"/>
                    <a:pt x="316060" y="141974"/>
                  </a:cubicBezTo>
                  <a:lnTo>
                    <a:pt x="245861" y="182551"/>
                  </a:lnTo>
                  <a:cubicBezTo>
                    <a:pt x="208475" y="201505"/>
                    <a:pt x="164279" y="201505"/>
                    <a:pt x="126894" y="182551"/>
                  </a:cubicBezTo>
                  <a:close/>
                </a:path>
              </a:pathLst>
            </a:custGeom>
            <a:solidFill>
              <a:srgbClr val="FF7D33"/>
            </a:solidFill>
            <a:ln w="9525" cap="flat">
              <a:noFill/>
              <a:prstDash val="solid"/>
              <a:miter/>
            </a:ln>
          </p:spPr>
          <p:txBody>
            <a:bodyPr rtlCol="0" anchor="ctr"/>
            <a:lstStyle/>
            <a:p>
              <a:endParaRPr lang="zh-CN" altLang="en-US"/>
            </a:p>
          </p:txBody>
        </p:sp>
        <p:sp>
          <p:nvSpPr>
            <p:cNvPr id="800" name="ïšlídé">
              <a:extLst>
                <a:ext uri="{FF2B5EF4-FFF2-40B4-BE49-F238E27FC236}">
                  <a16:creationId xmlns:a16="http://schemas.microsoft.com/office/drawing/2014/main" id="{07929FBF-E6DA-45B1-8304-362A633089AB}"/>
                </a:ext>
              </a:extLst>
            </p:cNvPr>
            <p:cNvSpPr/>
            <p:nvPr/>
          </p:nvSpPr>
          <p:spPr>
            <a:xfrm>
              <a:off x="6375915" y="4006641"/>
              <a:ext cx="260198" cy="150440"/>
            </a:xfrm>
            <a:custGeom>
              <a:avLst/>
              <a:gdLst>
                <a:gd name="connsiteX0" fmla="*/ 71979 w 85481"/>
                <a:gd name="connsiteY0" fmla="*/ 6737 h 49423"/>
                <a:gd name="connsiteX1" fmla="*/ 73218 w 85481"/>
                <a:gd name="connsiteY1" fmla="*/ 41694 h 49423"/>
                <a:gd name="connsiteX2" fmla="*/ 12829 w 85481"/>
                <a:gd name="connsiteY2" fmla="*/ 42361 h 49423"/>
                <a:gd name="connsiteX3" fmla="*/ 11591 w 85481"/>
                <a:gd name="connsiteY3" fmla="*/ 7404 h 49423"/>
                <a:gd name="connsiteX4" fmla="*/ 71979 w 85481"/>
                <a:gd name="connsiteY4" fmla="*/ 6737 h 49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481" h="49423">
                  <a:moveTo>
                    <a:pt x="71979" y="6737"/>
                  </a:moveTo>
                  <a:cubicBezTo>
                    <a:pt x="89029" y="16262"/>
                    <a:pt x="89601" y="31884"/>
                    <a:pt x="73218" y="41694"/>
                  </a:cubicBezTo>
                  <a:cubicBezTo>
                    <a:pt x="54349" y="51543"/>
                    <a:pt x="31908" y="51791"/>
                    <a:pt x="12829" y="42361"/>
                  </a:cubicBezTo>
                  <a:cubicBezTo>
                    <a:pt x="-4221" y="32836"/>
                    <a:pt x="-4792" y="17215"/>
                    <a:pt x="11591" y="7404"/>
                  </a:cubicBezTo>
                  <a:cubicBezTo>
                    <a:pt x="30460" y="-2445"/>
                    <a:pt x="52901" y="-2692"/>
                    <a:pt x="71979" y="6737"/>
                  </a:cubicBezTo>
                  <a:close/>
                </a:path>
              </a:pathLst>
            </a:custGeom>
            <a:solidFill>
              <a:srgbClr val="E73E1E"/>
            </a:solidFill>
            <a:ln w="9525" cap="flat">
              <a:noFill/>
              <a:prstDash val="solid"/>
              <a:miter/>
            </a:ln>
          </p:spPr>
          <p:txBody>
            <a:bodyPr rtlCol="0" anchor="ctr"/>
            <a:lstStyle/>
            <a:p>
              <a:endParaRPr lang="zh-CN" altLang="en-US"/>
            </a:p>
          </p:txBody>
        </p:sp>
        <p:sp>
          <p:nvSpPr>
            <p:cNvPr id="801" name="ïŝľiḑê">
              <a:extLst>
                <a:ext uri="{FF2B5EF4-FFF2-40B4-BE49-F238E27FC236}">
                  <a16:creationId xmlns:a16="http://schemas.microsoft.com/office/drawing/2014/main" id="{37C44FC7-80DB-4517-87F8-EE1F2D1C7CAE}"/>
                </a:ext>
              </a:extLst>
            </p:cNvPr>
            <p:cNvSpPr/>
            <p:nvPr/>
          </p:nvSpPr>
          <p:spPr>
            <a:xfrm>
              <a:off x="6375398" y="4081863"/>
              <a:ext cx="260070" cy="535488"/>
            </a:xfrm>
            <a:custGeom>
              <a:avLst/>
              <a:gdLst>
                <a:gd name="connsiteX0" fmla="*/ 85103 w 85439"/>
                <a:gd name="connsiteY0" fmla="*/ 151190 h 175920"/>
                <a:gd name="connsiteX1" fmla="*/ 85103 w 85439"/>
                <a:gd name="connsiteY1" fmla="*/ 123 h 175920"/>
                <a:gd name="connsiteX2" fmla="*/ 73197 w 85439"/>
                <a:gd name="connsiteY2" fmla="*/ 17173 h 175920"/>
                <a:gd name="connsiteX3" fmla="*/ 12808 w 85439"/>
                <a:gd name="connsiteY3" fmla="*/ 17744 h 175920"/>
                <a:gd name="connsiteX4" fmla="*/ -336 w 85439"/>
                <a:gd name="connsiteY4" fmla="*/ -163 h 175920"/>
                <a:gd name="connsiteX5" fmla="*/ -336 w 85439"/>
                <a:gd name="connsiteY5" fmla="*/ 150904 h 175920"/>
                <a:gd name="connsiteX6" fmla="*/ 12808 w 85439"/>
                <a:gd name="connsiteY6" fmla="*/ 168811 h 175920"/>
                <a:gd name="connsiteX7" fmla="*/ 73197 w 85439"/>
                <a:gd name="connsiteY7" fmla="*/ 168239 h 175920"/>
                <a:gd name="connsiteX8" fmla="*/ 85103 w 85439"/>
                <a:gd name="connsiteY8" fmla="*/ 151190 h 175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5439" h="175920">
                  <a:moveTo>
                    <a:pt x="85103" y="151190"/>
                  </a:moveTo>
                  <a:lnTo>
                    <a:pt x="85103" y="123"/>
                  </a:lnTo>
                  <a:cubicBezTo>
                    <a:pt x="84436" y="7515"/>
                    <a:pt x="79902" y="14001"/>
                    <a:pt x="73197" y="17173"/>
                  </a:cubicBezTo>
                  <a:cubicBezTo>
                    <a:pt x="54309" y="26993"/>
                    <a:pt x="31877" y="27203"/>
                    <a:pt x="12808" y="17744"/>
                  </a:cubicBezTo>
                  <a:cubicBezTo>
                    <a:pt x="5474" y="14639"/>
                    <a:pt x="426" y="7762"/>
                    <a:pt x="-336" y="-163"/>
                  </a:cubicBezTo>
                  <a:lnTo>
                    <a:pt x="-336" y="150904"/>
                  </a:lnTo>
                  <a:cubicBezTo>
                    <a:pt x="426" y="158829"/>
                    <a:pt x="5474" y="165706"/>
                    <a:pt x="12808" y="168811"/>
                  </a:cubicBezTo>
                  <a:cubicBezTo>
                    <a:pt x="31877" y="178269"/>
                    <a:pt x="54309" y="178059"/>
                    <a:pt x="73197" y="168239"/>
                  </a:cubicBezTo>
                  <a:cubicBezTo>
                    <a:pt x="79902" y="165068"/>
                    <a:pt x="84436" y="158581"/>
                    <a:pt x="85103" y="151190"/>
                  </a:cubicBezTo>
                  <a:close/>
                </a:path>
              </a:pathLst>
            </a:custGeom>
            <a:solidFill>
              <a:srgbClr val="BF4200"/>
            </a:solidFill>
            <a:ln w="9525" cap="flat">
              <a:noFill/>
              <a:prstDash val="solid"/>
              <a:miter/>
            </a:ln>
          </p:spPr>
          <p:txBody>
            <a:bodyPr rtlCol="0" anchor="ctr"/>
            <a:lstStyle/>
            <a:p>
              <a:endParaRPr lang="zh-CN" altLang="en-US"/>
            </a:p>
          </p:txBody>
        </p:sp>
        <p:sp>
          <p:nvSpPr>
            <p:cNvPr id="802" name="ïšļiḋè">
              <a:extLst>
                <a:ext uri="{FF2B5EF4-FFF2-40B4-BE49-F238E27FC236}">
                  <a16:creationId xmlns:a16="http://schemas.microsoft.com/office/drawing/2014/main" id="{62B5AA3F-B058-4E45-991D-FCF2CB2B88D6}"/>
                </a:ext>
              </a:extLst>
            </p:cNvPr>
            <p:cNvSpPr/>
            <p:nvPr/>
          </p:nvSpPr>
          <p:spPr>
            <a:xfrm>
              <a:off x="7368421" y="4755091"/>
              <a:ext cx="168451" cy="100264"/>
            </a:xfrm>
            <a:custGeom>
              <a:avLst/>
              <a:gdLst>
                <a:gd name="connsiteX0" fmla="*/ 32811 w 55340"/>
                <a:gd name="connsiteY0" fmla="*/ 27746 h 32939"/>
                <a:gd name="connsiteX1" fmla="*/ 32811 w 55340"/>
                <a:gd name="connsiteY1" fmla="*/ 27746 h 32939"/>
                <a:gd name="connsiteX2" fmla="*/ 36335 w 55340"/>
                <a:gd name="connsiteY2" fmla="*/ 25650 h 32939"/>
                <a:gd name="connsiteX3" fmla="*/ 44146 w 55340"/>
                <a:gd name="connsiteY3" fmla="*/ 20221 h 32939"/>
                <a:gd name="connsiteX4" fmla="*/ 50432 w 55340"/>
                <a:gd name="connsiteY4" fmla="*/ 13553 h 32939"/>
                <a:gd name="connsiteX5" fmla="*/ 53575 w 55340"/>
                <a:gd name="connsiteY5" fmla="*/ 7362 h 32939"/>
                <a:gd name="connsiteX6" fmla="*/ 55004 w 55340"/>
                <a:gd name="connsiteY6" fmla="*/ -163 h 32939"/>
                <a:gd name="connsiteX7" fmla="*/ 55004 w 55340"/>
                <a:gd name="connsiteY7" fmla="*/ -163 h 32939"/>
                <a:gd name="connsiteX8" fmla="*/ 53671 w 55340"/>
                <a:gd name="connsiteY8" fmla="*/ 2219 h 32939"/>
                <a:gd name="connsiteX9" fmla="*/ 53671 w 55340"/>
                <a:gd name="connsiteY9" fmla="*/ 2219 h 32939"/>
                <a:gd name="connsiteX10" fmla="*/ 53194 w 55340"/>
                <a:gd name="connsiteY10" fmla="*/ 2695 h 32939"/>
                <a:gd name="connsiteX11" fmla="*/ 53194 w 55340"/>
                <a:gd name="connsiteY11" fmla="*/ 2695 h 32939"/>
                <a:gd name="connsiteX12" fmla="*/ 52528 w 55340"/>
                <a:gd name="connsiteY12" fmla="*/ 3362 h 32939"/>
                <a:gd name="connsiteX13" fmla="*/ 51861 w 55340"/>
                <a:gd name="connsiteY13" fmla="*/ 3933 h 32939"/>
                <a:gd name="connsiteX14" fmla="*/ 49480 w 55340"/>
                <a:gd name="connsiteY14" fmla="*/ 5743 h 32939"/>
                <a:gd name="connsiteX15" fmla="*/ 48813 w 55340"/>
                <a:gd name="connsiteY15" fmla="*/ 6315 h 32939"/>
                <a:gd name="connsiteX16" fmla="*/ 48813 w 55340"/>
                <a:gd name="connsiteY16" fmla="*/ 6315 h 32939"/>
                <a:gd name="connsiteX17" fmla="*/ 48051 w 55340"/>
                <a:gd name="connsiteY17" fmla="*/ 6886 h 32939"/>
                <a:gd name="connsiteX18" fmla="*/ 45098 w 55340"/>
                <a:gd name="connsiteY18" fmla="*/ 8696 h 32939"/>
                <a:gd name="connsiteX19" fmla="*/ 41574 w 55340"/>
                <a:gd name="connsiteY19" fmla="*/ 10696 h 32939"/>
                <a:gd name="connsiteX20" fmla="*/ 23476 w 55340"/>
                <a:gd name="connsiteY20" fmla="*/ 16030 h 32939"/>
                <a:gd name="connsiteX21" fmla="*/ 23476 w 55340"/>
                <a:gd name="connsiteY21" fmla="*/ 16030 h 32939"/>
                <a:gd name="connsiteX22" fmla="*/ 22619 w 55340"/>
                <a:gd name="connsiteY22" fmla="*/ 21269 h 32939"/>
                <a:gd name="connsiteX23" fmla="*/ 22143 w 55340"/>
                <a:gd name="connsiteY23" fmla="*/ 22793 h 32939"/>
                <a:gd name="connsiteX24" fmla="*/ 22143 w 55340"/>
                <a:gd name="connsiteY24" fmla="*/ 22793 h 32939"/>
                <a:gd name="connsiteX25" fmla="*/ 21476 w 55340"/>
                <a:gd name="connsiteY25" fmla="*/ 24317 h 32939"/>
                <a:gd name="connsiteX26" fmla="*/ 21476 w 55340"/>
                <a:gd name="connsiteY26" fmla="*/ 24317 h 32939"/>
                <a:gd name="connsiteX27" fmla="*/ 16523 w 55340"/>
                <a:gd name="connsiteY27" fmla="*/ 29651 h 32939"/>
                <a:gd name="connsiteX28" fmla="*/ 9189 w 55340"/>
                <a:gd name="connsiteY28" fmla="*/ 31175 h 32939"/>
                <a:gd name="connsiteX29" fmla="*/ -336 w 55340"/>
                <a:gd name="connsiteY29" fmla="*/ 28222 h 32939"/>
                <a:gd name="connsiteX30" fmla="*/ 10903 w 55340"/>
                <a:gd name="connsiteY30" fmla="*/ 32699 h 32939"/>
                <a:gd name="connsiteX31" fmla="*/ 14142 w 55340"/>
                <a:gd name="connsiteY31" fmla="*/ 32699 h 32939"/>
                <a:gd name="connsiteX32" fmla="*/ 18333 w 55340"/>
                <a:gd name="connsiteY32" fmla="*/ 32223 h 32939"/>
                <a:gd name="connsiteX33" fmla="*/ 18333 w 55340"/>
                <a:gd name="connsiteY33" fmla="*/ 32223 h 32939"/>
                <a:gd name="connsiteX34" fmla="*/ 31858 w 55340"/>
                <a:gd name="connsiteY34" fmla="*/ 27269 h 32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55340" h="32939">
                  <a:moveTo>
                    <a:pt x="32811" y="27746"/>
                  </a:moveTo>
                  <a:lnTo>
                    <a:pt x="32811" y="27746"/>
                  </a:lnTo>
                  <a:lnTo>
                    <a:pt x="36335" y="25650"/>
                  </a:lnTo>
                  <a:cubicBezTo>
                    <a:pt x="39088" y="24069"/>
                    <a:pt x="41707" y="22259"/>
                    <a:pt x="44146" y="20221"/>
                  </a:cubicBezTo>
                  <a:cubicBezTo>
                    <a:pt x="46498" y="18259"/>
                    <a:pt x="48613" y="16020"/>
                    <a:pt x="50432" y="13553"/>
                  </a:cubicBezTo>
                  <a:cubicBezTo>
                    <a:pt x="51737" y="11629"/>
                    <a:pt x="52794" y="9553"/>
                    <a:pt x="53575" y="7362"/>
                  </a:cubicBezTo>
                  <a:cubicBezTo>
                    <a:pt x="54423" y="4933"/>
                    <a:pt x="54899" y="2400"/>
                    <a:pt x="55004" y="-163"/>
                  </a:cubicBezTo>
                  <a:lnTo>
                    <a:pt x="55004" y="-163"/>
                  </a:lnTo>
                  <a:cubicBezTo>
                    <a:pt x="54785" y="742"/>
                    <a:pt x="54328" y="1561"/>
                    <a:pt x="53671" y="2219"/>
                  </a:cubicBezTo>
                  <a:lnTo>
                    <a:pt x="53671" y="2219"/>
                  </a:lnTo>
                  <a:cubicBezTo>
                    <a:pt x="53671" y="2219"/>
                    <a:pt x="53671" y="2219"/>
                    <a:pt x="53194" y="2695"/>
                  </a:cubicBezTo>
                  <a:lnTo>
                    <a:pt x="53194" y="2695"/>
                  </a:lnTo>
                  <a:lnTo>
                    <a:pt x="52528" y="3362"/>
                  </a:lnTo>
                  <a:lnTo>
                    <a:pt x="51861" y="3933"/>
                  </a:lnTo>
                  <a:lnTo>
                    <a:pt x="49480" y="5743"/>
                  </a:lnTo>
                  <a:lnTo>
                    <a:pt x="48813" y="6315"/>
                  </a:lnTo>
                  <a:lnTo>
                    <a:pt x="48813" y="6315"/>
                  </a:lnTo>
                  <a:lnTo>
                    <a:pt x="48051" y="6886"/>
                  </a:lnTo>
                  <a:lnTo>
                    <a:pt x="45098" y="8696"/>
                  </a:lnTo>
                  <a:lnTo>
                    <a:pt x="41574" y="10696"/>
                  </a:lnTo>
                  <a:cubicBezTo>
                    <a:pt x="33954" y="15173"/>
                    <a:pt x="25762" y="17554"/>
                    <a:pt x="23476" y="16030"/>
                  </a:cubicBezTo>
                  <a:lnTo>
                    <a:pt x="23476" y="16030"/>
                  </a:lnTo>
                  <a:cubicBezTo>
                    <a:pt x="23305" y="17792"/>
                    <a:pt x="23019" y="19545"/>
                    <a:pt x="22619" y="21269"/>
                  </a:cubicBezTo>
                  <a:cubicBezTo>
                    <a:pt x="22619" y="21840"/>
                    <a:pt x="22619" y="22317"/>
                    <a:pt x="22143" y="22793"/>
                  </a:cubicBezTo>
                  <a:lnTo>
                    <a:pt x="22143" y="22793"/>
                  </a:lnTo>
                  <a:cubicBezTo>
                    <a:pt x="21981" y="23326"/>
                    <a:pt x="21752" y="23831"/>
                    <a:pt x="21476" y="24317"/>
                  </a:cubicBezTo>
                  <a:lnTo>
                    <a:pt x="21476" y="24317"/>
                  </a:lnTo>
                  <a:cubicBezTo>
                    <a:pt x="20352" y="26517"/>
                    <a:pt x="18638" y="28365"/>
                    <a:pt x="16523" y="29651"/>
                  </a:cubicBezTo>
                  <a:cubicBezTo>
                    <a:pt x="14275" y="30851"/>
                    <a:pt x="11732" y="31384"/>
                    <a:pt x="9189" y="31175"/>
                  </a:cubicBezTo>
                  <a:cubicBezTo>
                    <a:pt x="5826" y="30946"/>
                    <a:pt x="2569" y="29936"/>
                    <a:pt x="-336" y="28222"/>
                  </a:cubicBezTo>
                  <a:cubicBezTo>
                    <a:pt x="3159" y="30279"/>
                    <a:pt x="6950" y="31784"/>
                    <a:pt x="10903" y="32699"/>
                  </a:cubicBezTo>
                  <a:cubicBezTo>
                    <a:pt x="11979" y="32803"/>
                    <a:pt x="13065" y="32803"/>
                    <a:pt x="14142" y="32699"/>
                  </a:cubicBezTo>
                  <a:cubicBezTo>
                    <a:pt x="15551" y="32651"/>
                    <a:pt x="16952" y="32489"/>
                    <a:pt x="18333" y="32223"/>
                  </a:cubicBezTo>
                  <a:lnTo>
                    <a:pt x="18333" y="32223"/>
                  </a:lnTo>
                  <a:cubicBezTo>
                    <a:pt x="23076" y="31289"/>
                    <a:pt x="27639" y="29622"/>
                    <a:pt x="31858" y="27269"/>
                  </a:cubicBezTo>
                  <a:close/>
                </a:path>
              </a:pathLst>
            </a:custGeom>
            <a:solidFill>
              <a:srgbClr val="BF4200"/>
            </a:solidFill>
            <a:ln w="9525" cap="flat">
              <a:noFill/>
              <a:prstDash val="solid"/>
              <a:miter/>
            </a:ln>
          </p:spPr>
          <p:txBody>
            <a:bodyPr rtlCol="0" anchor="ctr"/>
            <a:lstStyle/>
            <a:p>
              <a:endParaRPr lang="zh-CN" altLang="en-US"/>
            </a:p>
          </p:txBody>
        </p:sp>
        <p:sp>
          <p:nvSpPr>
            <p:cNvPr id="803" name="iṣḻíďè">
              <a:extLst>
                <a:ext uri="{FF2B5EF4-FFF2-40B4-BE49-F238E27FC236}">
                  <a16:creationId xmlns:a16="http://schemas.microsoft.com/office/drawing/2014/main" id="{4E8CD3CF-EACD-428B-BC70-93E7F1F02D45}"/>
                </a:ext>
              </a:extLst>
            </p:cNvPr>
            <p:cNvSpPr/>
            <p:nvPr/>
          </p:nvSpPr>
          <p:spPr>
            <a:xfrm>
              <a:off x="5454710" y="1859559"/>
              <a:ext cx="166278" cy="110425"/>
            </a:xfrm>
            <a:custGeom>
              <a:avLst/>
              <a:gdLst>
                <a:gd name="connsiteX0" fmla="*/ 37621 w 54626"/>
                <a:gd name="connsiteY0" fmla="*/ 9826 h 36277"/>
                <a:gd name="connsiteX1" fmla="*/ 41050 w 54626"/>
                <a:gd name="connsiteY1" fmla="*/ 7825 h 36277"/>
                <a:gd name="connsiteX2" fmla="*/ 43622 w 54626"/>
                <a:gd name="connsiteY2" fmla="*/ 6492 h 36277"/>
                <a:gd name="connsiteX3" fmla="*/ 45241 w 54626"/>
                <a:gd name="connsiteY3" fmla="*/ 5635 h 36277"/>
                <a:gd name="connsiteX4" fmla="*/ 50671 w 54626"/>
                <a:gd name="connsiteY4" fmla="*/ 3634 h 36277"/>
                <a:gd name="connsiteX5" fmla="*/ 51147 w 54626"/>
                <a:gd name="connsiteY5" fmla="*/ 3634 h 36277"/>
                <a:gd name="connsiteX6" fmla="*/ 54290 w 54626"/>
                <a:gd name="connsiteY6" fmla="*/ 3634 h 36277"/>
                <a:gd name="connsiteX7" fmla="*/ 46099 w 54626"/>
                <a:gd name="connsiteY7" fmla="*/ 491 h 36277"/>
                <a:gd name="connsiteX8" fmla="*/ 38574 w 54626"/>
                <a:gd name="connsiteY8" fmla="*/ -80 h 36277"/>
                <a:gd name="connsiteX9" fmla="*/ 21238 w 54626"/>
                <a:gd name="connsiteY9" fmla="*/ 5730 h 36277"/>
                <a:gd name="connsiteX10" fmla="*/ 21238 w 54626"/>
                <a:gd name="connsiteY10" fmla="*/ 5730 h 36277"/>
                <a:gd name="connsiteX11" fmla="*/ 17809 w 54626"/>
                <a:gd name="connsiteY11" fmla="*/ 7730 h 36277"/>
                <a:gd name="connsiteX12" fmla="*/ 9522 w 54626"/>
                <a:gd name="connsiteY12" fmla="*/ 13540 h 36277"/>
                <a:gd name="connsiteX13" fmla="*/ 3141 w 54626"/>
                <a:gd name="connsiteY13" fmla="*/ 20684 h 36277"/>
                <a:gd name="connsiteX14" fmla="*/ 379 w 54626"/>
                <a:gd name="connsiteY14" fmla="*/ 27256 h 36277"/>
                <a:gd name="connsiteX15" fmla="*/ -288 w 54626"/>
                <a:gd name="connsiteY15" fmla="*/ 36115 h 36277"/>
                <a:gd name="connsiteX16" fmla="*/ 6855 w 54626"/>
                <a:gd name="connsiteY16" fmla="*/ 20970 h 36277"/>
                <a:gd name="connsiteX17" fmla="*/ 12380 w 54626"/>
                <a:gd name="connsiteY17" fmla="*/ 19446 h 36277"/>
                <a:gd name="connsiteX18" fmla="*/ 13047 w 54626"/>
                <a:gd name="connsiteY18" fmla="*/ 19446 h 36277"/>
                <a:gd name="connsiteX19" fmla="*/ 15428 w 54626"/>
                <a:gd name="connsiteY19" fmla="*/ 19446 h 36277"/>
                <a:gd name="connsiteX20" fmla="*/ 16666 w 54626"/>
                <a:gd name="connsiteY20" fmla="*/ 19446 h 36277"/>
                <a:gd name="connsiteX21" fmla="*/ 17428 w 54626"/>
                <a:gd name="connsiteY21" fmla="*/ 19446 h 36277"/>
                <a:gd name="connsiteX22" fmla="*/ 18095 w 54626"/>
                <a:gd name="connsiteY22" fmla="*/ 19446 h 36277"/>
                <a:gd name="connsiteX23" fmla="*/ 18857 w 54626"/>
                <a:gd name="connsiteY23" fmla="*/ 19446 h 36277"/>
                <a:gd name="connsiteX24" fmla="*/ 19619 w 54626"/>
                <a:gd name="connsiteY24" fmla="*/ 19446 h 36277"/>
                <a:gd name="connsiteX25" fmla="*/ 20571 w 54626"/>
                <a:gd name="connsiteY25" fmla="*/ 19446 h 36277"/>
                <a:gd name="connsiteX26" fmla="*/ 21524 w 54626"/>
                <a:gd name="connsiteY26" fmla="*/ 19446 h 36277"/>
                <a:gd name="connsiteX27" fmla="*/ 22191 w 54626"/>
                <a:gd name="connsiteY27" fmla="*/ 19446 h 36277"/>
                <a:gd name="connsiteX28" fmla="*/ 23905 w 54626"/>
                <a:gd name="connsiteY28" fmla="*/ 20303 h 36277"/>
                <a:gd name="connsiteX29" fmla="*/ 23905 w 54626"/>
                <a:gd name="connsiteY29" fmla="*/ 20303 h 36277"/>
                <a:gd name="connsiteX30" fmla="*/ 37621 w 54626"/>
                <a:gd name="connsiteY30" fmla="*/ 9826 h 36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54626" h="36277">
                  <a:moveTo>
                    <a:pt x="37621" y="9826"/>
                  </a:moveTo>
                  <a:lnTo>
                    <a:pt x="41050" y="7825"/>
                  </a:lnTo>
                  <a:lnTo>
                    <a:pt x="43622" y="6492"/>
                  </a:lnTo>
                  <a:cubicBezTo>
                    <a:pt x="44117" y="6130"/>
                    <a:pt x="44660" y="5844"/>
                    <a:pt x="45241" y="5635"/>
                  </a:cubicBezTo>
                  <a:cubicBezTo>
                    <a:pt x="46984" y="4806"/>
                    <a:pt x="48804" y="4139"/>
                    <a:pt x="50671" y="3634"/>
                  </a:cubicBezTo>
                  <a:lnTo>
                    <a:pt x="51147" y="3634"/>
                  </a:lnTo>
                  <a:lnTo>
                    <a:pt x="54290" y="3634"/>
                  </a:lnTo>
                  <a:cubicBezTo>
                    <a:pt x="51699" y="2244"/>
                    <a:pt x="48946" y="1196"/>
                    <a:pt x="46099" y="491"/>
                  </a:cubicBezTo>
                  <a:cubicBezTo>
                    <a:pt x="43641" y="-99"/>
                    <a:pt x="41098" y="-290"/>
                    <a:pt x="38574" y="-80"/>
                  </a:cubicBezTo>
                  <a:cubicBezTo>
                    <a:pt x="32440" y="567"/>
                    <a:pt x="26525" y="2549"/>
                    <a:pt x="21238" y="5730"/>
                  </a:cubicBezTo>
                  <a:lnTo>
                    <a:pt x="21238" y="5730"/>
                  </a:lnTo>
                  <a:lnTo>
                    <a:pt x="17809" y="7730"/>
                  </a:lnTo>
                  <a:cubicBezTo>
                    <a:pt x="14866" y="9397"/>
                    <a:pt x="12094" y="11340"/>
                    <a:pt x="9522" y="13540"/>
                  </a:cubicBezTo>
                  <a:cubicBezTo>
                    <a:pt x="7084" y="15626"/>
                    <a:pt x="4941" y="18027"/>
                    <a:pt x="3141" y="20684"/>
                  </a:cubicBezTo>
                  <a:cubicBezTo>
                    <a:pt x="1950" y="22751"/>
                    <a:pt x="1017" y="24961"/>
                    <a:pt x="379" y="27256"/>
                  </a:cubicBezTo>
                  <a:cubicBezTo>
                    <a:pt x="-117" y="30181"/>
                    <a:pt x="-345" y="33143"/>
                    <a:pt x="-288" y="36115"/>
                  </a:cubicBezTo>
                  <a:cubicBezTo>
                    <a:pt x="-736" y="30162"/>
                    <a:pt x="1969" y="24408"/>
                    <a:pt x="6855" y="20970"/>
                  </a:cubicBezTo>
                  <a:cubicBezTo>
                    <a:pt x="8551" y="20027"/>
                    <a:pt x="10447" y="19503"/>
                    <a:pt x="12380" y="19446"/>
                  </a:cubicBezTo>
                  <a:lnTo>
                    <a:pt x="13047" y="19446"/>
                  </a:lnTo>
                  <a:cubicBezTo>
                    <a:pt x="13837" y="19360"/>
                    <a:pt x="14638" y="19360"/>
                    <a:pt x="15428" y="19446"/>
                  </a:cubicBezTo>
                  <a:lnTo>
                    <a:pt x="16666" y="19446"/>
                  </a:lnTo>
                  <a:lnTo>
                    <a:pt x="17428" y="19446"/>
                  </a:lnTo>
                  <a:lnTo>
                    <a:pt x="18095" y="19446"/>
                  </a:lnTo>
                  <a:lnTo>
                    <a:pt x="18857" y="19446"/>
                  </a:lnTo>
                  <a:cubicBezTo>
                    <a:pt x="18857" y="19446"/>
                    <a:pt x="18857" y="19446"/>
                    <a:pt x="19619" y="19446"/>
                  </a:cubicBezTo>
                  <a:lnTo>
                    <a:pt x="20571" y="19446"/>
                  </a:lnTo>
                  <a:lnTo>
                    <a:pt x="21524" y="19446"/>
                  </a:lnTo>
                  <a:lnTo>
                    <a:pt x="22191" y="19446"/>
                  </a:lnTo>
                  <a:lnTo>
                    <a:pt x="23905" y="20303"/>
                  </a:lnTo>
                  <a:lnTo>
                    <a:pt x="23905" y="20303"/>
                  </a:lnTo>
                  <a:cubicBezTo>
                    <a:pt x="23620" y="20113"/>
                    <a:pt x="29906" y="14302"/>
                    <a:pt x="37621" y="9826"/>
                  </a:cubicBezTo>
                  <a:close/>
                </a:path>
              </a:pathLst>
            </a:custGeom>
            <a:solidFill>
              <a:srgbClr val="D9530B"/>
            </a:solidFill>
            <a:ln w="9525" cap="flat">
              <a:noFill/>
              <a:prstDash val="solid"/>
              <a:miter/>
            </a:ln>
          </p:spPr>
          <p:txBody>
            <a:bodyPr rtlCol="0" anchor="ctr"/>
            <a:lstStyle/>
            <a:p>
              <a:endParaRPr lang="zh-CN" altLang="en-US"/>
            </a:p>
          </p:txBody>
        </p:sp>
        <p:sp>
          <p:nvSpPr>
            <p:cNvPr id="804" name="ïṩ1íḋe">
              <a:extLst>
                <a:ext uri="{FF2B5EF4-FFF2-40B4-BE49-F238E27FC236}">
                  <a16:creationId xmlns:a16="http://schemas.microsoft.com/office/drawing/2014/main" id="{89BBFA73-B929-434E-8DAB-D73E5A956ADA}"/>
                </a:ext>
              </a:extLst>
            </p:cNvPr>
            <p:cNvSpPr/>
            <p:nvPr/>
          </p:nvSpPr>
          <p:spPr>
            <a:xfrm>
              <a:off x="5527630" y="1869668"/>
              <a:ext cx="1931250" cy="1119145"/>
            </a:xfrm>
            <a:custGeom>
              <a:avLst/>
              <a:gdLst>
                <a:gd name="connsiteX0" fmla="*/ 617265 w 634460"/>
                <a:gd name="connsiteY0" fmla="*/ 355025 h 367665"/>
                <a:gd name="connsiteX1" fmla="*/ 620694 w 634460"/>
                <a:gd name="connsiteY1" fmla="*/ 353024 h 367665"/>
                <a:gd name="connsiteX2" fmla="*/ 634124 w 634460"/>
                <a:gd name="connsiteY2" fmla="*/ 348738 h 367665"/>
                <a:gd name="connsiteX3" fmla="*/ 30525 w 634460"/>
                <a:gd name="connsiteY3" fmla="*/ -163 h 367665"/>
                <a:gd name="connsiteX4" fmla="*/ 27191 w 634460"/>
                <a:gd name="connsiteY4" fmla="*/ -163 h 367665"/>
                <a:gd name="connsiteX5" fmla="*/ 26715 w 634460"/>
                <a:gd name="connsiteY5" fmla="*/ -163 h 367665"/>
                <a:gd name="connsiteX6" fmla="*/ 21285 w 634460"/>
                <a:gd name="connsiteY6" fmla="*/ 1838 h 367665"/>
                <a:gd name="connsiteX7" fmla="*/ 19666 w 634460"/>
                <a:gd name="connsiteY7" fmla="*/ 2695 h 367665"/>
                <a:gd name="connsiteX8" fmla="*/ 17095 w 634460"/>
                <a:gd name="connsiteY8" fmla="*/ 4028 h 367665"/>
                <a:gd name="connsiteX9" fmla="*/ 13665 w 634460"/>
                <a:gd name="connsiteY9" fmla="*/ 6029 h 367665"/>
                <a:gd name="connsiteX10" fmla="*/ -336 w 634460"/>
                <a:gd name="connsiteY10" fmla="*/ 18983 h 367665"/>
                <a:gd name="connsiteX11" fmla="*/ 603263 w 634460"/>
                <a:gd name="connsiteY11" fmla="*/ 367502 h 367665"/>
                <a:gd name="connsiteX12" fmla="*/ 617265 w 634460"/>
                <a:gd name="connsiteY12" fmla="*/ 355025 h 3676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34460" h="367665">
                  <a:moveTo>
                    <a:pt x="617265" y="355025"/>
                  </a:moveTo>
                  <a:lnTo>
                    <a:pt x="620694" y="353024"/>
                  </a:lnTo>
                  <a:cubicBezTo>
                    <a:pt x="627075" y="349405"/>
                    <a:pt x="632409" y="347786"/>
                    <a:pt x="634124" y="348738"/>
                  </a:cubicBezTo>
                  <a:lnTo>
                    <a:pt x="30525" y="-163"/>
                  </a:lnTo>
                  <a:lnTo>
                    <a:pt x="27191" y="-163"/>
                  </a:lnTo>
                  <a:lnTo>
                    <a:pt x="26715" y="-163"/>
                  </a:lnTo>
                  <a:cubicBezTo>
                    <a:pt x="24848" y="342"/>
                    <a:pt x="23029" y="1009"/>
                    <a:pt x="21285" y="1838"/>
                  </a:cubicBezTo>
                  <a:cubicBezTo>
                    <a:pt x="20705" y="2047"/>
                    <a:pt x="20162" y="2333"/>
                    <a:pt x="19666" y="2695"/>
                  </a:cubicBezTo>
                  <a:lnTo>
                    <a:pt x="17095" y="4028"/>
                  </a:lnTo>
                  <a:lnTo>
                    <a:pt x="13665" y="6029"/>
                  </a:lnTo>
                  <a:cubicBezTo>
                    <a:pt x="5950" y="10505"/>
                    <a:pt x="-336" y="16316"/>
                    <a:pt x="-336" y="18983"/>
                  </a:cubicBezTo>
                  <a:lnTo>
                    <a:pt x="603263" y="367502"/>
                  </a:lnTo>
                  <a:cubicBezTo>
                    <a:pt x="603263" y="365312"/>
                    <a:pt x="609549" y="359501"/>
                    <a:pt x="617265" y="355025"/>
                  </a:cubicBezTo>
                  <a:close/>
                </a:path>
              </a:pathLst>
            </a:custGeom>
            <a:solidFill>
              <a:srgbClr val="FF7D33"/>
            </a:solidFill>
            <a:ln w="9525" cap="flat">
              <a:noFill/>
              <a:prstDash val="solid"/>
              <a:miter/>
            </a:ln>
          </p:spPr>
          <p:txBody>
            <a:bodyPr rtlCol="0" anchor="ctr"/>
            <a:lstStyle/>
            <a:p>
              <a:endParaRPr lang="zh-CN" altLang="en-US"/>
            </a:p>
          </p:txBody>
        </p:sp>
        <p:sp>
          <p:nvSpPr>
            <p:cNvPr id="805" name="i$ḻiďe">
              <a:extLst>
                <a:ext uri="{FF2B5EF4-FFF2-40B4-BE49-F238E27FC236}">
                  <a16:creationId xmlns:a16="http://schemas.microsoft.com/office/drawing/2014/main" id="{B21D6CF6-FFBE-41BF-9E8C-474C6E6F3B92}"/>
                </a:ext>
              </a:extLst>
            </p:cNvPr>
            <p:cNvSpPr/>
            <p:nvPr/>
          </p:nvSpPr>
          <p:spPr>
            <a:xfrm>
              <a:off x="7437716" y="3069702"/>
              <a:ext cx="97707" cy="1739361"/>
            </a:xfrm>
            <a:custGeom>
              <a:avLst/>
              <a:gdLst>
                <a:gd name="connsiteX0" fmla="*/ 18333 w 32099"/>
                <a:gd name="connsiteY0" fmla="*/ 564956 h 571420"/>
                <a:gd name="connsiteX1" fmla="*/ 21857 w 32099"/>
                <a:gd name="connsiteY1" fmla="*/ 562956 h 571420"/>
                <a:gd name="connsiteX2" fmla="*/ 24810 w 32099"/>
                <a:gd name="connsiteY2" fmla="*/ 561146 h 571420"/>
                <a:gd name="connsiteX3" fmla="*/ 25572 w 32099"/>
                <a:gd name="connsiteY3" fmla="*/ 560574 h 571420"/>
                <a:gd name="connsiteX4" fmla="*/ 25572 w 32099"/>
                <a:gd name="connsiteY4" fmla="*/ 560574 h 571420"/>
                <a:gd name="connsiteX5" fmla="*/ 26239 w 32099"/>
                <a:gd name="connsiteY5" fmla="*/ 560003 h 571420"/>
                <a:gd name="connsiteX6" fmla="*/ 28620 w 32099"/>
                <a:gd name="connsiteY6" fmla="*/ 558193 h 571420"/>
                <a:gd name="connsiteX7" fmla="*/ 29286 w 32099"/>
                <a:gd name="connsiteY7" fmla="*/ 557622 h 571420"/>
                <a:gd name="connsiteX8" fmla="*/ 29953 w 32099"/>
                <a:gd name="connsiteY8" fmla="*/ 556955 h 571420"/>
                <a:gd name="connsiteX9" fmla="*/ 29953 w 32099"/>
                <a:gd name="connsiteY9" fmla="*/ 556955 h 571420"/>
                <a:gd name="connsiteX10" fmla="*/ 30430 w 32099"/>
                <a:gd name="connsiteY10" fmla="*/ 556478 h 571420"/>
                <a:gd name="connsiteX11" fmla="*/ 30430 w 32099"/>
                <a:gd name="connsiteY11" fmla="*/ 556478 h 571420"/>
                <a:gd name="connsiteX12" fmla="*/ 31763 w 32099"/>
                <a:gd name="connsiteY12" fmla="*/ 554097 h 571420"/>
                <a:gd name="connsiteX13" fmla="*/ 31763 w 32099"/>
                <a:gd name="connsiteY13" fmla="*/ 554097 h 571420"/>
                <a:gd name="connsiteX14" fmla="*/ 31763 w 32099"/>
                <a:gd name="connsiteY14" fmla="*/ -163 h 571420"/>
                <a:gd name="connsiteX15" fmla="*/ 21285 w 32099"/>
                <a:gd name="connsiteY15" fmla="*/ 9362 h 571420"/>
                <a:gd name="connsiteX16" fmla="*/ 17856 w 32099"/>
                <a:gd name="connsiteY16" fmla="*/ 11363 h 571420"/>
                <a:gd name="connsiteX17" fmla="*/ -336 w 32099"/>
                <a:gd name="connsiteY17" fmla="*/ 16982 h 571420"/>
                <a:gd name="connsiteX18" fmla="*/ -336 w 32099"/>
                <a:gd name="connsiteY18" fmla="*/ 571147 h 571420"/>
                <a:gd name="connsiteX19" fmla="*/ -336 w 32099"/>
                <a:gd name="connsiteY19" fmla="*/ 571147 h 571420"/>
                <a:gd name="connsiteX20" fmla="*/ 18333 w 32099"/>
                <a:gd name="connsiteY20" fmla="*/ 564956 h 571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2099" h="571420">
                  <a:moveTo>
                    <a:pt x="18333" y="564956"/>
                  </a:moveTo>
                  <a:lnTo>
                    <a:pt x="21857" y="562956"/>
                  </a:lnTo>
                  <a:lnTo>
                    <a:pt x="24810" y="561146"/>
                  </a:lnTo>
                  <a:lnTo>
                    <a:pt x="25572" y="560574"/>
                  </a:lnTo>
                  <a:lnTo>
                    <a:pt x="25572" y="560574"/>
                  </a:lnTo>
                  <a:lnTo>
                    <a:pt x="26239" y="560003"/>
                  </a:lnTo>
                  <a:lnTo>
                    <a:pt x="28620" y="558193"/>
                  </a:lnTo>
                  <a:lnTo>
                    <a:pt x="29286" y="557622"/>
                  </a:lnTo>
                  <a:lnTo>
                    <a:pt x="29953" y="556955"/>
                  </a:lnTo>
                  <a:lnTo>
                    <a:pt x="29953" y="556955"/>
                  </a:lnTo>
                  <a:cubicBezTo>
                    <a:pt x="29953" y="556955"/>
                    <a:pt x="29953" y="556955"/>
                    <a:pt x="30430" y="556478"/>
                  </a:cubicBezTo>
                  <a:lnTo>
                    <a:pt x="30430" y="556478"/>
                  </a:lnTo>
                  <a:cubicBezTo>
                    <a:pt x="31087" y="555821"/>
                    <a:pt x="31544" y="555002"/>
                    <a:pt x="31763" y="554097"/>
                  </a:cubicBezTo>
                  <a:lnTo>
                    <a:pt x="31763" y="554097"/>
                  </a:lnTo>
                  <a:cubicBezTo>
                    <a:pt x="31763" y="321116"/>
                    <a:pt x="31763" y="232819"/>
                    <a:pt x="31763" y="-163"/>
                  </a:cubicBezTo>
                  <a:cubicBezTo>
                    <a:pt x="31763" y="1838"/>
                    <a:pt x="27667" y="5648"/>
                    <a:pt x="21285" y="9362"/>
                  </a:cubicBezTo>
                  <a:lnTo>
                    <a:pt x="17856" y="11363"/>
                  </a:lnTo>
                  <a:cubicBezTo>
                    <a:pt x="10046" y="15744"/>
                    <a:pt x="1950" y="18316"/>
                    <a:pt x="-336" y="16982"/>
                  </a:cubicBezTo>
                  <a:cubicBezTo>
                    <a:pt x="-336" y="249869"/>
                    <a:pt x="-336" y="338261"/>
                    <a:pt x="-336" y="571147"/>
                  </a:cubicBezTo>
                  <a:lnTo>
                    <a:pt x="-336" y="571147"/>
                  </a:lnTo>
                  <a:cubicBezTo>
                    <a:pt x="2331" y="571814"/>
                    <a:pt x="10713" y="569432"/>
                    <a:pt x="18333" y="564956"/>
                  </a:cubicBezTo>
                  <a:close/>
                </a:path>
              </a:pathLst>
            </a:custGeom>
            <a:solidFill>
              <a:srgbClr val="BF4200"/>
            </a:solidFill>
            <a:ln w="9525" cap="flat">
              <a:noFill/>
              <a:prstDash val="solid"/>
              <a:miter/>
            </a:ln>
          </p:spPr>
          <p:txBody>
            <a:bodyPr rtlCol="0" anchor="ctr"/>
            <a:lstStyle/>
            <a:p>
              <a:endParaRPr lang="zh-CN" altLang="en-US"/>
            </a:p>
          </p:txBody>
        </p:sp>
        <p:sp>
          <p:nvSpPr>
            <p:cNvPr id="806" name="îśľiḋe">
              <a:extLst>
                <a:ext uri="{FF2B5EF4-FFF2-40B4-BE49-F238E27FC236}">
                  <a16:creationId xmlns:a16="http://schemas.microsoft.com/office/drawing/2014/main" id="{9F780B28-95DD-4F56-8488-283BE4711079}"/>
                </a:ext>
              </a:extLst>
            </p:cNvPr>
            <p:cNvSpPr/>
            <p:nvPr/>
          </p:nvSpPr>
          <p:spPr>
            <a:xfrm>
              <a:off x="5452829" y="1919241"/>
              <a:ext cx="1985758" cy="2934488"/>
            </a:xfrm>
            <a:custGeom>
              <a:avLst/>
              <a:gdLst>
                <a:gd name="connsiteX0" fmla="*/ 6712 w 652367"/>
                <a:gd name="connsiteY0" fmla="*/ 593818 h 964047"/>
                <a:gd name="connsiteX1" fmla="*/ 22428 w 652367"/>
                <a:gd name="connsiteY1" fmla="*/ 611153 h 964047"/>
                <a:gd name="connsiteX2" fmla="*/ 24048 w 652367"/>
                <a:gd name="connsiteY2" fmla="*/ 612106 h 964047"/>
                <a:gd name="connsiteX3" fmla="*/ 627552 w 652367"/>
                <a:gd name="connsiteY3" fmla="*/ 960530 h 964047"/>
                <a:gd name="connsiteX4" fmla="*/ 652031 w 652367"/>
                <a:gd name="connsiteY4" fmla="*/ 946433 h 964047"/>
                <a:gd name="connsiteX5" fmla="*/ 652031 w 652367"/>
                <a:gd name="connsiteY5" fmla="*/ 393983 h 964047"/>
                <a:gd name="connsiteX6" fmla="*/ 652031 w 652367"/>
                <a:gd name="connsiteY6" fmla="*/ 392174 h 964047"/>
                <a:gd name="connsiteX7" fmla="*/ 644887 w 652367"/>
                <a:gd name="connsiteY7" fmla="*/ 369885 h 964047"/>
                <a:gd name="connsiteX8" fmla="*/ 627647 w 652367"/>
                <a:gd name="connsiteY8" fmla="*/ 351597 h 964047"/>
                <a:gd name="connsiteX9" fmla="*/ 24143 w 652367"/>
                <a:gd name="connsiteY9" fmla="*/ 3173 h 964047"/>
                <a:gd name="connsiteX10" fmla="*/ -336 w 652367"/>
                <a:gd name="connsiteY10" fmla="*/ 17365 h 964047"/>
                <a:gd name="connsiteX11" fmla="*/ -336 w 652367"/>
                <a:gd name="connsiteY11" fmla="*/ 569815 h 964047"/>
                <a:gd name="connsiteX12" fmla="*/ 6712 w 652367"/>
                <a:gd name="connsiteY12" fmla="*/ 593818 h 9640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2367" h="964047">
                  <a:moveTo>
                    <a:pt x="6712" y="593818"/>
                  </a:moveTo>
                  <a:cubicBezTo>
                    <a:pt x="10570" y="600714"/>
                    <a:pt x="15951" y="606639"/>
                    <a:pt x="22428" y="611153"/>
                  </a:cubicBezTo>
                  <a:lnTo>
                    <a:pt x="24048" y="612106"/>
                  </a:lnTo>
                  <a:lnTo>
                    <a:pt x="627552" y="960530"/>
                  </a:lnTo>
                  <a:cubicBezTo>
                    <a:pt x="641077" y="968341"/>
                    <a:pt x="652031" y="962054"/>
                    <a:pt x="652031" y="946433"/>
                  </a:cubicBezTo>
                  <a:lnTo>
                    <a:pt x="652031" y="393983"/>
                  </a:lnTo>
                  <a:cubicBezTo>
                    <a:pt x="651983" y="393383"/>
                    <a:pt x="651983" y="392774"/>
                    <a:pt x="652031" y="392174"/>
                  </a:cubicBezTo>
                  <a:cubicBezTo>
                    <a:pt x="651412" y="384287"/>
                    <a:pt x="648964" y="376657"/>
                    <a:pt x="644887" y="369885"/>
                  </a:cubicBezTo>
                  <a:cubicBezTo>
                    <a:pt x="640791" y="362418"/>
                    <a:pt x="634857" y="356122"/>
                    <a:pt x="627647" y="351597"/>
                  </a:cubicBezTo>
                  <a:lnTo>
                    <a:pt x="24143" y="3173"/>
                  </a:lnTo>
                  <a:cubicBezTo>
                    <a:pt x="10617" y="-4638"/>
                    <a:pt x="-336" y="1744"/>
                    <a:pt x="-336" y="17365"/>
                  </a:cubicBezTo>
                  <a:lnTo>
                    <a:pt x="-336" y="569815"/>
                  </a:lnTo>
                  <a:cubicBezTo>
                    <a:pt x="-89" y="578292"/>
                    <a:pt x="2340" y="586560"/>
                    <a:pt x="6712" y="593818"/>
                  </a:cubicBezTo>
                  <a:close/>
                </a:path>
              </a:pathLst>
            </a:custGeom>
            <a:solidFill>
              <a:srgbClr val="D9530B"/>
            </a:solidFill>
            <a:ln w="9525" cap="flat">
              <a:noFill/>
              <a:prstDash val="solid"/>
              <a:miter/>
            </a:ln>
          </p:spPr>
          <p:txBody>
            <a:bodyPr rtlCol="0" anchor="ctr"/>
            <a:lstStyle/>
            <a:p>
              <a:endParaRPr lang="zh-CN" altLang="en-US"/>
            </a:p>
          </p:txBody>
        </p:sp>
        <p:sp>
          <p:nvSpPr>
            <p:cNvPr id="807" name="ïš1îďe">
              <a:extLst>
                <a:ext uri="{FF2B5EF4-FFF2-40B4-BE49-F238E27FC236}">
                  <a16:creationId xmlns:a16="http://schemas.microsoft.com/office/drawing/2014/main" id="{8DCB870C-63AE-40BF-A678-4A1F4AF144D8}"/>
                </a:ext>
              </a:extLst>
            </p:cNvPr>
            <p:cNvSpPr/>
            <p:nvPr/>
          </p:nvSpPr>
          <p:spPr>
            <a:xfrm>
              <a:off x="5540969" y="2067691"/>
              <a:ext cx="1810348" cy="2427035"/>
            </a:xfrm>
            <a:custGeom>
              <a:avLst/>
              <a:gdLst>
                <a:gd name="connsiteX0" fmla="*/ 594741 w 594741"/>
                <a:gd name="connsiteY0" fmla="*/ 797338 h 797337"/>
                <a:gd name="connsiteX1" fmla="*/ 594741 w 594741"/>
                <a:gd name="connsiteY1" fmla="*/ 343376 h 797337"/>
                <a:gd name="connsiteX2" fmla="*/ 0 w 594741"/>
                <a:gd name="connsiteY2" fmla="*/ 0 h 797337"/>
                <a:gd name="connsiteX3" fmla="*/ 0 w 594741"/>
                <a:gd name="connsiteY3" fmla="*/ 453962 h 797337"/>
                <a:gd name="connsiteX4" fmla="*/ 594741 w 594741"/>
                <a:gd name="connsiteY4" fmla="*/ 797338 h 7973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4741" h="797337">
                  <a:moveTo>
                    <a:pt x="594741" y="797338"/>
                  </a:moveTo>
                  <a:lnTo>
                    <a:pt x="594741" y="343376"/>
                  </a:lnTo>
                  <a:lnTo>
                    <a:pt x="0" y="0"/>
                  </a:lnTo>
                  <a:lnTo>
                    <a:pt x="0" y="453962"/>
                  </a:lnTo>
                  <a:lnTo>
                    <a:pt x="594741" y="797338"/>
                  </a:lnTo>
                  <a:close/>
                </a:path>
              </a:pathLst>
            </a:custGeom>
            <a:solidFill>
              <a:srgbClr val="73A1FF"/>
            </a:solidFill>
            <a:ln w="9525" cap="flat">
              <a:noFill/>
              <a:prstDash val="solid"/>
              <a:miter/>
            </a:ln>
          </p:spPr>
          <p:txBody>
            <a:bodyPr rtlCol="0" anchor="ctr"/>
            <a:lstStyle/>
            <a:p>
              <a:endParaRPr lang="zh-CN" altLang="en-US"/>
            </a:p>
          </p:txBody>
        </p:sp>
        <p:sp>
          <p:nvSpPr>
            <p:cNvPr id="808" name="íş1iďè">
              <a:extLst>
                <a:ext uri="{FF2B5EF4-FFF2-40B4-BE49-F238E27FC236}">
                  <a16:creationId xmlns:a16="http://schemas.microsoft.com/office/drawing/2014/main" id="{CD7F518F-52F7-4056-8576-9F82939D0A0C}"/>
                </a:ext>
              </a:extLst>
            </p:cNvPr>
            <p:cNvSpPr/>
            <p:nvPr/>
          </p:nvSpPr>
          <p:spPr>
            <a:xfrm>
              <a:off x="6426426" y="2495140"/>
              <a:ext cx="39720" cy="50864"/>
            </a:xfrm>
            <a:custGeom>
              <a:avLst/>
              <a:gdLst>
                <a:gd name="connsiteX0" fmla="*/ 6236 w 13049"/>
                <a:gd name="connsiteY0" fmla="*/ 15716 h 16710"/>
                <a:gd name="connsiteX1" fmla="*/ 12713 w 13049"/>
                <a:gd name="connsiteY1" fmla="*/ 12002 h 16710"/>
                <a:gd name="connsiteX2" fmla="*/ 6236 w 13049"/>
                <a:gd name="connsiteY2" fmla="*/ 667 h 16710"/>
                <a:gd name="connsiteX3" fmla="*/ -336 w 13049"/>
                <a:gd name="connsiteY3" fmla="*/ 4477 h 16710"/>
                <a:gd name="connsiteX4" fmla="*/ 6236 w 13049"/>
                <a:gd name="connsiteY4" fmla="*/ 15716 h 167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49" h="16710">
                  <a:moveTo>
                    <a:pt x="6236" y="15716"/>
                  </a:moveTo>
                  <a:cubicBezTo>
                    <a:pt x="9760" y="17812"/>
                    <a:pt x="12713" y="15716"/>
                    <a:pt x="12713" y="12002"/>
                  </a:cubicBezTo>
                  <a:cubicBezTo>
                    <a:pt x="12446" y="7420"/>
                    <a:pt x="10046" y="3220"/>
                    <a:pt x="6236" y="667"/>
                  </a:cubicBezTo>
                  <a:cubicBezTo>
                    <a:pt x="2616" y="-1429"/>
                    <a:pt x="-336" y="667"/>
                    <a:pt x="-336" y="4477"/>
                  </a:cubicBezTo>
                  <a:cubicBezTo>
                    <a:pt x="-51" y="9049"/>
                    <a:pt x="2388" y="13221"/>
                    <a:pt x="6236" y="15716"/>
                  </a:cubicBezTo>
                  <a:close/>
                </a:path>
              </a:pathLst>
            </a:custGeom>
            <a:solidFill>
              <a:srgbClr val="BF4200"/>
            </a:solidFill>
            <a:ln w="9525" cap="flat">
              <a:noFill/>
              <a:prstDash val="solid"/>
              <a:miter/>
            </a:ln>
          </p:spPr>
          <p:txBody>
            <a:bodyPr rtlCol="0" anchor="ctr"/>
            <a:lstStyle/>
            <a:p>
              <a:endParaRPr lang="zh-CN" altLang="en-US"/>
            </a:p>
          </p:txBody>
        </p:sp>
        <p:sp>
          <p:nvSpPr>
            <p:cNvPr id="809" name="íṣḻïḑé">
              <a:extLst>
                <a:ext uri="{FF2B5EF4-FFF2-40B4-BE49-F238E27FC236}">
                  <a16:creationId xmlns:a16="http://schemas.microsoft.com/office/drawing/2014/main" id="{94F9CDCC-7441-4F07-9AE0-41224977642F}"/>
                </a:ext>
              </a:extLst>
            </p:cNvPr>
            <p:cNvSpPr/>
            <p:nvPr/>
          </p:nvSpPr>
          <p:spPr>
            <a:xfrm>
              <a:off x="6433966" y="2504747"/>
              <a:ext cx="24644" cy="31642"/>
            </a:xfrm>
            <a:custGeom>
              <a:avLst/>
              <a:gdLst>
                <a:gd name="connsiteX0" fmla="*/ 3759 w 8096"/>
                <a:gd name="connsiteY0" fmla="*/ 9703 h 10395"/>
                <a:gd name="connsiteX1" fmla="*/ 7760 w 8096"/>
                <a:gd name="connsiteY1" fmla="*/ 7416 h 10395"/>
                <a:gd name="connsiteX2" fmla="*/ 3759 w 8096"/>
                <a:gd name="connsiteY2" fmla="*/ 368 h 10395"/>
                <a:gd name="connsiteX3" fmla="*/ -336 w 8096"/>
                <a:gd name="connsiteY3" fmla="*/ 2654 h 10395"/>
                <a:gd name="connsiteX4" fmla="*/ 3759 w 8096"/>
                <a:gd name="connsiteY4" fmla="*/ 9703 h 103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96" h="10395">
                  <a:moveTo>
                    <a:pt x="3759" y="9703"/>
                  </a:moveTo>
                  <a:cubicBezTo>
                    <a:pt x="5950" y="11036"/>
                    <a:pt x="7760" y="9703"/>
                    <a:pt x="7760" y="7416"/>
                  </a:cubicBezTo>
                  <a:cubicBezTo>
                    <a:pt x="7645" y="4559"/>
                    <a:pt x="6150" y="1930"/>
                    <a:pt x="3759" y="368"/>
                  </a:cubicBezTo>
                  <a:cubicBezTo>
                    <a:pt x="1473" y="-965"/>
                    <a:pt x="-336" y="368"/>
                    <a:pt x="-336" y="2654"/>
                  </a:cubicBezTo>
                  <a:cubicBezTo>
                    <a:pt x="-213" y="5531"/>
                    <a:pt x="1321" y="8169"/>
                    <a:pt x="3759" y="9703"/>
                  </a:cubicBezTo>
                  <a:close/>
                </a:path>
              </a:pathLst>
            </a:custGeom>
            <a:solidFill>
              <a:srgbClr val="171A42"/>
            </a:solidFill>
            <a:ln w="9525" cap="flat">
              <a:noFill/>
              <a:prstDash val="solid"/>
              <a:miter/>
            </a:ln>
          </p:spPr>
          <p:txBody>
            <a:bodyPr rtlCol="0" anchor="ctr"/>
            <a:lstStyle/>
            <a:p>
              <a:endParaRPr lang="zh-CN" altLang="en-US"/>
            </a:p>
          </p:txBody>
        </p:sp>
        <p:sp>
          <p:nvSpPr>
            <p:cNvPr id="810" name="îṩľíďè">
              <a:extLst>
                <a:ext uri="{FF2B5EF4-FFF2-40B4-BE49-F238E27FC236}">
                  <a16:creationId xmlns:a16="http://schemas.microsoft.com/office/drawing/2014/main" id="{D0AD837C-F765-4C26-9E57-9EBF73F4055D}"/>
                </a:ext>
              </a:extLst>
            </p:cNvPr>
            <p:cNvSpPr/>
            <p:nvPr/>
          </p:nvSpPr>
          <p:spPr>
            <a:xfrm>
              <a:off x="5453100" y="1919957"/>
              <a:ext cx="1987164" cy="2935252"/>
            </a:xfrm>
            <a:custGeom>
              <a:avLst/>
              <a:gdLst>
                <a:gd name="connsiteX0" fmla="*/ 9005 w 652829"/>
                <a:gd name="connsiteY0" fmla="*/ 4938 h 964298"/>
                <a:gd name="connsiteX1" fmla="*/ 25388 w 652829"/>
                <a:gd name="connsiteY1" fmla="*/ 6557 h 964298"/>
                <a:gd name="connsiteX2" fmla="*/ 628891 w 652829"/>
                <a:gd name="connsiteY2" fmla="*/ 354791 h 964298"/>
                <a:gd name="connsiteX3" fmla="*/ 643846 w 652829"/>
                <a:gd name="connsiteY3" fmla="*/ 370222 h 964298"/>
                <a:gd name="connsiteX4" fmla="*/ 649751 w 652829"/>
                <a:gd name="connsiteY4" fmla="*/ 389272 h 964298"/>
                <a:gd name="connsiteX5" fmla="*/ 649751 w 652829"/>
                <a:gd name="connsiteY5" fmla="*/ 943246 h 964298"/>
                <a:gd name="connsiteX6" fmla="*/ 642893 w 652829"/>
                <a:gd name="connsiteY6" fmla="*/ 958295 h 964298"/>
                <a:gd name="connsiteX7" fmla="*/ 626510 w 652829"/>
                <a:gd name="connsiteY7" fmla="*/ 956676 h 964298"/>
                <a:gd name="connsiteX8" fmla="*/ 23006 w 652829"/>
                <a:gd name="connsiteY8" fmla="*/ 608251 h 964298"/>
                <a:gd name="connsiteX9" fmla="*/ 21578 w 652829"/>
                <a:gd name="connsiteY9" fmla="*/ 607394 h 964298"/>
                <a:gd name="connsiteX10" fmla="*/ 8147 w 652829"/>
                <a:gd name="connsiteY10" fmla="*/ 592821 h 964298"/>
                <a:gd name="connsiteX11" fmla="*/ 2147 w 652829"/>
                <a:gd name="connsiteY11" fmla="*/ 572152 h 964298"/>
                <a:gd name="connsiteX12" fmla="*/ 2147 w 652829"/>
                <a:gd name="connsiteY12" fmla="*/ 19702 h 964298"/>
                <a:gd name="connsiteX13" fmla="*/ 9005 w 652829"/>
                <a:gd name="connsiteY13" fmla="*/ 4652 h 964298"/>
                <a:gd name="connsiteX14" fmla="*/ 6909 w 652829"/>
                <a:gd name="connsiteY14" fmla="*/ 1318 h 964298"/>
                <a:gd name="connsiteX15" fmla="*/ -235 w 652829"/>
                <a:gd name="connsiteY15" fmla="*/ 17225 h 964298"/>
                <a:gd name="connsiteX16" fmla="*/ -235 w 652829"/>
                <a:gd name="connsiteY16" fmla="*/ 569675 h 964298"/>
                <a:gd name="connsiteX17" fmla="*/ 6909 w 652829"/>
                <a:gd name="connsiteY17" fmla="*/ 593773 h 964298"/>
                <a:gd name="connsiteX18" fmla="*/ 22625 w 652829"/>
                <a:gd name="connsiteY18" fmla="*/ 611109 h 964298"/>
                <a:gd name="connsiteX19" fmla="*/ 24245 w 652829"/>
                <a:gd name="connsiteY19" fmla="*/ 612061 h 964298"/>
                <a:gd name="connsiteX20" fmla="*/ 627748 w 652829"/>
                <a:gd name="connsiteY20" fmla="*/ 960486 h 964298"/>
                <a:gd name="connsiteX21" fmla="*/ 648846 w 652829"/>
                <a:gd name="connsiteY21" fmla="*/ 958971 h 964298"/>
                <a:gd name="connsiteX22" fmla="*/ 652228 w 652829"/>
                <a:gd name="connsiteY22" fmla="*/ 946389 h 964298"/>
                <a:gd name="connsiteX23" fmla="*/ 652228 w 652829"/>
                <a:gd name="connsiteY23" fmla="*/ 393939 h 964298"/>
                <a:gd name="connsiteX24" fmla="*/ 652228 w 652829"/>
                <a:gd name="connsiteY24" fmla="*/ 392129 h 964298"/>
                <a:gd name="connsiteX25" fmla="*/ 645084 w 652829"/>
                <a:gd name="connsiteY25" fmla="*/ 369841 h 964298"/>
                <a:gd name="connsiteX26" fmla="*/ 627844 w 652829"/>
                <a:gd name="connsiteY26" fmla="*/ 351553 h 964298"/>
                <a:gd name="connsiteX27" fmla="*/ 24340 w 652829"/>
                <a:gd name="connsiteY27" fmla="*/ 3128 h 964298"/>
                <a:gd name="connsiteX28" fmla="*/ 7004 w 652829"/>
                <a:gd name="connsiteY28" fmla="*/ 1414 h 964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652829" h="964298">
                  <a:moveTo>
                    <a:pt x="9005" y="4938"/>
                  </a:moveTo>
                  <a:cubicBezTo>
                    <a:pt x="14367" y="2519"/>
                    <a:pt x="20606" y="3128"/>
                    <a:pt x="25388" y="6557"/>
                  </a:cubicBezTo>
                  <a:lnTo>
                    <a:pt x="628891" y="354791"/>
                  </a:lnTo>
                  <a:cubicBezTo>
                    <a:pt x="635102" y="358592"/>
                    <a:pt x="640245" y="363897"/>
                    <a:pt x="643846" y="370222"/>
                  </a:cubicBezTo>
                  <a:cubicBezTo>
                    <a:pt x="647208" y="376051"/>
                    <a:pt x="649227" y="382566"/>
                    <a:pt x="649751" y="389272"/>
                  </a:cubicBezTo>
                  <a:lnTo>
                    <a:pt x="649751" y="943246"/>
                  </a:lnTo>
                  <a:cubicBezTo>
                    <a:pt x="650370" y="949132"/>
                    <a:pt x="647741" y="954895"/>
                    <a:pt x="642893" y="958295"/>
                  </a:cubicBezTo>
                  <a:cubicBezTo>
                    <a:pt x="637550" y="960800"/>
                    <a:pt x="631263" y="960181"/>
                    <a:pt x="626510" y="956676"/>
                  </a:cubicBezTo>
                  <a:lnTo>
                    <a:pt x="23006" y="608251"/>
                  </a:lnTo>
                  <a:lnTo>
                    <a:pt x="21578" y="607394"/>
                  </a:lnTo>
                  <a:cubicBezTo>
                    <a:pt x="16034" y="603641"/>
                    <a:pt x="11433" y="598650"/>
                    <a:pt x="8147" y="592821"/>
                  </a:cubicBezTo>
                  <a:cubicBezTo>
                    <a:pt x="4375" y="586573"/>
                    <a:pt x="2308" y="579448"/>
                    <a:pt x="2147" y="572152"/>
                  </a:cubicBezTo>
                  <a:lnTo>
                    <a:pt x="2147" y="19702"/>
                  </a:lnTo>
                  <a:cubicBezTo>
                    <a:pt x="1565" y="13815"/>
                    <a:pt x="4185" y="8072"/>
                    <a:pt x="9005" y="4652"/>
                  </a:cubicBezTo>
                  <a:close/>
                  <a:moveTo>
                    <a:pt x="6909" y="1318"/>
                  </a:moveTo>
                  <a:cubicBezTo>
                    <a:pt x="1823" y="4938"/>
                    <a:pt x="-911" y="11024"/>
                    <a:pt x="-235" y="17225"/>
                  </a:cubicBezTo>
                  <a:lnTo>
                    <a:pt x="-235" y="569675"/>
                  </a:lnTo>
                  <a:cubicBezTo>
                    <a:pt x="23" y="578191"/>
                    <a:pt x="2480" y="586496"/>
                    <a:pt x="6909" y="593773"/>
                  </a:cubicBezTo>
                  <a:cubicBezTo>
                    <a:pt x="10767" y="600670"/>
                    <a:pt x="16148" y="606594"/>
                    <a:pt x="22625" y="611109"/>
                  </a:cubicBezTo>
                  <a:lnTo>
                    <a:pt x="24245" y="612061"/>
                  </a:lnTo>
                  <a:lnTo>
                    <a:pt x="627748" y="960486"/>
                  </a:lnTo>
                  <a:cubicBezTo>
                    <a:pt x="633997" y="965896"/>
                    <a:pt x="643436" y="965210"/>
                    <a:pt x="648846" y="958971"/>
                  </a:cubicBezTo>
                  <a:cubicBezTo>
                    <a:pt x="651837" y="955514"/>
                    <a:pt x="653085" y="950875"/>
                    <a:pt x="652228" y="946389"/>
                  </a:cubicBezTo>
                  <a:lnTo>
                    <a:pt x="652228" y="393939"/>
                  </a:lnTo>
                  <a:cubicBezTo>
                    <a:pt x="652180" y="393339"/>
                    <a:pt x="652180" y="392729"/>
                    <a:pt x="652228" y="392129"/>
                  </a:cubicBezTo>
                  <a:cubicBezTo>
                    <a:pt x="651609" y="384242"/>
                    <a:pt x="649161" y="376613"/>
                    <a:pt x="645084" y="369841"/>
                  </a:cubicBezTo>
                  <a:cubicBezTo>
                    <a:pt x="640988" y="362373"/>
                    <a:pt x="635054" y="356077"/>
                    <a:pt x="627844" y="351553"/>
                  </a:cubicBezTo>
                  <a:lnTo>
                    <a:pt x="24340" y="3128"/>
                  </a:lnTo>
                  <a:cubicBezTo>
                    <a:pt x="19291" y="-539"/>
                    <a:pt x="12672" y="-1187"/>
                    <a:pt x="7004" y="1414"/>
                  </a:cubicBezTo>
                  <a:close/>
                </a:path>
              </a:pathLst>
            </a:custGeom>
            <a:solidFill>
              <a:srgbClr val="D1D9E8"/>
            </a:solidFill>
            <a:ln w="9525" cap="flat">
              <a:noFill/>
              <a:prstDash val="solid"/>
              <a:miter/>
            </a:ln>
          </p:spPr>
          <p:txBody>
            <a:bodyPr rtlCol="0" anchor="ctr"/>
            <a:lstStyle/>
            <a:p>
              <a:endParaRPr lang="zh-CN" altLang="en-US"/>
            </a:p>
          </p:txBody>
        </p:sp>
        <p:sp>
          <p:nvSpPr>
            <p:cNvPr id="811" name="ïṥḻíḍê">
              <a:extLst>
                <a:ext uri="{FF2B5EF4-FFF2-40B4-BE49-F238E27FC236}">
                  <a16:creationId xmlns:a16="http://schemas.microsoft.com/office/drawing/2014/main" id="{E579A483-10B4-42DB-9C39-A74477E3BE2E}"/>
                </a:ext>
              </a:extLst>
            </p:cNvPr>
            <p:cNvSpPr/>
            <p:nvPr/>
          </p:nvSpPr>
          <p:spPr>
            <a:xfrm>
              <a:off x="5541258" y="2067694"/>
              <a:ext cx="1810348" cy="2425586"/>
            </a:xfrm>
            <a:custGeom>
              <a:avLst/>
              <a:gdLst>
                <a:gd name="connsiteX0" fmla="*/ 2045 w 594741"/>
                <a:gd name="connsiteY0" fmla="*/ 4028 h 796861"/>
                <a:gd name="connsiteX1" fmla="*/ 591928 w 594741"/>
                <a:gd name="connsiteY1" fmla="*/ 344357 h 796861"/>
                <a:gd name="connsiteX2" fmla="*/ 591928 w 594741"/>
                <a:gd name="connsiteY2" fmla="*/ 792984 h 796861"/>
                <a:gd name="connsiteX3" fmla="*/ 2045 w 594741"/>
                <a:gd name="connsiteY3" fmla="*/ 452370 h 796861"/>
                <a:gd name="connsiteX4" fmla="*/ 2045 w 594741"/>
                <a:gd name="connsiteY4" fmla="*/ 4028 h 796861"/>
                <a:gd name="connsiteX5" fmla="*/ -336 w 594741"/>
                <a:gd name="connsiteY5" fmla="*/ -163 h 796861"/>
                <a:gd name="connsiteX6" fmla="*/ -336 w 594741"/>
                <a:gd name="connsiteY6" fmla="*/ 453799 h 796861"/>
                <a:gd name="connsiteX7" fmla="*/ 594405 w 594741"/>
                <a:gd name="connsiteY7" fmla="*/ 796699 h 796861"/>
                <a:gd name="connsiteX8" fmla="*/ 594405 w 594741"/>
                <a:gd name="connsiteY8" fmla="*/ 343214 h 796861"/>
                <a:gd name="connsiteX9" fmla="*/ -336 w 594741"/>
                <a:gd name="connsiteY9" fmla="*/ 314 h 796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94741" h="796861">
                  <a:moveTo>
                    <a:pt x="2045" y="4028"/>
                  </a:moveTo>
                  <a:lnTo>
                    <a:pt x="591928" y="344357"/>
                  </a:lnTo>
                  <a:lnTo>
                    <a:pt x="591928" y="792984"/>
                  </a:lnTo>
                  <a:lnTo>
                    <a:pt x="2045" y="452370"/>
                  </a:lnTo>
                  <a:lnTo>
                    <a:pt x="2045" y="4028"/>
                  </a:lnTo>
                  <a:close/>
                  <a:moveTo>
                    <a:pt x="-336" y="-163"/>
                  </a:moveTo>
                  <a:lnTo>
                    <a:pt x="-336" y="453799"/>
                  </a:lnTo>
                  <a:lnTo>
                    <a:pt x="594405" y="796699"/>
                  </a:lnTo>
                  <a:lnTo>
                    <a:pt x="594405" y="343214"/>
                  </a:lnTo>
                  <a:lnTo>
                    <a:pt x="-336" y="314"/>
                  </a:lnTo>
                  <a:close/>
                </a:path>
              </a:pathLst>
            </a:custGeom>
            <a:solidFill>
              <a:srgbClr val="316DE6"/>
            </a:solidFill>
            <a:ln w="9525" cap="flat">
              <a:noFill/>
              <a:prstDash val="solid"/>
              <a:miter/>
            </a:ln>
          </p:spPr>
          <p:txBody>
            <a:bodyPr rtlCol="0" anchor="ctr"/>
            <a:lstStyle/>
            <a:p>
              <a:endParaRPr lang="zh-CN" altLang="en-US"/>
            </a:p>
          </p:txBody>
        </p:sp>
        <p:sp>
          <p:nvSpPr>
            <p:cNvPr id="812" name="ïsľïḍe">
              <a:extLst>
                <a:ext uri="{FF2B5EF4-FFF2-40B4-BE49-F238E27FC236}">
                  <a16:creationId xmlns:a16="http://schemas.microsoft.com/office/drawing/2014/main" id="{F6936D73-B50B-46E0-9433-3B94B076AC93}"/>
                </a:ext>
              </a:extLst>
            </p:cNvPr>
            <p:cNvSpPr/>
            <p:nvPr/>
          </p:nvSpPr>
          <p:spPr>
            <a:xfrm>
              <a:off x="6693165" y="2844613"/>
              <a:ext cx="510479" cy="888747"/>
            </a:xfrm>
            <a:custGeom>
              <a:avLst/>
              <a:gdLst>
                <a:gd name="connsiteX0" fmla="*/ 167304 w 167704"/>
                <a:gd name="connsiteY0" fmla="*/ 111504 h 291974"/>
                <a:gd name="connsiteX1" fmla="*/ 167304 w 167704"/>
                <a:gd name="connsiteY1" fmla="*/ 268380 h 291974"/>
                <a:gd name="connsiteX2" fmla="*/ 160636 w 167704"/>
                <a:gd name="connsiteY2" fmla="*/ 284478 h 291974"/>
                <a:gd name="connsiteX3" fmla="*/ 158636 w 167704"/>
                <a:gd name="connsiteY3" fmla="*/ 285621 h 291974"/>
                <a:gd name="connsiteX4" fmla="*/ 147873 w 167704"/>
                <a:gd name="connsiteY4" fmla="*/ 291812 h 291974"/>
                <a:gd name="connsiteX5" fmla="*/ 152159 w 167704"/>
                <a:gd name="connsiteY5" fmla="*/ 286668 h 291974"/>
                <a:gd name="connsiteX6" fmla="*/ 154445 w 167704"/>
                <a:gd name="connsiteY6" fmla="*/ 275810 h 291974"/>
                <a:gd name="connsiteX7" fmla="*/ 154445 w 167704"/>
                <a:gd name="connsiteY7" fmla="*/ 118933 h 291974"/>
                <a:gd name="connsiteX8" fmla="*/ 152254 w 167704"/>
                <a:gd name="connsiteY8" fmla="*/ 105693 h 291974"/>
                <a:gd name="connsiteX9" fmla="*/ 128823 w 167704"/>
                <a:gd name="connsiteY9" fmla="*/ 74451 h 291974"/>
                <a:gd name="connsiteX10" fmla="*/ 17761 w 167704"/>
                <a:gd name="connsiteY10" fmla="*/ 10443 h 291974"/>
                <a:gd name="connsiteX11" fmla="*/ 7188 w 167704"/>
                <a:gd name="connsiteY11" fmla="*/ 6919 h 291974"/>
                <a:gd name="connsiteX12" fmla="*/ -336 w 167704"/>
                <a:gd name="connsiteY12" fmla="*/ 8634 h 291974"/>
                <a:gd name="connsiteX13" fmla="*/ 12046 w 167704"/>
                <a:gd name="connsiteY13" fmla="*/ 1490 h 291974"/>
                <a:gd name="connsiteX14" fmla="*/ 12046 w 167704"/>
                <a:gd name="connsiteY14" fmla="*/ 1490 h 291974"/>
                <a:gd name="connsiteX15" fmla="*/ 30239 w 167704"/>
                <a:gd name="connsiteY15" fmla="*/ 3300 h 291974"/>
                <a:gd name="connsiteX16" fmla="*/ 141205 w 167704"/>
                <a:gd name="connsiteY16" fmla="*/ 67403 h 291974"/>
                <a:gd name="connsiteX17" fmla="*/ 167304 w 167704"/>
                <a:gd name="connsiteY17" fmla="*/ 111504 h 2919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67704" h="291974">
                  <a:moveTo>
                    <a:pt x="167304" y="111504"/>
                  </a:moveTo>
                  <a:lnTo>
                    <a:pt x="167304" y="268380"/>
                  </a:lnTo>
                  <a:cubicBezTo>
                    <a:pt x="167808" y="274505"/>
                    <a:pt x="165322" y="280506"/>
                    <a:pt x="160636" y="284478"/>
                  </a:cubicBezTo>
                  <a:lnTo>
                    <a:pt x="158636" y="285621"/>
                  </a:lnTo>
                  <a:lnTo>
                    <a:pt x="147873" y="291812"/>
                  </a:lnTo>
                  <a:cubicBezTo>
                    <a:pt x="149711" y="290488"/>
                    <a:pt x="151187" y="288716"/>
                    <a:pt x="152159" y="286668"/>
                  </a:cubicBezTo>
                  <a:cubicBezTo>
                    <a:pt x="153797" y="283287"/>
                    <a:pt x="154578" y="279563"/>
                    <a:pt x="154445" y="275810"/>
                  </a:cubicBezTo>
                  <a:lnTo>
                    <a:pt x="154445" y="118933"/>
                  </a:lnTo>
                  <a:cubicBezTo>
                    <a:pt x="154397" y="114437"/>
                    <a:pt x="153664" y="109970"/>
                    <a:pt x="152254" y="105693"/>
                  </a:cubicBezTo>
                  <a:cubicBezTo>
                    <a:pt x="148358" y="92854"/>
                    <a:pt x="140062" y="81795"/>
                    <a:pt x="128823" y="74451"/>
                  </a:cubicBezTo>
                  <a:lnTo>
                    <a:pt x="17761" y="10443"/>
                  </a:lnTo>
                  <a:cubicBezTo>
                    <a:pt x="14561" y="8453"/>
                    <a:pt x="10941" y="7243"/>
                    <a:pt x="7188" y="6919"/>
                  </a:cubicBezTo>
                  <a:cubicBezTo>
                    <a:pt x="4569" y="6776"/>
                    <a:pt x="1959" y="7367"/>
                    <a:pt x="-336" y="8634"/>
                  </a:cubicBezTo>
                  <a:lnTo>
                    <a:pt x="12046" y="1490"/>
                  </a:lnTo>
                  <a:lnTo>
                    <a:pt x="12046" y="1490"/>
                  </a:lnTo>
                  <a:cubicBezTo>
                    <a:pt x="17990" y="-1244"/>
                    <a:pt x="24943" y="-549"/>
                    <a:pt x="30239" y="3300"/>
                  </a:cubicBezTo>
                  <a:lnTo>
                    <a:pt x="141205" y="67403"/>
                  </a:lnTo>
                  <a:cubicBezTo>
                    <a:pt x="156455" y="77080"/>
                    <a:pt x="166160" y="93473"/>
                    <a:pt x="167304" y="111504"/>
                  </a:cubicBezTo>
                  <a:close/>
                </a:path>
              </a:pathLst>
            </a:custGeom>
            <a:solidFill>
              <a:srgbClr val="D9530B"/>
            </a:solidFill>
            <a:ln w="9525" cap="flat">
              <a:noFill/>
              <a:prstDash val="solid"/>
              <a:miter/>
            </a:ln>
          </p:spPr>
          <p:txBody>
            <a:bodyPr rtlCol="0" anchor="ctr"/>
            <a:lstStyle/>
            <a:p>
              <a:endParaRPr lang="zh-CN" altLang="en-US"/>
            </a:p>
          </p:txBody>
        </p:sp>
        <p:sp>
          <p:nvSpPr>
            <p:cNvPr id="813" name="i$ļïďè">
              <a:extLst>
                <a:ext uri="{FF2B5EF4-FFF2-40B4-BE49-F238E27FC236}">
                  <a16:creationId xmlns:a16="http://schemas.microsoft.com/office/drawing/2014/main" id="{C4EB154B-4ED8-49ED-9D91-578475FE1BE5}"/>
                </a:ext>
              </a:extLst>
            </p:cNvPr>
            <p:cNvSpPr/>
            <p:nvPr/>
          </p:nvSpPr>
          <p:spPr>
            <a:xfrm>
              <a:off x="6669977" y="2868426"/>
              <a:ext cx="494331" cy="347114"/>
            </a:xfrm>
            <a:custGeom>
              <a:avLst/>
              <a:gdLst>
                <a:gd name="connsiteX0" fmla="*/ 162063 w 162399"/>
                <a:gd name="connsiteY0" fmla="*/ 111110 h 114035"/>
                <a:gd name="connsiteX1" fmla="*/ 162063 w 162399"/>
                <a:gd name="connsiteY1" fmla="*/ 113873 h 114035"/>
                <a:gd name="connsiteX2" fmla="*/ 12616 w 162399"/>
                <a:gd name="connsiteY2" fmla="*/ 28148 h 114035"/>
                <a:gd name="connsiteX3" fmla="*/ -243 w 162399"/>
                <a:gd name="connsiteY3" fmla="*/ 20718 h 114035"/>
                <a:gd name="connsiteX4" fmla="*/ -243 w 162399"/>
                <a:gd name="connsiteY4" fmla="*/ 17861 h 114035"/>
                <a:gd name="connsiteX5" fmla="*/ 6805 w 162399"/>
                <a:gd name="connsiteY5" fmla="*/ 1573 h 114035"/>
                <a:gd name="connsiteX6" fmla="*/ 7282 w 162399"/>
                <a:gd name="connsiteY6" fmla="*/ 1573 h 114035"/>
                <a:gd name="connsiteX7" fmla="*/ 14806 w 162399"/>
                <a:gd name="connsiteY7" fmla="*/ -142 h 114035"/>
                <a:gd name="connsiteX8" fmla="*/ 25379 w 162399"/>
                <a:gd name="connsiteY8" fmla="*/ 3383 h 114035"/>
                <a:gd name="connsiteX9" fmla="*/ 136441 w 162399"/>
                <a:gd name="connsiteY9" fmla="*/ 67391 h 114035"/>
                <a:gd name="connsiteX10" fmla="*/ 159872 w 162399"/>
                <a:gd name="connsiteY10" fmla="*/ 98633 h 114035"/>
                <a:gd name="connsiteX11" fmla="*/ 162063 w 162399"/>
                <a:gd name="connsiteY11" fmla="*/ 111110 h 1140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2399" h="114035">
                  <a:moveTo>
                    <a:pt x="162063" y="111110"/>
                  </a:moveTo>
                  <a:lnTo>
                    <a:pt x="162063" y="113873"/>
                  </a:lnTo>
                  <a:lnTo>
                    <a:pt x="12616" y="28148"/>
                  </a:lnTo>
                  <a:lnTo>
                    <a:pt x="-243" y="20718"/>
                  </a:lnTo>
                  <a:lnTo>
                    <a:pt x="-243" y="17861"/>
                  </a:lnTo>
                  <a:cubicBezTo>
                    <a:pt x="-881" y="11574"/>
                    <a:pt x="1786" y="5411"/>
                    <a:pt x="6805" y="1573"/>
                  </a:cubicBezTo>
                  <a:lnTo>
                    <a:pt x="7282" y="1573"/>
                  </a:lnTo>
                  <a:cubicBezTo>
                    <a:pt x="9577" y="306"/>
                    <a:pt x="12187" y="-285"/>
                    <a:pt x="14806" y="-142"/>
                  </a:cubicBezTo>
                  <a:cubicBezTo>
                    <a:pt x="18559" y="182"/>
                    <a:pt x="22179" y="1392"/>
                    <a:pt x="25379" y="3383"/>
                  </a:cubicBezTo>
                  <a:lnTo>
                    <a:pt x="136441" y="67391"/>
                  </a:lnTo>
                  <a:cubicBezTo>
                    <a:pt x="147680" y="74734"/>
                    <a:pt x="155976" y="85793"/>
                    <a:pt x="159872" y="98633"/>
                  </a:cubicBezTo>
                  <a:cubicBezTo>
                    <a:pt x="161206" y="102662"/>
                    <a:pt x="161939" y="106862"/>
                    <a:pt x="162063" y="111110"/>
                  </a:cubicBezTo>
                  <a:close/>
                </a:path>
              </a:pathLst>
            </a:custGeom>
            <a:solidFill>
              <a:srgbClr val="FF7D33"/>
            </a:solidFill>
            <a:ln w="9525" cap="flat">
              <a:noFill/>
              <a:prstDash val="solid"/>
              <a:miter/>
            </a:ln>
          </p:spPr>
          <p:txBody>
            <a:bodyPr rtlCol="0" anchor="ctr"/>
            <a:lstStyle/>
            <a:p>
              <a:endParaRPr lang="zh-CN" altLang="en-US"/>
            </a:p>
          </p:txBody>
        </p:sp>
        <p:sp>
          <p:nvSpPr>
            <p:cNvPr id="814" name="ïslíḓè">
              <a:extLst>
                <a:ext uri="{FF2B5EF4-FFF2-40B4-BE49-F238E27FC236}">
                  <a16:creationId xmlns:a16="http://schemas.microsoft.com/office/drawing/2014/main" id="{97F203B2-2BA3-44AA-816F-65A9CEF2DF4F}"/>
                </a:ext>
              </a:extLst>
            </p:cNvPr>
            <p:cNvSpPr/>
            <p:nvPr/>
          </p:nvSpPr>
          <p:spPr>
            <a:xfrm>
              <a:off x="6670263" y="3390952"/>
              <a:ext cx="494090" cy="349053"/>
            </a:xfrm>
            <a:custGeom>
              <a:avLst/>
              <a:gdLst>
                <a:gd name="connsiteX0" fmla="*/ 161970 w 162320"/>
                <a:gd name="connsiteY0" fmla="*/ 93468 h 114672"/>
                <a:gd name="connsiteX1" fmla="*/ 161970 w 162320"/>
                <a:gd name="connsiteY1" fmla="*/ 96326 h 114672"/>
                <a:gd name="connsiteX2" fmla="*/ 159684 w 162320"/>
                <a:gd name="connsiteY2" fmla="*/ 107184 h 114672"/>
                <a:gd name="connsiteX3" fmla="*/ 155397 w 162320"/>
                <a:gd name="connsiteY3" fmla="*/ 112328 h 114672"/>
                <a:gd name="connsiteX4" fmla="*/ 153302 w 162320"/>
                <a:gd name="connsiteY4" fmla="*/ 113471 h 114672"/>
                <a:gd name="connsiteX5" fmla="*/ 136347 w 162320"/>
                <a:gd name="connsiteY5" fmla="*/ 111185 h 114672"/>
                <a:gd name="connsiteX6" fmla="*/ 25286 w 162320"/>
                <a:gd name="connsiteY6" fmla="*/ 47081 h 114672"/>
                <a:gd name="connsiteX7" fmla="*/ -336 w 162320"/>
                <a:gd name="connsiteY7" fmla="*/ 2600 h 114672"/>
                <a:gd name="connsiteX8" fmla="*/ -336 w 162320"/>
                <a:gd name="connsiteY8" fmla="*/ -163 h 114672"/>
                <a:gd name="connsiteX9" fmla="*/ 14713 w 162320"/>
                <a:gd name="connsiteY9" fmla="*/ 8505 h 114672"/>
                <a:gd name="connsiteX10" fmla="*/ 25762 w 162320"/>
                <a:gd name="connsiteY10" fmla="*/ 14887 h 114672"/>
                <a:gd name="connsiteX11" fmla="*/ 37002 w 162320"/>
                <a:gd name="connsiteY11" fmla="*/ 21364 h 114672"/>
                <a:gd name="connsiteX12" fmla="*/ 128823 w 162320"/>
                <a:gd name="connsiteY12" fmla="*/ 74418 h 114672"/>
                <a:gd name="connsiteX13" fmla="*/ 141491 w 162320"/>
                <a:gd name="connsiteY13" fmla="*/ 81752 h 114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2320" h="114672">
                  <a:moveTo>
                    <a:pt x="161970" y="93468"/>
                  </a:moveTo>
                  <a:lnTo>
                    <a:pt x="161970" y="96326"/>
                  </a:lnTo>
                  <a:cubicBezTo>
                    <a:pt x="162103" y="100078"/>
                    <a:pt x="161322" y="103803"/>
                    <a:pt x="159684" y="107184"/>
                  </a:cubicBezTo>
                  <a:cubicBezTo>
                    <a:pt x="158712" y="109232"/>
                    <a:pt x="157236" y="111004"/>
                    <a:pt x="155397" y="112328"/>
                  </a:cubicBezTo>
                  <a:lnTo>
                    <a:pt x="153302" y="113471"/>
                  </a:lnTo>
                  <a:cubicBezTo>
                    <a:pt x="147606" y="115433"/>
                    <a:pt x="141320" y="114585"/>
                    <a:pt x="136347" y="111185"/>
                  </a:cubicBezTo>
                  <a:lnTo>
                    <a:pt x="25286" y="47081"/>
                  </a:lnTo>
                  <a:cubicBezTo>
                    <a:pt x="10189" y="37137"/>
                    <a:pt x="692" y="20640"/>
                    <a:pt x="-336" y="2600"/>
                  </a:cubicBezTo>
                  <a:lnTo>
                    <a:pt x="-336" y="-163"/>
                  </a:lnTo>
                  <a:lnTo>
                    <a:pt x="14713" y="8505"/>
                  </a:lnTo>
                  <a:lnTo>
                    <a:pt x="25762" y="14887"/>
                  </a:lnTo>
                  <a:lnTo>
                    <a:pt x="37002" y="21364"/>
                  </a:lnTo>
                  <a:lnTo>
                    <a:pt x="128823" y="74418"/>
                  </a:lnTo>
                  <a:lnTo>
                    <a:pt x="141491" y="81752"/>
                  </a:lnTo>
                  <a:close/>
                </a:path>
              </a:pathLst>
            </a:custGeom>
            <a:solidFill>
              <a:srgbClr val="FF7D33"/>
            </a:solidFill>
            <a:ln w="9525" cap="flat">
              <a:noFill/>
              <a:prstDash val="solid"/>
              <a:miter/>
            </a:ln>
          </p:spPr>
          <p:txBody>
            <a:bodyPr rtlCol="0" anchor="ctr"/>
            <a:lstStyle/>
            <a:p>
              <a:endParaRPr lang="zh-CN" altLang="en-US"/>
            </a:p>
          </p:txBody>
        </p:sp>
        <p:sp>
          <p:nvSpPr>
            <p:cNvPr id="815" name="íŝḷïḍé">
              <a:extLst>
                <a:ext uri="{FF2B5EF4-FFF2-40B4-BE49-F238E27FC236}">
                  <a16:creationId xmlns:a16="http://schemas.microsoft.com/office/drawing/2014/main" id="{6AFEC9CC-894A-47C0-985B-FD3C9BC1FC42}"/>
                </a:ext>
              </a:extLst>
            </p:cNvPr>
            <p:cNvSpPr/>
            <p:nvPr/>
          </p:nvSpPr>
          <p:spPr>
            <a:xfrm>
              <a:off x="6669971" y="2930245"/>
              <a:ext cx="494337" cy="745707"/>
            </a:xfrm>
            <a:custGeom>
              <a:avLst/>
              <a:gdLst>
                <a:gd name="connsiteX0" fmla="*/ 162401 w 162401"/>
                <a:gd name="connsiteY0" fmla="*/ 93726 h 244982"/>
                <a:gd name="connsiteX1" fmla="*/ 162401 w 162401"/>
                <a:gd name="connsiteY1" fmla="*/ 244983 h 244982"/>
                <a:gd name="connsiteX2" fmla="*/ 141922 w 162401"/>
                <a:gd name="connsiteY2" fmla="*/ 233172 h 244982"/>
                <a:gd name="connsiteX3" fmla="*/ 129254 w 162401"/>
                <a:gd name="connsiteY3" fmla="*/ 225838 h 244982"/>
                <a:gd name="connsiteX4" fmla="*/ 37433 w 162401"/>
                <a:gd name="connsiteY4" fmla="*/ 172879 h 244982"/>
                <a:gd name="connsiteX5" fmla="*/ 26194 w 162401"/>
                <a:gd name="connsiteY5" fmla="*/ 166306 h 244982"/>
                <a:gd name="connsiteX6" fmla="*/ 15050 w 162401"/>
                <a:gd name="connsiteY6" fmla="*/ 159925 h 244982"/>
                <a:gd name="connsiteX7" fmla="*/ 0 w 162401"/>
                <a:gd name="connsiteY7" fmla="*/ 151257 h 244982"/>
                <a:gd name="connsiteX8" fmla="*/ 0 w 162401"/>
                <a:gd name="connsiteY8" fmla="*/ 0 h 244982"/>
                <a:gd name="connsiteX9" fmla="*/ 12859 w 162401"/>
                <a:gd name="connsiteY9" fmla="*/ 7429 h 244982"/>
                <a:gd name="connsiteX10" fmla="*/ 162401 w 162401"/>
                <a:gd name="connsiteY10" fmla="*/ 93726 h 244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2401" h="244982">
                  <a:moveTo>
                    <a:pt x="162401" y="93726"/>
                  </a:moveTo>
                  <a:lnTo>
                    <a:pt x="162401" y="244983"/>
                  </a:lnTo>
                  <a:lnTo>
                    <a:pt x="141922" y="233172"/>
                  </a:lnTo>
                  <a:lnTo>
                    <a:pt x="129254" y="225838"/>
                  </a:lnTo>
                  <a:lnTo>
                    <a:pt x="37433" y="172879"/>
                  </a:lnTo>
                  <a:lnTo>
                    <a:pt x="26194" y="166306"/>
                  </a:lnTo>
                  <a:lnTo>
                    <a:pt x="15050" y="159925"/>
                  </a:lnTo>
                  <a:lnTo>
                    <a:pt x="0" y="151257"/>
                  </a:lnTo>
                  <a:lnTo>
                    <a:pt x="0" y="0"/>
                  </a:lnTo>
                  <a:lnTo>
                    <a:pt x="12859" y="7429"/>
                  </a:lnTo>
                  <a:lnTo>
                    <a:pt x="162401" y="93726"/>
                  </a:lnTo>
                  <a:close/>
                </a:path>
              </a:pathLst>
            </a:custGeom>
            <a:solidFill>
              <a:srgbClr val="EDF4FF"/>
            </a:solidFill>
            <a:ln w="9525" cap="flat">
              <a:noFill/>
              <a:prstDash val="solid"/>
              <a:miter/>
            </a:ln>
          </p:spPr>
          <p:txBody>
            <a:bodyPr rtlCol="0" anchor="ctr"/>
            <a:lstStyle/>
            <a:p>
              <a:endParaRPr lang="zh-CN" altLang="en-US"/>
            </a:p>
          </p:txBody>
        </p:sp>
        <p:sp>
          <p:nvSpPr>
            <p:cNvPr id="816" name="îṡḻîḓè">
              <a:extLst>
                <a:ext uri="{FF2B5EF4-FFF2-40B4-BE49-F238E27FC236}">
                  <a16:creationId xmlns:a16="http://schemas.microsoft.com/office/drawing/2014/main" id="{D5F2D606-37C9-46BD-9EF7-160DAF41903B}"/>
                </a:ext>
              </a:extLst>
            </p:cNvPr>
            <p:cNvSpPr/>
            <p:nvPr/>
          </p:nvSpPr>
          <p:spPr>
            <a:xfrm>
              <a:off x="6809955" y="3127117"/>
              <a:ext cx="227363" cy="241797"/>
            </a:xfrm>
            <a:custGeom>
              <a:avLst/>
              <a:gdLst>
                <a:gd name="connsiteX0" fmla="*/ 74358 w 74694"/>
                <a:gd name="connsiteY0" fmla="*/ 69749 h 79436"/>
                <a:gd name="connsiteX1" fmla="*/ 73215 w 74694"/>
                <a:gd name="connsiteY1" fmla="*/ 79274 h 79436"/>
                <a:gd name="connsiteX2" fmla="*/ 65595 w 74694"/>
                <a:gd name="connsiteY2" fmla="*/ 74988 h 79436"/>
                <a:gd name="connsiteX3" fmla="*/ 67119 w 74694"/>
                <a:gd name="connsiteY3" fmla="*/ 65463 h 79436"/>
                <a:gd name="connsiteX4" fmla="*/ 62261 w 74694"/>
                <a:gd name="connsiteY4" fmla="*/ 43841 h 79436"/>
                <a:gd name="connsiteX5" fmla="*/ 11779 w 74694"/>
                <a:gd name="connsiteY5" fmla="*/ 14599 h 79436"/>
                <a:gd name="connsiteX6" fmla="*/ 6921 w 74694"/>
                <a:gd name="connsiteY6" fmla="*/ 30697 h 79436"/>
                <a:gd name="connsiteX7" fmla="*/ 8350 w 74694"/>
                <a:gd name="connsiteY7" fmla="*/ 42222 h 79436"/>
                <a:gd name="connsiteX8" fmla="*/ 825 w 74694"/>
                <a:gd name="connsiteY8" fmla="*/ 37840 h 79436"/>
                <a:gd name="connsiteX9" fmla="*/ -318 w 74694"/>
                <a:gd name="connsiteY9" fmla="*/ 26506 h 79436"/>
                <a:gd name="connsiteX10" fmla="*/ 3397 w 74694"/>
                <a:gd name="connsiteY10" fmla="*/ 9837 h 79436"/>
                <a:gd name="connsiteX11" fmla="*/ 37020 w 74694"/>
                <a:gd name="connsiteY11" fmla="*/ 4884 h 79436"/>
                <a:gd name="connsiteX12" fmla="*/ 70548 w 74694"/>
                <a:gd name="connsiteY12" fmla="*/ 48604 h 79436"/>
                <a:gd name="connsiteX13" fmla="*/ 74358 w 74694"/>
                <a:gd name="connsiteY13" fmla="*/ 69749 h 794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4694" h="79436">
                  <a:moveTo>
                    <a:pt x="74358" y="69749"/>
                  </a:moveTo>
                  <a:cubicBezTo>
                    <a:pt x="74320" y="72959"/>
                    <a:pt x="73929" y="76150"/>
                    <a:pt x="73215" y="79274"/>
                  </a:cubicBezTo>
                  <a:lnTo>
                    <a:pt x="65595" y="74988"/>
                  </a:lnTo>
                  <a:cubicBezTo>
                    <a:pt x="66605" y="71911"/>
                    <a:pt x="67119" y="68701"/>
                    <a:pt x="67119" y="65463"/>
                  </a:cubicBezTo>
                  <a:cubicBezTo>
                    <a:pt x="66957" y="58005"/>
                    <a:pt x="65309" y="50652"/>
                    <a:pt x="62261" y="43841"/>
                  </a:cubicBezTo>
                  <a:lnTo>
                    <a:pt x="11779" y="14599"/>
                  </a:lnTo>
                  <a:cubicBezTo>
                    <a:pt x="8350" y="19238"/>
                    <a:pt x="6626" y="24934"/>
                    <a:pt x="6921" y="30697"/>
                  </a:cubicBezTo>
                  <a:cubicBezTo>
                    <a:pt x="6940" y="34583"/>
                    <a:pt x="7416" y="38450"/>
                    <a:pt x="8350" y="42222"/>
                  </a:cubicBezTo>
                  <a:lnTo>
                    <a:pt x="825" y="37840"/>
                  </a:lnTo>
                  <a:cubicBezTo>
                    <a:pt x="82" y="34107"/>
                    <a:pt x="-299" y="30316"/>
                    <a:pt x="-318" y="26506"/>
                  </a:cubicBezTo>
                  <a:cubicBezTo>
                    <a:pt x="-509" y="20724"/>
                    <a:pt x="777" y="14990"/>
                    <a:pt x="3397" y="9837"/>
                  </a:cubicBezTo>
                  <a:cubicBezTo>
                    <a:pt x="9493" y="-1022"/>
                    <a:pt x="22447" y="-3593"/>
                    <a:pt x="37020" y="4884"/>
                  </a:cubicBezTo>
                  <a:cubicBezTo>
                    <a:pt x="52879" y="15180"/>
                    <a:pt x="64719" y="30611"/>
                    <a:pt x="70548" y="48604"/>
                  </a:cubicBezTo>
                  <a:cubicBezTo>
                    <a:pt x="73006" y="55385"/>
                    <a:pt x="74292" y="62539"/>
                    <a:pt x="74358" y="69749"/>
                  </a:cubicBezTo>
                  <a:close/>
                </a:path>
              </a:pathLst>
            </a:custGeom>
            <a:solidFill>
              <a:srgbClr val="D9530B"/>
            </a:solidFill>
            <a:ln w="9525" cap="flat">
              <a:noFill/>
              <a:prstDash val="solid"/>
              <a:miter/>
            </a:ln>
          </p:spPr>
          <p:txBody>
            <a:bodyPr rtlCol="0" anchor="ctr"/>
            <a:lstStyle/>
            <a:p>
              <a:endParaRPr lang="zh-CN" altLang="en-US"/>
            </a:p>
          </p:txBody>
        </p:sp>
        <p:sp>
          <p:nvSpPr>
            <p:cNvPr id="817" name="íSľidê">
              <a:extLst>
                <a:ext uri="{FF2B5EF4-FFF2-40B4-BE49-F238E27FC236}">
                  <a16:creationId xmlns:a16="http://schemas.microsoft.com/office/drawing/2014/main" id="{90748980-C0CC-4962-8706-CA228CC9CD60}"/>
                </a:ext>
              </a:extLst>
            </p:cNvPr>
            <p:cNvSpPr/>
            <p:nvPr/>
          </p:nvSpPr>
          <p:spPr>
            <a:xfrm>
              <a:off x="6783917" y="3350940"/>
              <a:ext cx="279493" cy="267028"/>
            </a:xfrm>
            <a:custGeom>
              <a:avLst/>
              <a:gdLst>
                <a:gd name="connsiteX0" fmla="*/ 91485 w 91820"/>
                <a:gd name="connsiteY0" fmla="*/ 87563 h 87725"/>
                <a:gd name="connsiteX1" fmla="*/ -336 w 91820"/>
                <a:gd name="connsiteY1" fmla="*/ 34508 h 87725"/>
                <a:gd name="connsiteX2" fmla="*/ 19952 w 91820"/>
                <a:gd name="connsiteY2" fmla="*/ 409 h 87725"/>
                <a:gd name="connsiteX3" fmla="*/ 25762 w 91820"/>
                <a:gd name="connsiteY3" fmla="*/ -163 h 87725"/>
                <a:gd name="connsiteX4" fmla="*/ 33096 w 91820"/>
                <a:gd name="connsiteY4" fmla="*/ 790 h 87725"/>
                <a:gd name="connsiteX5" fmla="*/ 35192 w 91820"/>
                <a:gd name="connsiteY5" fmla="*/ 1266 h 87725"/>
                <a:gd name="connsiteX6" fmla="*/ 45574 w 91820"/>
                <a:gd name="connsiteY6" fmla="*/ 9458 h 87725"/>
                <a:gd name="connsiteX7" fmla="*/ 55956 w 91820"/>
                <a:gd name="connsiteY7" fmla="*/ 13363 h 87725"/>
                <a:gd name="connsiteX8" fmla="*/ 58052 w 91820"/>
                <a:gd name="connsiteY8" fmla="*/ 15077 h 87725"/>
                <a:gd name="connsiteX9" fmla="*/ 65386 w 91820"/>
                <a:gd name="connsiteY9" fmla="*/ 22697 h 87725"/>
                <a:gd name="connsiteX10" fmla="*/ 71101 w 91820"/>
                <a:gd name="connsiteY10" fmla="*/ 29936 h 87725"/>
                <a:gd name="connsiteX11" fmla="*/ 91485 w 91820"/>
                <a:gd name="connsiteY11" fmla="*/ 87563 h 87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1820" h="87725">
                  <a:moveTo>
                    <a:pt x="91485" y="87563"/>
                  </a:moveTo>
                  <a:lnTo>
                    <a:pt x="-336" y="34508"/>
                  </a:lnTo>
                  <a:cubicBezTo>
                    <a:pt x="-336" y="15458"/>
                    <a:pt x="7760" y="3266"/>
                    <a:pt x="19952" y="409"/>
                  </a:cubicBezTo>
                  <a:cubicBezTo>
                    <a:pt x="21866" y="28"/>
                    <a:pt x="23809" y="-163"/>
                    <a:pt x="25762" y="-163"/>
                  </a:cubicBezTo>
                  <a:cubicBezTo>
                    <a:pt x="28239" y="-163"/>
                    <a:pt x="30705" y="152"/>
                    <a:pt x="33096" y="790"/>
                  </a:cubicBezTo>
                  <a:lnTo>
                    <a:pt x="35192" y="1266"/>
                  </a:lnTo>
                  <a:cubicBezTo>
                    <a:pt x="38240" y="4476"/>
                    <a:pt x="41736" y="7238"/>
                    <a:pt x="45574" y="9458"/>
                  </a:cubicBezTo>
                  <a:cubicBezTo>
                    <a:pt x="48755" y="11401"/>
                    <a:pt x="52280" y="12725"/>
                    <a:pt x="55956" y="13363"/>
                  </a:cubicBezTo>
                  <a:lnTo>
                    <a:pt x="58052" y="15077"/>
                  </a:lnTo>
                  <a:cubicBezTo>
                    <a:pt x="60528" y="17459"/>
                    <a:pt x="63005" y="19935"/>
                    <a:pt x="65386" y="22697"/>
                  </a:cubicBezTo>
                  <a:cubicBezTo>
                    <a:pt x="67415" y="25012"/>
                    <a:pt x="69329" y="27422"/>
                    <a:pt x="71101" y="29936"/>
                  </a:cubicBezTo>
                  <a:cubicBezTo>
                    <a:pt x="83550" y="46653"/>
                    <a:pt x="90656" y="66741"/>
                    <a:pt x="91485" y="87563"/>
                  </a:cubicBezTo>
                  <a:close/>
                </a:path>
              </a:pathLst>
            </a:custGeom>
            <a:solidFill>
              <a:srgbClr val="316DE6"/>
            </a:solidFill>
            <a:ln w="9525" cap="flat">
              <a:noFill/>
              <a:prstDash val="solid"/>
              <a:miter/>
            </a:ln>
          </p:spPr>
          <p:txBody>
            <a:bodyPr rtlCol="0" anchor="ctr"/>
            <a:lstStyle/>
            <a:p>
              <a:endParaRPr lang="zh-CN" altLang="en-US"/>
            </a:p>
          </p:txBody>
        </p:sp>
        <p:sp>
          <p:nvSpPr>
            <p:cNvPr id="818" name="iŝ1ïḓè">
              <a:extLst>
                <a:ext uri="{FF2B5EF4-FFF2-40B4-BE49-F238E27FC236}">
                  <a16:creationId xmlns:a16="http://schemas.microsoft.com/office/drawing/2014/main" id="{27EE3898-6F5E-44B1-94B8-FBF0CE8F53D9}"/>
                </a:ext>
              </a:extLst>
            </p:cNvPr>
            <p:cNvSpPr/>
            <p:nvPr/>
          </p:nvSpPr>
          <p:spPr>
            <a:xfrm>
              <a:off x="6831944" y="3171762"/>
              <a:ext cx="183336" cy="220411"/>
            </a:xfrm>
            <a:custGeom>
              <a:avLst/>
              <a:gdLst>
                <a:gd name="connsiteX0" fmla="*/ 59894 w 60230"/>
                <a:gd name="connsiteY0" fmla="*/ 50987 h 72410"/>
                <a:gd name="connsiteX1" fmla="*/ 58370 w 60230"/>
                <a:gd name="connsiteY1" fmla="*/ 60512 h 72410"/>
                <a:gd name="connsiteX2" fmla="*/ 40177 w 60230"/>
                <a:gd name="connsiteY2" fmla="*/ 71942 h 72410"/>
                <a:gd name="connsiteX3" fmla="*/ 29795 w 60230"/>
                <a:gd name="connsiteY3" fmla="*/ 68036 h 72410"/>
                <a:gd name="connsiteX4" fmla="*/ 19413 w 60230"/>
                <a:gd name="connsiteY4" fmla="*/ 59845 h 72410"/>
                <a:gd name="connsiteX5" fmla="*/ 1125 w 60230"/>
                <a:gd name="connsiteY5" fmla="*/ 27460 h 72410"/>
                <a:gd name="connsiteX6" fmla="*/ -304 w 60230"/>
                <a:gd name="connsiteY6" fmla="*/ 15935 h 72410"/>
                <a:gd name="connsiteX7" fmla="*/ 4554 w 60230"/>
                <a:gd name="connsiteY7" fmla="*/ -163 h 72410"/>
                <a:gd name="connsiteX8" fmla="*/ 55037 w 60230"/>
                <a:gd name="connsiteY8" fmla="*/ 29079 h 72410"/>
                <a:gd name="connsiteX9" fmla="*/ 59894 w 60230"/>
                <a:gd name="connsiteY9" fmla="*/ 50987 h 72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0230" h="72410">
                  <a:moveTo>
                    <a:pt x="59894" y="50987"/>
                  </a:moveTo>
                  <a:cubicBezTo>
                    <a:pt x="59894" y="54225"/>
                    <a:pt x="59380" y="57435"/>
                    <a:pt x="58370" y="60512"/>
                  </a:cubicBezTo>
                  <a:cubicBezTo>
                    <a:pt x="56303" y="68551"/>
                    <a:pt x="48312" y="73570"/>
                    <a:pt x="40177" y="71942"/>
                  </a:cubicBezTo>
                  <a:cubicBezTo>
                    <a:pt x="36501" y="71303"/>
                    <a:pt x="32977" y="69979"/>
                    <a:pt x="29795" y="68036"/>
                  </a:cubicBezTo>
                  <a:cubicBezTo>
                    <a:pt x="25957" y="65817"/>
                    <a:pt x="22461" y="63055"/>
                    <a:pt x="19413" y="59845"/>
                  </a:cubicBezTo>
                  <a:cubicBezTo>
                    <a:pt x="10564" y="50853"/>
                    <a:pt x="4259" y="39680"/>
                    <a:pt x="1125" y="27460"/>
                  </a:cubicBezTo>
                  <a:cubicBezTo>
                    <a:pt x="191" y="23688"/>
                    <a:pt x="-285" y="19821"/>
                    <a:pt x="-304" y="15935"/>
                  </a:cubicBezTo>
                  <a:cubicBezTo>
                    <a:pt x="-599" y="10172"/>
                    <a:pt x="1125" y="4476"/>
                    <a:pt x="4554" y="-163"/>
                  </a:cubicBezTo>
                  <a:lnTo>
                    <a:pt x="55037" y="29079"/>
                  </a:lnTo>
                  <a:cubicBezTo>
                    <a:pt x="58123" y="35975"/>
                    <a:pt x="59770" y="43433"/>
                    <a:pt x="59894" y="50987"/>
                  </a:cubicBezTo>
                  <a:close/>
                </a:path>
              </a:pathLst>
            </a:custGeom>
            <a:solidFill>
              <a:srgbClr val="FFB4A1"/>
            </a:solidFill>
            <a:ln w="9525" cap="flat">
              <a:noFill/>
              <a:prstDash val="solid"/>
              <a:miter/>
            </a:ln>
          </p:spPr>
          <p:txBody>
            <a:bodyPr rtlCol="0" anchor="ctr"/>
            <a:lstStyle/>
            <a:p>
              <a:endParaRPr lang="zh-CN" altLang="en-US"/>
            </a:p>
          </p:txBody>
        </p:sp>
        <p:sp>
          <p:nvSpPr>
            <p:cNvPr id="819" name="išļiḍê">
              <a:extLst>
                <a:ext uri="{FF2B5EF4-FFF2-40B4-BE49-F238E27FC236}">
                  <a16:creationId xmlns:a16="http://schemas.microsoft.com/office/drawing/2014/main" id="{AF998AC8-7F03-4245-B791-5F03F65A5F5A}"/>
                </a:ext>
              </a:extLst>
            </p:cNvPr>
            <p:cNvSpPr/>
            <p:nvPr/>
          </p:nvSpPr>
          <p:spPr>
            <a:xfrm>
              <a:off x="7048915" y="3088934"/>
              <a:ext cx="80116" cy="105728"/>
            </a:xfrm>
            <a:custGeom>
              <a:avLst/>
              <a:gdLst>
                <a:gd name="connsiteX0" fmla="*/ 25953 w 26320"/>
                <a:gd name="connsiteY0" fmla="*/ 23523 h 34734"/>
                <a:gd name="connsiteX1" fmla="*/ 22429 w 26320"/>
                <a:gd name="connsiteY1" fmla="*/ 31715 h 34734"/>
                <a:gd name="connsiteX2" fmla="*/ 17475 w 26320"/>
                <a:gd name="connsiteY2" fmla="*/ 34572 h 34734"/>
                <a:gd name="connsiteX3" fmla="*/ 19380 w 26320"/>
                <a:gd name="connsiteY3" fmla="*/ 32572 h 34734"/>
                <a:gd name="connsiteX4" fmla="*/ 21000 w 26320"/>
                <a:gd name="connsiteY4" fmla="*/ 26381 h 34734"/>
                <a:gd name="connsiteX5" fmla="*/ 8331 w 26320"/>
                <a:gd name="connsiteY5" fmla="*/ 4378 h 34734"/>
                <a:gd name="connsiteX6" fmla="*/ 2140 w 26320"/>
                <a:gd name="connsiteY6" fmla="*/ 2664 h 34734"/>
                <a:gd name="connsiteX7" fmla="*/ -336 w 26320"/>
                <a:gd name="connsiteY7" fmla="*/ 3330 h 34734"/>
                <a:gd name="connsiteX8" fmla="*/ 3855 w 26320"/>
                <a:gd name="connsiteY8" fmla="*/ 949 h 34734"/>
                <a:gd name="connsiteX9" fmla="*/ 3855 w 26320"/>
                <a:gd name="connsiteY9" fmla="*/ 949 h 34734"/>
                <a:gd name="connsiteX10" fmla="*/ 4712 w 26320"/>
                <a:gd name="connsiteY10" fmla="*/ 378 h 34734"/>
                <a:gd name="connsiteX11" fmla="*/ 13284 w 26320"/>
                <a:gd name="connsiteY11" fmla="*/ 1521 h 34734"/>
                <a:gd name="connsiteX12" fmla="*/ 25953 w 26320"/>
                <a:gd name="connsiteY12" fmla="*/ 23523 h 34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320" h="34734">
                  <a:moveTo>
                    <a:pt x="25953" y="23523"/>
                  </a:moveTo>
                  <a:cubicBezTo>
                    <a:pt x="26210" y="26667"/>
                    <a:pt x="24886" y="29734"/>
                    <a:pt x="22429" y="31715"/>
                  </a:cubicBezTo>
                  <a:lnTo>
                    <a:pt x="17475" y="34572"/>
                  </a:lnTo>
                  <a:cubicBezTo>
                    <a:pt x="18266" y="34077"/>
                    <a:pt x="18923" y="33391"/>
                    <a:pt x="19380" y="32572"/>
                  </a:cubicBezTo>
                  <a:cubicBezTo>
                    <a:pt x="20533" y="30715"/>
                    <a:pt x="21095" y="28562"/>
                    <a:pt x="21000" y="26381"/>
                  </a:cubicBezTo>
                  <a:cubicBezTo>
                    <a:pt x="20447" y="17475"/>
                    <a:pt x="15761" y="9331"/>
                    <a:pt x="8331" y="4378"/>
                  </a:cubicBezTo>
                  <a:cubicBezTo>
                    <a:pt x="6464" y="3254"/>
                    <a:pt x="4322" y="2664"/>
                    <a:pt x="2140" y="2664"/>
                  </a:cubicBezTo>
                  <a:cubicBezTo>
                    <a:pt x="1283" y="2740"/>
                    <a:pt x="445" y="2968"/>
                    <a:pt x="-336" y="3330"/>
                  </a:cubicBezTo>
                  <a:lnTo>
                    <a:pt x="3855" y="949"/>
                  </a:lnTo>
                  <a:lnTo>
                    <a:pt x="3855" y="949"/>
                  </a:lnTo>
                  <a:lnTo>
                    <a:pt x="4712" y="378"/>
                  </a:lnTo>
                  <a:cubicBezTo>
                    <a:pt x="7588" y="-632"/>
                    <a:pt x="10779" y="-213"/>
                    <a:pt x="13284" y="1521"/>
                  </a:cubicBezTo>
                  <a:cubicBezTo>
                    <a:pt x="20790" y="6397"/>
                    <a:pt x="25505" y="14579"/>
                    <a:pt x="25953" y="23523"/>
                  </a:cubicBezTo>
                  <a:close/>
                </a:path>
              </a:pathLst>
            </a:custGeom>
            <a:solidFill>
              <a:srgbClr val="BF4200"/>
            </a:solidFill>
            <a:ln w="9525" cap="flat">
              <a:noFill/>
              <a:prstDash val="solid"/>
              <a:miter/>
            </a:ln>
          </p:spPr>
          <p:txBody>
            <a:bodyPr rtlCol="0" anchor="ctr"/>
            <a:lstStyle/>
            <a:p>
              <a:endParaRPr lang="zh-CN" altLang="en-US"/>
            </a:p>
          </p:txBody>
        </p:sp>
        <p:sp>
          <p:nvSpPr>
            <p:cNvPr id="820" name="iṥḷîďê">
              <a:extLst>
                <a:ext uri="{FF2B5EF4-FFF2-40B4-BE49-F238E27FC236}">
                  <a16:creationId xmlns:a16="http://schemas.microsoft.com/office/drawing/2014/main" id="{0FFA7302-59BD-4A1B-99D0-7449B4960359}"/>
                </a:ext>
              </a:extLst>
            </p:cNvPr>
            <p:cNvSpPr/>
            <p:nvPr/>
          </p:nvSpPr>
          <p:spPr>
            <a:xfrm>
              <a:off x="7035218" y="3097539"/>
              <a:ext cx="78670" cy="100237"/>
            </a:xfrm>
            <a:custGeom>
              <a:avLst/>
              <a:gdLst>
                <a:gd name="connsiteX0" fmla="*/ 25499 w 25845"/>
                <a:gd name="connsiteY0" fmla="*/ 23555 h 32930"/>
                <a:gd name="connsiteX1" fmla="*/ 23880 w 25845"/>
                <a:gd name="connsiteY1" fmla="*/ 29746 h 32930"/>
                <a:gd name="connsiteX2" fmla="*/ 21975 w 25845"/>
                <a:gd name="connsiteY2" fmla="*/ 31746 h 32930"/>
                <a:gd name="connsiteX3" fmla="*/ 12450 w 25845"/>
                <a:gd name="connsiteY3" fmla="*/ 30889 h 32930"/>
                <a:gd name="connsiteX4" fmla="*/ -313 w 25845"/>
                <a:gd name="connsiteY4" fmla="*/ 8886 h 32930"/>
                <a:gd name="connsiteX5" fmla="*/ 3020 w 25845"/>
                <a:gd name="connsiteY5" fmla="*/ 980 h 32930"/>
                <a:gd name="connsiteX6" fmla="*/ 3020 w 25845"/>
                <a:gd name="connsiteY6" fmla="*/ 980 h 32930"/>
                <a:gd name="connsiteX7" fmla="*/ 3782 w 25845"/>
                <a:gd name="connsiteY7" fmla="*/ 504 h 32930"/>
                <a:gd name="connsiteX8" fmla="*/ 6259 w 25845"/>
                <a:gd name="connsiteY8" fmla="*/ -163 h 32930"/>
                <a:gd name="connsiteX9" fmla="*/ 12450 w 25845"/>
                <a:gd name="connsiteY9" fmla="*/ 1552 h 32930"/>
                <a:gd name="connsiteX10" fmla="*/ 25499 w 25845"/>
                <a:gd name="connsiteY10" fmla="*/ 23555 h 329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5845" h="32930">
                  <a:moveTo>
                    <a:pt x="25499" y="23555"/>
                  </a:moveTo>
                  <a:cubicBezTo>
                    <a:pt x="25595" y="25736"/>
                    <a:pt x="25033" y="27888"/>
                    <a:pt x="23880" y="29746"/>
                  </a:cubicBezTo>
                  <a:cubicBezTo>
                    <a:pt x="23423" y="30565"/>
                    <a:pt x="22766" y="31251"/>
                    <a:pt x="21975" y="31746"/>
                  </a:cubicBezTo>
                  <a:cubicBezTo>
                    <a:pt x="18908" y="33375"/>
                    <a:pt x="15174" y="33032"/>
                    <a:pt x="12450" y="30889"/>
                  </a:cubicBezTo>
                  <a:cubicBezTo>
                    <a:pt x="4916" y="26022"/>
                    <a:pt x="172" y="17840"/>
                    <a:pt x="-313" y="8886"/>
                  </a:cubicBezTo>
                  <a:cubicBezTo>
                    <a:pt x="-523" y="5867"/>
                    <a:pt x="715" y="2933"/>
                    <a:pt x="3020" y="980"/>
                  </a:cubicBezTo>
                  <a:lnTo>
                    <a:pt x="3020" y="980"/>
                  </a:lnTo>
                  <a:lnTo>
                    <a:pt x="3782" y="504"/>
                  </a:lnTo>
                  <a:cubicBezTo>
                    <a:pt x="4563" y="142"/>
                    <a:pt x="5402" y="-86"/>
                    <a:pt x="6259" y="-163"/>
                  </a:cubicBezTo>
                  <a:cubicBezTo>
                    <a:pt x="8440" y="-163"/>
                    <a:pt x="10583" y="428"/>
                    <a:pt x="12450" y="1552"/>
                  </a:cubicBezTo>
                  <a:cubicBezTo>
                    <a:pt x="20023" y="6419"/>
                    <a:pt x="24861" y="14573"/>
                    <a:pt x="25499" y="23555"/>
                  </a:cubicBezTo>
                  <a:close/>
                </a:path>
              </a:pathLst>
            </a:custGeom>
            <a:solidFill>
              <a:srgbClr val="D9530B"/>
            </a:solidFill>
            <a:ln w="9525" cap="flat">
              <a:noFill/>
              <a:prstDash val="solid"/>
              <a:miter/>
            </a:ln>
          </p:spPr>
          <p:txBody>
            <a:bodyPr rtlCol="0" anchor="ctr"/>
            <a:lstStyle/>
            <a:p>
              <a:endParaRPr lang="zh-CN" altLang="en-US"/>
            </a:p>
          </p:txBody>
        </p:sp>
        <p:sp>
          <p:nvSpPr>
            <p:cNvPr id="821" name="í$ḷîde">
              <a:extLst>
                <a:ext uri="{FF2B5EF4-FFF2-40B4-BE49-F238E27FC236}">
                  <a16:creationId xmlns:a16="http://schemas.microsoft.com/office/drawing/2014/main" id="{265F52D0-5DDF-4A08-8A31-F429559AA622}"/>
                </a:ext>
              </a:extLst>
            </p:cNvPr>
            <p:cNvSpPr/>
            <p:nvPr/>
          </p:nvSpPr>
          <p:spPr>
            <a:xfrm>
              <a:off x="5661292" y="2264030"/>
              <a:ext cx="830368" cy="1632674"/>
            </a:xfrm>
            <a:custGeom>
              <a:avLst/>
              <a:gdLst>
                <a:gd name="connsiteX0" fmla="*/ -336 w 272795"/>
                <a:gd name="connsiteY0" fmla="*/ 357674 h 536371"/>
                <a:gd name="connsiteX1" fmla="*/ -336 w 272795"/>
                <a:gd name="connsiteY1" fmla="*/ 20966 h 536371"/>
                <a:gd name="connsiteX2" fmla="*/ 29096 w 272795"/>
                <a:gd name="connsiteY2" fmla="*/ 3916 h 536371"/>
                <a:gd name="connsiteX3" fmla="*/ 243027 w 272795"/>
                <a:gd name="connsiteY3" fmla="*/ 127455 h 536371"/>
                <a:gd name="connsiteX4" fmla="*/ 272460 w 272795"/>
                <a:gd name="connsiteY4" fmla="*/ 178509 h 536371"/>
                <a:gd name="connsiteX5" fmla="*/ 272460 w 272795"/>
                <a:gd name="connsiteY5" fmla="*/ 515123 h 536371"/>
                <a:gd name="connsiteX6" fmla="*/ 243027 w 272795"/>
                <a:gd name="connsiteY6" fmla="*/ 532172 h 536371"/>
                <a:gd name="connsiteX7" fmla="*/ 29191 w 272795"/>
                <a:gd name="connsiteY7" fmla="*/ 408347 h 536371"/>
                <a:gd name="connsiteX8" fmla="*/ -336 w 272795"/>
                <a:gd name="connsiteY8" fmla="*/ 357674 h 536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2795" h="536371">
                  <a:moveTo>
                    <a:pt x="-336" y="357674"/>
                  </a:moveTo>
                  <a:lnTo>
                    <a:pt x="-336" y="20966"/>
                  </a:lnTo>
                  <a:cubicBezTo>
                    <a:pt x="-336" y="1916"/>
                    <a:pt x="12808" y="-5514"/>
                    <a:pt x="29096" y="3916"/>
                  </a:cubicBezTo>
                  <a:lnTo>
                    <a:pt x="243027" y="127455"/>
                  </a:lnTo>
                  <a:cubicBezTo>
                    <a:pt x="260411" y="138809"/>
                    <a:pt x="271345" y="157773"/>
                    <a:pt x="272460" y="178509"/>
                  </a:cubicBezTo>
                  <a:lnTo>
                    <a:pt x="272460" y="515123"/>
                  </a:lnTo>
                  <a:cubicBezTo>
                    <a:pt x="272460" y="534173"/>
                    <a:pt x="259315" y="541507"/>
                    <a:pt x="243027" y="532172"/>
                  </a:cubicBezTo>
                  <a:lnTo>
                    <a:pt x="29191" y="408347"/>
                  </a:lnTo>
                  <a:cubicBezTo>
                    <a:pt x="11875" y="397089"/>
                    <a:pt x="921" y="378286"/>
                    <a:pt x="-336" y="357674"/>
                  </a:cubicBezTo>
                  <a:close/>
                </a:path>
              </a:pathLst>
            </a:custGeom>
            <a:solidFill>
              <a:srgbClr val="D1D9E8"/>
            </a:solidFill>
            <a:ln w="9525" cap="flat">
              <a:noFill/>
              <a:prstDash val="solid"/>
              <a:miter/>
            </a:ln>
          </p:spPr>
          <p:txBody>
            <a:bodyPr rtlCol="0" anchor="ctr"/>
            <a:lstStyle/>
            <a:p>
              <a:endParaRPr lang="zh-CN" altLang="en-US"/>
            </a:p>
          </p:txBody>
        </p:sp>
        <p:sp>
          <p:nvSpPr>
            <p:cNvPr id="822" name="iṩļíḍê">
              <a:extLst>
                <a:ext uri="{FF2B5EF4-FFF2-40B4-BE49-F238E27FC236}">
                  <a16:creationId xmlns:a16="http://schemas.microsoft.com/office/drawing/2014/main" id="{8C056275-4AD6-4C10-AAC2-85CA85873F13}"/>
                </a:ext>
              </a:extLst>
            </p:cNvPr>
            <p:cNvSpPr/>
            <p:nvPr/>
          </p:nvSpPr>
          <p:spPr>
            <a:xfrm>
              <a:off x="5643026" y="2274595"/>
              <a:ext cx="830368" cy="1633834"/>
            </a:xfrm>
            <a:custGeom>
              <a:avLst/>
              <a:gdLst>
                <a:gd name="connsiteX0" fmla="*/ -336 w 272795"/>
                <a:gd name="connsiteY0" fmla="*/ 357633 h 536752"/>
                <a:gd name="connsiteX1" fmla="*/ -336 w 272795"/>
                <a:gd name="connsiteY1" fmla="*/ 20924 h 536752"/>
                <a:gd name="connsiteX2" fmla="*/ 29191 w 272795"/>
                <a:gd name="connsiteY2" fmla="*/ 3874 h 536752"/>
                <a:gd name="connsiteX3" fmla="*/ 242932 w 272795"/>
                <a:gd name="connsiteY3" fmla="*/ 127699 h 536752"/>
                <a:gd name="connsiteX4" fmla="*/ 272460 w 272795"/>
                <a:gd name="connsiteY4" fmla="*/ 178753 h 536752"/>
                <a:gd name="connsiteX5" fmla="*/ 272460 w 272795"/>
                <a:gd name="connsiteY5" fmla="*/ 515462 h 536752"/>
                <a:gd name="connsiteX6" fmla="*/ 242932 w 272795"/>
                <a:gd name="connsiteY6" fmla="*/ 532512 h 536752"/>
                <a:gd name="connsiteX7" fmla="*/ 29191 w 272795"/>
                <a:gd name="connsiteY7" fmla="*/ 408687 h 536752"/>
                <a:gd name="connsiteX8" fmla="*/ -336 w 272795"/>
                <a:gd name="connsiteY8" fmla="*/ 357633 h 5367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2795" h="536752">
                  <a:moveTo>
                    <a:pt x="-336" y="357633"/>
                  </a:moveTo>
                  <a:lnTo>
                    <a:pt x="-336" y="20924"/>
                  </a:lnTo>
                  <a:cubicBezTo>
                    <a:pt x="-336" y="1874"/>
                    <a:pt x="12903" y="-5460"/>
                    <a:pt x="29191" y="3874"/>
                  </a:cubicBezTo>
                  <a:lnTo>
                    <a:pt x="242932" y="127699"/>
                  </a:lnTo>
                  <a:cubicBezTo>
                    <a:pt x="260344" y="139043"/>
                    <a:pt x="271307" y="158008"/>
                    <a:pt x="272460" y="178753"/>
                  </a:cubicBezTo>
                  <a:lnTo>
                    <a:pt x="272460" y="515462"/>
                  </a:lnTo>
                  <a:cubicBezTo>
                    <a:pt x="272460" y="534512"/>
                    <a:pt x="259220" y="541941"/>
                    <a:pt x="242932" y="532512"/>
                  </a:cubicBezTo>
                  <a:lnTo>
                    <a:pt x="29191" y="408687"/>
                  </a:lnTo>
                  <a:cubicBezTo>
                    <a:pt x="11780" y="397342"/>
                    <a:pt x="816" y="378378"/>
                    <a:pt x="-336" y="357633"/>
                  </a:cubicBezTo>
                  <a:close/>
                </a:path>
              </a:pathLst>
            </a:custGeom>
            <a:solidFill>
              <a:srgbClr val="EDF4FF"/>
            </a:solidFill>
            <a:ln w="9525" cap="flat">
              <a:noFill/>
              <a:prstDash val="solid"/>
              <a:miter/>
            </a:ln>
          </p:spPr>
          <p:txBody>
            <a:bodyPr rtlCol="0" anchor="ctr"/>
            <a:lstStyle/>
            <a:p>
              <a:endParaRPr lang="zh-CN" altLang="en-US"/>
            </a:p>
          </p:txBody>
        </p:sp>
        <p:sp>
          <p:nvSpPr>
            <p:cNvPr id="823" name="ïş1íḍe">
              <a:extLst>
                <a:ext uri="{FF2B5EF4-FFF2-40B4-BE49-F238E27FC236}">
                  <a16:creationId xmlns:a16="http://schemas.microsoft.com/office/drawing/2014/main" id="{B5F245E8-E8BA-46C7-A37C-C6EBF002BE92}"/>
                </a:ext>
              </a:extLst>
            </p:cNvPr>
            <p:cNvSpPr/>
            <p:nvPr/>
          </p:nvSpPr>
          <p:spPr>
            <a:xfrm>
              <a:off x="5963819" y="2599522"/>
              <a:ext cx="431315" cy="268967"/>
            </a:xfrm>
            <a:custGeom>
              <a:avLst/>
              <a:gdLst>
                <a:gd name="connsiteX0" fmla="*/ 134115 w 141697"/>
                <a:gd name="connsiteY0" fmla="*/ 88009 h 88362"/>
                <a:gd name="connsiteX1" fmla="*/ 130400 w 141697"/>
                <a:gd name="connsiteY1" fmla="*/ 87057 h 88362"/>
                <a:gd name="connsiteX2" fmla="*/ 2670 w 141697"/>
                <a:gd name="connsiteY2" fmla="*/ 13238 h 88362"/>
                <a:gd name="connsiteX3" fmla="*/ 1127 w 141697"/>
                <a:gd name="connsiteY3" fmla="*/ 2846 h 88362"/>
                <a:gd name="connsiteX4" fmla="*/ 10100 w 141697"/>
                <a:gd name="connsiteY4" fmla="*/ 474 h 88362"/>
                <a:gd name="connsiteX5" fmla="*/ 137735 w 141697"/>
                <a:gd name="connsiteY5" fmla="*/ 74388 h 88362"/>
                <a:gd name="connsiteX6" fmla="*/ 140316 w 141697"/>
                <a:gd name="connsiteY6" fmla="*/ 84571 h 88362"/>
                <a:gd name="connsiteX7" fmla="*/ 134020 w 141697"/>
                <a:gd name="connsiteY7" fmla="*/ 88200 h 883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1697" h="88362">
                  <a:moveTo>
                    <a:pt x="134115" y="88009"/>
                  </a:moveTo>
                  <a:cubicBezTo>
                    <a:pt x="132820" y="88009"/>
                    <a:pt x="131544" y="87685"/>
                    <a:pt x="130400" y="87057"/>
                  </a:cubicBezTo>
                  <a:lnTo>
                    <a:pt x="2670" y="13238"/>
                  </a:lnTo>
                  <a:cubicBezTo>
                    <a:pt x="-625" y="10800"/>
                    <a:pt x="-1321" y="6142"/>
                    <a:pt x="1127" y="2846"/>
                  </a:cubicBezTo>
                  <a:cubicBezTo>
                    <a:pt x="3194" y="55"/>
                    <a:pt x="6918" y="-935"/>
                    <a:pt x="10100" y="474"/>
                  </a:cubicBezTo>
                  <a:lnTo>
                    <a:pt x="137735" y="74388"/>
                  </a:lnTo>
                  <a:cubicBezTo>
                    <a:pt x="141259" y="76493"/>
                    <a:pt x="142412" y="81046"/>
                    <a:pt x="140316" y="84571"/>
                  </a:cubicBezTo>
                  <a:cubicBezTo>
                    <a:pt x="138992" y="86799"/>
                    <a:pt x="136611" y="88171"/>
                    <a:pt x="134020" y="88200"/>
                  </a:cubicBezTo>
                  <a:close/>
                </a:path>
              </a:pathLst>
            </a:custGeom>
            <a:solidFill>
              <a:srgbClr val="D1D9E8"/>
            </a:solidFill>
            <a:ln w="9525" cap="flat">
              <a:noFill/>
              <a:prstDash val="solid"/>
              <a:miter/>
            </a:ln>
          </p:spPr>
          <p:txBody>
            <a:bodyPr rtlCol="0" anchor="ctr"/>
            <a:lstStyle/>
            <a:p>
              <a:endParaRPr lang="zh-CN" altLang="en-US"/>
            </a:p>
          </p:txBody>
        </p:sp>
        <p:sp>
          <p:nvSpPr>
            <p:cNvPr id="824" name="iṩḻíḓè">
              <a:extLst>
                <a:ext uri="{FF2B5EF4-FFF2-40B4-BE49-F238E27FC236}">
                  <a16:creationId xmlns:a16="http://schemas.microsoft.com/office/drawing/2014/main" id="{993562D3-3035-4D56-B631-75DD1C92C6F3}"/>
                </a:ext>
              </a:extLst>
            </p:cNvPr>
            <p:cNvSpPr/>
            <p:nvPr/>
          </p:nvSpPr>
          <p:spPr>
            <a:xfrm>
              <a:off x="5962318" y="2676789"/>
              <a:ext cx="433108" cy="269111"/>
            </a:xfrm>
            <a:custGeom>
              <a:avLst/>
              <a:gdLst>
                <a:gd name="connsiteX0" fmla="*/ 134608 w 142286"/>
                <a:gd name="connsiteY0" fmla="*/ 88247 h 88409"/>
                <a:gd name="connsiteX1" fmla="*/ 130893 w 142286"/>
                <a:gd name="connsiteY1" fmla="*/ 87295 h 88409"/>
                <a:gd name="connsiteX2" fmla="*/ 3163 w 142286"/>
                <a:gd name="connsiteY2" fmla="*/ 13571 h 88409"/>
                <a:gd name="connsiteX3" fmla="*/ 792 w 142286"/>
                <a:gd name="connsiteY3" fmla="*/ 3341 h 88409"/>
                <a:gd name="connsiteX4" fmla="*/ 10593 w 142286"/>
                <a:gd name="connsiteY4" fmla="*/ 713 h 88409"/>
                <a:gd name="connsiteX5" fmla="*/ 138323 w 142286"/>
                <a:gd name="connsiteY5" fmla="*/ 74436 h 88409"/>
                <a:gd name="connsiteX6" fmla="*/ 140905 w 142286"/>
                <a:gd name="connsiteY6" fmla="*/ 84618 h 88409"/>
                <a:gd name="connsiteX7" fmla="*/ 134608 w 142286"/>
                <a:gd name="connsiteY7" fmla="*/ 88247 h 88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2286" h="88409">
                  <a:moveTo>
                    <a:pt x="134608" y="88247"/>
                  </a:moveTo>
                  <a:cubicBezTo>
                    <a:pt x="133313" y="88247"/>
                    <a:pt x="132037" y="87923"/>
                    <a:pt x="130893" y="87295"/>
                  </a:cubicBezTo>
                  <a:lnTo>
                    <a:pt x="3163" y="13571"/>
                  </a:lnTo>
                  <a:cubicBezTo>
                    <a:pt x="-323" y="11400"/>
                    <a:pt x="-1380" y="6818"/>
                    <a:pt x="792" y="3341"/>
                  </a:cubicBezTo>
                  <a:cubicBezTo>
                    <a:pt x="2859" y="17"/>
                    <a:pt x="7145" y="-1126"/>
                    <a:pt x="10593" y="713"/>
                  </a:cubicBezTo>
                  <a:lnTo>
                    <a:pt x="138323" y="74436"/>
                  </a:lnTo>
                  <a:cubicBezTo>
                    <a:pt x="141847" y="76541"/>
                    <a:pt x="143000" y="81094"/>
                    <a:pt x="140905" y="84618"/>
                  </a:cubicBezTo>
                  <a:cubicBezTo>
                    <a:pt x="139580" y="86847"/>
                    <a:pt x="137199" y="88219"/>
                    <a:pt x="134608" y="88247"/>
                  </a:cubicBezTo>
                  <a:close/>
                </a:path>
              </a:pathLst>
            </a:custGeom>
            <a:solidFill>
              <a:srgbClr val="D1D9E8"/>
            </a:solidFill>
            <a:ln w="9525" cap="flat">
              <a:noFill/>
              <a:prstDash val="solid"/>
              <a:miter/>
            </a:ln>
          </p:spPr>
          <p:txBody>
            <a:bodyPr rtlCol="0" anchor="ctr"/>
            <a:lstStyle/>
            <a:p>
              <a:endParaRPr lang="zh-CN" altLang="en-US"/>
            </a:p>
          </p:txBody>
        </p:sp>
        <p:sp>
          <p:nvSpPr>
            <p:cNvPr id="825" name="iŝḻiḑe">
              <a:extLst>
                <a:ext uri="{FF2B5EF4-FFF2-40B4-BE49-F238E27FC236}">
                  <a16:creationId xmlns:a16="http://schemas.microsoft.com/office/drawing/2014/main" id="{64F59885-A00C-472A-B6A7-DB5AAC53509D}"/>
                </a:ext>
              </a:extLst>
            </p:cNvPr>
            <p:cNvSpPr/>
            <p:nvPr/>
          </p:nvSpPr>
          <p:spPr>
            <a:xfrm>
              <a:off x="5716743" y="3357576"/>
              <a:ext cx="433985" cy="269668"/>
            </a:xfrm>
            <a:custGeom>
              <a:avLst/>
              <a:gdLst>
                <a:gd name="connsiteX0" fmla="*/ 134798 w 142574"/>
                <a:gd name="connsiteY0" fmla="*/ 88430 h 88592"/>
                <a:gd name="connsiteX1" fmla="*/ 131084 w 142574"/>
                <a:gd name="connsiteY1" fmla="*/ 87383 h 88592"/>
                <a:gd name="connsiteX2" fmla="*/ 3353 w 142574"/>
                <a:gd name="connsiteY2" fmla="*/ 13659 h 88592"/>
                <a:gd name="connsiteX3" fmla="*/ 639 w 142574"/>
                <a:gd name="connsiteY3" fmla="*/ 3648 h 88592"/>
                <a:gd name="connsiteX4" fmla="*/ 686 w 142574"/>
                <a:gd name="connsiteY4" fmla="*/ 3563 h 88592"/>
                <a:gd name="connsiteX5" fmla="*/ 10783 w 142574"/>
                <a:gd name="connsiteY5" fmla="*/ 800 h 88592"/>
                <a:gd name="connsiteX6" fmla="*/ 138513 w 142574"/>
                <a:gd name="connsiteY6" fmla="*/ 74619 h 88592"/>
                <a:gd name="connsiteX7" fmla="*/ 141275 w 142574"/>
                <a:gd name="connsiteY7" fmla="*/ 84716 h 88592"/>
                <a:gd name="connsiteX8" fmla="*/ 134798 w 142574"/>
                <a:gd name="connsiteY8" fmla="*/ 88430 h 885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574" h="88592">
                  <a:moveTo>
                    <a:pt x="134798" y="88430"/>
                  </a:moveTo>
                  <a:cubicBezTo>
                    <a:pt x="133493" y="88402"/>
                    <a:pt x="132217" y="88040"/>
                    <a:pt x="131084" y="87383"/>
                  </a:cubicBezTo>
                  <a:lnTo>
                    <a:pt x="3353" y="13659"/>
                  </a:lnTo>
                  <a:cubicBezTo>
                    <a:pt x="-161" y="11649"/>
                    <a:pt x="-1381" y="7163"/>
                    <a:pt x="639" y="3648"/>
                  </a:cubicBezTo>
                  <a:cubicBezTo>
                    <a:pt x="648" y="3620"/>
                    <a:pt x="667" y="3591"/>
                    <a:pt x="686" y="3563"/>
                  </a:cubicBezTo>
                  <a:cubicBezTo>
                    <a:pt x="2725" y="29"/>
                    <a:pt x="7230" y="-1209"/>
                    <a:pt x="10783" y="800"/>
                  </a:cubicBezTo>
                  <a:lnTo>
                    <a:pt x="138513" y="74619"/>
                  </a:lnTo>
                  <a:cubicBezTo>
                    <a:pt x="142047" y="76658"/>
                    <a:pt x="143285" y="81163"/>
                    <a:pt x="141275" y="84716"/>
                  </a:cubicBezTo>
                  <a:cubicBezTo>
                    <a:pt x="139923" y="87011"/>
                    <a:pt x="137465" y="88430"/>
                    <a:pt x="134798" y="88430"/>
                  </a:cubicBezTo>
                  <a:close/>
                </a:path>
              </a:pathLst>
            </a:custGeom>
            <a:solidFill>
              <a:srgbClr val="D1D9E8"/>
            </a:solidFill>
            <a:ln w="9525" cap="flat">
              <a:noFill/>
              <a:prstDash val="solid"/>
              <a:miter/>
            </a:ln>
          </p:spPr>
          <p:txBody>
            <a:bodyPr rtlCol="0" anchor="ctr"/>
            <a:lstStyle/>
            <a:p>
              <a:endParaRPr lang="zh-CN" altLang="en-US"/>
            </a:p>
          </p:txBody>
        </p:sp>
        <p:sp>
          <p:nvSpPr>
            <p:cNvPr id="826" name="íṧ1îḓê">
              <a:extLst>
                <a:ext uri="{FF2B5EF4-FFF2-40B4-BE49-F238E27FC236}">
                  <a16:creationId xmlns:a16="http://schemas.microsoft.com/office/drawing/2014/main" id="{1EC2C900-F6A5-4629-9C62-2C181DC65BF5}"/>
                </a:ext>
              </a:extLst>
            </p:cNvPr>
            <p:cNvSpPr/>
            <p:nvPr/>
          </p:nvSpPr>
          <p:spPr>
            <a:xfrm>
              <a:off x="5721017" y="2673928"/>
              <a:ext cx="674397" cy="922602"/>
            </a:xfrm>
            <a:custGeom>
              <a:avLst/>
              <a:gdLst>
                <a:gd name="connsiteX0" fmla="*/ 192640 w 221555"/>
                <a:gd name="connsiteY0" fmla="*/ 299023 h 303096"/>
                <a:gd name="connsiteX1" fmla="*/ 28239 w 221555"/>
                <a:gd name="connsiteY1" fmla="*/ 203773 h 303096"/>
                <a:gd name="connsiteX2" fmla="*/ -336 w 221555"/>
                <a:gd name="connsiteY2" fmla="*/ 153767 h 303096"/>
                <a:gd name="connsiteX3" fmla="*/ -336 w 221555"/>
                <a:gd name="connsiteY3" fmla="*/ 20417 h 303096"/>
                <a:gd name="connsiteX4" fmla="*/ 28239 w 221555"/>
                <a:gd name="connsiteY4" fmla="*/ 3748 h 303096"/>
                <a:gd name="connsiteX5" fmla="*/ 192640 w 221555"/>
                <a:gd name="connsiteY5" fmla="*/ 98998 h 303096"/>
                <a:gd name="connsiteX6" fmla="*/ 221215 w 221555"/>
                <a:gd name="connsiteY6" fmla="*/ 149004 h 303096"/>
                <a:gd name="connsiteX7" fmla="*/ 221215 w 221555"/>
                <a:gd name="connsiteY7" fmla="*/ 282354 h 303096"/>
                <a:gd name="connsiteX8" fmla="*/ 192640 w 221555"/>
                <a:gd name="connsiteY8" fmla="*/ 299023 h 303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1555" h="303096">
                  <a:moveTo>
                    <a:pt x="192640" y="299023"/>
                  </a:moveTo>
                  <a:lnTo>
                    <a:pt x="28239" y="203773"/>
                  </a:lnTo>
                  <a:cubicBezTo>
                    <a:pt x="11293" y="192610"/>
                    <a:pt x="683" y="174036"/>
                    <a:pt x="-336" y="153767"/>
                  </a:cubicBezTo>
                  <a:lnTo>
                    <a:pt x="-336" y="20417"/>
                  </a:lnTo>
                  <a:cubicBezTo>
                    <a:pt x="-336" y="2034"/>
                    <a:pt x="12618" y="-5396"/>
                    <a:pt x="28239" y="3748"/>
                  </a:cubicBezTo>
                  <a:lnTo>
                    <a:pt x="192640" y="98998"/>
                  </a:lnTo>
                  <a:cubicBezTo>
                    <a:pt x="209547" y="110200"/>
                    <a:pt x="220148" y="128754"/>
                    <a:pt x="221215" y="149004"/>
                  </a:cubicBezTo>
                  <a:lnTo>
                    <a:pt x="221215" y="282354"/>
                  </a:lnTo>
                  <a:cubicBezTo>
                    <a:pt x="221501" y="300738"/>
                    <a:pt x="208547" y="308167"/>
                    <a:pt x="192640" y="299023"/>
                  </a:cubicBezTo>
                  <a:close/>
                </a:path>
              </a:pathLst>
            </a:custGeom>
            <a:solidFill>
              <a:srgbClr val="D1D9E8"/>
            </a:solidFill>
            <a:ln w="9525" cap="flat">
              <a:noFill/>
              <a:prstDash val="solid"/>
              <a:miter/>
            </a:ln>
          </p:spPr>
          <p:txBody>
            <a:bodyPr rtlCol="0" anchor="ctr"/>
            <a:lstStyle/>
            <a:p>
              <a:endParaRPr lang="zh-CN" altLang="en-US"/>
            </a:p>
          </p:txBody>
        </p:sp>
        <p:sp>
          <p:nvSpPr>
            <p:cNvPr id="827" name="iṡļiḑè">
              <a:extLst>
                <a:ext uri="{FF2B5EF4-FFF2-40B4-BE49-F238E27FC236}">
                  <a16:creationId xmlns:a16="http://schemas.microsoft.com/office/drawing/2014/main" id="{1B134461-EF03-4910-8FE7-C60869608561}"/>
                </a:ext>
              </a:extLst>
            </p:cNvPr>
            <p:cNvSpPr/>
            <p:nvPr/>
          </p:nvSpPr>
          <p:spPr>
            <a:xfrm>
              <a:off x="5684667" y="2813404"/>
              <a:ext cx="92307" cy="154534"/>
            </a:xfrm>
            <a:custGeom>
              <a:avLst/>
              <a:gdLst>
                <a:gd name="connsiteX0" fmla="*/ 12272 w 30325"/>
                <a:gd name="connsiteY0" fmla="*/ 50606 h 50768"/>
                <a:gd name="connsiteX1" fmla="*/ 29989 w 30325"/>
                <a:gd name="connsiteY1" fmla="*/ 40414 h 50768"/>
                <a:gd name="connsiteX2" fmla="*/ 17416 w 30325"/>
                <a:gd name="connsiteY2" fmla="*/ 3171 h 50768"/>
                <a:gd name="connsiteX3" fmla="*/ 17416 w 30325"/>
                <a:gd name="connsiteY3" fmla="*/ -163 h 50768"/>
                <a:gd name="connsiteX4" fmla="*/ -301 w 30325"/>
                <a:gd name="connsiteY4" fmla="*/ 10029 h 50768"/>
                <a:gd name="connsiteX5" fmla="*/ -301 w 30325"/>
                <a:gd name="connsiteY5" fmla="*/ 12220 h 50768"/>
                <a:gd name="connsiteX6" fmla="*/ -301 w 30325"/>
                <a:gd name="connsiteY6" fmla="*/ 12220 h 50768"/>
                <a:gd name="connsiteX7" fmla="*/ -301 w 30325"/>
                <a:gd name="connsiteY7" fmla="*/ 13363 h 50768"/>
                <a:gd name="connsiteX8" fmla="*/ 12272 w 30325"/>
                <a:gd name="connsiteY8" fmla="*/ 50606 h 50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325" h="50768">
                  <a:moveTo>
                    <a:pt x="12272" y="50606"/>
                  </a:moveTo>
                  <a:lnTo>
                    <a:pt x="29989" y="40414"/>
                  </a:lnTo>
                  <a:cubicBezTo>
                    <a:pt x="22321" y="29460"/>
                    <a:pt x="17949" y="16535"/>
                    <a:pt x="17416" y="3171"/>
                  </a:cubicBezTo>
                  <a:cubicBezTo>
                    <a:pt x="17416" y="2028"/>
                    <a:pt x="17416" y="885"/>
                    <a:pt x="17416" y="-163"/>
                  </a:cubicBezTo>
                  <a:lnTo>
                    <a:pt x="-301" y="10029"/>
                  </a:lnTo>
                  <a:cubicBezTo>
                    <a:pt x="-301" y="10696"/>
                    <a:pt x="-301" y="11458"/>
                    <a:pt x="-301" y="12220"/>
                  </a:cubicBezTo>
                  <a:lnTo>
                    <a:pt x="-301" y="12220"/>
                  </a:lnTo>
                  <a:cubicBezTo>
                    <a:pt x="-348" y="12601"/>
                    <a:pt x="-348" y="12982"/>
                    <a:pt x="-301" y="13363"/>
                  </a:cubicBezTo>
                  <a:cubicBezTo>
                    <a:pt x="233" y="26726"/>
                    <a:pt x="4605" y="39652"/>
                    <a:pt x="12272" y="50606"/>
                  </a:cubicBezTo>
                  <a:close/>
                </a:path>
              </a:pathLst>
            </a:custGeom>
            <a:solidFill>
              <a:srgbClr val="214EA6"/>
            </a:solidFill>
            <a:ln w="9525" cap="flat">
              <a:noFill/>
              <a:prstDash val="solid"/>
              <a:miter/>
            </a:ln>
          </p:spPr>
          <p:txBody>
            <a:bodyPr rtlCol="0" anchor="ctr"/>
            <a:lstStyle/>
            <a:p>
              <a:endParaRPr lang="zh-CN" altLang="en-US"/>
            </a:p>
          </p:txBody>
        </p:sp>
        <p:sp>
          <p:nvSpPr>
            <p:cNvPr id="828" name="ïṧľîdé">
              <a:extLst>
                <a:ext uri="{FF2B5EF4-FFF2-40B4-BE49-F238E27FC236}">
                  <a16:creationId xmlns:a16="http://schemas.microsoft.com/office/drawing/2014/main" id="{4A73E1D4-A6C8-4D75-AA25-A4CDB96CB4DC}"/>
                </a:ext>
              </a:extLst>
            </p:cNvPr>
            <p:cNvSpPr/>
            <p:nvPr/>
          </p:nvSpPr>
          <p:spPr>
            <a:xfrm>
              <a:off x="5623021" y="2802385"/>
              <a:ext cx="100026" cy="199475"/>
            </a:xfrm>
            <a:custGeom>
              <a:avLst/>
              <a:gdLst>
                <a:gd name="connsiteX0" fmla="*/ 19761 w 32861"/>
                <a:gd name="connsiteY0" fmla="*/ 65369 h 65532"/>
                <a:gd name="connsiteX1" fmla="*/ 32525 w 32861"/>
                <a:gd name="connsiteY1" fmla="*/ 54225 h 65532"/>
                <a:gd name="connsiteX2" fmla="*/ 19952 w 32861"/>
                <a:gd name="connsiteY2" fmla="*/ 16982 h 65532"/>
                <a:gd name="connsiteX3" fmla="*/ 19952 w 32861"/>
                <a:gd name="connsiteY3" fmla="*/ 15839 h 65532"/>
                <a:gd name="connsiteX4" fmla="*/ 19952 w 32861"/>
                <a:gd name="connsiteY4" fmla="*/ 15839 h 65532"/>
                <a:gd name="connsiteX5" fmla="*/ 19952 w 32861"/>
                <a:gd name="connsiteY5" fmla="*/ 13649 h 65532"/>
                <a:gd name="connsiteX6" fmla="*/ 19190 w 32861"/>
                <a:gd name="connsiteY6" fmla="*/ 13077 h 65532"/>
                <a:gd name="connsiteX7" fmla="*/ -336 w 32861"/>
                <a:gd name="connsiteY7" fmla="*/ -163 h 65532"/>
                <a:gd name="connsiteX8" fmla="*/ -336 w 32861"/>
                <a:gd name="connsiteY8" fmla="*/ 5171 h 65532"/>
                <a:gd name="connsiteX9" fmla="*/ 19761 w 32861"/>
                <a:gd name="connsiteY9" fmla="*/ 65369 h 65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2861" h="65532">
                  <a:moveTo>
                    <a:pt x="19761" y="65369"/>
                  </a:moveTo>
                  <a:lnTo>
                    <a:pt x="32525" y="54225"/>
                  </a:lnTo>
                  <a:cubicBezTo>
                    <a:pt x="24857" y="43271"/>
                    <a:pt x="20485" y="30346"/>
                    <a:pt x="19952" y="16982"/>
                  </a:cubicBezTo>
                  <a:cubicBezTo>
                    <a:pt x="19904" y="16601"/>
                    <a:pt x="19904" y="16220"/>
                    <a:pt x="19952" y="15839"/>
                  </a:cubicBezTo>
                  <a:lnTo>
                    <a:pt x="19952" y="15839"/>
                  </a:lnTo>
                  <a:cubicBezTo>
                    <a:pt x="19952" y="15077"/>
                    <a:pt x="19952" y="14315"/>
                    <a:pt x="19952" y="13649"/>
                  </a:cubicBezTo>
                  <a:lnTo>
                    <a:pt x="19190" y="13077"/>
                  </a:lnTo>
                  <a:lnTo>
                    <a:pt x="-336" y="-163"/>
                  </a:lnTo>
                  <a:cubicBezTo>
                    <a:pt x="-336" y="1552"/>
                    <a:pt x="-336" y="3266"/>
                    <a:pt x="-336" y="5171"/>
                  </a:cubicBezTo>
                  <a:cubicBezTo>
                    <a:pt x="549" y="26736"/>
                    <a:pt x="7512" y="47605"/>
                    <a:pt x="19761" y="65369"/>
                  </a:cubicBezTo>
                  <a:close/>
                </a:path>
              </a:pathLst>
            </a:custGeom>
            <a:solidFill>
              <a:srgbClr val="316DE6"/>
            </a:solidFill>
            <a:ln w="9525" cap="flat">
              <a:noFill/>
              <a:prstDash val="solid"/>
              <a:miter/>
            </a:ln>
          </p:spPr>
          <p:txBody>
            <a:bodyPr rtlCol="0" anchor="ctr"/>
            <a:lstStyle/>
            <a:p>
              <a:endParaRPr lang="zh-CN" altLang="en-US"/>
            </a:p>
          </p:txBody>
        </p:sp>
        <p:sp>
          <p:nvSpPr>
            <p:cNvPr id="829" name="îŝlîḍé">
              <a:extLst>
                <a:ext uri="{FF2B5EF4-FFF2-40B4-BE49-F238E27FC236}">
                  <a16:creationId xmlns:a16="http://schemas.microsoft.com/office/drawing/2014/main" id="{E9406A8C-7ADA-4D4F-8048-8A09D241813C}"/>
                </a:ext>
              </a:extLst>
            </p:cNvPr>
            <p:cNvSpPr/>
            <p:nvPr/>
          </p:nvSpPr>
          <p:spPr>
            <a:xfrm>
              <a:off x="5623599" y="2757444"/>
              <a:ext cx="115392" cy="86688"/>
            </a:xfrm>
            <a:custGeom>
              <a:avLst/>
              <a:gdLst>
                <a:gd name="connsiteX0" fmla="*/ 0 w 37909"/>
                <a:gd name="connsiteY0" fmla="*/ 14668 h 28479"/>
                <a:gd name="connsiteX1" fmla="*/ 25527 w 37909"/>
                <a:gd name="connsiteY1" fmla="*/ 0 h 28479"/>
                <a:gd name="connsiteX2" fmla="*/ 37909 w 37909"/>
                <a:gd name="connsiteY2" fmla="*/ 18288 h 28479"/>
                <a:gd name="connsiteX3" fmla="*/ 20288 w 37909"/>
                <a:gd name="connsiteY3" fmla="*/ 28480 h 28479"/>
                <a:gd name="connsiteX4" fmla="*/ 0 w 37909"/>
                <a:gd name="connsiteY4" fmla="*/ 14668 h 284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09" h="28479">
                  <a:moveTo>
                    <a:pt x="0" y="14668"/>
                  </a:moveTo>
                  <a:lnTo>
                    <a:pt x="25527" y="0"/>
                  </a:lnTo>
                  <a:lnTo>
                    <a:pt x="37909" y="18288"/>
                  </a:lnTo>
                  <a:lnTo>
                    <a:pt x="20288" y="28480"/>
                  </a:lnTo>
                  <a:lnTo>
                    <a:pt x="0" y="14668"/>
                  </a:lnTo>
                  <a:close/>
                </a:path>
              </a:pathLst>
            </a:custGeom>
            <a:solidFill>
              <a:srgbClr val="323A82"/>
            </a:solidFill>
            <a:ln w="9525" cap="flat">
              <a:noFill/>
              <a:prstDash val="solid"/>
              <a:miter/>
            </a:ln>
          </p:spPr>
          <p:txBody>
            <a:bodyPr rtlCol="0" anchor="ctr"/>
            <a:lstStyle/>
            <a:p>
              <a:endParaRPr lang="zh-CN" altLang="en-US"/>
            </a:p>
          </p:txBody>
        </p:sp>
        <p:sp>
          <p:nvSpPr>
            <p:cNvPr id="830" name="ïšļíḑè">
              <a:extLst>
                <a:ext uri="{FF2B5EF4-FFF2-40B4-BE49-F238E27FC236}">
                  <a16:creationId xmlns:a16="http://schemas.microsoft.com/office/drawing/2014/main" id="{EA1258CE-D948-45DA-9436-79899DB17B28}"/>
                </a:ext>
              </a:extLst>
            </p:cNvPr>
            <p:cNvSpPr/>
            <p:nvPr/>
          </p:nvSpPr>
          <p:spPr>
            <a:xfrm>
              <a:off x="5684195" y="2936914"/>
              <a:ext cx="92487" cy="64653"/>
            </a:xfrm>
            <a:custGeom>
              <a:avLst/>
              <a:gdLst>
                <a:gd name="connsiteX0" fmla="*/ 0 w 30384"/>
                <a:gd name="connsiteY0" fmla="*/ 21241 h 21240"/>
                <a:gd name="connsiteX1" fmla="*/ 23622 w 30384"/>
                <a:gd name="connsiteY1" fmla="*/ 7715 h 21240"/>
                <a:gd name="connsiteX2" fmla="*/ 30385 w 30384"/>
                <a:gd name="connsiteY2" fmla="*/ 0 h 21240"/>
                <a:gd name="connsiteX3" fmla="*/ 12668 w 30384"/>
                <a:gd name="connsiteY3" fmla="*/ 10192 h 21240"/>
                <a:gd name="connsiteX4" fmla="*/ 0 w 30384"/>
                <a:gd name="connsiteY4" fmla="*/ 21241 h 212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384" h="21240">
                  <a:moveTo>
                    <a:pt x="0" y="21241"/>
                  </a:moveTo>
                  <a:lnTo>
                    <a:pt x="23622" y="7715"/>
                  </a:lnTo>
                  <a:lnTo>
                    <a:pt x="30385" y="0"/>
                  </a:lnTo>
                  <a:lnTo>
                    <a:pt x="12668" y="10192"/>
                  </a:lnTo>
                  <a:lnTo>
                    <a:pt x="0" y="21241"/>
                  </a:lnTo>
                  <a:close/>
                </a:path>
              </a:pathLst>
            </a:custGeom>
            <a:solidFill>
              <a:srgbClr val="171A42"/>
            </a:solidFill>
            <a:ln w="9525" cap="flat">
              <a:noFill/>
              <a:prstDash val="solid"/>
              <a:miter/>
            </a:ln>
          </p:spPr>
          <p:txBody>
            <a:bodyPr rtlCol="0" anchor="ctr"/>
            <a:lstStyle/>
            <a:p>
              <a:endParaRPr lang="zh-CN" altLang="en-US"/>
            </a:p>
          </p:txBody>
        </p:sp>
        <p:sp>
          <p:nvSpPr>
            <p:cNvPr id="831" name="isḻíḓé">
              <a:extLst>
                <a:ext uri="{FF2B5EF4-FFF2-40B4-BE49-F238E27FC236}">
                  <a16:creationId xmlns:a16="http://schemas.microsoft.com/office/drawing/2014/main" id="{5A73807E-06F1-4E91-B6DF-3591A48E13D7}"/>
                </a:ext>
              </a:extLst>
            </p:cNvPr>
            <p:cNvSpPr/>
            <p:nvPr/>
          </p:nvSpPr>
          <p:spPr>
            <a:xfrm>
              <a:off x="5735223" y="2763243"/>
              <a:ext cx="31021" cy="17685"/>
            </a:xfrm>
            <a:custGeom>
              <a:avLst/>
              <a:gdLst>
                <a:gd name="connsiteX0" fmla="*/ -336 w 10191"/>
                <a:gd name="connsiteY0" fmla="*/ 5647 h 5810"/>
                <a:gd name="connsiteX1" fmla="*/ 9855 w 10191"/>
                <a:gd name="connsiteY1" fmla="*/ -163 h 5810"/>
                <a:gd name="connsiteX2" fmla="*/ 2331 w 10191"/>
                <a:gd name="connsiteY2" fmla="*/ 2980 h 5810"/>
                <a:gd name="connsiteX3" fmla="*/ -336 w 10191"/>
                <a:gd name="connsiteY3" fmla="*/ 5647 h 5810"/>
              </a:gdLst>
              <a:ahLst/>
              <a:cxnLst>
                <a:cxn ang="0">
                  <a:pos x="connsiteX0" y="connsiteY0"/>
                </a:cxn>
                <a:cxn ang="0">
                  <a:pos x="connsiteX1" y="connsiteY1"/>
                </a:cxn>
                <a:cxn ang="0">
                  <a:pos x="connsiteX2" y="connsiteY2"/>
                </a:cxn>
                <a:cxn ang="0">
                  <a:pos x="connsiteX3" y="connsiteY3"/>
                </a:cxn>
              </a:cxnLst>
              <a:rect l="l" t="t" r="r" b="b"/>
              <a:pathLst>
                <a:path w="10191" h="5810">
                  <a:moveTo>
                    <a:pt x="-336" y="5647"/>
                  </a:moveTo>
                  <a:lnTo>
                    <a:pt x="9855" y="-163"/>
                  </a:lnTo>
                  <a:cubicBezTo>
                    <a:pt x="7122" y="218"/>
                    <a:pt x="4531" y="1304"/>
                    <a:pt x="2331" y="2980"/>
                  </a:cubicBezTo>
                  <a:cubicBezTo>
                    <a:pt x="1350" y="3771"/>
                    <a:pt x="454" y="4666"/>
                    <a:pt x="-336" y="5647"/>
                  </a:cubicBezTo>
                  <a:close/>
                </a:path>
              </a:pathLst>
            </a:custGeom>
            <a:solidFill>
              <a:srgbClr val="D9530B"/>
            </a:solidFill>
            <a:ln w="9525" cap="flat">
              <a:noFill/>
              <a:prstDash val="solid"/>
              <a:miter/>
            </a:ln>
          </p:spPr>
          <p:txBody>
            <a:bodyPr rtlCol="0" anchor="ctr"/>
            <a:lstStyle/>
            <a:p>
              <a:endParaRPr lang="zh-CN" altLang="en-US"/>
            </a:p>
          </p:txBody>
        </p:sp>
        <p:sp>
          <p:nvSpPr>
            <p:cNvPr id="832" name="ïśliḋê">
              <a:extLst>
                <a:ext uri="{FF2B5EF4-FFF2-40B4-BE49-F238E27FC236}">
                  <a16:creationId xmlns:a16="http://schemas.microsoft.com/office/drawing/2014/main" id="{F29405DE-2A04-4565-837A-930752D6186D}"/>
                </a:ext>
              </a:extLst>
            </p:cNvPr>
            <p:cNvSpPr/>
            <p:nvPr/>
          </p:nvSpPr>
          <p:spPr>
            <a:xfrm>
              <a:off x="5706230" y="2651093"/>
              <a:ext cx="281816" cy="172168"/>
            </a:xfrm>
            <a:custGeom>
              <a:avLst/>
              <a:gdLst>
                <a:gd name="connsiteX0" fmla="*/ 74530 w 92583"/>
                <a:gd name="connsiteY0" fmla="*/ 56399 h 56561"/>
                <a:gd name="connsiteX1" fmla="*/ 92247 w 92583"/>
                <a:gd name="connsiteY1" fmla="*/ 46207 h 56561"/>
                <a:gd name="connsiteX2" fmla="*/ 55099 w 92583"/>
                <a:gd name="connsiteY2" fmla="*/ 7250 h 56561"/>
                <a:gd name="connsiteX3" fmla="*/ 16999 w 92583"/>
                <a:gd name="connsiteY3" fmla="*/ 3440 h 56561"/>
                <a:gd name="connsiteX4" fmla="*/ -336 w 92583"/>
                <a:gd name="connsiteY4" fmla="*/ 13631 h 56561"/>
                <a:gd name="connsiteX5" fmla="*/ 9189 w 92583"/>
                <a:gd name="connsiteY5" fmla="*/ 10393 h 56561"/>
                <a:gd name="connsiteX6" fmla="*/ 10141 w 92583"/>
                <a:gd name="connsiteY6" fmla="*/ 10393 h 56561"/>
                <a:gd name="connsiteX7" fmla="*/ 37192 w 92583"/>
                <a:gd name="connsiteY7" fmla="*/ 17632 h 56561"/>
                <a:gd name="connsiteX8" fmla="*/ 53956 w 92583"/>
                <a:gd name="connsiteY8" fmla="*/ 30491 h 56561"/>
                <a:gd name="connsiteX9" fmla="*/ 53956 w 92583"/>
                <a:gd name="connsiteY9" fmla="*/ 30491 h 56561"/>
                <a:gd name="connsiteX10" fmla="*/ 74530 w 92583"/>
                <a:gd name="connsiteY10" fmla="*/ 56399 h 565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2583" h="56561">
                  <a:moveTo>
                    <a:pt x="74530" y="56399"/>
                  </a:moveTo>
                  <a:lnTo>
                    <a:pt x="92247" y="46207"/>
                  </a:lnTo>
                  <a:cubicBezTo>
                    <a:pt x="83303" y="30329"/>
                    <a:pt x="70539" y="16936"/>
                    <a:pt x="55099" y="7250"/>
                  </a:cubicBezTo>
                  <a:cubicBezTo>
                    <a:pt x="40240" y="-1323"/>
                    <a:pt x="26524" y="-2275"/>
                    <a:pt x="16999" y="3440"/>
                  </a:cubicBezTo>
                  <a:lnTo>
                    <a:pt x="-336" y="13631"/>
                  </a:lnTo>
                  <a:cubicBezTo>
                    <a:pt x="2588" y="11917"/>
                    <a:pt x="5826" y="10812"/>
                    <a:pt x="9189" y="10393"/>
                  </a:cubicBezTo>
                  <a:lnTo>
                    <a:pt x="10141" y="10393"/>
                  </a:lnTo>
                  <a:cubicBezTo>
                    <a:pt x="19695" y="9945"/>
                    <a:pt x="29144" y="12479"/>
                    <a:pt x="37192" y="17632"/>
                  </a:cubicBezTo>
                  <a:cubicBezTo>
                    <a:pt x="43260" y="21251"/>
                    <a:pt x="48879" y="25576"/>
                    <a:pt x="53956" y="30491"/>
                  </a:cubicBezTo>
                  <a:lnTo>
                    <a:pt x="53956" y="30491"/>
                  </a:lnTo>
                  <a:cubicBezTo>
                    <a:pt x="61948" y="38158"/>
                    <a:pt x="68872" y="46874"/>
                    <a:pt x="74530" y="56399"/>
                  </a:cubicBezTo>
                  <a:close/>
                </a:path>
              </a:pathLst>
            </a:custGeom>
            <a:solidFill>
              <a:srgbClr val="D9530B"/>
            </a:solidFill>
            <a:ln w="9525" cap="flat">
              <a:noFill/>
              <a:prstDash val="solid"/>
              <a:miter/>
            </a:ln>
          </p:spPr>
          <p:txBody>
            <a:bodyPr rtlCol="0" anchor="ctr"/>
            <a:lstStyle/>
            <a:p>
              <a:endParaRPr lang="zh-CN" altLang="en-US"/>
            </a:p>
          </p:txBody>
        </p:sp>
        <p:sp>
          <p:nvSpPr>
            <p:cNvPr id="833" name="îsḻîḑê">
              <a:extLst>
                <a:ext uri="{FF2B5EF4-FFF2-40B4-BE49-F238E27FC236}">
                  <a16:creationId xmlns:a16="http://schemas.microsoft.com/office/drawing/2014/main" id="{55CB0A6F-EB1D-46AE-8BE3-46E54E88FAA6}"/>
                </a:ext>
              </a:extLst>
            </p:cNvPr>
            <p:cNvSpPr/>
            <p:nvPr/>
          </p:nvSpPr>
          <p:spPr>
            <a:xfrm>
              <a:off x="5685936" y="2682488"/>
              <a:ext cx="248181" cy="167154"/>
            </a:xfrm>
            <a:custGeom>
              <a:avLst/>
              <a:gdLst>
                <a:gd name="connsiteX0" fmla="*/ 67005 w 81533"/>
                <a:gd name="connsiteY0" fmla="*/ 54752 h 54914"/>
                <a:gd name="connsiteX1" fmla="*/ 81198 w 81533"/>
                <a:gd name="connsiteY1" fmla="*/ 46084 h 54914"/>
                <a:gd name="connsiteX2" fmla="*/ 60814 w 81533"/>
                <a:gd name="connsiteY2" fmla="*/ 19986 h 54914"/>
                <a:gd name="connsiteX3" fmla="*/ 60814 w 81533"/>
                <a:gd name="connsiteY3" fmla="*/ 19986 h 54914"/>
                <a:gd name="connsiteX4" fmla="*/ 44431 w 81533"/>
                <a:gd name="connsiteY4" fmla="*/ 7127 h 54914"/>
                <a:gd name="connsiteX5" fmla="*/ 17380 w 81533"/>
                <a:gd name="connsiteY5" fmla="*/ -112 h 54914"/>
                <a:gd name="connsiteX6" fmla="*/ 16428 w 81533"/>
                <a:gd name="connsiteY6" fmla="*/ -112 h 54914"/>
                <a:gd name="connsiteX7" fmla="*/ 6903 w 81533"/>
                <a:gd name="connsiteY7" fmla="*/ 3127 h 54914"/>
                <a:gd name="connsiteX8" fmla="*/ -336 w 81533"/>
                <a:gd name="connsiteY8" fmla="*/ 9318 h 54914"/>
                <a:gd name="connsiteX9" fmla="*/ 9189 w 81533"/>
                <a:gd name="connsiteY9" fmla="*/ 21891 h 54914"/>
                <a:gd name="connsiteX10" fmla="*/ 9855 w 81533"/>
                <a:gd name="connsiteY10" fmla="*/ 22748 h 54914"/>
                <a:gd name="connsiteX11" fmla="*/ 9855 w 81533"/>
                <a:gd name="connsiteY11" fmla="*/ 22748 h 54914"/>
                <a:gd name="connsiteX12" fmla="*/ 16809 w 81533"/>
                <a:gd name="connsiteY12" fmla="*/ 32273 h 54914"/>
                <a:gd name="connsiteX13" fmla="*/ 19476 w 81533"/>
                <a:gd name="connsiteY13" fmla="*/ 29606 h 54914"/>
                <a:gd name="connsiteX14" fmla="*/ 27001 w 81533"/>
                <a:gd name="connsiteY14" fmla="*/ 26463 h 54914"/>
                <a:gd name="connsiteX15" fmla="*/ 31954 w 81533"/>
                <a:gd name="connsiteY15" fmla="*/ 26463 h 54914"/>
                <a:gd name="connsiteX16" fmla="*/ 44812 w 81533"/>
                <a:gd name="connsiteY16" fmla="*/ 30940 h 54914"/>
                <a:gd name="connsiteX17" fmla="*/ 67005 w 81533"/>
                <a:gd name="connsiteY17" fmla="*/ 54752 h 54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1533" h="54914">
                  <a:moveTo>
                    <a:pt x="67005" y="54752"/>
                  </a:moveTo>
                  <a:lnTo>
                    <a:pt x="81198" y="46084"/>
                  </a:lnTo>
                  <a:cubicBezTo>
                    <a:pt x="75607" y="36502"/>
                    <a:pt x="68749" y="27730"/>
                    <a:pt x="60814" y="19986"/>
                  </a:cubicBezTo>
                  <a:lnTo>
                    <a:pt x="60814" y="19986"/>
                  </a:lnTo>
                  <a:cubicBezTo>
                    <a:pt x="55861" y="15090"/>
                    <a:pt x="50365" y="10775"/>
                    <a:pt x="44431" y="7127"/>
                  </a:cubicBezTo>
                  <a:cubicBezTo>
                    <a:pt x="36383" y="1974"/>
                    <a:pt x="26934" y="-560"/>
                    <a:pt x="17380" y="-112"/>
                  </a:cubicBezTo>
                  <a:lnTo>
                    <a:pt x="16428" y="-112"/>
                  </a:lnTo>
                  <a:cubicBezTo>
                    <a:pt x="13065" y="307"/>
                    <a:pt x="9827" y="1412"/>
                    <a:pt x="6903" y="3127"/>
                  </a:cubicBezTo>
                  <a:cubicBezTo>
                    <a:pt x="4131" y="4736"/>
                    <a:pt x="1683" y="6832"/>
                    <a:pt x="-336" y="9318"/>
                  </a:cubicBezTo>
                  <a:lnTo>
                    <a:pt x="9189" y="21891"/>
                  </a:lnTo>
                  <a:lnTo>
                    <a:pt x="9855" y="22748"/>
                  </a:lnTo>
                  <a:lnTo>
                    <a:pt x="9855" y="22748"/>
                  </a:lnTo>
                  <a:lnTo>
                    <a:pt x="16809" y="32273"/>
                  </a:lnTo>
                  <a:cubicBezTo>
                    <a:pt x="17599" y="31292"/>
                    <a:pt x="18495" y="30397"/>
                    <a:pt x="19476" y="29606"/>
                  </a:cubicBezTo>
                  <a:cubicBezTo>
                    <a:pt x="21676" y="27930"/>
                    <a:pt x="24267" y="26844"/>
                    <a:pt x="27001" y="26463"/>
                  </a:cubicBezTo>
                  <a:cubicBezTo>
                    <a:pt x="28639" y="26215"/>
                    <a:pt x="30315" y="26215"/>
                    <a:pt x="31954" y="26463"/>
                  </a:cubicBezTo>
                  <a:cubicBezTo>
                    <a:pt x="36516" y="27015"/>
                    <a:pt x="40897" y="28539"/>
                    <a:pt x="44812" y="30940"/>
                  </a:cubicBezTo>
                  <a:cubicBezTo>
                    <a:pt x="54061" y="36921"/>
                    <a:pt x="61691" y="45103"/>
                    <a:pt x="67005" y="54752"/>
                  </a:cubicBezTo>
                  <a:close/>
                </a:path>
              </a:pathLst>
            </a:custGeom>
            <a:solidFill>
              <a:srgbClr val="FF7D33"/>
            </a:solidFill>
            <a:ln w="9525" cap="flat">
              <a:noFill/>
              <a:prstDash val="solid"/>
              <a:miter/>
            </a:ln>
          </p:spPr>
          <p:txBody>
            <a:bodyPr rtlCol="0" anchor="ctr"/>
            <a:lstStyle/>
            <a:p>
              <a:endParaRPr lang="zh-CN" altLang="en-US"/>
            </a:p>
          </p:txBody>
        </p:sp>
        <p:sp>
          <p:nvSpPr>
            <p:cNvPr id="834" name="ïṥļíḍê">
              <a:extLst>
                <a:ext uri="{FF2B5EF4-FFF2-40B4-BE49-F238E27FC236}">
                  <a16:creationId xmlns:a16="http://schemas.microsoft.com/office/drawing/2014/main" id="{1DBF95BD-F3B9-4C5C-ADEC-EE0283F866BF}"/>
                </a:ext>
              </a:extLst>
            </p:cNvPr>
            <p:cNvSpPr/>
            <p:nvPr/>
          </p:nvSpPr>
          <p:spPr>
            <a:xfrm>
              <a:off x="5934119" y="2792236"/>
              <a:ext cx="104041" cy="300950"/>
            </a:xfrm>
            <a:custGeom>
              <a:avLst/>
              <a:gdLst>
                <a:gd name="connsiteX0" fmla="*/ 140 w 34180"/>
                <a:gd name="connsiteY0" fmla="*/ 98707 h 98869"/>
                <a:gd name="connsiteX1" fmla="*/ 17856 w 34180"/>
                <a:gd name="connsiteY1" fmla="*/ 88515 h 98869"/>
                <a:gd name="connsiteX2" fmla="*/ 33668 w 34180"/>
                <a:gd name="connsiteY2" fmla="*/ 53844 h 98869"/>
                <a:gd name="connsiteX3" fmla="*/ 17380 w 34180"/>
                <a:gd name="connsiteY3" fmla="*/ -163 h 98869"/>
                <a:gd name="connsiteX4" fmla="*/ -336 w 34180"/>
                <a:gd name="connsiteY4" fmla="*/ 10029 h 98869"/>
                <a:gd name="connsiteX5" fmla="*/ 13285 w 34180"/>
                <a:gd name="connsiteY5" fmla="*/ 43081 h 98869"/>
                <a:gd name="connsiteX6" fmla="*/ 15952 w 34180"/>
                <a:gd name="connsiteY6" fmla="*/ 64036 h 98869"/>
                <a:gd name="connsiteX7" fmla="*/ 10998 w 34180"/>
                <a:gd name="connsiteY7" fmla="*/ 86991 h 98869"/>
                <a:gd name="connsiteX8" fmla="*/ 7951 w 34180"/>
                <a:gd name="connsiteY8" fmla="*/ 91754 h 98869"/>
                <a:gd name="connsiteX9" fmla="*/ 140 w 34180"/>
                <a:gd name="connsiteY9" fmla="*/ 98707 h 98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4180" h="98869">
                  <a:moveTo>
                    <a:pt x="140" y="98707"/>
                  </a:moveTo>
                  <a:lnTo>
                    <a:pt x="17856" y="88515"/>
                  </a:lnTo>
                  <a:cubicBezTo>
                    <a:pt x="28944" y="80609"/>
                    <a:pt x="34973" y="67398"/>
                    <a:pt x="33668" y="53844"/>
                  </a:cubicBezTo>
                  <a:cubicBezTo>
                    <a:pt x="32982" y="34737"/>
                    <a:pt x="27372" y="16135"/>
                    <a:pt x="17380" y="-163"/>
                  </a:cubicBezTo>
                  <a:lnTo>
                    <a:pt x="-336" y="10029"/>
                  </a:lnTo>
                  <a:cubicBezTo>
                    <a:pt x="5779" y="20326"/>
                    <a:pt x="10370" y="31460"/>
                    <a:pt x="13285" y="43081"/>
                  </a:cubicBezTo>
                  <a:cubicBezTo>
                    <a:pt x="14989" y="49939"/>
                    <a:pt x="15885" y="56968"/>
                    <a:pt x="15952" y="64036"/>
                  </a:cubicBezTo>
                  <a:cubicBezTo>
                    <a:pt x="16104" y="71970"/>
                    <a:pt x="14408" y="79828"/>
                    <a:pt x="10998" y="86991"/>
                  </a:cubicBezTo>
                  <a:cubicBezTo>
                    <a:pt x="10151" y="88677"/>
                    <a:pt x="9132" y="90277"/>
                    <a:pt x="7951" y="91754"/>
                  </a:cubicBezTo>
                  <a:cubicBezTo>
                    <a:pt x="5855" y="94582"/>
                    <a:pt x="3188" y="96945"/>
                    <a:pt x="140" y="98707"/>
                  </a:cubicBezTo>
                  <a:close/>
                </a:path>
              </a:pathLst>
            </a:custGeom>
            <a:solidFill>
              <a:srgbClr val="171A42"/>
            </a:solidFill>
            <a:ln w="9525" cap="flat">
              <a:noFill/>
              <a:prstDash val="solid"/>
              <a:miter/>
            </a:ln>
          </p:spPr>
          <p:txBody>
            <a:bodyPr rtlCol="0" anchor="ctr"/>
            <a:lstStyle/>
            <a:p>
              <a:endParaRPr lang="zh-CN" altLang="en-US"/>
            </a:p>
          </p:txBody>
        </p:sp>
        <p:sp>
          <p:nvSpPr>
            <p:cNvPr id="835" name="ïṧľîďê">
              <a:extLst>
                <a:ext uri="{FF2B5EF4-FFF2-40B4-BE49-F238E27FC236}">
                  <a16:creationId xmlns:a16="http://schemas.microsoft.com/office/drawing/2014/main" id="{9ED0951F-C03D-4CAE-8A53-84FF6AAA820C}"/>
                </a:ext>
              </a:extLst>
            </p:cNvPr>
            <p:cNvSpPr/>
            <p:nvPr/>
          </p:nvSpPr>
          <p:spPr>
            <a:xfrm>
              <a:off x="5882510" y="2823260"/>
              <a:ext cx="101214" cy="276596"/>
            </a:xfrm>
            <a:custGeom>
              <a:avLst/>
              <a:gdLst>
                <a:gd name="connsiteX0" fmla="*/ 17095 w 33251"/>
                <a:gd name="connsiteY0" fmla="*/ 88515 h 90868"/>
                <a:gd name="connsiteX1" fmla="*/ 24905 w 33251"/>
                <a:gd name="connsiteY1" fmla="*/ 81562 h 90868"/>
                <a:gd name="connsiteX2" fmla="*/ 27953 w 33251"/>
                <a:gd name="connsiteY2" fmla="*/ 76799 h 90868"/>
                <a:gd name="connsiteX3" fmla="*/ 32906 w 33251"/>
                <a:gd name="connsiteY3" fmla="*/ 53844 h 90868"/>
                <a:gd name="connsiteX4" fmla="*/ 30239 w 33251"/>
                <a:gd name="connsiteY4" fmla="*/ 32889 h 90868"/>
                <a:gd name="connsiteX5" fmla="*/ 16618 w 33251"/>
                <a:gd name="connsiteY5" fmla="*/ -163 h 90868"/>
                <a:gd name="connsiteX6" fmla="*/ 2426 w 33251"/>
                <a:gd name="connsiteY6" fmla="*/ 8505 h 90868"/>
                <a:gd name="connsiteX7" fmla="*/ 12522 w 33251"/>
                <a:gd name="connsiteY7" fmla="*/ 42033 h 90868"/>
                <a:gd name="connsiteX8" fmla="*/ 9951 w 33251"/>
                <a:gd name="connsiteY8" fmla="*/ 55463 h 90868"/>
                <a:gd name="connsiteX9" fmla="*/ 5474 w 33251"/>
                <a:gd name="connsiteY9" fmla="*/ 61559 h 90868"/>
                <a:gd name="connsiteX10" fmla="*/ -336 w 33251"/>
                <a:gd name="connsiteY10" fmla="*/ 64893 h 90868"/>
                <a:gd name="connsiteX11" fmla="*/ 6522 w 33251"/>
                <a:gd name="connsiteY11" fmla="*/ 79085 h 90868"/>
                <a:gd name="connsiteX12" fmla="*/ 12142 w 33251"/>
                <a:gd name="connsiteY12" fmla="*/ 90706 h 90868"/>
                <a:gd name="connsiteX13" fmla="*/ 17095 w 33251"/>
                <a:gd name="connsiteY13" fmla="*/ 88515 h 90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3251" h="90868">
                  <a:moveTo>
                    <a:pt x="17095" y="88515"/>
                  </a:moveTo>
                  <a:cubicBezTo>
                    <a:pt x="20143" y="86753"/>
                    <a:pt x="22810" y="84391"/>
                    <a:pt x="24905" y="81562"/>
                  </a:cubicBezTo>
                  <a:cubicBezTo>
                    <a:pt x="26086" y="80086"/>
                    <a:pt x="27105" y="78485"/>
                    <a:pt x="27953" y="76799"/>
                  </a:cubicBezTo>
                  <a:cubicBezTo>
                    <a:pt x="31363" y="69637"/>
                    <a:pt x="33058" y="61779"/>
                    <a:pt x="32906" y="53844"/>
                  </a:cubicBezTo>
                  <a:cubicBezTo>
                    <a:pt x="32839" y="46777"/>
                    <a:pt x="31944" y="39747"/>
                    <a:pt x="30239" y="32889"/>
                  </a:cubicBezTo>
                  <a:cubicBezTo>
                    <a:pt x="27324" y="21269"/>
                    <a:pt x="22733" y="10134"/>
                    <a:pt x="16618" y="-163"/>
                  </a:cubicBezTo>
                  <a:lnTo>
                    <a:pt x="2426" y="8505"/>
                  </a:lnTo>
                  <a:cubicBezTo>
                    <a:pt x="8646" y="18611"/>
                    <a:pt x="12132" y="30165"/>
                    <a:pt x="12522" y="42033"/>
                  </a:cubicBezTo>
                  <a:cubicBezTo>
                    <a:pt x="12618" y="46643"/>
                    <a:pt x="11741" y="51215"/>
                    <a:pt x="9951" y="55463"/>
                  </a:cubicBezTo>
                  <a:cubicBezTo>
                    <a:pt x="8865" y="57768"/>
                    <a:pt x="7341" y="59835"/>
                    <a:pt x="5474" y="61559"/>
                  </a:cubicBezTo>
                  <a:cubicBezTo>
                    <a:pt x="3807" y="63083"/>
                    <a:pt x="1826" y="64217"/>
                    <a:pt x="-336" y="64893"/>
                  </a:cubicBezTo>
                  <a:lnTo>
                    <a:pt x="6522" y="79085"/>
                  </a:lnTo>
                  <a:lnTo>
                    <a:pt x="12142" y="90706"/>
                  </a:lnTo>
                  <a:cubicBezTo>
                    <a:pt x="13856" y="90134"/>
                    <a:pt x="15513" y="89401"/>
                    <a:pt x="17095" y="88515"/>
                  </a:cubicBezTo>
                  <a:close/>
                </a:path>
              </a:pathLst>
            </a:custGeom>
            <a:solidFill>
              <a:srgbClr val="323A82"/>
            </a:solidFill>
            <a:ln w="9525" cap="flat">
              <a:noFill/>
              <a:prstDash val="solid"/>
              <a:miter/>
            </a:ln>
          </p:spPr>
          <p:txBody>
            <a:bodyPr rtlCol="0" anchor="ctr"/>
            <a:lstStyle/>
            <a:p>
              <a:endParaRPr lang="zh-CN" altLang="en-US"/>
            </a:p>
          </p:txBody>
        </p:sp>
        <p:sp>
          <p:nvSpPr>
            <p:cNvPr id="836" name="íṧḻidé">
              <a:extLst>
                <a:ext uri="{FF2B5EF4-FFF2-40B4-BE49-F238E27FC236}">
                  <a16:creationId xmlns:a16="http://schemas.microsoft.com/office/drawing/2014/main" id="{38392300-FEB3-4657-BDBB-A8519C3F0BB4}"/>
                </a:ext>
              </a:extLst>
            </p:cNvPr>
            <p:cNvSpPr/>
            <p:nvPr/>
          </p:nvSpPr>
          <p:spPr>
            <a:xfrm>
              <a:off x="5757547" y="2917199"/>
              <a:ext cx="156272" cy="104623"/>
            </a:xfrm>
            <a:custGeom>
              <a:avLst/>
              <a:gdLst>
                <a:gd name="connsiteX0" fmla="*/ 46527 w 51339"/>
                <a:gd name="connsiteY0" fmla="*/ 30698 h 34371"/>
                <a:gd name="connsiteX1" fmla="*/ 51004 w 51339"/>
                <a:gd name="connsiteY1" fmla="*/ 24602 h 34371"/>
                <a:gd name="connsiteX2" fmla="*/ 38049 w 51339"/>
                <a:gd name="connsiteY2" fmla="*/ 20126 h 34371"/>
                <a:gd name="connsiteX3" fmla="*/ 17380 w 51339"/>
                <a:gd name="connsiteY3" fmla="*/ -163 h 34371"/>
                <a:gd name="connsiteX4" fmla="*/ -336 w 51339"/>
                <a:gd name="connsiteY4" fmla="*/ 9934 h 34371"/>
                <a:gd name="connsiteX5" fmla="*/ 20333 w 51339"/>
                <a:gd name="connsiteY5" fmla="*/ 30317 h 34371"/>
                <a:gd name="connsiteX6" fmla="*/ 21286 w 51339"/>
                <a:gd name="connsiteY6" fmla="*/ 30317 h 34371"/>
                <a:gd name="connsiteX7" fmla="*/ 40336 w 51339"/>
                <a:gd name="connsiteY7" fmla="*/ 33556 h 34371"/>
                <a:gd name="connsiteX8" fmla="*/ 46527 w 51339"/>
                <a:gd name="connsiteY8" fmla="*/ 30698 h 34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339" h="34371">
                  <a:moveTo>
                    <a:pt x="46527" y="30698"/>
                  </a:moveTo>
                  <a:cubicBezTo>
                    <a:pt x="48394" y="28974"/>
                    <a:pt x="49918" y="26907"/>
                    <a:pt x="51004" y="24602"/>
                  </a:cubicBezTo>
                  <a:cubicBezTo>
                    <a:pt x="46413" y="24069"/>
                    <a:pt x="41993" y="22535"/>
                    <a:pt x="38049" y="20126"/>
                  </a:cubicBezTo>
                  <a:cubicBezTo>
                    <a:pt x="29734" y="14992"/>
                    <a:pt x="22667" y="8057"/>
                    <a:pt x="17380" y="-163"/>
                  </a:cubicBezTo>
                  <a:lnTo>
                    <a:pt x="-336" y="9934"/>
                  </a:lnTo>
                  <a:cubicBezTo>
                    <a:pt x="4950" y="18182"/>
                    <a:pt x="12008" y="25145"/>
                    <a:pt x="20333" y="30317"/>
                  </a:cubicBezTo>
                  <a:cubicBezTo>
                    <a:pt x="20647" y="30365"/>
                    <a:pt x="20971" y="30365"/>
                    <a:pt x="21286" y="30317"/>
                  </a:cubicBezTo>
                  <a:cubicBezTo>
                    <a:pt x="26943" y="33908"/>
                    <a:pt x="33811" y="35080"/>
                    <a:pt x="40336" y="33556"/>
                  </a:cubicBezTo>
                  <a:cubicBezTo>
                    <a:pt x="42583" y="33080"/>
                    <a:pt x="44698" y="32098"/>
                    <a:pt x="46527" y="30698"/>
                  </a:cubicBezTo>
                  <a:close/>
                </a:path>
              </a:pathLst>
            </a:custGeom>
            <a:solidFill>
              <a:srgbClr val="171A42"/>
            </a:solidFill>
            <a:ln w="9525" cap="flat">
              <a:noFill/>
              <a:prstDash val="solid"/>
              <a:miter/>
            </a:ln>
          </p:spPr>
          <p:txBody>
            <a:bodyPr rtlCol="0" anchor="ctr"/>
            <a:lstStyle/>
            <a:p>
              <a:endParaRPr lang="zh-CN" altLang="en-US"/>
            </a:p>
          </p:txBody>
        </p:sp>
        <p:sp>
          <p:nvSpPr>
            <p:cNvPr id="837" name="íṡḻîḓê">
              <a:extLst>
                <a:ext uri="{FF2B5EF4-FFF2-40B4-BE49-F238E27FC236}">
                  <a16:creationId xmlns:a16="http://schemas.microsoft.com/office/drawing/2014/main" id="{3BF1685C-4C11-41EB-A345-7975D0FD340A}"/>
                </a:ext>
              </a:extLst>
            </p:cNvPr>
            <p:cNvSpPr/>
            <p:nvPr/>
          </p:nvSpPr>
          <p:spPr>
            <a:xfrm>
              <a:off x="5720147" y="2949382"/>
              <a:ext cx="200342" cy="154096"/>
            </a:xfrm>
            <a:custGeom>
              <a:avLst/>
              <a:gdLst>
                <a:gd name="connsiteX0" fmla="*/ 65481 w 65817"/>
                <a:gd name="connsiteY0" fmla="*/ 49272 h 50624"/>
                <a:gd name="connsiteX1" fmla="*/ 59861 w 65817"/>
                <a:gd name="connsiteY1" fmla="*/ 37652 h 50624"/>
                <a:gd name="connsiteX2" fmla="*/ 53003 w 65817"/>
                <a:gd name="connsiteY2" fmla="*/ 23459 h 50624"/>
                <a:gd name="connsiteX3" fmla="*/ 33953 w 65817"/>
                <a:gd name="connsiteY3" fmla="*/ 20221 h 50624"/>
                <a:gd name="connsiteX4" fmla="*/ 33001 w 65817"/>
                <a:gd name="connsiteY4" fmla="*/ 20221 h 50624"/>
                <a:gd name="connsiteX5" fmla="*/ 12332 w 65817"/>
                <a:gd name="connsiteY5" fmla="*/ -163 h 50624"/>
                <a:gd name="connsiteX6" fmla="*/ -336 w 65817"/>
                <a:gd name="connsiteY6" fmla="*/ 10982 h 50624"/>
                <a:gd name="connsiteX7" fmla="*/ 32906 w 65817"/>
                <a:gd name="connsiteY7" fmla="*/ 43748 h 50624"/>
                <a:gd name="connsiteX8" fmla="*/ 65481 w 65817"/>
                <a:gd name="connsiteY8" fmla="*/ 49272 h 506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5817" h="50624">
                  <a:moveTo>
                    <a:pt x="65481" y="49272"/>
                  </a:moveTo>
                  <a:lnTo>
                    <a:pt x="59861" y="37652"/>
                  </a:lnTo>
                  <a:lnTo>
                    <a:pt x="53003" y="23459"/>
                  </a:lnTo>
                  <a:cubicBezTo>
                    <a:pt x="46479" y="24983"/>
                    <a:pt x="39612" y="23812"/>
                    <a:pt x="33953" y="20221"/>
                  </a:cubicBezTo>
                  <a:cubicBezTo>
                    <a:pt x="33639" y="20268"/>
                    <a:pt x="33315" y="20268"/>
                    <a:pt x="33001" y="20221"/>
                  </a:cubicBezTo>
                  <a:cubicBezTo>
                    <a:pt x="24676" y="15049"/>
                    <a:pt x="17618" y="8086"/>
                    <a:pt x="12332" y="-163"/>
                  </a:cubicBezTo>
                  <a:lnTo>
                    <a:pt x="-336" y="10982"/>
                  </a:lnTo>
                  <a:cubicBezTo>
                    <a:pt x="8160" y="24250"/>
                    <a:pt x="19523" y="35442"/>
                    <a:pt x="32906" y="43748"/>
                  </a:cubicBezTo>
                  <a:cubicBezTo>
                    <a:pt x="42545" y="49996"/>
                    <a:pt x="54327" y="51996"/>
                    <a:pt x="65481" y="49272"/>
                  </a:cubicBezTo>
                  <a:close/>
                </a:path>
              </a:pathLst>
            </a:custGeom>
            <a:solidFill>
              <a:srgbClr val="323A82"/>
            </a:solidFill>
            <a:ln w="9525" cap="flat">
              <a:noFill/>
              <a:prstDash val="solid"/>
              <a:miter/>
            </a:ln>
          </p:spPr>
          <p:txBody>
            <a:bodyPr rtlCol="0" anchor="ctr"/>
            <a:lstStyle/>
            <a:p>
              <a:endParaRPr lang="zh-CN" altLang="en-US"/>
            </a:p>
          </p:txBody>
        </p:sp>
        <p:sp>
          <p:nvSpPr>
            <p:cNvPr id="838" name="íṩľíḋe">
              <a:extLst>
                <a:ext uri="{FF2B5EF4-FFF2-40B4-BE49-F238E27FC236}">
                  <a16:creationId xmlns:a16="http://schemas.microsoft.com/office/drawing/2014/main" id="{6FC3C3F2-D28F-405D-BEA1-A291D2DFBFF2}"/>
                </a:ext>
              </a:extLst>
            </p:cNvPr>
            <p:cNvSpPr/>
            <p:nvPr/>
          </p:nvSpPr>
          <p:spPr>
            <a:xfrm>
              <a:off x="5719857" y="2762229"/>
              <a:ext cx="61755" cy="62190"/>
            </a:xfrm>
            <a:custGeom>
              <a:avLst/>
              <a:gdLst>
                <a:gd name="connsiteX0" fmla="*/ -336 w 20288"/>
                <a:gd name="connsiteY0" fmla="*/ 20268 h 20431"/>
                <a:gd name="connsiteX1" fmla="*/ 17380 w 20288"/>
                <a:gd name="connsiteY1" fmla="*/ 10077 h 20431"/>
                <a:gd name="connsiteX2" fmla="*/ 19952 w 20288"/>
                <a:gd name="connsiteY2" fmla="*/ -20 h 20431"/>
                <a:gd name="connsiteX3" fmla="*/ 15094 w 20288"/>
                <a:gd name="connsiteY3" fmla="*/ -20 h 20431"/>
                <a:gd name="connsiteX4" fmla="*/ 4902 w 20288"/>
                <a:gd name="connsiteY4" fmla="*/ 5791 h 20431"/>
                <a:gd name="connsiteX5" fmla="*/ -336 w 20288"/>
                <a:gd name="connsiteY5" fmla="*/ 20268 h 20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288" h="20431">
                  <a:moveTo>
                    <a:pt x="-336" y="20268"/>
                  </a:moveTo>
                  <a:lnTo>
                    <a:pt x="17380" y="10077"/>
                  </a:lnTo>
                  <a:cubicBezTo>
                    <a:pt x="17656" y="6591"/>
                    <a:pt x="18523" y="3171"/>
                    <a:pt x="19952" y="-20"/>
                  </a:cubicBezTo>
                  <a:cubicBezTo>
                    <a:pt x="18342" y="-210"/>
                    <a:pt x="16704" y="-210"/>
                    <a:pt x="15094" y="-20"/>
                  </a:cubicBezTo>
                  <a:lnTo>
                    <a:pt x="4902" y="5791"/>
                  </a:lnTo>
                  <a:cubicBezTo>
                    <a:pt x="1759" y="9991"/>
                    <a:pt x="-60" y="15030"/>
                    <a:pt x="-336" y="20268"/>
                  </a:cubicBezTo>
                  <a:close/>
                </a:path>
              </a:pathLst>
            </a:custGeom>
            <a:solidFill>
              <a:srgbClr val="BF4200"/>
            </a:solidFill>
            <a:ln w="9525" cap="flat">
              <a:noFill/>
              <a:prstDash val="solid"/>
              <a:miter/>
            </a:ln>
          </p:spPr>
          <p:txBody>
            <a:bodyPr rtlCol="0" anchor="ctr"/>
            <a:lstStyle/>
            <a:p>
              <a:endParaRPr lang="zh-CN" altLang="en-US"/>
            </a:p>
          </p:txBody>
        </p:sp>
        <p:sp>
          <p:nvSpPr>
            <p:cNvPr id="839" name="î$lîḋê">
              <a:extLst>
                <a:ext uri="{FF2B5EF4-FFF2-40B4-BE49-F238E27FC236}">
                  <a16:creationId xmlns:a16="http://schemas.microsoft.com/office/drawing/2014/main" id="{C185C861-2269-40B3-9DA9-4DF21C27A903}"/>
                </a:ext>
              </a:extLst>
            </p:cNvPr>
            <p:cNvSpPr/>
            <p:nvPr/>
          </p:nvSpPr>
          <p:spPr>
            <a:xfrm>
              <a:off x="5658102" y="2711055"/>
              <a:ext cx="77410" cy="113362"/>
            </a:xfrm>
            <a:custGeom>
              <a:avLst/>
              <a:gdLst>
                <a:gd name="connsiteX0" fmla="*/ 19952 w 25431"/>
                <a:gd name="connsiteY0" fmla="*/ 37080 h 37242"/>
                <a:gd name="connsiteX1" fmla="*/ 25096 w 25431"/>
                <a:gd name="connsiteY1" fmla="*/ 22793 h 37242"/>
                <a:gd name="connsiteX2" fmla="*/ 18142 w 25431"/>
                <a:gd name="connsiteY2" fmla="*/ 13268 h 37242"/>
                <a:gd name="connsiteX3" fmla="*/ 18142 w 25431"/>
                <a:gd name="connsiteY3" fmla="*/ 13268 h 37242"/>
                <a:gd name="connsiteX4" fmla="*/ 17475 w 25431"/>
                <a:gd name="connsiteY4" fmla="*/ 12410 h 37242"/>
                <a:gd name="connsiteX5" fmla="*/ 7950 w 25431"/>
                <a:gd name="connsiteY5" fmla="*/ -163 h 37242"/>
                <a:gd name="connsiteX6" fmla="*/ -336 w 25431"/>
                <a:gd name="connsiteY6" fmla="*/ 22983 h 37242"/>
                <a:gd name="connsiteX7" fmla="*/ 18714 w 25431"/>
                <a:gd name="connsiteY7" fmla="*/ 36318 h 37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431" h="37242">
                  <a:moveTo>
                    <a:pt x="19952" y="37080"/>
                  </a:moveTo>
                  <a:cubicBezTo>
                    <a:pt x="20238" y="31918"/>
                    <a:pt x="22028" y="26955"/>
                    <a:pt x="25096" y="22793"/>
                  </a:cubicBezTo>
                  <a:lnTo>
                    <a:pt x="18142" y="13268"/>
                  </a:lnTo>
                  <a:lnTo>
                    <a:pt x="18142" y="13268"/>
                  </a:lnTo>
                  <a:lnTo>
                    <a:pt x="17475" y="12410"/>
                  </a:lnTo>
                  <a:lnTo>
                    <a:pt x="7950" y="-163"/>
                  </a:lnTo>
                  <a:cubicBezTo>
                    <a:pt x="2902" y="6533"/>
                    <a:pt x="7" y="14601"/>
                    <a:pt x="-336" y="22983"/>
                  </a:cubicBezTo>
                  <a:lnTo>
                    <a:pt x="18714" y="36318"/>
                  </a:lnTo>
                  <a:close/>
                </a:path>
              </a:pathLst>
            </a:custGeom>
            <a:solidFill>
              <a:srgbClr val="D9530B"/>
            </a:solidFill>
            <a:ln w="9525" cap="flat">
              <a:noFill/>
              <a:prstDash val="solid"/>
              <a:miter/>
            </a:ln>
          </p:spPr>
          <p:txBody>
            <a:bodyPr rtlCol="0" anchor="ctr"/>
            <a:lstStyle/>
            <a:p>
              <a:endParaRPr lang="zh-CN" altLang="en-US"/>
            </a:p>
          </p:txBody>
        </p:sp>
        <p:sp>
          <p:nvSpPr>
            <p:cNvPr id="840" name="ïŝļiḍe">
              <a:extLst>
                <a:ext uri="{FF2B5EF4-FFF2-40B4-BE49-F238E27FC236}">
                  <a16:creationId xmlns:a16="http://schemas.microsoft.com/office/drawing/2014/main" id="{B3A80D8E-BD80-4551-A942-A5B8E19DF908}"/>
                </a:ext>
              </a:extLst>
            </p:cNvPr>
            <p:cNvSpPr/>
            <p:nvPr/>
          </p:nvSpPr>
          <p:spPr>
            <a:xfrm>
              <a:off x="6306973" y="3583469"/>
              <a:ext cx="84661" cy="51318"/>
            </a:xfrm>
            <a:custGeom>
              <a:avLst/>
              <a:gdLst>
                <a:gd name="connsiteX0" fmla="*/ -336 w 27813"/>
                <a:gd name="connsiteY0" fmla="*/ 16697 h 16859"/>
                <a:gd name="connsiteX1" fmla="*/ 21381 w 27813"/>
                <a:gd name="connsiteY1" fmla="*/ 4314 h 16859"/>
                <a:gd name="connsiteX2" fmla="*/ 27477 w 27813"/>
                <a:gd name="connsiteY2" fmla="*/ -163 h 16859"/>
                <a:gd name="connsiteX3" fmla="*/ 5855 w 27813"/>
                <a:gd name="connsiteY3" fmla="*/ 12315 h 16859"/>
                <a:gd name="connsiteX4" fmla="*/ -336 w 27813"/>
                <a:gd name="connsiteY4" fmla="*/ 16697 h 16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813" h="16859">
                  <a:moveTo>
                    <a:pt x="-336" y="16697"/>
                  </a:moveTo>
                  <a:lnTo>
                    <a:pt x="21381" y="4314"/>
                  </a:lnTo>
                  <a:cubicBezTo>
                    <a:pt x="23572" y="3047"/>
                    <a:pt x="25610" y="1552"/>
                    <a:pt x="27477" y="-163"/>
                  </a:cubicBezTo>
                  <a:lnTo>
                    <a:pt x="5855" y="12315"/>
                  </a:lnTo>
                  <a:cubicBezTo>
                    <a:pt x="3959" y="14001"/>
                    <a:pt x="1883" y="15468"/>
                    <a:pt x="-336" y="16697"/>
                  </a:cubicBezTo>
                  <a:close/>
                </a:path>
              </a:pathLst>
            </a:custGeom>
            <a:solidFill>
              <a:srgbClr val="171A42"/>
            </a:solidFill>
            <a:ln w="9525" cap="flat">
              <a:noFill/>
              <a:prstDash val="solid"/>
              <a:miter/>
            </a:ln>
          </p:spPr>
          <p:txBody>
            <a:bodyPr rtlCol="0" anchor="ctr"/>
            <a:lstStyle/>
            <a:p>
              <a:endParaRPr lang="zh-CN" altLang="en-US"/>
            </a:p>
          </p:txBody>
        </p:sp>
        <p:sp>
          <p:nvSpPr>
            <p:cNvPr id="841" name="íśľíďé">
              <a:extLst>
                <a:ext uri="{FF2B5EF4-FFF2-40B4-BE49-F238E27FC236}">
                  <a16:creationId xmlns:a16="http://schemas.microsoft.com/office/drawing/2014/main" id="{8F83C863-F308-4083-863E-21D9A3A42A7A}"/>
                </a:ext>
              </a:extLst>
            </p:cNvPr>
            <p:cNvSpPr/>
            <p:nvPr/>
          </p:nvSpPr>
          <p:spPr>
            <a:xfrm>
              <a:off x="6148089" y="3357320"/>
              <a:ext cx="28993" cy="578"/>
            </a:xfrm>
            <a:custGeom>
              <a:avLst/>
              <a:gdLst>
                <a:gd name="connsiteX0" fmla="*/ 0 w 9525"/>
                <a:gd name="connsiteY0" fmla="*/ 191 h 190"/>
                <a:gd name="connsiteX1" fmla="*/ 0 w 9525"/>
                <a:gd name="connsiteY1" fmla="*/ 95 h 190"/>
                <a:gd name="connsiteX2" fmla="*/ 0 w 9525"/>
                <a:gd name="connsiteY2" fmla="*/ 0 h 190"/>
                <a:gd name="connsiteX3" fmla="*/ 0 w 9525"/>
                <a:gd name="connsiteY3" fmla="*/ 95 h 190"/>
                <a:gd name="connsiteX4" fmla="*/ 0 w 9525"/>
                <a:gd name="connsiteY4" fmla="*/ 95 h 190"/>
                <a:gd name="connsiteX5" fmla="*/ 0 w 9525"/>
                <a:gd name="connsiteY5" fmla="*/ 191 h 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525" h="190">
                  <a:moveTo>
                    <a:pt x="0" y="191"/>
                  </a:moveTo>
                  <a:lnTo>
                    <a:pt x="0" y="95"/>
                  </a:lnTo>
                  <a:lnTo>
                    <a:pt x="0" y="0"/>
                  </a:lnTo>
                  <a:lnTo>
                    <a:pt x="0" y="95"/>
                  </a:lnTo>
                  <a:lnTo>
                    <a:pt x="0" y="95"/>
                  </a:lnTo>
                  <a:lnTo>
                    <a:pt x="0" y="191"/>
                  </a:lnTo>
                  <a:close/>
                </a:path>
              </a:pathLst>
            </a:custGeom>
            <a:solidFill>
              <a:srgbClr val="2E3192"/>
            </a:solidFill>
            <a:ln w="9525" cap="flat">
              <a:noFill/>
              <a:prstDash val="solid"/>
              <a:miter/>
            </a:ln>
          </p:spPr>
          <p:txBody>
            <a:bodyPr rtlCol="0" anchor="ctr"/>
            <a:lstStyle/>
            <a:p>
              <a:endParaRPr lang="zh-CN" altLang="en-US"/>
            </a:p>
          </p:txBody>
        </p:sp>
        <p:sp>
          <p:nvSpPr>
            <p:cNvPr id="842" name="iṡ1íḋe">
              <a:extLst>
                <a:ext uri="{FF2B5EF4-FFF2-40B4-BE49-F238E27FC236}">
                  <a16:creationId xmlns:a16="http://schemas.microsoft.com/office/drawing/2014/main" id="{4ADF0396-AA45-4068-ACD6-241C476C30EA}"/>
                </a:ext>
              </a:extLst>
            </p:cNvPr>
            <p:cNvSpPr/>
            <p:nvPr/>
          </p:nvSpPr>
          <p:spPr>
            <a:xfrm>
              <a:off x="5957603" y="3373553"/>
              <a:ext cx="340381" cy="292068"/>
            </a:xfrm>
            <a:custGeom>
              <a:avLst/>
              <a:gdLst>
                <a:gd name="connsiteX0" fmla="*/ 105391 w 111823"/>
                <a:gd name="connsiteY0" fmla="*/ 90896 h 95951"/>
                <a:gd name="connsiteX1" fmla="*/ 111487 w 111823"/>
                <a:gd name="connsiteY1" fmla="*/ 86420 h 95951"/>
                <a:gd name="connsiteX2" fmla="*/ 53099 w 111823"/>
                <a:gd name="connsiteY2" fmla="*/ -163 h 95951"/>
                <a:gd name="connsiteX3" fmla="*/ -336 w 111823"/>
                <a:gd name="connsiteY3" fmla="*/ 28412 h 95951"/>
                <a:gd name="connsiteX4" fmla="*/ 52908 w 111823"/>
                <a:gd name="connsiteY4" fmla="*/ 85562 h 95951"/>
                <a:gd name="connsiteX5" fmla="*/ 105391 w 111823"/>
                <a:gd name="connsiteY5" fmla="*/ 90896 h 95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1823" h="95951">
                  <a:moveTo>
                    <a:pt x="105391" y="90896"/>
                  </a:moveTo>
                  <a:cubicBezTo>
                    <a:pt x="107582" y="89630"/>
                    <a:pt x="109620" y="88134"/>
                    <a:pt x="111487" y="86420"/>
                  </a:cubicBezTo>
                  <a:lnTo>
                    <a:pt x="53099" y="-163"/>
                  </a:lnTo>
                  <a:lnTo>
                    <a:pt x="-336" y="28412"/>
                  </a:lnTo>
                  <a:cubicBezTo>
                    <a:pt x="12141" y="51768"/>
                    <a:pt x="30496" y="71465"/>
                    <a:pt x="52908" y="85562"/>
                  </a:cubicBezTo>
                  <a:cubicBezTo>
                    <a:pt x="73387" y="97469"/>
                    <a:pt x="91866" y="98612"/>
                    <a:pt x="105391" y="90896"/>
                  </a:cubicBezTo>
                  <a:close/>
                </a:path>
              </a:pathLst>
            </a:custGeom>
            <a:solidFill>
              <a:srgbClr val="323A82"/>
            </a:solidFill>
            <a:ln w="9525" cap="flat">
              <a:noFill/>
              <a:prstDash val="solid"/>
              <a:miter/>
            </a:ln>
          </p:spPr>
          <p:txBody>
            <a:bodyPr rtlCol="0" anchor="ctr"/>
            <a:lstStyle/>
            <a:p>
              <a:endParaRPr lang="zh-CN" altLang="en-US"/>
            </a:p>
          </p:txBody>
        </p:sp>
        <p:sp>
          <p:nvSpPr>
            <p:cNvPr id="843" name="ï$ḷïdê">
              <a:extLst>
                <a:ext uri="{FF2B5EF4-FFF2-40B4-BE49-F238E27FC236}">
                  <a16:creationId xmlns:a16="http://schemas.microsoft.com/office/drawing/2014/main" id="{CC1A9DEA-AE72-445F-A792-2A7A72993486}"/>
                </a:ext>
              </a:extLst>
            </p:cNvPr>
            <p:cNvSpPr/>
            <p:nvPr/>
          </p:nvSpPr>
          <p:spPr>
            <a:xfrm>
              <a:off x="6120256" y="3328616"/>
              <a:ext cx="250792" cy="308490"/>
            </a:xfrm>
            <a:custGeom>
              <a:avLst/>
              <a:gdLst>
                <a:gd name="connsiteX0" fmla="*/ 58388 w 82391"/>
                <a:gd name="connsiteY0" fmla="*/ 101346 h 101346"/>
                <a:gd name="connsiteX1" fmla="*/ 82391 w 82391"/>
                <a:gd name="connsiteY1" fmla="*/ 87535 h 101346"/>
                <a:gd name="connsiteX2" fmla="*/ 78105 w 82391"/>
                <a:gd name="connsiteY2" fmla="*/ 80867 h 101346"/>
                <a:gd name="connsiteX3" fmla="*/ 27813 w 82391"/>
                <a:gd name="connsiteY3" fmla="*/ 3143 h 101346"/>
                <a:gd name="connsiteX4" fmla="*/ 25718 w 82391"/>
                <a:gd name="connsiteY4" fmla="*/ 0 h 101346"/>
                <a:gd name="connsiteX5" fmla="*/ 0 w 82391"/>
                <a:gd name="connsiteY5" fmla="*/ 14764 h 101346"/>
                <a:gd name="connsiteX6" fmla="*/ 58388 w 82391"/>
                <a:gd name="connsiteY6" fmla="*/ 101346 h 101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391" h="101346">
                  <a:moveTo>
                    <a:pt x="58388" y="101346"/>
                  </a:moveTo>
                  <a:lnTo>
                    <a:pt x="82391" y="87535"/>
                  </a:lnTo>
                  <a:lnTo>
                    <a:pt x="78105" y="80867"/>
                  </a:lnTo>
                  <a:lnTo>
                    <a:pt x="27813" y="3143"/>
                  </a:lnTo>
                  <a:lnTo>
                    <a:pt x="25718" y="0"/>
                  </a:lnTo>
                  <a:lnTo>
                    <a:pt x="0" y="14764"/>
                  </a:lnTo>
                  <a:lnTo>
                    <a:pt x="58388" y="101346"/>
                  </a:lnTo>
                  <a:close/>
                </a:path>
              </a:pathLst>
            </a:custGeom>
            <a:solidFill>
              <a:srgbClr val="171A42"/>
            </a:solidFill>
            <a:ln w="9525" cap="flat">
              <a:noFill/>
              <a:prstDash val="solid"/>
              <a:miter/>
            </a:ln>
          </p:spPr>
          <p:txBody>
            <a:bodyPr rtlCol="0" anchor="ctr"/>
            <a:lstStyle/>
            <a:p>
              <a:endParaRPr lang="zh-CN" altLang="en-US"/>
            </a:p>
          </p:txBody>
        </p:sp>
        <p:sp>
          <p:nvSpPr>
            <p:cNvPr id="844" name="íŝļiďé">
              <a:extLst>
                <a:ext uri="{FF2B5EF4-FFF2-40B4-BE49-F238E27FC236}">
                  <a16:creationId xmlns:a16="http://schemas.microsoft.com/office/drawing/2014/main" id="{1891841E-A284-4B56-B8A8-1BE4471295CA}"/>
                </a:ext>
              </a:extLst>
            </p:cNvPr>
            <p:cNvSpPr/>
            <p:nvPr/>
          </p:nvSpPr>
          <p:spPr>
            <a:xfrm>
              <a:off x="5957314" y="3328616"/>
              <a:ext cx="241222" cy="131918"/>
            </a:xfrm>
            <a:custGeom>
              <a:avLst/>
              <a:gdLst>
                <a:gd name="connsiteX0" fmla="*/ 0 w 79247"/>
                <a:gd name="connsiteY0" fmla="*/ 43339 h 43338"/>
                <a:gd name="connsiteX1" fmla="*/ 73914 w 79247"/>
                <a:gd name="connsiteY1" fmla="*/ 857 h 43338"/>
                <a:gd name="connsiteX2" fmla="*/ 79248 w 79247"/>
                <a:gd name="connsiteY2" fmla="*/ 0 h 43338"/>
                <a:gd name="connsiteX3" fmla="*/ 53530 w 79247"/>
                <a:gd name="connsiteY3" fmla="*/ 14764 h 43338"/>
                <a:gd name="connsiteX4" fmla="*/ 0 w 79247"/>
                <a:gd name="connsiteY4" fmla="*/ 43339 h 433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247" h="43338">
                  <a:moveTo>
                    <a:pt x="0" y="43339"/>
                  </a:moveTo>
                  <a:lnTo>
                    <a:pt x="73914" y="857"/>
                  </a:lnTo>
                  <a:lnTo>
                    <a:pt x="79248" y="0"/>
                  </a:lnTo>
                  <a:lnTo>
                    <a:pt x="53530" y="14764"/>
                  </a:lnTo>
                  <a:lnTo>
                    <a:pt x="0" y="43339"/>
                  </a:lnTo>
                  <a:close/>
                </a:path>
              </a:pathLst>
            </a:custGeom>
            <a:solidFill>
              <a:srgbClr val="171A42"/>
            </a:solidFill>
            <a:ln w="9525" cap="flat">
              <a:noFill/>
              <a:prstDash val="solid"/>
              <a:miter/>
            </a:ln>
          </p:spPr>
          <p:txBody>
            <a:bodyPr rtlCol="0" anchor="ctr"/>
            <a:lstStyle/>
            <a:p>
              <a:endParaRPr lang="zh-CN" altLang="en-US"/>
            </a:p>
          </p:txBody>
        </p:sp>
        <p:sp>
          <p:nvSpPr>
            <p:cNvPr id="845" name="îŝľïḋè">
              <a:extLst>
                <a:ext uri="{FF2B5EF4-FFF2-40B4-BE49-F238E27FC236}">
                  <a16:creationId xmlns:a16="http://schemas.microsoft.com/office/drawing/2014/main" id="{86391D09-F6C3-4F5D-9B71-FC53C1804C28}"/>
                </a:ext>
              </a:extLst>
            </p:cNvPr>
            <p:cNvSpPr/>
            <p:nvPr/>
          </p:nvSpPr>
          <p:spPr>
            <a:xfrm>
              <a:off x="6279429" y="3621448"/>
              <a:ext cx="47838" cy="29283"/>
            </a:xfrm>
            <a:custGeom>
              <a:avLst/>
              <a:gdLst>
                <a:gd name="connsiteX0" fmla="*/ -336 w 15716"/>
                <a:gd name="connsiteY0" fmla="*/ 9458 h 9620"/>
                <a:gd name="connsiteX1" fmla="*/ 9189 w 15716"/>
                <a:gd name="connsiteY1" fmla="*/ 4219 h 9620"/>
                <a:gd name="connsiteX2" fmla="*/ 15380 w 15716"/>
                <a:gd name="connsiteY2" fmla="*/ -163 h 9620"/>
                <a:gd name="connsiteX3" fmla="*/ 5855 w 15716"/>
                <a:gd name="connsiteY3" fmla="*/ 4981 h 9620"/>
                <a:gd name="connsiteX4" fmla="*/ -336 w 15716"/>
                <a:gd name="connsiteY4" fmla="*/ 9458 h 9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16" h="9620">
                  <a:moveTo>
                    <a:pt x="-336" y="9458"/>
                  </a:moveTo>
                  <a:lnTo>
                    <a:pt x="9189" y="4219"/>
                  </a:lnTo>
                  <a:cubicBezTo>
                    <a:pt x="11408" y="2990"/>
                    <a:pt x="13485" y="1523"/>
                    <a:pt x="15380" y="-163"/>
                  </a:cubicBezTo>
                  <a:lnTo>
                    <a:pt x="5855" y="4981"/>
                  </a:lnTo>
                  <a:cubicBezTo>
                    <a:pt x="3960" y="6695"/>
                    <a:pt x="1883" y="8200"/>
                    <a:pt x="-336" y="9458"/>
                  </a:cubicBezTo>
                  <a:close/>
                </a:path>
              </a:pathLst>
            </a:custGeom>
            <a:solidFill>
              <a:srgbClr val="171A42"/>
            </a:solidFill>
            <a:ln w="9525" cap="flat">
              <a:noFill/>
              <a:prstDash val="solid"/>
              <a:miter/>
            </a:ln>
          </p:spPr>
          <p:txBody>
            <a:bodyPr rtlCol="0" anchor="ctr"/>
            <a:lstStyle/>
            <a:p>
              <a:endParaRPr lang="zh-CN" altLang="en-US"/>
            </a:p>
          </p:txBody>
        </p:sp>
        <p:sp>
          <p:nvSpPr>
            <p:cNvPr id="846" name="ïśḻïḍè">
              <a:extLst>
                <a:ext uri="{FF2B5EF4-FFF2-40B4-BE49-F238E27FC236}">
                  <a16:creationId xmlns:a16="http://schemas.microsoft.com/office/drawing/2014/main" id="{C78AD938-EA6B-470E-B4FD-F750F8F016A2}"/>
                </a:ext>
              </a:extLst>
            </p:cNvPr>
            <p:cNvSpPr/>
            <p:nvPr/>
          </p:nvSpPr>
          <p:spPr>
            <a:xfrm>
              <a:off x="6325240" y="3260191"/>
              <a:ext cx="114933" cy="361256"/>
            </a:xfrm>
            <a:custGeom>
              <a:avLst/>
              <a:gdLst>
                <a:gd name="connsiteX0" fmla="*/ -146 w 37758"/>
                <a:gd name="connsiteY0" fmla="*/ 118519 h 118681"/>
                <a:gd name="connsiteX1" fmla="*/ 21476 w 37758"/>
                <a:gd name="connsiteY1" fmla="*/ 106041 h 118681"/>
                <a:gd name="connsiteX2" fmla="*/ 37287 w 37758"/>
                <a:gd name="connsiteY2" fmla="*/ 62512 h 118681"/>
                <a:gd name="connsiteX3" fmla="*/ 21285 w 37758"/>
                <a:gd name="connsiteY3" fmla="*/ -163 h 118681"/>
                <a:gd name="connsiteX4" fmla="*/ -336 w 37758"/>
                <a:gd name="connsiteY4" fmla="*/ 12220 h 118681"/>
                <a:gd name="connsiteX5" fmla="*/ 15570 w 37758"/>
                <a:gd name="connsiteY5" fmla="*/ 74894 h 118681"/>
                <a:gd name="connsiteX6" fmla="*/ 13475 w 37758"/>
                <a:gd name="connsiteY6" fmla="*/ 93944 h 118681"/>
                <a:gd name="connsiteX7" fmla="*/ 3378 w 37758"/>
                <a:gd name="connsiteY7" fmla="*/ 114709 h 118681"/>
                <a:gd name="connsiteX8" fmla="*/ -146 w 37758"/>
                <a:gd name="connsiteY8" fmla="*/ 118519 h 118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758" h="118681">
                  <a:moveTo>
                    <a:pt x="-146" y="118519"/>
                  </a:moveTo>
                  <a:lnTo>
                    <a:pt x="21476" y="106041"/>
                  </a:lnTo>
                  <a:cubicBezTo>
                    <a:pt x="32649" y="94411"/>
                    <a:pt x="38392" y="78600"/>
                    <a:pt x="37287" y="62512"/>
                  </a:cubicBezTo>
                  <a:cubicBezTo>
                    <a:pt x="36687" y="40690"/>
                    <a:pt x="31220" y="19278"/>
                    <a:pt x="21285" y="-163"/>
                  </a:cubicBezTo>
                  <a:lnTo>
                    <a:pt x="-336" y="12220"/>
                  </a:lnTo>
                  <a:cubicBezTo>
                    <a:pt x="9598" y="31651"/>
                    <a:pt x="15037" y="53072"/>
                    <a:pt x="15570" y="74894"/>
                  </a:cubicBezTo>
                  <a:cubicBezTo>
                    <a:pt x="15599" y="81305"/>
                    <a:pt x="14894" y="87696"/>
                    <a:pt x="13475" y="93944"/>
                  </a:cubicBezTo>
                  <a:cubicBezTo>
                    <a:pt x="11741" y="101545"/>
                    <a:pt x="8284" y="108651"/>
                    <a:pt x="3378" y="114709"/>
                  </a:cubicBezTo>
                  <a:cubicBezTo>
                    <a:pt x="2311" y="116071"/>
                    <a:pt x="1130" y="117347"/>
                    <a:pt x="-146" y="118519"/>
                  </a:cubicBezTo>
                  <a:close/>
                </a:path>
              </a:pathLst>
            </a:custGeom>
            <a:solidFill>
              <a:srgbClr val="323A82"/>
            </a:solidFill>
            <a:ln w="9525" cap="flat">
              <a:noFill/>
              <a:prstDash val="solid"/>
              <a:miter/>
            </a:ln>
          </p:spPr>
          <p:txBody>
            <a:bodyPr rtlCol="0" anchor="ctr"/>
            <a:lstStyle/>
            <a:p>
              <a:endParaRPr lang="zh-CN" altLang="en-US"/>
            </a:p>
          </p:txBody>
        </p:sp>
        <p:sp>
          <p:nvSpPr>
            <p:cNvPr id="847" name="íSļïḋê">
              <a:extLst>
                <a:ext uri="{FF2B5EF4-FFF2-40B4-BE49-F238E27FC236}">
                  <a16:creationId xmlns:a16="http://schemas.microsoft.com/office/drawing/2014/main" id="{7C8569D3-F952-4CB0-A0DC-8D616FAA0A86}"/>
                </a:ext>
              </a:extLst>
            </p:cNvPr>
            <p:cNvSpPr/>
            <p:nvPr/>
          </p:nvSpPr>
          <p:spPr>
            <a:xfrm>
              <a:off x="6147511" y="3298174"/>
              <a:ext cx="226149" cy="323274"/>
            </a:xfrm>
            <a:custGeom>
              <a:avLst/>
              <a:gdLst>
                <a:gd name="connsiteX0" fmla="*/ 58242 w 74295"/>
                <a:gd name="connsiteY0" fmla="*/ 106041 h 106203"/>
                <a:gd name="connsiteX1" fmla="*/ 61767 w 74295"/>
                <a:gd name="connsiteY1" fmla="*/ 102326 h 106203"/>
                <a:gd name="connsiteX2" fmla="*/ 71863 w 74295"/>
                <a:gd name="connsiteY2" fmla="*/ 81562 h 106203"/>
                <a:gd name="connsiteX3" fmla="*/ 73959 w 74295"/>
                <a:gd name="connsiteY3" fmla="*/ 62512 h 106203"/>
                <a:gd name="connsiteX4" fmla="*/ 58052 w 74295"/>
                <a:gd name="connsiteY4" fmla="*/ -163 h 106203"/>
                <a:gd name="connsiteX5" fmla="*/ 35668 w 74295"/>
                <a:gd name="connsiteY5" fmla="*/ 6791 h 106203"/>
                <a:gd name="connsiteX6" fmla="*/ 24143 w 74295"/>
                <a:gd name="connsiteY6" fmla="*/ 10696 h 106203"/>
                <a:gd name="connsiteX7" fmla="*/ -336 w 74295"/>
                <a:gd name="connsiteY7" fmla="*/ 18887 h 106203"/>
                <a:gd name="connsiteX8" fmla="*/ -336 w 74295"/>
                <a:gd name="connsiteY8" fmla="*/ 18887 h 106203"/>
                <a:gd name="connsiteX9" fmla="*/ 35668 w 74295"/>
                <a:gd name="connsiteY9" fmla="*/ 73466 h 106203"/>
                <a:gd name="connsiteX10" fmla="*/ 55766 w 74295"/>
                <a:gd name="connsiteY10" fmla="*/ 103279 h 106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4295" h="106203">
                  <a:moveTo>
                    <a:pt x="58242" y="106041"/>
                  </a:moveTo>
                  <a:cubicBezTo>
                    <a:pt x="59509" y="104898"/>
                    <a:pt x="60690" y="103660"/>
                    <a:pt x="61767" y="102326"/>
                  </a:cubicBezTo>
                  <a:cubicBezTo>
                    <a:pt x="66672" y="96268"/>
                    <a:pt x="70130" y="89163"/>
                    <a:pt x="71863" y="81562"/>
                  </a:cubicBezTo>
                  <a:cubicBezTo>
                    <a:pt x="73282" y="75313"/>
                    <a:pt x="73987" y="68922"/>
                    <a:pt x="73959" y="62512"/>
                  </a:cubicBezTo>
                  <a:cubicBezTo>
                    <a:pt x="73425" y="40690"/>
                    <a:pt x="67987" y="19268"/>
                    <a:pt x="58052" y="-163"/>
                  </a:cubicBezTo>
                  <a:lnTo>
                    <a:pt x="35668" y="6791"/>
                  </a:lnTo>
                  <a:lnTo>
                    <a:pt x="24143" y="10696"/>
                  </a:lnTo>
                  <a:lnTo>
                    <a:pt x="-336" y="18887"/>
                  </a:lnTo>
                  <a:lnTo>
                    <a:pt x="-336" y="18887"/>
                  </a:lnTo>
                  <a:lnTo>
                    <a:pt x="35668" y="73466"/>
                  </a:lnTo>
                  <a:lnTo>
                    <a:pt x="55766" y="103279"/>
                  </a:lnTo>
                  <a:close/>
                </a:path>
              </a:pathLst>
            </a:custGeom>
            <a:solidFill>
              <a:srgbClr val="316DE6"/>
            </a:solidFill>
            <a:ln w="9525" cap="flat">
              <a:noFill/>
              <a:prstDash val="solid"/>
              <a:miter/>
            </a:ln>
          </p:spPr>
          <p:txBody>
            <a:bodyPr rtlCol="0" anchor="ctr"/>
            <a:lstStyle/>
            <a:p>
              <a:endParaRPr lang="zh-CN" altLang="en-US"/>
            </a:p>
          </p:txBody>
        </p:sp>
        <p:sp>
          <p:nvSpPr>
            <p:cNvPr id="848" name="iṡḻiḓe">
              <a:extLst>
                <a:ext uri="{FF2B5EF4-FFF2-40B4-BE49-F238E27FC236}">
                  <a16:creationId xmlns:a16="http://schemas.microsoft.com/office/drawing/2014/main" id="{05AC8E08-14EC-44B3-8743-33965BC22A50}"/>
                </a:ext>
              </a:extLst>
            </p:cNvPr>
            <p:cNvSpPr/>
            <p:nvPr/>
          </p:nvSpPr>
          <p:spPr>
            <a:xfrm>
              <a:off x="6027188" y="3029337"/>
              <a:ext cx="167580" cy="58051"/>
            </a:xfrm>
            <a:custGeom>
              <a:avLst/>
              <a:gdLst>
                <a:gd name="connsiteX0" fmla="*/ 33096 w 55054"/>
                <a:gd name="connsiteY0" fmla="*/ 18909 h 19071"/>
                <a:gd name="connsiteX1" fmla="*/ 54718 w 55054"/>
                <a:gd name="connsiteY1" fmla="*/ 6431 h 19071"/>
                <a:gd name="connsiteX2" fmla="*/ 21285 w 55054"/>
                <a:gd name="connsiteY2" fmla="*/ 240 h 19071"/>
                <a:gd name="connsiteX3" fmla="*/ -336 w 55054"/>
                <a:gd name="connsiteY3" fmla="*/ 12622 h 19071"/>
                <a:gd name="connsiteX4" fmla="*/ 28239 w 55054"/>
                <a:gd name="connsiteY4" fmla="*/ 16718 h 19071"/>
                <a:gd name="connsiteX5" fmla="*/ 33096 w 55054"/>
                <a:gd name="connsiteY5" fmla="*/ 18909 h 190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5054" h="19071">
                  <a:moveTo>
                    <a:pt x="33096" y="18909"/>
                  </a:moveTo>
                  <a:lnTo>
                    <a:pt x="54718" y="6431"/>
                  </a:lnTo>
                  <a:cubicBezTo>
                    <a:pt x="44460" y="1021"/>
                    <a:pt x="32801" y="-1132"/>
                    <a:pt x="21285" y="240"/>
                  </a:cubicBezTo>
                  <a:lnTo>
                    <a:pt x="-336" y="12622"/>
                  </a:lnTo>
                  <a:cubicBezTo>
                    <a:pt x="9389" y="11355"/>
                    <a:pt x="19266" y="12775"/>
                    <a:pt x="28239" y="16718"/>
                  </a:cubicBezTo>
                  <a:cubicBezTo>
                    <a:pt x="29763" y="17004"/>
                    <a:pt x="31382" y="17670"/>
                    <a:pt x="33096" y="18909"/>
                  </a:cubicBezTo>
                  <a:close/>
                </a:path>
              </a:pathLst>
            </a:custGeom>
            <a:solidFill>
              <a:srgbClr val="D9530B"/>
            </a:solidFill>
            <a:ln w="9525" cap="flat">
              <a:noFill/>
              <a:prstDash val="solid"/>
              <a:miter/>
            </a:ln>
          </p:spPr>
          <p:txBody>
            <a:bodyPr rtlCol="0" anchor="ctr"/>
            <a:lstStyle/>
            <a:p>
              <a:endParaRPr lang="zh-CN" altLang="en-US"/>
            </a:p>
          </p:txBody>
        </p:sp>
        <p:sp>
          <p:nvSpPr>
            <p:cNvPr id="849" name="iSḷîḓé">
              <a:extLst>
                <a:ext uri="{FF2B5EF4-FFF2-40B4-BE49-F238E27FC236}">
                  <a16:creationId xmlns:a16="http://schemas.microsoft.com/office/drawing/2014/main" id="{FBF5DED1-7EF4-4573-A7B4-154ABE5DF6FF}"/>
                </a:ext>
              </a:extLst>
            </p:cNvPr>
            <p:cNvSpPr/>
            <p:nvPr/>
          </p:nvSpPr>
          <p:spPr>
            <a:xfrm>
              <a:off x="6027188" y="3065724"/>
              <a:ext cx="120902" cy="291593"/>
            </a:xfrm>
            <a:custGeom>
              <a:avLst/>
              <a:gdLst>
                <a:gd name="connsiteX0" fmla="*/ 39383 w 39719"/>
                <a:gd name="connsiteY0" fmla="*/ 95633 h 95795"/>
                <a:gd name="connsiteX1" fmla="*/ 39383 w 39719"/>
                <a:gd name="connsiteY1" fmla="*/ 94966 h 95795"/>
                <a:gd name="connsiteX2" fmla="*/ 35573 w 39719"/>
                <a:gd name="connsiteY2" fmla="*/ 40388 h 95795"/>
                <a:gd name="connsiteX3" fmla="*/ 33954 w 39719"/>
                <a:gd name="connsiteY3" fmla="*/ 18099 h 95795"/>
                <a:gd name="connsiteX4" fmla="*/ 33954 w 39719"/>
                <a:gd name="connsiteY4" fmla="*/ 18099 h 95795"/>
                <a:gd name="connsiteX5" fmla="*/ 33192 w 39719"/>
                <a:gd name="connsiteY5" fmla="*/ 6574 h 95795"/>
                <a:gd name="connsiteX6" fmla="*/ 28239 w 39719"/>
                <a:gd name="connsiteY6" fmla="*/ 4383 h 95795"/>
                <a:gd name="connsiteX7" fmla="*/ -336 w 39719"/>
                <a:gd name="connsiteY7" fmla="*/ 288 h 95795"/>
                <a:gd name="connsiteX8" fmla="*/ 14713 w 39719"/>
                <a:gd name="connsiteY8" fmla="*/ 36578 h 95795"/>
                <a:gd name="connsiteX9" fmla="*/ 39097 w 39719"/>
                <a:gd name="connsiteY9" fmla="*/ 95061 h 95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719" h="95795">
                  <a:moveTo>
                    <a:pt x="39383" y="95633"/>
                  </a:moveTo>
                  <a:lnTo>
                    <a:pt x="39383" y="94966"/>
                  </a:lnTo>
                  <a:lnTo>
                    <a:pt x="35573" y="40388"/>
                  </a:lnTo>
                  <a:lnTo>
                    <a:pt x="33954" y="18099"/>
                  </a:lnTo>
                  <a:lnTo>
                    <a:pt x="33954" y="18099"/>
                  </a:lnTo>
                  <a:lnTo>
                    <a:pt x="33192" y="6574"/>
                  </a:lnTo>
                  <a:cubicBezTo>
                    <a:pt x="31477" y="5717"/>
                    <a:pt x="29858" y="5050"/>
                    <a:pt x="28239" y="4383"/>
                  </a:cubicBezTo>
                  <a:cubicBezTo>
                    <a:pt x="19266" y="440"/>
                    <a:pt x="9389" y="-979"/>
                    <a:pt x="-336" y="288"/>
                  </a:cubicBezTo>
                  <a:lnTo>
                    <a:pt x="14713" y="36578"/>
                  </a:lnTo>
                  <a:lnTo>
                    <a:pt x="39097" y="95061"/>
                  </a:lnTo>
                  <a:close/>
                </a:path>
              </a:pathLst>
            </a:custGeom>
            <a:solidFill>
              <a:srgbClr val="FF7D33"/>
            </a:solidFill>
            <a:ln w="9525" cap="flat">
              <a:noFill/>
              <a:prstDash val="solid"/>
              <a:miter/>
            </a:ln>
          </p:spPr>
          <p:txBody>
            <a:bodyPr rtlCol="0" anchor="ctr"/>
            <a:lstStyle/>
            <a:p>
              <a:endParaRPr lang="zh-CN" altLang="en-US"/>
            </a:p>
          </p:txBody>
        </p:sp>
        <p:sp>
          <p:nvSpPr>
            <p:cNvPr id="850" name="îsľîḓe">
              <a:extLst>
                <a:ext uri="{FF2B5EF4-FFF2-40B4-BE49-F238E27FC236}">
                  <a16:creationId xmlns:a16="http://schemas.microsoft.com/office/drawing/2014/main" id="{25364711-C8E9-4C80-B7DA-136A87B2F5E4}"/>
                </a:ext>
              </a:extLst>
            </p:cNvPr>
            <p:cNvSpPr/>
            <p:nvPr/>
          </p:nvSpPr>
          <p:spPr>
            <a:xfrm>
              <a:off x="5988916" y="3029404"/>
              <a:ext cx="104084" cy="51025"/>
            </a:xfrm>
            <a:custGeom>
              <a:avLst/>
              <a:gdLst>
                <a:gd name="connsiteX0" fmla="*/ 12237 w 34194"/>
                <a:gd name="connsiteY0" fmla="*/ 12220 h 16763"/>
                <a:gd name="connsiteX1" fmla="*/ 33858 w 34194"/>
                <a:gd name="connsiteY1" fmla="*/ -163 h 16763"/>
                <a:gd name="connsiteX2" fmla="*/ 21381 w 34194"/>
                <a:gd name="connsiteY2" fmla="*/ 4219 h 16763"/>
                <a:gd name="connsiteX3" fmla="*/ -336 w 34194"/>
                <a:gd name="connsiteY3" fmla="*/ 16601 h 16763"/>
                <a:gd name="connsiteX4" fmla="*/ 11665 w 34194"/>
                <a:gd name="connsiteY4" fmla="*/ 12315 h 16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194" h="16763">
                  <a:moveTo>
                    <a:pt x="12237" y="12220"/>
                  </a:moveTo>
                  <a:lnTo>
                    <a:pt x="33858" y="-163"/>
                  </a:lnTo>
                  <a:cubicBezTo>
                    <a:pt x="29458" y="485"/>
                    <a:pt x="25219" y="1971"/>
                    <a:pt x="21381" y="4219"/>
                  </a:cubicBezTo>
                  <a:lnTo>
                    <a:pt x="-336" y="16601"/>
                  </a:lnTo>
                  <a:cubicBezTo>
                    <a:pt x="3379" y="14468"/>
                    <a:pt x="7445" y="13020"/>
                    <a:pt x="11665" y="12315"/>
                  </a:cubicBezTo>
                  <a:close/>
                </a:path>
              </a:pathLst>
            </a:custGeom>
            <a:solidFill>
              <a:srgbClr val="E1E8F2"/>
            </a:solidFill>
            <a:ln w="9525" cap="flat">
              <a:noFill/>
              <a:prstDash val="solid"/>
              <a:miter/>
            </a:ln>
          </p:spPr>
          <p:txBody>
            <a:bodyPr rtlCol="0" anchor="ctr"/>
            <a:lstStyle/>
            <a:p>
              <a:endParaRPr lang="zh-CN" altLang="en-US"/>
            </a:p>
          </p:txBody>
        </p:sp>
        <p:sp>
          <p:nvSpPr>
            <p:cNvPr id="851" name="iS1ïḍe">
              <a:extLst>
                <a:ext uri="{FF2B5EF4-FFF2-40B4-BE49-F238E27FC236}">
                  <a16:creationId xmlns:a16="http://schemas.microsoft.com/office/drawing/2014/main" id="{754B52E0-E4BA-4E0E-A20C-4CFD294F2D87}"/>
                </a:ext>
              </a:extLst>
            </p:cNvPr>
            <p:cNvSpPr/>
            <p:nvPr/>
          </p:nvSpPr>
          <p:spPr>
            <a:xfrm>
              <a:off x="5922233" y="3067383"/>
              <a:ext cx="225856" cy="376044"/>
            </a:xfrm>
            <a:custGeom>
              <a:avLst/>
              <a:gdLst>
                <a:gd name="connsiteX0" fmla="*/ 73863 w 74199"/>
                <a:gd name="connsiteY0" fmla="*/ 95183 h 123539"/>
                <a:gd name="connsiteX1" fmla="*/ 73863 w 74199"/>
                <a:gd name="connsiteY1" fmla="*/ 95183 h 123539"/>
                <a:gd name="connsiteX2" fmla="*/ 73863 w 74199"/>
                <a:gd name="connsiteY2" fmla="*/ 94611 h 123539"/>
                <a:gd name="connsiteX3" fmla="*/ 49479 w 74199"/>
                <a:gd name="connsiteY3" fmla="*/ 36128 h 123539"/>
                <a:gd name="connsiteX4" fmla="*/ 34430 w 74199"/>
                <a:gd name="connsiteY4" fmla="*/ -163 h 123539"/>
                <a:gd name="connsiteX5" fmla="*/ 33477 w 74199"/>
                <a:gd name="connsiteY5" fmla="*/ -163 h 123539"/>
                <a:gd name="connsiteX6" fmla="*/ 21476 w 74199"/>
                <a:gd name="connsiteY6" fmla="*/ 4124 h 123539"/>
                <a:gd name="connsiteX7" fmla="*/ -336 w 74199"/>
                <a:gd name="connsiteY7" fmla="*/ 51749 h 123539"/>
                <a:gd name="connsiteX8" fmla="*/ 20237 w 74199"/>
                <a:gd name="connsiteY8" fmla="*/ 123377 h 123539"/>
                <a:gd name="connsiteX9" fmla="*/ 40621 w 74199"/>
                <a:gd name="connsiteY9" fmla="*/ 112518 h 123539"/>
                <a:gd name="connsiteX10" fmla="*/ 42335 w 74199"/>
                <a:gd name="connsiteY10" fmla="*/ 111661 h 123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4199" h="123539">
                  <a:moveTo>
                    <a:pt x="73863" y="95183"/>
                  </a:moveTo>
                  <a:lnTo>
                    <a:pt x="73863" y="95183"/>
                  </a:lnTo>
                  <a:lnTo>
                    <a:pt x="73863" y="94611"/>
                  </a:lnTo>
                  <a:lnTo>
                    <a:pt x="49479" y="36128"/>
                  </a:lnTo>
                  <a:lnTo>
                    <a:pt x="34430" y="-163"/>
                  </a:lnTo>
                  <a:lnTo>
                    <a:pt x="33477" y="-163"/>
                  </a:lnTo>
                  <a:cubicBezTo>
                    <a:pt x="29258" y="542"/>
                    <a:pt x="25191" y="1990"/>
                    <a:pt x="21476" y="4124"/>
                  </a:cubicBezTo>
                  <a:cubicBezTo>
                    <a:pt x="8045" y="11839"/>
                    <a:pt x="-336" y="28412"/>
                    <a:pt x="-336" y="51749"/>
                  </a:cubicBezTo>
                  <a:cubicBezTo>
                    <a:pt x="426" y="76971"/>
                    <a:pt x="7503" y="101593"/>
                    <a:pt x="20237" y="123377"/>
                  </a:cubicBezTo>
                  <a:lnTo>
                    <a:pt x="40621" y="112518"/>
                  </a:lnTo>
                  <a:lnTo>
                    <a:pt x="42335" y="111661"/>
                  </a:lnTo>
                  <a:close/>
                </a:path>
              </a:pathLst>
            </a:custGeom>
            <a:solidFill>
              <a:srgbClr val="EDF4FF"/>
            </a:solidFill>
            <a:ln w="9525" cap="flat">
              <a:noFill/>
              <a:prstDash val="solid"/>
              <a:miter/>
            </a:ln>
          </p:spPr>
          <p:txBody>
            <a:bodyPr rtlCol="0" anchor="ctr"/>
            <a:lstStyle/>
            <a:p>
              <a:endParaRPr lang="zh-CN" altLang="en-US"/>
            </a:p>
          </p:txBody>
        </p:sp>
        <p:sp>
          <p:nvSpPr>
            <p:cNvPr id="852" name="iSḷíḍê">
              <a:extLst>
                <a:ext uri="{FF2B5EF4-FFF2-40B4-BE49-F238E27FC236}">
                  <a16:creationId xmlns:a16="http://schemas.microsoft.com/office/drawing/2014/main" id="{5AAECCBF-A759-4354-BEF5-A747019A8EAE}"/>
                </a:ext>
              </a:extLst>
            </p:cNvPr>
            <p:cNvSpPr/>
            <p:nvPr/>
          </p:nvSpPr>
          <p:spPr>
            <a:xfrm>
              <a:off x="6128955" y="3086231"/>
              <a:ext cx="196285" cy="271086"/>
            </a:xfrm>
            <a:custGeom>
              <a:avLst/>
              <a:gdLst>
                <a:gd name="connsiteX0" fmla="*/ 64148 w 64484"/>
                <a:gd name="connsiteY0" fmla="*/ 69370 h 89058"/>
                <a:gd name="connsiteX1" fmla="*/ 61862 w 64484"/>
                <a:gd name="connsiteY1" fmla="*/ 64988 h 89058"/>
                <a:gd name="connsiteX2" fmla="*/ 23286 w 64484"/>
                <a:gd name="connsiteY2" fmla="*/ 15554 h 89058"/>
                <a:gd name="connsiteX3" fmla="*/ 6141 w 64484"/>
                <a:gd name="connsiteY3" fmla="*/ 3266 h 89058"/>
                <a:gd name="connsiteX4" fmla="*/ -336 w 64484"/>
                <a:gd name="connsiteY4" fmla="*/ -163 h 89058"/>
                <a:gd name="connsiteX5" fmla="*/ 426 w 64484"/>
                <a:gd name="connsiteY5" fmla="*/ 11363 h 89058"/>
                <a:gd name="connsiteX6" fmla="*/ 426 w 64484"/>
                <a:gd name="connsiteY6" fmla="*/ 11363 h 89058"/>
                <a:gd name="connsiteX7" fmla="*/ 2045 w 64484"/>
                <a:gd name="connsiteY7" fmla="*/ 33651 h 89058"/>
                <a:gd name="connsiteX8" fmla="*/ 5855 w 64484"/>
                <a:gd name="connsiteY8" fmla="*/ 88229 h 89058"/>
                <a:gd name="connsiteX9" fmla="*/ 5855 w 64484"/>
                <a:gd name="connsiteY9" fmla="*/ 88896 h 89058"/>
                <a:gd name="connsiteX10" fmla="*/ 5855 w 64484"/>
                <a:gd name="connsiteY10" fmla="*/ 88896 h 89058"/>
                <a:gd name="connsiteX11" fmla="*/ 30334 w 64484"/>
                <a:gd name="connsiteY11" fmla="*/ 80705 h 89058"/>
                <a:gd name="connsiteX12" fmla="*/ 41764 w 64484"/>
                <a:gd name="connsiteY12" fmla="*/ 76418 h 890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4484" h="89058">
                  <a:moveTo>
                    <a:pt x="64148" y="69370"/>
                  </a:moveTo>
                  <a:lnTo>
                    <a:pt x="61862" y="64988"/>
                  </a:lnTo>
                  <a:cubicBezTo>
                    <a:pt x="52204" y="46243"/>
                    <a:pt x="39126" y="29479"/>
                    <a:pt x="23286" y="15554"/>
                  </a:cubicBezTo>
                  <a:cubicBezTo>
                    <a:pt x="17961" y="10934"/>
                    <a:pt x="12218" y="6829"/>
                    <a:pt x="6141" y="3266"/>
                  </a:cubicBezTo>
                  <a:lnTo>
                    <a:pt x="-336" y="-163"/>
                  </a:lnTo>
                  <a:lnTo>
                    <a:pt x="426" y="11363"/>
                  </a:lnTo>
                  <a:lnTo>
                    <a:pt x="426" y="11363"/>
                  </a:lnTo>
                  <a:lnTo>
                    <a:pt x="2045" y="33651"/>
                  </a:lnTo>
                  <a:lnTo>
                    <a:pt x="5855" y="88229"/>
                  </a:lnTo>
                  <a:lnTo>
                    <a:pt x="5855" y="88896"/>
                  </a:lnTo>
                  <a:lnTo>
                    <a:pt x="5855" y="88896"/>
                  </a:lnTo>
                  <a:lnTo>
                    <a:pt x="30334" y="80705"/>
                  </a:lnTo>
                  <a:lnTo>
                    <a:pt x="41764" y="76418"/>
                  </a:lnTo>
                  <a:close/>
                </a:path>
              </a:pathLst>
            </a:custGeom>
            <a:solidFill>
              <a:srgbClr val="D9530B"/>
            </a:solidFill>
            <a:ln w="9525" cap="flat">
              <a:noFill/>
              <a:prstDash val="solid"/>
              <a:miter/>
            </a:ln>
          </p:spPr>
          <p:txBody>
            <a:bodyPr rtlCol="0" anchor="ctr"/>
            <a:lstStyle/>
            <a:p>
              <a:endParaRPr lang="zh-CN" altLang="en-US"/>
            </a:p>
          </p:txBody>
        </p:sp>
        <p:sp>
          <p:nvSpPr>
            <p:cNvPr id="853" name="íṥľîdé">
              <a:extLst>
                <a:ext uri="{FF2B5EF4-FFF2-40B4-BE49-F238E27FC236}">
                  <a16:creationId xmlns:a16="http://schemas.microsoft.com/office/drawing/2014/main" id="{238E2079-D109-4040-B9FB-DFEA3E0F6BDE}"/>
                </a:ext>
              </a:extLst>
            </p:cNvPr>
            <p:cNvSpPr/>
            <p:nvPr/>
          </p:nvSpPr>
          <p:spPr>
            <a:xfrm>
              <a:off x="6128955" y="3048249"/>
              <a:ext cx="262100" cy="249632"/>
            </a:xfrm>
            <a:custGeom>
              <a:avLst/>
              <a:gdLst>
                <a:gd name="connsiteX0" fmla="*/ 64148 w 86106"/>
                <a:gd name="connsiteY0" fmla="*/ 81848 h 82010"/>
                <a:gd name="connsiteX1" fmla="*/ 85770 w 86106"/>
                <a:gd name="connsiteY1" fmla="*/ 69465 h 82010"/>
                <a:gd name="connsiteX2" fmla="*/ 27858 w 86106"/>
                <a:gd name="connsiteY2" fmla="*/ 3362 h 82010"/>
                <a:gd name="connsiteX3" fmla="*/ 21286 w 86106"/>
                <a:gd name="connsiteY3" fmla="*/ -163 h 82010"/>
                <a:gd name="connsiteX4" fmla="*/ -336 w 86106"/>
                <a:gd name="connsiteY4" fmla="*/ 12696 h 82010"/>
                <a:gd name="connsiteX5" fmla="*/ 6141 w 86106"/>
                <a:gd name="connsiteY5" fmla="*/ 16125 h 82010"/>
                <a:gd name="connsiteX6" fmla="*/ 23286 w 86106"/>
                <a:gd name="connsiteY6" fmla="*/ 28412 h 82010"/>
                <a:gd name="connsiteX7" fmla="*/ 61862 w 86106"/>
                <a:gd name="connsiteY7" fmla="*/ 77847 h 82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6106" h="82010">
                  <a:moveTo>
                    <a:pt x="64148" y="81848"/>
                  </a:moveTo>
                  <a:lnTo>
                    <a:pt x="85770" y="69465"/>
                  </a:lnTo>
                  <a:cubicBezTo>
                    <a:pt x="73168" y="42357"/>
                    <a:pt x="53071" y="19421"/>
                    <a:pt x="27858" y="3362"/>
                  </a:cubicBezTo>
                  <a:cubicBezTo>
                    <a:pt x="25724" y="2076"/>
                    <a:pt x="23533" y="904"/>
                    <a:pt x="21286" y="-163"/>
                  </a:cubicBezTo>
                  <a:lnTo>
                    <a:pt x="-336" y="12696"/>
                  </a:lnTo>
                  <a:lnTo>
                    <a:pt x="6141" y="16125"/>
                  </a:lnTo>
                  <a:cubicBezTo>
                    <a:pt x="12218" y="19687"/>
                    <a:pt x="17961" y="23793"/>
                    <a:pt x="23286" y="28412"/>
                  </a:cubicBezTo>
                  <a:cubicBezTo>
                    <a:pt x="39126" y="42338"/>
                    <a:pt x="52204" y="59102"/>
                    <a:pt x="61862" y="77847"/>
                  </a:cubicBezTo>
                  <a:close/>
                </a:path>
              </a:pathLst>
            </a:custGeom>
            <a:solidFill>
              <a:srgbClr val="BF4200"/>
            </a:solidFill>
            <a:ln w="9525" cap="flat">
              <a:noFill/>
              <a:prstDash val="solid"/>
              <a:miter/>
            </a:ln>
          </p:spPr>
          <p:txBody>
            <a:bodyPr rtlCol="0" anchor="ctr"/>
            <a:lstStyle/>
            <a:p>
              <a:endParaRPr lang="zh-CN" altLang="en-US"/>
            </a:p>
          </p:txBody>
        </p:sp>
        <p:sp>
          <p:nvSpPr>
            <p:cNvPr id="854" name="ïṩḻíḓè">
              <a:extLst>
                <a:ext uri="{FF2B5EF4-FFF2-40B4-BE49-F238E27FC236}">
                  <a16:creationId xmlns:a16="http://schemas.microsoft.com/office/drawing/2014/main" id="{2365F1C0-E6F1-4720-A934-B31488390561}"/>
                </a:ext>
              </a:extLst>
            </p:cNvPr>
            <p:cNvSpPr/>
            <p:nvPr/>
          </p:nvSpPr>
          <p:spPr>
            <a:xfrm>
              <a:off x="6765069" y="3674485"/>
              <a:ext cx="227887" cy="124981"/>
            </a:xfrm>
            <a:custGeom>
              <a:avLst/>
              <a:gdLst>
                <a:gd name="connsiteX0" fmla="*/ -336 w 74866"/>
                <a:gd name="connsiteY0" fmla="*/ 3940 h 41059"/>
                <a:gd name="connsiteX1" fmla="*/ 2045 w 74866"/>
                <a:gd name="connsiteY1" fmla="*/ 3178 h 41059"/>
                <a:gd name="connsiteX2" fmla="*/ 12141 w 74866"/>
                <a:gd name="connsiteY2" fmla="*/ 5654 h 41059"/>
                <a:gd name="connsiteX3" fmla="*/ 67672 w 74866"/>
                <a:gd name="connsiteY3" fmla="*/ 37658 h 41059"/>
                <a:gd name="connsiteX4" fmla="*/ 73292 w 74866"/>
                <a:gd name="connsiteY4" fmla="*/ 40897 h 41059"/>
                <a:gd name="connsiteX5" fmla="*/ 74530 w 74866"/>
                <a:gd name="connsiteY5" fmla="*/ 35087 h 41059"/>
                <a:gd name="connsiteX6" fmla="*/ 74530 w 74866"/>
                <a:gd name="connsiteY6" fmla="*/ 35087 h 41059"/>
                <a:gd name="connsiteX7" fmla="*/ 73292 w 74866"/>
                <a:gd name="connsiteY7" fmla="*/ 34420 h 41059"/>
                <a:gd name="connsiteX8" fmla="*/ 17761 w 74866"/>
                <a:gd name="connsiteY8" fmla="*/ 2321 h 41059"/>
                <a:gd name="connsiteX9" fmla="*/ 5283 w 74866"/>
                <a:gd name="connsiteY9" fmla="*/ 606 h 41059"/>
                <a:gd name="connsiteX10" fmla="*/ 3950 w 74866"/>
                <a:gd name="connsiteY10" fmla="*/ 1463 h 41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4866" h="41059">
                  <a:moveTo>
                    <a:pt x="-336" y="3940"/>
                  </a:moveTo>
                  <a:cubicBezTo>
                    <a:pt x="416" y="3578"/>
                    <a:pt x="1226" y="3330"/>
                    <a:pt x="2045" y="3178"/>
                  </a:cubicBezTo>
                  <a:cubicBezTo>
                    <a:pt x="5598" y="2806"/>
                    <a:pt x="9160" y="3683"/>
                    <a:pt x="12141" y="5654"/>
                  </a:cubicBezTo>
                  <a:lnTo>
                    <a:pt x="67672" y="37658"/>
                  </a:lnTo>
                  <a:lnTo>
                    <a:pt x="73292" y="40897"/>
                  </a:lnTo>
                  <a:cubicBezTo>
                    <a:pt x="73254" y="38887"/>
                    <a:pt x="73682" y="36906"/>
                    <a:pt x="74530" y="35087"/>
                  </a:cubicBezTo>
                  <a:lnTo>
                    <a:pt x="74530" y="35087"/>
                  </a:lnTo>
                  <a:lnTo>
                    <a:pt x="73292" y="34420"/>
                  </a:lnTo>
                  <a:lnTo>
                    <a:pt x="17761" y="2321"/>
                  </a:lnTo>
                  <a:cubicBezTo>
                    <a:pt x="14113" y="-213"/>
                    <a:pt x="9474" y="-851"/>
                    <a:pt x="5283" y="606"/>
                  </a:cubicBezTo>
                  <a:lnTo>
                    <a:pt x="3950" y="1463"/>
                  </a:lnTo>
                  <a:close/>
                </a:path>
              </a:pathLst>
            </a:custGeom>
            <a:solidFill>
              <a:srgbClr val="316DE6"/>
            </a:solidFill>
            <a:ln w="9525" cap="flat">
              <a:noFill/>
              <a:prstDash val="solid"/>
              <a:miter/>
            </a:ln>
          </p:spPr>
          <p:txBody>
            <a:bodyPr rtlCol="0" anchor="ctr"/>
            <a:lstStyle/>
            <a:p>
              <a:endParaRPr lang="zh-CN" altLang="en-US"/>
            </a:p>
          </p:txBody>
        </p:sp>
        <p:sp>
          <p:nvSpPr>
            <p:cNvPr id="855" name="î$ļíḍè">
              <a:extLst>
                <a:ext uri="{FF2B5EF4-FFF2-40B4-BE49-F238E27FC236}">
                  <a16:creationId xmlns:a16="http://schemas.microsoft.com/office/drawing/2014/main" id="{361C565A-8A9B-4D05-910C-FE9014D6B379}"/>
                </a:ext>
              </a:extLst>
            </p:cNvPr>
            <p:cNvSpPr/>
            <p:nvPr/>
          </p:nvSpPr>
          <p:spPr>
            <a:xfrm>
              <a:off x="6745907" y="3685848"/>
              <a:ext cx="390855" cy="518177"/>
            </a:xfrm>
            <a:custGeom>
              <a:avLst/>
              <a:gdLst>
                <a:gd name="connsiteX0" fmla="*/ -328 w 128405"/>
                <a:gd name="connsiteY0" fmla="*/ 12780 h 170233"/>
                <a:gd name="connsiteX1" fmla="*/ -328 w 128405"/>
                <a:gd name="connsiteY1" fmla="*/ 17066 h 170233"/>
                <a:gd name="connsiteX2" fmla="*/ 5292 w 128405"/>
                <a:gd name="connsiteY2" fmla="*/ 20400 h 170233"/>
                <a:gd name="connsiteX3" fmla="*/ 51488 w 128405"/>
                <a:gd name="connsiteY3" fmla="*/ 46974 h 170233"/>
                <a:gd name="connsiteX4" fmla="*/ 86730 w 128405"/>
                <a:gd name="connsiteY4" fmla="*/ 67072 h 170233"/>
                <a:gd name="connsiteX5" fmla="*/ 105780 w 128405"/>
                <a:gd name="connsiteY5" fmla="*/ 99552 h 170233"/>
                <a:gd name="connsiteX6" fmla="*/ 105780 w 128405"/>
                <a:gd name="connsiteY6" fmla="*/ 162989 h 170233"/>
                <a:gd name="connsiteX7" fmla="*/ 116829 w 128405"/>
                <a:gd name="connsiteY7" fmla="*/ 168609 h 170233"/>
                <a:gd name="connsiteX8" fmla="*/ 116829 w 128405"/>
                <a:gd name="connsiteY8" fmla="*/ 168609 h 170233"/>
                <a:gd name="connsiteX9" fmla="*/ 128069 w 128405"/>
                <a:gd name="connsiteY9" fmla="*/ 149559 h 170233"/>
                <a:gd name="connsiteX10" fmla="*/ 128069 w 128405"/>
                <a:gd name="connsiteY10" fmla="*/ 65358 h 170233"/>
                <a:gd name="connsiteX11" fmla="*/ 114353 w 128405"/>
                <a:gd name="connsiteY11" fmla="*/ 41640 h 170233"/>
                <a:gd name="connsiteX12" fmla="*/ 93779 w 128405"/>
                <a:gd name="connsiteY12" fmla="*/ 29734 h 170233"/>
                <a:gd name="connsiteX13" fmla="*/ 87302 w 128405"/>
                <a:gd name="connsiteY13" fmla="*/ 27924 h 170233"/>
                <a:gd name="connsiteX14" fmla="*/ 84635 w 128405"/>
                <a:gd name="connsiteY14" fmla="*/ 28496 h 170233"/>
                <a:gd name="connsiteX15" fmla="*/ 83778 w 128405"/>
                <a:gd name="connsiteY15" fmla="*/ 28972 h 170233"/>
                <a:gd name="connsiteX16" fmla="*/ 81301 w 128405"/>
                <a:gd name="connsiteY16" fmla="*/ 31830 h 170233"/>
                <a:gd name="connsiteX17" fmla="*/ 81301 w 128405"/>
                <a:gd name="connsiteY17" fmla="*/ 31830 h 170233"/>
                <a:gd name="connsiteX18" fmla="*/ 80063 w 128405"/>
                <a:gd name="connsiteY18" fmla="*/ 37640 h 170233"/>
                <a:gd name="connsiteX19" fmla="*/ 74443 w 128405"/>
                <a:gd name="connsiteY19" fmla="*/ 34401 h 170233"/>
                <a:gd name="connsiteX20" fmla="*/ 18913 w 128405"/>
                <a:gd name="connsiteY20" fmla="*/ 2397 h 170233"/>
                <a:gd name="connsiteX21" fmla="*/ 8816 w 128405"/>
                <a:gd name="connsiteY21" fmla="*/ -79 h 170233"/>
                <a:gd name="connsiteX22" fmla="*/ 6435 w 128405"/>
                <a:gd name="connsiteY22" fmla="*/ 683 h 170233"/>
                <a:gd name="connsiteX23" fmla="*/ 5006 w 128405"/>
                <a:gd name="connsiteY23" fmla="*/ 1445 h 170233"/>
                <a:gd name="connsiteX24" fmla="*/ -328 w 128405"/>
                <a:gd name="connsiteY24" fmla="*/ 12780 h 170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28405" h="170233">
                  <a:moveTo>
                    <a:pt x="-328" y="12780"/>
                  </a:moveTo>
                  <a:lnTo>
                    <a:pt x="-328" y="17066"/>
                  </a:lnTo>
                  <a:lnTo>
                    <a:pt x="5292" y="20400"/>
                  </a:lnTo>
                  <a:lnTo>
                    <a:pt x="51488" y="46974"/>
                  </a:lnTo>
                  <a:lnTo>
                    <a:pt x="86730" y="67072"/>
                  </a:lnTo>
                  <a:cubicBezTo>
                    <a:pt x="97932" y="74206"/>
                    <a:pt x="105019" y="86294"/>
                    <a:pt x="105780" y="99552"/>
                  </a:cubicBezTo>
                  <a:lnTo>
                    <a:pt x="105780" y="162989"/>
                  </a:lnTo>
                  <a:cubicBezTo>
                    <a:pt x="105780" y="169371"/>
                    <a:pt x="110924" y="171942"/>
                    <a:pt x="116829" y="168609"/>
                  </a:cubicBezTo>
                  <a:lnTo>
                    <a:pt x="116829" y="168609"/>
                  </a:lnTo>
                  <a:cubicBezTo>
                    <a:pt x="123364" y="164380"/>
                    <a:pt x="127526" y="157322"/>
                    <a:pt x="128069" y="149559"/>
                  </a:cubicBezTo>
                  <a:lnTo>
                    <a:pt x="128069" y="65358"/>
                  </a:lnTo>
                  <a:cubicBezTo>
                    <a:pt x="127526" y="55718"/>
                    <a:pt x="122430" y="46917"/>
                    <a:pt x="114353" y="41640"/>
                  </a:cubicBezTo>
                  <a:lnTo>
                    <a:pt x="93779" y="29734"/>
                  </a:lnTo>
                  <a:cubicBezTo>
                    <a:pt x="91836" y="28524"/>
                    <a:pt x="89588" y="27896"/>
                    <a:pt x="87302" y="27924"/>
                  </a:cubicBezTo>
                  <a:cubicBezTo>
                    <a:pt x="86387" y="27953"/>
                    <a:pt x="85483" y="28153"/>
                    <a:pt x="84635" y="28496"/>
                  </a:cubicBezTo>
                  <a:lnTo>
                    <a:pt x="83778" y="28972"/>
                  </a:lnTo>
                  <a:cubicBezTo>
                    <a:pt x="82721" y="29696"/>
                    <a:pt x="81863" y="30677"/>
                    <a:pt x="81301" y="31830"/>
                  </a:cubicBezTo>
                  <a:lnTo>
                    <a:pt x="81301" y="31830"/>
                  </a:lnTo>
                  <a:cubicBezTo>
                    <a:pt x="80454" y="33649"/>
                    <a:pt x="80025" y="35630"/>
                    <a:pt x="80063" y="37640"/>
                  </a:cubicBezTo>
                  <a:lnTo>
                    <a:pt x="74443" y="34401"/>
                  </a:lnTo>
                  <a:lnTo>
                    <a:pt x="18913" y="2397"/>
                  </a:lnTo>
                  <a:cubicBezTo>
                    <a:pt x="15931" y="426"/>
                    <a:pt x="12369" y="-451"/>
                    <a:pt x="8816" y="-79"/>
                  </a:cubicBezTo>
                  <a:cubicBezTo>
                    <a:pt x="7997" y="73"/>
                    <a:pt x="7187" y="321"/>
                    <a:pt x="6435" y="683"/>
                  </a:cubicBezTo>
                  <a:lnTo>
                    <a:pt x="5006" y="1445"/>
                  </a:lnTo>
                  <a:cubicBezTo>
                    <a:pt x="1510" y="4140"/>
                    <a:pt x="-480" y="8360"/>
                    <a:pt x="-328" y="12780"/>
                  </a:cubicBezTo>
                  <a:close/>
                </a:path>
              </a:pathLst>
            </a:custGeom>
            <a:solidFill>
              <a:srgbClr val="323A82"/>
            </a:solidFill>
            <a:ln w="9525" cap="flat">
              <a:noFill/>
              <a:prstDash val="solid"/>
              <a:miter/>
            </a:ln>
          </p:spPr>
          <p:txBody>
            <a:bodyPr rtlCol="0" anchor="ctr"/>
            <a:lstStyle/>
            <a:p>
              <a:endParaRPr lang="zh-CN" altLang="en-US"/>
            </a:p>
          </p:txBody>
        </p:sp>
        <p:sp>
          <p:nvSpPr>
            <p:cNvPr id="856" name="ïṣlíḓe">
              <a:extLst>
                <a:ext uri="{FF2B5EF4-FFF2-40B4-BE49-F238E27FC236}">
                  <a16:creationId xmlns:a16="http://schemas.microsoft.com/office/drawing/2014/main" id="{09BDFFF9-C1C3-46C8-B229-7742F5A4DA2D}"/>
                </a:ext>
              </a:extLst>
            </p:cNvPr>
            <p:cNvSpPr/>
            <p:nvPr/>
          </p:nvSpPr>
          <p:spPr>
            <a:xfrm>
              <a:off x="6754053" y="3705265"/>
              <a:ext cx="322114" cy="451667"/>
            </a:xfrm>
            <a:custGeom>
              <a:avLst/>
              <a:gdLst>
                <a:gd name="connsiteX0" fmla="*/ 8522 w 105822"/>
                <a:gd name="connsiteY0" fmla="*/ 96127 h 148383"/>
                <a:gd name="connsiteX1" fmla="*/ 96628 w 105822"/>
                <a:gd name="connsiteY1" fmla="*/ 146991 h 148383"/>
                <a:gd name="connsiteX2" fmla="*/ 105486 w 105822"/>
                <a:gd name="connsiteY2" fmla="*/ 141847 h 148383"/>
                <a:gd name="connsiteX3" fmla="*/ 105486 w 105822"/>
                <a:gd name="connsiteY3" fmla="*/ 67266 h 148383"/>
                <a:gd name="connsiteX4" fmla="*/ 96628 w 105822"/>
                <a:gd name="connsiteY4" fmla="*/ 51931 h 148383"/>
                <a:gd name="connsiteX5" fmla="*/ 8522 w 105822"/>
                <a:gd name="connsiteY5" fmla="*/ 1068 h 148383"/>
                <a:gd name="connsiteX6" fmla="*/ -336 w 105822"/>
                <a:gd name="connsiteY6" fmla="*/ 6211 h 148383"/>
                <a:gd name="connsiteX7" fmla="*/ -336 w 105822"/>
                <a:gd name="connsiteY7" fmla="*/ 80697 h 148383"/>
                <a:gd name="connsiteX8" fmla="*/ 8522 w 105822"/>
                <a:gd name="connsiteY8" fmla="*/ 96127 h 1483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822" h="148383">
                  <a:moveTo>
                    <a:pt x="8522" y="96127"/>
                  </a:moveTo>
                  <a:lnTo>
                    <a:pt x="96628" y="146991"/>
                  </a:lnTo>
                  <a:cubicBezTo>
                    <a:pt x="101486" y="149848"/>
                    <a:pt x="105486" y="147562"/>
                    <a:pt x="105486" y="141847"/>
                  </a:cubicBezTo>
                  <a:lnTo>
                    <a:pt x="105486" y="67266"/>
                  </a:lnTo>
                  <a:cubicBezTo>
                    <a:pt x="105143" y="61037"/>
                    <a:pt x="101848" y="55341"/>
                    <a:pt x="96628" y="51931"/>
                  </a:cubicBezTo>
                  <a:lnTo>
                    <a:pt x="8522" y="1068"/>
                  </a:lnTo>
                  <a:cubicBezTo>
                    <a:pt x="3664" y="-1790"/>
                    <a:pt x="-336" y="496"/>
                    <a:pt x="-336" y="6211"/>
                  </a:cubicBezTo>
                  <a:lnTo>
                    <a:pt x="-336" y="80697"/>
                  </a:lnTo>
                  <a:cubicBezTo>
                    <a:pt x="-22" y="86964"/>
                    <a:pt x="3274" y="92698"/>
                    <a:pt x="8522" y="96127"/>
                  </a:cubicBezTo>
                  <a:close/>
                </a:path>
              </a:pathLst>
            </a:custGeom>
            <a:solidFill>
              <a:srgbClr val="D1D9E8"/>
            </a:solidFill>
            <a:ln w="9525" cap="flat">
              <a:noFill/>
              <a:prstDash val="solid"/>
              <a:miter/>
            </a:ln>
          </p:spPr>
          <p:txBody>
            <a:bodyPr rtlCol="0" anchor="ctr"/>
            <a:lstStyle/>
            <a:p>
              <a:endParaRPr lang="zh-CN" altLang="en-US"/>
            </a:p>
          </p:txBody>
        </p:sp>
        <p:sp>
          <p:nvSpPr>
            <p:cNvPr id="857" name="ïśḻïďé">
              <a:extLst>
                <a:ext uri="{FF2B5EF4-FFF2-40B4-BE49-F238E27FC236}">
                  <a16:creationId xmlns:a16="http://schemas.microsoft.com/office/drawing/2014/main" id="{91F87AD4-F703-4D8E-962D-80BE1B5E24FD}"/>
                </a:ext>
              </a:extLst>
            </p:cNvPr>
            <p:cNvSpPr/>
            <p:nvPr/>
          </p:nvSpPr>
          <p:spPr>
            <a:xfrm>
              <a:off x="6736946" y="3715121"/>
              <a:ext cx="322114" cy="451667"/>
            </a:xfrm>
            <a:custGeom>
              <a:avLst/>
              <a:gdLst>
                <a:gd name="connsiteX0" fmla="*/ 8522 w 105822"/>
                <a:gd name="connsiteY0" fmla="*/ 96127 h 148383"/>
                <a:gd name="connsiteX1" fmla="*/ 96628 w 105822"/>
                <a:gd name="connsiteY1" fmla="*/ 146991 h 148383"/>
                <a:gd name="connsiteX2" fmla="*/ 105487 w 105822"/>
                <a:gd name="connsiteY2" fmla="*/ 141847 h 148383"/>
                <a:gd name="connsiteX3" fmla="*/ 105487 w 105822"/>
                <a:gd name="connsiteY3" fmla="*/ 67362 h 148383"/>
                <a:gd name="connsiteX4" fmla="*/ 96628 w 105822"/>
                <a:gd name="connsiteY4" fmla="*/ 51931 h 148383"/>
                <a:gd name="connsiteX5" fmla="*/ 8522 w 105822"/>
                <a:gd name="connsiteY5" fmla="*/ 1068 h 148383"/>
                <a:gd name="connsiteX6" fmla="*/ -336 w 105822"/>
                <a:gd name="connsiteY6" fmla="*/ 6211 h 148383"/>
                <a:gd name="connsiteX7" fmla="*/ -336 w 105822"/>
                <a:gd name="connsiteY7" fmla="*/ 80792 h 148383"/>
                <a:gd name="connsiteX8" fmla="*/ 8522 w 105822"/>
                <a:gd name="connsiteY8" fmla="*/ 96127 h 1483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822" h="148383">
                  <a:moveTo>
                    <a:pt x="8522" y="96127"/>
                  </a:moveTo>
                  <a:lnTo>
                    <a:pt x="96628" y="146991"/>
                  </a:lnTo>
                  <a:cubicBezTo>
                    <a:pt x="101486" y="149848"/>
                    <a:pt x="105487" y="147562"/>
                    <a:pt x="105487" y="141847"/>
                  </a:cubicBezTo>
                  <a:lnTo>
                    <a:pt x="105487" y="67362"/>
                  </a:lnTo>
                  <a:cubicBezTo>
                    <a:pt x="105172" y="61094"/>
                    <a:pt x="101877" y="55360"/>
                    <a:pt x="96628" y="51931"/>
                  </a:cubicBezTo>
                  <a:lnTo>
                    <a:pt x="8522" y="1068"/>
                  </a:lnTo>
                  <a:cubicBezTo>
                    <a:pt x="3664" y="-1790"/>
                    <a:pt x="-336" y="496"/>
                    <a:pt x="-336" y="6211"/>
                  </a:cubicBezTo>
                  <a:lnTo>
                    <a:pt x="-336" y="80792"/>
                  </a:lnTo>
                  <a:cubicBezTo>
                    <a:pt x="7" y="87021"/>
                    <a:pt x="3302" y="92717"/>
                    <a:pt x="8522" y="96127"/>
                  </a:cubicBezTo>
                  <a:close/>
                </a:path>
              </a:pathLst>
            </a:custGeom>
            <a:solidFill>
              <a:srgbClr val="EDF4FF"/>
            </a:solidFill>
            <a:ln w="9525" cap="flat">
              <a:noFill/>
              <a:prstDash val="solid"/>
              <a:miter/>
            </a:ln>
          </p:spPr>
          <p:txBody>
            <a:bodyPr rtlCol="0" anchor="ctr"/>
            <a:lstStyle/>
            <a:p>
              <a:endParaRPr lang="zh-CN" altLang="en-US"/>
            </a:p>
          </p:txBody>
        </p:sp>
        <p:sp>
          <p:nvSpPr>
            <p:cNvPr id="858" name="íṧḷïḋe">
              <a:extLst>
                <a:ext uri="{FF2B5EF4-FFF2-40B4-BE49-F238E27FC236}">
                  <a16:creationId xmlns:a16="http://schemas.microsoft.com/office/drawing/2014/main" id="{B76787ED-60B1-4E56-B090-58A5664940CA}"/>
                </a:ext>
              </a:extLst>
            </p:cNvPr>
            <p:cNvSpPr/>
            <p:nvPr/>
          </p:nvSpPr>
          <p:spPr>
            <a:xfrm>
              <a:off x="6660525" y="3735385"/>
              <a:ext cx="390146" cy="528581"/>
            </a:xfrm>
            <a:custGeom>
              <a:avLst/>
              <a:gdLst>
                <a:gd name="connsiteX0" fmla="*/ -281 w 128172"/>
                <a:gd name="connsiteY0" fmla="*/ 12698 h 173651"/>
                <a:gd name="connsiteX1" fmla="*/ -281 w 128172"/>
                <a:gd name="connsiteY1" fmla="*/ 86327 h 173651"/>
                <a:gd name="connsiteX2" fmla="*/ 18769 w 128172"/>
                <a:gd name="connsiteY2" fmla="*/ 118807 h 173651"/>
                <a:gd name="connsiteX3" fmla="*/ 109066 w 128172"/>
                <a:gd name="connsiteY3" fmla="*/ 171004 h 173651"/>
                <a:gd name="connsiteX4" fmla="*/ 121639 w 128172"/>
                <a:gd name="connsiteY4" fmla="*/ 172623 h 173651"/>
                <a:gd name="connsiteX5" fmla="*/ 122782 w 128172"/>
                <a:gd name="connsiteY5" fmla="*/ 172052 h 173651"/>
                <a:gd name="connsiteX6" fmla="*/ 124878 w 128172"/>
                <a:gd name="connsiteY6" fmla="*/ 170147 h 173651"/>
                <a:gd name="connsiteX7" fmla="*/ 127830 w 128172"/>
                <a:gd name="connsiteY7" fmla="*/ 160622 h 173651"/>
                <a:gd name="connsiteX8" fmla="*/ 127830 w 128172"/>
                <a:gd name="connsiteY8" fmla="*/ 86993 h 173651"/>
                <a:gd name="connsiteX9" fmla="*/ 108780 w 128172"/>
                <a:gd name="connsiteY9" fmla="*/ 54513 h 173651"/>
                <a:gd name="connsiteX10" fmla="*/ 33343 w 128172"/>
                <a:gd name="connsiteY10" fmla="*/ 10984 h 173651"/>
                <a:gd name="connsiteX11" fmla="*/ 27723 w 128172"/>
                <a:gd name="connsiteY11" fmla="*/ 7745 h 173651"/>
                <a:gd name="connsiteX12" fmla="*/ 18198 w 128172"/>
                <a:gd name="connsiteY12" fmla="*/ 2316 h 173651"/>
                <a:gd name="connsiteX13" fmla="*/ 8006 w 128172"/>
                <a:gd name="connsiteY13" fmla="*/ -65 h 173651"/>
                <a:gd name="connsiteX14" fmla="*/ 4672 w 128172"/>
                <a:gd name="connsiteY14" fmla="*/ 1173 h 173651"/>
                <a:gd name="connsiteX15" fmla="*/ -281 w 128172"/>
                <a:gd name="connsiteY15" fmla="*/ 12698 h 173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8172" h="173651">
                  <a:moveTo>
                    <a:pt x="-281" y="12698"/>
                  </a:moveTo>
                  <a:lnTo>
                    <a:pt x="-281" y="86327"/>
                  </a:lnTo>
                  <a:cubicBezTo>
                    <a:pt x="481" y="99586"/>
                    <a:pt x="7568" y="111673"/>
                    <a:pt x="18769" y="118807"/>
                  </a:cubicBezTo>
                  <a:lnTo>
                    <a:pt x="109066" y="171004"/>
                  </a:lnTo>
                  <a:cubicBezTo>
                    <a:pt x="112733" y="173595"/>
                    <a:pt x="117439" y="174204"/>
                    <a:pt x="121639" y="172623"/>
                  </a:cubicBezTo>
                  <a:lnTo>
                    <a:pt x="122782" y="172052"/>
                  </a:lnTo>
                  <a:cubicBezTo>
                    <a:pt x="123544" y="171499"/>
                    <a:pt x="124249" y="170852"/>
                    <a:pt x="124878" y="170147"/>
                  </a:cubicBezTo>
                  <a:cubicBezTo>
                    <a:pt x="126888" y="167384"/>
                    <a:pt x="127926" y="164032"/>
                    <a:pt x="127830" y="160622"/>
                  </a:cubicBezTo>
                  <a:lnTo>
                    <a:pt x="127830" y="86993"/>
                  </a:lnTo>
                  <a:cubicBezTo>
                    <a:pt x="127040" y="73744"/>
                    <a:pt x="119953" y="61676"/>
                    <a:pt x="108780" y="54513"/>
                  </a:cubicBezTo>
                  <a:lnTo>
                    <a:pt x="33343" y="10984"/>
                  </a:lnTo>
                  <a:lnTo>
                    <a:pt x="27723" y="7745"/>
                  </a:lnTo>
                  <a:lnTo>
                    <a:pt x="18198" y="2316"/>
                  </a:lnTo>
                  <a:cubicBezTo>
                    <a:pt x="15178" y="373"/>
                    <a:pt x="11578" y="-465"/>
                    <a:pt x="8006" y="-65"/>
                  </a:cubicBezTo>
                  <a:cubicBezTo>
                    <a:pt x="6825" y="135"/>
                    <a:pt x="5691" y="554"/>
                    <a:pt x="4672" y="1173"/>
                  </a:cubicBezTo>
                  <a:cubicBezTo>
                    <a:pt x="1177" y="3926"/>
                    <a:pt x="-690" y="8269"/>
                    <a:pt x="-281" y="12698"/>
                  </a:cubicBezTo>
                  <a:close/>
                </a:path>
              </a:pathLst>
            </a:custGeom>
            <a:solidFill>
              <a:srgbClr val="214EA6"/>
            </a:solidFill>
            <a:ln w="9525" cap="flat">
              <a:noFill/>
              <a:prstDash val="solid"/>
              <a:miter/>
            </a:ln>
          </p:spPr>
          <p:txBody>
            <a:bodyPr rtlCol="0" anchor="ctr"/>
            <a:lstStyle/>
            <a:p>
              <a:endParaRPr lang="zh-CN" altLang="en-US"/>
            </a:p>
          </p:txBody>
        </p:sp>
        <p:sp>
          <p:nvSpPr>
            <p:cNvPr id="859" name="iš1ïďè">
              <a:extLst>
                <a:ext uri="{FF2B5EF4-FFF2-40B4-BE49-F238E27FC236}">
                  <a16:creationId xmlns:a16="http://schemas.microsoft.com/office/drawing/2014/main" id="{AEAC9AA5-994C-4D35-B295-90966C0B5A40}"/>
                </a:ext>
              </a:extLst>
            </p:cNvPr>
            <p:cNvSpPr/>
            <p:nvPr/>
          </p:nvSpPr>
          <p:spPr>
            <a:xfrm>
              <a:off x="6676640" y="3721158"/>
              <a:ext cx="477717" cy="536982"/>
            </a:xfrm>
            <a:custGeom>
              <a:avLst/>
              <a:gdLst>
                <a:gd name="connsiteX0" fmla="*/ -336 w 156941"/>
                <a:gd name="connsiteY0" fmla="*/ 5371 h 176411"/>
                <a:gd name="connsiteX1" fmla="*/ 2997 w 156941"/>
                <a:gd name="connsiteY1" fmla="*/ 4132 h 176411"/>
                <a:gd name="connsiteX2" fmla="*/ 13189 w 156941"/>
                <a:gd name="connsiteY2" fmla="*/ 6514 h 176411"/>
                <a:gd name="connsiteX3" fmla="*/ 22714 w 156941"/>
                <a:gd name="connsiteY3" fmla="*/ 11943 h 176411"/>
                <a:gd name="connsiteX4" fmla="*/ 28334 w 156941"/>
                <a:gd name="connsiteY4" fmla="*/ 15181 h 176411"/>
                <a:gd name="connsiteX5" fmla="*/ 103772 w 156941"/>
                <a:gd name="connsiteY5" fmla="*/ 58711 h 176411"/>
                <a:gd name="connsiteX6" fmla="*/ 122822 w 156941"/>
                <a:gd name="connsiteY6" fmla="*/ 91191 h 176411"/>
                <a:gd name="connsiteX7" fmla="*/ 122822 w 156941"/>
                <a:gd name="connsiteY7" fmla="*/ 164819 h 176411"/>
                <a:gd name="connsiteX8" fmla="*/ 119869 w 156941"/>
                <a:gd name="connsiteY8" fmla="*/ 174344 h 176411"/>
                <a:gd name="connsiteX9" fmla="*/ 117774 w 156941"/>
                <a:gd name="connsiteY9" fmla="*/ 176249 h 176411"/>
                <a:gd name="connsiteX10" fmla="*/ 122250 w 156941"/>
                <a:gd name="connsiteY10" fmla="*/ 173582 h 176411"/>
                <a:gd name="connsiteX11" fmla="*/ 123489 w 156941"/>
                <a:gd name="connsiteY11" fmla="*/ 172915 h 176411"/>
                <a:gd name="connsiteX12" fmla="*/ 151302 w 156941"/>
                <a:gd name="connsiteY12" fmla="*/ 156818 h 176411"/>
                <a:gd name="connsiteX13" fmla="*/ 156540 w 156941"/>
                <a:gd name="connsiteY13" fmla="*/ 144817 h 176411"/>
                <a:gd name="connsiteX14" fmla="*/ 156540 w 156941"/>
                <a:gd name="connsiteY14" fmla="*/ 49567 h 176411"/>
                <a:gd name="connsiteX15" fmla="*/ 142824 w 156941"/>
                <a:gd name="connsiteY15" fmla="*/ 25849 h 176411"/>
                <a:gd name="connsiteX16" fmla="*/ 122250 w 156941"/>
                <a:gd name="connsiteY16" fmla="*/ 13943 h 176411"/>
                <a:gd name="connsiteX17" fmla="*/ 112725 w 156941"/>
                <a:gd name="connsiteY17" fmla="*/ 12705 h 176411"/>
                <a:gd name="connsiteX18" fmla="*/ 112725 w 156941"/>
                <a:gd name="connsiteY18" fmla="*/ 12705 h 176411"/>
                <a:gd name="connsiteX19" fmla="*/ 111773 w 156941"/>
                <a:gd name="connsiteY19" fmla="*/ 13276 h 176411"/>
                <a:gd name="connsiteX20" fmla="*/ 107106 w 156941"/>
                <a:gd name="connsiteY20" fmla="*/ 15943 h 176411"/>
                <a:gd name="connsiteX21" fmla="*/ 109773 w 156941"/>
                <a:gd name="connsiteY21" fmla="*/ 15372 h 176411"/>
                <a:gd name="connsiteX22" fmla="*/ 116250 w 156941"/>
                <a:gd name="connsiteY22" fmla="*/ 17182 h 176411"/>
                <a:gd name="connsiteX23" fmla="*/ 136824 w 156941"/>
                <a:gd name="connsiteY23" fmla="*/ 29088 h 176411"/>
                <a:gd name="connsiteX24" fmla="*/ 150540 w 156941"/>
                <a:gd name="connsiteY24" fmla="*/ 52805 h 176411"/>
                <a:gd name="connsiteX25" fmla="*/ 150540 w 156941"/>
                <a:gd name="connsiteY25" fmla="*/ 137006 h 176411"/>
                <a:gd name="connsiteX26" fmla="*/ 139300 w 156941"/>
                <a:gd name="connsiteY26" fmla="*/ 156056 h 176411"/>
                <a:gd name="connsiteX27" fmla="*/ 139300 w 156941"/>
                <a:gd name="connsiteY27" fmla="*/ 156056 h 176411"/>
                <a:gd name="connsiteX28" fmla="*/ 128251 w 156941"/>
                <a:gd name="connsiteY28" fmla="*/ 150436 h 176411"/>
                <a:gd name="connsiteX29" fmla="*/ 128251 w 156941"/>
                <a:gd name="connsiteY29" fmla="*/ 87000 h 176411"/>
                <a:gd name="connsiteX30" fmla="*/ 109201 w 156941"/>
                <a:gd name="connsiteY30" fmla="*/ 54520 h 176411"/>
                <a:gd name="connsiteX31" fmla="*/ 74340 w 156941"/>
                <a:gd name="connsiteY31" fmla="*/ 34327 h 176411"/>
                <a:gd name="connsiteX32" fmla="*/ 28143 w 156941"/>
                <a:gd name="connsiteY32" fmla="*/ 7752 h 176411"/>
                <a:gd name="connsiteX33" fmla="*/ 22524 w 156941"/>
                <a:gd name="connsiteY33" fmla="*/ 4418 h 176411"/>
                <a:gd name="connsiteX34" fmla="*/ 18904 w 156941"/>
                <a:gd name="connsiteY34" fmla="*/ 2323 h 176411"/>
                <a:gd name="connsiteX35" fmla="*/ 6236 w 156941"/>
                <a:gd name="connsiteY35" fmla="*/ 703 h 176411"/>
                <a:gd name="connsiteX36" fmla="*/ 5664 w 156941"/>
                <a:gd name="connsiteY36" fmla="*/ 703 h 176411"/>
                <a:gd name="connsiteX37" fmla="*/ 5664 w 156941"/>
                <a:gd name="connsiteY37" fmla="*/ 703 h 1764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56941" h="176411">
                  <a:moveTo>
                    <a:pt x="-336" y="5371"/>
                  </a:moveTo>
                  <a:cubicBezTo>
                    <a:pt x="683" y="4751"/>
                    <a:pt x="1816" y="4332"/>
                    <a:pt x="2997" y="4132"/>
                  </a:cubicBezTo>
                  <a:cubicBezTo>
                    <a:pt x="6569" y="3732"/>
                    <a:pt x="10170" y="4571"/>
                    <a:pt x="13189" y="6514"/>
                  </a:cubicBezTo>
                  <a:lnTo>
                    <a:pt x="22714" y="11943"/>
                  </a:lnTo>
                  <a:lnTo>
                    <a:pt x="28334" y="15181"/>
                  </a:lnTo>
                  <a:lnTo>
                    <a:pt x="103772" y="58711"/>
                  </a:lnTo>
                  <a:cubicBezTo>
                    <a:pt x="114945" y="65873"/>
                    <a:pt x="122031" y="77942"/>
                    <a:pt x="122822" y="91191"/>
                  </a:cubicBezTo>
                  <a:lnTo>
                    <a:pt x="122822" y="164819"/>
                  </a:lnTo>
                  <a:cubicBezTo>
                    <a:pt x="122917" y="168229"/>
                    <a:pt x="121879" y="171582"/>
                    <a:pt x="119869" y="174344"/>
                  </a:cubicBezTo>
                  <a:cubicBezTo>
                    <a:pt x="119240" y="175049"/>
                    <a:pt x="118536" y="175697"/>
                    <a:pt x="117774" y="176249"/>
                  </a:cubicBezTo>
                  <a:lnTo>
                    <a:pt x="122250" y="173582"/>
                  </a:lnTo>
                  <a:lnTo>
                    <a:pt x="123489" y="172915"/>
                  </a:lnTo>
                  <a:lnTo>
                    <a:pt x="151302" y="156818"/>
                  </a:lnTo>
                  <a:cubicBezTo>
                    <a:pt x="155016" y="153999"/>
                    <a:pt x="156998" y="149455"/>
                    <a:pt x="156540" y="144817"/>
                  </a:cubicBezTo>
                  <a:lnTo>
                    <a:pt x="156540" y="49567"/>
                  </a:lnTo>
                  <a:cubicBezTo>
                    <a:pt x="155997" y="39927"/>
                    <a:pt x="150902" y="31126"/>
                    <a:pt x="142824" y="25849"/>
                  </a:cubicBezTo>
                  <a:lnTo>
                    <a:pt x="122250" y="13943"/>
                  </a:lnTo>
                  <a:cubicBezTo>
                    <a:pt x="119498" y="11933"/>
                    <a:pt x="115907" y="11467"/>
                    <a:pt x="112725" y="12705"/>
                  </a:cubicBezTo>
                  <a:lnTo>
                    <a:pt x="112725" y="12705"/>
                  </a:lnTo>
                  <a:lnTo>
                    <a:pt x="111773" y="13276"/>
                  </a:lnTo>
                  <a:lnTo>
                    <a:pt x="107106" y="15943"/>
                  </a:lnTo>
                  <a:cubicBezTo>
                    <a:pt x="107953" y="15601"/>
                    <a:pt x="108858" y="15400"/>
                    <a:pt x="109773" y="15372"/>
                  </a:cubicBezTo>
                  <a:cubicBezTo>
                    <a:pt x="112059" y="15343"/>
                    <a:pt x="114307" y="15972"/>
                    <a:pt x="116250" y="17182"/>
                  </a:cubicBezTo>
                  <a:lnTo>
                    <a:pt x="136824" y="29088"/>
                  </a:lnTo>
                  <a:cubicBezTo>
                    <a:pt x="144901" y="34365"/>
                    <a:pt x="149997" y="43166"/>
                    <a:pt x="150540" y="52805"/>
                  </a:cubicBezTo>
                  <a:lnTo>
                    <a:pt x="150540" y="137006"/>
                  </a:lnTo>
                  <a:cubicBezTo>
                    <a:pt x="149997" y="144769"/>
                    <a:pt x="145834" y="151827"/>
                    <a:pt x="139300" y="156056"/>
                  </a:cubicBezTo>
                  <a:lnTo>
                    <a:pt x="139300" y="156056"/>
                  </a:lnTo>
                  <a:cubicBezTo>
                    <a:pt x="133395" y="159390"/>
                    <a:pt x="128632" y="156818"/>
                    <a:pt x="128251" y="150436"/>
                  </a:cubicBezTo>
                  <a:lnTo>
                    <a:pt x="128251" y="87000"/>
                  </a:lnTo>
                  <a:cubicBezTo>
                    <a:pt x="127489" y="73741"/>
                    <a:pt x="120403" y="61654"/>
                    <a:pt x="109201" y="54520"/>
                  </a:cubicBezTo>
                  <a:lnTo>
                    <a:pt x="74340" y="34327"/>
                  </a:lnTo>
                  <a:lnTo>
                    <a:pt x="28143" y="7752"/>
                  </a:lnTo>
                  <a:lnTo>
                    <a:pt x="22524" y="4418"/>
                  </a:lnTo>
                  <a:lnTo>
                    <a:pt x="18904" y="2323"/>
                  </a:lnTo>
                  <a:cubicBezTo>
                    <a:pt x="15208" y="-268"/>
                    <a:pt x="10465" y="-878"/>
                    <a:pt x="6236" y="703"/>
                  </a:cubicBezTo>
                  <a:lnTo>
                    <a:pt x="5664" y="703"/>
                  </a:lnTo>
                  <a:lnTo>
                    <a:pt x="5664" y="703"/>
                  </a:lnTo>
                  <a:close/>
                </a:path>
              </a:pathLst>
            </a:custGeom>
            <a:solidFill>
              <a:srgbClr val="316DE6"/>
            </a:solidFill>
            <a:ln w="9525" cap="flat">
              <a:noFill/>
              <a:prstDash val="solid"/>
              <a:miter/>
            </a:ln>
          </p:spPr>
          <p:txBody>
            <a:bodyPr rtlCol="0" anchor="ctr"/>
            <a:lstStyle/>
            <a:p>
              <a:endParaRPr lang="zh-CN" altLang="en-US"/>
            </a:p>
          </p:txBody>
        </p:sp>
      </p:grpSp>
      <p:pic>
        <p:nvPicPr>
          <p:cNvPr id="22530" name="Picture 2">
            <a:extLst>
              <a:ext uri="{FF2B5EF4-FFF2-40B4-BE49-F238E27FC236}">
                <a16:creationId xmlns:a16="http://schemas.microsoft.com/office/drawing/2014/main" id="{4C3DE2A0-D370-4E22-92C7-335CADCACF9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83928" y="1979421"/>
            <a:ext cx="11624144" cy="3260209"/>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14269344"/>
      </p:ext>
    </p:extLst>
  </p:cSld>
  <p:clrMapOvr>
    <a:masterClrMapping/>
  </p:clrMapOvr>
  <mc:AlternateContent xmlns:mc="http://schemas.openxmlformats.org/markup-compatibility/2006">
    <mc:Choice xmlns:p14="http://schemas.microsoft.com/office/powerpoint/2010/main" Requires="p14">
      <p:transition spd="slow" p14:dur="1250">
        <p:blinds dir="vert"/>
      </p:transition>
    </mc:Choice>
    <mc:Fallback>
      <p:transition spd="slow">
        <p:blinds dir="vert"/>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994"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a16="http://schemas.microsoft.com/office/drawing/2014/main" id="{9B4DFF95-99FF-4FFA-827A-8732B66A508F}"/>
              </a:ext>
            </a:extLst>
          </p:cNvPr>
          <p:cNvGrpSpPr>
            <a:grpSpLocks noChangeAspect="1"/>
          </p:cNvGrpSpPr>
          <p:nvPr/>
        </p:nvGrpSpPr>
        <p:grpSpPr>
          <a:xfrm>
            <a:off x="719138" y="1224000"/>
            <a:ext cx="10753725" cy="4906125"/>
            <a:chOff x="719138" y="1224000"/>
            <a:chExt cx="10753725" cy="4906125"/>
          </a:xfrm>
        </p:grpSpPr>
        <p:sp>
          <p:nvSpPr>
            <p:cNvPr id="3" name="ïsľiďé">
              <a:extLst>
                <a:ext uri="{FF2B5EF4-FFF2-40B4-BE49-F238E27FC236}">
                  <a16:creationId xmlns:a16="http://schemas.microsoft.com/office/drawing/2014/main" id="{140108B4-E8DE-411A-8115-BD6BF6FDD91C}"/>
                </a:ext>
              </a:extLst>
            </p:cNvPr>
            <p:cNvSpPr/>
            <p:nvPr/>
          </p:nvSpPr>
          <p:spPr bwMode="auto">
            <a:xfrm>
              <a:off x="4657342" y="1224000"/>
              <a:ext cx="2877316" cy="1102608"/>
            </a:xfrm>
            <a:prstGeom prst="rect">
              <a:avLst/>
            </a:prstGeom>
            <a:noFill/>
            <a:ln w="76200">
              <a:solidFill>
                <a:schemeClr val="bg2"/>
              </a:solidFill>
              <a:round/>
              <a:headEnd/>
              <a:tailEnd/>
            </a:ln>
          </p:spPr>
          <p:txBody>
            <a:bodyPr anchor="ctr"/>
            <a:lstStyle/>
            <a:p>
              <a:pPr algn="ctr"/>
              <a:endParaRPr/>
            </a:p>
          </p:txBody>
        </p:sp>
        <p:sp>
          <p:nvSpPr>
            <p:cNvPr id="4" name="ïsľîḍê">
              <a:extLst>
                <a:ext uri="{FF2B5EF4-FFF2-40B4-BE49-F238E27FC236}">
                  <a16:creationId xmlns:a16="http://schemas.microsoft.com/office/drawing/2014/main" id="{9035C702-C2A6-48DD-81D4-859CA2D15215}"/>
                </a:ext>
              </a:extLst>
            </p:cNvPr>
            <p:cNvSpPr/>
            <p:nvPr/>
          </p:nvSpPr>
          <p:spPr>
            <a:xfrm>
              <a:off x="5439410" y="1390583"/>
              <a:ext cx="1313180" cy="769441"/>
            </a:xfrm>
            <a:prstGeom prst="rect">
              <a:avLst/>
            </a:prstGeom>
          </p:spPr>
          <p:txBody>
            <a:bodyPr wrap="none">
              <a:normAutofit/>
            </a:bodyPr>
            <a:lstStyle/>
            <a:p>
              <a:pPr algn="ctr"/>
              <a:r>
                <a:rPr lang="en-US" altLang="zh-CN" sz="4400" b="1" dirty="0"/>
                <a:t>UML</a:t>
              </a:r>
              <a:r>
                <a:rPr lang="zh-CN" altLang="en-US" sz="4400" b="1" dirty="0"/>
                <a:t>图</a:t>
              </a:r>
            </a:p>
          </p:txBody>
        </p:sp>
        <p:sp>
          <p:nvSpPr>
            <p:cNvPr id="5" name="îşļîdé">
              <a:extLst>
                <a:ext uri="{FF2B5EF4-FFF2-40B4-BE49-F238E27FC236}">
                  <a16:creationId xmlns:a16="http://schemas.microsoft.com/office/drawing/2014/main" id="{D660E639-8CAB-44D3-A698-B0F40F57A032}"/>
                </a:ext>
              </a:extLst>
            </p:cNvPr>
            <p:cNvSpPr/>
            <p:nvPr/>
          </p:nvSpPr>
          <p:spPr bwMode="auto">
            <a:xfrm>
              <a:off x="719138" y="2493721"/>
              <a:ext cx="3324634" cy="1620180"/>
            </a:xfrm>
            <a:prstGeom prst="round1Rect">
              <a:avLst/>
            </a:prstGeom>
            <a:solidFill>
              <a:schemeClr val="bg1">
                <a:lumMod val="95000"/>
              </a:schemeClr>
            </a:solidFill>
            <a:ln w="19050">
              <a:noFill/>
              <a:round/>
              <a:headEnd/>
              <a:tailEnd/>
            </a:ln>
          </p:spPr>
          <p:txBody>
            <a:bodyPr anchor="ctr"/>
            <a:lstStyle/>
            <a:p>
              <a:pPr algn="ctr"/>
              <a:endParaRPr/>
            </a:p>
          </p:txBody>
        </p:sp>
        <p:sp>
          <p:nvSpPr>
            <p:cNvPr id="6" name="ïsḷïdé">
              <a:extLst>
                <a:ext uri="{FF2B5EF4-FFF2-40B4-BE49-F238E27FC236}">
                  <a16:creationId xmlns:a16="http://schemas.microsoft.com/office/drawing/2014/main" id="{CC808118-496E-4596-87F7-2D726BA55222}"/>
                </a:ext>
              </a:extLst>
            </p:cNvPr>
            <p:cNvSpPr/>
            <p:nvPr/>
          </p:nvSpPr>
          <p:spPr bwMode="auto">
            <a:xfrm>
              <a:off x="4433684" y="2493721"/>
              <a:ext cx="3324634" cy="1620180"/>
            </a:xfrm>
            <a:prstGeom prst="round1Rect">
              <a:avLst/>
            </a:prstGeom>
            <a:solidFill>
              <a:schemeClr val="bg1">
                <a:lumMod val="95000"/>
              </a:schemeClr>
            </a:solidFill>
            <a:ln w="19050">
              <a:noFill/>
              <a:round/>
              <a:headEnd/>
              <a:tailEnd/>
            </a:ln>
          </p:spPr>
          <p:txBody>
            <a:bodyPr anchor="ctr"/>
            <a:lstStyle/>
            <a:p>
              <a:pPr algn="ctr"/>
              <a:endParaRPr/>
            </a:p>
          </p:txBody>
        </p:sp>
        <p:sp>
          <p:nvSpPr>
            <p:cNvPr id="7" name="íŝḻíḍê">
              <a:extLst>
                <a:ext uri="{FF2B5EF4-FFF2-40B4-BE49-F238E27FC236}">
                  <a16:creationId xmlns:a16="http://schemas.microsoft.com/office/drawing/2014/main" id="{86E94F40-627C-4DC0-8352-1AA352FF4E74}"/>
                </a:ext>
              </a:extLst>
            </p:cNvPr>
            <p:cNvSpPr/>
            <p:nvPr/>
          </p:nvSpPr>
          <p:spPr bwMode="auto">
            <a:xfrm>
              <a:off x="8148229" y="2493721"/>
              <a:ext cx="3324634" cy="1620180"/>
            </a:xfrm>
            <a:prstGeom prst="round1Rect">
              <a:avLst/>
            </a:prstGeom>
            <a:solidFill>
              <a:schemeClr val="bg1">
                <a:lumMod val="95000"/>
              </a:schemeClr>
            </a:solidFill>
            <a:ln w="19050">
              <a:noFill/>
              <a:round/>
              <a:headEnd/>
              <a:tailEnd/>
            </a:ln>
          </p:spPr>
          <p:txBody>
            <a:bodyPr anchor="ctr"/>
            <a:lstStyle/>
            <a:p>
              <a:pPr algn="ctr"/>
              <a:endParaRPr/>
            </a:p>
          </p:txBody>
        </p:sp>
        <p:sp>
          <p:nvSpPr>
            <p:cNvPr id="8" name="ïşļîḓê">
              <a:extLst>
                <a:ext uri="{FF2B5EF4-FFF2-40B4-BE49-F238E27FC236}">
                  <a16:creationId xmlns:a16="http://schemas.microsoft.com/office/drawing/2014/main" id="{2540FD6A-31A0-4BD0-BF04-7922541AC66A}"/>
                </a:ext>
              </a:extLst>
            </p:cNvPr>
            <p:cNvSpPr/>
            <p:nvPr/>
          </p:nvSpPr>
          <p:spPr bwMode="auto">
            <a:xfrm>
              <a:off x="719138" y="4509945"/>
              <a:ext cx="3324634" cy="1620180"/>
            </a:xfrm>
            <a:prstGeom prst="round1Rect">
              <a:avLst/>
            </a:prstGeom>
            <a:solidFill>
              <a:schemeClr val="bg1">
                <a:lumMod val="95000"/>
              </a:schemeClr>
            </a:solidFill>
            <a:ln w="19050">
              <a:noFill/>
              <a:round/>
              <a:headEnd/>
              <a:tailEnd/>
            </a:ln>
          </p:spPr>
          <p:txBody>
            <a:bodyPr anchor="ctr"/>
            <a:lstStyle/>
            <a:p>
              <a:pPr algn="ctr"/>
              <a:endParaRPr/>
            </a:p>
          </p:txBody>
        </p:sp>
        <p:sp>
          <p:nvSpPr>
            <p:cNvPr id="9" name="ïšḻîďê">
              <a:extLst>
                <a:ext uri="{FF2B5EF4-FFF2-40B4-BE49-F238E27FC236}">
                  <a16:creationId xmlns:a16="http://schemas.microsoft.com/office/drawing/2014/main" id="{5B6F46C1-6ABB-4FFF-9B43-669E000EFEB2}"/>
                </a:ext>
              </a:extLst>
            </p:cNvPr>
            <p:cNvSpPr/>
            <p:nvPr/>
          </p:nvSpPr>
          <p:spPr bwMode="auto">
            <a:xfrm>
              <a:off x="4433684" y="4509945"/>
              <a:ext cx="3324634" cy="1620180"/>
            </a:xfrm>
            <a:prstGeom prst="round1Rect">
              <a:avLst/>
            </a:prstGeom>
            <a:solidFill>
              <a:schemeClr val="bg1">
                <a:lumMod val="95000"/>
              </a:schemeClr>
            </a:solidFill>
            <a:ln w="19050">
              <a:noFill/>
              <a:round/>
              <a:headEnd/>
              <a:tailEnd/>
            </a:ln>
          </p:spPr>
          <p:txBody>
            <a:bodyPr anchor="ctr"/>
            <a:lstStyle/>
            <a:p>
              <a:pPr algn="ctr"/>
              <a:endParaRPr/>
            </a:p>
          </p:txBody>
        </p:sp>
        <p:sp>
          <p:nvSpPr>
            <p:cNvPr id="10" name="ïṧļîḍe">
              <a:extLst>
                <a:ext uri="{FF2B5EF4-FFF2-40B4-BE49-F238E27FC236}">
                  <a16:creationId xmlns:a16="http://schemas.microsoft.com/office/drawing/2014/main" id="{9C0D8B39-511A-4025-8545-FF505005B656}"/>
                </a:ext>
              </a:extLst>
            </p:cNvPr>
            <p:cNvSpPr/>
            <p:nvPr/>
          </p:nvSpPr>
          <p:spPr bwMode="auto">
            <a:xfrm>
              <a:off x="8148229" y="4509945"/>
              <a:ext cx="3324634" cy="1620180"/>
            </a:xfrm>
            <a:prstGeom prst="round1Rect">
              <a:avLst/>
            </a:prstGeom>
            <a:solidFill>
              <a:schemeClr val="bg1">
                <a:lumMod val="95000"/>
              </a:schemeClr>
            </a:solidFill>
            <a:ln w="19050">
              <a:noFill/>
              <a:round/>
              <a:headEnd/>
              <a:tailEnd/>
            </a:ln>
          </p:spPr>
          <p:txBody>
            <a:bodyPr anchor="ctr"/>
            <a:lstStyle/>
            <a:p>
              <a:pPr algn="ctr"/>
              <a:endParaRPr/>
            </a:p>
          </p:txBody>
        </p:sp>
        <p:sp>
          <p:nvSpPr>
            <p:cNvPr id="11" name="iṩlïdé">
              <a:extLst>
                <a:ext uri="{FF2B5EF4-FFF2-40B4-BE49-F238E27FC236}">
                  <a16:creationId xmlns:a16="http://schemas.microsoft.com/office/drawing/2014/main" id="{0D000BA7-21A2-4195-A3E5-E038934B0E63}"/>
                </a:ext>
              </a:extLst>
            </p:cNvPr>
            <p:cNvSpPr/>
            <p:nvPr/>
          </p:nvSpPr>
          <p:spPr bwMode="auto">
            <a:xfrm>
              <a:off x="3396000" y="2618720"/>
              <a:ext cx="504056" cy="504056"/>
            </a:xfrm>
            <a:prstGeom prst="ellipse">
              <a:avLst/>
            </a:prstGeom>
            <a:solidFill>
              <a:schemeClr val="accent1"/>
            </a:solidFill>
            <a:ln w="19050">
              <a:noFill/>
              <a:round/>
              <a:headEnd/>
              <a:tailEnd/>
            </a:ln>
          </p:spPr>
          <p:txBody>
            <a:bodyPr rot="0" spcFirstLastPara="0" vert="horz" wrap="none" lIns="90000" tIns="46800" rIns="90000" bIns="46800" anchor="ctr" anchorCtr="1" forceAA="0" compatLnSpc="1">
              <a:prstTxWarp prst="textNoShape">
                <a:avLst/>
              </a:prstTxWarp>
              <a:normAutofit lnSpcReduction="10000"/>
            </a:bodyPr>
            <a:lstStyle/>
            <a:p>
              <a:pPr algn="ctr"/>
              <a:r>
                <a:rPr lang="en-US" altLang="zh-CN" dirty="0">
                  <a:solidFill>
                    <a:schemeClr val="bg1">
                      <a:lumMod val="100000"/>
                    </a:schemeClr>
                  </a:solidFill>
                  <a:latin typeface="Impact" panose="020B0806030902050204" pitchFamily="34" charset="0"/>
                </a:rPr>
                <a:t>01</a:t>
              </a:r>
            </a:p>
          </p:txBody>
        </p:sp>
        <p:sp>
          <p:nvSpPr>
            <p:cNvPr id="12" name="is1ïḓe">
              <a:extLst>
                <a:ext uri="{FF2B5EF4-FFF2-40B4-BE49-F238E27FC236}">
                  <a16:creationId xmlns:a16="http://schemas.microsoft.com/office/drawing/2014/main" id="{5C21C5C5-F8D2-4865-B31B-76412C7296C6}"/>
                </a:ext>
              </a:extLst>
            </p:cNvPr>
            <p:cNvSpPr/>
            <p:nvPr/>
          </p:nvSpPr>
          <p:spPr bwMode="auto">
            <a:xfrm>
              <a:off x="3396000" y="4634944"/>
              <a:ext cx="504056" cy="504056"/>
            </a:xfrm>
            <a:prstGeom prst="ellipse">
              <a:avLst/>
            </a:prstGeom>
            <a:solidFill>
              <a:schemeClr val="accent2">
                <a:lumMod val="40000"/>
                <a:lumOff val="60000"/>
              </a:schemeClr>
            </a:solidFill>
            <a:ln w="19050">
              <a:noFill/>
              <a:round/>
              <a:headEnd/>
              <a:tailEnd/>
            </a:ln>
          </p:spPr>
          <p:txBody>
            <a:bodyPr rot="0" spcFirstLastPara="0" vert="horz" wrap="none" lIns="90000" tIns="46800" rIns="90000" bIns="46800" anchor="ctr" anchorCtr="1" forceAA="0" compatLnSpc="1">
              <a:prstTxWarp prst="textNoShape">
                <a:avLst/>
              </a:prstTxWarp>
              <a:normAutofit lnSpcReduction="10000"/>
            </a:bodyPr>
            <a:lstStyle/>
            <a:p>
              <a:pPr algn="ctr"/>
              <a:r>
                <a:rPr lang="en-US" altLang="zh-CN" dirty="0">
                  <a:solidFill>
                    <a:schemeClr val="bg1">
                      <a:lumMod val="100000"/>
                    </a:schemeClr>
                  </a:solidFill>
                  <a:latin typeface="Impact" panose="020B0806030902050204" pitchFamily="34" charset="0"/>
                </a:rPr>
                <a:t>04</a:t>
              </a:r>
            </a:p>
          </p:txBody>
        </p:sp>
        <p:sp>
          <p:nvSpPr>
            <p:cNvPr id="13" name="îṣļîḓè">
              <a:extLst>
                <a:ext uri="{FF2B5EF4-FFF2-40B4-BE49-F238E27FC236}">
                  <a16:creationId xmlns:a16="http://schemas.microsoft.com/office/drawing/2014/main" id="{170A631A-47E2-40B4-B068-CE3DEC465E4B}"/>
                </a:ext>
              </a:extLst>
            </p:cNvPr>
            <p:cNvSpPr/>
            <p:nvPr/>
          </p:nvSpPr>
          <p:spPr bwMode="auto">
            <a:xfrm>
              <a:off x="7110546" y="2618720"/>
              <a:ext cx="504056" cy="504056"/>
            </a:xfrm>
            <a:prstGeom prst="ellipse">
              <a:avLst/>
            </a:prstGeom>
            <a:solidFill>
              <a:schemeClr val="accent2"/>
            </a:solidFill>
            <a:ln w="19050">
              <a:noFill/>
              <a:round/>
              <a:headEnd/>
              <a:tailEnd/>
            </a:ln>
          </p:spPr>
          <p:txBody>
            <a:bodyPr rot="0" spcFirstLastPara="0" vert="horz" wrap="none" lIns="90000" tIns="46800" rIns="90000" bIns="46800" anchor="ctr" anchorCtr="1" forceAA="0" compatLnSpc="1">
              <a:prstTxWarp prst="textNoShape">
                <a:avLst/>
              </a:prstTxWarp>
              <a:normAutofit lnSpcReduction="10000"/>
            </a:bodyPr>
            <a:lstStyle/>
            <a:p>
              <a:pPr algn="ctr"/>
              <a:r>
                <a:rPr lang="en-US" altLang="zh-CN" dirty="0">
                  <a:solidFill>
                    <a:schemeClr val="bg1">
                      <a:lumMod val="100000"/>
                    </a:schemeClr>
                  </a:solidFill>
                  <a:latin typeface="Impact" panose="020B0806030902050204" pitchFamily="34" charset="0"/>
                </a:rPr>
                <a:t>02</a:t>
              </a:r>
            </a:p>
          </p:txBody>
        </p:sp>
        <p:sp>
          <p:nvSpPr>
            <p:cNvPr id="14" name="íşlîďe">
              <a:extLst>
                <a:ext uri="{FF2B5EF4-FFF2-40B4-BE49-F238E27FC236}">
                  <a16:creationId xmlns:a16="http://schemas.microsoft.com/office/drawing/2014/main" id="{D6D47D03-70C2-4159-987C-9E2511B816CA}"/>
                </a:ext>
              </a:extLst>
            </p:cNvPr>
            <p:cNvSpPr/>
            <p:nvPr/>
          </p:nvSpPr>
          <p:spPr bwMode="auto">
            <a:xfrm>
              <a:off x="7110546" y="4634944"/>
              <a:ext cx="504056" cy="504056"/>
            </a:xfrm>
            <a:prstGeom prst="ellipse">
              <a:avLst/>
            </a:prstGeom>
            <a:solidFill>
              <a:schemeClr val="accent2">
                <a:lumMod val="20000"/>
                <a:lumOff val="80000"/>
              </a:schemeClr>
            </a:solidFill>
            <a:ln w="19050">
              <a:noFill/>
              <a:round/>
              <a:headEnd/>
              <a:tailEnd/>
            </a:ln>
          </p:spPr>
          <p:txBody>
            <a:bodyPr rot="0" spcFirstLastPara="0" vert="horz" wrap="none" lIns="90000" tIns="46800" rIns="90000" bIns="46800" anchor="ctr" anchorCtr="1" forceAA="0" compatLnSpc="1">
              <a:prstTxWarp prst="textNoShape">
                <a:avLst/>
              </a:prstTxWarp>
              <a:normAutofit lnSpcReduction="10000"/>
            </a:bodyPr>
            <a:lstStyle/>
            <a:p>
              <a:pPr algn="ctr"/>
              <a:r>
                <a:rPr lang="en-US" altLang="zh-CN" dirty="0">
                  <a:solidFill>
                    <a:schemeClr val="bg1">
                      <a:lumMod val="100000"/>
                    </a:schemeClr>
                  </a:solidFill>
                  <a:latin typeface="Impact" panose="020B0806030902050204" pitchFamily="34" charset="0"/>
                </a:rPr>
                <a:t>05</a:t>
              </a:r>
            </a:p>
          </p:txBody>
        </p:sp>
        <p:sp>
          <p:nvSpPr>
            <p:cNvPr id="15" name="îślïďè">
              <a:extLst>
                <a:ext uri="{FF2B5EF4-FFF2-40B4-BE49-F238E27FC236}">
                  <a16:creationId xmlns:a16="http://schemas.microsoft.com/office/drawing/2014/main" id="{2F06873D-15A3-4F28-86A2-884208B490F8}"/>
                </a:ext>
              </a:extLst>
            </p:cNvPr>
            <p:cNvSpPr/>
            <p:nvPr/>
          </p:nvSpPr>
          <p:spPr bwMode="auto">
            <a:xfrm>
              <a:off x="10825091" y="2618720"/>
              <a:ext cx="504056" cy="504056"/>
            </a:xfrm>
            <a:prstGeom prst="ellipse">
              <a:avLst/>
            </a:prstGeom>
            <a:solidFill>
              <a:schemeClr val="accent2">
                <a:lumMod val="60000"/>
                <a:lumOff val="40000"/>
              </a:schemeClr>
            </a:solidFill>
            <a:ln w="19050">
              <a:noFill/>
              <a:round/>
              <a:headEnd/>
              <a:tailEnd/>
            </a:ln>
          </p:spPr>
          <p:txBody>
            <a:bodyPr rot="0" spcFirstLastPara="0" vert="horz" wrap="none" lIns="90000" tIns="46800" rIns="90000" bIns="46800" anchor="ctr" anchorCtr="1" forceAA="0" compatLnSpc="1">
              <a:prstTxWarp prst="textNoShape">
                <a:avLst/>
              </a:prstTxWarp>
              <a:normAutofit lnSpcReduction="10000"/>
            </a:bodyPr>
            <a:lstStyle/>
            <a:p>
              <a:pPr algn="ctr"/>
              <a:r>
                <a:rPr lang="en-US" altLang="zh-CN" dirty="0">
                  <a:solidFill>
                    <a:schemeClr val="bg1">
                      <a:lumMod val="100000"/>
                    </a:schemeClr>
                  </a:solidFill>
                  <a:latin typeface="Impact" panose="020B0806030902050204" pitchFamily="34" charset="0"/>
                </a:rPr>
                <a:t>03</a:t>
              </a:r>
            </a:p>
          </p:txBody>
        </p:sp>
        <p:sp>
          <p:nvSpPr>
            <p:cNvPr id="16" name="iṧľîdê">
              <a:extLst>
                <a:ext uri="{FF2B5EF4-FFF2-40B4-BE49-F238E27FC236}">
                  <a16:creationId xmlns:a16="http://schemas.microsoft.com/office/drawing/2014/main" id="{C5EE199A-2126-479E-89B7-F459245E586F}"/>
                </a:ext>
              </a:extLst>
            </p:cNvPr>
            <p:cNvSpPr/>
            <p:nvPr/>
          </p:nvSpPr>
          <p:spPr bwMode="auto">
            <a:xfrm>
              <a:off x="10825091" y="4634944"/>
              <a:ext cx="504056" cy="504056"/>
            </a:xfrm>
            <a:prstGeom prst="ellipse">
              <a:avLst/>
            </a:prstGeom>
            <a:solidFill>
              <a:schemeClr val="accent3">
                <a:lumMod val="40000"/>
                <a:lumOff val="60000"/>
              </a:schemeClr>
            </a:solidFill>
            <a:ln w="19050">
              <a:noFill/>
              <a:round/>
              <a:headEnd/>
              <a:tailEnd/>
            </a:ln>
          </p:spPr>
          <p:txBody>
            <a:bodyPr rot="0" spcFirstLastPara="0" vert="horz" wrap="none" lIns="90000" tIns="46800" rIns="90000" bIns="46800" anchor="ctr" anchorCtr="1" forceAA="0" compatLnSpc="1">
              <a:prstTxWarp prst="textNoShape">
                <a:avLst/>
              </a:prstTxWarp>
              <a:normAutofit lnSpcReduction="10000"/>
            </a:bodyPr>
            <a:lstStyle/>
            <a:p>
              <a:pPr algn="ctr"/>
              <a:r>
                <a:rPr lang="en-US" altLang="zh-CN" dirty="0">
                  <a:solidFill>
                    <a:schemeClr val="bg1">
                      <a:lumMod val="100000"/>
                    </a:schemeClr>
                  </a:solidFill>
                  <a:latin typeface="Impact" panose="020B0806030902050204" pitchFamily="34" charset="0"/>
                </a:rPr>
                <a:t>06</a:t>
              </a:r>
            </a:p>
          </p:txBody>
        </p:sp>
        <p:sp>
          <p:nvSpPr>
            <p:cNvPr id="17" name="íšḻïḑé">
              <a:extLst>
                <a:ext uri="{FF2B5EF4-FFF2-40B4-BE49-F238E27FC236}">
                  <a16:creationId xmlns:a16="http://schemas.microsoft.com/office/drawing/2014/main" id="{732ED300-1C5B-4F06-9CFF-AE49DDFBDA13}"/>
                </a:ext>
              </a:extLst>
            </p:cNvPr>
            <p:cNvSpPr/>
            <p:nvPr/>
          </p:nvSpPr>
          <p:spPr bwMode="auto">
            <a:xfrm>
              <a:off x="843458" y="3366598"/>
              <a:ext cx="2458451" cy="5573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46800" rIns="90000" bIns="46800" anchor="t" anchorCtr="0">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nSpc>
                  <a:spcPct val="130000"/>
                </a:lnSpc>
              </a:pPr>
              <a:r>
                <a:rPr lang="zh-CN" altLang="en-US" sz="1100" b="0" i="0" dirty="0">
                  <a:solidFill>
                    <a:srgbClr val="404040"/>
                  </a:solidFill>
                  <a:effectLst/>
                  <a:latin typeface="-apple-system"/>
                </a:rPr>
                <a:t>系统中的一个功能单元，可以被描述为参与者与系统之间的一次交互作用</a:t>
              </a:r>
              <a:endParaRPr lang="en-US" altLang="zh-CN" sz="1100" dirty="0"/>
            </a:p>
          </p:txBody>
        </p:sp>
        <p:sp>
          <p:nvSpPr>
            <p:cNvPr id="18" name="ïş1ïdè">
              <a:extLst>
                <a:ext uri="{FF2B5EF4-FFF2-40B4-BE49-F238E27FC236}">
                  <a16:creationId xmlns:a16="http://schemas.microsoft.com/office/drawing/2014/main" id="{289BC5B1-CB83-4604-887B-83EACF627902}"/>
                </a:ext>
              </a:extLst>
            </p:cNvPr>
            <p:cNvSpPr txBox="1"/>
            <p:nvPr/>
          </p:nvSpPr>
          <p:spPr bwMode="auto">
            <a:xfrm>
              <a:off x="843458" y="2979000"/>
              <a:ext cx="2458451" cy="3875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000" tIns="46800" rIns="90000" bIns="46800" anchor="b" anchorCtr="0">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eaLnBrk="1" hangingPunct="1">
                <a:lnSpc>
                  <a:spcPct val="100000"/>
                </a:lnSpc>
                <a:spcBef>
                  <a:spcPct val="0"/>
                </a:spcBef>
                <a:buFontTx/>
                <a:buNone/>
              </a:pPr>
              <a:r>
                <a:rPr lang="zh-CN" altLang="en-US" b="1" dirty="0"/>
                <a:t>用例图</a:t>
              </a:r>
              <a:endParaRPr lang="en-US" altLang="zh-CN" sz="1800" b="1" dirty="0"/>
            </a:p>
          </p:txBody>
        </p:sp>
        <p:sp>
          <p:nvSpPr>
            <p:cNvPr id="19" name="i$1iḋè">
              <a:extLst>
                <a:ext uri="{FF2B5EF4-FFF2-40B4-BE49-F238E27FC236}">
                  <a16:creationId xmlns:a16="http://schemas.microsoft.com/office/drawing/2014/main" id="{B40308BE-58CE-463B-B611-A2E9CC25EEA2}"/>
                </a:ext>
              </a:extLst>
            </p:cNvPr>
            <p:cNvSpPr/>
            <p:nvPr/>
          </p:nvSpPr>
          <p:spPr bwMode="auto">
            <a:xfrm>
              <a:off x="843458" y="5382822"/>
              <a:ext cx="2458451" cy="5573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46800" rIns="90000" bIns="46800" anchor="t" anchorCtr="0">
              <a:no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nSpc>
                  <a:spcPct val="130000"/>
                </a:lnSpc>
              </a:pPr>
              <a:r>
                <a:rPr lang="zh-CN" altLang="en-US" sz="1100" dirty="0"/>
                <a:t>顺序图所表达的正是这种基于时间的动态交互，用来表示用例的行为顺序</a:t>
              </a:r>
              <a:endParaRPr lang="en-US" altLang="zh-CN" sz="1100" dirty="0"/>
            </a:p>
          </p:txBody>
        </p:sp>
        <p:sp>
          <p:nvSpPr>
            <p:cNvPr id="20" name="ïṥļiḍê">
              <a:extLst>
                <a:ext uri="{FF2B5EF4-FFF2-40B4-BE49-F238E27FC236}">
                  <a16:creationId xmlns:a16="http://schemas.microsoft.com/office/drawing/2014/main" id="{39E6EE67-FC3E-4594-8381-005992863719}"/>
                </a:ext>
              </a:extLst>
            </p:cNvPr>
            <p:cNvSpPr txBox="1"/>
            <p:nvPr/>
          </p:nvSpPr>
          <p:spPr bwMode="auto">
            <a:xfrm>
              <a:off x="843458" y="4995224"/>
              <a:ext cx="2458451" cy="3875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000" tIns="46800" rIns="90000" bIns="46800" anchor="b" anchorCtr="0">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eaLnBrk="1" hangingPunct="1">
                <a:lnSpc>
                  <a:spcPct val="100000"/>
                </a:lnSpc>
                <a:spcBef>
                  <a:spcPct val="0"/>
                </a:spcBef>
                <a:buFontTx/>
                <a:buNone/>
              </a:pPr>
              <a:r>
                <a:rPr lang="zh-CN" altLang="en-US" sz="1800" b="1" dirty="0"/>
                <a:t>顺序图</a:t>
              </a:r>
              <a:endParaRPr lang="en-US" altLang="zh-CN" sz="1800" b="1" dirty="0"/>
            </a:p>
          </p:txBody>
        </p:sp>
        <p:sp>
          <p:nvSpPr>
            <p:cNvPr id="21" name="îslîḓê">
              <a:extLst>
                <a:ext uri="{FF2B5EF4-FFF2-40B4-BE49-F238E27FC236}">
                  <a16:creationId xmlns:a16="http://schemas.microsoft.com/office/drawing/2014/main" id="{40183A1F-B5B5-4AFE-9F7E-A2EBAA3CA3BD}"/>
                </a:ext>
              </a:extLst>
            </p:cNvPr>
            <p:cNvSpPr/>
            <p:nvPr/>
          </p:nvSpPr>
          <p:spPr bwMode="auto">
            <a:xfrm>
              <a:off x="4558004" y="3366598"/>
              <a:ext cx="2458451" cy="5573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46800" rIns="90000" bIns="46800" anchor="t" anchorCtr="0">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nSpc>
                  <a:spcPct val="130000"/>
                </a:lnSpc>
              </a:pPr>
              <a:r>
                <a:rPr lang="zh-CN" altLang="en-US" sz="1100" b="0" i="0" dirty="0">
                  <a:solidFill>
                    <a:srgbClr val="404040"/>
                  </a:solidFill>
                  <a:effectLst/>
                  <a:latin typeface="-apple-system"/>
                </a:rPr>
                <a:t>类、接口、依赖、关联、泛化、实现、</a:t>
              </a:r>
              <a:endParaRPr lang="en-US" altLang="zh-CN" sz="1100" b="0" i="0" dirty="0">
                <a:solidFill>
                  <a:srgbClr val="404040"/>
                </a:solidFill>
                <a:effectLst/>
                <a:latin typeface="-apple-system"/>
              </a:endParaRPr>
            </a:p>
            <a:p>
              <a:pPr>
                <a:lnSpc>
                  <a:spcPct val="130000"/>
                </a:lnSpc>
              </a:pPr>
              <a:r>
                <a:rPr lang="zh-CN" altLang="en-US" sz="1100" b="0" i="0" dirty="0">
                  <a:solidFill>
                    <a:srgbClr val="333333"/>
                  </a:solidFill>
                  <a:effectLst/>
                  <a:latin typeface="Helvetica Neue"/>
                </a:rPr>
                <a:t>类加上他们之间的关系就构成了类图</a:t>
              </a:r>
              <a:endParaRPr lang="en-US" altLang="zh-CN" sz="1100" dirty="0"/>
            </a:p>
          </p:txBody>
        </p:sp>
        <p:sp>
          <p:nvSpPr>
            <p:cNvPr id="22" name="îšľîḋê">
              <a:extLst>
                <a:ext uri="{FF2B5EF4-FFF2-40B4-BE49-F238E27FC236}">
                  <a16:creationId xmlns:a16="http://schemas.microsoft.com/office/drawing/2014/main" id="{26173FB9-9955-4921-8736-A812060EDF83}"/>
                </a:ext>
              </a:extLst>
            </p:cNvPr>
            <p:cNvSpPr txBox="1"/>
            <p:nvPr/>
          </p:nvSpPr>
          <p:spPr bwMode="auto">
            <a:xfrm>
              <a:off x="4558004" y="2979000"/>
              <a:ext cx="2458451" cy="3875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000" tIns="46800" rIns="90000" bIns="46800" anchor="b" anchorCtr="0">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eaLnBrk="1" hangingPunct="1">
                <a:lnSpc>
                  <a:spcPct val="100000"/>
                </a:lnSpc>
                <a:spcBef>
                  <a:spcPct val="0"/>
                </a:spcBef>
                <a:buFontTx/>
                <a:buNone/>
              </a:pPr>
              <a:r>
                <a:rPr lang="zh-CN" altLang="en-US" sz="1800" b="1" dirty="0"/>
                <a:t>类图</a:t>
              </a:r>
              <a:endParaRPr lang="en-US" altLang="zh-CN" sz="1800" b="1" dirty="0"/>
            </a:p>
          </p:txBody>
        </p:sp>
        <p:sp>
          <p:nvSpPr>
            <p:cNvPr id="23" name="íṡľïḓe">
              <a:extLst>
                <a:ext uri="{FF2B5EF4-FFF2-40B4-BE49-F238E27FC236}">
                  <a16:creationId xmlns:a16="http://schemas.microsoft.com/office/drawing/2014/main" id="{ACCC186F-F10E-46EB-8DBF-D6872A0947D2}"/>
                </a:ext>
              </a:extLst>
            </p:cNvPr>
            <p:cNvSpPr/>
            <p:nvPr/>
          </p:nvSpPr>
          <p:spPr bwMode="auto">
            <a:xfrm>
              <a:off x="4558004" y="5382822"/>
              <a:ext cx="2458451" cy="5573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46800" rIns="90000" bIns="46800" anchor="t" anchorCtr="0">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nSpc>
                  <a:spcPct val="130000"/>
                </a:lnSpc>
              </a:pPr>
              <a:r>
                <a:rPr lang="zh-CN" altLang="en-US" sz="1100" dirty="0"/>
                <a:t>主要描述用例在实现过程中参与的对象以及对象之间的交互消息</a:t>
              </a:r>
              <a:endParaRPr lang="en-US" altLang="zh-CN" sz="1100" dirty="0"/>
            </a:p>
          </p:txBody>
        </p:sp>
        <p:sp>
          <p:nvSpPr>
            <p:cNvPr id="24" name="iŝ1ïďê">
              <a:extLst>
                <a:ext uri="{FF2B5EF4-FFF2-40B4-BE49-F238E27FC236}">
                  <a16:creationId xmlns:a16="http://schemas.microsoft.com/office/drawing/2014/main" id="{8400845F-14A9-4AA9-B2B5-9B6320EF724B}"/>
                </a:ext>
              </a:extLst>
            </p:cNvPr>
            <p:cNvSpPr txBox="1"/>
            <p:nvPr/>
          </p:nvSpPr>
          <p:spPr bwMode="auto">
            <a:xfrm>
              <a:off x="4558004" y="4995224"/>
              <a:ext cx="2458451" cy="3875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000" tIns="46800" rIns="90000" bIns="46800" anchor="b" anchorCtr="0">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eaLnBrk="1" hangingPunct="1">
                <a:lnSpc>
                  <a:spcPct val="100000"/>
                </a:lnSpc>
                <a:spcBef>
                  <a:spcPct val="0"/>
                </a:spcBef>
                <a:buFontTx/>
                <a:buNone/>
              </a:pPr>
              <a:r>
                <a:rPr lang="zh-CN" altLang="en-US" sz="1800" b="1" dirty="0"/>
                <a:t>协作图</a:t>
              </a:r>
              <a:endParaRPr lang="en-US" altLang="zh-CN" sz="1800" b="1" dirty="0"/>
            </a:p>
          </p:txBody>
        </p:sp>
        <p:sp>
          <p:nvSpPr>
            <p:cNvPr id="25" name="işľiḓé">
              <a:extLst>
                <a:ext uri="{FF2B5EF4-FFF2-40B4-BE49-F238E27FC236}">
                  <a16:creationId xmlns:a16="http://schemas.microsoft.com/office/drawing/2014/main" id="{CD8733AB-3101-40DE-AF0F-777D46A8AF2E}"/>
                </a:ext>
              </a:extLst>
            </p:cNvPr>
            <p:cNvSpPr/>
            <p:nvPr/>
          </p:nvSpPr>
          <p:spPr bwMode="auto">
            <a:xfrm>
              <a:off x="8272549" y="3366598"/>
              <a:ext cx="2458451" cy="5573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46800" rIns="90000" bIns="46800" anchor="t" anchorCtr="0">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nSpc>
                  <a:spcPct val="130000"/>
                </a:lnSpc>
              </a:pPr>
              <a:r>
                <a:rPr lang="zh-CN" altLang="en-US" sz="1100" dirty="0"/>
                <a:t>状态图由对象的各个状态和连接这些状态的转换组成</a:t>
              </a:r>
              <a:endParaRPr lang="en-US" altLang="zh-CN" sz="1100" dirty="0"/>
            </a:p>
          </p:txBody>
        </p:sp>
        <p:sp>
          <p:nvSpPr>
            <p:cNvPr id="26" name="íṩļiḍè">
              <a:extLst>
                <a:ext uri="{FF2B5EF4-FFF2-40B4-BE49-F238E27FC236}">
                  <a16:creationId xmlns:a16="http://schemas.microsoft.com/office/drawing/2014/main" id="{7D517240-D8D1-4628-B1C9-E4996B35B491}"/>
                </a:ext>
              </a:extLst>
            </p:cNvPr>
            <p:cNvSpPr txBox="1"/>
            <p:nvPr/>
          </p:nvSpPr>
          <p:spPr bwMode="auto">
            <a:xfrm>
              <a:off x="8272549" y="2979000"/>
              <a:ext cx="2458451" cy="3875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000" tIns="46800" rIns="90000" bIns="46800" anchor="b" anchorCtr="0">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eaLnBrk="1" hangingPunct="1">
                <a:lnSpc>
                  <a:spcPct val="100000"/>
                </a:lnSpc>
                <a:spcBef>
                  <a:spcPct val="0"/>
                </a:spcBef>
                <a:buFontTx/>
                <a:buNone/>
              </a:pPr>
              <a:r>
                <a:rPr lang="zh-CN" altLang="en-US" sz="1800" b="1" dirty="0"/>
                <a:t>状态图</a:t>
              </a:r>
              <a:endParaRPr lang="en-US" altLang="zh-CN" sz="1800" b="1" dirty="0"/>
            </a:p>
          </p:txBody>
        </p:sp>
        <p:sp>
          <p:nvSpPr>
            <p:cNvPr id="27" name="ís1iḋe">
              <a:extLst>
                <a:ext uri="{FF2B5EF4-FFF2-40B4-BE49-F238E27FC236}">
                  <a16:creationId xmlns:a16="http://schemas.microsoft.com/office/drawing/2014/main" id="{8A56513D-9C12-4ED4-A8DC-960F5B899EEA}"/>
                </a:ext>
              </a:extLst>
            </p:cNvPr>
            <p:cNvSpPr/>
            <p:nvPr/>
          </p:nvSpPr>
          <p:spPr bwMode="auto">
            <a:xfrm>
              <a:off x="8272549" y="5382822"/>
              <a:ext cx="2458451" cy="5573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46800" rIns="90000" bIns="46800" anchor="t" anchorCtr="0">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nSpc>
                  <a:spcPct val="130000"/>
                </a:lnSpc>
              </a:pPr>
              <a:r>
                <a:rPr lang="zh-CN" altLang="en-US" sz="1100" dirty="0"/>
                <a:t>采用对象、属性、操作、关联等概念展示系统的结构和基础</a:t>
              </a:r>
              <a:endParaRPr lang="en-US" altLang="zh-CN" sz="1100" dirty="0"/>
            </a:p>
          </p:txBody>
        </p:sp>
        <p:sp>
          <p:nvSpPr>
            <p:cNvPr id="28" name="ïṩḻiḑê">
              <a:extLst>
                <a:ext uri="{FF2B5EF4-FFF2-40B4-BE49-F238E27FC236}">
                  <a16:creationId xmlns:a16="http://schemas.microsoft.com/office/drawing/2014/main" id="{92631173-04ED-45CB-A100-77C135AD0A03}"/>
                </a:ext>
              </a:extLst>
            </p:cNvPr>
            <p:cNvSpPr txBox="1"/>
            <p:nvPr/>
          </p:nvSpPr>
          <p:spPr bwMode="auto">
            <a:xfrm>
              <a:off x="8272549" y="4995224"/>
              <a:ext cx="2458451" cy="3875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000" tIns="46800" rIns="90000" bIns="46800" anchor="b" anchorCtr="0">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eaLnBrk="1" hangingPunct="1">
                <a:lnSpc>
                  <a:spcPct val="100000"/>
                </a:lnSpc>
                <a:spcBef>
                  <a:spcPct val="0"/>
                </a:spcBef>
                <a:buFontTx/>
                <a:buNone/>
              </a:pPr>
              <a:r>
                <a:rPr lang="zh-CN" altLang="en-US" sz="1800" b="1" dirty="0"/>
                <a:t>部署图</a:t>
              </a:r>
              <a:endParaRPr lang="en-US" altLang="zh-CN" sz="1800" b="1" dirty="0"/>
            </a:p>
          </p:txBody>
        </p:sp>
      </p:grpSp>
    </p:spTree>
    <p:custDataLst>
      <p:tags r:id="rId1"/>
    </p:custDataLst>
    <p:extLst>
      <p:ext uri="{BB962C8B-B14F-4D97-AF65-F5344CB8AC3E}">
        <p14:creationId xmlns:p14="http://schemas.microsoft.com/office/powerpoint/2010/main" val="1414562682"/>
      </p:ext>
    </p:extLst>
  </p:cSld>
  <p:clrMapOvr>
    <a:masterClrMapping/>
  </p:clrMapOvr>
  <mc:AlternateContent xmlns:mc="http://schemas.openxmlformats.org/markup-compatibility/2006">
    <mc:Choice xmlns:p14="http://schemas.microsoft.com/office/powerpoint/2010/main" Requires="p14">
      <p:transition spd="slow" p14:dur="1250">
        <p:blinds dir="vert"/>
      </p:transition>
    </mc:Choice>
    <mc:Fallback>
      <p:transition spd="slow">
        <p:blinds dir="vert"/>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p:txBody>
          <a:bodyPr/>
          <a:lstStyle/>
          <a:p>
            <a:r>
              <a:rPr lang="zh-CN" altLang="en-US" dirty="0"/>
              <a:t>相关资料</a:t>
            </a:r>
          </a:p>
        </p:txBody>
      </p:sp>
      <p:sp>
        <p:nvSpPr>
          <p:cNvPr id="9" name="文本框 8">
            <a:extLst>
              <a:ext uri="{FF2B5EF4-FFF2-40B4-BE49-F238E27FC236}">
                <a16:creationId xmlns:a16="http://schemas.microsoft.com/office/drawing/2014/main" id="{04F69230-F3A6-4586-9371-A858F4763E9F}"/>
              </a:ext>
            </a:extLst>
          </p:cNvPr>
          <p:cNvSpPr txBox="1"/>
          <p:nvPr/>
        </p:nvSpPr>
        <p:spPr>
          <a:xfrm>
            <a:off x="6632714" y="2171808"/>
            <a:ext cx="1029773" cy="895349"/>
          </a:xfrm>
          <a:prstGeom prst="rect">
            <a:avLst/>
          </a:prstGeom>
          <a:noFill/>
          <a:ln w="117475">
            <a:noFill/>
          </a:ln>
        </p:spPr>
        <p:txBody>
          <a:bodyPr wrap="none" rtlCol="0">
            <a:prstTxWarp prst="textPlain">
              <a:avLst/>
            </a:prstTxWarp>
            <a:spAutoFit/>
          </a:bodyPr>
          <a:lstStyle/>
          <a:p>
            <a:r>
              <a:rPr lang="en-US" altLang="zh-CN" spc="100" dirty="0">
                <a:solidFill>
                  <a:schemeClr val="accent1"/>
                </a:solidFill>
                <a:latin typeface="Impact" panose="020B0806030902050204" pitchFamily="34" charset="0"/>
                <a:cs typeface="Arial" panose="020B0604020202020204" pitchFamily="34" charset="0"/>
              </a:rPr>
              <a:t>/2</a:t>
            </a:r>
            <a:endParaRPr lang="zh-CN" altLang="en-US" spc="100" dirty="0">
              <a:solidFill>
                <a:schemeClr val="accent1"/>
              </a:solidFill>
              <a:latin typeface="Impact" panose="020B0806030902050204" pitchFamily="34" charset="0"/>
              <a:cs typeface="Arial" panose="020B0604020202020204" pitchFamily="34" charset="0"/>
            </a:endParaRPr>
          </a:p>
        </p:txBody>
      </p:sp>
    </p:spTree>
    <p:custDataLst>
      <p:tags r:id="rId2"/>
    </p:custDataLst>
    <p:extLst>
      <p:ext uri="{BB962C8B-B14F-4D97-AF65-F5344CB8AC3E}">
        <p14:creationId xmlns:p14="http://schemas.microsoft.com/office/powerpoint/2010/main" val="1909781476"/>
      </p:ext>
    </p:extLst>
  </p:cSld>
  <p:clrMapOvr>
    <a:masterClrMapping/>
  </p:clrMapOvr>
  <p:transition spd="slow">
    <p:cover/>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438A1E6A-267E-429D-9AC0-41BEA97D1864}"/>
              </a:ext>
            </a:extLst>
          </p:cNvPr>
          <p:cNvSpPr>
            <a:spLocks noGrp="1"/>
          </p:cNvSpPr>
          <p:nvPr>
            <p:ph type="title"/>
          </p:nvPr>
        </p:nvSpPr>
        <p:spPr/>
        <p:txBody>
          <a:bodyPr/>
          <a:lstStyle/>
          <a:p>
            <a:r>
              <a:rPr lang="zh-CN" altLang="en-US" dirty="0"/>
              <a:t>相关资料</a:t>
            </a:r>
          </a:p>
        </p:txBody>
      </p:sp>
      <p:sp>
        <p:nvSpPr>
          <p:cNvPr id="4" name="灯片编号占位符 3">
            <a:extLst>
              <a:ext uri="{FF2B5EF4-FFF2-40B4-BE49-F238E27FC236}">
                <a16:creationId xmlns:a16="http://schemas.microsoft.com/office/drawing/2014/main" id="{87D3A068-E066-48FB-80C4-29CE111BC29B}"/>
              </a:ext>
            </a:extLst>
          </p:cNvPr>
          <p:cNvSpPr>
            <a:spLocks noGrp="1"/>
          </p:cNvSpPr>
          <p:nvPr>
            <p:ph type="sldNum" sz="quarter" idx="12"/>
          </p:nvPr>
        </p:nvSpPr>
        <p:spPr/>
        <p:txBody>
          <a:bodyPr/>
          <a:lstStyle/>
          <a:p>
            <a:fld id="{5DD3DB80-B894-403A-B48E-6FDC1A72010E}" type="slidenum">
              <a:rPr lang="zh-CN" altLang="en-US" smtClean="0"/>
              <a:pPr/>
              <a:t>31</a:t>
            </a:fld>
            <a:endParaRPr lang="zh-CN" altLang="en-US"/>
          </a:p>
        </p:txBody>
      </p:sp>
      <p:sp>
        <p:nvSpPr>
          <p:cNvPr id="5" name="文本框 4">
            <a:extLst>
              <a:ext uri="{FF2B5EF4-FFF2-40B4-BE49-F238E27FC236}">
                <a16:creationId xmlns:a16="http://schemas.microsoft.com/office/drawing/2014/main" id="{8FB07148-5D6D-4E1F-AA5A-EBED30E3DB7C}"/>
              </a:ext>
            </a:extLst>
          </p:cNvPr>
          <p:cNvSpPr txBox="1"/>
          <p:nvPr/>
        </p:nvSpPr>
        <p:spPr>
          <a:xfrm>
            <a:off x="764466" y="1426601"/>
            <a:ext cx="9628565" cy="3046411"/>
          </a:xfrm>
          <a:prstGeom prst="rect">
            <a:avLst/>
          </a:prstGeom>
          <a:noFill/>
          <a:effectLst>
            <a:outerShdw blurRad="50800" dist="38100" dir="2700000" algn="tl" rotWithShape="0">
              <a:prstClr val="black">
                <a:alpha val="40000"/>
              </a:prstClr>
            </a:outerShdw>
          </a:effectLst>
        </p:spPr>
        <p:txBody>
          <a:bodyPr wrap="square">
            <a:spAutoFit/>
          </a:bodyPr>
          <a:lstStyle/>
          <a:p>
            <a:r>
              <a:rPr lang="en-US" altLang="zh-CN" sz="2133" dirty="0">
                <a:latin typeface="微软雅黑" panose="020B0503020204020204" pitchFamily="34" charset="-122"/>
                <a:ea typeface="微软雅黑" panose="020B0503020204020204" pitchFamily="34" charset="-122"/>
              </a:rPr>
              <a:t>[1]《</a:t>
            </a:r>
            <a:r>
              <a:rPr lang="en-US" altLang="zh-CN" sz="2133" dirty="0">
                <a:solidFill>
                  <a:schemeClr val="tx1">
                    <a:lumMod val="85000"/>
                    <a:lumOff val="15000"/>
                  </a:schemeClr>
                </a:solidFill>
                <a:latin typeface="微软雅黑" panose="020B0503020204020204" pitchFamily="34" charset="-122"/>
                <a:ea typeface="微软雅黑" panose="020B0503020204020204" pitchFamily="34" charset="-122"/>
              </a:rPr>
              <a:t>UML2 </a:t>
            </a:r>
            <a:r>
              <a:rPr lang="zh-CN" altLang="en-US" sz="2133" dirty="0">
                <a:solidFill>
                  <a:schemeClr val="tx1">
                    <a:lumMod val="85000"/>
                    <a:lumOff val="15000"/>
                  </a:schemeClr>
                </a:solidFill>
                <a:latin typeface="微软雅黑" panose="020B0503020204020204" pitchFamily="34" charset="-122"/>
                <a:ea typeface="微软雅黑" panose="020B0503020204020204" pitchFamily="34" charset="-122"/>
              </a:rPr>
              <a:t>基础、建模与设计教程</a:t>
            </a:r>
            <a:r>
              <a:rPr lang="en-US" altLang="zh-CN" sz="2133" dirty="0">
                <a:solidFill>
                  <a:schemeClr val="tx1">
                    <a:lumMod val="85000"/>
                    <a:lumOff val="15000"/>
                  </a:schemeClr>
                </a:solidFill>
                <a:latin typeface="微软雅黑" panose="020B0503020204020204" pitchFamily="34" charset="-122"/>
                <a:ea typeface="微软雅黑" panose="020B0503020204020204" pitchFamily="34" charset="-122"/>
              </a:rPr>
              <a:t>》</a:t>
            </a:r>
            <a:endParaRPr lang="zh-CN" altLang="en-US" sz="2133" dirty="0">
              <a:solidFill>
                <a:schemeClr val="tx1">
                  <a:lumMod val="85000"/>
                  <a:lumOff val="15000"/>
                </a:schemeClr>
              </a:solidFill>
              <a:latin typeface="微软雅黑" panose="020B0503020204020204" pitchFamily="34" charset="-122"/>
              <a:ea typeface="微软雅黑" panose="020B0503020204020204" pitchFamily="34" charset="-122"/>
            </a:endParaRPr>
          </a:p>
          <a:p>
            <a:r>
              <a:rPr lang="zh-CN" altLang="en-US" sz="2133" dirty="0">
                <a:solidFill>
                  <a:schemeClr val="tx1">
                    <a:lumMod val="85000"/>
                    <a:lumOff val="15000"/>
                  </a:schemeClr>
                </a:solidFill>
                <a:latin typeface="微软雅黑" panose="020B0503020204020204" pitchFamily="34" charset="-122"/>
                <a:ea typeface="微软雅黑" panose="020B0503020204020204" pitchFamily="34" charset="-122"/>
              </a:rPr>
              <a:t>作者：杨弘平、吕海华、李波、史江萍、代钦 著作</a:t>
            </a:r>
          </a:p>
          <a:p>
            <a:r>
              <a:rPr lang="zh-CN" altLang="en-US" sz="2133" dirty="0">
                <a:solidFill>
                  <a:schemeClr val="tx1">
                    <a:lumMod val="85000"/>
                    <a:lumOff val="15000"/>
                  </a:schemeClr>
                </a:solidFill>
                <a:latin typeface="微软雅黑" panose="020B0503020204020204" pitchFamily="34" charset="-122"/>
                <a:ea typeface="微软雅黑" panose="020B0503020204020204" pitchFamily="34" charset="-122"/>
              </a:rPr>
              <a:t>出版社</a:t>
            </a:r>
            <a:r>
              <a:rPr lang="en-US" altLang="zh-CN" sz="2133" dirty="0">
                <a:solidFill>
                  <a:schemeClr val="tx1">
                    <a:lumMod val="85000"/>
                    <a:lumOff val="15000"/>
                  </a:schemeClr>
                </a:solidFill>
                <a:latin typeface="微软雅黑" panose="020B0503020204020204" pitchFamily="34" charset="-122"/>
                <a:ea typeface="微软雅黑" panose="020B0503020204020204" pitchFamily="34" charset="-122"/>
              </a:rPr>
              <a:t>: </a:t>
            </a:r>
            <a:r>
              <a:rPr lang="zh-CN" altLang="en-US" sz="2133" dirty="0">
                <a:solidFill>
                  <a:schemeClr val="tx1">
                    <a:lumMod val="85000"/>
                    <a:lumOff val="15000"/>
                  </a:schemeClr>
                </a:solidFill>
                <a:latin typeface="微软雅黑" panose="020B0503020204020204" pitchFamily="34" charset="-122"/>
                <a:ea typeface="微软雅黑" panose="020B0503020204020204" pitchFamily="34" charset="-122"/>
              </a:rPr>
              <a:t>清华大学出版社</a:t>
            </a:r>
          </a:p>
          <a:p>
            <a:r>
              <a:rPr lang="en-US" altLang="zh-CN" sz="2133" dirty="0">
                <a:solidFill>
                  <a:schemeClr val="tx1">
                    <a:lumMod val="85000"/>
                    <a:lumOff val="15000"/>
                  </a:schemeClr>
                </a:solidFill>
                <a:latin typeface="微软雅黑" panose="020B0503020204020204" pitchFamily="34" charset="-122"/>
                <a:ea typeface="微软雅黑" panose="020B0503020204020204" pitchFamily="34" charset="-122"/>
              </a:rPr>
              <a:t>ISBN</a:t>
            </a:r>
            <a:r>
              <a:rPr lang="zh-CN" altLang="en-US" sz="2133" dirty="0">
                <a:solidFill>
                  <a:schemeClr val="tx1">
                    <a:lumMod val="85000"/>
                    <a:lumOff val="15000"/>
                  </a:schemeClr>
                </a:solidFill>
                <a:latin typeface="微软雅黑" panose="020B0503020204020204" pitchFamily="34" charset="-122"/>
                <a:ea typeface="微软雅黑" panose="020B0503020204020204" pitchFamily="34" charset="-122"/>
              </a:rPr>
              <a:t>编号</a:t>
            </a:r>
            <a:r>
              <a:rPr lang="en-US" altLang="zh-CN" sz="2133" dirty="0">
                <a:solidFill>
                  <a:schemeClr val="tx1">
                    <a:lumMod val="85000"/>
                    <a:lumOff val="15000"/>
                  </a:schemeClr>
                </a:solidFill>
                <a:latin typeface="微软雅黑" panose="020B0503020204020204" pitchFamily="34" charset="-122"/>
                <a:ea typeface="微软雅黑" panose="020B0503020204020204" pitchFamily="34" charset="-122"/>
              </a:rPr>
              <a:t>: 9787302404491</a:t>
            </a:r>
          </a:p>
          <a:p>
            <a:endParaRPr lang="en-US" altLang="zh-CN" sz="2133" dirty="0">
              <a:solidFill>
                <a:schemeClr val="tx1">
                  <a:lumMod val="85000"/>
                  <a:lumOff val="15000"/>
                </a:schemeClr>
              </a:solidFill>
              <a:latin typeface="微软雅黑" panose="020B0503020204020204" pitchFamily="34" charset="-122"/>
              <a:ea typeface="微软雅黑" panose="020B0503020204020204" pitchFamily="34" charset="-122"/>
            </a:endParaRPr>
          </a:p>
          <a:p>
            <a:r>
              <a:rPr lang="en-US" altLang="zh-CN" sz="2133" dirty="0">
                <a:latin typeface="微软雅黑" panose="020B0503020204020204" pitchFamily="34" charset="-122"/>
                <a:ea typeface="微软雅黑" panose="020B0503020204020204" pitchFamily="34" charset="-122"/>
              </a:rPr>
              <a:t>[2] </a:t>
            </a:r>
            <a:r>
              <a:rPr lang="en-US" altLang="zh-CN" sz="2133" dirty="0">
                <a:latin typeface="微软雅黑" panose="020B0503020204020204" pitchFamily="34" charset="-122"/>
                <a:ea typeface="微软雅黑" panose="020B0503020204020204" pitchFamily="34" charset="-122"/>
                <a:hlinkClick r:id="rId3">
                  <a:extLst>
                    <a:ext uri="{A12FA001-AC4F-418D-AE19-62706E023703}">
                      <ahyp:hlinkClr xmlns:ahyp="http://schemas.microsoft.com/office/drawing/2018/hyperlinkcolor" val="tx"/>
                    </a:ext>
                  </a:extLst>
                </a:hlinkClick>
              </a:rPr>
              <a:t>https://blog.csdn.net/zhaxun?type=blog</a:t>
            </a:r>
            <a:endParaRPr lang="en-US" altLang="zh-CN" sz="2133" dirty="0">
              <a:latin typeface="微软雅黑" panose="020B0503020204020204" pitchFamily="34" charset="-122"/>
              <a:ea typeface="微软雅黑" panose="020B0503020204020204" pitchFamily="34" charset="-122"/>
            </a:endParaRPr>
          </a:p>
          <a:p>
            <a:r>
              <a:rPr lang="en-US" altLang="zh-CN" sz="2133" dirty="0">
                <a:solidFill>
                  <a:schemeClr val="tx1">
                    <a:lumMod val="85000"/>
                    <a:lumOff val="15000"/>
                  </a:schemeClr>
                </a:solidFill>
                <a:latin typeface="微软雅黑" panose="020B0503020204020204" pitchFamily="34" charset="-122"/>
                <a:ea typeface="微软雅黑" panose="020B0503020204020204" pitchFamily="34" charset="-122"/>
              </a:rPr>
              <a:t>UML</a:t>
            </a:r>
            <a:r>
              <a:rPr lang="zh-CN" altLang="en-US" sz="2133" dirty="0">
                <a:solidFill>
                  <a:schemeClr val="tx1">
                    <a:lumMod val="85000"/>
                    <a:lumOff val="15000"/>
                  </a:schemeClr>
                </a:solidFill>
                <a:latin typeface="微软雅黑" panose="020B0503020204020204" pitchFamily="34" charset="-122"/>
                <a:ea typeface="微软雅黑" panose="020B0503020204020204" pitchFamily="34" charset="-122"/>
              </a:rPr>
              <a:t>各类图详解</a:t>
            </a:r>
            <a:endParaRPr lang="en-US" altLang="zh-CN" sz="2133" dirty="0">
              <a:solidFill>
                <a:schemeClr val="tx1">
                  <a:lumMod val="85000"/>
                  <a:lumOff val="15000"/>
                </a:schemeClr>
              </a:solidFill>
              <a:latin typeface="微软雅黑" panose="020B0503020204020204" pitchFamily="34" charset="-122"/>
              <a:ea typeface="微软雅黑" panose="020B0503020204020204" pitchFamily="34" charset="-122"/>
            </a:endParaRPr>
          </a:p>
          <a:p>
            <a:endParaRPr lang="it-IT" altLang="zh-CN" sz="2133" dirty="0">
              <a:solidFill>
                <a:schemeClr val="tx1">
                  <a:lumMod val="85000"/>
                  <a:lumOff val="15000"/>
                </a:schemeClr>
              </a:solidFill>
              <a:latin typeface="微软雅黑" panose="020B0503020204020204" pitchFamily="34" charset="-122"/>
              <a:ea typeface="微软雅黑" panose="020B0503020204020204" pitchFamily="34" charset="-122"/>
            </a:endParaRPr>
          </a:p>
          <a:p>
            <a:r>
              <a:rPr lang="it-IT" altLang="zh-CN" sz="2133" dirty="0">
                <a:solidFill>
                  <a:schemeClr val="tx1">
                    <a:lumMod val="85000"/>
                    <a:lumOff val="15000"/>
                  </a:schemeClr>
                </a:solidFill>
                <a:latin typeface="微软雅黑" panose="020B0503020204020204" pitchFamily="34" charset="-122"/>
                <a:ea typeface="微软雅黑" panose="020B0503020204020204" pitchFamily="34" charset="-122"/>
              </a:rPr>
              <a:t>[3] </a:t>
            </a:r>
            <a:r>
              <a:rPr lang="it-IT" altLang="zh-CN" sz="2133" dirty="0">
                <a:latin typeface="微软雅黑" panose="020B0503020204020204" pitchFamily="34" charset="-122"/>
                <a:ea typeface="微软雅黑" panose="020B0503020204020204" pitchFamily="34" charset="-122"/>
              </a:rPr>
              <a:t>https://blog.csdn.net/cold___play/article/details/102770382</a:t>
            </a:r>
            <a:endParaRPr lang="it-IT" altLang="zh-CN" sz="2133" dirty="0">
              <a:solidFill>
                <a:schemeClr val="tx1">
                  <a:lumMod val="85000"/>
                  <a:lumOff val="15000"/>
                </a:schemeClr>
              </a:solidFill>
              <a:latin typeface="微软雅黑" panose="020B0503020204020204" pitchFamily="34" charset="-122"/>
              <a:ea typeface="微软雅黑" panose="020B0503020204020204" pitchFamily="34" charset="-122"/>
            </a:endParaRPr>
          </a:p>
        </p:txBody>
      </p:sp>
      <p:grpSp>
        <p:nvGrpSpPr>
          <p:cNvPr id="180" name="组合 179"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a16="http://schemas.microsoft.com/office/drawing/2014/main" id="{CA702A48-F947-4112-8034-041BCB1C8FE0}"/>
              </a:ext>
            </a:extLst>
          </p:cNvPr>
          <p:cNvGrpSpPr>
            <a:grpSpLocks noChangeAspect="1"/>
          </p:cNvGrpSpPr>
          <p:nvPr/>
        </p:nvGrpSpPr>
        <p:grpSpPr>
          <a:xfrm>
            <a:off x="7892448" y="1278295"/>
            <a:ext cx="3348799" cy="2571326"/>
            <a:chOff x="3511550" y="1427163"/>
            <a:chExt cx="5162550" cy="3963988"/>
          </a:xfrm>
        </p:grpSpPr>
        <p:sp>
          <p:nvSpPr>
            <p:cNvPr id="181" name="iS1îḓe">
              <a:extLst>
                <a:ext uri="{FF2B5EF4-FFF2-40B4-BE49-F238E27FC236}">
                  <a16:creationId xmlns:a16="http://schemas.microsoft.com/office/drawing/2014/main" id="{790C966A-92EF-4EAB-9BE9-9E8B4C9AE586}"/>
                </a:ext>
              </a:extLst>
            </p:cNvPr>
            <p:cNvSpPr/>
            <p:nvPr/>
          </p:nvSpPr>
          <p:spPr bwMode="auto">
            <a:xfrm>
              <a:off x="4967288" y="1722438"/>
              <a:ext cx="596900" cy="280988"/>
            </a:xfrm>
            <a:custGeom>
              <a:avLst/>
              <a:gdLst>
                <a:gd name="T0" fmla="*/ 110 w 453"/>
                <a:gd name="T1" fmla="*/ 81 h 214"/>
                <a:gd name="T2" fmla="*/ 195 w 453"/>
                <a:gd name="T3" fmla="*/ 53 h 214"/>
                <a:gd name="T4" fmla="*/ 453 w 453"/>
                <a:gd name="T5" fmla="*/ 214 h 214"/>
                <a:gd name="T6" fmla="*/ 453 w 453"/>
                <a:gd name="T7" fmla="*/ 163 h 214"/>
                <a:gd name="T8" fmla="*/ 207 w 453"/>
                <a:gd name="T9" fmla="*/ 9 h 214"/>
                <a:gd name="T10" fmla="*/ 88 w 453"/>
                <a:gd name="T11" fmla="*/ 42 h 214"/>
                <a:gd name="T12" fmla="*/ 0 w 453"/>
                <a:gd name="T13" fmla="*/ 128 h 214"/>
                <a:gd name="T14" fmla="*/ 36 w 453"/>
                <a:gd name="T15" fmla="*/ 150 h 214"/>
                <a:gd name="T16" fmla="*/ 110 w 453"/>
                <a:gd name="T17" fmla="*/ 81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3" h="214">
                  <a:moveTo>
                    <a:pt x="110" y="81"/>
                  </a:moveTo>
                  <a:cubicBezTo>
                    <a:pt x="155" y="58"/>
                    <a:pt x="183" y="54"/>
                    <a:pt x="195" y="53"/>
                  </a:cubicBezTo>
                  <a:cubicBezTo>
                    <a:pt x="453" y="214"/>
                    <a:pt x="453" y="214"/>
                    <a:pt x="453" y="214"/>
                  </a:cubicBezTo>
                  <a:cubicBezTo>
                    <a:pt x="453" y="163"/>
                    <a:pt x="453" y="163"/>
                    <a:pt x="453" y="163"/>
                  </a:cubicBezTo>
                  <a:cubicBezTo>
                    <a:pt x="207" y="9"/>
                    <a:pt x="207" y="9"/>
                    <a:pt x="207" y="9"/>
                  </a:cubicBezTo>
                  <a:cubicBezTo>
                    <a:pt x="207" y="9"/>
                    <a:pt x="166" y="0"/>
                    <a:pt x="88" y="42"/>
                  </a:cubicBezTo>
                  <a:cubicBezTo>
                    <a:pt x="6" y="84"/>
                    <a:pt x="0" y="128"/>
                    <a:pt x="0" y="128"/>
                  </a:cubicBezTo>
                  <a:cubicBezTo>
                    <a:pt x="36" y="150"/>
                    <a:pt x="36" y="150"/>
                    <a:pt x="36" y="150"/>
                  </a:cubicBezTo>
                  <a:cubicBezTo>
                    <a:pt x="44" y="129"/>
                    <a:pt x="71" y="102"/>
                    <a:pt x="110" y="81"/>
                  </a:cubicBezTo>
                  <a:close/>
                </a:path>
              </a:pathLst>
            </a:custGeom>
            <a:solidFill>
              <a:srgbClr val="7DBB9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82" name="îşľîḋê">
              <a:extLst>
                <a:ext uri="{FF2B5EF4-FFF2-40B4-BE49-F238E27FC236}">
                  <a16:creationId xmlns:a16="http://schemas.microsoft.com/office/drawing/2014/main" id="{EF3E3BB2-721D-4F78-B25A-4AE9611A7BF4}"/>
                </a:ext>
              </a:extLst>
            </p:cNvPr>
            <p:cNvSpPr/>
            <p:nvPr/>
          </p:nvSpPr>
          <p:spPr bwMode="auto">
            <a:xfrm>
              <a:off x="5732463" y="2039938"/>
              <a:ext cx="746125" cy="2297113"/>
            </a:xfrm>
            <a:custGeom>
              <a:avLst/>
              <a:gdLst>
                <a:gd name="T0" fmla="*/ 480 w 566"/>
                <a:gd name="T1" fmla="*/ 299 h 1747"/>
                <a:gd name="T2" fmla="*/ 0 w 566"/>
                <a:gd name="T3" fmla="*/ 0 h 1747"/>
                <a:gd name="T4" fmla="*/ 0 w 566"/>
                <a:gd name="T5" fmla="*/ 51 h 1747"/>
                <a:gd name="T6" fmla="*/ 458 w 566"/>
                <a:gd name="T7" fmla="*/ 336 h 1747"/>
                <a:gd name="T8" fmla="*/ 522 w 566"/>
                <a:gd name="T9" fmla="*/ 448 h 1747"/>
                <a:gd name="T10" fmla="*/ 522 w 566"/>
                <a:gd name="T11" fmla="*/ 1669 h 1747"/>
                <a:gd name="T12" fmla="*/ 518 w 566"/>
                <a:gd name="T13" fmla="*/ 1686 h 1747"/>
                <a:gd name="T14" fmla="*/ 470 w 566"/>
                <a:gd name="T15" fmla="*/ 1712 h 1747"/>
                <a:gd name="T16" fmla="*/ 480 w 566"/>
                <a:gd name="T17" fmla="*/ 1718 h 1747"/>
                <a:gd name="T18" fmla="*/ 566 w 566"/>
                <a:gd name="T19" fmla="*/ 1672 h 1747"/>
                <a:gd name="T20" fmla="*/ 566 w 566"/>
                <a:gd name="T21" fmla="*/ 451 h 1747"/>
                <a:gd name="T22" fmla="*/ 480 w 566"/>
                <a:gd name="T23" fmla="*/ 299 h 17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6" h="1747">
                  <a:moveTo>
                    <a:pt x="480" y="299"/>
                  </a:moveTo>
                  <a:cubicBezTo>
                    <a:pt x="0" y="0"/>
                    <a:pt x="0" y="0"/>
                    <a:pt x="0" y="0"/>
                  </a:cubicBezTo>
                  <a:cubicBezTo>
                    <a:pt x="0" y="51"/>
                    <a:pt x="0" y="51"/>
                    <a:pt x="0" y="51"/>
                  </a:cubicBezTo>
                  <a:cubicBezTo>
                    <a:pt x="458" y="336"/>
                    <a:pt x="458" y="336"/>
                    <a:pt x="458" y="336"/>
                  </a:cubicBezTo>
                  <a:cubicBezTo>
                    <a:pt x="491" y="357"/>
                    <a:pt x="522" y="410"/>
                    <a:pt x="522" y="448"/>
                  </a:cubicBezTo>
                  <a:cubicBezTo>
                    <a:pt x="522" y="1669"/>
                    <a:pt x="522" y="1669"/>
                    <a:pt x="522" y="1669"/>
                  </a:cubicBezTo>
                  <a:cubicBezTo>
                    <a:pt x="522" y="1680"/>
                    <a:pt x="519" y="1685"/>
                    <a:pt x="518" y="1686"/>
                  </a:cubicBezTo>
                  <a:cubicBezTo>
                    <a:pt x="470" y="1712"/>
                    <a:pt x="470" y="1712"/>
                    <a:pt x="470" y="1712"/>
                  </a:cubicBezTo>
                  <a:cubicBezTo>
                    <a:pt x="480" y="1718"/>
                    <a:pt x="480" y="1718"/>
                    <a:pt x="480" y="1718"/>
                  </a:cubicBezTo>
                  <a:cubicBezTo>
                    <a:pt x="527" y="1747"/>
                    <a:pt x="566" y="1727"/>
                    <a:pt x="566" y="1672"/>
                  </a:cubicBezTo>
                  <a:cubicBezTo>
                    <a:pt x="566" y="451"/>
                    <a:pt x="566" y="451"/>
                    <a:pt x="566" y="451"/>
                  </a:cubicBezTo>
                  <a:cubicBezTo>
                    <a:pt x="566" y="396"/>
                    <a:pt x="527" y="328"/>
                    <a:pt x="480" y="299"/>
                  </a:cubicBezTo>
                  <a:close/>
                </a:path>
              </a:pathLst>
            </a:custGeom>
            <a:solidFill>
              <a:srgbClr val="7DBB9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83" name="ïṣļiḋé">
              <a:extLst>
                <a:ext uri="{FF2B5EF4-FFF2-40B4-BE49-F238E27FC236}">
                  <a16:creationId xmlns:a16="http://schemas.microsoft.com/office/drawing/2014/main" id="{A9DAB66A-257A-41CD-A4F0-F36F01488CF6}"/>
                </a:ext>
              </a:extLst>
            </p:cNvPr>
            <p:cNvSpPr/>
            <p:nvPr/>
          </p:nvSpPr>
          <p:spPr bwMode="auto">
            <a:xfrm>
              <a:off x="4967288" y="1890713"/>
              <a:ext cx="1239838" cy="2601913"/>
            </a:xfrm>
            <a:custGeom>
              <a:avLst/>
              <a:gdLst>
                <a:gd name="T0" fmla="*/ 941 w 941"/>
                <a:gd name="T1" fmla="*/ 683 h 1979"/>
                <a:gd name="T2" fmla="*/ 854 w 941"/>
                <a:gd name="T3" fmla="*/ 531 h 1979"/>
                <a:gd name="T4" fmla="*/ 36 w 941"/>
                <a:gd name="T5" fmla="*/ 22 h 1979"/>
                <a:gd name="T6" fmla="*/ 0 w 941"/>
                <a:gd name="T7" fmla="*/ 0 h 1979"/>
                <a:gd name="T8" fmla="*/ 0 w 941"/>
                <a:gd name="T9" fmla="*/ 1419 h 1979"/>
                <a:gd name="T10" fmla="*/ 854 w 941"/>
                <a:gd name="T11" fmla="*/ 1950 h 1979"/>
                <a:gd name="T12" fmla="*/ 941 w 941"/>
                <a:gd name="T13" fmla="*/ 1904 h 1979"/>
                <a:gd name="T14" fmla="*/ 941 w 941"/>
                <a:gd name="T15" fmla="*/ 1884 h 1979"/>
                <a:gd name="T16" fmla="*/ 941 w 941"/>
                <a:gd name="T17" fmla="*/ 683 h 1979"/>
                <a:gd name="T18" fmla="*/ 80 w 941"/>
                <a:gd name="T19" fmla="*/ 1425 h 1979"/>
                <a:gd name="T20" fmla="*/ 80 w 941"/>
                <a:gd name="T21" fmla="*/ 99 h 1979"/>
                <a:gd name="T22" fmla="*/ 92 w 941"/>
                <a:gd name="T23" fmla="*/ 107 h 1979"/>
                <a:gd name="T24" fmla="*/ 92 w 941"/>
                <a:gd name="T25" fmla="*/ 1432 h 1979"/>
                <a:gd name="T26" fmla="*/ 80 w 941"/>
                <a:gd name="T27" fmla="*/ 1425 h 19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41" h="1979">
                  <a:moveTo>
                    <a:pt x="941" y="683"/>
                  </a:moveTo>
                  <a:cubicBezTo>
                    <a:pt x="941" y="628"/>
                    <a:pt x="902" y="560"/>
                    <a:pt x="854" y="531"/>
                  </a:cubicBezTo>
                  <a:cubicBezTo>
                    <a:pt x="36" y="22"/>
                    <a:pt x="36" y="22"/>
                    <a:pt x="36" y="22"/>
                  </a:cubicBezTo>
                  <a:cubicBezTo>
                    <a:pt x="0" y="0"/>
                    <a:pt x="0" y="0"/>
                    <a:pt x="0" y="0"/>
                  </a:cubicBezTo>
                  <a:cubicBezTo>
                    <a:pt x="0" y="1419"/>
                    <a:pt x="0" y="1419"/>
                    <a:pt x="0" y="1419"/>
                  </a:cubicBezTo>
                  <a:cubicBezTo>
                    <a:pt x="854" y="1950"/>
                    <a:pt x="854" y="1950"/>
                    <a:pt x="854" y="1950"/>
                  </a:cubicBezTo>
                  <a:cubicBezTo>
                    <a:pt x="902" y="1979"/>
                    <a:pt x="941" y="1959"/>
                    <a:pt x="941" y="1904"/>
                  </a:cubicBezTo>
                  <a:cubicBezTo>
                    <a:pt x="941" y="1884"/>
                    <a:pt x="941" y="1884"/>
                    <a:pt x="941" y="1884"/>
                  </a:cubicBezTo>
                  <a:cubicBezTo>
                    <a:pt x="941" y="683"/>
                    <a:pt x="941" y="683"/>
                    <a:pt x="941" y="683"/>
                  </a:cubicBezTo>
                  <a:moveTo>
                    <a:pt x="80" y="1425"/>
                  </a:moveTo>
                  <a:cubicBezTo>
                    <a:pt x="80" y="99"/>
                    <a:pt x="80" y="99"/>
                    <a:pt x="80" y="99"/>
                  </a:cubicBezTo>
                  <a:cubicBezTo>
                    <a:pt x="92" y="107"/>
                    <a:pt x="92" y="107"/>
                    <a:pt x="92" y="107"/>
                  </a:cubicBezTo>
                  <a:cubicBezTo>
                    <a:pt x="92" y="1432"/>
                    <a:pt x="92" y="1432"/>
                    <a:pt x="92" y="1432"/>
                  </a:cubicBezTo>
                  <a:cubicBezTo>
                    <a:pt x="80" y="1425"/>
                    <a:pt x="80" y="1425"/>
                    <a:pt x="80" y="1425"/>
                  </a:cubicBezTo>
                </a:path>
              </a:pathLst>
            </a:custGeom>
            <a:solidFill>
              <a:srgbClr val="86C9A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84" name="ïSļïdê">
              <a:extLst>
                <a:ext uri="{FF2B5EF4-FFF2-40B4-BE49-F238E27FC236}">
                  <a16:creationId xmlns:a16="http://schemas.microsoft.com/office/drawing/2014/main" id="{C28D088B-4D1A-4DA2-AAC2-2882F559A3B1}"/>
                </a:ext>
              </a:extLst>
            </p:cNvPr>
            <p:cNvSpPr/>
            <p:nvPr/>
          </p:nvSpPr>
          <p:spPr bwMode="auto">
            <a:xfrm>
              <a:off x="5073650" y="2020888"/>
              <a:ext cx="15875" cy="1752600"/>
            </a:xfrm>
            <a:custGeom>
              <a:avLst/>
              <a:gdLst>
                <a:gd name="T0" fmla="*/ 10 w 10"/>
                <a:gd name="T1" fmla="*/ 6 h 1104"/>
                <a:gd name="T2" fmla="*/ 0 w 10"/>
                <a:gd name="T3" fmla="*/ 0 h 1104"/>
                <a:gd name="T4" fmla="*/ 0 w 10"/>
                <a:gd name="T5" fmla="*/ 1098 h 1104"/>
                <a:gd name="T6" fmla="*/ 10 w 10"/>
                <a:gd name="T7" fmla="*/ 1104 h 1104"/>
                <a:gd name="T8" fmla="*/ 10 w 10"/>
                <a:gd name="T9" fmla="*/ 6 h 1104"/>
              </a:gdLst>
              <a:ahLst/>
              <a:cxnLst>
                <a:cxn ang="0">
                  <a:pos x="T0" y="T1"/>
                </a:cxn>
                <a:cxn ang="0">
                  <a:pos x="T2" y="T3"/>
                </a:cxn>
                <a:cxn ang="0">
                  <a:pos x="T4" y="T5"/>
                </a:cxn>
                <a:cxn ang="0">
                  <a:pos x="T6" y="T7"/>
                </a:cxn>
                <a:cxn ang="0">
                  <a:pos x="T8" y="T9"/>
                </a:cxn>
              </a:cxnLst>
              <a:rect l="0" t="0" r="r" b="b"/>
              <a:pathLst>
                <a:path w="10" h="1104">
                  <a:moveTo>
                    <a:pt x="10" y="6"/>
                  </a:moveTo>
                  <a:lnTo>
                    <a:pt x="0" y="0"/>
                  </a:lnTo>
                  <a:lnTo>
                    <a:pt x="0" y="1098"/>
                  </a:lnTo>
                  <a:lnTo>
                    <a:pt x="10" y="1104"/>
                  </a:lnTo>
                  <a:lnTo>
                    <a:pt x="10" y="6"/>
                  </a:ln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85" name="íṣľídé">
              <a:extLst>
                <a:ext uri="{FF2B5EF4-FFF2-40B4-BE49-F238E27FC236}">
                  <a16:creationId xmlns:a16="http://schemas.microsoft.com/office/drawing/2014/main" id="{F80A488F-5419-4262-94E4-AAF8A4FA8555}"/>
                </a:ext>
              </a:extLst>
            </p:cNvPr>
            <p:cNvSpPr/>
            <p:nvPr/>
          </p:nvSpPr>
          <p:spPr bwMode="auto">
            <a:xfrm>
              <a:off x="5567363" y="1914526"/>
              <a:ext cx="165100" cy="261938"/>
            </a:xfrm>
            <a:custGeom>
              <a:avLst/>
              <a:gdLst>
                <a:gd name="T0" fmla="*/ 86 w 104"/>
                <a:gd name="T1" fmla="*/ 165 h 165"/>
                <a:gd name="T2" fmla="*/ 89 w 104"/>
                <a:gd name="T3" fmla="*/ 164 h 165"/>
                <a:gd name="T4" fmla="*/ 89 w 104"/>
                <a:gd name="T5" fmla="*/ 140 h 165"/>
                <a:gd name="T6" fmla="*/ 89 w 104"/>
                <a:gd name="T7" fmla="*/ 141 h 165"/>
                <a:gd name="T8" fmla="*/ 104 w 104"/>
                <a:gd name="T9" fmla="*/ 133 h 165"/>
                <a:gd name="T10" fmla="*/ 104 w 104"/>
                <a:gd name="T11" fmla="*/ 122 h 165"/>
                <a:gd name="T12" fmla="*/ 104 w 104"/>
                <a:gd name="T13" fmla="*/ 79 h 165"/>
                <a:gd name="T14" fmla="*/ 104 w 104"/>
                <a:gd name="T15" fmla="*/ 54 h 165"/>
                <a:gd name="T16" fmla="*/ 16 w 104"/>
                <a:gd name="T17" fmla="*/ 0 h 165"/>
                <a:gd name="T18" fmla="*/ 0 w 104"/>
                <a:gd name="T19" fmla="*/ 8 h 165"/>
                <a:gd name="T20" fmla="*/ 86 w 104"/>
                <a:gd name="T21" fmla="*/ 62 h 165"/>
                <a:gd name="T22" fmla="*/ 86 w 104"/>
                <a:gd name="T23" fmla="*/ 165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4" h="165">
                  <a:moveTo>
                    <a:pt x="86" y="165"/>
                  </a:moveTo>
                  <a:lnTo>
                    <a:pt x="89" y="164"/>
                  </a:lnTo>
                  <a:lnTo>
                    <a:pt x="89" y="140"/>
                  </a:lnTo>
                  <a:lnTo>
                    <a:pt x="89" y="141"/>
                  </a:lnTo>
                  <a:lnTo>
                    <a:pt x="104" y="133"/>
                  </a:lnTo>
                  <a:lnTo>
                    <a:pt x="104" y="122"/>
                  </a:lnTo>
                  <a:lnTo>
                    <a:pt x="104" y="79"/>
                  </a:lnTo>
                  <a:lnTo>
                    <a:pt x="104" y="54"/>
                  </a:lnTo>
                  <a:lnTo>
                    <a:pt x="16" y="0"/>
                  </a:lnTo>
                  <a:lnTo>
                    <a:pt x="0" y="8"/>
                  </a:lnTo>
                  <a:lnTo>
                    <a:pt x="86" y="62"/>
                  </a:lnTo>
                  <a:lnTo>
                    <a:pt x="86" y="165"/>
                  </a:lnTo>
                  <a:close/>
                </a:path>
              </a:pathLst>
            </a:custGeom>
            <a:solidFill>
              <a:srgbClr val="EA6A6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86" name="îṩľïdé">
              <a:extLst>
                <a:ext uri="{FF2B5EF4-FFF2-40B4-BE49-F238E27FC236}">
                  <a16:creationId xmlns:a16="http://schemas.microsoft.com/office/drawing/2014/main" id="{BC303EE4-E770-4DA5-98AE-B46EB09906FD}"/>
                </a:ext>
              </a:extLst>
            </p:cNvPr>
            <p:cNvSpPr/>
            <p:nvPr/>
          </p:nvSpPr>
          <p:spPr bwMode="auto">
            <a:xfrm>
              <a:off x="5564188" y="1925638"/>
              <a:ext cx="139700" cy="250825"/>
            </a:xfrm>
            <a:custGeom>
              <a:avLst/>
              <a:gdLst>
                <a:gd name="T0" fmla="*/ 0 w 88"/>
                <a:gd name="T1" fmla="*/ 103 h 158"/>
                <a:gd name="T2" fmla="*/ 88 w 88"/>
                <a:gd name="T3" fmla="*/ 158 h 158"/>
                <a:gd name="T4" fmla="*/ 88 w 88"/>
                <a:gd name="T5" fmla="*/ 55 h 158"/>
                <a:gd name="T6" fmla="*/ 2 w 88"/>
                <a:gd name="T7" fmla="*/ 1 h 158"/>
                <a:gd name="T8" fmla="*/ 0 w 88"/>
                <a:gd name="T9" fmla="*/ 0 h 158"/>
                <a:gd name="T10" fmla="*/ 0 w 88"/>
                <a:gd name="T11" fmla="*/ 7 h 158"/>
                <a:gd name="T12" fmla="*/ 0 w 88"/>
                <a:gd name="T13" fmla="*/ 49 h 158"/>
                <a:gd name="T14" fmla="*/ 0 w 88"/>
                <a:gd name="T15" fmla="*/ 103 h 15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 h="158">
                  <a:moveTo>
                    <a:pt x="0" y="103"/>
                  </a:moveTo>
                  <a:lnTo>
                    <a:pt x="88" y="158"/>
                  </a:lnTo>
                  <a:lnTo>
                    <a:pt x="88" y="55"/>
                  </a:lnTo>
                  <a:lnTo>
                    <a:pt x="2" y="1"/>
                  </a:lnTo>
                  <a:lnTo>
                    <a:pt x="0" y="0"/>
                  </a:lnTo>
                  <a:lnTo>
                    <a:pt x="0" y="7"/>
                  </a:lnTo>
                  <a:lnTo>
                    <a:pt x="0" y="49"/>
                  </a:lnTo>
                  <a:lnTo>
                    <a:pt x="0" y="103"/>
                  </a:lnTo>
                  <a:close/>
                </a:path>
              </a:pathLst>
            </a:custGeom>
            <a:solidFill>
              <a:srgbClr val="EE868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87" name="i$1ïďe">
              <a:extLst>
                <a:ext uri="{FF2B5EF4-FFF2-40B4-BE49-F238E27FC236}">
                  <a16:creationId xmlns:a16="http://schemas.microsoft.com/office/drawing/2014/main" id="{12F47A69-5B1D-4A53-BDBC-34C3D815D6AF}"/>
                </a:ext>
              </a:extLst>
            </p:cNvPr>
            <p:cNvSpPr/>
            <p:nvPr/>
          </p:nvSpPr>
          <p:spPr bwMode="auto">
            <a:xfrm>
              <a:off x="5708650" y="2124076"/>
              <a:ext cx="168275" cy="260350"/>
            </a:xfrm>
            <a:custGeom>
              <a:avLst/>
              <a:gdLst>
                <a:gd name="T0" fmla="*/ 88 w 106"/>
                <a:gd name="T1" fmla="*/ 62 h 164"/>
                <a:gd name="T2" fmla="*/ 88 w 106"/>
                <a:gd name="T3" fmla="*/ 164 h 164"/>
                <a:gd name="T4" fmla="*/ 106 w 106"/>
                <a:gd name="T5" fmla="*/ 157 h 164"/>
                <a:gd name="T6" fmla="*/ 106 w 106"/>
                <a:gd name="T7" fmla="*/ 54 h 164"/>
                <a:gd name="T8" fmla="*/ 18 w 106"/>
                <a:gd name="T9" fmla="*/ 0 h 164"/>
                <a:gd name="T10" fmla="*/ 15 w 106"/>
                <a:gd name="T11" fmla="*/ 1 h 164"/>
                <a:gd name="T12" fmla="*/ 0 w 106"/>
                <a:gd name="T13" fmla="*/ 9 h 164"/>
                <a:gd name="T14" fmla="*/ 88 w 106"/>
                <a:gd name="T15" fmla="*/ 62 h 1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6" h="164">
                  <a:moveTo>
                    <a:pt x="88" y="62"/>
                  </a:moveTo>
                  <a:lnTo>
                    <a:pt x="88" y="164"/>
                  </a:lnTo>
                  <a:lnTo>
                    <a:pt x="106" y="157"/>
                  </a:lnTo>
                  <a:lnTo>
                    <a:pt x="106" y="54"/>
                  </a:lnTo>
                  <a:lnTo>
                    <a:pt x="18" y="0"/>
                  </a:lnTo>
                  <a:lnTo>
                    <a:pt x="15" y="1"/>
                  </a:lnTo>
                  <a:lnTo>
                    <a:pt x="0" y="9"/>
                  </a:lnTo>
                  <a:lnTo>
                    <a:pt x="88" y="62"/>
                  </a:lnTo>
                  <a:close/>
                </a:path>
              </a:pathLst>
            </a:custGeom>
            <a:solidFill>
              <a:srgbClr val="9EA7C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88" name="îṣḷïḍé">
              <a:extLst>
                <a:ext uri="{FF2B5EF4-FFF2-40B4-BE49-F238E27FC236}">
                  <a16:creationId xmlns:a16="http://schemas.microsoft.com/office/drawing/2014/main" id="{32BC1EC8-4C3F-4130-859B-0371FD0782D8}"/>
                </a:ext>
              </a:extLst>
            </p:cNvPr>
            <p:cNvSpPr/>
            <p:nvPr/>
          </p:nvSpPr>
          <p:spPr bwMode="auto">
            <a:xfrm>
              <a:off x="5708650" y="2136776"/>
              <a:ext cx="139700" cy="247650"/>
            </a:xfrm>
            <a:custGeom>
              <a:avLst/>
              <a:gdLst>
                <a:gd name="T0" fmla="*/ 0 w 88"/>
                <a:gd name="T1" fmla="*/ 1 h 156"/>
                <a:gd name="T2" fmla="*/ 0 w 88"/>
                <a:gd name="T3" fmla="*/ 0 h 156"/>
                <a:gd name="T4" fmla="*/ 0 w 88"/>
                <a:gd name="T5" fmla="*/ 24 h 156"/>
                <a:gd name="T6" fmla="*/ 0 w 88"/>
                <a:gd name="T7" fmla="*/ 102 h 156"/>
                <a:gd name="T8" fmla="*/ 88 w 88"/>
                <a:gd name="T9" fmla="*/ 156 h 156"/>
                <a:gd name="T10" fmla="*/ 88 w 88"/>
                <a:gd name="T11" fmla="*/ 54 h 156"/>
                <a:gd name="T12" fmla="*/ 0 w 88"/>
                <a:gd name="T13" fmla="*/ 1 h 156"/>
              </a:gdLst>
              <a:ahLst/>
              <a:cxnLst>
                <a:cxn ang="0">
                  <a:pos x="T0" y="T1"/>
                </a:cxn>
                <a:cxn ang="0">
                  <a:pos x="T2" y="T3"/>
                </a:cxn>
                <a:cxn ang="0">
                  <a:pos x="T4" y="T5"/>
                </a:cxn>
                <a:cxn ang="0">
                  <a:pos x="T6" y="T7"/>
                </a:cxn>
                <a:cxn ang="0">
                  <a:pos x="T8" y="T9"/>
                </a:cxn>
                <a:cxn ang="0">
                  <a:pos x="T10" y="T11"/>
                </a:cxn>
                <a:cxn ang="0">
                  <a:pos x="T12" y="T13"/>
                </a:cxn>
              </a:cxnLst>
              <a:rect l="0" t="0" r="r" b="b"/>
              <a:pathLst>
                <a:path w="88" h="156">
                  <a:moveTo>
                    <a:pt x="0" y="1"/>
                  </a:moveTo>
                  <a:lnTo>
                    <a:pt x="0" y="0"/>
                  </a:lnTo>
                  <a:lnTo>
                    <a:pt x="0" y="24"/>
                  </a:lnTo>
                  <a:lnTo>
                    <a:pt x="0" y="102"/>
                  </a:lnTo>
                  <a:lnTo>
                    <a:pt x="88" y="156"/>
                  </a:lnTo>
                  <a:lnTo>
                    <a:pt x="88" y="54"/>
                  </a:lnTo>
                  <a:lnTo>
                    <a:pt x="0" y="1"/>
                  </a:lnTo>
                  <a:close/>
                </a:path>
              </a:pathLst>
            </a:custGeom>
            <a:solidFill>
              <a:srgbClr val="ACB6D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89" name="islîḑê">
              <a:extLst>
                <a:ext uri="{FF2B5EF4-FFF2-40B4-BE49-F238E27FC236}">
                  <a16:creationId xmlns:a16="http://schemas.microsoft.com/office/drawing/2014/main" id="{F8BC2658-EC16-4E96-9EB1-B1092DA41608}"/>
                </a:ext>
              </a:extLst>
            </p:cNvPr>
            <p:cNvSpPr/>
            <p:nvPr/>
          </p:nvSpPr>
          <p:spPr bwMode="auto">
            <a:xfrm>
              <a:off x="6205538" y="2644776"/>
              <a:ext cx="214313" cy="1722438"/>
            </a:xfrm>
            <a:custGeom>
              <a:avLst/>
              <a:gdLst>
                <a:gd name="T0" fmla="*/ 0 w 163"/>
                <a:gd name="T1" fmla="*/ 96 h 1310"/>
                <a:gd name="T2" fmla="*/ 1 w 163"/>
                <a:gd name="T3" fmla="*/ 109 h 1310"/>
                <a:gd name="T4" fmla="*/ 1 w 163"/>
                <a:gd name="T5" fmla="*/ 1310 h 1310"/>
                <a:gd name="T6" fmla="*/ 111 w 163"/>
                <a:gd name="T7" fmla="*/ 1252 h 1310"/>
                <a:gd name="T8" fmla="*/ 159 w 163"/>
                <a:gd name="T9" fmla="*/ 1226 h 1310"/>
                <a:gd name="T10" fmla="*/ 163 w 163"/>
                <a:gd name="T11" fmla="*/ 1209 h 1310"/>
                <a:gd name="T12" fmla="*/ 163 w 163"/>
                <a:gd name="T13" fmla="*/ 0 h 1310"/>
                <a:gd name="T14" fmla="*/ 0 w 163"/>
                <a:gd name="T15" fmla="*/ 96 h 13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3" h="1310">
                  <a:moveTo>
                    <a:pt x="0" y="96"/>
                  </a:moveTo>
                  <a:cubicBezTo>
                    <a:pt x="0" y="101"/>
                    <a:pt x="1" y="105"/>
                    <a:pt x="1" y="109"/>
                  </a:cubicBezTo>
                  <a:cubicBezTo>
                    <a:pt x="1" y="1310"/>
                    <a:pt x="1" y="1310"/>
                    <a:pt x="1" y="1310"/>
                  </a:cubicBezTo>
                  <a:cubicBezTo>
                    <a:pt x="111" y="1252"/>
                    <a:pt x="111" y="1252"/>
                    <a:pt x="111" y="1252"/>
                  </a:cubicBezTo>
                  <a:cubicBezTo>
                    <a:pt x="159" y="1226"/>
                    <a:pt x="159" y="1226"/>
                    <a:pt x="159" y="1226"/>
                  </a:cubicBezTo>
                  <a:cubicBezTo>
                    <a:pt x="160" y="1225"/>
                    <a:pt x="163" y="1220"/>
                    <a:pt x="163" y="1209"/>
                  </a:cubicBezTo>
                  <a:cubicBezTo>
                    <a:pt x="163" y="0"/>
                    <a:pt x="163" y="0"/>
                    <a:pt x="163" y="0"/>
                  </a:cubicBezTo>
                  <a:lnTo>
                    <a:pt x="0" y="96"/>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90" name="íSḻiḋe">
              <a:extLst>
                <a:ext uri="{FF2B5EF4-FFF2-40B4-BE49-F238E27FC236}">
                  <a16:creationId xmlns:a16="http://schemas.microsoft.com/office/drawing/2014/main" id="{D6284A8D-1A8A-4549-A017-0403815D9781}"/>
                </a:ext>
              </a:extLst>
            </p:cNvPr>
            <p:cNvSpPr/>
            <p:nvPr/>
          </p:nvSpPr>
          <p:spPr bwMode="auto">
            <a:xfrm>
              <a:off x="5014913" y="1792288"/>
              <a:ext cx="1404938" cy="979488"/>
            </a:xfrm>
            <a:custGeom>
              <a:avLst/>
              <a:gdLst>
                <a:gd name="T0" fmla="*/ 1067 w 1067"/>
                <a:gd name="T1" fmla="*/ 637 h 745"/>
                <a:gd name="T2" fmla="*/ 1003 w 1067"/>
                <a:gd name="T3" fmla="*/ 525 h 745"/>
                <a:gd name="T4" fmla="*/ 545 w 1067"/>
                <a:gd name="T5" fmla="*/ 240 h 745"/>
                <a:gd name="T6" fmla="*/ 545 w 1067"/>
                <a:gd name="T7" fmla="*/ 254 h 745"/>
                <a:gd name="T8" fmla="*/ 548 w 1067"/>
                <a:gd name="T9" fmla="*/ 253 h 745"/>
                <a:gd name="T10" fmla="*/ 654 w 1067"/>
                <a:gd name="T11" fmla="*/ 318 h 745"/>
                <a:gd name="T12" fmla="*/ 654 w 1067"/>
                <a:gd name="T13" fmla="*/ 442 h 745"/>
                <a:gd name="T14" fmla="*/ 632 w 1067"/>
                <a:gd name="T15" fmla="*/ 451 h 745"/>
                <a:gd name="T16" fmla="*/ 526 w 1067"/>
                <a:gd name="T17" fmla="*/ 386 h 745"/>
                <a:gd name="T18" fmla="*/ 526 w 1067"/>
                <a:gd name="T19" fmla="*/ 291 h 745"/>
                <a:gd name="T20" fmla="*/ 523 w 1067"/>
                <a:gd name="T21" fmla="*/ 292 h 745"/>
                <a:gd name="T22" fmla="*/ 417 w 1067"/>
                <a:gd name="T23" fmla="*/ 226 h 745"/>
                <a:gd name="T24" fmla="*/ 417 w 1067"/>
                <a:gd name="T25" fmla="*/ 161 h 745"/>
                <a:gd name="T26" fmla="*/ 159 w 1067"/>
                <a:gd name="T27" fmla="*/ 0 h 745"/>
                <a:gd name="T28" fmla="*/ 74 w 1067"/>
                <a:gd name="T29" fmla="*/ 28 h 745"/>
                <a:gd name="T30" fmla="*/ 0 w 1067"/>
                <a:gd name="T31" fmla="*/ 97 h 745"/>
                <a:gd name="T32" fmla="*/ 818 w 1067"/>
                <a:gd name="T33" fmla="*/ 606 h 745"/>
                <a:gd name="T34" fmla="*/ 904 w 1067"/>
                <a:gd name="T35" fmla="*/ 745 h 745"/>
                <a:gd name="T36" fmla="*/ 1067 w 1067"/>
                <a:gd name="T37" fmla="*/ 649 h 745"/>
                <a:gd name="T38" fmla="*/ 1067 w 1067"/>
                <a:gd name="T39" fmla="*/ 637 h 7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67" h="745">
                  <a:moveTo>
                    <a:pt x="1067" y="637"/>
                  </a:moveTo>
                  <a:cubicBezTo>
                    <a:pt x="1067" y="599"/>
                    <a:pt x="1036" y="546"/>
                    <a:pt x="1003" y="525"/>
                  </a:cubicBezTo>
                  <a:cubicBezTo>
                    <a:pt x="545" y="240"/>
                    <a:pt x="545" y="240"/>
                    <a:pt x="545" y="240"/>
                  </a:cubicBezTo>
                  <a:cubicBezTo>
                    <a:pt x="545" y="254"/>
                    <a:pt x="545" y="254"/>
                    <a:pt x="545" y="254"/>
                  </a:cubicBezTo>
                  <a:cubicBezTo>
                    <a:pt x="548" y="253"/>
                    <a:pt x="548" y="253"/>
                    <a:pt x="548" y="253"/>
                  </a:cubicBezTo>
                  <a:cubicBezTo>
                    <a:pt x="654" y="318"/>
                    <a:pt x="654" y="318"/>
                    <a:pt x="654" y="318"/>
                  </a:cubicBezTo>
                  <a:cubicBezTo>
                    <a:pt x="654" y="442"/>
                    <a:pt x="654" y="442"/>
                    <a:pt x="654" y="442"/>
                  </a:cubicBezTo>
                  <a:cubicBezTo>
                    <a:pt x="632" y="451"/>
                    <a:pt x="632" y="451"/>
                    <a:pt x="632" y="451"/>
                  </a:cubicBezTo>
                  <a:cubicBezTo>
                    <a:pt x="526" y="386"/>
                    <a:pt x="526" y="386"/>
                    <a:pt x="526" y="386"/>
                  </a:cubicBezTo>
                  <a:cubicBezTo>
                    <a:pt x="526" y="291"/>
                    <a:pt x="526" y="291"/>
                    <a:pt x="526" y="291"/>
                  </a:cubicBezTo>
                  <a:cubicBezTo>
                    <a:pt x="523" y="292"/>
                    <a:pt x="523" y="292"/>
                    <a:pt x="523" y="292"/>
                  </a:cubicBezTo>
                  <a:cubicBezTo>
                    <a:pt x="417" y="226"/>
                    <a:pt x="417" y="226"/>
                    <a:pt x="417" y="226"/>
                  </a:cubicBezTo>
                  <a:cubicBezTo>
                    <a:pt x="417" y="161"/>
                    <a:pt x="417" y="161"/>
                    <a:pt x="417" y="161"/>
                  </a:cubicBezTo>
                  <a:cubicBezTo>
                    <a:pt x="159" y="0"/>
                    <a:pt x="159" y="0"/>
                    <a:pt x="159" y="0"/>
                  </a:cubicBezTo>
                  <a:cubicBezTo>
                    <a:pt x="147" y="1"/>
                    <a:pt x="119" y="5"/>
                    <a:pt x="74" y="28"/>
                  </a:cubicBezTo>
                  <a:cubicBezTo>
                    <a:pt x="35" y="49"/>
                    <a:pt x="8" y="76"/>
                    <a:pt x="0" y="97"/>
                  </a:cubicBezTo>
                  <a:cubicBezTo>
                    <a:pt x="818" y="606"/>
                    <a:pt x="818" y="606"/>
                    <a:pt x="818" y="606"/>
                  </a:cubicBezTo>
                  <a:cubicBezTo>
                    <a:pt x="862" y="633"/>
                    <a:pt x="899" y="693"/>
                    <a:pt x="904" y="745"/>
                  </a:cubicBezTo>
                  <a:cubicBezTo>
                    <a:pt x="1067" y="649"/>
                    <a:pt x="1067" y="649"/>
                    <a:pt x="1067" y="649"/>
                  </a:cubicBezTo>
                  <a:lnTo>
                    <a:pt x="1067" y="637"/>
                  </a:ln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91" name="îsḻîďê">
              <a:extLst>
                <a:ext uri="{FF2B5EF4-FFF2-40B4-BE49-F238E27FC236}">
                  <a16:creationId xmlns:a16="http://schemas.microsoft.com/office/drawing/2014/main" id="{78229E85-F781-477B-B854-2B87787AD063}"/>
                </a:ext>
              </a:extLst>
            </p:cNvPr>
            <p:cNvSpPr/>
            <p:nvPr/>
          </p:nvSpPr>
          <p:spPr bwMode="auto">
            <a:xfrm>
              <a:off x="4618038" y="1841501"/>
              <a:ext cx="596900" cy="280988"/>
            </a:xfrm>
            <a:custGeom>
              <a:avLst/>
              <a:gdLst>
                <a:gd name="T0" fmla="*/ 110 w 453"/>
                <a:gd name="T1" fmla="*/ 81 h 213"/>
                <a:gd name="T2" fmla="*/ 195 w 453"/>
                <a:gd name="T3" fmla="*/ 53 h 213"/>
                <a:gd name="T4" fmla="*/ 453 w 453"/>
                <a:gd name="T5" fmla="*/ 213 h 213"/>
                <a:gd name="T6" fmla="*/ 453 w 453"/>
                <a:gd name="T7" fmla="*/ 162 h 213"/>
                <a:gd name="T8" fmla="*/ 206 w 453"/>
                <a:gd name="T9" fmla="*/ 9 h 213"/>
                <a:gd name="T10" fmla="*/ 87 w 453"/>
                <a:gd name="T11" fmla="*/ 41 h 213"/>
                <a:gd name="T12" fmla="*/ 0 w 453"/>
                <a:gd name="T13" fmla="*/ 127 h 213"/>
                <a:gd name="T14" fmla="*/ 35 w 453"/>
                <a:gd name="T15" fmla="*/ 149 h 213"/>
                <a:gd name="T16" fmla="*/ 110 w 453"/>
                <a:gd name="T17" fmla="*/ 8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3" h="213">
                  <a:moveTo>
                    <a:pt x="110" y="81"/>
                  </a:moveTo>
                  <a:cubicBezTo>
                    <a:pt x="154" y="58"/>
                    <a:pt x="183" y="53"/>
                    <a:pt x="195" y="53"/>
                  </a:cubicBezTo>
                  <a:cubicBezTo>
                    <a:pt x="453" y="213"/>
                    <a:pt x="453" y="213"/>
                    <a:pt x="453" y="213"/>
                  </a:cubicBezTo>
                  <a:cubicBezTo>
                    <a:pt x="453" y="162"/>
                    <a:pt x="453" y="162"/>
                    <a:pt x="453" y="162"/>
                  </a:cubicBezTo>
                  <a:cubicBezTo>
                    <a:pt x="206" y="9"/>
                    <a:pt x="206" y="9"/>
                    <a:pt x="206" y="9"/>
                  </a:cubicBezTo>
                  <a:cubicBezTo>
                    <a:pt x="206" y="9"/>
                    <a:pt x="166" y="0"/>
                    <a:pt x="87" y="41"/>
                  </a:cubicBezTo>
                  <a:cubicBezTo>
                    <a:pt x="5" y="84"/>
                    <a:pt x="0" y="127"/>
                    <a:pt x="0" y="127"/>
                  </a:cubicBezTo>
                  <a:cubicBezTo>
                    <a:pt x="35" y="149"/>
                    <a:pt x="35" y="149"/>
                    <a:pt x="35" y="149"/>
                  </a:cubicBezTo>
                  <a:cubicBezTo>
                    <a:pt x="44" y="128"/>
                    <a:pt x="70" y="102"/>
                    <a:pt x="110" y="81"/>
                  </a:cubicBezTo>
                  <a:close/>
                </a:path>
              </a:pathLst>
            </a:custGeom>
            <a:solidFill>
              <a:srgbClr val="E58A4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92" name="ísļïḋê">
              <a:extLst>
                <a:ext uri="{FF2B5EF4-FFF2-40B4-BE49-F238E27FC236}">
                  <a16:creationId xmlns:a16="http://schemas.microsoft.com/office/drawing/2014/main" id="{C2556F54-E66D-468C-83F5-1BB802A1E754}"/>
                </a:ext>
              </a:extLst>
            </p:cNvPr>
            <p:cNvSpPr/>
            <p:nvPr/>
          </p:nvSpPr>
          <p:spPr bwMode="auto">
            <a:xfrm>
              <a:off x="5383213" y="2160588"/>
              <a:ext cx="744538" cy="2297113"/>
            </a:xfrm>
            <a:custGeom>
              <a:avLst/>
              <a:gdLst>
                <a:gd name="T0" fmla="*/ 479 w 566"/>
                <a:gd name="T1" fmla="*/ 298 h 1747"/>
                <a:gd name="T2" fmla="*/ 0 w 566"/>
                <a:gd name="T3" fmla="*/ 0 h 1747"/>
                <a:gd name="T4" fmla="*/ 0 w 566"/>
                <a:gd name="T5" fmla="*/ 51 h 1747"/>
                <a:gd name="T6" fmla="*/ 458 w 566"/>
                <a:gd name="T7" fmla="*/ 336 h 1747"/>
                <a:gd name="T8" fmla="*/ 521 w 566"/>
                <a:gd name="T9" fmla="*/ 447 h 1747"/>
                <a:gd name="T10" fmla="*/ 521 w 566"/>
                <a:gd name="T11" fmla="*/ 1669 h 1747"/>
                <a:gd name="T12" fmla="*/ 518 w 566"/>
                <a:gd name="T13" fmla="*/ 1686 h 1747"/>
                <a:gd name="T14" fmla="*/ 469 w 566"/>
                <a:gd name="T15" fmla="*/ 1711 h 1747"/>
                <a:gd name="T16" fmla="*/ 479 w 566"/>
                <a:gd name="T17" fmla="*/ 1717 h 1747"/>
                <a:gd name="T18" fmla="*/ 566 w 566"/>
                <a:gd name="T19" fmla="*/ 1672 h 1747"/>
                <a:gd name="T20" fmla="*/ 566 w 566"/>
                <a:gd name="T21" fmla="*/ 450 h 1747"/>
                <a:gd name="T22" fmla="*/ 479 w 566"/>
                <a:gd name="T23" fmla="*/ 298 h 17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6" h="1747">
                  <a:moveTo>
                    <a:pt x="479" y="298"/>
                  </a:moveTo>
                  <a:cubicBezTo>
                    <a:pt x="0" y="0"/>
                    <a:pt x="0" y="0"/>
                    <a:pt x="0" y="0"/>
                  </a:cubicBezTo>
                  <a:cubicBezTo>
                    <a:pt x="0" y="51"/>
                    <a:pt x="0" y="51"/>
                    <a:pt x="0" y="51"/>
                  </a:cubicBezTo>
                  <a:cubicBezTo>
                    <a:pt x="458" y="336"/>
                    <a:pt x="458" y="336"/>
                    <a:pt x="458" y="336"/>
                  </a:cubicBezTo>
                  <a:cubicBezTo>
                    <a:pt x="491" y="356"/>
                    <a:pt x="521" y="409"/>
                    <a:pt x="521" y="447"/>
                  </a:cubicBezTo>
                  <a:cubicBezTo>
                    <a:pt x="521" y="1669"/>
                    <a:pt x="521" y="1669"/>
                    <a:pt x="521" y="1669"/>
                  </a:cubicBezTo>
                  <a:cubicBezTo>
                    <a:pt x="521" y="1679"/>
                    <a:pt x="519" y="1684"/>
                    <a:pt x="518" y="1686"/>
                  </a:cubicBezTo>
                  <a:cubicBezTo>
                    <a:pt x="469" y="1711"/>
                    <a:pt x="469" y="1711"/>
                    <a:pt x="469" y="1711"/>
                  </a:cubicBezTo>
                  <a:cubicBezTo>
                    <a:pt x="479" y="1717"/>
                    <a:pt x="479" y="1717"/>
                    <a:pt x="479" y="1717"/>
                  </a:cubicBezTo>
                  <a:cubicBezTo>
                    <a:pt x="527" y="1747"/>
                    <a:pt x="566" y="1726"/>
                    <a:pt x="566" y="1672"/>
                  </a:cubicBezTo>
                  <a:cubicBezTo>
                    <a:pt x="566" y="450"/>
                    <a:pt x="566" y="450"/>
                    <a:pt x="566" y="450"/>
                  </a:cubicBezTo>
                  <a:cubicBezTo>
                    <a:pt x="566" y="396"/>
                    <a:pt x="527" y="327"/>
                    <a:pt x="479" y="298"/>
                  </a:cubicBezTo>
                </a:path>
              </a:pathLst>
            </a:custGeom>
            <a:solidFill>
              <a:srgbClr val="E58A4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93" name="íş1íḋè">
              <a:extLst>
                <a:ext uri="{FF2B5EF4-FFF2-40B4-BE49-F238E27FC236}">
                  <a16:creationId xmlns:a16="http://schemas.microsoft.com/office/drawing/2014/main" id="{8A08F4A8-C68E-454C-8D5B-5B9878A28422}"/>
                </a:ext>
              </a:extLst>
            </p:cNvPr>
            <p:cNvSpPr/>
            <p:nvPr/>
          </p:nvSpPr>
          <p:spPr bwMode="auto">
            <a:xfrm>
              <a:off x="4618038" y="2008188"/>
              <a:ext cx="1238250" cy="2603500"/>
            </a:xfrm>
            <a:custGeom>
              <a:avLst/>
              <a:gdLst>
                <a:gd name="T0" fmla="*/ 940 w 940"/>
                <a:gd name="T1" fmla="*/ 683 h 1980"/>
                <a:gd name="T2" fmla="*/ 854 w 940"/>
                <a:gd name="T3" fmla="*/ 531 h 1980"/>
                <a:gd name="T4" fmla="*/ 35 w 940"/>
                <a:gd name="T5" fmla="*/ 22 h 1980"/>
                <a:gd name="T6" fmla="*/ 0 w 940"/>
                <a:gd name="T7" fmla="*/ 0 h 1980"/>
                <a:gd name="T8" fmla="*/ 0 w 940"/>
                <a:gd name="T9" fmla="*/ 1419 h 1980"/>
                <a:gd name="T10" fmla="*/ 854 w 940"/>
                <a:gd name="T11" fmla="*/ 1951 h 1980"/>
                <a:gd name="T12" fmla="*/ 940 w 940"/>
                <a:gd name="T13" fmla="*/ 1905 h 1980"/>
                <a:gd name="T14" fmla="*/ 940 w 940"/>
                <a:gd name="T15" fmla="*/ 1884 h 1980"/>
                <a:gd name="T16" fmla="*/ 940 w 940"/>
                <a:gd name="T17" fmla="*/ 683 h 1980"/>
                <a:gd name="T18" fmla="*/ 80 w 940"/>
                <a:gd name="T19" fmla="*/ 1425 h 1980"/>
                <a:gd name="T20" fmla="*/ 80 w 940"/>
                <a:gd name="T21" fmla="*/ 99 h 1980"/>
                <a:gd name="T22" fmla="*/ 91 w 940"/>
                <a:gd name="T23" fmla="*/ 107 h 1980"/>
                <a:gd name="T24" fmla="*/ 91 w 940"/>
                <a:gd name="T25" fmla="*/ 1433 h 1980"/>
                <a:gd name="T26" fmla="*/ 80 w 940"/>
                <a:gd name="T27" fmla="*/ 1425 h 19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40" h="1980">
                  <a:moveTo>
                    <a:pt x="940" y="683"/>
                  </a:moveTo>
                  <a:cubicBezTo>
                    <a:pt x="940" y="629"/>
                    <a:pt x="901" y="560"/>
                    <a:pt x="854" y="531"/>
                  </a:cubicBezTo>
                  <a:cubicBezTo>
                    <a:pt x="35" y="22"/>
                    <a:pt x="35" y="22"/>
                    <a:pt x="35" y="22"/>
                  </a:cubicBezTo>
                  <a:cubicBezTo>
                    <a:pt x="0" y="0"/>
                    <a:pt x="0" y="0"/>
                    <a:pt x="0" y="0"/>
                  </a:cubicBezTo>
                  <a:cubicBezTo>
                    <a:pt x="0" y="1419"/>
                    <a:pt x="0" y="1419"/>
                    <a:pt x="0" y="1419"/>
                  </a:cubicBezTo>
                  <a:cubicBezTo>
                    <a:pt x="854" y="1951"/>
                    <a:pt x="854" y="1951"/>
                    <a:pt x="854" y="1951"/>
                  </a:cubicBezTo>
                  <a:cubicBezTo>
                    <a:pt x="901" y="1980"/>
                    <a:pt x="940" y="1959"/>
                    <a:pt x="940" y="1905"/>
                  </a:cubicBezTo>
                  <a:cubicBezTo>
                    <a:pt x="940" y="1884"/>
                    <a:pt x="940" y="1884"/>
                    <a:pt x="940" y="1884"/>
                  </a:cubicBezTo>
                  <a:lnTo>
                    <a:pt x="940" y="683"/>
                  </a:lnTo>
                  <a:close/>
                  <a:moveTo>
                    <a:pt x="80" y="1425"/>
                  </a:moveTo>
                  <a:cubicBezTo>
                    <a:pt x="80" y="99"/>
                    <a:pt x="80" y="99"/>
                    <a:pt x="80" y="99"/>
                  </a:cubicBezTo>
                  <a:cubicBezTo>
                    <a:pt x="91" y="107"/>
                    <a:pt x="91" y="107"/>
                    <a:pt x="91" y="107"/>
                  </a:cubicBezTo>
                  <a:cubicBezTo>
                    <a:pt x="91" y="1433"/>
                    <a:pt x="91" y="1433"/>
                    <a:pt x="91" y="1433"/>
                  </a:cubicBezTo>
                  <a:lnTo>
                    <a:pt x="80" y="1425"/>
                  </a:lnTo>
                  <a:close/>
                </a:path>
              </a:pathLst>
            </a:custGeom>
            <a:solidFill>
              <a:srgbClr val="F0915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94" name="iṩlîḋê">
              <a:extLst>
                <a:ext uri="{FF2B5EF4-FFF2-40B4-BE49-F238E27FC236}">
                  <a16:creationId xmlns:a16="http://schemas.microsoft.com/office/drawing/2014/main" id="{88216D7C-953B-4A6D-BC44-ACB077EE2598}"/>
                </a:ext>
              </a:extLst>
            </p:cNvPr>
            <p:cNvSpPr/>
            <p:nvPr/>
          </p:nvSpPr>
          <p:spPr bwMode="auto">
            <a:xfrm>
              <a:off x="4722813" y="2138363"/>
              <a:ext cx="14288" cy="1754188"/>
            </a:xfrm>
            <a:custGeom>
              <a:avLst/>
              <a:gdLst>
                <a:gd name="T0" fmla="*/ 9 w 9"/>
                <a:gd name="T1" fmla="*/ 7 h 1105"/>
                <a:gd name="T2" fmla="*/ 0 w 9"/>
                <a:gd name="T3" fmla="*/ 0 h 1105"/>
                <a:gd name="T4" fmla="*/ 0 w 9"/>
                <a:gd name="T5" fmla="*/ 1099 h 1105"/>
                <a:gd name="T6" fmla="*/ 9 w 9"/>
                <a:gd name="T7" fmla="*/ 1105 h 1105"/>
                <a:gd name="T8" fmla="*/ 9 w 9"/>
                <a:gd name="T9" fmla="*/ 7 h 1105"/>
              </a:gdLst>
              <a:ahLst/>
              <a:cxnLst>
                <a:cxn ang="0">
                  <a:pos x="T0" y="T1"/>
                </a:cxn>
                <a:cxn ang="0">
                  <a:pos x="T2" y="T3"/>
                </a:cxn>
                <a:cxn ang="0">
                  <a:pos x="T4" y="T5"/>
                </a:cxn>
                <a:cxn ang="0">
                  <a:pos x="T6" y="T7"/>
                </a:cxn>
                <a:cxn ang="0">
                  <a:pos x="T8" y="T9"/>
                </a:cxn>
              </a:cxnLst>
              <a:rect l="0" t="0" r="r" b="b"/>
              <a:pathLst>
                <a:path w="9" h="1105">
                  <a:moveTo>
                    <a:pt x="9" y="7"/>
                  </a:moveTo>
                  <a:lnTo>
                    <a:pt x="0" y="0"/>
                  </a:lnTo>
                  <a:lnTo>
                    <a:pt x="0" y="1099"/>
                  </a:lnTo>
                  <a:lnTo>
                    <a:pt x="9" y="1105"/>
                  </a:lnTo>
                  <a:lnTo>
                    <a:pt x="9" y="7"/>
                  </a:ln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95" name="íšḻîḍê">
              <a:extLst>
                <a:ext uri="{FF2B5EF4-FFF2-40B4-BE49-F238E27FC236}">
                  <a16:creationId xmlns:a16="http://schemas.microsoft.com/office/drawing/2014/main" id="{C7A0083F-6072-4789-AE2F-D577BC16DB12}"/>
                </a:ext>
              </a:extLst>
            </p:cNvPr>
            <p:cNvSpPr/>
            <p:nvPr/>
          </p:nvSpPr>
          <p:spPr bwMode="auto">
            <a:xfrm>
              <a:off x="5214938" y="2032001"/>
              <a:ext cx="168275" cy="261938"/>
            </a:xfrm>
            <a:custGeom>
              <a:avLst/>
              <a:gdLst>
                <a:gd name="T0" fmla="*/ 87 w 106"/>
                <a:gd name="T1" fmla="*/ 165 h 165"/>
                <a:gd name="T2" fmla="*/ 89 w 106"/>
                <a:gd name="T3" fmla="*/ 164 h 165"/>
                <a:gd name="T4" fmla="*/ 89 w 106"/>
                <a:gd name="T5" fmla="*/ 140 h 165"/>
                <a:gd name="T6" fmla="*/ 91 w 106"/>
                <a:gd name="T7" fmla="*/ 141 h 165"/>
                <a:gd name="T8" fmla="*/ 106 w 106"/>
                <a:gd name="T9" fmla="*/ 134 h 165"/>
                <a:gd name="T10" fmla="*/ 106 w 106"/>
                <a:gd name="T11" fmla="*/ 123 h 165"/>
                <a:gd name="T12" fmla="*/ 106 w 106"/>
                <a:gd name="T13" fmla="*/ 81 h 165"/>
                <a:gd name="T14" fmla="*/ 106 w 106"/>
                <a:gd name="T15" fmla="*/ 55 h 165"/>
                <a:gd name="T16" fmla="*/ 18 w 106"/>
                <a:gd name="T17" fmla="*/ 0 h 165"/>
                <a:gd name="T18" fmla="*/ 0 w 106"/>
                <a:gd name="T19" fmla="*/ 9 h 165"/>
                <a:gd name="T20" fmla="*/ 87 w 106"/>
                <a:gd name="T21" fmla="*/ 62 h 165"/>
                <a:gd name="T22" fmla="*/ 87 w 106"/>
                <a:gd name="T23" fmla="*/ 165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6" h="165">
                  <a:moveTo>
                    <a:pt x="87" y="165"/>
                  </a:moveTo>
                  <a:lnTo>
                    <a:pt x="89" y="164"/>
                  </a:lnTo>
                  <a:lnTo>
                    <a:pt x="89" y="140"/>
                  </a:lnTo>
                  <a:lnTo>
                    <a:pt x="91" y="141"/>
                  </a:lnTo>
                  <a:lnTo>
                    <a:pt x="106" y="134"/>
                  </a:lnTo>
                  <a:lnTo>
                    <a:pt x="106" y="123"/>
                  </a:lnTo>
                  <a:lnTo>
                    <a:pt x="106" y="81"/>
                  </a:lnTo>
                  <a:lnTo>
                    <a:pt x="106" y="55"/>
                  </a:lnTo>
                  <a:lnTo>
                    <a:pt x="18" y="0"/>
                  </a:lnTo>
                  <a:lnTo>
                    <a:pt x="0" y="9"/>
                  </a:lnTo>
                  <a:lnTo>
                    <a:pt x="87" y="62"/>
                  </a:lnTo>
                  <a:lnTo>
                    <a:pt x="87" y="165"/>
                  </a:lnTo>
                  <a:close/>
                </a:path>
              </a:pathLst>
            </a:custGeom>
            <a:solidFill>
              <a:srgbClr val="7DBB9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96" name="îşḻiḋê">
              <a:extLst>
                <a:ext uri="{FF2B5EF4-FFF2-40B4-BE49-F238E27FC236}">
                  <a16:creationId xmlns:a16="http://schemas.microsoft.com/office/drawing/2014/main" id="{6FBB668B-0FDF-429F-B283-E1DF37B2E7F0}"/>
                </a:ext>
              </a:extLst>
            </p:cNvPr>
            <p:cNvSpPr/>
            <p:nvPr/>
          </p:nvSpPr>
          <p:spPr bwMode="auto">
            <a:xfrm>
              <a:off x="5214938" y="2046288"/>
              <a:ext cx="138113" cy="247650"/>
            </a:xfrm>
            <a:custGeom>
              <a:avLst/>
              <a:gdLst>
                <a:gd name="T0" fmla="*/ 0 w 87"/>
                <a:gd name="T1" fmla="*/ 101 h 156"/>
                <a:gd name="T2" fmla="*/ 87 w 87"/>
                <a:gd name="T3" fmla="*/ 156 h 156"/>
                <a:gd name="T4" fmla="*/ 87 w 87"/>
                <a:gd name="T5" fmla="*/ 53 h 156"/>
                <a:gd name="T6" fmla="*/ 0 w 87"/>
                <a:gd name="T7" fmla="*/ 0 h 156"/>
                <a:gd name="T8" fmla="*/ 0 w 87"/>
                <a:gd name="T9" fmla="*/ 0 h 156"/>
                <a:gd name="T10" fmla="*/ 0 w 87"/>
                <a:gd name="T11" fmla="*/ 5 h 156"/>
                <a:gd name="T12" fmla="*/ 0 w 87"/>
                <a:gd name="T13" fmla="*/ 48 h 156"/>
                <a:gd name="T14" fmla="*/ 0 w 87"/>
                <a:gd name="T15" fmla="*/ 101 h 15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7" h="156">
                  <a:moveTo>
                    <a:pt x="0" y="101"/>
                  </a:moveTo>
                  <a:lnTo>
                    <a:pt x="87" y="156"/>
                  </a:lnTo>
                  <a:lnTo>
                    <a:pt x="87" y="53"/>
                  </a:lnTo>
                  <a:lnTo>
                    <a:pt x="0" y="0"/>
                  </a:lnTo>
                  <a:lnTo>
                    <a:pt x="0" y="0"/>
                  </a:lnTo>
                  <a:lnTo>
                    <a:pt x="0" y="5"/>
                  </a:lnTo>
                  <a:lnTo>
                    <a:pt x="0" y="48"/>
                  </a:lnTo>
                  <a:lnTo>
                    <a:pt x="0" y="101"/>
                  </a:lnTo>
                  <a:close/>
                </a:path>
              </a:pathLst>
            </a:custGeom>
            <a:solidFill>
              <a:srgbClr val="86C9A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97" name="íşļïḍè">
              <a:extLst>
                <a:ext uri="{FF2B5EF4-FFF2-40B4-BE49-F238E27FC236}">
                  <a16:creationId xmlns:a16="http://schemas.microsoft.com/office/drawing/2014/main" id="{BBC09F56-8EEE-473D-AE87-74458722339B}"/>
                </a:ext>
              </a:extLst>
            </p:cNvPr>
            <p:cNvSpPr/>
            <p:nvPr/>
          </p:nvSpPr>
          <p:spPr bwMode="auto">
            <a:xfrm>
              <a:off x="5359400" y="2243138"/>
              <a:ext cx="165100" cy="261938"/>
            </a:xfrm>
            <a:custGeom>
              <a:avLst/>
              <a:gdLst>
                <a:gd name="T0" fmla="*/ 87 w 104"/>
                <a:gd name="T1" fmla="*/ 62 h 165"/>
                <a:gd name="T2" fmla="*/ 87 w 104"/>
                <a:gd name="T3" fmla="*/ 165 h 165"/>
                <a:gd name="T4" fmla="*/ 104 w 104"/>
                <a:gd name="T5" fmla="*/ 156 h 165"/>
                <a:gd name="T6" fmla="*/ 104 w 104"/>
                <a:gd name="T7" fmla="*/ 55 h 165"/>
                <a:gd name="T8" fmla="*/ 16 w 104"/>
                <a:gd name="T9" fmla="*/ 0 h 165"/>
                <a:gd name="T10" fmla="*/ 15 w 104"/>
                <a:gd name="T11" fmla="*/ 1 h 165"/>
                <a:gd name="T12" fmla="*/ 0 w 104"/>
                <a:gd name="T13" fmla="*/ 8 h 165"/>
                <a:gd name="T14" fmla="*/ 87 w 104"/>
                <a:gd name="T15" fmla="*/ 62 h 16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4" h="165">
                  <a:moveTo>
                    <a:pt x="87" y="62"/>
                  </a:moveTo>
                  <a:lnTo>
                    <a:pt x="87" y="165"/>
                  </a:lnTo>
                  <a:lnTo>
                    <a:pt x="104" y="156"/>
                  </a:lnTo>
                  <a:lnTo>
                    <a:pt x="104" y="55"/>
                  </a:lnTo>
                  <a:lnTo>
                    <a:pt x="16" y="0"/>
                  </a:lnTo>
                  <a:lnTo>
                    <a:pt x="15" y="1"/>
                  </a:lnTo>
                  <a:lnTo>
                    <a:pt x="0" y="8"/>
                  </a:lnTo>
                  <a:lnTo>
                    <a:pt x="87" y="62"/>
                  </a:lnTo>
                  <a:close/>
                </a:path>
              </a:pathLst>
            </a:custGeom>
            <a:solidFill>
              <a:srgbClr val="F1B11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98" name="iśḻiḋé">
              <a:extLst>
                <a:ext uri="{FF2B5EF4-FFF2-40B4-BE49-F238E27FC236}">
                  <a16:creationId xmlns:a16="http://schemas.microsoft.com/office/drawing/2014/main" id="{C02210CC-2BF4-4762-875F-E36F19AF007E}"/>
                </a:ext>
              </a:extLst>
            </p:cNvPr>
            <p:cNvSpPr/>
            <p:nvPr/>
          </p:nvSpPr>
          <p:spPr bwMode="auto">
            <a:xfrm>
              <a:off x="5356225" y="2254251"/>
              <a:ext cx="141288" cy="250825"/>
            </a:xfrm>
            <a:custGeom>
              <a:avLst/>
              <a:gdLst>
                <a:gd name="T0" fmla="*/ 2 w 89"/>
                <a:gd name="T1" fmla="*/ 1 h 158"/>
                <a:gd name="T2" fmla="*/ 0 w 89"/>
                <a:gd name="T3" fmla="*/ 0 h 158"/>
                <a:gd name="T4" fmla="*/ 0 w 89"/>
                <a:gd name="T5" fmla="*/ 24 h 158"/>
                <a:gd name="T6" fmla="*/ 0 w 89"/>
                <a:gd name="T7" fmla="*/ 103 h 158"/>
                <a:gd name="T8" fmla="*/ 89 w 89"/>
                <a:gd name="T9" fmla="*/ 158 h 158"/>
                <a:gd name="T10" fmla="*/ 89 w 89"/>
                <a:gd name="T11" fmla="*/ 55 h 158"/>
                <a:gd name="T12" fmla="*/ 2 w 89"/>
                <a:gd name="T13" fmla="*/ 1 h 158"/>
              </a:gdLst>
              <a:ahLst/>
              <a:cxnLst>
                <a:cxn ang="0">
                  <a:pos x="T0" y="T1"/>
                </a:cxn>
                <a:cxn ang="0">
                  <a:pos x="T2" y="T3"/>
                </a:cxn>
                <a:cxn ang="0">
                  <a:pos x="T4" y="T5"/>
                </a:cxn>
                <a:cxn ang="0">
                  <a:pos x="T6" y="T7"/>
                </a:cxn>
                <a:cxn ang="0">
                  <a:pos x="T8" y="T9"/>
                </a:cxn>
                <a:cxn ang="0">
                  <a:pos x="T10" y="T11"/>
                </a:cxn>
                <a:cxn ang="0">
                  <a:pos x="T12" y="T13"/>
                </a:cxn>
              </a:cxnLst>
              <a:rect l="0" t="0" r="r" b="b"/>
              <a:pathLst>
                <a:path w="89" h="158">
                  <a:moveTo>
                    <a:pt x="2" y="1"/>
                  </a:moveTo>
                  <a:lnTo>
                    <a:pt x="0" y="0"/>
                  </a:lnTo>
                  <a:lnTo>
                    <a:pt x="0" y="24"/>
                  </a:lnTo>
                  <a:lnTo>
                    <a:pt x="0" y="103"/>
                  </a:lnTo>
                  <a:lnTo>
                    <a:pt x="89" y="158"/>
                  </a:lnTo>
                  <a:lnTo>
                    <a:pt x="89" y="55"/>
                  </a:lnTo>
                  <a:lnTo>
                    <a:pt x="2" y="1"/>
                  </a:lnTo>
                  <a:close/>
                </a:path>
              </a:pathLst>
            </a:custGeom>
            <a:solidFill>
              <a:srgbClr val="F4DA7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99" name="ïSḷîḓê">
              <a:extLst>
                <a:ext uri="{FF2B5EF4-FFF2-40B4-BE49-F238E27FC236}">
                  <a16:creationId xmlns:a16="http://schemas.microsoft.com/office/drawing/2014/main" id="{3FABECC9-AA78-453D-AAFF-71A2CCADFEA1}"/>
                </a:ext>
              </a:extLst>
            </p:cNvPr>
            <p:cNvSpPr/>
            <p:nvPr/>
          </p:nvSpPr>
          <p:spPr bwMode="auto">
            <a:xfrm>
              <a:off x="5854700" y="2763838"/>
              <a:ext cx="214313" cy="1722438"/>
            </a:xfrm>
            <a:custGeom>
              <a:avLst/>
              <a:gdLst>
                <a:gd name="T0" fmla="*/ 0 w 163"/>
                <a:gd name="T1" fmla="*/ 97 h 1310"/>
                <a:gd name="T2" fmla="*/ 1 w 163"/>
                <a:gd name="T3" fmla="*/ 109 h 1310"/>
                <a:gd name="T4" fmla="*/ 1 w 163"/>
                <a:gd name="T5" fmla="*/ 1310 h 1310"/>
                <a:gd name="T6" fmla="*/ 111 w 163"/>
                <a:gd name="T7" fmla="*/ 1252 h 1310"/>
                <a:gd name="T8" fmla="*/ 160 w 163"/>
                <a:gd name="T9" fmla="*/ 1227 h 1310"/>
                <a:gd name="T10" fmla="*/ 163 w 163"/>
                <a:gd name="T11" fmla="*/ 1210 h 1310"/>
                <a:gd name="T12" fmla="*/ 163 w 163"/>
                <a:gd name="T13" fmla="*/ 0 h 1310"/>
                <a:gd name="T14" fmla="*/ 0 w 163"/>
                <a:gd name="T15" fmla="*/ 97 h 13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3" h="1310">
                  <a:moveTo>
                    <a:pt x="0" y="97"/>
                  </a:moveTo>
                  <a:cubicBezTo>
                    <a:pt x="1" y="101"/>
                    <a:pt x="1" y="105"/>
                    <a:pt x="1" y="109"/>
                  </a:cubicBezTo>
                  <a:cubicBezTo>
                    <a:pt x="1" y="1310"/>
                    <a:pt x="1" y="1310"/>
                    <a:pt x="1" y="1310"/>
                  </a:cubicBezTo>
                  <a:cubicBezTo>
                    <a:pt x="111" y="1252"/>
                    <a:pt x="111" y="1252"/>
                    <a:pt x="111" y="1252"/>
                  </a:cubicBezTo>
                  <a:cubicBezTo>
                    <a:pt x="160" y="1227"/>
                    <a:pt x="160" y="1227"/>
                    <a:pt x="160" y="1227"/>
                  </a:cubicBezTo>
                  <a:cubicBezTo>
                    <a:pt x="161" y="1225"/>
                    <a:pt x="163" y="1220"/>
                    <a:pt x="163" y="1210"/>
                  </a:cubicBezTo>
                  <a:cubicBezTo>
                    <a:pt x="163" y="0"/>
                    <a:pt x="163" y="0"/>
                    <a:pt x="163" y="0"/>
                  </a:cubicBezTo>
                  <a:cubicBezTo>
                    <a:pt x="0" y="97"/>
                    <a:pt x="0" y="97"/>
                    <a:pt x="0" y="97"/>
                  </a:cubicBezTo>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00" name="ïşḻïḋe">
              <a:extLst>
                <a:ext uri="{FF2B5EF4-FFF2-40B4-BE49-F238E27FC236}">
                  <a16:creationId xmlns:a16="http://schemas.microsoft.com/office/drawing/2014/main" id="{1A4B8EC5-6362-42A9-8EC1-FC005E898AB9}"/>
                </a:ext>
              </a:extLst>
            </p:cNvPr>
            <p:cNvSpPr/>
            <p:nvPr/>
          </p:nvSpPr>
          <p:spPr bwMode="auto">
            <a:xfrm>
              <a:off x="4664075" y="1911351"/>
              <a:ext cx="1404938" cy="979488"/>
            </a:xfrm>
            <a:custGeom>
              <a:avLst/>
              <a:gdLst>
                <a:gd name="T0" fmla="*/ 1067 w 1067"/>
                <a:gd name="T1" fmla="*/ 636 h 745"/>
                <a:gd name="T2" fmla="*/ 1004 w 1067"/>
                <a:gd name="T3" fmla="*/ 525 h 745"/>
                <a:gd name="T4" fmla="*/ 546 w 1067"/>
                <a:gd name="T5" fmla="*/ 240 h 745"/>
                <a:gd name="T6" fmla="*/ 546 w 1067"/>
                <a:gd name="T7" fmla="*/ 253 h 745"/>
                <a:gd name="T8" fmla="*/ 548 w 1067"/>
                <a:gd name="T9" fmla="*/ 252 h 745"/>
                <a:gd name="T10" fmla="*/ 654 w 1067"/>
                <a:gd name="T11" fmla="*/ 318 h 745"/>
                <a:gd name="T12" fmla="*/ 654 w 1067"/>
                <a:gd name="T13" fmla="*/ 441 h 745"/>
                <a:gd name="T14" fmla="*/ 633 w 1067"/>
                <a:gd name="T15" fmla="*/ 451 h 745"/>
                <a:gd name="T16" fmla="*/ 526 w 1067"/>
                <a:gd name="T17" fmla="*/ 385 h 745"/>
                <a:gd name="T18" fmla="*/ 526 w 1067"/>
                <a:gd name="T19" fmla="*/ 290 h 745"/>
                <a:gd name="T20" fmla="*/ 524 w 1067"/>
                <a:gd name="T21" fmla="*/ 291 h 745"/>
                <a:gd name="T22" fmla="*/ 418 w 1067"/>
                <a:gd name="T23" fmla="*/ 225 h 745"/>
                <a:gd name="T24" fmla="*/ 418 w 1067"/>
                <a:gd name="T25" fmla="*/ 160 h 745"/>
                <a:gd name="T26" fmla="*/ 160 w 1067"/>
                <a:gd name="T27" fmla="*/ 0 h 745"/>
                <a:gd name="T28" fmla="*/ 75 w 1067"/>
                <a:gd name="T29" fmla="*/ 28 h 745"/>
                <a:gd name="T30" fmla="*/ 0 w 1067"/>
                <a:gd name="T31" fmla="*/ 96 h 745"/>
                <a:gd name="T32" fmla="*/ 819 w 1067"/>
                <a:gd name="T33" fmla="*/ 605 h 745"/>
                <a:gd name="T34" fmla="*/ 904 w 1067"/>
                <a:gd name="T35" fmla="*/ 745 h 745"/>
                <a:gd name="T36" fmla="*/ 1067 w 1067"/>
                <a:gd name="T37" fmla="*/ 648 h 745"/>
                <a:gd name="T38" fmla="*/ 1067 w 1067"/>
                <a:gd name="T39" fmla="*/ 636 h 7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67" h="745">
                  <a:moveTo>
                    <a:pt x="1067" y="636"/>
                  </a:moveTo>
                  <a:cubicBezTo>
                    <a:pt x="1067" y="598"/>
                    <a:pt x="1037" y="545"/>
                    <a:pt x="1004" y="525"/>
                  </a:cubicBezTo>
                  <a:cubicBezTo>
                    <a:pt x="546" y="240"/>
                    <a:pt x="546" y="240"/>
                    <a:pt x="546" y="240"/>
                  </a:cubicBezTo>
                  <a:cubicBezTo>
                    <a:pt x="546" y="253"/>
                    <a:pt x="546" y="253"/>
                    <a:pt x="546" y="253"/>
                  </a:cubicBezTo>
                  <a:cubicBezTo>
                    <a:pt x="548" y="252"/>
                    <a:pt x="548" y="252"/>
                    <a:pt x="548" y="252"/>
                  </a:cubicBezTo>
                  <a:cubicBezTo>
                    <a:pt x="654" y="318"/>
                    <a:pt x="654" y="318"/>
                    <a:pt x="654" y="318"/>
                  </a:cubicBezTo>
                  <a:cubicBezTo>
                    <a:pt x="654" y="441"/>
                    <a:pt x="654" y="441"/>
                    <a:pt x="654" y="441"/>
                  </a:cubicBezTo>
                  <a:cubicBezTo>
                    <a:pt x="633" y="451"/>
                    <a:pt x="633" y="451"/>
                    <a:pt x="633" y="451"/>
                  </a:cubicBezTo>
                  <a:cubicBezTo>
                    <a:pt x="526" y="385"/>
                    <a:pt x="526" y="385"/>
                    <a:pt x="526" y="385"/>
                  </a:cubicBezTo>
                  <a:cubicBezTo>
                    <a:pt x="526" y="290"/>
                    <a:pt x="526" y="290"/>
                    <a:pt x="526" y="290"/>
                  </a:cubicBezTo>
                  <a:cubicBezTo>
                    <a:pt x="524" y="291"/>
                    <a:pt x="524" y="291"/>
                    <a:pt x="524" y="291"/>
                  </a:cubicBezTo>
                  <a:cubicBezTo>
                    <a:pt x="418" y="225"/>
                    <a:pt x="418" y="225"/>
                    <a:pt x="418" y="225"/>
                  </a:cubicBezTo>
                  <a:cubicBezTo>
                    <a:pt x="418" y="160"/>
                    <a:pt x="418" y="160"/>
                    <a:pt x="418" y="160"/>
                  </a:cubicBezTo>
                  <a:cubicBezTo>
                    <a:pt x="160" y="0"/>
                    <a:pt x="160" y="0"/>
                    <a:pt x="160" y="0"/>
                  </a:cubicBezTo>
                  <a:cubicBezTo>
                    <a:pt x="148" y="0"/>
                    <a:pt x="119" y="5"/>
                    <a:pt x="75" y="28"/>
                  </a:cubicBezTo>
                  <a:cubicBezTo>
                    <a:pt x="35" y="49"/>
                    <a:pt x="9" y="75"/>
                    <a:pt x="0" y="96"/>
                  </a:cubicBezTo>
                  <a:cubicBezTo>
                    <a:pt x="819" y="605"/>
                    <a:pt x="819" y="605"/>
                    <a:pt x="819" y="605"/>
                  </a:cubicBezTo>
                  <a:cubicBezTo>
                    <a:pt x="863" y="632"/>
                    <a:pt x="899" y="693"/>
                    <a:pt x="904" y="745"/>
                  </a:cubicBezTo>
                  <a:cubicBezTo>
                    <a:pt x="1067" y="648"/>
                    <a:pt x="1067" y="648"/>
                    <a:pt x="1067" y="648"/>
                  </a:cubicBezTo>
                  <a:lnTo>
                    <a:pt x="1067" y="636"/>
                  </a:ln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01" name="ïšḷîḋe">
              <a:extLst>
                <a:ext uri="{FF2B5EF4-FFF2-40B4-BE49-F238E27FC236}">
                  <a16:creationId xmlns:a16="http://schemas.microsoft.com/office/drawing/2014/main" id="{64FDD506-2E5E-4A66-9B06-3052AE43B747}"/>
                </a:ext>
              </a:extLst>
            </p:cNvPr>
            <p:cNvSpPr/>
            <p:nvPr/>
          </p:nvSpPr>
          <p:spPr bwMode="auto">
            <a:xfrm>
              <a:off x="4271963" y="1987551"/>
              <a:ext cx="595313" cy="280988"/>
            </a:xfrm>
            <a:custGeom>
              <a:avLst/>
              <a:gdLst>
                <a:gd name="T0" fmla="*/ 110 w 453"/>
                <a:gd name="T1" fmla="*/ 81 h 213"/>
                <a:gd name="T2" fmla="*/ 195 w 453"/>
                <a:gd name="T3" fmla="*/ 52 h 213"/>
                <a:gd name="T4" fmla="*/ 453 w 453"/>
                <a:gd name="T5" fmla="*/ 213 h 213"/>
                <a:gd name="T6" fmla="*/ 453 w 453"/>
                <a:gd name="T7" fmla="*/ 162 h 213"/>
                <a:gd name="T8" fmla="*/ 207 w 453"/>
                <a:gd name="T9" fmla="*/ 8 h 213"/>
                <a:gd name="T10" fmla="*/ 88 w 453"/>
                <a:gd name="T11" fmla="*/ 41 h 213"/>
                <a:gd name="T12" fmla="*/ 0 w 453"/>
                <a:gd name="T13" fmla="*/ 127 h 213"/>
                <a:gd name="T14" fmla="*/ 36 w 453"/>
                <a:gd name="T15" fmla="*/ 149 h 213"/>
                <a:gd name="T16" fmla="*/ 110 w 453"/>
                <a:gd name="T17" fmla="*/ 8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3" h="213">
                  <a:moveTo>
                    <a:pt x="110" y="81"/>
                  </a:moveTo>
                  <a:cubicBezTo>
                    <a:pt x="155" y="57"/>
                    <a:pt x="183" y="53"/>
                    <a:pt x="195" y="52"/>
                  </a:cubicBezTo>
                  <a:cubicBezTo>
                    <a:pt x="453" y="213"/>
                    <a:pt x="453" y="213"/>
                    <a:pt x="453" y="213"/>
                  </a:cubicBezTo>
                  <a:cubicBezTo>
                    <a:pt x="453" y="162"/>
                    <a:pt x="453" y="162"/>
                    <a:pt x="453" y="162"/>
                  </a:cubicBezTo>
                  <a:cubicBezTo>
                    <a:pt x="207" y="8"/>
                    <a:pt x="207" y="8"/>
                    <a:pt x="207" y="8"/>
                  </a:cubicBezTo>
                  <a:cubicBezTo>
                    <a:pt x="207" y="8"/>
                    <a:pt x="166" y="0"/>
                    <a:pt x="88" y="41"/>
                  </a:cubicBezTo>
                  <a:cubicBezTo>
                    <a:pt x="6" y="83"/>
                    <a:pt x="0" y="127"/>
                    <a:pt x="0" y="127"/>
                  </a:cubicBezTo>
                  <a:cubicBezTo>
                    <a:pt x="36" y="149"/>
                    <a:pt x="36" y="149"/>
                    <a:pt x="36" y="149"/>
                  </a:cubicBezTo>
                  <a:cubicBezTo>
                    <a:pt x="44" y="128"/>
                    <a:pt x="71" y="101"/>
                    <a:pt x="110" y="81"/>
                  </a:cubicBezTo>
                  <a:close/>
                </a:path>
              </a:pathLst>
            </a:custGeom>
            <a:solidFill>
              <a:srgbClr val="9EA7C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02" name="iśḷidè">
              <a:extLst>
                <a:ext uri="{FF2B5EF4-FFF2-40B4-BE49-F238E27FC236}">
                  <a16:creationId xmlns:a16="http://schemas.microsoft.com/office/drawing/2014/main" id="{004C71A1-4B77-4FD1-A7EE-6CE9B4CBF94E}"/>
                </a:ext>
              </a:extLst>
            </p:cNvPr>
            <p:cNvSpPr/>
            <p:nvPr/>
          </p:nvSpPr>
          <p:spPr bwMode="auto">
            <a:xfrm>
              <a:off x="5037138" y="2305051"/>
              <a:ext cx="744538" cy="2297113"/>
            </a:xfrm>
            <a:custGeom>
              <a:avLst/>
              <a:gdLst>
                <a:gd name="T0" fmla="*/ 480 w 566"/>
                <a:gd name="T1" fmla="*/ 299 h 1747"/>
                <a:gd name="T2" fmla="*/ 0 w 566"/>
                <a:gd name="T3" fmla="*/ 0 h 1747"/>
                <a:gd name="T4" fmla="*/ 0 w 566"/>
                <a:gd name="T5" fmla="*/ 51 h 1747"/>
                <a:gd name="T6" fmla="*/ 458 w 566"/>
                <a:gd name="T7" fmla="*/ 336 h 1747"/>
                <a:gd name="T8" fmla="*/ 522 w 566"/>
                <a:gd name="T9" fmla="*/ 448 h 1747"/>
                <a:gd name="T10" fmla="*/ 522 w 566"/>
                <a:gd name="T11" fmla="*/ 1669 h 1747"/>
                <a:gd name="T12" fmla="*/ 518 w 566"/>
                <a:gd name="T13" fmla="*/ 1686 h 1747"/>
                <a:gd name="T14" fmla="*/ 470 w 566"/>
                <a:gd name="T15" fmla="*/ 1712 h 1747"/>
                <a:gd name="T16" fmla="*/ 480 w 566"/>
                <a:gd name="T17" fmla="*/ 1718 h 1747"/>
                <a:gd name="T18" fmla="*/ 566 w 566"/>
                <a:gd name="T19" fmla="*/ 1672 h 1747"/>
                <a:gd name="T20" fmla="*/ 566 w 566"/>
                <a:gd name="T21" fmla="*/ 451 h 1747"/>
                <a:gd name="T22" fmla="*/ 480 w 566"/>
                <a:gd name="T23" fmla="*/ 299 h 17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6" h="1747">
                  <a:moveTo>
                    <a:pt x="480" y="299"/>
                  </a:moveTo>
                  <a:cubicBezTo>
                    <a:pt x="0" y="0"/>
                    <a:pt x="0" y="0"/>
                    <a:pt x="0" y="0"/>
                  </a:cubicBezTo>
                  <a:cubicBezTo>
                    <a:pt x="0" y="51"/>
                    <a:pt x="0" y="51"/>
                    <a:pt x="0" y="51"/>
                  </a:cubicBezTo>
                  <a:cubicBezTo>
                    <a:pt x="458" y="336"/>
                    <a:pt x="458" y="336"/>
                    <a:pt x="458" y="336"/>
                  </a:cubicBezTo>
                  <a:cubicBezTo>
                    <a:pt x="491" y="357"/>
                    <a:pt x="522" y="410"/>
                    <a:pt x="522" y="448"/>
                  </a:cubicBezTo>
                  <a:cubicBezTo>
                    <a:pt x="522" y="1669"/>
                    <a:pt x="522" y="1669"/>
                    <a:pt x="522" y="1669"/>
                  </a:cubicBezTo>
                  <a:cubicBezTo>
                    <a:pt x="522" y="1680"/>
                    <a:pt x="519" y="1685"/>
                    <a:pt x="518" y="1686"/>
                  </a:cubicBezTo>
                  <a:cubicBezTo>
                    <a:pt x="470" y="1712"/>
                    <a:pt x="470" y="1712"/>
                    <a:pt x="470" y="1712"/>
                  </a:cubicBezTo>
                  <a:cubicBezTo>
                    <a:pt x="480" y="1718"/>
                    <a:pt x="480" y="1718"/>
                    <a:pt x="480" y="1718"/>
                  </a:cubicBezTo>
                  <a:cubicBezTo>
                    <a:pt x="527" y="1747"/>
                    <a:pt x="566" y="1727"/>
                    <a:pt x="566" y="1672"/>
                  </a:cubicBezTo>
                  <a:cubicBezTo>
                    <a:pt x="566" y="451"/>
                    <a:pt x="566" y="451"/>
                    <a:pt x="566" y="451"/>
                  </a:cubicBezTo>
                  <a:cubicBezTo>
                    <a:pt x="566" y="396"/>
                    <a:pt x="527" y="328"/>
                    <a:pt x="480" y="299"/>
                  </a:cubicBezTo>
                  <a:close/>
                </a:path>
              </a:pathLst>
            </a:custGeom>
            <a:solidFill>
              <a:srgbClr val="9EA7C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03" name="ïś1ïḓê">
              <a:extLst>
                <a:ext uri="{FF2B5EF4-FFF2-40B4-BE49-F238E27FC236}">
                  <a16:creationId xmlns:a16="http://schemas.microsoft.com/office/drawing/2014/main" id="{D378DF61-666B-42C6-8546-297EF3FFCE93}"/>
                </a:ext>
              </a:extLst>
            </p:cNvPr>
            <p:cNvSpPr/>
            <p:nvPr/>
          </p:nvSpPr>
          <p:spPr bwMode="auto">
            <a:xfrm>
              <a:off x="4271963" y="2154238"/>
              <a:ext cx="1238250" cy="2603500"/>
            </a:xfrm>
            <a:custGeom>
              <a:avLst/>
              <a:gdLst>
                <a:gd name="T0" fmla="*/ 941 w 941"/>
                <a:gd name="T1" fmla="*/ 683 h 1979"/>
                <a:gd name="T2" fmla="*/ 854 w 941"/>
                <a:gd name="T3" fmla="*/ 531 h 1979"/>
                <a:gd name="T4" fmla="*/ 36 w 941"/>
                <a:gd name="T5" fmla="*/ 22 h 1979"/>
                <a:gd name="T6" fmla="*/ 0 w 941"/>
                <a:gd name="T7" fmla="*/ 0 h 1979"/>
                <a:gd name="T8" fmla="*/ 0 w 941"/>
                <a:gd name="T9" fmla="*/ 1419 h 1979"/>
                <a:gd name="T10" fmla="*/ 854 w 941"/>
                <a:gd name="T11" fmla="*/ 1950 h 1979"/>
                <a:gd name="T12" fmla="*/ 941 w 941"/>
                <a:gd name="T13" fmla="*/ 1905 h 1979"/>
                <a:gd name="T14" fmla="*/ 941 w 941"/>
                <a:gd name="T15" fmla="*/ 1884 h 1979"/>
                <a:gd name="T16" fmla="*/ 941 w 941"/>
                <a:gd name="T17" fmla="*/ 683 h 1979"/>
                <a:gd name="T18" fmla="*/ 80 w 941"/>
                <a:gd name="T19" fmla="*/ 1425 h 1979"/>
                <a:gd name="T20" fmla="*/ 80 w 941"/>
                <a:gd name="T21" fmla="*/ 99 h 1979"/>
                <a:gd name="T22" fmla="*/ 92 w 941"/>
                <a:gd name="T23" fmla="*/ 107 h 1979"/>
                <a:gd name="T24" fmla="*/ 92 w 941"/>
                <a:gd name="T25" fmla="*/ 1433 h 1979"/>
                <a:gd name="T26" fmla="*/ 80 w 941"/>
                <a:gd name="T27" fmla="*/ 1425 h 19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41" h="1979">
                  <a:moveTo>
                    <a:pt x="941" y="683"/>
                  </a:moveTo>
                  <a:cubicBezTo>
                    <a:pt x="941" y="629"/>
                    <a:pt x="902" y="560"/>
                    <a:pt x="854" y="531"/>
                  </a:cubicBezTo>
                  <a:cubicBezTo>
                    <a:pt x="36" y="22"/>
                    <a:pt x="36" y="22"/>
                    <a:pt x="36" y="22"/>
                  </a:cubicBezTo>
                  <a:cubicBezTo>
                    <a:pt x="0" y="0"/>
                    <a:pt x="0" y="0"/>
                    <a:pt x="0" y="0"/>
                  </a:cubicBezTo>
                  <a:cubicBezTo>
                    <a:pt x="0" y="1419"/>
                    <a:pt x="0" y="1419"/>
                    <a:pt x="0" y="1419"/>
                  </a:cubicBezTo>
                  <a:cubicBezTo>
                    <a:pt x="854" y="1950"/>
                    <a:pt x="854" y="1950"/>
                    <a:pt x="854" y="1950"/>
                  </a:cubicBezTo>
                  <a:cubicBezTo>
                    <a:pt x="902" y="1979"/>
                    <a:pt x="941" y="1959"/>
                    <a:pt x="941" y="1905"/>
                  </a:cubicBezTo>
                  <a:cubicBezTo>
                    <a:pt x="941" y="1884"/>
                    <a:pt x="941" y="1884"/>
                    <a:pt x="941" y="1884"/>
                  </a:cubicBezTo>
                  <a:lnTo>
                    <a:pt x="941" y="683"/>
                  </a:lnTo>
                  <a:close/>
                  <a:moveTo>
                    <a:pt x="80" y="1425"/>
                  </a:moveTo>
                  <a:cubicBezTo>
                    <a:pt x="80" y="99"/>
                    <a:pt x="80" y="99"/>
                    <a:pt x="80" y="99"/>
                  </a:cubicBezTo>
                  <a:cubicBezTo>
                    <a:pt x="92" y="107"/>
                    <a:pt x="92" y="107"/>
                    <a:pt x="92" y="107"/>
                  </a:cubicBezTo>
                  <a:cubicBezTo>
                    <a:pt x="92" y="1433"/>
                    <a:pt x="92" y="1433"/>
                    <a:pt x="92" y="1433"/>
                  </a:cubicBezTo>
                  <a:lnTo>
                    <a:pt x="80" y="1425"/>
                  </a:lnTo>
                  <a:close/>
                </a:path>
              </a:pathLst>
            </a:custGeom>
            <a:solidFill>
              <a:srgbClr val="ACB6D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04" name="ï$ļíḓè">
              <a:extLst>
                <a:ext uri="{FF2B5EF4-FFF2-40B4-BE49-F238E27FC236}">
                  <a16:creationId xmlns:a16="http://schemas.microsoft.com/office/drawing/2014/main" id="{AE20F2EB-D019-4337-AF5C-746C82869EB9}"/>
                </a:ext>
              </a:extLst>
            </p:cNvPr>
            <p:cNvSpPr/>
            <p:nvPr/>
          </p:nvSpPr>
          <p:spPr bwMode="auto">
            <a:xfrm>
              <a:off x="4376738" y="2284413"/>
              <a:ext cx="15875" cy="1754188"/>
            </a:xfrm>
            <a:custGeom>
              <a:avLst/>
              <a:gdLst>
                <a:gd name="T0" fmla="*/ 10 w 10"/>
                <a:gd name="T1" fmla="*/ 7 h 1105"/>
                <a:gd name="T2" fmla="*/ 0 w 10"/>
                <a:gd name="T3" fmla="*/ 0 h 1105"/>
                <a:gd name="T4" fmla="*/ 0 w 10"/>
                <a:gd name="T5" fmla="*/ 1099 h 1105"/>
                <a:gd name="T6" fmla="*/ 10 w 10"/>
                <a:gd name="T7" fmla="*/ 1105 h 1105"/>
                <a:gd name="T8" fmla="*/ 10 w 10"/>
                <a:gd name="T9" fmla="*/ 7 h 1105"/>
              </a:gdLst>
              <a:ahLst/>
              <a:cxnLst>
                <a:cxn ang="0">
                  <a:pos x="T0" y="T1"/>
                </a:cxn>
                <a:cxn ang="0">
                  <a:pos x="T2" y="T3"/>
                </a:cxn>
                <a:cxn ang="0">
                  <a:pos x="T4" y="T5"/>
                </a:cxn>
                <a:cxn ang="0">
                  <a:pos x="T6" y="T7"/>
                </a:cxn>
                <a:cxn ang="0">
                  <a:pos x="T8" y="T9"/>
                </a:cxn>
              </a:cxnLst>
              <a:rect l="0" t="0" r="r" b="b"/>
              <a:pathLst>
                <a:path w="10" h="1105">
                  <a:moveTo>
                    <a:pt x="10" y="7"/>
                  </a:moveTo>
                  <a:lnTo>
                    <a:pt x="0" y="0"/>
                  </a:lnTo>
                  <a:lnTo>
                    <a:pt x="0" y="1099"/>
                  </a:lnTo>
                  <a:lnTo>
                    <a:pt x="10" y="1105"/>
                  </a:lnTo>
                  <a:lnTo>
                    <a:pt x="10" y="7"/>
                  </a:ln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05" name="iSlide">
              <a:extLst>
                <a:ext uri="{FF2B5EF4-FFF2-40B4-BE49-F238E27FC236}">
                  <a16:creationId xmlns:a16="http://schemas.microsoft.com/office/drawing/2014/main" id="{A9D9E6E3-527D-4C80-B91E-DD8598F38746}"/>
                </a:ext>
              </a:extLst>
            </p:cNvPr>
            <p:cNvSpPr/>
            <p:nvPr/>
          </p:nvSpPr>
          <p:spPr bwMode="auto">
            <a:xfrm>
              <a:off x="4870450" y="2178051"/>
              <a:ext cx="166688" cy="261938"/>
            </a:xfrm>
            <a:custGeom>
              <a:avLst/>
              <a:gdLst>
                <a:gd name="T0" fmla="*/ 86 w 105"/>
                <a:gd name="T1" fmla="*/ 165 h 165"/>
                <a:gd name="T2" fmla="*/ 89 w 105"/>
                <a:gd name="T3" fmla="*/ 164 h 165"/>
                <a:gd name="T4" fmla="*/ 89 w 105"/>
                <a:gd name="T5" fmla="*/ 140 h 165"/>
                <a:gd name="T6" fmla="*/ 90 w 105"/>
                <a:gd name="T7" fmla="*/ 141 h 165"/>
                <a:gd name="T8" fmla="*/ 105 w 105"/>
                <a:gd name="T9" fmla="*/ 134 h 165"/>
                <a:gd name="T10" fmla="*/ 105 w 105"/>
                <a:gd name="T11" fmla="*/ 122 h 165"/>
                <a:gd name="T12" fmla="*/ 105 w 105"/>
                <a:gd name="T13" fmla="*/ 80 h 165"/>
                <a:gd name="T14" fmla="*/ 105 w 105"/>
                <a:gd name="T15" fmla="*/ 55 h 165"/>
                <a:gd name="T16" fmla="*/ 17 w 105"/>
                <a:gd name="T17" fmla="*/ 0 h 165"/>
                <a:gd name="T18" fmla="*/ 0 w 105"/>
                <a:gd name="T19" fmla="*/ 9 h 165"/>
                <a:gd name="T20" fmla="*/ 86 w 105"/>
                <a:gd name="T21" fmla="*/ 62 h 165"/>
                <a:gd name="T22" fmla="*/ 86 w 105"/>
                <a:gd name="T23" fmla="*/ 165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5" h="165">
                  <a:moveTo>
                    <a:pt x="86" y="165"/>
                  </a:moveTo>
                  <a:lnTo>
                    <a:pt x="89" y="164"/>
                  </a:lnTo>
                  <a:lnTo>
                    <a:pt x="89" y="140"/>
                  </a:lnTo>
                  <a:lnTo>
                    <a:pt x="90" y="141"/>
                  </a:lnTo>
                  <a:lnTo>
                    <a:pt x="105" y="134"/>
                  </a:lnTo>
                  <a:lnTo>
                    <a:pt x="105" y="122"/>
                  </a:lnTo>
                  <a:lnTo>
                    <a:pt x="105" y="80"/>
                  </a:lnTo>
                  <a:lnTo>
                    <a:pt x="105" y="55"/>
                  </a:lnTo>
                  <a:lnTo>
                    <a:pt x="17" y="0"/>
                  </a:lnTo>
                  <a:lnTo>
                    <a:pt x="0" y="9"/>
                  </a:lnTo>
                  <a:lnTo>
                    <a:pt x="86" y="62"/>
                  </a:lnTo>
                  <a:lnTo>
                    <a:pt x="86" y="165"/>
                  </a:lnTo>
                  <a:close/>
                </a:path>
              </a:pathLst>
            </a:custGeom>
            <a:solidFill>
              <a:srgbClr val="EA6A6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06" name="ïṡļîdè">
              <a:extLst>
                <a:ext uri="{FF2B5EF4-FFF2-40B4-BE49-F238E27FC236}">
                  <a16:creationId xmlns:a16="http://schemas.microsoft.com/office/drawing/2014/main" id="{28910B1E-D0DD-43B8-BEC5-CA0A7E7A050A}"/>
                </a:ext>
              </a:extLst>
            </p:cNvPr>
            <p:cNvSpPr/>
            <p:nvPr/>
          </p:nvSpPr>
          <p:spPr bwMode="auto">
            <a:xfrm>
              <a:off x="4867275" y="2190751"/>
              <a:ext cx="139700" cy="249238"/>
            </a:xfrm>
            <a:custGeom>
              <a:avLst/>
              <a:gdLst>
                <a:gd name="T0" fmla="*/ 0 w 88"/>
                <a:gd name="T1" fmla="*/ 102 h 157"/>
                <a:gd name="T2" fmla="*/ 88 w 88"/>
                <a:gd name="T3" fmla="*/ 157 h 157"/>
                <a:gd name="T4" fmla="*/ 88 w 88"/>
                <a:gd name="T5" fmla="*/ 54 h 157"/>
                <a:gd name="T6" fmla="*/ 2 w 88"/>
                <a:gd name="T7" fmla="*/ 1 h 157"/>
                <a:gd name="T8" fmla="*/ 0 w 88"/>
                <a:gd name="T9" fmla="*/ 0 h 157"/>
                <a:gd name="T10" fmla="*/ 0 w 88"/>
                <a:gd name="T11" fmla="*/ 6 h 157"/>
                <a:gd name="T12" fmla="*/ 0 w 88"/>
                <a:gd name="T13" fmla="*/ 49 h 157"/>
                <a:gd name="T14" fmla="*/ 0 w 88"/>
                <a:gd name="T15" fmla="*/ 102 h 1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 h="157">
                  <a:moveTo>
                    <a:pt x="0" y="102"/>
                  </a:moveTo>
                  <a:lnTo>
                    <a:pt x="88" y="157"/>
                  </a:lnTo>
                  <a:lnTo>
                    <a:pt x="88" y="54"/>
                  </a:lnTo>
                  <a:lnTo>
                    <a:pt x="2" y="1"/>
                  </a:lnTo>
                  <a:lnTo>
                    <a:pt x="0" y="0"/>
                  </a:lnTo>
                  <a:lnTo>
                    <a:pt x="0" y="6"/>
                  </a:lnTo>
                  <a:lnTo>
                    <a:pt x="0" y="49"/>
                  </a:lnTo>
                  <a:lnTo>
                    <a:pt x="0" y="102"/>
                  </a:lnTo>
                  <a:close/>
                </a:path>
              </a:pathLst>
            </a:custGeom>
            <a:solidFill>
              <a:srgbClr val="EE868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07" name="íṡḻïdê">
              <a:extLst>
                <a:ext uri="{FF2B5EF4-FFF2-40B4-BE49-F238E27FC236}">
                  <a16:creationId xmlns:a16="http://schemas.microsoft.com/office/drawing/2014/main" id="{0DBE21FF-471A-4DDE-8468-2BC4245B83EE}"/>
                </a:ext>
              </a:extLst>
            </p:cNvPr>
            <p:cNvSpPr/>
            <p:nvPr/>
          </p:nvSpPr>
          <p:spPr bwMode="auto">
            <a:xfrm>
              <a:off x="5013325" y="2389188"/>
              <a:ext cx="166688" cy="260350"/>
            </a:xfrm>
            <a:custGeom>
              <a:avLst/>
              <a:gdLst>
                <a:gd name="T0" fmla="*/ 87 w 105"/>
                <a:gd name="T1" fmla="*/ 61 h 164"/>
                <a:gd name="T2" fmla="*/ 87 w 105"/>
                <a:gd name="T3" fmla="*/ 164 h 164"/>
                <a:gd name="T4" fmla="*/ 105 w 105"/>
                <a:gd name="T5" fmla="*/ 156 h 164"/>
                <a:gd name="T6" fmla="*/ 105 w 105"/>
                <a:gd name="T7" fmla="*/ 54 h 164"/>
                <a:gd name="T8" fmla="*/ 17 w 105"/>
                <a:gd name="T9" fmla="*/ 0 h 164"/>
                <a:gd name="T10" fmla="*/ 15 w 105"/>
                <a:gd name="T11" fmla="*/ 1 h 164"/>
                <a:gd name="T12" fmla="*/ 0 w 105"/>
                <a:gd name="T13" fmla="*/ 8 h 164"/>
                <a:gd name="T14" fmla="*/ 87 w 105"/>
                <a:gd name="T15" fmla="*/ 61 h 1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 h="164">
                  <a:moveTo>
                    <a:pt x="87" y="61"/>
                  </a:moveTo>
                  <a:lnTo>
                    <a:pt x="87" y="164"/>
                  </a:lnTo>
                  <a:lnTo>
                    <a:pt x="105" y="156"/>
                  </a:lnTo>
                  <a:lnTo>
                    <a:pt x="105" y="54"/>
                  </a:lnTo>
                  <a:lnTo>
                    <a:pt x="17" y="0"/>
                  </a:lnTo>
                  <a:lnTo>
                    <a:pt x="15" y="1"/>
                  </a:lnTo>
                  <a:lnTo>
                    <a:pt x="0" y="8"/>
                  </a:lnTo>
                  <a:lnTo>
                    <a:pt x="87" y="61"/>
                  </a:lnTo>
                  <a:close/>
                </a:path>
              </a:pathLst>
            </a:custGeom>
            <a:solidFill>
              <a:srgbClr val="F1B11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08" name="ïṣḻíḓé">
              <a:extLst>
                <a:ext uri="{FF2B5EF4-FFF2-40B4-BE49-F238E27FC236}">
                  <a16:creationId xmlns:a16="http://schemas.microsoft.com/office/drawing/2014/main" id="{AEBC0FE1-E1E2-4607-BD5D-373437377603}"/>
                </a:ext>
              </a:extLst>
            </p:cNvPr>
            <p:cNvSpPr/>
            <p:nvPr/>
          </p:nvSpPr>
          <p:spPr bwMode="auto">
            <a:xfrm>
              <a:off x="5011738" y="2400301"/>
              <a:ext cx="139700" cy="249238"/>
            </a:xfrm>
            <a:custGeom>
              <a:avLst/>
              <a:gdLst>
                <a:gd name="T0" fmla="*/ 1 w 88"/>
                <a:gd name="T1" fmla="*/ 1 h 157"/>
                <a:gd name="T2" fmla="*/ 0 w 88"/>
                <a:gd name="T3" fmla="*/ 0 h 157"/>
                <a:gd name="T4" fmla="*/ 0 w 88"/>
                <a:gd name="T5" fmla="*/ 24 h 157"/>
                <a:gd name="T6" fmla="*/ 0 w 88"/>
                <a:gd name="T7" fmla="*/ 103 h 157"/>
                <a:gd name="T8" fmla="*/ 88 w 88"/>
                <a:gd name="T9" fmla="*/ 157 h 157"/>
                <a:gd name="T10" fmla="*/ 88 w 88"/>
                <a:gd name="T11" fmla="*/ 54 h 157"/>
                <a:gd name="T12" fmla="*/ 1 w 88"/>
                <a:gd name="T13" fmla="*/ 1 h 157"/>
              </a:gdLst>
              <a:ahLst/>
              <a:cxnLst>
                <a:cxn ang="0">
                  <a:pos x="T0" y="T1"/>
                </a:cxn>
                <a:cxn ang="0">
                  <a:pos x="T2" y="T3"/>
                </a:cxn>
                <a:cxn ang="0">
                  <a:pos x="T4" y="T5"/>
                </a:cxn>
                <a:cxn ang="0">
                  <a:pos x="T6" y="T7"/>
                </a:cxn>
                <a:cxn ang="0">
                  <a:pos x="T8" y="T9"/>
                </a:cxn>
                <a:cxn ang="0">
                  <a:pos x="T10" y="T11"/>
                </a:cxn>
                <a:cxn ang="0">
                  <a:pos x="T12" y="T13"/>
                </a:cxn>
              </a:cxnLst>
              <a:rect l="0" t="0" r="r" b="b"/>
              <a:pathLst>
                <a:path w="88" h="157">
                  <a:moveTo>
                    <a:pt x="1" y="1"/>
                  </a:moveTo>
                  <a:lnTo>
                    <a:pt x="0" y="0"/>
                  </a:lnTo>
                  <a:lnTo>
                    <a:pt x="0" y="24"/>
                  </a:lnTo>
                  <a:lnTo>
                    <a:pt x="0" y="103"/>
                  </a:lnTo>
                  <a:lnTo>
                    <a:pt x="88" y="157"/>
                  </a:lnTo>
                  <a:lnTo>
                    <a:pt x="88" y="54"/>
                  </a:lnTo>
                  <a:lnTo>
                    <a:pt x="1" y="1"/>
                  </a:lnTo>
                  <a:close/>
                </a:path>
              </a:pathLst>
            </a:custGeom>
            <a:solidFill>
              <a:srgbClr val="F4DA7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09" name="îşlïďe">
              <a:extLst>
                <a:ext uri="{FF2B5EF4-FFF2-40B4-BE49-F238E27FC236}">
                  <a16:creationId xmlns:a16="http://schemas.microsoft.com/office/drawing/2014/main" id="{03BBED03-2E7A-4373-B7EA-09019CD1736B}"/>
                </a:ext>
              </a:extLst>
            </p:cNvPr>
            <p:cNvSpPr/>
            <p:nvPr/>
          </p:nvSpPr>
          <p:spPr bwMode="auto">
            <a:xfrm>
              <a:off x="5508625" y="2909888"/>
              <a:ext cx="215900" cy="1722438"/>
            </a:xfrm>
            <a:custGeom>
              <a:avLst/>
              <a:gdLst>
                <a:gd name="T0" fmla="*/ 0 w 163"/>
                <a:gd name="T1" fmla="*/ 96 h 1310"/>
                <a:gd name="T2" fmla="*/ 1 w 163"/>
                <a:gd name="T3" fmla="*/ 109 h 1310"/>
                <a:gd name="T4" fmla="*/ 1 w 163"/>
                <a:gd name="T5" fmla="*/ 1310 h 1310"/>
                <a:gd name="T6" fmla="*/ 111 w 163"/>
                <a:gd name="T7" fmla="*/ 1252 h 1310"/>
                <a:gd name="T8" fmla="*/ 159 w 163"/>
                <a:gd name="T9" fmla="*/ 1226 h 1310"/>
                <a:gd name="T10" fmla="*/ 163 w 163"/>
                <a:gd name="T11" fmla="*/ 1209 h 1310"/>
                <a:gd name="T12" fmla="*/ 163 w 163"/>
                <a:gd name="T13" fmla="*/ 0 h 1310"/>
                <a:gd name="T14" fmla="*/ 0 w 163"/>
                <a:gd name="T15" fmla="*/ 96 h 13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3" h="1310">
                  <a:moveTo>
                    <a:pt x="0" y="96"/>
                  </a:moveTo>
                  <a:cubicBezTo>
                    <a:pt x="0" y="101"/>
                    <a:pt x="1" y="105"/>
                    <a:pt x="1" y="109"/>
                  </a:cubicBezTo>
                  <a:cubicBezTo>
                    <a:pt x="1" y="1310"/>
                    <a:pt x="1" y="1310"/>
                    <a:pt x="1" y="1310"/>
                  </a:cubicBezTo>
                  <a:cubicBezTo>
                    <a:pt x="111" y="1252"/>
                    <a:pt x="111" y="1252"/>
                    <a:pt x="111" y="1252"/>
                  </a:cubicBezTo>
                  <a:cubicBezTo>
                    <a:pt x="159" y="1226"/>
                    <a:pt x="159" y="1226"/>
                    <a:pt x="159" y="1226"/>
                  </a:cubicBezTo>
                  <a:cubicBezTo>
                    <a:pt x="160" y="1225"/>
                    <a:pt x="163" y="1220"/>
                    <a:pt x="163" y="1209"/>
                  </a:cubicBezTo>
                  <a:cubicBezTo>
                    <a:pt x="163" y="0"/>
                    <a:pt x="163" y="0"/>
                    <a:pt x="163" y="0"/>
                  </a:cubicBezTo>
                  <a:lnTo>
                    <a:pt x="0" y="96"/>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10" name="íṣ1íḍè">
              <a:extLst>
                <a:ext uri="{FF2B5EF4-FFF2-40B4-BE49-F238E27FC236}">
                  <a16:creationId xmlns:a16="http://schemas.microsoft.com/office/drawing/2014/main" id="{4F5329D0-9D38-4627-A8D6-5AFA5D151E70}"/>
                </a:ext>
              </a:extLst>
            </p:cNvPr>
            <p:cNvSpPr/>
            <p:nvPr/>
          </p:nvSpPr>
          <p:spPr bwMode="auto">
            <a:xfrm>
              <a:off x="4318000" y="2055813"/>
              <a:ext cx="1406525" cy="979488"/>
            </a:xfrm>
            <a:custGeom>
              <a:avLst/>
              <a:gdLst>
                <a:gd name="T0" fmla="*/ 1067 w 1067"/>
                <a:gd name="T1" fmla="*/ 637 h 745"/>
                <a:gd name="T2" fmla="*/ 1003 w 1067"/>
                <a:gd name="T3" fmla="*/ 525 h 745"/>
                <a:gd name="T4" fmla="*/ 545 w 1067"/>
                <a:gd name="T5" fmla="*/ 240 h 745"/>
                <a:gd name="T6" fmla="*/ 545 w 1067"/>
                <a:gd name="T7" fmla="*/ 254 h 745"/>
                <a:gd name="T8" fmla="*/ 548 w 1067"/>
                <a:gd name="T9" fmla="*/ 253 h 745"/>
                <a:gd name="T10" fmla="*/ 654 w 1067"/>
                <a:gd name="T11" fmla="*/ 318 h 745"/>
                <a:gd name="T12" fmla="*/ 654 w 1067"/>
                <a:gd name="T13" fmla="*/ 442 h 745"/>
                <a:gd name="T14" fmla="*/ 632 w 1067"/>
                <a:gd name="T15" fmla="*/ 451 h 745"/>
                <a:gd name="T16" fmla="*/ 526 w 1067"/>
                <a:gd name="T17" fmla="*/ 386 h 745"/>
                <a:gd name="T18" fmla="*/ 526 w 1067"/>
                <a:gd name="T19" fmla="*/ 291 h 745"/>
                <a:gd name="T20" fmla="*/ 523 w 1067"/>
                <a:gd name="T21" fmla="*/ 292 h 745"/>
                <a:gd name="T22" fmla="*/ 417 w 1067"/>
                <a:gd name="T23" fmla="*/ 226 h 745"/>
                <a:gd name="T24" fmla="*/ 417 w 1067"/>
                <a:gd name="T25" fmla="*/ 161 h 745"/>
                <a:gd name="T26" fmla="*/ 159 w 1067"/>
                <a:gd name="T27" fmla="*/ 0 h 745"/>
                <a:gd name="T28" fmla="*/ 74 w 1067"/>
                <a:gd name="T29" fmla="*/ 29 h 745"/>
                <a:gd name="T30" fmla="*/ 0 w 1067"/>
                <a:gd name="T31" fmla="*/ 97 h 745"/>
                <a:gd name="T32" fmla="*/ 818 w 1067"/>
                <a:gd name="T33" fmla="*/ 606 h 745"/>
                <a:gd name="T34" fmla="*/ 904 w 1067"/>
                <a:gd name="T35" fmla="*/ 745 h 745"/>
                <a:gd name="T36" fmla="*/ 1067 w 1067"/>
                <a:gd name="T37" fmla="*/ 649 h 745"/>
                <a:gd name="T38" fmla="*/ 1067 w 1067"/>
                <a:gd name="T39" fmla="*/ 637 h 7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67" h="745">
                  <a:moveTo>
                    <a:pt x="1067" y="637"/>
                  </a:moveTo>
                  <a:cubicBezTo>
                    <a:pt x="1067" y="599"/>
                    <a:pt x="1036" y="546"/>
                    <a:pt x="1003" y="525"/>
                  </a:cubicBezTo>
                  <a:cubicBezTo>
                    <a:pt x="545" y="240"/>
                    <a:pt x="545" y="240"/>
                    <a:pt x="545" y="240"/>
                  </a:cubicBezTo>
                  <a:cubicBezTo>
                    <a:pt x="545" y="254"/>
                    <a:pt x="545" y="254"/>
                    <a:pt x="545" y="254"/>
                  </a:cubicBezTo>
                  <a:cubicBezTo>
                    <a:pt x="548" y="253"/>
                    <a:pt x="548" y="253"/>
                    <a:pt x="548" y="253"/>
                  </a:cubicBezTo>
                  <a:cubicBezTo>
                    <a:pt x="654" y="318"/>
                    <a:pt x="654" y="318"/>
                    <a:pt x="654" y="318"/>
                  </a:cubicBezTo>
                  <a:cubicBezTo>
                    <a:pt x="654" y="442"/>
                    <a:pt x="654" y="442"/>
                    <a:pt x="654" y="442"/>
                  </a:cubicBezTo>
                  <a:cubicBezTo>
                    <a:pt x="632" y="451"/>
                    <a:pt x="632" y="451"/>
                    <a:pt x="632" y="451"/>
                  </a:cubicBezTo>
                  <a:cubicBezTo>
                    <a:pt x="526" y="386"/>
                    <a:pt x="526" y="386"/>
                    <a:pt x="526" y="386"/>
                  </a:cubicBezTo>
                  <a:cubicBezTo>
                    <a:pt x="526" y="291"/>
                    <a:pt x="526" y="291"/>
                    <a:pt x="526" y="291"/>
                  </a:cubicBezTo>
                  <a:cubicBezTo>
                    <a:pt x="523" y="292"/>
                    <a:pt x="523" y="292"/>
                    <a:pt x="523" y="292"/>
                  </a:cubicBezTo>
                  <a:cubicBezTo>
                    <a:pt x="417" y="226"/>
                    <a:pt x="417" y="226"/>
                    <a:pt x="417" y="226"/>
                  </a:cubicBezTo>
                  <a:cubicBezTo>
                    <a:pt x="417" y="161"/>
                    <a:pt x="417" y="161"/>
                    <a:pt x="417" y="161"/>
                  </a:cubicBezTo>
                  <a:cubicBezTo>
                    <a:pt x="159" y="0"/>
                    <a:pt x="159" y="0"/>
                    <a:pt x="159" y="0"/>
                  </a:cubicBezTo>
                  <a:cubicBezTo>
                    <a:pt x="147" y="1"/>
                    <a:pt x="119" y="5"/>
                    <a:pt x="74" y="29"/>
                  </a:cubicBezTo>
                  <a:cubicBezTo>
                    <a:pt x="35" y="49"/>
                    <a:pt x="8" y="76"/>
                    <a:pt x="0" y="97"/>
                  </a:cubicBezTo>
                  <a:cubicBezTo>
                    <a:pt x="818" y="606"/>
                    <a:pt x="818" y="606"/>
                    <a:pt x="818" y="606"/>
                  </a:cubicBezTo>
                  <a:cubicBezTo>
                    <a:pt x="862" y="633"/>
                    <a:pt x="899" y="693"/>
                    <a:pt x="904" y="745"/>
                  </a:cubicBezTo>
                  <a:cubicBezTo>
                    <a:pt x="1067" y="649"/>
                    <a:pt x="1067" y="649"/>
                    <a:pt x="1067" y="649"/>
                  </a:cubicBezTo>
                  <a:lnTo>
                    <a:pt x="1067" y="637"/>
                  </a:ln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11" name="islíḋê">
              <a:extLst>
                <a:ext uri="{FF2B5EF4-FFF2-40B4-BE49-F238E27FC236}">
                  <a16:creationId xmlns:a16="http://schemas.microsoft.com/office/drawing/2014/main" id="{A8DC94B7-26BC-44F9-ABB6-DE4AFEA326E6}"/>
                </a:ext>
              </a:extLst>
            </p:cNvPr>
            <p:cNvSpPr/>
            <p:nvPr/>
          </p:nvSpPr>
          <p:spPr bwMode="auto">
            <a:xfrm>
              <a:off x="6845300" y="1825626"/>
              <a:ext cx="409575" cy="439738"/>
            </a:xfrm>
            <a:custGeom>
              <a:avLst/>
              <a:gdLst>
                <a:gd name="T0" fmla="*/ 0 w 311"/>
                <a:gd name="T1" fmla="*/ 69 h 334"/>
                <a:gd name="T2" fmla="*/ 178 w 311"/>
                <a:gd name="T3" fmla="*/ 334 h 334"/>
                <a:gd name="T4" fmla="*/ 296 w 311"/>
                <a:gd name="T5" fmla="*/ 266 h 334"/>
                <a:gd name="T6" fmla="*/ 271 w 311"/>
                <a:gd name="T7" fmla="*/ 101 h 334"/>
                <a:gd name="T8" fmla="*/ 117 w 311"/>
                <a:gd name="T9" fmla="*/ 0 h 334"/>
                <a:gd name="T10" fmla="*/ 0 w 311"/>
                <a:gd name="T11" fmla="*/ 69 h 334"/>
              </a:gdLst>
              <a:ahLst/>
              <a:cxnLst>
                <a:cxn ang="0">
                  <a:pos x="T0" y="T1"/>
                </a:cxn>
                <a:cxn ang="0">
                  <a:pos x="T2" y="T3"/>
                </a:cxn>
                <a:cxn ang="0">
                  <a:pos x="T4" y="T5"/>
                </a:cxn>
                <a:cxn ang="0">
                  <a:pos x="T6" y="T7"/>
                </a:cxn>
                <a:cxn ang="0">
                  <a:pos x="T8" y="T9"/>
                </a:cxn>
                <a:cxn ang="0">
                  <a:pos x="T10" y="T11"/>
                </a:cxn>
              </a:cxnLst>
              <a:rect l="0" t="0" r="r" b="b"/>
              <a:pathLst>
                <a:path w="311" h="334">
                  <a:moveTo>
                    <a:pt x="0" y="69"/>
                  </a:moveTo>
                  <a:cubicBezTo>
                    <a:pt x="178" y="334"/>
                    <a:pt x="178" y="334"/>
                    <a:pt x="178" y="334"/>
                  </a:cubicBezTo>
                  <a:cubicBezTo>
                    <a:pt x="296" y="266"/>
                    <a:pt x="296" y="266"/>
                    <a:pt x="296" y="266"/>
                  </a:cubicBezTo>
                  <a:cubicBezTo>
                    <a:pt x="311" y="215"/>
                    <a:pt x="304" y="155"/>
                    <a:pt x="271" y="101"/>
                  </a:cubicBezTo>
                  <a:cubicBezTo>
                    <a:pt x="235" y="41"/>
                    <a:pt x="175" y="4"/>
                    <a:pt x="117" y="0"/>
                  </a:cubicBezTo>
                  <a:lnTo>
                    <a:pt x="0" y="69"/>
                  </a:lnTo>
                  <a:close/>
                </a:path>
              </a:pathLst>
            </a:custGeom>
            <a:solidFill>
              <a:srgbClr val="5CC0C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12" name="î$lîḍè">
              <a:extLst>
                <a:ext uri="{FF2B5EF4-FFF2-40B4-BE49-F238E27FC236}">
                  <a16:creationId xmlns:a16="http://schemas.microsoft.com/office/drawing/2014/main" id="{CC616503-5BE2-4365-800C-E6DE73A3253C}"/>
                </a:ext>
              </a:extLst>
            </p:cNvPr>
            <p:cNvSpPr/>
            <p:nvPr/>
          </p:nvSpPr>
          <p:spPr bwMode="auto">
            <a:xfrm>
              <a:off x="6064250" y="1470026"/>
              <a:ext cx="476250" cy="209550"/>
            </a:xfrm>
            <a:custGeom>
              <a:avLst/>
              <a:gdLst>
                <a:gd name="T0" fmla="*/ 0 w 362"/>
                <a:gd name="T1" fmla="*/ 160 h 160"/>
                <a:gd name="T2" fmla="*/ 245 w 362"/>
                <a:gd name="T3" fmla="*/ 122 h 160"/>
                <a:gd name="T4" fmla="*/ 362 w 362"/>
                <a:gd name="T5" fmla="*/ 54 h 160"/>
                <a:gd name="T6" fmla="*/ 194 w 362"/>
                <a:gd name="T7" fmla="*/ 21 h 160"/>
                <a:gd name="T8" fmla="*/ 181 w 362"/>
                <a:gd name="T9" fmla="*/ 26 h 160"/>
                <a:gd name="T10" fmla="*/ 167 w 362"/>
                <a:gd name="T11" fmla="*/ 35 h 160"/>
                <a:gd name="T12" fmla="*/ 89 w 362"/>
                <a:gd name="T13" fmla="*/ 80 h 160"/>
                <a:gd name="T14" fmla="*/ 47 w 362"/>
                <a:gd name="T15" fmla="*/ 105 h 160"/>
                <a:gd name="T16" fmla="*/ 0 w 362"/>
                <a:gd name="T17" fmla="*/ 16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2" h="160">
                  <a:moveTo>
                    <a:pt x="0" y="160"/>
                  </a:moveTo>
                  <a:cubicBezTo>
                    <a:pt x="245" y="122"/>
                    <a:pt x="245" y="122"/>
                    <a:pt x="245" y="122"/>
                  </a:cubicBezTo>
                  <a:cubicBezTo>
                    <a:pt x="362" y="54"/>
                    <a:pt x="362" y="54"/>
                    <a:pt x="362" y="54"/>
                  </a:cubicBezTo>
                  <a:cubicBezTo>
                    <a:pt x="312" y="13"/>
                    <a:pt x="248" y="0"/>
                    <a:pt x="194" y="21"/>
                  </a:cubicBezTo>
                  <a:cubicBezTo>
                    <a:pt x="181" y="26"/>
                    <a:pt x="181" y="26"/>
                    <a:pt x="181" y="26"/>
                  </a:cubicBezTo>
                  <a:cubicBezTo>
                    <a:pt x="167" y="35"/>
                    <a:pt x="167" y="35"/>
                    <a:pt x="167" y="35"/>
                  </a:cubicBezTo>
                  <a:cubicBezTo>
                    <a:pt x="89" y="80"/>
                    <a:pt x="89" y="80"/>
                    <a:pt x="89" y="80"/>
                  </a:cubicBezTo>
                  <a:cubicBezTo>
                    <a:pt x="47" y="105"/>
                    <a:pt x="47" y="105"/>
                    <a:pt x="47" y="105"/>
                  </a:cubicBezTo>
                  <a:lnTo>
                    <a:pt x="0" y="160"/>
                  </a:lnTo>
                  <a:close/>
                </a:path>
              </a:pathLst>
            </a:custGeom>
            <a:solidFill>
              <a:srgbClr val="5CC0C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13" name="i$1îḍe">
              <a:extLst>
                <a:ext uri="{FF2B5EF4-FFF2-40B4-BE49-F238E27FC236}">
                  <a16:creationId xmlns:a16="http://schemas.microsoft.com/office/drawing/2014/main" id="{3CB836DD-E228-45D7-A2A2-96F58E65EDEA}"/>
                </a:ext>
              </a:extLst>
            </p:cNvPr>
            <p:cNvSpPr/>
            <p:nvPr/>
          </p:nvSpPr>
          <p:spPr bwMode="auto">
            <a:xfrm>
              <a:off x="7080250" y="2176463"/>
              <a:ext cx="260350" cy="369888"/>
            </a:xfrm>
            <a:custGeom>
              <a:avLst/>
              <a:gdLst>
                <a:gd name="T0" fmla="*/ 0 w 197"/>
                <a:gd name="T1" fmla="*/ 68 h 282"/>
                <a:gd name="T2" fmla="*/ 16 w 197"/>
                <a:gd name="T3" fmla="*/ 217 h 282"/>
                <a:gd name="T4" fmla="*/ 23 w 197"/>
                <a:gd name="T5" fmla="*/ 282 h 282"/>
                <a:gd name="T6" fmla="*/ 127 w 197"/>
                <a:gd name="T7" fmla="*/ 222 h 282"/>
                <a:gd name="T8" fmla="*/ 131 w 197"/>
                <a:gd name="T9" fmla="*/ 220 h 282"/>
                <a:gd name="T10" fmla="*/ 159 w 197"/>
                <a:gd name="T11" fmla="*/ 45 h 282"/>
                <a:gd name="T12" fmla="*/ 118 w 197"/>
                <a:gd name="T13" fmla="*/ 0 h 282"/>
                <a:gd name="T14" fmla="*/ 0 w 197"/>
                <a:gd name="T15" fmla="*/ 68 h 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7" h="282">
                  <a:moveTo>
                    <a:pt x="0" y="68"/>
                  </a:moveTo>
                  <a:cubicBezTo>
                    <a:pt x="16" y="217"/>
                    <a:pt x="16" y="217"/>
                    <a:pt x="16" y="217"/>
                  </a:cubicBezTo>
                  <a:cubicBezTo>
                    <a:pt x="23" y="282"/>
                    <a:pt x="23" y="282"/>
                    <a:pt x="23" y="282"/>
                  </a:cubicBezTo>
                  <a:cubicBezTo>
                    <a:pt x="127" y="222"/>
                    <a:pt x="127" y="222"/>
                    <a:pt x="127" y="222"/>
                  </a:cubicBezTo>
                  <a:cubicBezTo>
                    <a:pt x="128" y="222"/>
                    <a:pt x="129" y="221"/>
                    <a:pt x="131" y="220"/>
                  </a:cubicBezTo>
                  <a:cubicBezTo>
                    <a:pt x="185" y="187"/>
                    <a:pt x="197" y="109"/>
                    <a:pt x="159" y="45"/>
                  </a:cubicBezTo>
                  <a:cubicBezTo>
                    <a:pt x="147" y="26"/>
                    <a:pt x="134" y="11"/>
                    <a:pt x="118" y="0"/>
                  </a:cubicBezTo>
                  <a:lnTo>
                    <a:pt x="0" y="68"/>
                  </a:lnTo>
                  <a:close/>
                </a:path>
              </a:pathLst>
            </a:custGeom>
            <a:solidFill>
              <a:srgbClr val="5CC0C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14" name="íšlîḋe">
              <a:extLst>
                <a:ext uri="{FF2B5EF4-FFF2-40B4-BE49-F238E27FC236}">
                  <a16:creationId xmlns:a16="http://schemas.microsoft.com/office/drawing/2014/main" id="{4C6B6599-6BA5-4782-A713-903606285879}"/>
                </a:ext>
              </a:extLst>
            </p:cNvPr>
            <p:cNvSpPr/>
            <p:nvPr/>
          </p:nvSpPr>
          <p:spPr bwMode="auto">
            <a:xfrm>
              <a:off x="6386513" y="1427163"/>
              <a:ext cx="622300" cy="488950"/>
            </a:xfrm>
            <a:custGeom>
              <a:avLst/>
              <a:gdLst>
                <a:gd name="T0" fmla="*/ 0 w 473"/>
                <a:gd name="T1" fmla="*/ 154 h 372"/>
                <a:gd name="T2" fmla="*/ 349 w 473"/>
                <a:gd name="T3" fmla="*/ 372 h 372"/>
                <a:gd name="T4" fmla="*/ 466 w 473"/>
                <a:gd name="T5" fmla="*/ 303 h 372"/>
                <a:gd name="T6" fmla="*/ 431 w 473"/>
                <a:gd name="T7" fmla="*/ 146 h 372"/>
                <a:gd name="T8" fmla="*/ 155 w 473"/>
                <a:gd name="T9" fmla="*/ 53 h 372"/>
                <a:gd name="T10" fmla="*/ 49 w 473"/>
                <a:gd name="T11" fmla="*/ 116 h 372"/>
                <a:gd name="T12" fmla="*/ 0 w 473"/>
                <a:gd name="T13" fmla="*/ 154 h 372"/>
              </a:gdLst>
              <a:ahLst/>
              <a:cxnLst>
                <a:cxn ang="0">
                  <a:pos x="T0" y="T1"/>
                </a:cxn>
                <a:cxn ang="0">
                  <a:pos x="T2" y="T3"/>
                </a:cxn>
                <a:cxn ang="0">
                  <a:pos x="T4" y="T5"/>
                </a:cxn>
                <a:cxn ang="0">
                  <a:pos x="T6" y="T7"/>
                </a:cxn>
                <a:cxn ang="0">
                  <a:pos x="T8" y="T9"/>
                </a:cxn>
                <a:cxn ang="0">
                  <a:pos x="T10" y="T11"/>
                </a:cxn>
                <a:cxn ang="0">
                  <a:pos x="T12" y="T13"/>
                </a:cxn>
              </a:cxnLst>
              <a:rect l="0" t="0" r="r" b="b"/>
              <a:pathLst>
                <a:path w="473" h="372">
                  <a:moveTo>
                    <a:pt x="0" y="154"/>
                  </a:moveTo>
                  <a:cubicBezTo>
                    <a:pt x="349" y="372"/>
                    <a:pt x="349" y="372"/>
                    <a:pt x="349" y="372"/>
                  </a:cubicBezTo>
                  <a:cubicBezTo>
                    <a:pt x="466" y="303"/>
                    <a:pt x="466" y="303"/>
                    <a:pt x="466" y="303"/>
                  </a:cubicBezTo>
                  <a:cubicBezTo>
                    <a:pt x="473" y="253"/>
                    <a:pt x="462" y="197"/>
                    <a:pt x="431" y="146"/>
                  </a:cubicBezTo>
                  <a:cubicBezTo>
                    <a:pt x="367" y="41"/>
                    <a:pt x="244" y="0"/>
                    <a:pt x="155" y="53"/>
                  </a:cubicBezTo>
                  <a:cubicBezTo>
                    <a:pt x="141" y="62"/>
                    <a:pt x="65" y="104"/>
                    <a:pt x="49" y="116"/>
                  </a:cubicBezTo>
                  <a:lnTo>
                    <a:pt x="0" y="154"/>
                  </a:lnTo>
                  <a:close/>
                </a:path>
              </a:pathLst>
            </a:custGeom>
            <a:solidFill>
              <a:srgbClr val="5CC0C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15" name="ïSľîdè">
              <a:extLst>
                <a:ext uri="{FF2B5EF4-FFF2-40B4-BE49-F238E27FC236}">
                  <a16:creationId xmlns:a16="http://schemas.microsoft.com/office/drawing/2014/main" id="{AEC1F8A4-C007-44E4-A1B1-E93A84A83315}"/>
                </a:ext>
              </a:extLst>
            </p:cNvPr>
            <p:cNvSpPr/>
            <p:nvPr/>
          </p:nvSpPr>
          <p:spPr bwMode="auto">
            <a:xfrm>
              <a:off x="5907088" y="1565276"/>
              <a:ext cx="274638" cy="122238"/>
            </a:xfrm>
            <a:custGeom>
              <a:avLst/>
              <a:gdLst>
                <a:gd name="T0" fmla="*/ 0 w 208"/>
                <a:gd name="T1" fmla="*/ 93 h 93"/>
                <a:gd name="T2" fmla="*/ 1 w 208"/>
                <a:gd name="T3" fmla="*/ 93 h 93"/>
                <a:gd name="T4" fmla="*/ 119 w 208"/>
                <a:gd name="T5" fmla="*/ 87 h 93"/>
                <a:gd name="T6" fmla="*/ 200 w 208"/>
                <a:gd name="T7" fmla="*/ 15 h 93"/>
                <a:gd name="T8" fmla="*/ 208 w 208"/>
                <a:gd name="T9" fmla="*/ 7 h 93"/>
                <a:gd name="T10" fmla="*/ 127 w 208"/>
                <a:gd name="T11" fmla="*/ 18 h 93"/>
                <a:gd name="T12" fmla="*/ 122 w 208"/>
                <a:gd name="T13" fmla="*/ 21 h 93"/>
                <a:gd name="T14" fmla="*/ 122 w 208"/>
                <a:gd name="T15" fmla="*/ 21 h 93"/>
                <a:gd name="T16" fmla="*/ 22 w 208"/>
                <a:gd name="T17" fmla="*/ 80 h 93"/>
                <a:gd name="T18" fmla="*/ 21 w 208"/>
                <a:gd name="T19" fmla="*/ 81 h 93"/>
                <a:gd name="T20" fmla="*/ 10 w 208"/>
                <a:gd name="T21" fmla="*/ 87 h 93"/>
                <a:gd name="T22" fmla="*/ 4 w 208"/>
                <a:gd name="T23" fmla="*/ 91 h 93"/>
                <a:gd name="T24" fmla="*/ 0 w 208"/>
                <a:gd name="T25" fmla="*/ 9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8" h="93">
                  <a:moveTo>
                    <a:pt x="0" y="93"/>
                  </a:moveTo>
                  <a:cubicBezTo>
                    <a:pt x="1" y="93"/>
                    <a:pt x="1" y="93"/>
                    <a:pt x="1" y="93"/>
                  </a:cubicBezTo>
                  <a:cubicBezTo>
                    <a:pt x="119" y="87"/>
                    <a:pt x="119" y="87"/>
                    <a:pt x="119" y="87"/>
                  </a:cubicBezTo>
                  <a:cubicBezTo>
                    <a:pt x="200" y="15"/>
                    <a:pt x="200" y="15"/>
                    <a:pt x="200" y="15"/>
                  </a:cubicBezTo>
                  <a:cubicBezTo>
                    <a:pt x="208" y="7"/>
                    <a:pt x="208" y="7"/>
                    <a:pt x="208" y="7"/>
                  </a:cubicBezTo>
                  <a:cubicBezTo>
                    <a:pt x="180" y="0"/>
                    <a:pt x="151" y="3"/>
                    <a:pt x="127" y="18"/>
                  </a:cubicBezTo>
                  <a:cubicBezTo>
                    <a:pt x="125" y="19"/>
                    <a:pt x="124" y="20"/>
                    <a:pt x="122" y="21"/>
                  </a:cubicBezTo>
                  <a:cubicBezTo>
                    <a:pt x="122" y="21"/>
                    <a:pt x="122" y="21"/>
                    <a:pt x="122" y="21"/>
                  </a:cubicBezTo>
                  <a:cubicBezTo>
                    <a:pt x="22" y="80"/>
                    <a:pt x="22" y="80"/>
                    <a:pt x="22" y="80"/>
                  </a:cubicBezTo>
                  <a:cubicBezTo>
                    <a:pt x="21" y="81"/>
                    <a:pt x="21" y="81"/>
                    <a:pt x="21" y="81"/>
                  </a:cubicBezTo>
                  <a:cubicBezTo>
                    <a:pt x="17" y="82"/>
                    <a:pt x="13" y="84"/>
                    <a:pt x="10" y="87"/>
                  </a:cubicBezTo>
                  <a:cubicBezTo>
                    <a:pt x="8" y="88"/>
                    <a:pt x="6" y="89"/>
                    <a:pt x="4" y="91"/>
                  </a:cubicBezTo>
                  <a:lnTo>
                    <a:pt x="0" y="93"/>
                  </a:lnTo>
                  <a:close/>
                </a:path>
              </a:pathLst>
            </a:custGeom>
            <a:solidFill>
              <a:srgbClr val="5CC0C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16" name="íS1îḓê">
              <a:extLst>
                <a:ext uri="{FF2B5EF4-FFF2-40B4-BE49-F238E27FC236}">
                  <a16:creationId xmlns:a16="http://schemas.microsoft.com/office/drawing/2014/main" id="{A9706612-A30B-4254-971E-F22A0B179656}"/>
                </a:ext>
              </a:extLst>
            </p:cNvPr>
            <p:cNvSpPr/>
            <p:nvPr/>
          </p:nvSpPr>
          <p:spPr bwMode="auto">
            <a:xfrm>
              <a:off x="5834063" y="1539876"/>
              <a:ext cx="1352550" cy="1041400"/>
            </a:xfrm>
            <a:custGeom>
              <a:avLst/>
              <a:gdLst>
                <a:gd name="T0" fmla="*/ 37 w 1026"/>
                <a:gd name="T1" fmla="*/ 282 h 792"/>
                <a:gd name="T2" fmla="*/ 89 w 1026"/>
                <a:gd name="T3" fmla="*/ 334 h 792"/>
                <a:gd name="T4" fmla="*/ 841 w 1026"/>
                <a:gd name="T5" fmla="*/ 768 h 792"/>
                <a:gd name="T6" fmla="*/ 847 w 1026"/>
                <a:gd name="T7" fmla="*/ 771 h 792"/>
                <a:gd name="T8" fmla="*/ 937 w 1026"/>
                <a:gd name="T9" fmla="*/ 783 h 792"/>
                <a:gd name="T10" fmla="*/ 959 w 1026"/>
                <a:gd name="T11" fmla="*/ 773 h 792"/>
                <a:gd name="T12" fmla="*/ 987 w 1026"/>
                <a:gd name="T13" fmla="*/ 597 h 792"/>
                <a:gd name="T14" fmla="*/ 946 w 1026"/>
                <a:gd name="T15" fmla="*/ 552 h 792"/>
                <a:gd name="T16" fmla="*/ 946 w 1026"/>
                <a:gd name="T17" fmla="*/ 552 h 792"/>
                <a:gd name="T18" fmla="*/ 922 w 1026"/>
                <a:gd name="T19" fmla="*/ 388 h 792"/>
                <a:gd name="T20" fmla="*/ 767 w 1026"/>
                <a:gd name="T21" fmla="*/ 287 h 792"/>
                <a:gd name="T22" fmla="*/ 733 w 1026"/>
                <a:gd name="T23" fmla="*/ 129 h 792"/>
                <a:gd name="T24" fmla="*/ 509 w 1026"/>
                <a:gd name="T25" fmla="*/ 17 h 792"/>
                <a:gd name="T26" fmla="*/ 457 w 1026"/>
                <a:gd name="T27" fmla="*/ 37 h 792"/>
                <a:gd name="T28" fmla="*/ 418 w 1026"/>
                <a:gd name="T29" fmla="*/ 69 h 792"/>
                <a:gd name="T30" fmla="*/ 366 w 1026"/>
                <a:gd name="T31" fmla="*/ 39 h 792"/>
                <a:gd name="T32" fmla="*/ 298 w 1026"/>
                <a:gd name="T33" fmla="*/ 26 h 792"/>
                <a:gd name="T34" fmla="*/ 271 w 1026"/>
                <a:gd name="T35" fmla="*/ 30 h 792"/>
                <a:gd name="T36" fmla="*/ 255 w 1026"/>
                <a:gd name="T37" fmla="*/ 35 h 792"/>
                <a:gd name="T38" fmla="*/ 247 w 1026"/>
                <a:gd name="T39" fmla="*/ 38 h 792"/>
                <a:gd name="T40" fmla="*/ 240 w 1026"/>
                <a:gd name="T41" fmla="*/ 41 h 792"/>
                <a:gd name="T42" fmla="*/ 229 w 1026"/>
                <a:gd name="T43" fmla="*/ 47 h 792"/>
                <a:gd name="T44" fmla="*/ 223 w 1026"/>
                <a:gd name="T45" fmla="*/ 51 h 792"/>
                <a:gd name="T46" fmla="*/ 221 w 1026"/>
                <a:gd name="T47" fmla="*/ 52 h 792"/>
                <a:gd name="T48" fmla="*/ 221 w 1026"/>
                <a:gd name="T49" fmla="*/ 52 h 792"/>
                <a:gd name="T50" fmla="*/ 205 w 1026"/>
                <a:gd name="T51" fmla="*/ 65 h 792"/>
                <a:gd name="T52" fmla="*/ 174 w 1026"/>
                <a:gd name="T53" fmla="*/ 107 h 792"/>
                <a:gd name="T54" fmla="*/ 77 w 1026"/>
                <a:gd name="T55" fmla="*/ 100 h 792"/>
                <a:gd name="T56" fmla="*/ 76 w 1026"/>
                <a:gd name="T57" fmla="*/ 101 h 792"/>
                <a:gd name="T58" fmla="*/ 65 w 1026"/>
                <a:gd name="T59" fmla="*/ 107 h 792"/>
                <a:gd name="T60" fmla="*/ 59 w 1026"/>
                <a:gd name="T61" fmla="*/ 111 h 792"/>
                <a:gd name="T62" fmla="*/ 56 w 1026"/>
                <a:gd name="T63" fmla="*/ 112 h 792"/>
                <a:gd name="T64" fmla="*/ 56 w 1026"/>
                <a:gd name="T65" fmla="*/ 113 h 792"/>
                <a:gd name="T66" fmla="*/ 37 w 1026"/>
                <a:gd name="T67" fmla="*/ 282 h 7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26" h="792">
                  <a:moveTo>
                    <a:pt x="37" y="282"/>
                  </a:moveTo>
                  <a:cubicBezTo>
                    <a:pt x="50" y="305"/>
                    <a:pt x="68" y="322"/>
                    <a:pt x="89" y="334"/>
                  </a:cubicBezTo>
                  <a:cubicBezTo>
                    <a:pt x="841" y="768"/>
                    <a:pt x="841" y="768"/>
                    <a:pt x="841" y="768"/>
                  </a:cubicBezTo>
                  <a:cubicBezTo>
                    <a:pt x="847" y="771"/>
                    <a:pt x="847" y="771"/>
                    <a:pt x="847" y="771"/>
                  </a:cubicBezTo>
                  <a:cubicBezTo>
                    <a:pt x="876" y="787"/>
                    <a:pt x="908" y="792"/>
                    <a:pt x="937" y="783"/>
                  </a:cubicBezTo>
                  <a:cubicBezTo>
                    <a:pt x="945" y="780"/>
                    <a:pt x="952" y="777"/>
                    <a:pt x="959" y="773"/>
                  </a:cubicBezTo>
                  <a:cubicBezTo>
                    <a:pt x="1014" y="740"/>
                    <a:pt x="1026" y="661"/>
                    <a:pt x="987" y="597"/>
                  </a:cubicBezTo>
                  <a:cubicBezTo>
                    <a:pt x="976" y="579"/>
                    <a:pt x="962" y="564"/>
                    <a:pt x="946" y="552"/>
                  </a:cubicBezTo>
                  <a:cubicBezTo>
                    <a:pt x="946" y="552"/>
                    <a:pt x="946" y="552"/>
                    <a:pt x="946" y="552"/>
                  </a:cubicBezTo>
                  <a:cubicBezTo>
                    <a:pt x="962" y="502"/>
                    <a:pt x="954" y="441"/>
                    <a:pt x="922" y="388"/>
                  </a:cubicBezTo>
                  <a:cubicBezTo>
                    <a:pt x="885" y="327"/>
                    <a:pt x="826" y="291"/>
                    <a:pt x="767" y="287"/>
                  </a:cubicBezTo>
                  <a:cubicBezTo>
                    <a:pt x="774" y="236"/>
                    <a:pt x="763" y="180"/>
                    <a:pt x="733" y="129"/>
                  </a:cubicBezTo>
                  <a:cubicBezTo>
                    <a:pt x="681" y="44"/>
                    <a:pt x="589" y="0"/>
                    <a:pt x="509" y="17"/>
                  </a:cubicBezTo>
                  <a:cubicBezTo>
                    <a:pt x="491" y="20"/>
                    <a:pt x="473" y="27"/>
                    <a:pt x="457" y="37"/>
                  </a:cubicBezTo>
                  <a:cubicBezTo>
                    <a:pt x="442" y="46"/>
                    <a:pt x="429" y="57"/>
                    <a:pt x="418" y="69"/>
                  </a:cubicBezTo>
                  <a:cubicBezTo>
                    <a:pt x="402" y="56"/>
                    <a:pt x="384" y="46"/>
                    <a:pt x="366" y="39"/>
                  </a:cubicBezTo>
                  <a:cubicBezTo>
                    <a:pt x="344" y="30"/>
                    <a:pt x="321" y="26"/>
                    <a:pt x="298" y="26"/>
                  </a:cubicBezTo>
                  <a:cubicBezTo>
                    <a:pt x="289" y="27"/>
                    <a:pt x="280" y="28"/>
                    <a:pt x="271" y="30"/>
                  </a:cubicBezTo>
                  <a:cubicBezTo>
                    <a:pt x="266" y="31"/>
                    <a:pt x="260" y="33"/>
                    <a:pt x="255" y="35"/>
                  </a:cubicBezTo>
                  <a:cubicBezTo>
                    <a:pt x="252" y="35"/>
                    <a:pt x="250" y="37"/>
                    <a:pt x="247" y="38"/>
                  </a:cubicBezTo>
                  <a:cubicBezTo>
                    <a:pt x="245" y="39"/>
                    <a:pt x="243" y="39"/>
                    <a:pt x="240" y="41"/>
                  </a:cubicBezTo>
                  <a:cubicBezTo>
                    <a:pt x="236" y="43"/>
                    <a:pt x="233" y="45"/>
                    <a:pt x="229" y="47"/>
                  </a:cubicBezTo>
                  <a:cubicBezTo>
                    <a:pt x="227" y="48"/>
                    <a:pt x="225" y="50"/>
                    <a:pt x="223" y="51"/>
                  </a:cubicBezTo>
                  <a:cubicBezTo>
                    <a:pt x="221" y="52"/>
                    <a:pt x="221" y="52"/>
                    <a:pt x="221" y="52"/>
                  </a:cubicBezTo>
                  <a:cubicBezTo>
                    <a:pt x="221" y="52"/>
                    <a:pt x="221" y="52"/>
                    <a:pt x="221" y="52"/>
                  </a:cubicBezTo>
                  <a:cubicBezTo>
                    <a:pt x="215" y="56"/>
                    <a:pt x="210" y="61"/>
                    <a:pt x="205" y="65"/>
                  </a:cubicBezTo>
                  <a:cubicBezTo>
                    <a:pt x="192" y="77"/>
                    <a:pt x="182" y="92"/>
                    <a:pt x="174" y="107"/>
                  </a:cubicBezTo>
                  <a:cubicBezTo>
                    <a:pt x="143" y="91"/>
                    <a:pt x="108" y="87"/>
                    <a:pt x="77" y="100"/>
                  </a:cubicBezTo>
                  <a:cubicBezTo>
                    <a:pt x="76" y="101"/>
                    <a:pt x="76" y="101"/>
                    <a:pt x="76" y="101"/>
                  </a:cubicBezTo>
                  <a:cubicBezTo>
                    <a:pt x="72" y="102"/>
                    <a:pt x="68" y="104"/>
                    <a:pt x="65" y="107"/>
                  </a:cubicBezTo>
                  <a:cubicBezTo>
                    <a:pt x="63" y="108"/>
                    <a:pt x="61" y="109"/>
                    <a:pt x="59" y="111"/>
                  </a:cubicBezTo>
                  <a:cubicBezTo>
                    <a:pt x="58" y="111"/>
                    <a:pt x="57" y="112"/>
                    <a:pt x="56" y="112"/>
                  </a:cubicBezTo>
                  <a:cubicBezTo>
                    <a:pt x="56" y="112"/>
                    <a:pt x="56" y="113"/>
                    <a:pt x="56" y="113"/>
                  </a:cubicBezTo>
                  <a:cubicBezTo>
                    <a:pt x="9" y="149"/>
                    <a:pt x="0" y="222"/>
                    <a:pt x="37" y="282"/>
                  </a:cubicBezTo>
                  <a:close/>
                </a:path>
              </a:pathLst>
            </a:custGeom>
            <a:solidFill>
              <a:srgbClr val="AFDCE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17" name="ïṡliḑé">
              <a:extLst>
                <a:ext uri="{FF2B5EF4-FFF2-40B4-BE49-F238E27FC236}">
                  <a16:creationId xmlns:a16="http://schemas.microsoft.com/office/drawing/2014/main" id="{3C9AF0B3-5ADE-47F5-99F8-198C22476388}"/>
                </a:ext>
              </a:extLst>
            </p:cNvPr>
            <p:cNvSpPr/>
            <p:nvPr/>
          </p:nvSpPr>
          <p:spPr bwMode="auto">
            <a:xfrm>
              <a:off x="7723188" y="2968626"/>
              <a:ext cx="293688" cy="312738"/>
            </a:xfrm>
            <a:custGeom>
              <a:avLst/>
              <a:gdLst>
                <a:gd name="T0" fmla="*/ 0 w 223"/>
                <a:gd name="T1" fmla="*/ 49 h 238"/>
                <a:gd name="T2" fmla="*/ 128 w 223"/>
                <a:gd name="T3" fmla="*/ 238 h 238"/>
                <a:gd name="T4" fmla="*/ 212 w 223"/>
                <a:gd name="T5" fmla="*/ 189 h 238"/>
                <a:gd name="T6" fmla="*/ 194 w 223"/>
                <a:gd name="T7" fmla="*/ 72 h 238"/>
                <a:gd name="T8" fmla="*/ 84 w 223"/>
                <a:gd name="T9" fmla="*/ 0 h 238"/>
                <a:gd name="T10" fmla="*/ 0 w 223"/>
                <a:gd name="T11" fmla="*/ 49 h 238"/>
              </a:gdLst>
              <a:ahLst/>
              <a:cxnLst>
                <a:cxn ang="0">
                  <a:pos x="T0" y="T1"/>
                </a:cxn>
                <a:cxn ang="0">
                  <a:pos x="T2" y="T3"/>
                </a:cxn>
                <a:cxn ang="0">
                  <a:pos x="T4" y="T5"/>
                </a:cxn>
                <a:cxn ang="0">
                  <a:pos x="T6" y="T7"/>
                </a:cxn>
                <a:cxn ang="0">
                  <a:pos x="T8" y="T9"/>
                </a:cxn>
                <a:cxn ang="0">
                  <a:pos x="T10" y="T11"/>
                </a:cxn>
              </a:cxnLst>
              <a:rect l="0" t="0" r="r" b="b"/>
              <a:pathLst>
                <a:path w="223" h="238">
                  <a:moveTo>
                    <a:pt x="0" y="49"/>
                  </a:moveTo>
                  <a:cubicBezTo>
                    <a:pt x="128" y="238"/>
                    <a:pt x="128" y="238"/>
                    <a:pt x="128" y="238"/>
                  </a:cubicBezTo>
                  <a:cubicBezTo>
                    <a:pt x="212" y="189"/>
                    <a:pt x="212" y="189"/>
                    <a:pt x="212" y="189"/>
                  </a:cubicBezTo>
                  <a:cubicBezTo>
                    <a:pt x="223" y="153"/>
                    <a:pt x="217" y="110"/>
                    <a:pt x="194" y="72"/>
                  </a:cubicBezTo>
                  <a:cubicBezTo>
                    <a:pt x="168" y="29"/>
                    <a:pt x="126" y="3"/>
                    <a:pt x="84" y="0"/>
                  </a:cubicBezTo>
                  <a:lnTo>
                    <a:pt x="0" y="49"/>
                  </a:lnTo>
                  <a:close/>
                </a:path>
              </a:pathLst>
            </a:custGeom>
            <a:solidFill>
              <a:srgbClr val="5CC0C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18" name="ísļiďé">
              <a:extLst>
                <a:ext uri="{FF2B5EF4-FFF2-40B4-BE49-F238E27FC236}">
                  <a16:creationId xmlns:a16="http://schemas.microsoft.com/office/drawing/2014/main" id="{2E8B03DA-E165-410D-9B32-B3859FD53281}"/>
                </a:ext>
              </a:extLst>
            </p:cNvPr>
            <p:cNvSpPr/>
            <p:nvPr/>
          </p:nvSpPr>
          <p:spPr bwMode="auto">
            <a:xfrm>
              <a:off x="7165975" y="2713038"/>
              <a:ext cx="339725" cy="150813"/>
            </a:xfrm>
            <a:custGeom>
              <a:avLst/>
              <a:gdLst>
                <a:gd name="T0" fmla="*/ 0 w 258"/>
                <a:gd name="T1" fmla="*/ 114 h 114"/>
                <a:gd name="T2" fmla="*/ 174 w 258"/>
                <a:gd name="T3" fmla="*/ 88 h 114"/>
                <a:gd name="T4" fmla="*/ 258 w 258"/>
                <a:gd name="T5" fmla="*/ 39 h 114"/>
                <a:gd name="T6" fmla="*/ 139 w 258"/>
                <a:gd name="T7" fmla="*/ 15 h 114"/>
                <a:gd name="T8" fmla="*/ 129 w 258"/>
                <a:gd name="T9" fmla="*/ 19 h 114"/>
                <a:gd name="T10" fmla="*/ 119 w 258"/>
                <a:gd name="T11" fmla="*/ 25 h 114"/>
                <a:gd name="T12" fmla="*/ 63 w 258"/>
                <a:gd name="T13" fmla="*/ 58 h 114"/>
                <a:gd name="T14" fmla="*/ 34 w 258"/>
                <a:gd name="T15" fmla="*/ 75 h 114"/>
                <a:gd name="T16" fmla="*/ 0 w 258"/>
                <a:gd name="T17" fmla="*/ 11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8" h="114">
                  <a:moveTo>
                    <a:pt x="0" y="114"/>
                  </a:moveTo>
                  <a:cubicBezTo>
                    <a:pt x="174" y="88"/>
                    <a:pt x="174" y="88"/>
                    <a:pt x="174" y="88"/>
                  </a:cubicBezTo>
                  <a:cubicBezTo>
                    <a:pt x="258" y="39"/>
                    <a:pt x="258" y="39"/>
                    <a:pt x="258" y="39"/>
                  </a:cubicBezTo>
                  <a:cubicBezTo>
                    <a:pt x="222" y="10"/>
                    <a:pt x="177" y="0"/>
                    <a:pt x="139" y="15"/>
                  </a:cubicBezTo>
                  <a:cubicBezTo>
                    <a:pt x="129" y="19"/>
                    <a:pt x="129" y="19"/>
                    <a:pt x="129" y="19"/>
                  </a:cubicBezTo>
                  <a:cubicBezTo>
                    <a:pt x="119" y="25"/>
                    <a:pt x="119" y="25"/>
                    <a:pt x="119" y="25"/>
                  </a:cubicBezTo>
                  <a:cubicBezTo>
                    <a:pt x="63" y="58"/>
                    <a:pt x="63" y="58"/>
                    <a:pt x="63" y="58"/>
                  </a:cubicBezTo>
                  <a:cubicBezTo>
                    <a:pt x="34" y="75"/>
                    <a:pt x="34" y="75"/>
                    <a:pt x="34" y="75"/>
                  </a:cubicBezTo>
                  <a:lnTo>
                    <a:pt x="0" y="114"/>
                  </a:lnTo>
                  <a:close/>
                </a:path>
              </a:pathLst>
            </a:custGeom>
            <a:solidFill>
              <a:srgbClr val="5CC0C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19" name="ïṧlïďè">
              <a:extLst>
                <a:ext uri="{FF2B5EF4-FFF2-40B4-BE49-F238E27FC236}">
                  <a16:creationId xmlns:a16="http://schemas.microsoft.com/office/drawing/2014/main" id="{A0510945-4E7F-4562-B737-CF5CE9F9805D}"/>
                </a:ext>
              </a:extLst>
            </p:cNvPr>
            <p:cNvSpPr/>
            <p:nvPr/>
          </p:nvSpPr>
          <p:spPr bwMode="auto">
            <a:xfrm>
              <a:off x="7891463" y="3217863"/>
              <a:ext cx="185738" cy="265113"/>
            </a:xfrm>
            <a:custGeom>
              <a:avLst/>
              <a:gdLst>
                <a:gd name="T0" fmla="*/ 0 w 141"/>
                <a:gd name="T1" fmla="*/ 49 h 202"/>
                <a:gd name="T2" fmla="*/ 11 w 141"/>
                <a:gd name="T3" fmla="*/ 155 h 202"/>
                <a:gd name="T4" fmla="*/ 16 w 141"/>
                <a:gd name="T5" fmla="*/ 202 h 202"/>
                <a:gd name="T6" fmla="*/ 90 w 141"/>
                <a:gd name="T7" fmla="*/ 159 h 202"/>
                <a:gd name="T8" fmla="*/ 93 w 141"/>
                <a:gd name="T9" fmla="*/ 157 h 202"/>
                <a:gd name="T10" fmla="*/ 113 w 141"/>
                <a:gd name="T11" fmla="*/ 32 h 202"/>
                <a:gd name="T12" fmla="*/ 84 w 141"/>
                <a:gd name="T13" fmla="*/ 0 h 202"/>
                <a:gd name="T14" fmla="*/ 0 w 141"/>
                <a:gd name="T15" fmla="*/ 49 h 20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1" h="202">
                  <a:moveTo>
                    <a:pt x="0" y="49"/>
                  </a:moveTo>
                  <a:cubicBezTo>
                    <a:pt x="11" y="155"/>
                    <a:pt x="11" y="155"/>
                    <a:pt x="11" y="155"/>
                  </a:cubicBezTo>
                  <a:cubicBezTo>
                    <a:pt x="16" y="202"/>
                    <a:pt x="16" y="202"/>
                    <a:pt x="16" y="202"/>
                  </a:cubicBezTo>
                  <a:cubicBezTo>
                    <a:pt x="90" y="159"/>
                    <a:pt x="90" y="159"/>
                    <a:pt x="90" y="159"/>
                  </a:cubicBezTo>
                  <a:cubicBezTo>
                    <a:pt x="91" y="159"/>
                    <a:pt x="92" y="158"/>
                    <a:pt x="93" y="157"/>
                  </a:cubicBezTo>
                  <a:cubicBezTo>
                    <a:pt x="132" y="134"/>
                    <a:pt x="141" y="78"/>
                    <a:pt x="113" y="32"/>
                  </a:cubicBezTo>
                  <a:cubicBezTo>
                    <a:pt x="105" y="19"/>
                    <a:pt x="95" y="8"/>
                    <a:pt x="84" y="0"/>
                  </a:cubicBezTo>
                  <a:lnTo>
                    <a:pt x="0" y="49"/>
                  </a:lnTo>
                  <a:close/>
                </a:path>
              </a:pathLst>
            </a:custGeom>
            <a:solidFill>
              <a:srgbClr val="5CC0C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20" name="iṡḻïḑè">
              <a:extLst>
                <a:ext uri="{FF2B5EF4-FFF2-40B4-BE49-F238E27FC236}">
                  <a16:creationId xmlns:a16="http://schemas.microsoft.com/office/drawing/2014/main" id="{6E7F2E3E-0269-469A-9194-7787F3FEBE96}"/>
                </a:ext>
              </a:extLst>
            </p:cNvPr>
            <p:cNvSpPr/>
            <p:nvPr/>
          </p:nvSpPr>
          <p:spPr bwMode="auto">
            <a:xfrm>
              <a:off x="7394575" y="2682876"/>
              <a:ext cx="446088" cy="350838"/>
            </a:xfrm>
            <a:custGeom>
              <a:avLst/>
              <a:gdLst>
                <a:gd name="T0" fmla="*/ 0 w 338"/>
                <a:gd name="T1" fmla="*/ 111 h 266"/>
                <a:gd name="T2" fmla="*/ 249 w 338"/>
                <a:gd name="T3" fmla="*/ 266 h 266"/>
                <a:gd name="T4" fmla="*/ 333 w 338"/>
                <a:gd name="T5" fmla="*/ 217 h 266"/>
                <a:gd name="T6" fmla="*/ 308 w 338"/>
                <a:gd name="T7" fmla="*/ 104 h 266"/>
                <a:gd name="T8" fmla="*/ 112 w 338"/>
                <a:gd name="T9" fmla="*/ 38 h 266"/>
                <a:gd name="T10" fmla="*/ 36 w 338"/>
                <a:gd name="T11" fmla="*/ 83 h 266"/>
                <a:gd name="T12" fmla="*/ 0 w 338"/>
                <a:gd name="T13" fmla="*/ 111 h 266"/>
              </a:gdLst>
              <a:ahLst/>
              <a:cxnLst>
                <a:cxn ang="0">
                  <a:pos x="T0" y="T1"/>
                </a:cxn>
                <a:cxn ang="0">
                  <a:pos x="T2" y="T3"/>
                </a:cxn>
                <a:cxn ang="0">
                  <a:pos x="T4" y="T5"/>
                </a:cxn>
                <a:cxn ang="0">
                  <a:pos x="T6" y="T7"/>
                </a:cxn>
                <a:cxn ang="0">
                  <a:pos x="T8" y="T9"/>
                </a:cxn>
                <a:cxn ang="0">
                  <a:pos x="T10" y="T11"/>
                </a:cxn>
                <a:cxn ang="0">
                  <a:pos x="T12" y="T13"/>
                </a:cxn>
              </a:cxnLst>
              <a:rect l="0" t="0" r="r" b="b"/>
              <a:pathLst>
                <a:path w="338" h="266">
                  <a:moveTo>
                    <a:pt x="0" y="111"/>
                  </a:moveTo>
                  <a:cubicBezTo>
                    <a:pt x="249" y="266"/>
                    <a:pt x="249" y="266"/>
                    <a:pt x="249" y="266"/>
                  </a:cubicBezTo>
                  <a:cubicBezTo>
                    <a:pt x="333" y="217"/>
                    <a:pt x="333" y="217"/>
                    <a:pt x="333" y="217"/>
                  </a:cubicBezTo>
                  <a:cubicBezTo>
                    <a:pt x="338" y="181"/>
                    <a:pt x="330" y="141"/>
                    <a:pt x="308" y="104"/>
                  </a:cubicBezTo>
                  <a:cubicBezTo>
                    <a:pt x="263" y="30"/>
                    <a:pt x="175" y="0"/>
                    <a:pt x="112" y="38"/>
                  </a:cubicBezTo>
                  <a:cubicBezTo>
                    <a:pt x="101" y="45"/>
                    <a:pt x="47" y="74"/>
                    <a:pt x="36" y="83"/>
                  </a:cubicBezTo>
                  <a:lnTo>
                    <a:pt x="0" y="111"/>
                  </a:lnTo>
                  <a:close/>
                </a:path>
              </a:pathLst>
            </a:custGeom>
            <a:solidFill>
              <a:srgbClr val="5CC0C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21" name="í$1ïḋè">
              <a:extLst>
                <a:ext uri="{FF2B5EF4-FFF2-40B4-BE49-F238E27FC236}">
                  <a16:creationId xmlns:a16="http://schemas.microsoft.com/office/drawing/2014/main" id="{76A5FBC4-51FF-4E17-8359-6BA3FB7897DD}"/>
                </a:ext>
              </a:extLst>
            </p:cNvPr>
            <p:cNvSpPr/>
            <p:nvPr/>
          </p:nvSpPr>
          <p:spPr bwMode="auto">
            <a:xfrm>
              <a:off x="7054850" y="2782888"/>
              <a:ext cx="193675" cy="87313"/>
            </a:xfrm>
            <a:custGeom>
              <a:avLst/>
              <a:gdLst>
                <a:gd name="T0" fmla="*/ 0 w 148"/>
                <a:gd name="T1" fmla="*/ 66 h 66"/>
                <a:gd name="T2" fmla="*/ 0 w 148"/>
                <a:gd name="T3" fmla="*/ 66 h 66"/>
                <a:gd name="T4" fmla="*/ 85 w 148"/>
                <a:gd name="T5" fmla="*/ 61 h 66"/>
                <a:gd name="T6" fmla="*/ 143 w 148"/>
                <a:gd name="T7" fmla="*/ 10 h 66"/>
                <a:gd name="T8" fmla="*/ 148 w 148"/>
                <a:gd name="T9" fmla="*/ 5 h 66"/>
                <a:gd name="T10" fmla="*/ 91 w 148"/>
                <a:gd name="T11" fmla="*/ 12 h 66"/>
                <a:gd name="T12" fmla="*/ 87 w 148"/>
                <a:gd name="T13" fmla="*/ 14 h 66"/>
                <a:gd name="T14" fmla="*/ 87 w 148"/>
                <a:gd name="T15" fmla="*/ 14 h 66"/>
                <a:gd name="T16" fmla="*/ 16 w 148"/>
                <a:gd name="T17" fmla="*/ 57 h 66"/>
                <a:gd name="T18" fmla="*/ 15 w 148"/>
                <a:gd name="T19" fmla="*/ 57 h 66"/>
                <a:gd name="T20" fmla="*/ 7 w 148"/>
                <a:gd name="T21" fmla="*/ 61 h 66"/>
                <a:gd name="T22" fmla="*/ 3 w 148"/>
                <a:gd name="T23" fmla="*/ 64 h 66"/>
                <a:gd name="T24" fmla="*/ 0 w 148"/>
                <a:gd name="T25"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8" h="66">
                  <a:moveTo>
                    <a:pt x="0" y="66"/>
                  </a:moveTo>
                  <a:cubicBezTo>
                    <a:pt x="0" y="66"/>
                    <a:pt x="0" y="66"/>
                    <a:pt x="0" y="66"/>
                  </a:cubicBezTo>
                  <a:cubicBezTo>
                    <a:pt x="85" y="61"/>
                    <a:pt x="85" y="61"/>
                    <a:pt x="85" y="61"/>
                  </a:cubicBezTo>
                  <a:cubicBezTo>
                    <a:pt x="143" y="10"/>
                    <a:pt x="143" y="10"/>
                    <a:pt x="143" y="10"/>
                  </a:cubicBezTo>
                  <a:cubicBezTo>
                    <a:pt x="148" y="5"/>
                    <a:pt x="148" y="5"/>
                    <a:pt x="148" y="5"/>
                  </a:cubicBezTo>
                  <a:cubicBezTo>
                    <a:pt x="129" y="0"/>
                    <a:pt x="108" y="2"/>
                    <a:pt x="91" y="12"/>
                  </a:cubicBezTo>
                  <a:cubicBezTo>
                    <a:pt x="89" y="13"/>
                    <a:pt x="88" y="14"/>
                    <a:pt x="87" y="14"/>
                  </a:cubicBezTo>
                  <a:cubicBezTo>
                    <a:pt x="87" y="14"/>
                    <a:pt x="87" y="14"/>
                    <a:pt x="87" y="14"/>
                  </a:cubicBezTo>
                  <a:cubicBezTo>
                    <a:pt x="16" y="57"/>
                    <a:pt x="16" y="57"/>
                    <a:pt x="16" y="57"/>
                  </a:cubicBezTo>
                  <a:cubicBezTo>
                    <a:pt x="15" y="57"/>
                    <a:pt x="15" y="57"/>
                    <a:pt x="15" y="57"/>
                  </a:cubicBezTo>
                  <a:cubicBezTo>
                    <a:pt x="12" y="58"/>
                    <a:pt x="10" y="60"/>
                    <a:pt x="7" y="61"/>
                  </a:cubicBezTo>
                  <a:cubicBezTo>
                    <a:pt x="5" y="62"/>
                    <a:pt x="4" y="63"/>
                    <a:pt x="3" y="64"/>
                  </a:cubicBezTo>
                  <a:lnTo>
                    <a:pt x="0" y="66"/>
                  </a:lnTo>
                  <a:close/>
                </a:path>
              </a:pathLst>
            </a:custGeom>
            <a:solidFill>
              <a:srgbClr val="5CC0C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22" name="íṩľiďe">
              <a:extLst>
                <a:ext uri="{FF2B5EF4-FFF2-40B4-BE49-F238E27FC236}">
                  <a16:creationId xmlns:a16="http://schemas.microsoft.com/office/drawing/2014/main" id="{39174424-527F-4E63-ADA9-D65333CB8726}"/>
                </a:ext>
              </a:extLst>
            </p:cNvPr>
            <p:cNvSpPr/>
            <p:nvPr/>
          </p:nvSpPr>
          <p:spPr bwMode="auto">
            <a:xfrm>
              <a:off x="7002463" y="2763838"/>
              <a:ext cx="963613" cy="742950"/>
            </a:xfrm>
            <a:custGeom>
              <a:avLst/>
              <a:gdLst>
                <a:gd name="T0" fmla="*/ 26 w 732"/>
                <a:gd name="T1" fmla="*/ 201 h 565"/>
                <a:gd name="T2" fmla="*/ 63 w 732"/>
                <a:gd name="T3" fmla="*/ 239 h 565"/>
                <a:gd name="T4" fmla="*/ 600 w 732"/>
                <a:gd name="T5" fmla="*/ 548 h 565"/>
                <a:gd name="T6" fmla="*/ 604 w 732"/>
                <a:gd name="T7" fmla="*/ 550 h 565"/>
                <a:gd name="T8" fmla="*/ 669 w 732"/>
                <a:gd name="T9" fmla="*/ 558 h 565"/>
                <a:gd name="T10" fmla="*/ 684 w 732"/>
                <a:gd name="T11" fmla="*/ 551 h 565"/>
                <a:gd name="T12" fmla="*/ 704 w 732"/>
                <a:gd name="T13" fmla="*/ 426 h 565"/>
                <a:gd name="T14" fmla="*/ 675 w 732"/>
                <a:gd name="T15" fmla="*/ 394 h 565"/>
                <a:gd name="T16" fmla="*/ 675 w 732"/>
                <a:gd name="T17" fmla="*/ 394 h 565"/>
                <a:gd name="T18" fmla="*/ 658 w 732"/>
                <a:gd name="T19" fmla="*/ 277 h 565"/>
                <a:gd name="T20" fmla="*/ 547 w 732"/>
                <a:gd name="T21" fmla="*/ 205 h 565"/>
                <a:gd name="T22" fmla="*/ 522 w 732"/>
                <a:gd name="T23" fmla="*/ 92 h 565"/>
                <a:gd name="T24" fmla="*/ 363 w 732"/>
                <a:gd name="T25" fmla="*/ 12 h 565"/>
                <a:gd name="T26" fmla="*/ 326 w 732"/>
                <a:gd name="T27" fmla="*/ 26 h 565"/>
                <a:gd name="T28" fmla="*/ 298 w 732"/>
                <a:gd name="T29" fmla="*/ 50 h 565"/>
                <a:gd name="T30" fmla="*/ 261 w 732"/>
                <a:gd name="T31" fmla="*/ 28 h 565"/>
                <a:gd name="T32" fmla="*/ 213 w 732"/>
                <a:gd name="T33" fmla="*/ 19 h 565"/>
                <a:gd name="T34" fmla="*/ 193 w 732"/>
                <a:gd name="T35" fmla="*/ 21 h 565"/>
                <a:gd name="T36" fmla="*/ 182 w 732"/>
                <a:gd name="T37" fmla="*/ 25 h 565"/>
                <a:gd name="T38" fmla="*/ 176 w 732"/>
                <a:gd name="T39" fmla="*/ 27 h 565"/>
                <a:gd name="T40" fmla="*/ 171 w 732"/>
                <a:gd name="T41" fmla="*/ 29 h 565"/>
                <a:gd name="T42" fmla="*/ 163 w 732"/>
                <a:gd name="T43" fmla="*/ 34 h 565"/>
                <a:gd name="T44" fmla="*/ 159 w 732"/>
                <a:gd name="T45" fmla="*/ 37 h 565"/>
                <a:gd name="T46" fmla="*/ 158 w 732"/>
                <a:gd name="T47" fmla="*/ 37 h 565"/>
                <a:gd name="T48" fmla="*/ 158 w 732"/>
                <a:gd name="T49" fmla="*/ 37 h 565"/>
                <a:gd name="T50" fmla="*/ 146 w 732"/>
                <a:gd name="T51" fmla="*/ 47 h 565"/>
                <a:gd name="T52" fmla="*/ 124 w 732"/>
                <a:gd name="T53" fmla="*/ 76 h 565"/>
                <a:gd name="T54" fmla="*/ 55 w 732"/>
                <a:gd name="T55" fmla="*/ 72 h 565"/>
                <a:gd name="T56" fmla="*/ 54 w 732"/>
                <a:gd name="T57" fmla="*/ 72 h 565"/>
                <a:gd name="T58" fmla="*/ 46 w 732"/>
                <a:gd name="T59" fmla="*/ 76 h 565"/>
                <a:gd name="T60" fmla="*/ 42 w 732"/>
                <a:gd name="T61" fmla="*/ 79 h 565"/>
                <a:gd name="T62" fmla="*/ 40 w 732"/>
                <a:gd name="T63" fmla="*/ 80 h 565"/>
                <a:gd name="T64" fmla="*/ 39 w 732"/>
                <a:gd name="T65" fmla="*/ 81 h 565"/>
                <a:gd name="T66" fmla="*/ 26 w 732"/>
                <a:gd name="T67" fmla="*/ 201 h 5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32" h="565">
                  <a:moveTo>
                    <a:pt x="26" y="201"/>
                  </a:moveTo>
                  <a:cubicBezTo>
                    <a:pt x="36" y="217"/>
                    <a:pt x="49" y="230"/>
                    <a:pt x="63" y="239"/>
                  </a:cubicBezTo>
                  <a:cubicBezTo>
                    <a:pt x="600" y="548"/>
                    <a:pt x="600" y="548"/>
                    <a:pt x="600" y="548"/>
                  </a:cubicBezTo>
                  <a:cubicBezTo>
                    <a:pt x="604" y="550"/>
                    <a:pt x="604" y="550"/>
                    <a:pt x="604" y="550"/>
                  </a:cubicBezTo>
                  <a:cubicBezTo>
                    <a:pt x="625" y="562"/>
                    <a:pt x="648" y="565"/>
                    <a:pt x="669" y="558"/>
                  </a:cubicBezTo>
                  <a:cubicBezTo>
                    <a:pt x="674" y="557"/>
                    <a:pt x="679" y="554"/>
                    <a:pt x="684" y="551"/>
                  </a:cubicBezTo>
                  <a:cubicBezTo>
                    <a:pt x="723" y="528"/>
                    <a:pt x="732" y="472"/>
                    <a:pt x="704" y="426"/>
                  </a:cubicBezTo>
                  <a:cubicBezTo>
                    <a:pt x="696" y="413"/>
                    <a:pt x="686" y="402"/>
                    <a:pt x="675" y="394"/>
                  </a:cubicBezTo>
                  <a:cubicBezTo>
                    <a:pt x="675" y="394"/>
                    <a:pt x="675" y="394"/>
                    <a:pt x="675" y="394"/>
                  </a:cubicBezTo>
                  <a:cubicBezTo>
                    <a:pt x="686" y="358"/>
                    <a:pt x="681" y="315"/>
                    <a:pt x="658" y="277"/>
                  </a:cubicBezTo>
                  <a:cubicBezTo>
                    <a:pt x="632" y="233"/>
                    <a:pt x="589" y="208"/>
                    <a:pt x="547" y="205"/>
                  </a:cubicBezTo>
                  <a:cubicBezTo>
                    <a:pt x="552" y="169"/>
                    <a:pt x="544" y="129"/>
                    <a:pt x="522" y="92"/>
                  </a:cubicBezTo>
                  <a:cubicBezTo>
                    <a:pt x="486" y="31"/>
                    <a:pt x="420" y="0"/>
                    <a:pt x="363" y="12"/>
                  </a:cubicBezTo>
                  <a:cubicBezTo>
                    <a:pt x="350" y="14"/>
                    <a:pt x="338" y="19"/>
                    <a:pt x="326" y="26"/>
                  </a:cubicBezTo>
                  <a:cubicBezTo>
                    <a:pt x="315" y="33"/>
                    <a:pt x="306" y="41"/>
                    <a:pt x="298" y="50"/>
                  </a:cubicBezTo>
                  <a:cubicBezTo>
                    <a:pt x="287" y="40"/>
                    <a:pt x="274" y="33"/>
                    <a:pt x="261" y="28"/>
                  </a:cubicBezTo>
                  <a:cubicBezTo>
                    <a:pt x="245" y="21"/>
                    <a:pt x="229" y="18"/>
                    <a:pt x="213" y="19"/>
                  </a:cubicBezTo>
                  <a:cubicBezTo>
                    <a:pt x="206" y="19"/>
                    <a:pt x="200" y="20"/>
                    <a:pt x="193" y="21"/>
                  </a:cubicBezTo>
                  <a:cubicBezTo>
                    <a:pt x="190" y="22"/>
                    <a:pt x="186" y="23"/>
                    <a:pt x="182" y="25"/>
                  </a:cubicBezTo>
                  <a:cubicBezTo>
                    <a:pt x="180" y="25"/>
                    <a:pt x="178" y="26"/>
                    <a:pt x="176" y="27"/>
                  </a:cubicBezTo>
                  <a:cubicBezTo>
                    <a:pt x="174" y="28"/>
                    <a:pt x="173" y="28"/>
                    <a:pt x="171" y="29"/>
                  </a:cubicBezTo>
                  <a:cubicBezTo>
                    <a:pt x="169" y="30"/>
                    <a:pt x="166" y="32"/>
                    <a:pt x="163" y="34"/>
                  </a:cubicBezTo>
                  <a:cubicBezTo>
                    <a:pt x="162" y="34"/>
                    <a:pt x="160" y="36"/>
                    <a:pt x="159" y="37"/>
                  </a:cubicBezTo>
                  <a:cubicBezTo>
                    <a:pt x="158" y="37"/>
                    <a:pt x="158" y="37"/>
                    <a:pt x="158" y="37"/>
                  </a:cubicBezTo>
                  <a:cubicBezTo>
                    <a:pt x="158" y="37"/>
                    <a:pt x="158" y="37"/>
                    <a:pt x="158" y="37"/>
                  </a:cubicBezTo>
                  <a:cubicBezTo>
                    <a:pt x="153" y="40"/>
                    <a:pt x="149" y="43"/>
                    <a:pt x="146" y="47"/>
                  </a:cubicBezTo>
                  <a:cubicBezTo>
                    <a:pt x="137" y="55"/>
                    <a:pt x="130" y="65"/>
                    <a:pt x="124" y="76"/>
                  </a:cubicBezTo>
                  <a:cubicBezTo>
                    <a:pt x="102" y="65"/>
                    <a:pt x="77" y="62"/>
                    <a:pt x="55" y="72"/>
                  </a:cubicBezTo>
                  <a:cubicBezTo>
                    <a:pt x="54" y="72"/>
                    <a:pt x="54" y="72"/>
                    <a:pt x="54" y="72"/>
                  </a:cubicBezTo>
                  <a:cubicBezTo>
                    <a:pt x="51" y="73"/>
                    <a:pt x="49" y="75"/>
                    <a:pt x="46" y="76"/>
                  </a:cubicBezTo>
                  <a:cubicBezTo>
                    <a:pt x="44" y="77"/>
                    <a:pt x="43" y="78"/>
                    <a:pt x="42" y="79"/>
                  </a:cubicBezTo>
                  <a:cubicBezTo>
                    <a:pt x="41" y="79"/>
                    <a:pt x="41" y="80"/>
                    <a:pt x="40" y="80"/>
                  </a:cubicBezTo>
                  <a:cubicBezTo>
                    <a:pt x="39" y="81"/>
                    <a:pt x="39" y="81"/>
                    <a:pt x="39" y="81"/>
                  </a:cubicBezTo>
                  <a:cubicBezTo>
                    <a:pt x="6" y="106"/>
                    <a:pt x="0" y="158"/>
                    <a:pt x="26" y="201"/>
                  </a:cubicBezTo>
                  <a:close/>
                </a:path>
              </a:pathLst>
            </a:custGeom>
            <a:solidFill>
              <a:srgbClr val="AFDCE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23" name="ïṡlîḋe">
              <a:extLst>
                <a:ext uri="{FF2B5EF4-FFF2-40B4-BE49-F238E27FC236}">
                  <a16:creationId xmlns:a16="http://schemas.microsoft.com/office/drawing/2014/main" id="{24DF9393-F86F-40A5-839B-7DD5A742CBCD}"/>
                </a:ext>
              </a:extLst>
            </p:cNvPr>
            <p:cNvSpPr/>
            <p:nvPr/>
          </p:nvSpPr>
          <p:spPr bwMode="auto">
            <a:xfrm>
              <a:off x="3511550" y="4259263"/>
              <a:ext cx="57150" cy="52388"/>
            </a:xfrm>
            <a:custGeom>
              <a:avLst/>
              <a:gdLst>
                <a:gd name="T0" fmla="*/ 23 w 44"/>
                <a:gd name="T1" fmla="*/ 0 h 40"/>
                <a:gd name="T2" fmla="*/ 9 w 44"/>
                <a:gd name="T3" fmla="*/ 23 h 40"/>
                <a:gd name="T4" fmla="*/ 21 w 44"/>
                <a:gd name="T5" fmla="*/ 40 h 40"/>
                <a:gd name="T6" fmla="*/ 26 w 44"/>
                <a:gd name="T7" fmla="*/ 16 h 40"/>
                <a:gd name="T8" fmla="*/ 44 w 44"/>
                <a:gd name="T9" fmla="*/ 1 h 40"/>
                <a:gd name="T10" fmla="*/ 23 w 44"/>
                <a:gd name="T11" fmla="*/ 0 h 40"/>
              </a:gdLst>
              <a:ahLst/>
              <a:cxnLst>
                <a:cxn ang="0">
                  <a:pos x="T0" y="T1"/>
                </a:cxn>
                <a:cxn ang="0">
                  <a:pos x="T2" y="T3"/>
                </a:cxn>
                <a:cxn ang="0">
                  <a:pos x="T4" y="T5"/>
                </a:cxn>
                <a:cxn ang="0">
                  <a:pos x="T6" y="T7"/>
                </a:cxn>
                <a:cxn ang="0">
                  <a:pos x="T8" y="T9"/>
                </a:cxn>
                <a:cxn ang="0">
                  <a:pos x="T10" y="T11"/>
                </a:cxn>
              </a:cxnLst>
              <a:rect l="0" t="0" r="r" b="b"/>
              <a:pathLst>
                <a:path w="44" h="40">
                  <a:moveTo>
                    <a:pt x="23" y="0"/>
                  </a:moveTo>
                  <a:cubicBezTo>
                    <a:pt x="6" y="0"/>
                    <a:pt x="0" y="10"/>
                    <a:pt x="9" y="23"/>
                  </a:cubicBezTo>
                  <a:cubicBezTo>
                    <a:pt x="21" y="40"/>
                    <a:pt x="21" y="40"/>
                    <a:pt x="21" y="40"/>
                  </a:cubicBezTo>
                  <a:cubicBezTo>
                    <a:pt x="20" y="34"/>
                    <a:pt x="21" y="25"/>
                    <a:pt x="26" y="16"/>
                  </a:cubicBezTo>
                  <a:cubicBezTo>
                    <a:pt x="31" y="8"/>
                    <a:pt x="38" y="3"/>
                    <a:pt x="44" y="1"/>
                  </a:cubicBezTo>
                  <a:cubicBezTo>
                    <a:pt x="38" y="0"/>
                    <a:pt x="31" y="0"/>
                    <a:pt x="23" y="0"/>
                  </a:cubicBezTo>
                  <a:close/>
                </a:path>
              </a:pathLst>
            </a:custGeom>
            <a:solidFill>
              <a:srgbClr val="E13C1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24" name="îş1ïḑè">
              <a:extLst>
                <a:ext uri="{FF2B5EF4-FFF2-40B4-BE49-F238E27FC236}">
                  <a16:creationId xmlns:a16="http://schemas.microsoft.com/office/drawing/2014/main" id="{33D949A0-C180-42C0-8A76-F2B0A39698BE}"/>
                </a:ext>
              </a:extLst>
            </p:cNvPr>
            <p:cNvSpPr/>
            <p:nvPr/>
          </p:nvSpPr>
          <p:spPr bwMode="auto">
            <a:xfrm>
              <a:off x="3536950" y="4259263"/>
              <a:ext cx="173038" cy="150813"/>
            </a:xfrm>
            <a:custGeom>
              <a:avLst/>
              <a:gdLst>
                <a:gd name="T0" fmla="*/ 6 w 131"/>
                <a:gd name="T1" fmla="*/ 15 h 114"/>
                <a:gd name="T2" fmla="*/ 24 w 131"/>
                <a:gd name="T3" fmla="*/ 0 h 114"/>
                <a:gd name="T4" fmla="*/ 35 w 131"/>
                <a:gd name="T5" fmla="*/ 0 h 114"/>
                <a:gd name="T6" fmla="*/ 131 w 131"/>
                <a:gd name="T7" fmla="*/ 27 h 114"/>
                <a:gd name="T8" fmla="*/ 131 w 131"/>
                <a:gd name="T9" fmla="*/ 28 h 114"/>
                <a:gd name="T10" fmla="*/ 80 w 131"/>
                <a:gd name="T11" fmla="*/ 60 h 114"/>
                <a:gd name="T12" fmla="*/ 72 w 131"/>
                <a:gd name="T13" fmla="*/ 114 h 114"/>
                <a:gd name="T14" fmla="*/ 6 w 131"/>
                <a:gd name="T15" fmla="*/ 46 h 114"/>
                <a:gd name="T16" fmla="*/ 1 w 131"/>
                <a:gd name="T17" fmla="*/ 39 h 114"/>
                <a:gd name="T18" fmla="*/ 6 w 131"/>
                <a:gd name="T19" fmla="*/ 15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114">
                  <a:moveTo>
                    <a:pt x="6" y="15"/>
                  </a:moveTo>
                  <a:cubicBezTo>
                    <a:pt x="11" y="7"/>
                    <a:pt x="18" y="2"/>
                    <a:pt x="24" y="0"/>
                  </a:cubicBezTo>
                  <a:cubicBezTo>
                    <a:pt x="30" y="0"/>
                    <a:pt x="35" y="0"/>
                    <a:pt x="35" y="0"/>
                  </a:cubicBezTo>
                  <a:cubicBezTo>
                    <a:pt x="131" y="27"/>
                    <a:pt x="131" y="27"/>
                    <a:pt x="131" y="27"/>
                  </a:cubicBezTo>
                  <a:cubicBezTo>
                    <a:pt x="131" y="28"/>
                    <a:pt x="131" y="28"/>
                    <a:pt x="131" y="28"/>
                  </a:cubicBezTo>
                  <a:cubicBezTo>
                    <a:pt x="115" y="24"/>
                    <a:pt x="94" y="38"/>
                    <a:pt x="80" y="60"/>
                  </a:cubicBezTo>
                  <a:cubicBezTo>
                    <a:pt x="68" y="80"/>
                    <a:pt x="66" y="102"/>
                    <a:pt x="72" y="114"/>
                  </a:cubicBezTo>
                  <a:cubicBezTo>
                    <a:pt x="6" y="46"/>
                    <a:pt x="6" y="46"/>
                    <a:pt x="6" y="46"/>
                  </a:cubicBezTo>
                  <a:cubicBezTo>
                    <a:pt x="1" y="39"/>
                    <a:pt x="1" y="39"/>
                    <a:pt x="1" y="39"/>
                  </a:cubicBezTo>
                  <a:cubicBezTo>
                    <a:pt x="0" y="33"/>
                    <a:pt x="1" y="24"/>
                    <a:pt x="6" y="15"/>
                  </a:cubicBezTo>
                  <a:close/>
                </a:path>
              </a:pathLst>
            </a:custGeom>
            <a:solidFill>
              <a:srgbClr val="FAD79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25" name="íṡ1îḑè">
              <a:extLst>
                <a:ext uri="{FF2B5EF4-FFF2-40B4-BE49-F238E27FC236}">
                  <a16:creationId xmlns:a16="http://schemas.microsoft.com/office/drawing/2014/main" id="{8AAE9C2D-67C0-40EF-A59A-D3BD493BF293}"/>
                </a:ext>
              </a:extLst>
            </p:cNvPr>
            <p:cNvSpPr/>
            <p:nvPr/>
          </p:nvSpPr>
          <p:spPr bwMode="auto">
            <a:xfrm>
              <a:off x="3624263" y="4291013"/>
              <a:ext cx="1384300" cy="846138"/>
            </a:xfrm>
            <a:custGeom>
              <a:avLst/>
              <a:gdLst>
                <a:gd name="T0" fmla="*/ 14 w 1051"/>
                <a:gd name="T1" fmla="*/ 36 h 643"/>
                <a:gd name="T2" fmla="*/ 65 w 1051"/>
                <a:gd name="T3" fmla="*/ 4 h 643"/>
                <a:gd name="T4" fmla="*/ 71 w 1051"/>
                <a:gd name="T5" fmla="*/ 6 h 643"/>
                <a:gd name="T6" fmla="*/ 1051 w 1051"/>
                <a:gd name="T7" fmla="*/ 550 h 643"/>
                <a:gd name="T8" fmla="*/ 995 w 1051"/>
                <a:gd name="T9" fmla="*/ 581 h 643"/>
                <a:gd name="T10" fmla="*/ 995 w 1051"/>
                <a:gd name="T11" fmla="*/ 643 h 643"/>
                <a:gd name="T12" fmla="*/ 15 w 1051"/>
                <a:gd name="T13" fmla="*/ 99 h 643"/>
                <a:gd name="T14" fmla="*/ 6 w 1051"/>
                <a:gd name="T15" fmla="*/ 90 h 643"/>
                <a:gd name="T16" fmla="*/ 14 w 1051"/>
                <a:gd name="T17" fmla="*/ 36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1" h="643">
                  <a:moveTo>
                    <a:pt x="14" y="36"/>
                  </a:moveTo>
                  <a:cubicBezTo>
                    <a:pt x="28" y="14"/>
                    <a:pt x="49" y="0"/>
                    <a:pt x="65" y="4"/>
                  </a:cubicBezTo>
                  <a:cubicBezTo>
                    <a:pt x="67" y="4"/>
                    <a:pt x="69" y="5"/>
                    <a:pt x="71" y="6"/>
                  </a:cubicBezTo>
                  <a:cubicBezTo>
                    <a:pt x="1051" y="550"/>
                    <a:pt x="1051" y="550"/>
                    <a:pt x="1051" y="550"/>
                  </a:cubicBezTo>
                  <a:cubicBezTo>
                    <a:pt x="1036" y="542"/>
                    <a:pt x="1011" y="555"/>
                    <a:pt x="995" y="581"/>
                  </a:cubicBezTo>
                  <a:cubicBezTo>
                    <a:pt x="980" y="607"/>
                    <a:pt x="980" y="635"/>
                    <a:pt x="995" y="643"/>
                  </a:cubicBezTo>
                  <a:cubicBezTo>
                    <a:pt x="15" y="99"/>
                    <a:pt x="15" y="99"/>
                    <a:pt x="15" y="99"/>
                  </a:cubicBezTo>
                  <a:cubicBezTo>
                    <a:pt x="6" y="90"/>
                    <a:pt x="6" y="90"/>
                    <a:pt x="6" y="90"/>
                  </a:cubicBezTo>
                  <a:cubicBezTo>
                    <a:pt x="0" y="78"/>
                    <a:pt x="2" y="56"/>
                    <a:pt x="14" y="36"/>
                  </a:cubicBezTo>
                  <a:close/>
                </a:path>
              </a:pathLst>
            </a:custGeom>
            <a:solidFill>
              <a:srgbClr val="E13C1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26" name="iṧḷïďè">
              <a:extLst>
                <a:ext uri="{FF2B5EF4-FFF2-40B4-BE49-F238E27FC236}">
                  <a16:creationId xmlns:a16="http://schemas.microsoft.com/office/drawing/2014/main" id="{A6122EA1-212C-4673-8338-1907E36FE623}"/>
                </a:ext>
              </a:extLst>
            </p:cNvPr>
            <p:cNvSpPr/>
            <p:nvPr/>
          </p:nvSpPr>
          <p:spPr bwMode="auto">
            <a:xfrm>
              <a:off x="4914900" y="5003801"/>
              <a:ext cx="114300" cy="144463"/>
            </a:xfrm>
            <a:custGeom>
              <a:avLst/>
              <a:gdLst>
                <a:gd name="T0" fmla="*/ 15 w 87"/>
                <a:gd name="T1" fmla="*/ 39 h 110"/>
                <a:gd name="T2" fmla="*/ 15 w 87"/>
                <a:gd name="T3" fmla="*/ 101 h 110"/>
                <a:gd name="T4" fmla="*/ 72 w 87"/>
                <a:gd name="T5" fmla="*/ 70 h 110"/>
                <a:gd name="T6" fmla="*/ 71 w 87"/>
                <a:gd name="T7" fmla="*/ 8 h 110"/>
                <a:gd name="T8" fmla="*/ 15 w 87"/>
                <a:gd name="T9" fmla="*/ 39 h 110"/>
              </a:gdLst>
              <a:ahLst/>
              <a:cxnLst>
                <a:cxn ang="0">
                  <a:pos x="T0" y="T1"/>
                </a:cxn>
                <a:cxn ang="0">
                  <a:pos x="T2" y="T3"/>
                </a:cxn>
                <a:cxn ang="0">
                  <a:pos x="T4" y="T5"/>
                </a:cxn>
                <a:cxn ang="0">
                  <a:pos x="T6" y="T7"/>
                </a:cxn>
                <a:cxn ang="0">
                  <a:pos x="T8" y="T9"/>
                </a:cxn>
              </a:cxnLst>
              <a:rect l="0" t="0" r="r" b="b"/>
              <a:pathLst>
                <a:path w="87" h="110">
                  <a:moveTo>
                    <a:pt x="15" y="39"/>
                  </a:moveTo>
                  <a:cubicBezTo>
                    <a:pt x="0" y="65"/>
                    <a:pt x="0" y="93"/>
                    <a:pt x="15" y="101"/>
                  </a:cubicBezTo>
                  <a:cubicBezTo>
                    <a:pt x="31" y="110"/>
                    <a:pt x="56" y="96"/>
                    <a:pt x="72" y="70"/>
                  </a:cubicBezTo>
                  <a:cubicBezTo>
                    <a:pt x="87" y="45"/>
                    <a:pt x="87" y="17"/>
                    <a:pt x="71" y="8"/>
                  </a:cubicBezTo>
                  <a:cubicBezTo>
                    <a:pt x="56" y="0"/>
                    <a:pt x="31" y="13"/>
                    <a:pt x="15" y="39"/>
                  </a:cubicBezTo>
                  <a:close/>
                </a:path>
              </a:pathLst>
            </a:custGeom>
            <a:solidFill>
              <a:srgbClr val="FFC85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27" name="îṥḷiḓè">
              <a:extLst>
                <a:ext uri="{FF2B5EF4-FFF2-40B4-BE49-F238E27FC236}">
                  <a16:creationId xmlns:a16="http://schemas.microsoft.com/office/drawing/2014/main" id="{CC4C1C52-B196-40D8-AB10-6F367C9DFA78}"/>
                </a:ext>
              </a:extLst>
            </p:cNvPr>
            <p:cNvSpPr/>
            <p:nvPr/>
          </p:nvSpPr>
          <p:spPr bwMode="auto">
            <a:xfrm>
              <a:off x="3743325" y="4038601"/>
              <a:ext cx="57150" cy="52388"/>
            </a:xfrm>
            <a:custGeom>
              <a:avLst/>
              <a:gdLst>
                <a:gd name="T0" fmla="*/ 24 w 44"/>
                <a:gd name="T1" fmla="*/ 0 h 40"/>
                <a:gd name="T2" fmla="*/ 10 w 44"/>
                <a:gd name="T3" fmla="*/ 23 h 40"/>
                <a:gd name="T4" fmla="*/ 22 w 44"/>
                <a:gd name="T5" fmla="*/ 40 h 40"/>
                <a:gd name="T6" fmla="*/ 27 w 44"/>
                <a:gd name="T7" fmla="*/ 16 h 40"/>
                <a:gd name="T8" fmla="*/ 44 w 44"/>
                <a:gd name="T9" fmla="*/ 1 h 40"/>
                <a:gd name="T10" fmla="*/ 24 w 44"/>
                <a:gd name="T11" fmla="*/ 0 h 40"/>
              </a:gdLst>
              <a:ahLst/>
              <a:cxnLst>
                <a:cxn ang="0">
                  <a:pos x="T0" y="T1"/>
                </a:cxn>
                <a:cxn ang="0">
                  <a:pos x="T2" y="T3"/>
                </a:cxn>
                <a:cxn ang="0">
                  <a:pos x="T4" y="T5"/>
                </a:cxn>
                <a:cxn ang="0">
                  <a:pos x="T6" y="T7"/>
                </a:cxn>
                <a:cxn ang="0">
                  <a:pos x="T8" y="T9"/>
                </a:cxn>
                <a:cxn ang="0">
                  <a:pos x="T10" y="T11"/>
                </a:cxn>
              </a:cxnLst>
              <a:rect l="0" t="0" r="r" b="b"/>
              <a:pathLst>
                <a:path w="44" h="40">
                  <a:moveTo>
                    <a:pt x="24" y="0"/>
                  </a:moveTo>
                  <a:cubicBezTo>
                    <a:pt x="6" y="0"/>
                    <a:pt x="0" y="10"/>
                    <a:pt x="10" y="23"/>
                  </a:cubicBezTo>
                  <a:cubicBezTo>
                    <a:pt x="22" y="40"/>
                    <a:pt x="22" y="40"/>
                    <a:pt x="22" y="40"/>
                  </a:cubicBezTo>
                  <a:cubicBezTo>
                    <a:pt x="20" y="34"/>
                    <a:pt x="22" y="25"/>
                    <a:pt x="27" y="16"/>
                  </a:cubicBezTo>
                  <a:cubicBezTo>
                    <a:pt x="31" y="8"/>
                    <a:pt x="38" y="3"/>
                    <a:pt x="44" y="1"/>
                  </a:cubicBezTo>
                  <a:cubicBezTo>
                    <a:pt x="39" y="0"/>
                    <a:pt x="31" y="0"/>
                    <a:pt x="24" y="0"/>
                  </a:cubicBezTo>
                  <a:close/>
                </a:path>
              </a:pathLst>
            </a:custGeom>
            <a:solidFill>
              <a:srgbClr val="2882B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28" name="íṧḻidé">
              <a:extLst>
                <a:ext uri="{FF2B5EF4-FFF2-40B4-BE49-F238E27FC236}">
                  <a16:creationId xmlns:a16="http://schemas.microsoft.com/office/drawing/2014/main" id="{F7DB7529-D06F-476E-9D0B-7359F6D426F6}"/>
                </a:ext>
              </a:extLst>
            </p:cNvPr>
            <p:cNvSpPr/>
            <p:nvPr/>
          </p:nvSpPr>
          <p:spPr bwMode="auto">
            <a:xfrm>
              <a:off x="3768725" y="4040188"/>
              <a:ext cx="173038" cy="150813"/>
            </a:xfrm>
            <a:custGeom>
              <a:avLst/>
              <a:gdLst>
                <a:gd name="T0" fmla="*/ 7 w 131"/>
                <a:gd name="T1" fmla="*/ 15 h 114"/>
                <a:gd name="T2" fmla="*/ 24 w 131"/>
                <a:gd name="T3" fmla="*/ 0 h 114"/>
                <a:gd name="T4" fmla="*/ 35 w 131"/>
                <a:gd name="T5" fmla="*/ 0 h 114"/>
                <a:gd name="T6" fmla="*/ 131 w 131"/>
                <a:gd name="T7" fmla="*/ 27 h 114"/>
                <a:gd name="T8" fmla="*/ 131 w 131"/>
                <a:gd name="T9" fmla="*/ 27 h 114"/>
                <a:gd name="T10" fmla="*/ 81 w 131"/>
                <a:gd name="T11" fmla="*/ 60 h 114"/>
                <a:gd name="T12" fmla="*/ 73 w 131"/>
                <a:gd name="T13" fmla="*/ 114 h 114"/>
                <a:gd name="T14" fmla="*/ 7 w 131"/>
                <a:gd name="T15" fmla="*/ 46 h 114"/>
                <a:gd name="T16" fmla="*/ 2 w 131"/>
                <a:gd name="T17" fmla="*/ 39 h 114"/>
                <a:gd name="T18" fmla="*/ 7 w 131"/>
                <a:gd name="T19" fmla="*/ 15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114">
                  <a:moveTo>
                    <a:pt x="7" y="15"/>
                  </a:moveTo>
                  <a:cubicBezTo>
                    <a:pt x="11" y="7"/>
                    <a:pt x="18" y="2"/>
                    <a:pt x="24" y="0"/>
                  </a:cubicBezTo>
                  <a:cubicBezTo>
                    <a:pt x="31" y="0"/>
                    <a:pt x="35" y="0"/>
                    <a:pt x="35" y="0"/>
                  </a:cubicBezTo>
                  <a:cubicBezTo>
                    <a:pt x="131" y="27"/>
                    <a:pt x="131" y="27"/>
                    <a:pt x="131" y="27"/>
                  </a:cubicBezTo>
                  <a:cubicBezTo>
                    <a:pt x="131" y="27"/>
                    <a:pt x="131" y="27"/>
                    <a:pt x="131" y="27"/>
                  </a:cubicBezTo>
                  <a:cubicBezTo>
                    <a:pt x="116" y="24"/>
                    <a:pt x="94" y="38"/>
                    <a:pt x="81" y="60"/>
                  </a:cubicBezTo>
                  <a:cubicBezTo>
                    <a:pt x="69" y="80"/>
                    <a:pt x="66" y="102"/>
                    <a:pt x="73" y="114"/>
                  </a:cubicBezTo>
                  <a:cubicBezTo>
                    <a:pt x="7" y="46"/>
                    <a:pt x="7" y="46"/>
                    <a:pt x="7" y="46"/>
                  </a:cubicBezTo>
                  <a:cubicBezTo>
                    <a:pt x="2" y="39"/>
                    <a:pt x="2" y="39"/>
                    <a:pt x="2" y="39"/>
                  </a:cubicBezTo>
                  <a:cubicBezTo>
                    <a:pt x="0" y="33"/>
                    <a:pt x="2" y="24"/>
                    <a:pt x="7" y="15"/>
                  </a:cubicBezTo>
                  <a:close/>
                </a:path>
              </a:pathLst>
            </a:custGeom>
            <a:solidFill>
              <a:srgbClr val="FAD79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29" name="iṩ1îḋé">
              <a:extLst>
                <a:ext uri="{FF2B5EF4-FFF2-40B4-BE49-F238E27FC236}">
                  <a16:creationId xmlns:a16="http://schemas.microsoft.com/office/drawing/2014/main" id="{518CA6B8-1512-4122-B7C3-D934308D1F7A}"/>
                </a:ext>
              </a:extLst>
            </p:cNvPr>
            <p:cNvSpPr/>
            <p:nvPr/>
          </p:nvSpPr>
          <p:spPr bwMode="auto">
            <a:xfrm>
              <a:off x="3856038" y="4071938"/>
              <a:ext cx="1385888" cy="846138"/>
            </a:xfrm>
            <a:custGeom>
              <a:avLst/>
              <a:gdLst>
                <a:gd name="T0" fmla="*/ 15 w 1052"/>
                <a:gd name="T1" fmla="*/ 36 h 643"/>
                <a:gd name="T2" fmla="*/ 65 w 1052"/>
                <a:gd name="T3" fmla="*/ 3 h 643"/>
                <a:gd name="T4" fmla="*/ 71 w 1052"/>
                <a:gd name="T5" fmla="*/ 6 h 643"/>
                <a:gd name="T6" fmla="*/ 1052 w 1052"/>
                <a:gd name="T7" fmla="*/ 550 h 643"/>
                <a:gd name="T8" fmla="*/ 995 w 1052"/>
                <a:gd name="T9" fmla="*/ 581 h 643"/>
                <a:gd name="T10" fmla="*/ 996 w 1052"/>
                <a:gd name="T11" fmla="*/ 643 h 643"/>
                <a:gd name="T12" fmla="*/ 15 w 1052"/>
                <a:gd name="T13" fmla="*/ 98 h 643"/>
                <a:gd name="T14" fmla="*/ 7 w 1052"/>
                <a:gd name="T15" fmla="*/ 90 h 643"/>
                <a:gd name="T16" fmla="*/ 15 w 1052"/>
                <a:gd name="T17" fmla="*/ 36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2" h="643">
                  <a:moveTo>
                    <a:pt x="15" y="36"/>
                  </a:moveTo>
                  <a:cubicBezTo>
                    <a:pt x="28" y="14"/>
                    <a:pt x="50" y="0"/>
                    <a:pt x="65" y="3"/>
                  </a:cubicBezTo>
                  <a:cubicBezTo>
                    <a:pt x="67" y="4"/>
                    <a:pt x="69" y="5"/>
                    <a:pt x="71" y="6"/>
                  </a:cubicBezTo>
                  <a:cubicBezTo>
                    <a:pt x="1052" y="550"/>
                    <a:pt x="1052" y="550"/>
                    <a:pt x="1052" y="550"/>
                  </a:cubicBezTo>
                  <a:cubicBezTo>
                    <a:pt x="1036" y="542"/>
                    <a:pt x="1011" y="555"/>
                    <a:pt x="995" y="581"/>
                  </a:cubicBezTo>
                  <a:cubicBezTo>
                    <a:pt x="980" y="607"/>
                    <a:pt x="980" y="634"/>
                    <a:pt x="996" y="643"/>
                  </a:cubicBezTo>
                  <a:cubicBezTo>
                    <a:pt x="15" y="98"/>
                    <a:pt x="15" y="98"/>
                    <a:pt x="15" y="98"/>
                  </a:cubicBezTo>
                  <a:cubicBezTo>
                    <a:pt x="7" y="90"/>
                    <a:pt x="7" y="90"/>
                    <a:pt x="7" y="90"/>
                  </a:cubicBezTo>
                  <a:cubicBezTo>
                    <a:pt x="0" y="78"/>
                    <a:pt x="3" y="56"/>
                    <a:pt x="15" y="36"/>
                  </a:cubicBezTo>
                  <a:close/>
                </a:path>
              </a:pathLst>
            </a:custGeom>
            <a:solidFill>
              <a:srgbClr val="2882B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30" name="iṩļîḑê">
              <a:extLst>
                <a:ext uri="{FF2B5EF4-FFF2-40B4-BE49-F238E27FC236}">
                  <a16:creationId xmlns:a16="http://schemas.microsoft.com/office/drawing/2014/main" id="{16CBED30-E884-4215-8D6D-6083855A2E29}"/>
                </a:ext>
              </a:extLst>
            </p:cNvPr>
            <p:cNvSpPr/>
            <p:nvPr/>
          </p:nvSpPr>
          <p:spPr bwMode="auto">
            <a:xfrm>
              <a:off x="5146675" y="4784726"/>
              <a:ext cx="114300" cy="144463"/>
            </a:xfrm>
            <a:custGeom>
              <a:avLst/>
              <a:gdLst>
                <a:gd name="T0" fmla="*/ 15 w 87"/>
                <a:gd name="T1" fmla="*/ 39 h 110"/>
                <a:gd name="T2" fmla="*/ 16 w 87"/>
                <a:gd name="T3" fmla="*/ 101 h 110"/>
                <a:gd name="T4" fmla="*/ 72 w 87"/>
                <a:gd name="T5" fmla="*/ 70 h 110"/>
                <a:gd name="T6" fmla="*/ 72 w 87"/>
                <a:gd name="T7" fmla="*/ 8 h 110"/>
                <a:gd name="T8" fmla="*/ 15 w 87"/>
                <a:gd name="T9" fmla="*/ 39 h 110"/>
              </a:gdLst>
              <a:ahLst/>
              <a:cxnLst>
                <a:cxn ang="0">
                  <a:pos x="T0" y="T1"/>
                </a:cxn>
                <a:cxn ang="0">
                  <a:pos x="T2" y="T3"/>
                </a:cxn>
                <a:cxn ang="0">
                  <a:pos x="T4" y="T5"/>
                </a:cxn>
                <a:cxn ang="0">
                  <a:pos x="T6" y="T7"/>
                </a:cxn>
                <a:cxn ang="0">
                  <a:pos x="T8" y="T9"/>
                </a:cxn>
              </a:cxnLst>
              <a:rect l="0" t="0" r="r" b="b"/>
              <a:pathLst>
                <a:path w="87" h="110">
                  <a:moveTo>
                    <a:pt x="15" y="39"/>
                  </a:moveTo>
                  <a:cubicBezTo>
                    <a:pt x="0" y="65"/>
                    <a:pt x="0" y="92"/>
                    <a:pt x="16" y="101"/>
                  </a:cubicBezTo>
                  <a:cubicBezTo>
                    <a:pt x="31" y="110"/>
                    <a:pt x="56" y="96"/>
                    <a:pt x="72" y="70"/>
                  </a:cubicBezTo>
                  <a:cubicBezTo>
                    <a:pt x="87" y="45"/>
                    <a:pt x="87" y="17"/>
                    <a:pt x="72" y="8"/>
                  </a:cubicBezTo>
                  <a:cubicBezTo>
                    <a:pt x="56" y="0"/>
                    <a:pt x="31" y="13"/>
                    <a:pt x="15" y="39"/>
                  </a:cubicBezTo>
                  <a:close/>
                </a:path>
              </a:pathLst>
            </a:custGeom>
            <a:solidFill>
              <a:srgbClr val="FFC85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31" name="íṧḷide">
              <a:extLst>
                <a:ext uri="{FF2B5EF4-FFF2-40B4-BE49-F238E27FC236}">
                  <a16:creationId xmlns:a16="http://schemas.microsoft.com/office/drawing/2014/main" id="{1EDE4754-C9CE-4D7E-B364-27373980DE09}"/>
                </a:ext>
              </a:extLst>
            </p:cNvPr>
            <p:cNvSpPr/>
            <p:nvPr/>
          </p:nvSpPr>
          <p:spPr bwMode="auto">
            <a:xfrm>
              <a:off x="7229475" y="4527551"/>
              <a:ext cx="850900" cy="490538"/>
            </a:xfrm>
            <a:custGeom>
              <a:avLst/>
              <a:gdLst>
                <a:gd name="T0" fmla="*/ 536 w 536"/>
                <a:gd name="T1" fmla="*/ 283 h 309"/>
                <a:gd name="T2" fmla="*/ 491 w 536"/>
                <a:gd name="T3" fmla="*/ 309 h 309"/>
                <a:gd name="T4" fmla="*/ 0 w 536"/>
                <a:gd name="T5" fmla="*/ 25 h 309"/>
                <a:gd name="T6" fmla="*/ 45 w 536"/>
                <a:gd name="T7" fmla="*/ 0 h 309"/>
                <a:gd name="T8" fmla="*/ 536 w 536"/>
                <a:gd name="T9" fmla="*/ 283 h 309"/>
              </a:gdLst>
              <a:ahLst/>
              <a:cxnLst>
                <a:cxn ang="0">
                  <a:pos x="T0" y="T1"/>
                </a:cxn>
                <a:cxn ang="0">
                  <a:pos x="T2" y="T3"/>
                </a:cxn>
                <a:cxn ang="0">
                  <a:pos x="T4" y="T5"/>
                </a:cxn>
                <a:cxn ang="0">
                  <a:pos x="T6" y="T7"/>
                </a:cxn>
                <a:cxn ang="0">
                  <a:pos x="T8" y="T9"/>
                </a:cxn>
              </a:cxnLst>
              <a:rect l="0" t="0" r="r" b="b"/>
              <a:pathLst>
                <a:path w="536" h="309">
                  <a:moveTo>
                    <a:pt x="536" y="283"/>
                  </a:moveTo>
                  <a:lnTo>
                    <a:pt x="491" y="309"/>
                  </a:lnTo>
                  <a:lnTo>
                    <a:pt x="0" y="25"/>
                  </a:lnTo>
                  <a:lnTo>
                    <a:pt x="45" y="0"/>
                  </a:lnTo>
                  <a:lnTo>
                    <a:pt x="536" y="283"/>
                  </a:lnTo>
                  <a:close/>
                </a:path>
              </a:pathLst>
            </a:custGeom>
            <a:solidFill>
              <a:srgbClr val="9AB5C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32" name="išļïdê">
              <a:extLst>
                <a:ext uri="{FF2B5EF4-FFF2-40B4-BE49-F238E27FC236}">
                  <a16:creationId xmlns:a16="http://schemas.microsoft.com/office/drawing/2014/main" id="{EF1C0DB6-A2E9-4FF5-B906-9A60D068471C}"/>
                </a:ext>
              </a:extLst>
            </p:cNvPr>
            <p:cNvSpPr/>
            <p:nvPr/>
          </p:nvSpPr>
          <p:spPr bwMode="auto">
            <a:xfrm>
              <a:off x="6667500" y="4192588"/>
              <a:ext cx="2006600" cy="1150938"/>
            </a:xfrm>
            <a:custGeom>
              <a:avLst/>
              <a:gdLst>
                <a:gd name="T0" fmla="*/ 696 w 1264"/>
                <a:gd name="T1" fmla="*/ 0 h 725"/>
                <a:gd name="T2" fmla="*/ 0 w 1264"/>
                <a:gd name="T3" fmla="*/ 400 h 725"/>
                <a:gd name="T4" fmla="*/ 562 w 1264"/>
                <a:gd name="T5" fmla="*/ 725 h 725"/>
                <a:gd name="T6" fmla="*/ 1264 w 1264"/>
                <a:gd name="T7" fmla="*/ 308 h 725"/>
                <a:gd name="T8" fmla="*/ 696 w 1264"/>
                <a:gd name="T9" fmla="*/ 0 h 725"/>
              </a:gdLst>
              <a:ahLst/>
              <a:cxnLst>
                <a:cxn ang="0">
                  <a:pos x="T0" y="T1"/>
                </a:cxn>
                <a:cxn ang="0">
                  <a:pos x="T2" y="T3"/>
                </a:cxn>
                <a:cxn ang="0">
                  <a:pos x="T4" y="T5"/>
                </a:cxn>
                <a:cxn ang="0">
                  <a:pos x="T6" y="T7"/>
                </a:cxn>
                <a:cxn ang="0">
                  <a:pos x="T8" y="T9"/>
                </a:cxn>
              </a:cxnLst>
              <a:rect l="0" t="0" r="r" b="b"/>
              <a:pathLst>
                <a:path w="1264" h="725">
                  <a:moveTo>
                    <a:pt x="696" y="0"/>
                  </a:moveTo>
                  <a:lnTo>
                    <a:pt x="0" y="400"/>
                  </a:lnTo>
                  <a:lnTo>
                    <a:pt x="562" y="725"/>
                  </a:lnTo>
                  <a:lnTo>
                    <a:pt x="1264" y="308"/>
                  </a:lnTo>
                  <a:lnTo>
                    <a:pt x="696" y="0"/>
                  </a:lnTo>
                  <a:close/>
                </a:path>
              </a:pathLst>
            </a:custGeom>
            <a:solidFill>
              <a:srgbClr val="FDFD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33" name="íṥlîḍê">
              <a:extLst>
                <a:ext uri="{FF2B5EF4-FFF2-40B4-BE49-F238E27FC236}">
                  <a16:creationId xmlns:a16="http://schemas.microsoft.com/office/drawing/2014/main" id="{CB44B469-5D05-47BE-8975-9E6DEAA6ABFF}"/>
                </a:ext>
              </a:extLst>
            </p:cNvPr>
            <p:cNvSpPr/>
            <p:nvPr/>
          </p:nvSpPr>
          <p:spPr bwMode="auto">
            <a:xfrm>
              <a:off x="7377113" y="4441826"/>
              <a:ext cx="850900" cy="490538"/>
            </a:xfrm>
            <a:custGeom>
              <a:avLst/>
              <a:gdLst>
                <a:gd name="T0" fmla="*/ 536 w 536"/>
                <a:gd name="T1" fmla="*/ 283 h 309"/>
                <a:gd name="T2" fmla="*/ 491 w 536"/>
                <a:gd name="T3" fmla="*/ 309 h 309"/>
                <a:gd name="T4" fmla="*/ 0 w 536"/>
                <a:gd name="T5" fmla="*/ 25 h 309"/>
                <a:gd name="T6" fmla="*/ 45 w 536"/>
                <a:gd name="T7" fmla="*/ 0 h 309"/>
                <a:gd name="T8" fmla="*/ 536 w 536"/>
                <a:gd name="T9" fmla="*/ 283 h 309"/>
              </a:gdLst>
              <a:ahLst/>
              <a:cxnLst>
                <a:cxn ang="0">
                  <a:pos x="T0" y="T1"/>
                </a:cxn>
                <a:cxn ang="0">
                  <a:pos x="T2" y="T3"/>
                </a:cxn>
                <a:cxn ang="0">
                  <a:pos x="T4" y="T5"/>
                </a:cxn>
                <a:cxn ang="0">
                  <a:pos x="T6" y="T7"/>
                </a:cxn>
                <a:cxn ang="0">
                  <a:pos x="T8" y="T9"/>
                </a:cxn>
              </a:cxnLst>
              <a:rect l="0" t="0" r="r" b="b"/>
              <a:pathLst>
                <a:path w="536" h="309">
                  <a:moveTo>
                    <a:pt x="536" y="283"/>
                  </a:moveTo>
                  <a:lnTo>
                    <a:pt x="491" y="309"/>
                  </a:lnTo>
                  <a:lnTo>
                    <a:pt x="0" y="25"/>
                  </a:lnTo>
                  <a:lnTo>
                    <a:pt x="45" y="0"/>
                  </a:lnTo>
                  <a:lnTo>
                    <a:pt x="536" y="283"/>
                  </a:lnTo>
                  <a:close/>
                </a:path>
              </a:pathLst>
            </a:custGeom>
            <a:solidFill>
              <a:srgbClr val="9AB5C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34" name="íslîḍe">
              <a:extLst>
                <a:ext uri="{FF2B5EF4-FFF2-40B4-BE49-F238E27FC236}">
                  <a16:creationId xmlns:a16="http://schemas.microsoft.com/office/drawing/2014/main" id="{0D5B9CFA-41AD-4E9C-B08B-3F4BD66155E1}"/>
                </a:ext>
              </a:extLst>
            </p:cNvPr>
            <p:cNvSpPr/>
            <p:nvPr/>
          </p:nvSpPr>
          <p:spPr bwMode="auto">
            <a:xfrm>
              <a:off x="7088188" y="4608513"/>
              <a:ext cx="850900" cy="490538"/>
            </a:xfrm>
            <a:custGeom>
              <a:avLst/>
              <a:gdLst>
                <a:gd name="T0" fmla="*/ 536 w 536"/>
                <a:gd name="T1" fmla="*/ 283 h 309"/>
                <a:gd name="T2" fmla="*/ 491 w 536"/>
                <a:gd name="T3" fmla="*/ 309 h 309"/>
                <a:gd name="T4" fmla="*/ 0 w 536"/>
                <a:gd name="T5" fmla="*/ 26 h 309"/>
                <a:gd name="T6" fmla="*/ 45 w 536"/>
                <a:gd name="T7" fmla="*/ 0 h 309"/>
                <a:gd name="T8" fmla="*/ 536 w 536"/>
                <a:gd name="T9" fmla="*/ 283 h 309"/>
              </a:gdLst>
              <a:ahLst/>
              <a:cxnLst>
                <a:cxn ang="0">
                  <a:pos x="T0" y="T1"/>
                </a:cxn>
                <a:cxn ang="0">
                  <a:pos x="T2" y="T3"/>
                </a:cxn>
                <a:cxn ang="0">
                  <a:pos x="T4" y="T5"/>
                </a:cxn>
                <a:cxn ang="0">
                  <a:pos x="T6" y="T7"/>
                </a:cxn>
                <a:cxn ang="0">
                  <a:pos x="T8" y="T9"/>
                </a:cxn>
              </a:cxnLst>
              <a:rect l="0" t="0" r="r" b="b"/>
              <a:pathLst>
                <a:path w="536" h="309">
                  <a:moveTo>
                    <a:pt x="536" y="283"/>
                  </a:moveTo>
                  <a:lnTo>
                    <a:pt x="491" y="309"/>
                  </a:lnTo>
                  <a:lnTo>
                    <a:pt x="0" y="26"/>
                  </a:lnTo>
                  <a:lnTo>
                    <a:pt x="45" y="0"/>
                  </a:lnTo>
                  <a:lnTo>
                    <a:pt x="536" y="283"/>
                  </a:lnTo>
                  <a:close/>
                </a:path>
              </a:pathLst>
            </a:custGeom>
            <a:solidFill>
              <a:srgbClr val="9AB5C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35" name="íṡľiďè">
              <a:extLst>
                <a:ext uri="{FF2B5EF4-FFF2-40B4-BE49-F238E27FC236}">
                  <a16:creationId xmlns:a16="http://schemas.microsoft.com/office/drawing/2014/main" id="{1B1770F4-58EF-4A9C-B818-A5CCC0A3D97F}"/>
                </a:ext>
              </a:extLst>
            </p:cNvPr>
            <p:cNvSpPr/>
            <p:nvPr/>
          </p:nvSpPr>
          <p:spPr bwMode="auto">
            <a:xfrm>
              <a:off x="6946900" y="4689476"/>
              <a:ext cx="850900" cy="492125"/>
            </a:xfrm>
            <a:custGeom>
              <a:avLst/>
              <a:gdLst>
                <a:gd name="T0" fmla="*/ 536 w 536"/>
                <a:gd name="T1" fmla="*/ 284 h 310"/>
                <a:gd name="T2" fmla="*/ 491 w 536"/>
                <a:gd name="T3" fmla="*/ 310 h 310"/>
                <a:gd name="T4" fmla="*/ 0 w 536"/>
                <a:gd name="T5" fmla="*/ 27 h 310"/>
                <a:gd name="T6" fmla="*/ 45 w 536"/>
                <a:gd name="T7" fmla="*/ 0 h 310"/>
                <a:gd name="T8" fmla="*/ 536 w 536"/>
                <a:gd name="T9" fmla="*/ 284 h 310"/>
              </a:gdLst>
              <a:ahLst/>
              <a:cxnLst>
                <a:cxn ang="0">
                  <a:pos x="T0" y="T1"/>
                </a:cxn>
                <a:cxn ang="0">
                  <a:pos x="T2" y="T3"/>
                </a:cxn>
                <a:cxn ang="0">
                  <a:pos x="T4" y="T5"/>
                </a:cxn>
                <a:cxn ang="0">
                  <a:pos x="T6" y="T7"/>
                </a:cxn>
                <a:cxn ang="0">
                  <a:pos x="T8" y="T9"/>
                </a:cxn>
              </a:cxnLst>
              <a:rect l="0" t="0" r="r" b="b"/>
              <a:pathLst>
                <a:path w="536" h="310">
                  <a:moveTo>
                    <a:pt x="536" y="284"/>
                  </a:moveTo>
                  <a:lnTo>
                    <a:pt x="491" y="310"/>
                  </a:lnTo>
                  <a:lnTo>
                    <a:pt x="0" y="27"/>
                  </a:lnTo>
                  <a:lnTo>
                    <a:pt x="45" y="0"/>
                  </a:lnTo>
                  <a:lnTo>
                    <a:pt x="536" y="284"/>
                  </a:lnTo>
                  <a:close/>
                </a:path>
              </a:pathLst>
            </a:custGeom>
            <a:solidFill>
              <a:srgbClr val="9AB5C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36" name="ïṧ1ïďê">
              <a:extLst>
                <a:ext uri="{FF2B5EF4-FFF2-40B4-BE49-F238E27FC236}">
                  <a16:creationId xmlns:a16="http://schemas.microsoft.com/office/drawing/2014/main" id="{E60E5770-E2D5-416B-840E-862B723FDC8C}"/>
                </a:ext>
              </a:extLst>
            </p:cNvPr>
            <p:cNvSpPr/>
            <p:nvPr/>
          </p:nvSpPr>
          <p:spPr bwMode="auto">
            <a:xfrm>
              <a:off x="7559675" y="4683126"/>
              <a:ext cx="1114425" cy="708025"/>
            </a:xfrm>
            <a:custGeom>
              <a:avLst/>
              <a:gdLst>
                <a:gd name="T0" fmla="*/ 702 w 702"/>
                <a:gd name="T1" fmla="*/ 0 h 446"/>
                <a:gd name="T2" fmla="*/ 701 w 702"/>
                <a:gd name="T3" fmla="*/ 31 h 446"/>
                <a:gd name="T4" fmla="*/ 0 w 702"/>
                <a:gd name="T5" fmla="*/ 446 h 446"/>
                <a:gd name="T6" fmla="*/ 0 w 702"/>
                <a:gd name="T7" fmla="*/ 410 h 446"/>
                <a:gd name="T8" fmla="*/ 702 w 702"/>
                <a:gd name="T9" fmla="*/ 0 h 446"/>
              </a:gdLst>
              <a:ahLst/>
              <a:cxnLst>
                <a:cxn ang="0">
                  <a:pos x="T0" y="T1"/>
                </a:cxn>
                <a:cxn ang="0">
                  <a:pos x="T2" y="T3"/>
                </a:cxn>
                <a:cxn ang="0">
                  <a:pos x="T4" y="T5"/>
                </a:cxn>
                <a:cxn ang="0">
                  <a:pos x="T6" y="T7"/>
                </a:cxn>
                <a:cxn ang="0">
                  <a:pos x="T8" y="T9"/>
                </a:cxn>
              </a:cxnLst>
              <a:rect l="0" t="0" r="r" b="b"/>
              <a:pathLst>
                <a:path w="702" h="446">
                  <a:moveTo>
                    <a:pt x="702" y="0"/>
                  </a:moveTo>
                  <a:lnTo>
                    <a:pt x="701" y="31"/>
                  </a:lnTo>
                  <a:lnTo>
                    <a:pt x="0" y="446"/>
                  </a:lnTo>
                  <a:lnTo>
                    <a:pt x="0" y="410"/>
                  </a:lnTo>
                  <a:lnTo>
                    <a:pt x="702" y="0"/>
                  </a:lnTo>
                  <a:close/>
                </a:path>
              </a:pathLst>
            </a:custGeom>
            <a:solidFill>
              <a:srgbClr val="9C9B9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37" name="îśḷîďe">
              <a:extLst>
                <a:ext uri="{FF2B5EF4-FFF2-40B4-BE49-F238E27FC236}">
                  <a16:creationId xmlns:a16="http://schemas.microsoft.com/office/drawing/2014/main" id="{3F5AECD6-35FF-4FB5-B5CC-EC38E3B58F8E}"/>
                </a:ext>
              </a:extLst>
            </p:cNvPr>
            <p:cNvSpPr/>
            <p:nvPr/>
          </p:nvSpPr>
          <p:spPr bwMode="auto">
            <a:xfrm>
              <a:off x="6667500" y="4821238"/>
              <a:ext cx="893763" cy="568325"/>
            </a:xfrm>
            <a:custGeom>
              <a:avLst/>
              <a:gdLst>
                <a:gd name="T0" fmla="*/ 563 w 563"/>
                <a:gd name="T1" fmla="*/ 324 h 358"/>
                <a:gd name="T2" fmla="*/ 563 w 563"/>
                <a:gd name="T3" fmla="*/ 358 h 358"/>
                <a:gd name="T4" fmla="*/ 0 w 563"/>
                <a:gd name="T5" fmla="*/ 30 h 358"/>
                <a:gd name="T6" fmla="*/ 0 w 563"/>
                <a:gd name="T7" fmla="*/ 0 h 358"/>
                <a:gd name="T8" fmla="*/ 563 w 563"/>
                <a:gd name="T9" fmla="*/ 324 h 358"/>
              </a:gdLst>
              <a:ahLst/>
              <a:cxnLst>
                <a:cxn ang="0">
                  <a:pos x="T0" y="T1"/>
                </a:cxn>
                <a:cxn ang="0">
                  <a:pos x="T2" y="T3"/>
                </a:cxn>
                <a:cxn ang="0">
                  <a:pos x="T4" y="T5"/>
                </a:cxn>
                <a:cxn ang="0">
                  <a:pos x="T6" y="T7"/>
                </a:cxn>
                <a:cxn ang="0">
                  <a:pos x="T8" y="T9"/>
                </a:cxn>
              </a:cxnLst>
              <a:rect l="0" t="0" r="r" b="b"/>
              <a:pathLst>
                <a:path w="563" h="358">
                  <a:moveTo>
                    <a:pt x="563" y="324"/>
                  </a:moveTo>
                  <a:lnTo>
                    <a:pt x="563" y="358"/>
                  </a:lnTo>
                  <a:lnTo>
                    <a:pt x="0" y="30"/>
                  </a:lnTo>
                  <a:lnTo>
                    <a:pt x="0" y="0"/>
                  </a:lnTo>
                  <a:lnTo>
                    <a:pt x="563" y="324"/>
                  </a:lnTo>
                  <a:close/>
                </a:path>
              </a:pathLst>
            </a:custGeom>
            <a:solidFill>
              <a:srgbClr val="D9D9D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38" name="iśľíḋê">
              <a:extLst>
                <a:ext uri="{FF2B5EF4-FFF2-40B4-BE49-F238E27FC236}">
                  <a16:creationId xmlns:a16="http://schemas.microsoft.com/office/drawing/2014/main" id="{4363B542-370B-4AAB-8359-2C7516C43995}"/>
                </a:ext>
              </a:extLst>
            </p:cNvPr>
            <p:cNvSpPr/>
            <p:nvPr/>
          </p:nvSpPr>
          <p:spPr bwMode="auto">
            <a:xfrm>
              <a:off x="7224713" y="4529138"/>
              <a:ext cx="850900" cy="490538"/>
            </a:xfrm>
            <a:custGeom>
              <a:avLst/>
              <a:gdLst>
                <a:gd name="T0" fmla="*/ 536 w 536"/>
                <a:gd name="T1" fmla="*/ 284 h 309"/>
                <a:gd name="T2" fmla="*/ 491 w 536"/>
                <a:gd name="T3" fmla="*/ 309 h 309"/>
                <a:gd name="T4" fmla="*/ 0 w 536"/>
                <a:gd name="T5" fmla="*/ 26 h 309"/>
                <a:gd name="T6" fmla="*/ 44 w 536"/>
                <a:gd name="T7" fmla="*/ 0 h 309"/>
                <a:gd name="T8" fmla="*/ 536 w 536"/>
                <a:gd name="T9" fmla="*/ 284 h 309"/>
              </a:gdLst>
              <a:ahLst/>
              <a:cxnLst>
                <a:cxn ang="0">
                  <a:pos x="T0" y="T1"/>
                </a:cxn>
                <a:cxn ang="0">
                  <a:pos x="T2" y="T3"/>
                </a:cxn>
                <a:cxn ang="0">
                  <a:pos x="T4" y="T5"/>
                </a:cxn>
                <a:cxn ang="0">
                  <a:pos x="T6" y="T7"/>
                </a:cxn>
                <a:cxn ang="0">
                  <a:pos x="T8" y="T9"/>
                </a:cxn>
              </a:cxnLst>
              <a:rect l="0" t="0" r="r" b="b"/>
              <a:pathLst>
                <a:path w="536" h="309">
                  <a:moveTo>
                    <a:pt x="536" y="284"/>
                  </a:moveTo>
                  <a:lnTo>
                    <a:pt x="491" y="309"/>
                  </a:lnTo>
                  <a:lnTo>
                    <a:pt x="0" y="26"/>
                  </a:lnTo>
                  <a:lnTo>
                    <a:pt x="44" y="0"/>
                  </a:lnTo>
                  <a:lnTo>
                    <a:pt x="536" y="284"/>
                  </a:lnTo>
                  <a:close/>
                </a:path>
              </a:pathLst>
            </a:custGeom>
            <a:solidFill>
              <a:srgbClr val="9AB5C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39" name="íṩḻîḋè">
              <a:extLst>
                <a:ext uri="{FF2B5EF4-FFF2-40B4-BE49-F238E27FC236}">
                  <a16:creationId xmlns:a16="http://schemas.microsoft.com/office/drawing/2014/main" id="{C9CB7FC1-7DF9-4965-8AD5-8FE158C8FFF9}"/>
                </a:ext>
              </a:extLst>
            </p:cNvPr>
            <p:cNvSpPr/>
            <p:nvPr/>
          </p:nvSpPr>
          <p:spPr bwMode="auto">
            <a:xfrm>
              <a:off x="7502525" y="4362451"/>
              <a:ext cx="850900" cy="490538"/>
            </a:xfrm>
            <a:custGeom>
              <a:avLst/>
              <a:gdLst>
                <a:gd name="T0" fmla="*/ 536 w 536"/>
                <a:gd name="T1" fmla="*/ 283 h 309"/>
                <a:gd name="T2" fmla="*/ 491 w 536"/>
                <a:gd name="T3" fmla="*/ 309 h 309"/>
                <a:gd name="T4" fmla="*/ 0 w 536"/>
                <a:gd name="T5" fmla="*/ 26 h 309"/>
                <a:gd name="T6" fmla="*/ 44 w 536"/>
                <a:gd name="T7" fmla="*/ 0 h 309"/>
                <a:gd name="T8" fmla="*/ 536 w 536"/>
                <a:gd name="T9" fmla="*/ 283 h 309"/>
              </a:gdLst>
              <a:ahLst/>
              <a:cxnLst>
                <a:cxn ang="0">
                  <a:pos x="T0" y="T1"/>
                </a:cxn>
                <a:cxn ang="0">
                  <a:pos x="T2" y="T3"/>
                </a:cxn>
                <a:cxn ang="0">
                  <a:pos x="T4" y="T5"/>
                </a:cxn>
                <a:cxn ang="0">
                  <a:pos x="T6" y="T7"/>
                </a:cxn>
                <a:cxn ang="0">
                  <a:pos x="T8" y="T9"/>
                </a:cxn>
              </a:cxnLst>
              <a:rect l="0" t="0" r="r" b="b"/>
              <a:pathLst>
                <a:path w="536" h="309">
                  <a:moveTo>
                    <a:pt x="536" y="283"/>
                  </a:moveTo>
                  <a:lnTo>
                    <a:pt x="491" y="309"/>
                  </a:lnTo>
                  <a:lnTo>
                    <a:pt x="0" y="26"/>
                  </a:lnTo>
                  <a:lnTo>
                    <a:pt x="44" y="0"/>
                  </a:lnTo>
                  <a:lnTo>
                    <a:pt x="536" y="283"/>
                  </a:lnTo>
                  <a:close/>
                </a:path>
              </a:pathLst>
            </a:custGeom>
            <a:solidFill>
              <a:srgbClr val="E2061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40" name="îŝľîḑé">
              <a:extLst>
                <a:ext uri="{FF2B5EF4-FFF2-40B4-BE49-F238E27FC236}">
                  <a16:creationId xmlns:a16="http://schemas.microsoft.com/office/drawing/2014/main" id="{6A795B98-D4DE-4E78-AE40-9BE6CFEC7463}"/>
                </a:ext>
              </a:extLst>
            </p:cNvPr>
            <p:cNvSpPr/>
            <p:nvPr/>
          </p:nvSpPr>
          <p:spPr bwMode="auto">
            <a:xfrm>
              <a:off x="5864225" y="4943476"/>
              <a:ext cx="207963" cy="82550"/>
            </a:xfrm>
            <a:custGeom>
              <a:avLst/>
              <a:gdLst>
                <a:gd name="T0" fmla="*/ 155 w 158"/>
                <a:gd name="T1" fmla="*/ 0 h 63"/>
                <a:gd name="T2" fmla="*/ 148 w 158"/>
                <a:gd name="T3" fmla="*/ 49 h 63"/>
                <a:gd name="T4" fmla="*/ 80 w 158"/>
                <a:gd name="T5" fmla="*/ 61 h 63"/>
                <a:gd name="T6" fmla="*/ 16 w 158"/>
                <a:gd name="T7" fmla="*/ 51 h 63"/>
                <a:gd name="T8" fmla="*/ 29 w 158"/>
                <a:gd name="T9" fmla="*/ 26 h 63"/>
                <a:gd name="T10" fmla="*/ 63 w 158"/>
                <a:gd name="T11" fmla="*/ 18 h 63"/>
                <a:gd name="T12" fmla="*/ 82 w 158"/>
                <a:gd name="T13" fmla="*/ 0 h 63"/>
              </a:gdLst>
              <a:ahLst/>
              <a:cxnLst>
                <a:cxn ang="0">
                  <a:pos x="T0" y="T1"/>
                </a:cxn>
                <a:cxn ang="0">
                  <a:pos x="T2" y="T3"/>
                </a:cxn>
                <a:cxn ang="0">
                  <a:pos x="T4" y="T5"/>
                </a:cxn>
                <a:cxn ang="0">
                  <a:pos x="T6" y="T7"/>
                </a:cxn>
                <a:cxn ang="0">
                  <a:pos x="T8" y="T9"/>
                </a:cxn>
                <a:cxn ang="0">
                  <a:pos x="T10" y="T11"/>
                </a:cxn>
                <a:cxn ang="0">
                  <a:pos x="T12" y="T13"/>
                </a:cxn>
              </a:cxnLst>
              <a:rect l="0" t="0" r="r" b="b"/>
              <a:pathLst>
                <a:path w="158" h="63">
                  <a:moveTo>
                    <a:pt x="155" y="0"/>
                  </a:moveTo>
                  <a:cubicBezTo>
                    <a:pt x="155" y="14"/>
                    <a:pt x="158" y="38"/>
                    <a:pt x="148" y="49"/>
                  </a:cubicBezTo>
                  <a:cubicBezTo>
                    <a:pt x="135" y="63"/>
                    <a:pt x="98" y="60"/>
                    <a:pt x="80" y="61"/>
                  </a:cubicBezTo>
                  <a:cubicBezTo>
                    <a:pt x="61" y="61"/>
                    <a:pt x="31" y="63"/>
                    <a:pt x="16" y="51"/>
                  </a:cubicBezTo>
                  <a:cubicBezTo>
                    <a:pt x="0" y="38"/>
                    <a:pt x="15" y="30"/>
                    <a:pt x="29" y="26"/>
                  </a:cubicBezTo>
                  <a:cubicBezTo>
                    <a:pt x="40" y="22"/>
                    <a:pt x="52" y="21"/>
                    <a:pt x="63" y="18"/>
                  </a:cubicBezTo>
                  <a:cubicBezTo>
                    <a:pt x="75" y="14"/>
                    <a:pt x="76" y="9"/>
                    <a:pt x="82"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41" name="îS1iďè">
              <a:extLst>
                <a:ext uri="{FF2B5EF4-FFF2-40B4-BE49-F238E27FC236}">
                  <a16:creationId xmlns:a16="http://schemas.microsoft.com/office/drawing/2014/main" id="{CEF2549C-215F-49CE-B5F6-A019CA6024A8}"/>
                </a:ext>
              </a:extLst>
            </p:cNvPr>
            <p:cNvSpPr/>
            <p:nvPr/>
          </p:nvSpPr>
          <p:spPr bwMode="auto">
            <a:xfrm>
              <a:off x="6024563" y="4857751"/>
              <a:ext cx="207963" cy="84138"/>
            </a:xfrm>
            <a:custGeom>
              <a:avLst/>
              <a:gdLst>
                <a:gd name="T0" fmla="*/ 155 w 158"/>
                <a:gd name="T1" fmla="*/ 1 h 64"/>
                <a:gd name="T2" fmla="*/ 148 w 158"/>
                <a:gd name="T3" fmla="*/ 50 h 64"/>
                <a:gd name="T4" fmla="*/ 80 w 158"/>
                <a:gd name="T5" fmla="*/ 61 h 64"/>
                <a:gd name="T6" fmla="*/ 16 w 158"/>
                <a:gd name="T7" fmla="*/ 52 h 64"/>
                <a:gd name="T8" fmla="*/ 29 w 158"/>
                <a:gd name="T9" fmla="*/ 26 h 64"/>
                <a:gd name="T10" fmla="*/ 63 w 158"/>
                <a:gd name="T11" fmla="*/ 19 h 64"/>
                <a:gd name="T12" fmla="*/ 82 w 158"/>
                <a:gd name="T13" fmla="*/ 0 h 64"/>
              </a:gdLst>
              <a:ahLst/>
              <a:cxnLst>
                <a:cxn ang="0">
                  <a:pos x="T0" y="T1"/>
                </a:cxn>
                <a:cxn ang="0">
                  <a:pos x="T2" y="T3"/>
                </a:cxn>
                <a:cxn ang="0">
                  <a:pos x="T4" y="T5"/>
                </a:cxn>
                <a:cxn ang="0">
                  <a:pos x="T6" y="T7"/>
                </a:cxn>
                <a:cxn ang="0">
                  <a:pos x="T8" y="T9"/>
                </a:cxn>
                <a:cxn ang="0">
                  <a:pos x="T10" y="T11"/>
                </a:cxn>
                <a:cxn ang="0">
                  <a:pos x="T12" y="T13"/>
                </a:cxn>
              </a:cxnLst>
              <a:rect l="0" t="0" r="r" b="b"/>
              <a:pathLst>
                <a:path w="158" h="64">
                  <a:moveTo>
                    <a:pt x="155" y="1"/>
                  </a:moveTo>
                  <a:cubicBezTo>
                    <a:pt x="155" y="15"/>
                    <a:pt x="158" y="39"/>
                    <a:pt x="148" y="50"/>
                  </a:cubicBezTo>
                  <a:cubicBezTo>
                    <a:pt x="135" y="64"/>
                    <a:pt x="98" y="61"/>
                    <a:pt x="80" y="61"/>
                  </a:cubicBezTo>
                  <a:cubicBezTo>
                    <a:pt x="61" y="62"/>
                    <a:pt x="31" y="64"/>
                    <a:pt x="16" y="52"/>
                  </a:cubicBezTo>
                  <a:cubicBezTo>
                    <a:pt x="0" y="39"/>
                    <a:pt x="15" y="31"/>
                    <a:pt x="29" y="26"/>
                  </a:cubicBezTo>
                  <a:cubicBezTo>
                    <a:pt x="40" y="22"/>
                    <a:pt x="52" y="22"/>
                    <a:pt x="63" y="19"/>
                  </a:cubicBezTo>
                  <a:cubicBezTo>
                    <a:pt x="76" y="15"/>
                    <a:pt x="76" y="9"/>
                    <a:pt x="82"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42" name="ïṥḷíde">
              <a:extLst>
                <a:ext uri="{FF2B5EF4-FFF2-40B4-BE49-F238E27FC236}">
                  <a16:creationId xmlns:a16="http://schemas.microsoft.com/office/drawing/2014/main" id="{7ACEB4C8-5AF0-4EFC-80E2-2DC2B8ED8BA1}"/>
                </a:ext>
              </a:extLst>
            </p:cNvPr>
            <p:cNvSpPr/>
            <p:nvPr/>
          </p:nvSpPr>
          <p:spPr bwMode="auto">
            <a:xfrm>
              <a:off x="5940425" y="4049713"/>
              <a:ext cx="223838" cy="901700"/>
            </a:xfrm>
            <a:custGeom>
              <a:avLst/>
              <a:gdLst>
                <a:gd name="T0" fmla="*/ 170 w 170"/>
                <a:gd name="T1" fmla="*/ 0 h 686"/>
                <a:gd name="T2" fmla="*/ 101 w 170"/>
                <a:gd name="T3" fmla="*/ 404 h 686"/>
                <a:gd name="T4" fmla="*/ 105 w 170"/>
                <a:gd name="T5" fmla="*/ 686 h 686"/>
                <a:gd name="T6" fmla="*/ 10 w 170"/>
                <a:gd name="T7" fmla="*/ 684 h 686"/>
                <a:gd name="T8" fmla="*/ 0 w 170"/>
                <a:gd name="T9" fmla="*/ 372 h 686"/>
                <a:gd name="T10" fmla="*/ 0 w 170"/>
                <a:gd name="T11" fmla="*/ 31 h 686"/>
                <a:gd name="T12" fmla="*/ 170 w 170"/>
                <a:gd name="T13" fmla="*/ 0 h 686"/>
              </a:gdLst>
              <a:ahLst/>
              <a:cxnLst>
                <a:cxn ang="0">
                  <a:pos x="T0" y="T1"/>
                </a:cxn>
                <a:cxn ang="0">
                  <a:pos x="T2" y="T3"/>
                </a:cxn>
                <a:cxn ang="0">
                  <a:pos x="T4" y="T5"/>
                </a:cxn>
                <a:cxn ang="0">
                  <a:pos x="T6" y="T7"/>
                </a:cxn>
                <a:cxn ang="0">
                  <a:pos x="T8" y="T9"/>
                </a:cxn>
                <a:cxn ang="0">
                  <a:pos x="T10" y="T11"/>
                </a:cxn>
                <a:cxn ang="0">
                  <a:pos x="T12" y="T13"/>
                </a:cxn>
              </a:cxnLst>
              <a:rect l="0" t="0" r="r" b="b"/>
              <a:pathLst>
                <a:path w="170" h="686">
                  <a:moveTo>
                    <a:pt x="170" y="0"/>
                  </a:moveTo>
                  <a:cubicBezTo>
                    <a:pt x="170" y="0"/>
                    <a:pt x="123" y="302"/>
                    <a:pt x="101" y="404"/>
                  </a:cubicBezTo>
                  <a:cubicBezTo>
                    <a:pt x="105" y="686"/>
                    <a:pt x="105" y="686"/>
                    <a:pt x="105" y="686"/>
                  </a:cubicBezTo>
                  <a:cubicBezTo>
                    <a:pt x="10" y="684"/>
                    <a:pt x="10" y="684"/>
                    <a:pt x="10" y="684"/>
                  </a:cubicBezTo>
                  <a:cubicBezTo>
                    <a:pt x="0" y="372"/>
                    <a:pt x="0" y="372"/>
                    <a:pt x="0" y="372"/>
                  </a:cubicBezTo>
                  <a:cubicBezTo>
                    <a:pt x="0" y="31"/>
                    <a:pt x="0" y="31"/>
                    <a:pt x="0" y="31"/>
                  </a:cubicBezTo>
                  <a:cubicBezTo>
                    <a:pt x="170" y="0"/>
                    <a:pt x="170" y="0"/>
                    <a:pt x="170" y="0"/>
                  </a:cubicBezTo>
                </a:path>
              </a:pathLst>
            </a:custGeom>
            <a:solidFill>
              <a:srgbClr val="5387D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43" name="iṧliḍe">
              <a:extLst>
                <a:ext uri="{FF2B5EF4-FFF2-40B4-BE49-F238E27FC236}">
                  <a16:creationId xmlns:a16="http://schemas.microsoft.com/office/drawing/2014/main" id="{D94CC79D-27E5-4DD4-9585-5CE99FA013C1}"/>
                </a:ext>
              </a:extLst>
            </p:cNvPr>
            <p:cNvSpPr/>
            <p:nvPr/>
          </p:nvSpPr>
          <p:spPr bwMode="auto">
            <a:xfrm>
              <a:off x="6072188" y="4049713"/>
              <a:ext cx="163513" cy="815975"/>
            </a:xfrm>
            <a:custGeom>
              <a:avLst/>
              <a:gdLst>
                <a:gd name="T0" fmla="*/ 94 w 103"/>
                <a:gd name="T1" fmla="*/ 0 h 514"/>
                <a:gd name="T2" fmla="*/ 83 w 103"/>
                <a:gd name="T3" fmla="*/ 292 h 514"/>
                <a:gd name="T4" fmla="*/ 103 w 103"/>
                <a:gd name="T5" fmla="*/ 514 h 514"/>
                <a:gd name="T6" fmla="*/ 30 w 103"/>
                <a:gd name="T7" fmla="*/ 514 h 514"/>
                <a:gd name="T8" fmla="*/ 0 w 103"/>
                <a:gd name="T9" fmla="*/ 282 h 514"/>
                <a:gd name="T10" fmla="*/ 5 w 103"/>
                <a:gd name="T11" fmla="*/ 13 h 514"/>
                <a:gd name="T12" fmla="*/ 94 w 103"/>
                <a:gd name="T13" fmla="*/ 0 h 514"/>
              </a:gdLst>
              <a:ahLst/>
              <a:cxnLst>
                <a:cxn ang="0">
                  <a:pos x="T0" y="T1"/>
                </a:cxn>
                <a:cxn ang="0">
                  <a:pos x="T2" y="T3"/>
                </a:cxn>
                <a:cxn ang="0">
                  <a:pos x="T4" y="T5"/>
                </a:cxn>
                <a:cxn ang="0">
                  <a:pos x="T6" y="T7"/>
                </a:cxn>
                <a:cxn ang="0">
                  <a:pos x="T8" y="T9"/>
                </a:cxn>
                <a:cxn ang="0">
                  <a:pos x="T10" y="T11"/>
                </a:cxn>
                <a:cxn ang="0">
                  <a:pos x="T12" y="T13"/>
                </a:cxn>
              </a:cxnLst>
              <a:rect l="0" t="0" r="r" b="b"/>
              <a:pathLst>
                <a:path w="103" h="514">
                  <a:moveTo>
                    <a:pt x="94" y="0"/>
                  </a:moveTo>
                  <a:lnTo>
                    <a:pt x="83" y="292"/>
                  </a:lnTo>
                  <a:lnTo>
                    <a:pt x="103" y="514"/>
                  </a:lnTo>
                  <a:lnTo>
                    <a:pt x="30" y="514"/>
                  </a:lnTo>
                  <a:lnTo>
                    <a:pt x="0" y="282"/>
                  </a:lnTo>
                  <a:lnTo>
                    <a:pt x="5" y="13"/>
                  </a:lnTo>
                  <a:lnTo>
                    <a:pt x="94" y="0"/>
                  </a:lnTo>
                  <a:close/>
                </a:path>
              </a:pathLst>
            </a:custGeom>
            <a:solidFill>
              <a:srgbClr val="5387D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44" name="îs1îďè">
              <a:extLst>
                <a:ext uri="{FF2B5EF4-FFF2-40B4-BE49-F238E27FC236}">
                  <a16:creationId xmlns:a16="http://schemas.microsoft.com/office/drawing/2014/main" id="{A34FEC30-709A-4AAA-A607-309F7C9BB6E7}"/>
                </a:ext>
              </a:extLst>
            </p:cNvPr>
            <p:cNvSpPr/>
            <p:nvPr/>
          </p:nvSpPr>
          <p:spPr bwMode="auto">
            <a:xfrm>
              <a:off x="6072188" y="4049713"/>
              <a:ext cx="163513" cy="815975"/>
            </a:xfrm>
            <a:custGeom>
              <a:avLst/>
              <a:gdLst>
                <a:gd name="T0" fmla="*/ 94 w 103"/>
                <a:gd name="T1" fmla="*/ 0 h 514"/>
                <a:gd name="T2" fmla="*/ 83 w 103"/>
                <a:gd name="T3" fmla="*/ 292 h 514"/>
                <a:gd name="T4" fmla="*/ 103 w 103"/>
                <a:gd name="T5" fmla="*/ 514 h 514"/>
                <a:gd name="T6" fmla="*/ 30 w 103"/>
                <a:gd name="T7" fmla="*/ 514 h 514"/>
                <a:gd name="T8" fmla="*/ 0 w 103"/>
                <a:gd name="T9" fmla="*/ 282 h 514"/>
                <a:gd name="T10" fmla="*/ 5 w 103"/>
                <a:gd name="T11" fmla="*/ 13 h 514"/>
                <a:gd name="T12" fmla="*/ 94 w 103"/>
                <a:gd name="T13" fmla="*/ 0 h 514"/>
              </a:gdLst>
              <a:ahLst/>
              <a:cxnLst>
                <a:cxn ang="0">
                  <a:pos x="T0" y="T1"/>
                </a:cxn>
                <a:cxn ang="0">
                  <a:pos x="T2" y="T3"/>
                </a:cxn>
                <a:cxn ang="0">
                  <a:pos x="T4" y="T5"/>
                </a:cxn>
                <a:cxn ang="0">
                  <a:pos x="T6" y="T7"/>
                </a:cxn>
                <a:cxn ang="0">
                  <a:pos x="T8" y="T9"/>
                </a:cxn>
                <a:cxn ang="0">
                  <a:pos x="T10" y="T11"/>
                </a:cxn>
                <a:cxn ang="0">
                  <a:pos x="T12" y="T13"/>
                </a:cxn>
              </a:cxnLst>
              <a:rect l="0" t="0" r="r" b="b"/>
              <a:pathLst>
                <a:path w="103" h="514">
                  <a:moveTo>
                    <a:pt x="94" y="0"/>
                  </a:moveTo>
                  <a:lnTo>
                    <a:pt x="83" y="292"/>
                  </a:lnTo>
                  <a:lnTo>
                    <a:pt x="103" y="514"/>
                  </a:lnTo>
                  <a:lnTo>
                    <a:pt x="30" y="514"/>
                  </a:lnTo>
                  <a:lnTo>
                    <a:pt x="0" y="282"/>
                  </a:lnTo>
                  <a:lnTo>
                    <a:pt x="5" y="13"/>
                  </a:lnTo>
                  <a:lnTo>
                    <a:pt x="9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45" name="í$ļîḋe">
              <a:extLst>
                <a:ext uri="{FF2B5EF4-FFF2-40B4-BE49-F238E27FC236}">
                  <a16:creationId xmlns:a16="http://schemas.microsoft.com/office/drawing/2014/main" id="{56EC1306-8A65-41F9-9711-44460E5E8358}"/>
                </a:ext>
              </a:extLst>
            </p:cNvPr>
            <p:cNvSpPr/>
            <p:nvPr/>
          </p:nvSpPr>
          <p:spPr bwMode="auto">
            <a:xfrm>
              <a:off x="5903913" y="3427413"/>
              <a:ext cx="330200" cy="708025"/>
            </a:xfrm>
            <a:custGeom>
              <a:avLst/>
              <a:gdLst>
                <a:gd name="T0" fmla="*/ 78 w 250"/>
                <a:gd name="T1" fmla="*/ 6 h 538"/>
                <a:gd name="T2" fmla="*/ 136 w 250"/>
                <a:gd name="T3" fmla="*/ 0 h 538"/>
                <a:gd name="T4" fmla="*/ 250 w 250"/>
                <a:gd name="T5" fmla="*/ 101 h 538"/>
                <a:gd name="T6" fmla="*/ 229 w 250"/>
                <a:gd name="T7" fmla="*/ 310 h 538"/>
                <a:gd name="T8" fmla="*/ 246 w 250"/>
                <a:gd name="T9" fmla="*/ 488 h 538"/>
                <a:gd name="T10" fmla="*/ 23 w 250"/>
                <a:gd name="T11" fmla="*/ 515 h 538"/>
                <a:gd name="T12" fmla="*/ 0 w 250"/>
                <a:gd name="T13" fmla="*/ 120 h 538"/>
                <a:gd name="T14" fmla="*/ 78 w 250"/>
                <a:gd name="T15" fmla="*/ 6 h 5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538">
                  <a:moveTo>
                    <a:pt x="78" y="6"/>
                  </a:moveTo>
                  <a:cubicBezTo>
                    <a:pt x="136" y="0"/>
                    <a:pt x="136" y="0"/>
                    <a:pt x="136" y="0"/>
                  </a:cubicBezTo>
                  <a:cubicBezTo>
                    <a:pt x="136" y="0"/>
                    <a:pt x="242" y="67"/>
                    <a:pt x="250" y="101"/>
                  </a:cubicBezTo>
                  <a:cubicBezTo>
                    <a:pt x="229" y="310"/>
                    <a:pt x="229" y="310"/>
                    <a:pt x="229" y="310"/>
                  </a:cubicBezTo>
                  <a:cubicBezTo>
                    <a:pt x="246" y="488"/>
                    <a:pt x="246" y="488"/>
                    <a:pt x="246" y="488"/>
                  </a:cubicBezTo>
                  <a:cubicBezTo>
                    <a:pt x="246" y="488"/>
                    <a:pt x="133" y="538"/>
                    <a:pt x="23" y="515"/>
                  </a:cubicBezTo>
                  <a:cubicBezTo>
                    <a:pt x="0" y="120"/>
                    <a:pt x="0" y="120"/>
                    <a:pt x="0" y="120"/>
                  </a:cubicBezTo>
                  <a:cubicBezTo>
                    <a:pt x="0" y="120"/>
                    <a:pt x="7" y="76"/>
                    <a:pt x="78" y="6"/>
                  </a:cubicBezTo>
                </a:path>
              </a:pathLst>
            </a:custGeom>
            <a:solidFill>
              <a:srgbClr val="584C4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46" name="íşļïdê">
              <a:extLst>
                <a:ext uri="{FF2B5EF4-FFF2-40B4-BE49-F238E27FC236}">
                  <a16:creationId xmlns:a16="http://schemas.microsoft.com/office/drawing/2014/main" id="{FA1C0D75-D573-4466-88E3-5639A22F94C2}"/>
                </a:ext>
              </a:extLst>
            </p:cNvPr>
            <p:cNvSpPr/>
            <p:nvPr/>
          </p:nvSpPr>
          <p:spPr bwMode="auto">
            <a:xfrm>
              <a:off x="5995988" y="3379788"/>
              <a:ext cx="96838" cy="73025"/>
            </a:xfrm>
            <a:custGeom>
              <a:avLst/>
              <a:gdLst>
                <a:gd name="T0" fmla="*/ 58 w 61"/>
                <a:gd name="T1" fmla="*/ 9 h 46"/>
                <a:gd name="T2" fmla="*/ 61 w 61"/>
                <a:gd name="T3" fmla="*/ 39 h 46"/>
                <a:gd name="T4" fmla="*/ 0 w 61"/>
                <a:gd name="T5" fmla="*/ 46 h 46"/>
                <a:gd name="T6" fmla="*/ 8 w 61"/>
                <a:gd name="T7" fmla="*/ 0 h 46"/>
                <a:gd name="T8" fmla="*/ 58 w 61"/>
                <a:gd name="T9" fmla="*/ 9 h 46"/>
              </a:gdLst>
              <a:ahLst/>
              <a:cxnLst>
                <a:cxn ang="0">
                  <a:pos x="T0" y="T1"/>
                </a:cxn>
                <a:cxn ang="0">
                  <a:pos x="T2" y="T3"/>
                </a:cxn>
                <a:cxn ang="0">
                  <a:pos x="T4" y="T5"/>
                </a:cxn>
                <a:cxn ang="0">
                  <a:pos x="T6" y="T7"/>
                </a:cxn>
                <a:cxn ang="0">
                  <a:pos x="T8" y="T9"/>
                </a:cxn>
              </a:cxnLst>
              <a:rect l="0" t="0" r="r" b="b"/>
              <a:pathLst>
                <a:path w="61" h="46">
                  <a:moveTo>
                    <a:pt x="58" y="9"/>
                  </a:moveTo>
                  <a:lnTo>
                    <a:pt x="61" y="39"/>
                  </a:lnTo>
                  <a:lnTo>
                    <a:pt x="0" y="46"/>
                  </a:lnTo>
                  <a:lnTo>
                    <a:pt x="8" y="0"/>
                  </a:lnTo>
                  <a:lnTo>
                    <a:pt x="58" y="9"/>
                  </a:lnTo>
                  <a:close/>
                </a:path>
              </a:pathLst>
            </a:custGeom>
            <a:solidFill>
              <a:srgbClr val="FFB89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47" name="išľiḍê">
              <a:extLst>
                <a:ext uri="{FF2B5EF4-FFF2-40B4-BE49-F238E27FC236}">
                  <a16:creationId xmlns:a16="http://schemas.microsoft.com/office/drawing/2014/main" id="{DE2B26FC-D0DC-436E-8FE2-7612B6F9BABB}"/>
                </a:ext>
              </a:extLst>
            </p:cNvPr>
            <p:cNvSpPr/>
            <p:nvPr/>
          </p:nvSpPr>
          <p:spPr bwMode="auto">
            <a:xfrm>
              <a:off x="5924550" y="3221038"/>
              <a:ext cx="166688" cy="182563"/>
            </a:xfrm>
            <a:custGeom>
              <a:avLst/>
              <a:gdLst>
                <a:gd name="T0" fmla="*/ 31 w 127"/>
                <a:gd name="T1" fmla="*/ 5 h 139"/>
                <a:gd name="T2" fmla="*/ 11 w 127"/>
                <a:gd name="T3" fmla="*/ 34 h 139"/>
                <a:gd name="T4" fmla="*/ 9 w 127"/>
                <a:gd name="T5" fmla="*/ 51 h 139"/>
                <a:gd name="T6" fmla="*/ 9 w 127"/>
                <a:gd name="T7" fmla="*/ 70 h 139"/>
                <a:gd name="T8" fmla="*/ 2 w 127"/>
                <a:gd name="T9" fmla="*/ 83 h 139"/>
                <a:gd name="T10" fmla="*/ 10 w 127"/>
                <a:gd name="T11" fmla="*/ 90 h 139"/>
                <a:gd name="T12" fmla="*/ 18 w 127"/>
                <a:gd name="T13" fmla="*/ 103 h 139"/>
                <a:gd name="T14" fmla="*/ 31 w 127"/>
                <a:gd name="T15" fmla="*/ 121 h 139"/>
                <a:gd name="T16" fmla="*/ 58 w 127"/>
                <a:gd name="T17" fmla="*/ 134 h 139"/>
                <a:gd name="T18" fmla="*/ 79 w 127"/>
                <a:gd name="T19" fmla="*/ 139 h 139"/>
                <a:gd name="T20" fmla="*/ 124 w 127"/>
                <a:gd name="T21" fmla="*/ 131 h 139"/>
                <a:gd name="T22" fmla="*/ 127 w 127"/>
                <a:gd name="T23" fmla="*/ 39 h 139"/>
                <a:gd name="T24" fmla="*/ 69 w 127"/>
                <a:gd name="T25" fmla="*/ 0 h 139"/>
                <a:gd name="T26" fmla="*/ 31 w 127"/>
                <a:gd name="T27" fmla="*/ 5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7" h="139">
                  <a:moveTo>
                    <a:pt x="31" y="5"/>
                  </a:moveTo>
                  <a:cubicBezTo>
                    <a:pt x="20" y="10"/>
                    <a:pt x="14" y="23"/>
                    <a:pt x="11" y="34"/>
                  </a:cubicBezTo>
                  <a:cubicBezTo>
                    <a:pt x="10" y="39"/>
                    <a:pt x="10" y="46"/>
                    <a:pt x="9" y="51"/>
                  </a:cubicBezTo>
                  <a:cubicBezTo>
                    <a:pt x="9" y="58"/>
                    <a:pt x="10" y="64"/>
                    <a:pt x="9" y="70"/>
                  </a:cubicBezTo>
                  <a:cubicBezTo>
                    <a:pt x="8" y="75"/>
                    <a:pt x="3" y="79"/>
                    <a:pt x="2" y="83"/>
                  </a:cubicBezTo>
                  <a:cubicBezTo>
                    <a:pt x="0" y="89"/>
                    <a:pt x="7" y="88"/>
                    <a:pt x="10" y="90"/>
                  </a:cubicBezTo>
                  <a:cubicBezTo>
                    <a:pt x="14" y="93"/>
                    <a:pt x="16" y="99"/>
                    <a:pt x="18" y="103"/>
                  </a:cubicBezTo>
                  <a:cubicBezTo>
                    <a:pt x="21" y="110"/>
                    <a:pt x="26" y="117"/>
                    <a:pt x="31" y="121"/>
                  </a:cubicBezTo>
                  <a:cubicBezTo>
                    <a:pt x="40" y="128"/>
                    <a:pt x="48" y="130"/>
                    <a:pt x="58" y="134"/>
                  </a:cubicBezTo>
                  <a:cubicBezTo>
                    <a:pt x="64" y="137"/>
                    <a:pt x="71" y="138"/>
                    <a:pt x="79" y="139"/>
                  </a:cubicBezTo>
                  <a:cubicBezTo>
                    <a:pt x="124" y="131"/>
                    <a:pt x="124" y="131"/>
                    <a:pt x="124" y="131"/>
                  </a:cubicBezTo>
                  <a:cubicBezTo>
                    <a:pt x="127" y="39"/>
                    <a:pt x="127" y="39"/>
                    <a:pt x="127" y="39"/>
                  </a:cubicBezTo>
                  <a:cubicBezTo>
                    <a:pt x="69" y="0"/>
                    <a:pt x="69" y="0"/>
                    <a:pt x="69" y="0"/>
                  </a:cubicBezTo>
                  <a:lnTo>
                    <a:pt x="31" y="5"/>
                  </a:lnTo>
                  <a:close/>
                </a:path>
              </a:pathLst>
            </a:custGeom>
            <a:solidFill>
              <a:srgbClr val="FFB89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48" name="iSľïḍé">
              <a:extLst>
                <a:ext uri="{FF2B5EF4-FFF2-40B4-BE49-F238E27FC236}">
                  <a16:creationId xmlns:a16="http://schemas.microsoft.com/office/drawing/2014/main" id="{8159D2D4-009F-432B-9993-2FFC4124D44F}"/>
                </a:ext>
              </a:extLst>
            </p:cNvPr>
            <p:cNvSpPr/>
            <p:nvPr/>
          </p:nvSpPr>
          <p:spPr bwMode="auto">
            <a:xfrm>
              <a:off x="5932488" y="3146426"/>
              <a:ext cx="233363" cy="223838"/>
            </a:xfrm>
            <a:custGeom>
              <a:avLst/>
              <a:gdLst>
                <a:gd name="T0" fmla="*/ 116 w 177"/>
                <a:gd name="T1" fmla="*/ 5 h 170"/>
                <a:gd name="T2" fmla="*/ 97 w 177"/>
                <a:gd name="T3" fmla="*/ 1 h 170"/>
                <a:gd name="T4" fmla="*/ 62 w 177"/>
                <a:gd name="T5" fmla="*/ 7 h 170"/>
                <a:gd name="T6" fmla="*/ 36 w 177"/>
                <a:gd name="T7" fmla="*/ 16 h 170"/>
                <a:gd name="T8" fmla="*/ 24 w 177"/>
                <a:gd name="T9" fmla="*/ 27 h 170"/>
                <a:gd name="T10" fmla="*/ 12 w 177"/>
                <a:gd name="T11" fmla="*/ 40 h 170"/>
                <a:gd name="T12" fmla="*/ 2 w 177"/>
                <a:gd name="T13" fmla="*/ 52 h 170"/>
                <a:gd name="T14" fmla="*/ 1 w 177"/>
                <a:gd name="T15" fmla="*/ 68 h 170"/>
                <a:gd name="T16" fmla="*/ 2 w 177"/>
                <a:gd name="T17" fmla="*/ 81 h 170"/>
                <a:gd name="T18" fmla="*/ 21 w 177"/>
                <a:gd name="T19" fmla="*/ 86 h 170"/>
                <a:gd name="T20" fmla="*/ 47 w 177"/>
                <a:gd name="T21" fmla="*/ 93 h 170"/>
                <a:gd name="T22" fmla="*/ 61 w 177"/>
                <a:gd name="T23" fmla="*/ 115 h 170"/>
                <a:gd name="T24" fmla="*/ 62 w 177"/>
                <a:gd name="T25" fmla="*/ 137 h 170"/>
                <a:gd name="T26" fmla="*/ 73 w 177"/>
                <a:gd name="T27" fmla="*/ 130 h 170"/>
                <a:gd name="T28" fmla="*/ 80 w 177"/>
                <a:gd name="T29" fmla="*/ 120 h 170"/>
                <a:gd name="T30" fmla="*/ 90 w 177"/>
                <a:gd name="T31" fmla="*/ 123 h 170"/>
                <a:gd name="T32" fmla="*/ 90 w 177"/>
                <a:gd name="T33" fmla="*/ 138 h 170"/>
                <a:gd name="T34" fmla="*/ 122 w 177"/>
                <a:gd name="T35" fmla="*/ 169 h 170"/>
                <a:gd name="T36" fmla="*/ 165 w 177"/>
                <a:gd name="T37" fmla="*/ 129 h 170"/>
                <a:gd name="T38" fmla="*/ 175 w 177"/>
                <a:gd name="T39" fmla="*/ 83 h 170"/>
                <a:gd name="T40" fmla="*/ 161 w 177"/>
                <a:gd name="T41" fmla="*/ 42 h 170"/>
                <a:gd name="T42" fmla="*/ 148 w 177"/>
                <a:gd name="T43" fmla="*/ 25 h 170"/>
                <a:gd name="T44" fmla="*/ 136 w 177"/>
                <a:gd name="T45" fmla="*/ 15 h 170"/>
                <a:gd name="T46" fmla="*/ 116 w 177"/>
                <a:gd name="T47" fmla="*/ 3 h 170"/>
                <a:gd name="T48" fmla="*/ 106 w 177"/>
                <a:gd name="T49" fmla="*/ 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77" h="170">
                  <a:moveTo>
                    <a:pt x="116" y="5"/>
                  </a:moveTo>
                  <a:cubicBezTo>
                    <a:pt x="111" y="1"/>
                    <a:pt x="103" y="1"/>
                    <a:pt x="97" y="1"/>
                  </a:cubicBezTo>
                  <a:cubicBezTo>
                    <a:pt x="85" y="0"/>
                    <a:pt x="74" y="4"/>
                    <a:pt x="62" y="7"/>
                  </a:cubicBezTo>
                  <a:cubicBezTo>
                    <a:pt x="53" y="9"/>
                    <a:pt x="44" y="11"/>
                    <a:pt x="36" y="16"/>
                  </a:cubicBezTo>
                  <a:cubicBezTo>
                    <a:pt x="31" y="19"/>
                    <a:pt x="28" y="23"/>
                    <a:pt x="24" y="27"/>
                  </a:cubicBezTo>
                  <a:cubicBezTo>
                    <a:pt x="20" y="31"/>
                    <a:pt x="15" y="36"/>
                    <a:pt x="12" y="40"/>
                  </a:cubicBezTo>
                  <a:cubicBezTo>
                    <a:pt x="8" y="43"/>
                    <a:pt x="4" y="48"/>
                    <a:pt x="2" y="52"/>
                  </a:cubicBezTo>
                  <a:cubicBezTo>
                    <a:pt x="1" y="57"/>
                    <a:pt x="1" y="63"/>
                    <a:pt x="1" y="68"/>
                  </a:cubicBezTo>
                  <a:cubicBezTo>
                    <a:pt x="0" y="72"/>
                    <a:pt x="0" y="77"/>
                    <a:pt x="2" y="81"/>
                  </a:cubicBezTo>
                  <a:cubicBezTo>
                    <a:pt x="5" y="89"/>
                    <a:pt x="14" y="88"/>
                    <a:pt x="21" y="86"/>
                  </a:cubicBezTo>
                  <a:cubicBezTo>
                    <a:pt x="31" y="84"/>
                    <a:pt x="40" y="88"/>
                    <a:pt x="47" y="93"/>
                  </a:cubicBezTo>
                  <a:cubicBezTo>
                    <a:pt x="55" y="99"/>
                    <a:pt x="61" y="106"/>
                    <a:pt x="61" y="115"/>
                  </a:cubicBezTo>
                  <a:cubicBezTo>
                    <a:pt x="61" y="124"/>
                    <a:pt x="60" y="129"/>
                    <a:pt x="62" y="137"/>
                  </a:cubicBezTo>
                  <a:cubicBezTo>
                    <a:pt x="66" y="138"/>
                    <a:pt x="71" y="132"/>
                    <a:pt x="73" y="130"/>
                  </a:cubicBezTo>
                  <a:cubicBezTo>
                    <a:pt x="75" y="127"/>
                    <a:pt x="77" y="122"/>
                    <a:pt x="80" y="120"/>
                  </a:cubicBezTo>
                  <a:cubicBezTo>
                    <a:pt x="83" y="117"/>
                    <a:pt x="88" y="119"/>
                    <a:pt x="90" y="123"/>
                  </a:cubicBezTo>
                  <a:cubicBezTo>
                    <a:pt x="91" y="127"/>
                    <a:pt x="89" y="134"/>
                    <a:pt x="90" y="138"/>
                  </a:cubicBezTo>
                  <a:cubicBezTo>
                    <a:pt x="93" y="155"/>
                    <a:pt x="119" y="170"/>
                    <a:pt x="122" y="169"/>
                  </a:cubicBezTo>
                  <a:cubicBezTo>
                    <a:pt x="145" y="161"/>
                    <a:pt x="152" y="149"/>
                    <a:pt x="165" y="129"/>
                  </a:cubicBezTo>
                  <a:cubicBezTo>
                    <a:pt x="175" y="116"/>
                    <a:pt x="174" y="99"/>
                    <a:pt x="175" y="83"/>
                  </a:cubicBezTo>
                  <a:cubicBezTo>
                    <a:pt x="177" y="68"/>
                    <a:pt x="170" y="54"/>
                    <a:pt x="161" y="42"/>
                  </a:cubicBezTo>
                  <a:cubicBezTo>
                    <a:pt x="157" y="37"/>
                    <a:pt x="153" y="31"/>
                    <a:pt x="148" y="25"/>
                  </a:cubicBezTo>
                  <a:cubicBezTo>
                    <a:pt x="144" y="22"/>
                    <a:pt x="139" y="19"/>
                    <a:pt x="136" y="15"/>
                  </a:cubicBezTo>
                  <a:cubicBezTo>
                    <a:pt x="129" y="8"/>
                    <a:pt x="125" y="4"/>
                    <a:pt x="116" y="3"/>
                  </a:cubicBezTo>
                  <a:cubicBezTo>
                    <a:pt x="113" y="3"/>
                    <a:pt x="108" y="3"/>
                    <a:pt x="106" y="2"/>
                  </a:cubicBezTo>
                </a:path>
              </a:pathLst>
            </a:custGeom>
            <a:solidFill>
              <a:srgbClr val="623F2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49" name="iṣlíďé">
              <a:extLst>
                <a:ext uri="{FF2B5EF4-FFF2-40B4-BE49-F238E27FC236}">
                  <a16:creationId xmlns:a16="http://schemas.microsoft.com/office/drawing/2014/main" id="{5E2C7DFB-0546-4412-82C1-EF724CAD00D9}"/>
                </a:ext>
              </a:extLst>
            </p:cNvPr>
            <p:cNvSpPr/>
            <p:nvPr/>
          </p:nvSpPr>
          <p:spPr bwMode="auto">
            <a:xfrm>
              <a:off x="5492750" y="3740151"/>
              <a:ext cx="152400" cy="111125"/>
            </a:xfrm>
            <a:custGeom>
              <a:avLst/>
              <a:gdLst>
                <a:gd name="T0" fmla="*/ 115 w 115"/>
                <a:gd name="T1" fmla="*/ 37 h 84"/>
                <a:gd name="T2" fmla="*/ 58 w 115"/>
                <a:gd name="T3" fmla="*/ 3 h 84"/>
                <a:gd name="T4" fmla="*/ 48 w 115"/>
                <a:gd name="T5" fmla="*/ 11 h 84"/>
                <a:gd name="T6" fmla="*/ 63 w 115"/>
                <a:gd name="T7" fmla="*/ 27 h 84"/>
                <a:gd name="T8" fmla="*/ 16 w 115"/>
                <a:gd name="T9" fmla="*/ 14 h 84"/>
                <a:gd name="T10" fmla="*/ 28 w 115"/>
                <a:gd name="T11" fmla="*/ 30 h 84"/>
                <a:gd name="T12" fmla="*/ 5 w 115"/>
                <a:gd name="T13" fmla="*/ 30 h 84"/>
                <a:gd name="T14" fmla="*/ 31 w 115"/>
                <a:gd name="T15" fmla="*/ 44 h 84"/>
                <a:gd name="T16" fmla="*/ 7 w 115"/>
                <a:gd name="T17" fmla="*/ 44 h 84"/>
                <a:gd name="T18" fmla="*/ 29 w 115"/>
                <a:gd name="T19" fmla="*/ 55 h 84"/>
                <a:gd name="T20" fmla="*/ 10 w 115"/>
                <a:gd name="T21" fmla="*/ 53 h 84"/>
                <a:gd name="T22" fmla="*/ 59 w 115"/>
                <a:gd name="T23" fmla="*/ 76 h 84"/>
                <a:gd name="T24" fmla="*/ 109 w 115"/>
                <a:gd name="T25" fmla="*/ 83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5" h="84">
                  <a:moveTo>
                    <a:pt x="115" y="37"/>
                  </a:moveTo>
                  <a:cubicBezTo>
                    <a:pt x="97" y="27"/>
                    <a:pt x="77" y="9"/>
                    <a:pt x="58" y="3"/>
                  </a:cubicBezTo>
                  <a:cubicBezTo>
                    <a:pt x="48" y="0"/>
                    <a:pt x="44" y="4"/>
                    <a:pt x="48" y="11"/>
                  </a:cubicBezTo>
                  <a:cubicBezTo>
                    <a:pt x="51" y="17"/>
                    <a:pt x="58" y="23"/>
                    <a:pt x="63" y="27"/>
                  </a:cubicBezTo>
                  <a:cubicBezTo>
                    <a:pt x="50" y="23"/>
                    <a:pt x="30" y="11"/>
                    <a:pt x="16" y="14"/>
                  </a:cubicBezTo>
                  <a:cubicBezTo>
                    <a:pt x="0" y="17"/>
                    <a:pt x="21" y="27"/>
                    <a:pt x="28" y="30"/>
                  </a:cubicBezTo>
                  <a:cubicBezTo>
                    <a:pt x="25" y="28"/>
                    <a:pt x="5" y="23"/>
                    <a:pt x="5" y="30"/>
                  </a:cubicBezTo>
                  <a:cubicBezTo>
                    <a:pt x="5" y="35"/>
                    <a:pt x="26" y="43"/>
                    <a:pt x="31" y="44"/>
                  </a:cubicBezTo>
                  <a:cubicBezTo>
                    <a:pt x="27" y="42"/>
                    <a:pt x="6" y="36"/>
                    <a:pt x="7" y="44"/>
                  </a:cubicBezTo>
                  <a:cubicBezTo>
                    <a:pt x="8" y="49"/>
                    <a:pt x="27" y="54"/>
                    <a:pt x="29" y="55"/>
                  </a:cubicBezTo>
                  <a:cubicBezTo>
                    <a:pt x="25" y="52"/>
                    <a:pt x="13" y="49"/>
                    <a:pt x="10" y="53"/>
                  </a:cubicBezTo>
                  <a:cubicBezTo>
                    <a:pt x="24" y="64"/>
                    <a:pt x="42" y="71"/>
                    <a:pt x="59" y="76"/>
                  </a:cubicBezTo>
                  <a:cubicBezTo>
                    <a:pt x="72" y="81"/>
                    <a:pt x="96" y="84"/>
                    <a:pt x="109" y="83"/>
                  </a:cubicBezTo>
                </a:path>
              </a:pathLst>
            </a:custGeom>
            <a:solidFill>
              <a:srgbClr val="FFB89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50" name="îşlîḓê">
              <a:extLst>
                <a:ext uri="{FF2B5EF4-FFF2-40B4-BE49-F238E27FC236}">
                  <a16:creationId xmlns:a16="http://schemas.microsoft.com/office/drawing/2014/main" id="{7741D5F7-200C-4239-9CCD-48720A3B73E3}"/>
                </a:ext>
              </a:extLst>
            </p:cNvPr>
            <p:cNvSpPr/>
            <p:nvPr/>
          </p:nvSpPr>
          <p:spPr bwMode="auto">
            <a:xfrm>
              <a:off x="5616575" y="3479801"/>
              <a:ext cx="393700" cy="465138"/>
            </a:xfrm>
            <a:custGeom>
              <a:avLst/>
              <a:gdLst>
                <a:gd name="T0" fmla="*/ 273 w 300"/>
                <a:gd name="T1" fmla="*/ 0 h 353"/>
                <a:gd name="T2" fmla="*/ 274 w 300"/>
                <a:gd name="T3" fmla="*/ 150 h 353"/>
                <a:gd name="T4" fmla="*/ 223 w 300"/>
                <a:gd name="T5" fmla="*/ 329 h 353"/>
                <a:gd name="T6" fmla="*/ 0 w 300"/>
                <a:gd name="T7" fmla="*/ 283 h 353"/>
                <a:gd name="T8" fmla="*/ 23 w 300"/>
                <a:gd name="T9" fmla="*/ 235 h 353"/>
                <a:gd name="T10" fmla="*/ 166 w 300"/>
                <a:gd name="T11" fmla="*/ 254 h 353"/>
                <a:gd name="T12" fmla="*/ 169 w 300"/>
                <a:gd name="T13" fmla="*/ 173 h 353"/>
                <a:gd name="T14" fmla="*/ 273 w 300"/>
                <a:gd name="T15" fmla="*/ 0 h 35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53">
                  <a:moveTo>
                    <a:pt x="273" y="0"/>
                  </a:moveTo>
                  <a:cubicBezTo>
                    <a:pt x="273" y="0"/>
                    <a:pt x="300" y="55"/>
                    <a:pt x="274" y="150"/>
                  </a:cubicBezTo>
                  <a:cubicBezTo>
                    <a:pt x="223" y="329"/>
                    <a:pt x="223" y="329"/>
                    <a:pt x="223" y="329"/>
                  </a:cubicBezTo>
                  <a:cubicBezTo>
                    <a:pt x="223" y="329"/>
                    <a:pt x="168" y="353"/>
                    <a:pt x="0" y="283"/>
                  </a:cubicBezTo>
                  <a:cubicBezTo>
                    <a:pt x="23" y="235"/>
                    <a:pt x="23" y="235"/>
                    <a:pt x="23" y="235"/>
                  </a:cubicBezTo>
                  <a:cubicBezTo>
                    <a:pt x="166" y="254"/>
                    <a:pt x="166" y="254"/>
                    <a:pt x="166" y="254"/>
                  </a:cubicBezTo>
                  <a:cubicBezTo>
                    <a:pt x="169" y="173"/>
                    <a:pt x="169" y="173"/>
                    <a:pt x="169" y="173"/>
                  </a:cubicBezTo>
                  <a:cubicBezTo>
                    <a:pt x="169" y="173"/>
                    <a:pt x="221" y="41"/>
                    <a:pt x="273" y="0"/>
                  </a:cubicBezTo>
                </a:path>
              </a:pathLst>
            </a:custGeom>
            <a:solidFill>
              <a:srgbClr val="584C4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51" name="îslîḓe">
              <a:extLst>
                <a:ext uri="{FF2B5EF4-FFF2-40B4-BE49-F238E27FC236}">
                  <a16:creationId xmlns:a16="http://schemas.microsoft.com/office/drawing/2014/main" id="{B4E80C1A-3C5A-477F-97AD-624CE3899224}"/>
                </a:ext>
              </a:extLst>
            </p:cNvPr>
            <p:cNvSpPr/>
            <p:nvPr/>
          </p:nvSpPr>
          <p:spPr bwMode="auto">
            <a:xfrm>
              <a:off x="5986463" y="3408363"/>
              <a:ext cx="133350" cy="47625"/>
            </a:xfrm>
            <a:custGeom>
              <a:avLst/>
              <a:gdLst>
                <a:gd name="T0" fmla="*/ 0 w 84"/>
                <a:gd name="T1" fmla="*/ 30 h 30"/>
                <a:gd name="T2" fmla="*/ 4 w 84"/>
                <a:gd name="T3" fmla="*/ 11 h 30"/>
                <a:gd name="T4" fmla="*/ 74 w 84"/>
                <a:gd name="T5" fmla="*/ 0 h 30"/>
                <a:gd name="T6" fmla="*/ 84 w 84"/>
                <a:gd name="T7" fmla="*/ 26 h 30"/>
                <a:gd name="T8" fmla="*/ 0 w 84"/>
                <a:gd name="T9" fmla="*/ 30 h 30"/>
              </a:gdLst>
              <a:ahLst/>
              <a:cxnLst>
                <a:cxn ang="0">
                  <a:pos x="T0" y="T1"/>
                </a:cxn>
                <a:cxn ang="0">
                  <a:pos x="T2" y="T3"/>
                </a:cxn>
                <a:cxn ang="0">
                  <a:pos x="T4" y="T5"/>
                </a:cxn>
                <a:cxn ang="0">
                  <a:pos x="T6" y="T7"/>
                </a:cxn>
                <a:cxn ang="0">
                  <a:pos x="T8" y="T9"/>
                </a:cxn>
              </a:cxnLst>
              <a:rect l="0" t="0" r="r" b="b"/>
              <a:pathLst>
                <a:path w="84" h="30">
                  <a:moveTo>
                    <a:pt x="0" y="30"/>
                  </a:moveTo>
                  <a:lnTo>
                    <a:pt x="4" y="11"/>
                  </a:lnTo>
                  <a:lnTo>
                    <a:pt x="74" y="0"/>
                  </a:lnTo>
                  <a:lnTo>
                    <a:pt x="84" y="26"/>
                  </a:lnTo>
                  <a:lnTo>
                    <a:pt x="0"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52" name="î$ḷíďé">
              <a:extLst>
                <a:ext uri="{FF2B5EF4-FFF2-40B4-BE49-F238E27FC236}">
                  <a16:creationId xmlns:a16="http://schemas.microsoft.com/office/drawing/2014/main" id="{0F7ED2B0-043F-4CF7-8810-83A3F5E482CB}"/>
                </a:ext>
              </a:extLst>
            </p:cNvPr>
            <p:cNvSpPr/>
            <p:nvPr/>
          </p:nvSpPr>
          <p:spPr bwMode="auto">
            <a:xfrm>
              <a:off x="6026150" y="3259138"/>
              <a:ext cx="58738" cy="80963"/>
            </a:xfrm>
            <a:custGeom>
              <a:avLst/>
              <a:gdLst>
                <a:gd name="T0" fmla="*/ 8 w 44"/>
                <a:gd name="T1" fmla="*/ 61 h 61"/>
                <a:gd name="T2" fmla="*/ 0 w 44"/>
                <a:gd name="T3" fmla="*/ 46 h 61"/>
              </a:gdLst>
              <a:ahLst/>
              <a:cxnLst>
                <a:cxn ang="0">
                  <a:pos x="T0" y="T1"/>
                </a:cxn>
                <a:cxn ang="0">
                  <a:pos x="T2" y="T3"/>
                </a:cxn>
              </a:cxnLst>
              <a:rect l="0" t="0" r="r" b="b"/>
              <a:pathLst>
                <a:path w="44" h="61">
                  <a:moveTo>
                    <a:pt x="8" y="61"/>
                  </a:moveTo>
                  <a:cubicBezTo>
                    <a:pt x="44" y="50"/>
                    <a:pt x="1" y="0"/>
                    <a:pt x="0" y="46"/>
                  </a:cubicBezTo>
                </a:path>
              </a:pathLst>
            </a:custGeom>
            <a:solidFill>
              <a:srgbClr val="FFB89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53" name="îṣļíḑê">
              <a:extLst>
                <a:ext uri="{FF2B5EF4-FFF2-40B4-BE49-F238E27FC236}">
                  <a16:creationId xmlns:a16="http://schemas.microsoft.com/office/drawing/2014/main" id="{C9DA91EE-A3F4-43F8-A37A-3BA3A7B23681}"/>
                </a:ext>
              </a:extLst>
            </p:cNvPr>
            <p:cNvSpPr/>
            <p:nvPr/>
          </p:nvSpPr>
          <p:spPr bwMode="auto">
            <a:xfrm>
              <a:off x="5940425" y="3281363"/>
              <a:ext cx="17463" cy="7938"/>
            </a:xfrm>
            <a:custGeom>
              <a:avLst/>
              <a:gdLst>
                <a:gd name="T0" fmla="*/ 2 w 14"/>
                <a:gd name="T1" fmla="*/ 5 h 6"/>
                <a:gd name="T2" fmla="*/ 2 w 14"/>
                <a:gd name="T3" fmla="*/ 4 h 6"/>
                <a:gd name="T4" fmla="*/ 6 w 14"/>
                <a:gd name="T5" fmla="*/ 2 h 6"/>
                <a:gd name="T6" fmla="*/ 12 w 14"/>
                <a:gd name="T7" fmla="*/ 6 h 6"/>
                <a:gd name="T8" fmla="*/ 14 w 14"/>
                <a:gd name="T9" fmla="*/ 6 h 6"/>
                <a:gd name="T10" fmla="*/ 14 w 14"/>
                <a:gd name="T11" fmla="*/ 4 h 6"/>
                <a:gd name="T12" fmla="*/ 6 w 14"/>
                <a:gd name="T13" fmla="*/ 0 h 6"/>
                <a:gd name="T14" fmla="*/ 0 w 14"/>
                <a:gd name="T15" fmla="*/ 3 h 6"/>
                <a:gd name="T16" fmla="*/ 0 w 14"/>
                <a:gd name="T17" fmla="*/ 5 h 6"/>
                <a:gd name="T18" fmla="*/ 2 w 14"/>
                <a:gd name="T19"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 h="6">
                  <a:moveTo>
                    <a:pt x="2" y="5"/>
                  </a:moveTo>
                  <a:cubicBezTo>
                    <a:pt x="2" y="4"/>
                    <a:pt x="2" y="4"/>
                    <a:pt x="2" y="4"/>
                  </a:cubicBezTo>
                  <a:cubicBezTo>
                    <a:pt x="2" y="4"/>
                    <a:pt x="4" y="2"/>
                    <a:pt x="6" y="2"/>
                  </a:cubicBezTo>
                  <a:cubicBezTo>
                    <a:pt x="8" y="2"/>
                    <a:pt x="10" y="3"/>
                    <a:pt x="12" y="6"/>
                  </a:cubicBezTo>
                  <a:cubicBezTo>
                    <a:pt x="13" y="6"/>
                    <a:pt x="13" y="6"/>
                    <a:pt x="14" y="6"/>
                  </a:cubicBezTo>
                  <a:cubicBezTo>
                    <a:pt x="14" y="5"/>
                    <a:pt x="14" y="5"/>
                    <a:pt x="14" y="4"/>
                  </a:cubicBezTo>
                  <a:cubicBezTo>
                    <a:pt x="11" y="1"/>
                    <a:pt x="9" y="0"/>
                    <a:pt x="6" y="0"/>
                  </a:cubicBezTo>
                  <a:cubicBezTo>
                    <a:pt x="3" y="0"/>
                    <a:pt x="0" y="3"/>
                    <a:pt x="0" y="3"/>
                  </a:cubicBezTo>
                  <a:cubicBezTo>
                    <a:pt x="0" y="4"/>
                    <a:pt x="0" y="4"/>
                    <a:pt x="0" y="5"/>
                  </a:cubicBezTo>
                  <a:cubicBezTo>
                    <a:pt x="1" y="5"/>
                    <a:pt x="1" y="5"/>
                    <a:pt x="2" y="5"/>
                  </a:cubicBezTo>
                  <a:close/>
                </a:path>
              </a:pathLst>
            </a:custGeom>
            <a:solidFill>
              <a:srgbClr val="49322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54" name="iṣḷiḍé">
              <a:extLst>
                <a:ext uri="{FF2B5EF4-FFF2-40B4-BE49-F238E27FC236}">
                  <a16:creationId xmlns:a16="http://schemas.microsoft.com/office/drawing/2014/main" id="{0F8321FE-C6C2-424D-B4D7-898639D8990A}"/>
                </a:ext>
              </a:extLst>
            </p:cNvPr>
            <p:cNvSpPr/>
            <p:nvPr/>
          </p:nvSpPr>
          <p:spPr bwMode="auto">
            <a:xfrm>
              <a:off x="5951538" y="3300413"/>
              <a:ext cx="28575" cy="30163"/>
            </a:xfrm>
            <a:custGeom>
              <a:avLst/>
              <a:gdLst>
                <a:gd name="T0" fmla="*/ 0 w 22"/>
                <a:gd name="T1" fmla="*/ 11 h 23"/>
                <a:gd name="T2" fmla="*/ 11 w 22"/>
                <a:gd name="T3" fmla="*/ 0 h 23"/>
                <a:gd name="T4" fmla="*/ 22 w 22"/>
                <a:gd name="T5" fmla="*/ 12 h 23"/>
                <a:gd name="T6" fmla="*/ 11 w 22"/>
                <a:gd name="T7" fmla="*/ 23 h 23"/>
                <a:gd name="T8" fmla="*/ 0 w 22"/>
                <a:gd name="T9" fmla="*/ 11 h 23"/>
              </a:gdLst>
              <a:ahLst/>
              <a:cxnLst>
                <a:cxn ang="0">
                  <a:pos x="T0" y="T1"/>
                </a:cxn>
                <a:cxn ang="0">
                  <a:pos x="T2" y="T3"/>
                </a:cxn>
                <a:cxn ang="0">
                  <a:pos x="T4" y="T5"/>
                </a:cxn>
                <a:cxn ang="0">
                  <a:pos x="T6" y="T7"/>
                </a:cxn>
                <a:cxn ang="0">
                  <a:pos x="T8" y="T9"/>
                </a:cxn>
              </a:cxnLst>
              <a:rect l="0" t="0" r="r" b="b"/>
              <a:pathLst>
                <a:path w="22" h="23">
                  <a:moveTo>
                    <a:pt x="0" y="11"/>
                  </a:moveTo>
                  <a:cubicBezTo>
                    <a:pt x="0" y="5"/>
                    <a:pt x="5" y="0"/>
                    <a:pt x="11" y="0"/>
                  </a:cubicBezTo>
                  <a:cubicBezTo>
                    <a:pt x="17" y="0"/>
                    <a:pt x="22" y="6"/>
                    <a:pt x="22" y="12"/>
                  </a:cubicBezTo>
                  <a:cubicBezTo>
                    <a:pt x="22" y="18"/>
                    <a:pt x="17" y="23"/>
                    <a:pt x="11" y="23"/>
                  </a:cubicBezTo>
                  <a:cubicBezTo>
                    <a:pt x="4" y="23"/>
                    <a:pt x="0" y="17"/>
                    <a:pt x="0" y="11"/>
                  </a:cubicBezTo>
                  <a:close/>
                </a:path>
              </a:pathLst>
            </a:custGeom>
            <a:solidFill>
              <a:srgbClr val="FF95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55" name="ïSḻiḍe">
              <a:extLst>
                <a:ext uri="{FF2B5EF4-FFF2-40B4-BE49-F238E27FC236}">
                  <a16:creationId xmlns:a16="http://schemas.microsoft.com/office/drawing/2014/main" id="{8DB66BBE-F43F-4D7C-94CA-52FABFE5AC79}"/>
                </a:ext>
              </a:extLst>
            </p:cNvPr>
            <p:cNvSpPr/>
            <p:nvPr/>
          </p:nvSpPr>
          <p:spPr bwMode="auto">
            <a:xfrm>
              <a:off x="5948363" y="3335338"/>
              <a:ext cx="34925" cy="22225"/>
            </a:xfrm>
            <a:custGeom>
              <a:avLst/>
              <a:gdLst>
                <a:gd name="T0" fmla="*/ 0 w 26"/>
                <a:gd name="T1" fmla="*/ 17 h 17"/>
                <a:gd name="T2" fmla="*/ 0 w 26"/>
                <a:gd name="T3" fmla="*/ 17 h 17"/>
                <a:gd name="T4" fmla="*/ 26 w 26"/>
                <a:gd name="T5" fmla="*/ 0 h 17"/>
                <a:gd name="T6" fmla="*/ 24 w 26"/>
                <a:gd name="T7" fmla="*/ 0 h 17"/>
                <a:gd name="T8" fmla="*/ 0 w 26"/>
                <a:gd name="T9" fmla="*/ 16 h 17"/>
                <a:gd name="T10" fmla="*/ 0 w 26"/>
                <a:gd name="T11" fmla="*/ 16 h 17"/>
                <a:gd name="T12" fmla="*/ 0 w 26"/>
                <a:gd name="T13" fmla="*/ 17 h 17"/>
              </a:gdLst>
              <a:ahLst/>
              <a:cxnLst>
                <a:cxn ang="0">
                  <a:pos x="T0" y="T1"/>
                </a:cxn>
                <a:cxn ang="0">
                  <a:pos x="T2" y="T3"/>
                </a:cxn>
                <a:cxn ang="0">
                  <a:pos x="T4" y="T5"/>
                </a:cxn>
                <a:cxn ang="0">
                  <a:pos x="T6" y="T7"/>
                </a:cxn>
                <a:cxn ang="0">
                  <a:pos x="T8" y="T9"/>
                </a:cxn>
                <a:cxn ang="0">
                  <a:pos x="T10" y="T11"/>
                </a:cxn>
                <a:cxn ang="0">
                  <a:pos x="T12" y="T13"/>
                </a:cxn>
              </a:cxnLst>
              <a:rect l="0" t="0" r="r" b="b"/>
              <a:pathLst>
                <a:path w="26" h="17">
                  <a:moveTo>
                    <a:pt x="0" y="17"/>
                  </a:moveTo>
                  <a:cubicBezTo>
                    <a:pt x="0" y="17"/>
                    <a:pt x="0" y="17"/>
                    <a:pt x="0" y="17"/>
                  </a:cubicBezTo>
                  <a:cubicBezTo>
                    <a:pt x="3" y="17"/>
                    <a:pt x="18" y="17"/>
                    <a:pt x="26" y="0"/>
                  </a:cubicBezTo>
                  <a:cubicBezTo>
                    <a:pt x="24" y="0"/>
                    <a:pt x="24" y="0"/>
                    <a:pt x="24" y="0"/>
                  </a:cubicBezTo>
                  <a:cubicBezTo>
                    <a:pt x="17" y="15"/>
                    <a:pt x="2" y="16"/>
                    <a:pt x="0" y="16"/>
                  </a:cubicBezTo>
                  <a:cubicBezTo>
                    <a:pt x="0" y="16"/>
                    <a:pt x="0" y="16"/>
                    <a:pt x="0" y="16"/>
                  </a:cubicBezTo>
                  <a:cubicBezTo>
                    <a:pt x="0" y="17"/>
                    <a:pt x="0" y="17"/>
                    <a:pt x="0" y="17"/>
                  </a:cubicBezTo>
                  <a:close/>
                </a:path>
              </a:pathLst>
            </a:custGeom>
            <a:solidFill>
              <a:srgbClr val="D4723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56" name="îṥ1îḍè">
              <a:extLst>
                <a:ext uri="{FF2B5EF4-FFF2-40B4-BE49-F238E27FC236}">
                  <a16:creationId xmlns:a16="http://schemas.microsoft.com/office/drawing/2014/main" id="{4D10A11E-6E7F-46C9-ACC4-45251EE0DF66}"/>
                </a:ext>
              </a:extLst>
            </p:cNvPr>
            <p:cNvSpPr/>
            <p:nvPr/>
          </p:nvSpPr>
          <p:spPr bwMode="auto">
            <a:xfrm>
              <a:off x="6080125" y="4549776"/>
              <a:ext cx="0" cy="6350"/>
            </a:xfrm>
            <a:custGeom>
              <a:avLst/>
              <a:gdLst>
                <a:gd name="T0" fmla="*/ 0 w 1"/>
                <a:gd name="T1" fmla="*/ 0 h 5"/>
                <a:gd name="T2" fmla="*/ 0 w 1"/>
                <a:gd name="T3" fmla="*/ 2 h 5"/>
                <a:gd name="T4" fmla="*/ 1 w 1"/>
                <a:gd name="T5" fmla="*/ 5 h 5"/>
                <a:gd name="T6" fmla="*/ 0 w 1"/>
                <a:gd name="T7" fmla="*/ 0 h 5"/>
              </a:gdLst>
              <a:ahLst/>
              <a:cxnLst>
                <a:cxn ang="0">
                  <a:pos x="T0" y="T1"/>
                </a:cxn>
                <a:cxn ang="0">
                  <a:pos x="T2" y="T3"/>
                </a:cxn>
                <a:cxn ang="0">
                  <a:pos x="T4" y="T5"/>
                </a:cxn>
                <a:cxn ang="0">
                  <a:pos x="T6" y="T7"/>
                </a:cxn>
              </a:cxnLst>
              <a:rect l="0" t="0" r="r" b="b"/>
              <a:pathLst>
                <a:path w="1" h="5">
                  <a:moveTo>
                    <a:pt x="0" y="0"/>
                  </a:moveTo>
                  <a:cubicBezTo>
                    <a:pt x="0" y="0"/>
                    <a:pt x="0" y="1"/>
                    <a:pt x="0" y="2"/>
                  </a:cubicBezTo>
                  <a:cubicBezTo>
                    <a:pt x="0" y="3"/>
                    <a:pt x="1" y="4"/>
                    <a:pt x="1" y="5"/>
                  </a:cubicBezTo>
                  <a:cubicBezTo>
                    <a:pt x="0" y="0"/>
                    <a:pt x="0" y="0"/>
                    <a:pt x="0" y="0"/>
                  </a:cubicBezTo>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57" name="îṩliḋè">
              <a:extLst>
                <a:ext uri="{FF2B5EF4-FFF2-40B4-BE49-F238E27FC236}">
                  <a16:creationId xmlns:a16="http://schemas.microsoft.com/office/drawing/2014/main" id="{63A51F19-236A-4770-8D8F-A42501113E6E}"/>
                </a:ext>
              </a:extLst>
            </p:cNvPr>
            <p:cNvSpPr/>
            <p:nvPr/>
          </p:nvSpPr>
          <p:spPr bwMode="auto">
            <a:xfrm>
              <a:off x="6075363" y="4516438"/>
              <a:ext cx="4763" cy="34925"/>
            </a:xfrm>
            <a:custGeom>
              <a:avLst/>
              <a:gdLst>
                <a:gd name="T0" fmla="*/ 0 w 3"/>
                <a:gd name="T1" fmla="*/ 0 h 27"/>
                <a:gd name="T2" fmla="*/ 3 w 3"/>
                <a:gd name="T3" fmla="*/ 27 h 27"/>
                <a:gd name="T4" fmla="*/ 3 w 3"/>
                <a:gd name="T5" fmla="*/ 25 h 27"/>
                <a:gd name="T6" fmla="*/ 0 w 3"/>
                <a:gd name="T7" fmla="*/ 0 h 27"/>
              </a:gdLst>
              <a:ahLst/>
              <a:cxnLst>
                <a:cxn ang="0">
                  <a:pos x="T0" y="T1"/>
                </a:cxn>
                <a:cxn ang="0">
                  <a:pos x="T2" y="T3"/>
                </a:cxn>
                <a:cxn ang="0">
                  <a:pos x="T4" y="T5"/>
                </a:cxn>
                <a:cxn ang="0">
                  <a:pos x="T6" y="T7"/>
                </a:cxn>
              </a:cxnLst>
              <a:rect l="0" t="0" r="r" b="b"/>
              <a:pathLst>
                <a:path w="3" h="27">
                  <a:moveTo>
                    <a:pt x="0" y="0"/>
                  </a:moveTo>
                  <a:cubicBezTo>
                    <a:pt x="1" y="12"/>
                    <a:pt x="2" y="21"/>
                    <a:pt x="3" y="27"/>
                  </a:cubicBezTo>
                  <a:cubicBezTo>
                    <a:pt x="3" y="26"/>
                    <a:pt x="3" y="25"/>
                    <a:pt x="3" y="25"/>
                  </a:cubicBezTo>
                  <a:cubicBezTo>
                    <a:pt x="0" y="0"/>
                    <a:pt x="0" y="0"/>
                    <a:pt x="0" y="0"/>
                  </a:cubicBezTo>
                </a:path>
              </a:pathLst>
            </a:custGeom>
            <a:solidFill>
              <a:srgbClr val="4B79B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58" name="ïŝḷîḓè">
              <a:extLst>
                <a:ext uri="{FF2B5EF4-FFF2-40B4-BE49-F238E27FC236}">
                  <a16:creationId xmlns:a16="http://schemas.microsoft.com/office/drawing/2014/main" id="{E4144ABA-8B87-447B-B71B-AF5A9E72B67A}"/>
                </a:ext>
              </a:extLst>
            </p:cNvPr>
            <p:cNvSpPr/>
            <p:nvPr/>
          </p:nvSpPr>
          <p:spPr bwMode="auto">
            <a:xfrm>
              <a:off x="6072188" y="4094163"/>
              <a:ext cx="79375" cy="463550"/>
            </a:xfrm>
            <a:custGeom>
              <a:avLst/>
              <a:gdLst>
                <a:gd name="T0" fmla="*/ 60 w 60"/>
                <a:gd name="T1" fmla="*/ 0 h 352"/>
                <a:gd name="T2" fmla="*/ 22 w 60"/>
                <a:gd name="T3" fmla="*/ 8 h 352"/>
                <a:gd name="T4" fmla="*/ 2 w 60"/>
                <a:gd name="T5" fmla="*/ 321 h 352"/>
                <a:gd name="T6" fmla="*/ 5 w 60"/>
                <a:gd name="T7" fmla="*/ 346 h 352"/>
                <a:gd name="T8" fmla="*/ 6 w 60"/>
                <a:gd name="T9" fmla="*/ 351 h 352"/>
                <a:gd name="T10" fmla="*/ 6 w 60"/>
                <a:gd name="T11" fmla="*/ 352 h 352"/>
                <a:gd name="T12" fmla="*/ 60 w 60"/>
                <a:gd name="T13" fmla="*/ 0 h 352"/>
              </a:gdLst>
              <a:ahLst/>
              <a:cxnLst>
                <a:cxn ang="0">
                  <a:pos x="T0" y="T1"/>
                </a:cxn>
                <a:cxn ang="0">
                  <a:pos x="T2" y="T3"/>
                </a:cxn>
                <a:cxn ang="0">
                  <a:pos x="T4" y="T5"/>
                </a:cxn>
                <a:cxn ang="0">
                  <a:pos x="T6" y="T7"/>
                </a:cxn>
                <a:cxn ang="0">
                  <a:pos x="T8" y="T9"/>
                </a:cxn>
                <a:cxn ang="0">
                  <a:pos x="T10" y="T11"/>
                </a:cxn>
                <a:cxn ang="0">
                  <a:pos x="T12" y="T13"/>
                </a:cxn>
              </a:cxnLst>
              <a:rect l="0" t="0" r="r" b="b"/>
              <a:pathLst>
                <a:path w="60" h="352">
                  <a:moveTo>
                    <a:pt x="60" y="0"/>
                  </a:moveTo>
                  <a:cubicBezTo>
                    <a:pt x="48" y="3"/>
                    <a:pt x="36" y="6"/>
                    <a:pt x="22" y="8"/>
                  </a:cubicBezTo>
                  <a:cubicBezTo>
                    <a:pt x="19" y="34"/>
                    <a:pt x="0" y="239"/>
                    <a:pt x="2" y="321"/>
                  </a:cubicBezTo>
                  <a:cubicBezTo>
                    <a:pt x="5" y="346"/>
                    <a:pt x="5" y="346"/>
                    <a:pt x="5" y="346"/>
                  </a:cubicBezTo>
                  <a:cubicBezTo>
                    <a:pt x="6" y="351"/>
                    <a:pt x="6" y="351"/>
                    <a:pt x="6" y="351"/>
                  </a:cubicBezTo>
                  <a:cubicBezTo>
                    <a:pt x="6" y="351"/>
                    <a:pt x="6" y="352"/>
                    <a:pt x="6" y="352"/>
                  </a:cubicBezTo>
                  <a:cubicBezTo>
                    <a:pt x="60" y="0"/>
                    <a:pt x="60" y="0"/>
                    <a:pt x="60" y="0"/>
                  </a:cubicBezTo>
                </a:path>
              </a:pathLst>
            </a:custGeom>
            <a:solidFill>
              <a:srgbClr val="4B79B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59" name="ïṡlíḑe">
              <a:extLst>
                <a:ext uri="{FF2B5EF4-FFF2-40B4-BE49-F238E27FC236}">
                  <a16:creationId xmlns:a16="http://schemas.microsoft.com/office/drawing/2014/main" id="{94CD168C-5B58-499F-A3F5-032D5E23EE00}"/>
                </a:ext>
              </a:extLst>
            </p:cNvPr>
            <p:cNvSpPr/>
            <p:nvPr/>
          </p:nvSpPr>
          <p:spPr bwMode="auto">
            <a:xfrm>
              <a:off x="6102350" y="4092576"/>
              <a:ext cx="49213" cy="12700"/>
            </a:xfrm>
            <a:custGeom>
              <a:avLst/>
              <a:gdLst>
                <a:gd name="T0" fmla="*/ 38 w 38"/>
                <a:gd name="T1" fmla="*/ 0 h 9"/>
                <a:gd name="T2" fmla="*/ 0 w 38"/>
                <a:gd name="T3" fmla="*/ 7 h 9"/>
                <a:gd name="T4" fmla="*/ 0 w 38"/>
                <a:gd name="T5" fmla="*/ 9 h 9"/>
                <a:gd name="T6" fmla="*/ 38 w 38"/>
                <a:gd name="T7" fmla="*/ 1 h 9"/>
                <a:gd name="T8" fmla="*/ 38 w 38"/>
                <a:gd name="T9" fmla="*/ 0 h 9"/>
              </a:gdLst>
              <a:ahLst/>
              <a:cxnLst>
                <a:cxn ang="0">
                  <a:pos x="T0" y="T1"/>
                </a:cxn>
                <a:cxn ang="0">
                  <a:pos x="T2" y="T3"/>
                </a:cxn>
                <a:cxn ang="0">
                  <a:pos x="T4" y="T5"/>
                </a:cxn>
                <a:cxn ang="0">
                  <a:pos x="T6" y="T7"/>
                </a:cxn>
                <a:cxn ang="0">
                  <a:pos x="T8" y="T9"/>
                </a:cxn>
              </a:cxnLst>
              <a:rect l="0" t="0" r="r" b="b"/>
              <a:pathLst>
                <a:path w="38" h="9">
                  <a:moveTo>
                    <a:pt x="38" y="0"/>
                  </a:moveTo>
                  <a:cubicBezTo>
                    <a:pt x="0" y="7"/>
                    <a:pt x="0" y="7"/>
                    <a:pt x="0" y="7"/>
                  </a:cubicBezTo>
                  <a:cubicBezTo>
                    <a:pt x="0" y="7"/>
                    <a:pt x="0" y="7"/>
                    <a:pt x="0" y="9"/>
                  </a:cubicBezTo>
                  <a:cubicBezTo>
                    <a:pt x="14" y="7"/>
                    <a:pt x="26" y="4"/>
                    <a:pt x="38" y="1"/>
                  </a:cubicBezTo>
                  <a:cubicBezTo>
                    <a:pt x="38" y="0"/>
                    <a:pt x="38" y="0"/>
                    <a:pt x="38" y="0"/>
                  </a:cubicBezTo>
                </a:path>
              </a:pathLst>
            </a:custGeom>
            <a:solidFill>
              <a:srgbClr val="4F444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60" name="iŝļîḓé">
              <a:extLst>
                <a:ext uri="{FF2B5EF4-FFF2-40B4-BE49-F238E27FC236}">
                  <a16:creationId xmlns:a16="http://schemas.microsoft.com/office/drawing/2014/main" id="{6BBA3D07-88C4-4E5F-864B-47E2BA4F2C8F}"/>
                </a:ext>
              </a:extLst>
            </p:cNvPr>
            <p:cNvSpPr/>
            <p:nvPr/>
          </p:nvSpPr>
          <p:spPr bwMode="auto">
            <a:xfrm>
              <a:off x="6203950" y="4535488"/>
              <a:ext cx="4763" cy="33338"/>
            </a:xfrm>
            <a:custGeom>
              <a:avLst/>
              <a:gdLst>
                <a:gd name="T0" fmla="*/ 0 w 3"/>
                <a:gd name="T1" fmla="*/ 0 h 21"/>
                <a:gd name="T2" fmla="*/ 3 w 3"/>
                <a:gd name="T3" fmla="*/ 21 h 21"/>
                <a:gd name="T4" fmla="*/ 3 w 3"/>
                <a:gd name="T5" fmla="*/ 21 h 21"/>
                <a:gd name="T6" fmla="*/ 0 w 3"/>
                <a:gd name="T7" fmla="*/ 0 h 21"/>
              </a:gdLst>
              <a:ahLst/>
              <a:cxnLst>
                <a:cxn ang="0">
                  <a:pos x="T0" y="T1"/>
                </a:cxn>
                <a:cxn ang="0">
                  <a:pos x="T2" y="T3"/>
                </a:cxn>
                <a:cxn ang="0">
                  <a:pos x="T4" y="T5"/>
                </a:cxn>
                <a:cxn ang="0">
                  <a:pos x="T6" y="T7"/>
                </a:cxn>
              </a:cxnLst>
              <a:rect l="0" t="0" r="r" b="b"/>
              <a:pathLst>
                <a:path w="3" h="21">
                  <a:moveTo>
                    <a:pt x="0" y="0"/>
                  </a:moveTo>
                  <a:lnTo>
                    <a:pt x="3" y="21"/>
                  </a:lnTo>
                  <a:lnTo>
                    <a:pt x="3" y="21"/>
                  </a:lnTo>
                  <a:lnTo>
                    <a:pt x="0" y="0"/>
                  </a:lnTo>
                  <a:close/>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61" name="iṩḻîḓè">
              <a:extLst>
                <a:ext uri="{FF2B5EF4-FFF2-40B4-BE49-F238E27FC236}">
                  <a16:creationId xmlns:a16="http://schemas.microsoft.com/office/drawing/2014/main" id="{90C23CB3-7C43-41A2-9718-18CBE5917897}"/>
                </a:ext>
              </a:extLst>
            </p:cNvPr>
            <p:cNvSpPr/>
            <p:nvPr/>
          </p:nvSpPr>
          <p:spPr bwMode="auto">
            <a:xfrm>
              <a:off x="6203950" y="4535488"/>
              <a:ext cx="4763" cy="33338"/>
            </a:xfrm>
            <a:custGeom>
              <a:avLst/>
              <a:gdLst>
                <a:gd name="T0" fmla="*/ 0 w 3"/>
                <a:gd name="T1" fmla="*/ 0 h 21"/>
                <a:gd name="T2" fmla="*/ 3 w 3"/>
                <a:gd name="T3" fmla="*/ 21 h 21"/>
                <a:gd name="T4" fmla="*/ 3 w 3"/>
                <a:gd name="T5" fmla="*/ 21 h 21"/>
                <a:gd name="T6" fmla="*/ 0 w 3"/>
                <a:gd name="T7" fmla="*/ 0 h 21"/>
              </a:gdLst>
              <a:ahLst/>
              <a:cxnLst>
                <a:cxn ang="0">
                  <a:pos x="T0" y="T1"/>
                </a:cxn>
                <a:cxn ang="0">
                  <a:pos x="T2" y="T3"/>
                </a:cxn>
                <a:cxn ang="0">
                  <a:pos x="T4" y="T5"/>
                </a:cxn>
                <a:cxn ang="0">
                  <a:pos x="T6" y="T7"/>
                </a:cxn>
              </a:cxnLst>
              <a:rect l="0" t="0" r="r" b="b"/>
              <a:pathLst>
                <a:path w="3" h="21">
                  <a:moveTo>
                    <a:pt x="0" y="0"/>
                  </a:moveTo>
                  <a:lnTo>
                    <a:pt x="3" y="21"/>
                  </a:lnTo>
                  <a:lnTo>
                    <a:pt x="3" y="21"/>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62" name="îSliḓe">
              <a:extLst>
                <a:ext uri="{FF2B5EF4-FFF2-40B4-BE49-F238E27FC236}">
                  <a16:creationId xmlns:a16="http://schemas.microsoft.com/office/drawing/2014/main" id="{5B2DF0E4-F334-42C7-AED2-DB193677EB3A}"/>
                </a:ext>
              </a:extLst>
            </p:cNvPr>
            <p:cNvSpPr/>
            <p:nvPr/>
          </p:nvSpPr>
          <p:spPr bwMode="auto">
            <a:xfrm>
              <a:off x="6134100" y="4495801"/>
              <a:ext cx="74613" cy="106363"/>
            </a:xfrm>
            <a:custGeom>
              <a:avLst/>
              <a:gdLst>
                <a:gd name="T0" fmla="*/ 42 w 47"/>
                <a:gd name="T1" fmla="*/ 0 h 67"/>
                <a:gd name="T2" fmla="*/ 0 w 47"/>
                <a:gd name="T3" fmla="*/ 67 h 67"/>
                <a:gd name="T4" fmla="*/ 47 w 47"/>
                <a:gd name="T5" fmla="*/ 46 h 67"/>
                <a:gd name="T6" fmla="*/ 44 w 47"/>
                <a:gd name="T7" fmla="*/ 25 h 67"/>
                <a:gd name="T8" fmla="*/ 42 w 47"/>
                <a:gd name="T9" fmla="*/ 0 h 67"/>
              </a:gdLst>
              <a:ahLst/>
              <a:cxnLst>
                <a:cxn ang="0">
                  <a:pos x="T0" y="T1"/>
                </a:cxn>
                <a:cxn ang="0">
                  <a:pos x="T2" y="T3"/>
                </a:cxn>
                <a:cxn ang="0">
                  <a:pos x="T4" y="T5"/>
                </a:cxn>
                <a:cxn ang="0">
                  <a:pos x="T6" y="T7"/>
                </a:cxn>
                <a:cxn ang="0">
                  <a:pos x="T8" y="T9"/>
                </a:cxn>
              </a:cxnLst>
              <a:rect l="0" t="0" r="r" b="b"/>
              <a:pathLst>
                <a:path w="47" h="67">
                  <a:moveTo>
                    <a:pt x="42" y="0"/>
                  </a:moveTo>
                  <a:lnTo>
                    <a:pt x="0" y="67"/>
                  </a:lnTo>
                  <a:lnTo>
                    <a:pt x="47" y="46"/>
                  </a:lnTo>
                  <a:lnTo>
                    <a:pt x="44" y="25"/>
                  </a:lnTo>
                  <a:lnTo>
                    <a:pt x="42" y="0"/>
                  </a:lnTo>
                  <a:close/>
                </a:path>
              </a:pathLst>
            </a:custGeom>
            <a:solidFill>
              <a:srgbClr val="4B79B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63" name="îṧľíḋé">
              <a:extLst>
                <a:ext uri="{FF2B5EF4-FFF2-40B4-BE49-F238E27FC236}">
                  <a16:creationId xmlns:a16="http://schemas.microsoft.com/office/drawing/2014/main" id="{7568D38A-75B6-4070-A2DA-889E127CC5D5}"/>
                </a:ext>
              </a:extLst>
            </p:cNvPr>
            <p:cNvSpPr/>
            <p:nvPr/>
          </p:nvSpPr>
          <p:spPr bwMode="auto">
            <a:xfrm>
              <a:off x="6134100" y="4495801"/>
              <a:ext cx="74613" cy="106363"/>
            </a:xfrm>
            <a:custGeom>
              <a:avLst/>
              <a:gdLst>
                <a:gd name="T0" fmla="*/ 42 w 47"/>
                <a:gd name="T1" fmla="*/ 0 h 67"/>
                <a:gd name="T2" fmla="*/ 0 w 47"/>
                <a:gd name="T3" fmla="*/ 67 h 67"/>
                <a:gd name="T4" fmla="*/ 47 w 47"/>
                <a:gd name="T5" fmla="*/ 46 h 67"/>
                <a:gd name="T6" fmla="*/ 44 w 47"/>
                <a:gd name="T7" fmla="*/ 25 h 67"/>
                <a:gd name="T8" fmla="*/ 42 w 47"/>
                <a:gd name="T9" fmla="*/ 0 h 67"/>
              </a:gdLst>
              <a:ahLst/>
              <a:cxnLst>
                <a:cxn ang="0">
                  <a:pos x="T0" y="T1"/>
                </a:cxn>
                <a:cxn ang="0">
                  <a:pos x="T2" y="T3"/>
                </a:cxn>
                <a:cxn ang="0">
                  <a:pos x="T4" y="T5"/>
                </a:cxn>
                <a:cxn ang="0">
                  <a:pos x="T6" y="T7"/>
                </a:cxn>
                <a:cxn ang="0">
                  <a:pos x="T8" y="T9"/>
                </a:cxn>
              </a:cxnLst>
              <a:rect l="0" t="0" r="r" b="b"/>
              <a:pathLst>
                <a:path w="47" h="67">
                  <a:moveTo>
                    <a:pt x="42" y="0"/>
                  </a:moveTo>
                  <a:lnTo>
                    <a:pt x="0" y="67"/>
                  </a:lnTo>
                  <a:lnTo>
                    <a:pt x="47" y="46"/>
                  </a:lnTo>
                  <a:lnTo>
                    <a:pt x="44" y="25"/>
                  </a:lnTo>
                  <a:lnTo>
                    <a:pt x="4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64" name="ï$lîde">
              <a:extLst>
                <a:ext uri="{FF2B5EF4-FFF2-40B4-BE49-F238E27FC236}">
                  <a16:creationId xmlns:a16="http://schemas.microsoft.com/office/drawing/2014/main" id="{65B50A13-A943-414E-AE22-632DD489F716}"/>
                </a:ext>
              </a:extLst>
            </p:cNvPr>
            <p:cNvSpPr/>
            <p:nvPr/>
          </p:nvSpPr>
          <p:spPr bwMode="auto">
            <a:xfrm>
              <a:off x="5930900" y="3589338"/>
              <a:ext cx="87313" cy="515938"/>
            </a:xfrm>
            <a:custGeom>
              <a:avLst/>
              <a:gdLst>
                <a:gd name="T0" fmla="*/ 50 w 55"/>
                <a:gd name="T1" fmla="*/ 0 h 325"/>
                <a:gd name="T2" fmla="*/ 0 w 55"/>
                <a:gd name="T3" fmla="*/ 173 h 325"/>
                <a:gd name="T4" fmla="*/ 2 w 55"/>
                <a:gd name="T5" fmla="*/ 325 h 325"/>
                <a:gd name="T6" fmla="*/ 55 w 55"/>
                <a:gd name="T7" fmla="*/ 324 h 325"/>
                <a:gd name="T8" fmla="*/ 50 w 55"/>
                <a:gd name="T9" fmla="*/ 0 h 325"/>
              </a:gdLst>
              <a:ahLst/>
              <a:cxnLst>
                <a:cxn ang="0">
                  <a:pos x="T0" y="T1"/>
                </a:cxn>
                <a:cxn ang="0">
                  <a:pos x="T2" y="T3"/>
                </a:cxn>
                <a:cxn ang="0">
                  <a:pos x="T4" y="T5"/>
                </a:cxn>
                <a:cxn ang="0">
                  <a:pos x="T6" y="T7"/>
                </a:cxn>
                <a:cxn ang="0">
                  <a:pos x="T8" y="T9"/>
                </a:cxn>
              </a:cxnLst>
              <a:rect l="0" t="0" r="r" b="b"/>
              <a:pathLst>
                <a:path w="55" h="325">
                  <a:moveTo>
                    <a:pt x="50" y="0"/>
                  </a:moveTo>
                  <a:lnTo>
                    <a:pt x="0" y="173"/>
                  </a:lnTo>
                  <a:lnTo>
                    <a:pt x="2" y="325"/>
                  </a:lnTo>
                  <a:lnTo>
                    <a:pt x="55" y="324"/>
                  </a:lnTo>
                  <a:lnTo>
                    <a:pt x="50" y="0"/>
                  </a:lnTo>
                  <a:close/>
                </a:path>
              </a:pathLst>
            </a:custGeom>
            <a:solidFill>
              <a:srgbClr val="463D3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65" name="ïśḻïḑé">
              <a:extLst>
                <a:ext uri="{FF2B5EF4-FFF2-40B4-BE49-F238E27FC236}">
                  <a16:creationId xmlns:a16="http://schemas.microsoft.com/office/drawing/2014/main" id="{E035A455-AE2F-43EF-8FA6-02F26B55204D}"/>
                </a:ext>
              </a:extLst>
            </p:cNvPr>
            <p:cNvSpPr/>
            <p:nvPr/>
          </p:nvSpPr>
          <p:spPr bwMode="auto">
            <a:xfrm>
              <a:off x="5930900" y="3589338"/>
              <a:ext cx="87313" cy="515938"/>
            </a:xfrm>
            <a:custGeom>
              <a:avLst/>
              <a:gdLst>
                <a:gd name="T0" fmla="*/ 50 w 55"/>
                <a:gd name="T1" fmla="*/ 0 h 325"/>
                <a:gd name="T2" fmla="*/ 0 w 55"/>
                <a:gd name="T3" fmla="*/ 173 h 325"/>
                <a:gd name="T4" fmla="*/ 2 w 55"/>
                <a:gd name="T5" fmla="*/ 325 h 325"/>
                <a:gd name="T6" fmla="*/ 55 w 55"/>
                <a:gd name="T7" fmla="*/ 324 h 325"/>
                <a:gd name="T8" fmla="*/ 50 w 55"/>
                <a:gd name="T9" fmla="*/ 0 h 325"/>
              </a:gdLst>
              <a:ahLst/>
              <a:cxnLst>
                <a:cxn ang="0">
                  <a:pos x="T0" y="T1"/>
                </a:cxn>
                <a:cxn ang="0">
                  <a:pos x="T2" y="T3"/>
                </a:cxn>
                <a:cxn ang="0">
                  <a:pos x="T4" y="T5"/>
                </a:cxn>
                <a:cxn ang="0">
                  <a:pos x="T6" y="T7"/>
                </a:cxn>
                <a:cxn ang="0">
                  <a:pos x="T8" y="T9"/>
                </a:cxn>
              </a:cxnLst>
              <a:rect l="0" t="0" r="r" b="b"/>
              <a:pathLst>
                <a:path w="55" h="325">
                  <a:moveTo>
                    <a:pt x="50" y="0"/>
                  </a:moveTo>
                  <a:lnTo>
                    <a:pt x="0" y="173"/>
                  </a:lnTo>
                  <a:lnTo>
                    <a:pt x="2" y="325"/>
                  </a:lnTo>
                  <a:lnTo>
                    <a:pt x="55" y="324"/>
                  </a:lnTo>
                  <a:lnTo>
                    <a:pt x="5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66" name="îṧḷîdé">
              <a:extLst>
                <a:ext uri="{FF2B5EF4-FFF2-40B4-BE49-F238E27FC236}">
                  <a16:creationId xmlns:a16="http://schemas.microsoft.com/office/drawing/2014/main" id="{178BBB75-ACDC-4DF8-9F3D-C55864777006}"/>
                </a:ext>
              </a:extLst>
            </p:cNvPr>
            <p:cNvSpPr/>
            <p:nvPr/>
          </p:nvSpPr>
          <p:spPr bwMode="auto">
            <a:xfrm>
              <a:off x="6621463" y="3140076"/>
              <a:ext cx="554038" cy="1044575"/>
            </a:xfrm>
            <a:custGeom>
              <a:avLst/>
              <a:gdLst>
                <a:gd name="T0" fmla="*/ 395 w 420"/>
                <a:gd name="T1" fmla="*/ 791 h 795"/>
                <a:gd name="T2" fmla="*/ 90 w 420"/>
                <a:gd name="T3" fmla="*/ 551 h 795"/>
                <a:gd name="T4" fmla="*/ 28 w 420"/>
                <a:gd name="T5" fmla="*/ 456 h 795"/>
                <a:gd name="T6" fmla="*/ 97 w 420"/>
                <a:gd name="T7" fmla="*/ 544 h 795"/>
                <a:gd name="T8" fmla="*/ 86 w 420"/>
                <a:gd name="T9" fmla="*/ 462 h 795"/>
                <a:gd name="T10" fmla="*/ 33 w 420"/>
                <a:gd name="T11" fmla="*/ 365 h 795"/>
                <a:gd name="T12" fmla="*/ 95 w 420"/>
                <a:gd name="T13" fmla="*/ 371 h 795"/>
                <a:gd name="T14" fmla="*/ 26 w 420"/>
                <a:gd name="T15" fmla="*/ 330 h 795"/>
                <a:gd name="T16" fmla="*/ 91 w 420"/>
                <a:gd name="T17" fmla="*/ 310 h 795"/>
                <a:gd name="T18" fmla="*/ 90 w 420"/>
                <a:gd name="T19" fmla="*/ 286 h 795"/>
                <a:gd name="T20" fmla="*/ 28 w 420"/>
                <a:gd name="T21" fmla="*/ 192 h 795"/>
                <a:gd name="T22" fmla="*/ 97 w 420"/>
                <a:gd name="T23" fmla="*/ 279 h 795"/>
                <a:gd name="T24" fmla="*/ 86 w 420"/>
                <a:gd name="T25" fmla="*/ 202 h 795"/>
                <a:gd name="T26" fmla="*/ 33 w 420"/>
                <a:gd name="T27" fmla="*/ 118 h 795"/>
                <a:gd name="T28" fmla="*/ 95 w 420"/>
                <a:gd name="T29" fmla="*/ 128 h 795"/>
                <a:gd name="T30" fmla="*/ 26 w 420"/>
                <a:gd name="T31" fmla="*/ 87 h 795"/>
                <a:gd name="T32" fmla="*/ 91 w 420"/>
                <a:gd name="T33" fmla="*/ 91 h 795"/>
                <a:gd name="T34" fmla="*/ 186 w 420"/>
                <a:gd name="T35" fmla="*/ 611 h 795"/>
                <a:gd name="T36" fmla="*/ 124 w 420"/>
                <a:gd name="T37" fmla="*/ 517 h 795"/>
                <a:gd name="T38" fmla="*/ 193 w 420"/>
                <a:gd name="T39" fmla="*/ 604 h 795"/>
                <a:gd name="T40" fmla="*/ 182 w 420"/>
                <a:gd name="T41" fmla="*/ 522 h 795"/>
                <a:gd name="T42" fmla="*/ 129 w 420"/>
                <a:gd name="T43" fmla="*/ 426 h 795"/>
                <a:gd name="T44" fmla="*/ 192 w 420"/>
                <a:gd name="T45" fmla="*/ 432 h 795"/>
                <a:gd name="T46" fmla="*/ 122 w 420"/>
                <a:gd name="T47" fmla="*/ 390 h 795"/>
                <a:gd name="T48" fmla="*/ 187 w 420"/>
                <a:gd name="T49" fmla="*/ 370 h 795"/>
                <a:gd name="T50" fmla="*/ 186 w 420"/>
                <a:gd name="T51" fmla="*/ 346 h 795"/>
                <a:gd name="T52" fmla="*/ 124 w 420"/>
                <a:gd name="T53" fmla="*/ 252 h 795"/>
                <a:gd name="T54" fmla="*/ 193 w 420"/>
                <a:gd name="T55" fmla="*/ 339 h 795"/>
                <a:gd name="T56" fmla="*/ 182 w 420"/>
                <a:gd name="T57" fmla="*/ 262 h 795"/>
                <a:gd name="T58" fmla="*/ 129 w 420"/>
                <a:gd name="T59" fmla="*/ 179 h 795"/>
                <a:gd name="T60" fmla="*/ 192 w 420"/>
                <a:gd name="T61" fmla="*/ 189 h 795"/>
                <a:gd name="T62" fmla="*/ 122 w 420"/>
                <a:gd name="T63" fmla="*/ 147 h 795"/>
                <a:gd name="T64" fmla="*/ 187 w 420"/>
                <a:gd name="T65" fmla="*/ 151 h 795"/>
                <a:gd name="T66" fmla="*/ 282 w 420"/>
                <a:gd name="T67" fmla="*/ 672 h 795"/>
                <a:gd name="T68" fmla="*/ 220 w 420"/>
                <a:gd name="T69" fmla="*/ 577 h 795"/>
                <a:gd name="T70" fmla="*/ 290 w 420"/>
                <a:gd name="T71" fmla="*/ 664 h 795"/>
                <a:gd name="T72" fmla="*/ 278 w 420"/>
                <a:gd name="T73" fmla="*/ 583 h 795"/>
                <a:gd name="T74" fmla="*/ 225 w 420"/>
                <a:gd name="T75" fmla="*/ 486 h 795"/>
                <a:gd name="T76" fmla="*/ 288 w 420"/>
                <a:gd name="T77" fmla="*/ 492 h 795"/>
                <a:gd name="T78" fmla="*/ 218 w 420"/>
                <a:gd name="T79" fmla="*/ 450 h 795"/>
                <a:gd name="T80" fmla="*/ 283 w 420"/>
                <a:gd name="T81" fmla="*/ 431 h 795"/>
                <a:gd name="T82" fmla="*/ 282 w 420"/>
                <a:gd name="T83" fmla="*/ 407 h 795"/>
                <a:gd name="T84" fmla="*/ 220 w 420"/>
                <a:gd name="T85" fmla="*/ 312 h 795"/>
                <a:gd name="T86" fmla="*/ 290 w 420"/>
                <a:gd name="T87" fmla="*/ 400 h 795"/>
                <a:gd name="T88" fmla="*/ 278 w 420"/>
                <a:gd name="T89" fmla="*/ 322 h 795"/>
                <a:gd name="T90" fmla="*/ 225 w 420"/>
                <a:gd name="T91" fmla="*/ 239 h 795"/>
                <a:gd name="T92" fmla="*/ 288 w 420"/>
                <a:gd name="T93" fmla="*/ 249 h 795"/>
                <a:gd name="T94" fmla="*/ 218 w 420"/>
                <a:gd name="T95" fmla="*/ 208 h 795"/>
                <a:gd name="T96" fmla="*/ 283 w 420"/>
                <a:gd name="T97" fmla="*/ 212 h 795"/>
                <a:gd name="T98" fmla="*/ 379 w 420"/>
                <a:gd name="T99" fmla="*/ 733 h 795"/>
                <a:gd name="T100" fmla="*/ 317 w 420"/>
                <a:gd name="T101" fmla="*/ 549 h 795"/>
                <a:gd name="T102" fmla="*/ 386 w 420"/>
                <a:gd name="T103" fmla="*/ 726 h 795"/>
                <a:gd name="T104" fmla="*/ 374 w 420"/>
                <a:gd name="T105" fmla="*/ 555 h 795"/>
                <a:gd name="T106" fmla="*/ 321 w 420"/>
                <a:gd name="T107" fmla="*/ 458 h 795"/>
                <a:gd name="T108" fmla="*/ 384 w 420"/>
                <a:gd name="T109" fmla="*/ 464 h 795"/>
                <a:gd name="T110" fmla="*/ 315 w 420"/>
                <a:gd name="T111" fmla="*/ 423 h 795"/>
                <a:gd name="T112" fmla="*/ 379 w 420"/>
                <a:gd name="T113" fmla="*/ 403 h 795"/>
                <a:gd name="T114" fmla="*/ 379 w 420"/>
                <a:gd name="T115" fmla="*/ 383 h 795"/>
                <a:gd name="T116" fmla="*/ 317 w 420"/>
                <a:gd name="T117" fmla="*/ 302 h 795"/>
                <a:gd name="T118" fmla="*/ 386 w 420"/>
                <a:gd name="T119" fmla="*/ 376 h 795"/>
                <a:gd name="T120" fmla="*/ 374 w 420"/>
                <a:gd name="T121" fmla="*/ 312 h 795"/>
                <a:gd name="T122" fmla="*/ 321 w 420"/>
                <a:gd name="T123" fmla="*/ 239 h 7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20" h="795">
                  <a:moveTo>
                    <a:pt x="420" y="776"/>
                  </a:moveTo>
                  <a:cubicBezTo>
                    <a:pt x="420" y="258"/>
                    <a:pt x="420" y="258"/>
                    <a:pt x="420" y="258"/>
                  </a:cubicBezTo>
                  <a:cubicBezTo>
                    <a:pt x="0" y="0"/>
                    <a:pt x="0" y="0"/>
                    <a:pt x="0" y="0"/>
                  </a:cubicBezTo>
                  <a:cubicBezTo>
                    <a:pt x="0" y="517"/>
                    <a:pt x="0" y="517"/>
                    <a:pt x="0" y="517"/>
                  </a:cubicBezTo>
                  <a:cubicBezTo>
                    <a:pt x="0" y="534"/>
                    <a:pt x="11" y="554"/>
                    <a:pt x="25" y="562"/>
                  </a:cubicBezTo>
                  <a:cubicBezTo>
                    <a:pt x="395" y="791"/>
                    <a:pt x="395" y="791"/>
                    <a:pt x="395" y="791"/>
                  </a:cubicBezTo>
                  <a:cubicBezTo>
                    <a:pt x="402" y="795"/>
                    <a:pt x="409" y="795"/>
                    <a:pt x="414" y="792"/>
                  </a:cubicBezTo>
                  <a:cubicBezTo>
                    <a:pt x="418" y="790"/>
                    <a:pt x="420" y="784"/>
                    <a:pt x="420" y="776"/>
                  </a:cubicBezTo>
                  <a:close/>
                  <a:moveTo>
                    <a:pt x="97" y="544"/>
                  </a:moveTo>
                  <a:cubicBezTo>
                    <a:pt x="97" y="546"/>
                    <a:pt x="97" y="547"/>
                    <a:pt x="95" y="548"/>
                  </a:cubicBezTo>
                  <a:cubicBezTo>
                    <a:pt x="95" y="548"/>
                    <a:pt x="95" y="548"/>
                    <a:pt x="95" y="548"/>
                  </a:cubicBezTo>
                  <a:cubicBezTo>
                    <a:pt x="90" y="551"/>
                    <a:pt x="90" y="551"/>
                    <a:pt x="90" y="551"/>
                  </a:cubicBezTo>
                  <a:cubicBezTo>
                    <a:pt x="90" y="551"/>
                    <a:pt x="90" y="551"/>
                    <a:pt x="90" y="551"/>
                  </a:cubicBezTo>
                  <a:cubicBezTo>
                    <a:pt x="89" y="551"/>
                    <a:pt x="87" y="551"/>
                    <a:pt x="86" y="550"/>
                  </a:cubicBezTo>
                  <a:cubicBezTo>
                    <a:pt x="32" y="518"/>
                    <a:pt x="32" y="518"/>
                    <a:pt x="32" y="518"/>
                  </a:cubicBezTo>
                  <a:cubicBezTo>
                    <a:pt x="29" y="515"/>
                    <a:pt x="26" y="510"/>
                    <a:pt x="26" y="506"/>
                  </a:cubicBezTo>
                  <a:cubicBezTo>
                    <a:pt x="26" y="460"/>
                    <a:pt x="26" y="460"/>
                    <a:pt x="26" y="460"/>
                  </a:cubicBezTo>
                  <a:cubicBezTo>
                    <a:pt x="26" y="458"/>
                    <a:pt x="27" y="457"/>
                    <a:pt x="28" y="456"/>
                  </a:cubicBezTo>
                  <a:cubicBezTo>
                    <a:pt x="28" y="456"/>
                    <a:pt x="28" y="456"/>
                    <a:pt x="28" y="456"/>
                  </a:cubicBezTo>
                  <a:cubicBezTo>
                    <a:pt x="33" y="454"/>
                    <a:pt x="33" y="454"/>
                    <a:pt x="33" y="454"/>
                  </a:cubicBezTo>
                  <a:cubicBezTo>
                    <a:pt x="34" y="453"/>
                    <a:pt x="36" y="453"/>
                    <a:pt x="38" y="454"/>
                  </a:cubicBezTo>
                  <a:cubicBezTo>
                    <a:pt x="91" y="487"/>
                    <a:pt x="91" y="487"/>
                    <a:pt x="91" y="487"/>
                  </a:cubicBezTo>
                  <a:cubicBezTo>
                    <a:pt x="94" y="489"/>
                    <a:pt x="97" y="494"/>
                    <a:pt x="97" y="498"/>
                  </a:cubicBezTo>
                  <a:lnTo>
                    <a:pt x="97" y="544"/>
                  </a:lnTo>
                  <a:close/>
                  <a:moveTo>
                    <a:pt x="97" y="455"/>
                  </a:moveTo>
                  <a:cubicBezTo>
                    <a:pt x="97" y="457"/>
                    <a:pt x="97" y="459"/>
                    <a:pt x="95" y="460"/>
                  </a:cubicBezTo>
                  <a:cubicBezTo>
                    <a:pt x="95" y="460"/>
                    <a:pt x="95" y="460"/>
                    <a:pt x="95" y="460"/>
                  </a:cubicBezTo>
                  <a:cubicBezTo>
                    <a:pt x="90" y="463"/>
                    <a:pt x="90" y="463"/>
                    <a:pt x="90" y="463"/>
                  </a:cubicBezTo>
                  <a:cubicBezTo>
                    <a:pt x="90" y="463"/>
                    <a:pt x="90" y="463"/>
                    <a:pt x="90" y="463"/>
                  </a:cubicBezTo>
                  <a:cubicBezTo>
                    <a:pt x="89" y="463"/>
                    <a:pt x="87" y="463"/>
                    <a:pt x="86" y="462"/>
                  </a:cubicBezTo>
                  <a:cubicBezTo>
                    <a:pt x="32" y="429"/>
                    <a:pt x="32" y="429"/>
                    <a:pt x="32" y="429"/>
                  </a:cubicBezTo>
                  <a:cubicBezTo>
                    <a:pt x="29" y="427"/>
                    <a:pt x="26" y="422"/>
                    <a:pt x="26" y="418"/>
                  </a:cubicBezTo>
                  <a:cubicBezTo>
                    <a:pt x="26" y="372"/>
                    <a:pt x="26" y="372"/>
                    <a:pt x="26" y="372"/>
                  </a:cubicBezTo>
                  <a:cubicBezTo>
                    <a:pt x="26" y="370"/>
                    <a:pt x="27" y="369"/>
                    <a:pt x="28" y="368"/>
                  </a:cubicBezTo>
                  <a:cubicBezTo>
                    <a:pt x="28" y="368"/>
                    <a:pt x="28" y="368"/>
                    <a:pt x="28" y="368"/>
                  </a:cubicBezTo>
                  <a:cubicBezTo>
                    <a:pt x="33" y="365"/>
                    <a:pt x="33" y="365"/>
                    <a:pt x="33" y="365"/>
                  </a:cubicBezTo>
                  <a:cubicBezTo>
                    <a:pt x="34" y="365"/>
                    <a:pt x="36" y="365"/>
                    <a:pt x="38" y="366"/>
                  </a:cubicBezTo>
                  <a:cubicBezTo>
                    <a:pt x="91" y="398"/>
                    <a:pt x="91" y="398"/>
                    <a:pt x="91" y="398"/>
                  </a:cubicBezTo>
                  <a:cubicBezTo>
                    <a:pt x="94" y="401"/>
                    <a:pt x="97" y="406"/>
                    <a:pt x="97" y="410"/>
                  </a:cubicBezTo>
                  <a:lnTo>
                    <a:pt x="97" y="455"/>
                  </a:lnTo>
                  <a:close/>
                  <a:moveTo>
                    <a:pt x="97" y="367"/>
                  </a:moveTo>
                  <a:cubicBezTo>
                    <a:pt x="97" y="369"/>
                    <a:pt x="97" y="371"/>
                    <a:pt x="95" y="371"/>
                  </a:cubicBezTo>
                  <a:cubicBezTo>
                    <a:pt x="95" y="371"/>
                    <a:pt x="95" y="371"/>
                    <a:pt x="95" y="371"/>
                  </a:cubicBezTo>
                  <a:cubicBezTo>
                    <a:pt x="90" y="374"/>
                    <a:pt x="90" y="374"/>
                    <a:pt x="90" y="374"/>
                  </a:cubicBezTo>
                  <a:cubicBezTo>
                    <a:pt x="90" y="374"/>
                    <a:pt x="90" y="374"/>
                    <a:pt x="90" y="374"/>
                  </a:cubicBezTo>
                  <a:cubicBezTo>
                    <a:pt x="89" y="375"/>
                    <a:pt x="87" y="375"/>
                    <a:pt x="86" y="374"/>
                  </a:cubicBezTo>
                  <a:cubicBezTo>
                    <a:pt x="32" y="341"/>
                    <a:pt x="32" y="341"/>
                    <a:pt x="32" y="341"/>
                  </a:cubicBezTo>
                  <a:cubicBezTo>
                    <a:pt x="29" y="339"/>
                    <a:pt x="26" y="334"/>
                    <a:pt x="26" y="330"/>
                  </a:cubicBezTo>
                  <a:cubicBezTo>
                    <a:pt x="26" y="284"/>
                    <a:pt x="26" y="284"/>
                    <a:pt x="26" y="284"/>
                  </a:cubicBezTo>
                  <a:cubicBezTo>
                    <a:pt x="26" y="282"/>
                    <a:pt x="27" y="280"/>
                    <a:pt x="28" y="280"/>
                  </a:cubicBezTo>
                  <a:cubicBezTo>
                    <a:pt x="28" y="280"/>
                    <a:pt x="28" y="280"/>
                    <a:pt x="28" y="280"/>
                  </a:cubicBezTo>
                  <a:cubicBezTo>
                    <a:pt x="33" y="277"/>
                    <a:pt x="33" y="277"/>
                    <a:pt x="33" y="277"/>
                  </a:cubicBezTo>
                  <a:cubicBezTo>
                    <a:pt x="34" y="276"/>
                    <a:pt x="36" y="276"/>
                    <a:pt x="38" y="277"/>
                  </a:cubicBezTo>
                  <a:cubicBezTo>
                    <a:pt x="91" y="310"/>
                    <a:pt x="91" y="310"/>
                    <a:pt x="91" y="310"/>
                  </a:cubicBezTo>
                  <a:cubicBezTo>
                    <a:pt x="94" y="312"/>
                    <a:pt x="97" y="317"/>
                    <a:pt x="97" y="321"/>
                  </a:cubicBezTo>
                  <a:lnTo>
                    <a:pt x="97" y="367"/>
                  </a:lnTo>
                  <a:close/>
                  <a:moveTo>
                    <a:pt x="97" y="279"/>
                  </a:moveTo>
                  <a:cubicBezTo>
                    <a:pt x="97" y="281"/>
                    <a:pt x="97" y="282"/>
                    <a:pt x="95" y="283"/>
                  </a:cubicBezTo>
                  <a:cubicBezTo>
                    <a:pt x="95" y="283"/>
                    <a:pt x="95" y="283"/>
                    <a:pt x="95" y="283"/>
                  </a:cubicBezTo>
                  <a:cubicBezTo>
                    <a:pt x="90" y="286"/>
                    <a:pt x="90" y="286"/>
                    <a:pt x="90" y="286"/>
                  </a:cubicBezTo>
                  <a:cubicBezTo>
                    <a:pt x="90" y="286"/>
                    <a:pt x="90" y="286"/>
                    <a:pt x="90" y="286"/>
                  </a:cubicBezTo>
                  <a:cubicBezTo>
                    <a:pt x="89" y="287"/>
                    <a:pt x="87" y="286"/>
                    <a:pt x="86" y="285"/>
                  </a:cubicBezTo>
                  <a:cubicBezTo>
                    <a:pt x="32" y="253"/>
                    <a:pt x="32" y="253"/>
                    <a:pt x="32" y="253"/>
                  </a:cubicBezTo>
                  <a:cubicBezTo>
                    <a:pt x="29" y="251"/>
                    <a:pt x="26" y="246"/>
                    <a:pt x="26" y="241"/>
                  </a:cubicBezTo>
                  <a:cubicBezTo>
                    <a:pt x="26" y="196"/>
                    <a:pt x="26" y="196"/>
                    <a:pt x="26" y="196"/>
                  </a:cubicBezTo>
                  <a:cubicBezTo>
                    <a:pt x="26" y="194"/>
                    <a:pt x="27" y="192"/>
                    <a:pt x="28" y="192"/>
                  </a:cubicBezTo>
                  <a:cubicBezTo>
                    <a:pt x="28" y="192"/>
                    <a:pt x="28" y="192"/>
                    <a:pt x="28" y="192"/>
                  </a:cubicBezTo>
                  <a:cubicBezTo>
                    <a:pt x="33" y="189"/>
                    <a:pt x="33" y="189"/>
                    <a:pt x="33" y="189"/>
                  </a:cubicBezTo>
                  <a:cubicBezTo>
                    <a:pt x="34" y="188"/>
                    <a:pt x="36" y="188"/>
                    <a:pt x="38" y="189"/>
                  </a:cubicBezTo>
                  <a:cubicBezTo>
                    <a:pt x="91" y="222"/>
                    <a:pt x="91" y="222"/>
                    <a:pt x="91" y="222"/>
                  </a:cubicBezTo>
                  <a:cubicBezTo>
                    <a:pt x="94" y="224"/>
                    <a:pt x="97" y="229"/>
                    <a:pt x="97" y="233"/>
                  </a:cubicBezTo>
                  <a:lnTo>
                    <a:pt x="97" y="279"/>
                  </a:lnTo>
                  <a:close/>
                  <a:moveTo>
                    <a:pt x="97" y="195"/>
                  </a:moveTo>
                  <a:cubicBezTo>
                    <a:pt x="97" y="197"/>
                    <a:pt x="97" y="199"/>
                    <a:pt x="95" y="199"/>
                  </a:cubicBezTo>
                  <a:cubicBezTo>
                    <a:pt x="95" y="199"/>
                    <a:pt x="95" y="199"/>
                    <a:pt x="95" y="199"/>
                  </a:cubicBezTo>
                  <a:cubicBezTo>
                    <a:pt x="90" y="202"/>
                    <a:pt x="90" y="202"/>
                    <a:pt x="90" y="202"/>
                  </a:cubicBezTo>
                  <a:cubicBezTo>
                    <a:pt x="90" y="202"/>
                    <a:pt x="90" y="202"/>
                    <a:pt x="90" y="202"/>
                  </a:cubicBezTo>
                  <a:cubicBezTo>
                    <a:pt x="89" y="203"/>
                    <a:pt x="87" y="203"/>
                    <a:pt x="86" y="202"/>
                  </a:cubicBezTo>
                  <a:cubicBezTo>
                    <a:pt x="32" y="169"/>
                    <a:pt x="32" y="169"/>
                    <a:pt x="32" y="169"/>
                  </a:cubicBezTo>
                  <a:cubicBezTo>
                    <a:pt x="29" y="167"/>
                    <a:pt x="26" y="162"/>
                    <a:pt x="26" y="158"/>
                  </a:cubicBezTo>
                  <a:cubicBezTo>
                    <a:pt x="26" y="125"/>
                    <a:pt x="26" y="125"/>
                    <a:pt x="26" y="125"/>
                  </a:cubicBezTo>
                  <a:cubicBezTo>
                    <a:pt x="26" y="123"/>
                    <a:pt x="27" y="122"/>
                    <a:pt x="28" y="121"/>
                  </a:cubicBezTo>
                  <a:cubicBezTo>
                    <a:pt x="28" y="121"/>
                    <a:pt x="28" y="121"/>
                    <a:pt x="28" y="121"/>
                  </a:cubicBezTo>
                  <a:cubicBezTo>
                    <a:pt x="33" y="118"/>
                    <a:pt x="33" y="118"/>
                    <a:pt x="33" y="118"/>
                  </a:cubicBezTo>
                  <a:cubicBezTo>
                    <a:pt x="34" y="117"/>
                    <a:pt x="36" y="117"/>
                    <a:pt x="38" y="119"/>
                  </a:cubicBezTo>
                  <a:cubicBezTo>
                    <a:pt x="91" y="151"/>
                    <a:pt x="91" y="151"/>
                    <a:pt x="91" y="151"/>
                  </a:cubicBezTo>
                  <a:cubicBezTo>
                    <a:pt x="94" y="153"/>
                    <a:pt x="97" y="158"/>
                    <a:pt x="97" y="163"/>
                  </a:cubicBezTo>
                  <a:lnTo>
                    <a:pt x="97" y="195"/>
                  </a:lnTo>
                  <a:close/>
                  <a:moveTo>
                    <a:pt x="97" y="124"/>
                  </a:moveTo>
                  <a:cubicBezTo>
                    <a:pt x="97" y="126"/>
                    <a:pt x="97" y="128"/>
                    <a:pt x="95" y="128"/>
                  </a:cubicBezTo>
                  <a:cubicBezTo>
                    <a:pt x="95" y="128"/>
                    <a:pt x="95" y="128"/>
                    <a:pt x="95" y="128"/>
                  </a:cubicBezTo>
                  <a:cubicBezTo>
                    <a:pt x="90" y="132"/>
                    <a:pt x="90" y="132"/>
                    <a:pt x="90" y="132"/>
                  </a:cubicBezTo>
                  <a:cubicBezTo>
                    <a:pt x="90" y="131"/>
                    <a:pt x="90" y="131"/>
                    <a:pt x="90" y="131"/>
                  </a:cubicBezTo>
                  <a:cubicBezTo>
                    <a:pt x="89" y="132"/>
                    <a:pt x="87" y="132"/>
                    <a:pt x="86" y="131"/>
                  </a:cubicBezTo>
                  <a:cubicBezTo>
                    <a:pt x="32" y="98"/>
                    <a:pt x="32" y="98"/>
                    <a:pt x="32" y="98"/>
                  </a:cubicBezTo>
                  <a:cubicBezTo>
                    <a:pt x="29" y="96"/>
                    <a:pt x="26" y="91"/>
                    <a:pt x="26" y="87"/>
                  </a:cubicBezTo>
                  <a:cubicBezTo>
                    <a:pt x="26" y="65"/>
                    <a:pt x="26" y="65"/>
                    <a:pt x="26" y="65"/>
                  </a:cubicBezTo>
                  <a:cubicBezTo>
                    <a:pt x="26" y="63"/>
                    <a:pt x="27" y="61"/>
                    <a:pt x="28" y="61"/>
                  </a:cubicBezTo>
                  <a:cubicBezTo>
                    <a:pt x="28" y="61"/>
                    <a:pt x="28" y="61"/>
                    <a:pt x="28" y="61"/>
                  </a:cubicBezTo>
                  <a:cubicBezTo>
                    <a:pt x="33" y="58"/>
                    <a:pt x="33" y="58"/>
                    <a:pt x="33" y="58"/>
                  </a:cubicBezTo>
                  <a:cubicBezTo>
                    <a:pt x="34" y="57"/>
                    <a:pt x="36" y="57"/>
                    <a:pt x="38" y="58"/>
                  </a:cubicBezTo>
                  <a:cubicBezTo>
                    <a:pt x="91" y="91"/>
                    <a:pt x="91" y="91"/>
                    <a:pt x="91" y="91"/>
                  </a:cubicBezTo>
                  <a:cubicBezTo>
                    <a:pt x="94" y="93"/>
                    <a:pt x="97" y="98"/>
                    <a:pt x="97" y="102"/>
                  </a:cubicBezTo>
                  <a:lnTo>
                    <a:pt x="97" y="124"/>
                  </a:lnTo>
                  <a:close/>
                  <a:moveTo>
                    <a:pt x="193" y="604"/>
                  </a:moveTo>
                  <a:cubicBezTo>
                    <a:pt x="193" y="606"/>
                    <a:pt x="193" y="608"/>
                    <a:pt x="192" y="608"/>
                  </a:cubicBezTo>
                  <a:cubicBezTo>
                    <a:pt x="192" y="608"/>
                    <a:pt x="192" y="608"/>
                    <a:pt x="192" y="608"/>
                  </a:cubicBezTo>
                  <a:cubicBezTo>
                    <a:pt x="186" y="611"/>
                    <a:pt x="186" y="611"/>
                    <a:pt x="186" y="611"/>
                  </a:cubicBezTo>
                  <a:cubicBezTo>
                    <a:pt x="186" y="611"/>
                    <a:pt x="186" y="611"/>
                    <a:pt x="186" y="611"/>
                  </a:cubicBezTo>
                  <a:cubicBezTo>
                    <a:pt x="185" y="612"/>
                    <a:pt x="184" y="612"/>
                    <a:pt x="182" y="611"/>
                  </a:cubicBezTo>
                  <a:cubicBezTo>
                    <a:pt x="129" y="578"/>
                    <a:pt x="129" y="578"/>
                    <a:pt x="129" y="578"/>
                  </a:cubicBezTo>
                  <a:cubicBezTo>
                    <a:pt x="125" y="576"/>
                    <a:pt x="122" y="571"/>
                    <a:pt x="122" y="567"/>
                  </a:cubicBezTo>
                  <a:cubicBezTo>
                    <a:pt x="122" y="521"/>
                    <a:pt x="122" y="521"/>
                    <a:pt x="122" y="521"/>
                  </a:cubicBezTo>
                  <a:cubicBezTo>
                    <a:pt x="122" y="519"/>
                    <a:pt x="123" y="517"/>
                    <a:pt x="124" y="517"/>
                  </a:cubicBezTo>
                  <a:cubicBezTo>
                    <a:pt x="124" y="517"/>
                    <a:pt x="124" y="517"/>
                    <a:pt x="124" y="517"/>
                  </a:cubicBezTo>
                  <a:cubicBezTo>
                    <a:pt x="129" y="514"/>
                    <a:pt x="129" y="514"/>
                    <a:pt x="129" y="514"/>
                  </a:cubicBezTo>
                  <a:cubicBezTo>
                    <a:pt x="130" y="513"/>
                    <a:pt x="132" y="513"/>
                    <a:pt x="134" y="514"/>
                  </a:cubicBezTo>
                  <a:cubicBezTo>
                    <a:pt x="187" y="547"/>
                    <a:pt x="187" y="547"/>
                    <a:pt x="187" y="547"/>
                  </a:cubicBezTo>
                  <a:cubicBezTo>
                    <a:pt x="191" y="549"/>
                    <a:pt x="193" y="554"/>
                    <a:pt x="193" y="558"/>
                  </a:cubicBezTo>
                  <a:lnTo>
                    <a:pt x="193" y="604"/>
                  </a:lnTo>
                  <a:close/>
                  <a:moveTo>
                    <a:pt x="193" y="516"/>
                  </a:moveTo>
                  <a:cubicBezTo>
                    <a:pt x="193" y="518"/>
                    <a:pt x="193" y="519"/>
                    <a:pt x="192" y="520"/>
                  </a:cubicBezTo>
                  <a:cubicBezTo>
                    <a:pt x="192" y="520"/>
                    <a:pt x="192" y="520"/>
                    <a:pt x="192" y="520"/>
                  </a:cubicBezTo>
                  <a:cubicBezTo>
                    <a:pt x="186" y="523"/>
                    <a:pt x="186" y="523"/>
                    <a:pt x="186" y="523"/>
                  </a:cubicBezTo>
                  <a:cubicBezTo>
                    <a:pt x="186" y="523"/>
                    <a:pt x="186" y="523"/>
                    <a:pt x="186" y="523"/>
                  </a:cubicBezTo>
                  <a:cubicBezTo>
                    <a:pt x="185" y="524"/>
                    <a:pt x="184" y="523"/>
                    <a:pt x="182" y="522"/>
                  </a:cubicBezTo>
                  <a:cubicBezTo>
                    <a:pt x="129" y="490"/>
                    <a:pt x="129" y="490"/>
                    <a:pt x="129" y="490"/>
                  </a:cubicBezTo>
                  <a:cubicBezTo>
                    <a:pt x="125" y="488"/>
                    <a:pt x="122" y="482"/>
                    <a:pt x="122" y="478"/>
                  </a:cubicBezTo>
                  <a:cubicBezTo>
                    <a:pt x="122" y="433"/>
                    <a:pt x="122" y="433"/>
                    <a:pt x="122" y="433"/>
                  </a:cubicBezTo>
                  <a:cubicBezTo>
                    <a:pt x="122" y="430"/>
                    <a:pt x="123" y="429"/>
                    <a:pt x="124" y="428"/>
                  </a:cubicBezTo>
                  <a:cubicBezTo>
                    <a:pt x="124" y="428"/>
                    <a:pt x="124" y="428"/>
                    <a:pt x="124" y="428"/>
                  </a:cubicBezTo>
                  <a:cubicBezTo>
                    <a:pt x="129" y="426"/>
                    <a:pt x="129" y="426"/>
                    <a:pt x="129" y="426"/>
                  </a:cubicBezTo>
                  <a:cubicBezTo>
                    <a:pt x="130" y="425"/>
                    <a:pt x="132" y="425"/>
                    <a:pt x="134" y="426"/>
                  </a:cubicBezTo>
                  <a:cubicBezTo>
                    <a:pt x="187" y="459"/>
                    <a:pt x="187" y="459"/>
                    <a:pt x="187" y="459"/>
                  </a:cubicBezTo>
                  <a:cubicBezTo>
                    <a:pt x="191" y="461"/>
                    <a:pt x="193" y="466"/>
                    <a:pt x="193" y="470"/>
                  </a:cubicBezTo>
                  <a:lnTo>
                    <a:pt x="193" y="516"/>
                  </a:lnTo>
                  <a:close/>
                  <a:moveTo>
                    <a:pt x="193" y="428"/>
                  </a:moveTo>
                  <a:cubicBezTo>
                    <a:pt x="193" y="430"/>
                    <a:pt x="193" y="431"/>
                    <a:pt x="192" y="432"/>
                  </a:cubicBezTo>
                  <a:cubicBezTo>
                    <a:pt x="192" y="432"/>
                    <a:pt x="192" y="432"/>
                    <a:pt x="192" y="432"/>
                  </a:cubicBezTo>
                  <a:cubicBezTo>
                    <a:pt x="186" y="435"/>
                    <a:pt x="186" y="435"/>
                    <a:pt x="186" y="435"/>
                  </a:cubicBezTo>
                  <a:cubicBezTo>
                    <a:pt x="186" y="435"/>
                    <a:pt x="186" y="435"/>
                    <a:pt x="186" y="435"/>
                  </a:cubicBezTo>
                  <a:cubicBezTo>
                    <a:pt x="185" y="435"/>
                    <a:pt x="184" y="435"/>
                    <a:pt x="182" y="434"/>
                  </a:cubicBezTo>
                  <a:cubicBezTo>
                    <a:pt x="129" y="401"/>
                    <a:pt x="129" y="401"/>
                    <a:pt x="129" y="401"/>
                  </a:cubicBezTo>
                  <a:cubicBezTo>
                    <a:pt x="125" y="399"/>
                    <a:pt x="122" y="394"/>
                    <a:pt x="122" y="390"/>
                  </a:cubicBezTo>
                  <a:cubicBezTo>
                    <a:pt x="122" y="344"/>
                    <a:pt x="122" y="344"/>
                    <a:pt x="122" y="344"/>
                  </a:cubicBezTo>
                  <a:cubicBezTo>
                    <a:pt x="122" y="342"/>
                    <a:pt x="123" y="341"/>
                    <a:pt x="124" y="340"/>
                  </a:cubicBezTo>
                  <a:cubicBezTo>
                    <a:pt x="124" y="340"/>
                    <a:pt x="124" y="340"/>
                    <a:pt x="124" y="340"/>
                  </a:cubicBezTo>
                  <a:cubicBezTo>
                    <a:pt x="129" y="337"/>
                    <a:pt x="129" y="337"/>
                    <a:pt x="129" y="337"/>
                  </a:cubicBezTo>
                  <a:cubicBezTo>
                    <a:pt x="130" y="337"/>
                    <a:pt x="132" y="337"/>
                    <a:pt x="134" y="338"/>
                  </a:cubicBezTo>
                  <a:cubicBezTo>
                    <a:pt x="187" y="370"/>
                    <a:pt x="187" y="370"/>
                    <a:pt x="187" y="370"/>
                  </a:cubicBezTo>
                  <a:cubicBezTo>
                    <a:pt x="191" y="373"/>
                    <a:pt x="193" y="378"/>
                    <a:pt x="193" y="382"/>
                  </a:cubicBezTo>
                  <a:lnTo>
                    <a:pt x="193" y="428"/>
                  </a:lnTo>
                  <a:close/>
                  <a:moveTo>
                    <a:pt x="193" y="339"/>
                  </a:moveTo>
                  <a:cubicBezTo>
                    <a:pt x="193" y="341"/>
                    <a:pt x="193" y="343"/>
                    <a:pt x="192" y="343"/>
                  </a:cubicBezTo>
                  <a:cubicBezTo>
                    <a:pt x="192" y="343"/>
                    <a:pt x="192" y="343"/>
                    <a:pt x="192" y="343"/>
                  </a:cubicBezTo>
                  <a:cubicBezTo>
                    <a:pt x="186" y="346"/>
                    <a:pt x="186" y="346"/>
                    <a:pt x="186" y="346"/>
                  </a:cubicBezTo>
                  <a:cubicBezTo>
                    <a:pt x="186" y="346"/>
                    <a:pt x="186" y="346"/>
                    <a:pt x="186" y="346"/>
                  </a:cubicBezTo>
                  <a:cubicBezTo>
                    <a:pt x="185" y="347"/>
                    <a:pt x="184" y="347"/>
                    <a:pt x="182" y="346"/>
                  </a:cubicBezTo>
                  <a:cubicBezTo>
                    <a:pt x="129" y="313"/>
                    <a:pt x="129" y="313"/>
                    <a:pt x="129" y="313"/>
                  </a:cubicBezTo>
                  <a:cubicBezTo>
                    <a:pt x="125" y="311"/>
                    <a:pt x="122" y="306"/>
                    <a:pt x="122" y="302"/>
                  </a:cubicBezTo>
                  <a:cubicBezTo>
                    <a:pt x="122" y="256"/>
                    <a:pt x="122" y="256"/>
                    <a:pt x="122" y="256"/>
                  </a:cubicBezTo>
                  <a:cubicBezTo>
                    <a:pt x="122" y="254"/>
                    <a:pt x="123" y="253"/>
                    <a:pt x="124" y="252"/>
                  </a:cubicBezTo>
                  <a:cubicBezTo>
                    <a:pt x="124" y="252"/>
                    <a:pt x="124" y="252"/>
                    <a:pt x="124" y="252"/>
                  </a:cubicBezTo>
                  <a:cubicBezTo>
                    <a:pt x="129" y="249"/>
                    <a:pt x="129" y="249"/>
                    <a:pt x="129" y="249"/>
                  </a:cubicBezTo>
                  <a:cubicBezTo>
                    <a:pt x="130" y="248"/>
                    <a:pt x="132" y="248"/>
                    <a:pt x="134" y="250"/>
                  </a:cubicBezTo>
                  <a:cubicBezTo>
                    <a:pt x="187" y="282"/>
                    <a:pt x="187" y="282"/>
                    <a:pt x="187" y="282"/>
                  </a:cubicBezTo>
                  <a:cubicBezTo>
                    <a:pt x="191" y="284"/>
                    <a:pt x="193" y="289"/>
                    <a:pt x="193" y="294"/>
                  </a:cubicBezTo>
                  <a:lnTo>
                    <a:pt x="193" y="339"/>
                  </a:lnTo>
                  <a:close/>
                  <a:moveTo>
                    <a:pt x="193" y="256"/>
                  </a:moveTo>
                  <a:cubicBezTo>
                    <a:pt x="193" y="258"/>
                    <a:pt x="193" y="259"/>
                    <a:pt x="192" y="260"/>
                  </a:cubicBezTo>
                  <a:cubicBezTo>
                    <a:pt x="192" y="260"/>
                    <a:pt x="192" y="260"/>
                    <a:pt x="192" y="260"/>
                  </a:cubicBezTo>
                  <a:cubicBezTo>
                    <a:pt x="186" y="263"/>
                    <a:pt x="186" y="263"/>
                    <a:pt x="186" y="263"/>
                  </a:cubicBezTo>
                  <a:cubicBezTo>
                    <a:pt x="186" y="263"/>
                    <a:pt x="186" y="263"/>
                    <a:pt x="186" y="263"/>
                  </a:cubicBezTo>
                  <a:cubicBezTo>
                    <a:pt x="185" y="263"/>
                    <a:pt x="184" y="263"/>
                    <a:pt x="182" y="262"/>
                  </a:cubicBezTo>
                  <a:cubicBezTo>
                    <a:pt x="129" y="229"/>
                    <a:pt x="129" y="229"/>
                    <a:pt x="129" y="229"/>
                  </a:cubicBezTo>
                  <a:cubicBezTo>
                    <a:pt x="125" y="227"/>
                    <a:pt x="122" y="222"/>
                    <a:pt x="122" y="218"/>
                  </a:cubicBezTo>
                  <a:cubicBezTo>
                    <a:pt x="122" y="185"/>
                    <a:pt x="122" y="185"/>
                    <a:pt x="122" y="185"/>
                  </a:cubicBezTo>
                  <a:cubicBezTo>
                    <a:pt x="122" y="183"/>
                    <a:pt x="123" y="182"/>
                    <a:pt x="124" y="181"/>
                  </a:cubicBezTo>
                  <a:cubicBezTo>
                    <a:pt x="124" y="181"/>
                    <a:pt x="124" y="181"/>
                    <a:pt x="124" y="181"/>
                  </a:cubicBezTo>
                  <a:cubicBezTo>
                    <a:pt x="129" y="179"/>
                    <a:pt x="129" y="179"/>
                    <a:pt x="129" y="179"/>
                  </a:cubicBezTo>
                  <a:cubicBezTo>
                    <a:pt x="130" y="178"/>
                    <a:pt x="132" y="178"/>
                    <a:pt x="134" y="179"/>
                  </a:cubicBezTo>
                  <a:cubicBezTo>
                    <a:pt x="187" y="212"/>
                    <a:pt x="187" y="212"/>
                    <a:pt x="187" y="212"/>
                  </a:cubicBezTo>
                  <a:cubicBezTo>
                    <a:pt x="191" y="214"/>
                    <a:pt x="193" y="219"/>
                    <a:pt x="193" y="223"/>
                  </a:cubicBezTo>
                  <a:lnTo>
                    <a:pt x="193" y="256"/>
                  </a:lnTo>
                  <a:close/>
                  <a:moveTo>
                    <a:pt x="193" y="185"/>
                  </a:moveTo>
                  <a:cubicBezTo>
                    <a:pt x="193" y="187"/>
                    <a:pt x="193" y="188"/>
                    <a:pt x="192" y="189"/>
                  </a:cubicBezTo>
                  <a:cubicBezTo>
                    <a:pt x="192" y="189"/>
                    <a:pt x="192" y="189"/>
                    <a:pt x="192" y="189"/>
                  </a:cubicBezTo>
                  <a:cubicBezTo>
                    <a:pt x="186" y="192"/>
                    <a:pt x="186" y="192"/>
                    <a:pt x="186" y="192"/>
                  </a:cubicBezTo>
                  <a:cubicBezTo>
                    <a:pt x="186" y="192"/>
                    <a:pt x="186" y="192"/>
                    <a:pt x="186" y="192"/>
                  </a:cubicBezTo>
                  <a:cubicBezTo>
                    <a:pt x="185" y="192"/>
                    <a:pt x="184" y="192"/>
                    <a:pt x="182" y="191"/>
                  </a:cubicBezTo>
                  <a:cubicBezTo>
                    <a:pt x="129" y="159"/>
                    <a:pt x="129" y="159"/>
                    <a:pt x="129" y="159"/>
                  </a:cubicBezTo>
                  <a:cubicBezTo>
                    <a:pt x="125" y="156"/>
                    <a:pt x="122" y="151"/>
                    <a:pt x="122" y="147"/>
                  </a:cubicBezTo>
                  <a:cubicBezTo>
                    <a:pt x="122" y="125"/>
                    <a:pt x="122" y="125"/>
                    <a:pt x="122" y="125"/>
                  </a:cubicBezTo>
                  <a:cubicBezTo>
                    <a:pt x="122" y="123"/>
                    <a:pt x="123" y="122"/>
                    <a:pt x="124" y="121"/>
                  </a:cubicBezTo>
                  <a:cubicBezTo>
                    <a:pt x="124" y="121"/>
                    <a:pt x="124" y="121"/>
                    <a:pt x="124" y="121"/>
                  </a:cubicBezTo>
                  <a:cubicBezTo>
                    <a:pt x="129" y="118"/>
                    <a:pt x="129" y="118"/>
                    <a:pt x="129" y="118"/>
                  </a:cubicBezTo>
                  <a:cubicBezTo>
                    <a:pt x="130" y="117"/>
                    <a:pt x="132" y="117"/>
                    <a:pt x="134" y="119"/>
                  </a:cubicBezTo>
                  <a:cubicBezTo>
                    <a:pt x="187" y="151"/>
                    <a:pt x="187" y="151"/>
                    <a:pt x="187" y="151"/>
                  </a:cubicBezTo>
                  <a:cubicBezTo>
                    <a:pt x="191" y="153"/>
                    <a:pt x="193" y="158"/>
                    <a:pt x="193" y="163"/>
                  </a:cubicBezTo>
                  <a:lnTo>
                    <a:pt x="193" y="185"/>
                  </a:lnTo>
                  <a:close/>
                  <a:moveTo>
                    <a:pt x="290" y="664"/>
                  </a:moveTo>
                  <a:cubicBezTo>
                    <a:pt x="290" y="667"/>
                    <a:pt x="289" y="668"/>
                    <a:pt x="288" y="669"/>
                  </a:cubicBezTo>
                  <a:cubicBezTo>
                    <a:pt x="288" y="669"/>
                    <a:pt x="288" y="669"/>
                    <a:pt x="288" y="669"/>
                  </a:cubicBezTo>
                  <a:cubicBezTo>
                    <a:pt x="282" y="672"/>
                    <a:pt x="282" y="672"/>
                    <a:pt x="282" y="672"/>
                  </a:cubicBezTo>
                  <a:cubicBezTo>
                    <a:pt x="282" y="672"/>
                    <a:pt x="282" y="672"/>
                    <a:pt x="282" y="672"/>
                  </a:cubicBezTo>
                  <a:cubicBezTo>
                    <a:pt x="281" y="672"/>
                    <a:pt x="280" y="672"/>
                    <a:pt x="278" y="671"/>
                  </a:cubicBezTo>
                  <a:cubicBezTo>
                    <a:pt x="225" y="638"/>
                    <a:pt x="225" y="638"/>
                    <a:pt x="225" y="638"/>
                  </a:cubicBezTo>
                  <a:cubicBezTo>
                    <a:pt x="221" y="636"/>
                    <a:pt x="218" y="631"/>
                    <a:pt x="218" y="627"/>
                  </a:cubicBezTo>
                  <a:cubicBezTo>
                    <a:pt x="218" y="581"/>
                    <a:pt x="218" y="581"/>
                    <a:pt x="218" y="581"/>
                  </a:cubicBezTo>
                  <a:cubicBezTo>
                    <a:pt x="218" y="579"/>
                    <a:pt x="219" y="578"/>
                    <a:pt x="220" y="577"/>
                  </a:cubicBezTo>
                  <a:cubicBezTo>
                    <a:pt x="220" y="577"/>
                    <a:pt x="220" y="577"/>
                    <a:pt x="220" y="577"/>
                  </a:cubicBezTo>
                  <a:cubicBezTo>
                    <a:pt x="225" y="574"/>
                    <a:pt x="225" y="574"/>
                    <a:pt x="225" y="574"/>
                  </a:cubicBezTo>
                  <a:cubicBezTo>
                    <a:pt x="226" y="574"/>
                    <a:pt x="228" y="574"/>
                    <a:pt x="230" y="575"/>
                  </a:cubicBezTo>
                  <a:cubicBezTo>
                    <a:pt x="283" y="607"/>
                    <a:pt x="283" y="607"/>
                    <a:pt x="283" y="607"/>
                  </a:cubicBezTo>
                  <a:cubicBezTo>
                    <a:pt x="287" y="610"/>
                    <a:pt x="290" y="615"/>
                    <a:pt x="290" y="619"/>
                  </a:cubicBezTo>
                  <a:lnTo>
                    <a:pt x="290" y="664"/>
                  </a:lnTo>
                  <a:close/>
                  <a:moveTo>
                    <a:pt x="290" y="576"/>
                  </a:moveTo>
                  <a:cubicBezTo>
                    <a:pt x="290" y="578"/>
                    <a:pt x="289" y="580"/>
                    <a:pt x="288" y="580"/>
                  </a:cubicBezTo>
                  <a:cubicBezTo>
                    <a:pt x="288" y="580"/>
                    <a:pt x="288" y="580"/>
                    <a:pt x="288" y="580"/>
                  </a:cubicBezTo>
                  <a:cubicBezTo>
                    <a:pt x="282" y="583"/>
                    <a:pt x="282" y="583"/>
                    <a:pt x="282" y="583"/>
                  </a:cubicBezTo>
                  <a:cubicBezTo>
                    <a:pt x="282" y="583"/>
                    <a:pt x="282" y="583"/>
                    <a:pt x="282" y="583"/>
                  </a:cubicBezTo>
                  <a:cubicBezTo>
                    <a:pt x="281" y="584"/>
                    <a:pt x="280" y="584"/>
                    <a:pt x="278" y="583"/>
                  </a:cubicBezTo>
                  <a:cubicBezTo>
                    <a:pt x="225" y="550"/>
                    <a:pt x="225" y="550"/>
                    <a:pt x="225" y="550"/>
                  </a:cubicBezTo>
                  <a:cubicBezTo>
                    <a:pt x="221" y="548"/>
                    <a:pt x="218" y="543"/>
                    <a:pt x="218" y="539"/>
                  </a:cubicBezTo>
                  <a:cubicBezTo>
                    <a:pt x="218" y="493"/>
                    <a:pt x="218" y="493"/>
                    <a:pt x="218" y="493"/>
                  </a:cubicBezTo>
                  <a:cubicBezTo>
                    <a:pt x="218" y="491"/>
                    <a:pt x="219" y="489"/>
                    <a:pt x="220" y="489"/>
                  </a:cubicBezTo>
                  <a:cubicBezTo>
                    <a:pt x="220" y="489"/>
                    <a:pt x="220" y="489"/>
                    <a:pt x="220" y="489"/>
                  </a:cubicBezTo>
                  <a:cubicBezTo>
                    <a:pt x="225" y="486"/>
                    <a:pt x="225" y="486"/>
                    <a:pt x="225" y="486"/>
                  </a:cubicBezTo>
                  <a:cubicBezTo>
                    <a:pt x="226" y="485"/>
                    <a:pt x="228" y="485"/>
                    <a:pt x="230" y="486"/>
                  </a:cubicBezTo>
                  <a:cubicBezTo>
                    <a:pt x="283" y="519"/>
                    <a:pt x="283" y="519"/>
                    <a:pt x="283" y="519"/>
                  </a:cubicBezTo>
                  <a:cubicBezTo>
                    <a:pt x="287" y="521"/>
                    <a:pt x="290" y="526"/>
                    <a:pt x="290" y="530"/>
                  </a:cubicBezTo>
                  <a:lnTo>
                    <a:pt x="290" y="576"/>
                  </a:lnTo>
                  <a:close/>
                  <a:moveTo>
                    <a:pt x="290" y="488"/>
                  </a:moveTo>
                  <a:cubicBezTo>
                    <a:pt x="290" y="490"/>
                    <a:pt x="289" y="491"/>
                    <a:pt x="288" y="492"/>
                  </a:cubicBezTo>
                  <a:cubicBezTo>
                    <a:pt x="288" y="492"/>
                    <a:pt x="288" y="492"/>
                    <a:pt x="288" y="492"/>
                  </a:cubicBezTo>
                  <a:cubicBezTo>
                    <a:pt x="282" y="495"/>
                    <a:pt x="282" y="495"/>
                    <a:pt x="282" y="495"/>
                  </a:cubicBezTo>
                  <a:cubicBezTo>
                    <a:pt x="282" y="495"/>
                    <a:pt x="282" y="495"/>
                    <a:pt x="282" y="495"/>
                  </a:cubicBezTo>
                  <a:cubicBezTo>
                    <a:pt x="281" y="496"/>
                    <a:pt x="280" y="495"/>
                    <a:pt x="278" y="494"/>
                  </a:cubicBezTo>
                  <a:cubicBezTo>
                    <a:pt x="225" y="462"/>
                    <a:pt x="225" y="462"/>
                    <a:pt x="225" y="462"/>
                  </a:cubicBezTo>
                  <a:cubicBezTo>
                    <a:pt x="221" y="460"/>
                    <a:pt x="218" y="455"/>
                    <a:pt x="218" y="450"/>
                  </a:cubicBezTo>
                  <a:cubicBezTo>
                    <a:pt x="218" y="405"/>
                    <a:pt x="218" y="405"/>
                    <a:pt x="218" y="405"/>
                  </a:cubicBezTo>
                  <a:cubicBezTo>
                    <a:pt x="218" y="403"/>
                    <a:pt x="219" y="401"/>
                    <a:pt x="220" y="401"/>
                  </a:cubicBezTo>
                  <a:cubicBezTo>
                    <a:pt x="220" y="401"/>
                    <a:pt x="220" y="401"/>
                    <a:pt x="220" y="401"/>
                  </a:cubicBezTo>
                  <a:cubicBezTo>
                    <a:pt x="225" y="398"/>
                    <a:pt x="225" y="398"/>
                    <a:pt x="225" y="398"/>
                  </a:cubicBezTo>
                  <a:cubicBezTo>
                    <a:pt x="226" y="397"/>
                    <a:pt x="228" y="397"/>
                    <a:pt x="230" y="398"/>
                  </a:cubicBezTo>
                  <a:cubicBezTo>
                    <a:pt x="283" y="431"/>
                    <a:pt x="283" y="431"/>
                    <a:pt x="283" y="431"/>
                  </a:cubicBezTo>
                  <a:cubicBezTo>
                    <a:pt x="287" y="433"/>
                    <a:pt x="290" y="438"/>
                    <a:pt x="290" y="442"/>
                  </a:cubicBezTo>
                  <a:lnTo>
                    <a:pt x="290" y="488"/>
                  </a:lnTo>
                  <a:close/>
                  <a:moveTo>
                    <a:pt x="290" y="400"/>
                  </a:moveTo>
                  <a:cubicBezTo>
                    <a:pt x="290" y="402"/>
                    <a:pt x="289" y="403"/>
                    <a:pt x="288" y="404"/>
                  </a:cubicBezTo>
                  <a:cubicBezTo>
                    <a:pt x="288" y="404"/>
                    <a:pt x="288" y="404"/>
                    <a:pt x="288" y="404"/>
                  </a:cubicBezTo>
                  <a:cubicBezTo>
                    <a:pt x="282" y="407"/>
                    <a:pt x="282" y="407"/>
                    <a:pt x="282" y="407"/>
                  </a:cubicBezTo>
                  <a:cubicBezTo>
                    <a:pt x="282" y="407"/>
                    <a:pt x="282" y="407"/>
                    <a:pt x="282" y="407"/>
                  </a:cubicBezTo>
                  <a:cubicBezTo>
                    <a:pt x="281" y="407"/>
                    <a:pt x="280" y="407"/>
                    <a:pt x="278" y="406"/>
                  </a:cubicBezTo>
                  <a:cubicBezTo>
                    <a:pt x="225" y="373"/>
                    <a:pt x="225" y="373"/>
                    <a:pt x="225" y="373"/>
                  </a:cubicBezTo>
                  <a:cubicBezTo>
                    <a:pt x="221" y="371"/>
                    <a:pt x="218" y="366"/>
                    <a:pt x="218" y="362"/>
                  </a:cubicBezTo>
                  <a:cubicBezTo>
                    <a:pt x="218" y="316"/>
                    <a:pt x="218" y="316"/>
                    <a:pt x="218" y="316"/>
                  </a:cubicBezTo>
                  <a:cubicBezTo>
                    <a:pt x="218" y="314"/>
                    <a:pt x="219" y="313"/>
                    <a:pt x="220" y="312"/>
                  </a:cubicBezTo>
                  <a:cubicBezTo>
                    <a:pt x="220" y="312"/>
                    <a:pt x="220" y="312"/>
                    <a:pt x="220" y="312"/>
                  </a:cubicBezTo>
                  <a:cubicBezTo>
                    <a:pt x="225" y="310"/>
                    <a:pt x="225" y="310"/>
                    <a:pt x="225" y="310"/>
                  </a:cubicBezTo>
                  <a:cubicBezTo>
                    <a:pt x="226" y="309"/>
                    <a:pt x="228" y="309"/>
                    <a:pt x="230" y="310"/>
                  </a:cubicBezTo>
                  <a:cubicBezTo>
                    <a:pt x="283" y="343"/>
                    <a:pt x="283" y="343"/>
                    <a:pt x="283" y="343"/>
                  </a:cubicBezTo>
                  <a:cubicBezTo>
                    <a:pt x="287" y="345"/>
                    <a:pt x="290" y="350"/>
                    <a:pt x="290" y="354"/>
                  </a:cubicBezTo>
                  <a:lnTo>
                    <a:pt x="290" y="400"/>
                  </a:lnTo>
                  <a:close/>
                  <a:moveTo>
                    <a:pt x="290" y="316"/>
                  </a:moveTo>
                  <a:cubicBezTo>
                    <a:pt x="290" y="318"/>
                    <a:pt x="289" y="319"/>
                    <a:pt x="288" y="320"/>
                  </a:cubicBezTo>
                  <a:cubicBezTo>
                    <a:pt x="288" y="320"/>
                    <a:pt x="288" y="320"/>
                    <a:pt x="288" y="320"/>
                  </a:cubicBezTo>
                  <a:cubicBezTo>
                    <a:pt x="282" y="323"/>
                    <a:pt x="282" y="323"/>
                    <a:pt x="282" y="323"/>
                  </a:cubicBezTo>
                  <a:cubicBezTo>
                    <a:pt x="282" y="323"/>
                    <a:pt x="282" y="323"/>
                    <a:pt x="282" y="323"/>
                  </a:cubicBezTo>
                  <a:cubicBezTo>
                    <a:pt x="281" y="324"/>
                    <a:pt x="280" y="324"/>
                    <a:pt x="278" y="322"/>
                  </a:cubicBezTo>
                  <a:cubicBezTo>
                    <a:pt x="225" y="290"/>
                    <a:pt x="225" y="290"/>
                    <a:pt x="225" y="290"/>
                  </a:cubicBezTo>
                  <a:cubicBezTo>
                    <a:pt x="221" y="288"/>
                    <a:pt x="218" y="283"/>
                    <a:pt x="218" y="279"/>
                  </a:cubicBezTo>
                  <a:cubicBezTo>
                    <a:pt x="218" y="246"/>
                    <a:pt x="218" y="246"/>
                    <a:pt x="218" y="246"/>
                  </a:cubicBezTo>
                  <a:cubicBezTo>
                    <a:pt x="218" y="244"/>
                    <a:pt x="219" y="242"/>
                    <a:pt x="220" y="242"/>
                  </a:cubicBezTo>
                  <a:cubicBezTo>
                    <a:pt x="220" y="242"/>
                    <a:pt x="220" y="242"/>
                    <a:pt x="220" y="242"/>
                  </a:cubicBezTo>
                  <a:cubicBezTo>
                    <a:pt x="225" y="239"/>
                    <a:pt x="225" y="239"/>
                    <a:pt x="225" y="239"/>
                  </a:cubicBezTo>
                  <a:cubicBezTo>
                    <a:pt x="226" y="238"/>
                    <a:pt x="228" y="238"/>
                    <a:pt x="230" y="239"/>
                  </a:cubicBezTo>
                  <a:cubicBezTo>
                    <a:pt x="283" y="272"/>
                    <a:pt x="283" y="272"/>
                    <a:pt x="283" y="272"/>
                  </a:cubicBezTo>
                  <a:cubicBezTo>
                    <a:pt x="287" y="274"/>
                    <a:pt x="290" y="279"/>
                    <a:pt x="290" y="283"/>
                  </a:cubicBezTo>
                  <a:lnTo>
                    <a:pt x="290" y="316"/>
                  </a:lnTo>
                  <a:close/>
                  <a:moveTo>
                    <a:pt x="290" y="245"/>
                  </a:moveTo>
                  <a:cubicBezTo>
                    <a:pt x="290" y="247"/>
                    <a:pt x="289" y="249"/>
                    <a:pt x="288" y="249"/>
                  </a:cubicBezTo>
                  <a:cubicBezTo>
                    <a:pt x="288" y="249"/>
                    <a:pt x="288" y="249"/>
                    <a:pt x="288" y="249"/>
                  </a:cubicBezTo>
                  <a:cubicBezTo>
                    <a:pt x="282" y="252"/>
                    <a:pt x="282" y="252"/>
                    <a:pt x="282" y="252"/>
                  </a:cubicBezTo>
                  <a:cubicBezTo>
                    <a:pt x="282" y="252"/>
                    <a:pt x="282" y="252"/>
                    <a:pt x="282" y="252"/>
                  </a:cubicBezTo>
                  <a:cubicBezTo>
                    <a:pt x="281" y="253"/>
                    <a:pt x="280" y="253"/>
                    <a:pt x="278" y="252"/>
                  </a:cubicBezTo>
                  <a:cubicBezTo>
                    <a:pt x="225" y="219"/>
                    <a:pt x="225" y="219"/>
                    <a:pt x="225" y="219"/>
                  </a:cubicBezTo>
                  <a:cubicBezTo>
                    <a:pt x="221" y="217"/>
                    <a:pt x="218" y="212"/>
                    <a:pt x="218" y="208"/>
                  </a:cubicBezTo>
                  <a:cubicBezTo>
                    <a:pt x="218" y="185"/>
                    <a:pt x="218" y="185"/>
                    <a:pt x="218" y="185"/>
                  </a:cubicBezTo>
                  <a:cubicBezTo>
                    <a:pt x="218" y="183"/>
                    <a:pt x="219" y="182"/>
                    <a:pt x="220" y="181"/>
                  </a:cubicBezTo>
                  <a:cubicBezTo>
                    <a:pt x="220" y="181"/>
                    <a:pt x="220" y="181"/>
                    <a:pt x="220" y="181"/>
                  </a:cubicBezTo>
                  <a:cubicBezTo>
                    <a:pt x="225" y="179"/>
                    <a:pt x="225" y="179"/>
                    <a:pt x="225" y="179"/>
                  </a:cubicBezTo>
                  <a:cubicBezTo>
                    <a:pt x="226" y="178"/>
                    <a:pt x="228" y="178"/>
                    <a:pt x="230" y="179"/>
                  </a:cubicBezTo>
                  <a:cubicBezTo>
                    <a:pt x="283" y="212"/>
                    <a:pt x="283" y="212"/>
                    <a:pt x="283" y="212"/>
                  </a:cubicBezTo>
                  <a:cubicBezTo>
                    <a:pt x="287" y="214"/>
                    <a:pt x="290" y="219"/>
                    <a:pt x="290" y="223"/>
                  </a:cubicBezTo>
                  <a:lnTo>
                    <a:pt x="290" y="245"/>
                  </a:lnTo>
                  <a:close/>
                  <a:moveTo>
                    <a:pt x="386" y="726"/>
                  </a:moveTo>
                  <a:cubicBezTo>
                    <a:pt x="386" y="728"/>
                    <a:pt x="385" y="729"/>
                    <a:pt x="384" y="730"/>
                  </a:cubicBezTo>
                  <a:cubicBezTo>
                    <a:pt x="384" y="730"/>
                    <a:pt x="384" y="730"/>
                    <a:pt x="384" y="730"/>
                  </a:cubicBezTo>
                  <a:cubicBezTo>
                    <a:pt x="379" y="733"/>
                    <a:pt x="379" y="733"/>
                    <a:pt x="379" y="733"/>
                  </a:cubicBezTo>
                  <a:cubicBezTo>
                    <a:pt x="379" y="733"/>
                    <a:pt x="379" y="733"/>
                    <a:pt x="379" y="733"/>
                  </a:cubicBezTo>
                  <a:cubicBezTo>
                    <a:pt x="378" y="733"/>
                    <a:pt x="376" y="733"/>
                    <a:pt x="374" y="732"/>
                  </a:cubicBezTo>
                  <a:cubicBezTo>
                    <a:pt x="321" y="699"/>
                    <a:pt x="321" y="699"/>
                    <a:pt x="321" y="699"/>
                  </a:cubicBezTo>
                  <a:cubicBezTo>
                    <a:pt x="317" y="697"/>
                    <a:pt x="315" y="692"/>
                    <a:pt x="315" y="688"/>
                  </a:cubicBezTo>
                  <a:cubicBezTo>
                    <a:pt x="315" y="553"/>
                    <a:pt x="315" y="553"/>
                    <a:pt x="315" y="553"/>
                  </a:cubicBezTo>
                  <a:cubicBezTo>
                    <a:pt x="315" y="551"/>
                    <a:pt x="315" y="550"/>
                    <a:pt x="317" y="549"/>
                  </a:cubicBezTo>
                  <a:cubicBezTo>
                    <a:pt x="316" y="549"/>
                    <a:pt x="316" y="549"/>
                    <a:pt x="316" y="549"/>
                  </a:cubicBezTo>
                  <a:cubicBezTo>
                    <a:pt x="321" y="546"/>
                    <a:pt x="321" y="546"/>
                    <a:pt x="321" y="546"/>
                  </a:cubicBezTo>
                  <a:cubicBezTo>
                    <a:pt x="323" y="546"/>
                    <a:pt x="324" y="546"/>
                    <a:pt x="326" y="547"/>
                  </a:cubicBezTo>
                  <a:cubicBezTo>
                    <a:pt x="379" y="579"/>
                    <a:pt x="379" y="579"/>
                    <a:pt x="379" y="579"/>
                  </a:cubicBezTo>
                  <a:cubicBezTo>
                    <a:pt x="383" y="582"/>
                    <a:pt x="386" y="587"/>
                    <a:pt x="386" y="591"/>
                  </a:cubicBezTo>
                  <a:lnTo>
                    <a:pt x="386" y="726"/>
                  </a:lnTo>
                  <a:close/>
                  <a:moveTo>
                    <a:pt x="386" y="548"/>
                  </a:moveTo>
                  <a:cubicBezTo>
                    <a:pt x="386" y="550"/>
                    <a:pt x="385" y="552"/>
                    <a:pt x="384" y="552"/>
                  </a:cubicBezTo>
                  <a:cubicBezTo>
                    <a:pt x="384" y="552"/>
                    <a:pt x="384" y="552"/>
                    <a:pt x="384" y="552"/>
                  </a:cubicBezTo>
                  <a:cubicBezTo>
                    <a:pt x="379" y="555"/>
                    <a:pt x="379" y="555"/>
                    <a:pt x="379" y="555"/>
                  </a:cubicBezTo>
                  <a:cubicBezTo>
                    <a:pt x="379" y="555"/>
                    <a:pt x="379" y="555"/>
                    <a:pt x="379" y="555"/>
                  </a:cubicBezTo>
                  <a:cubicBezTo>
                    <a:pt x="378" y="556"/>
                    <a:pt x="376" y="556"/>
                    <a:pt x="374" y="555"/>
                  </a:cubicBezTo>
                  <a:cubicBezTo>
                    <a:pt x="321" y="522"/>
                    <a:pt x="321" y="522"/>
                    <a:pt x="321" y="522"/>
                  </a:cubicBezTo>
                  <a:cubicBezTo>
                    <a:pt x="317" y="520"/>
                    <a:pt x="315" y="515"/>
                    <a:pt x="315" y="511"/>
                  </a:cubicBezTo>
                  <a:cubicBezTo>
                    <a:pt x="315" y="465"/>
                    <a:pt x="315" y="465"/>
                    <a:pt x="315" y="465"/>
                  </a:cubicBezTo>
                  <a:cubicBezTo>
                    <a:pt x="315" y="463"/>
                    <a:pt x="315" y="462"/>
                    <a:pt x="317" y="461"/>
                  </a:cubicBezTo>
                  <a:cubicBezTo>
                    <a:pt x="316" y="461"/>
                    <a:pt x="316" y="461"/>
                    <a:pt x="316" y="461"/>
                  </a:cubicBezTo>
                  <a:cubicBezTo>
                    <a:pt x="321" y="458"/>
                    <a:pt x="321" y="458"/>
                    <a:pt x="321" y="458"/>
                  </a:cubicBezTo>
                  <a:cubicBezTo>
                    <a:pt x="323" y="457"/>
                    <a:pt x="324" y="457"/>
                    <a:pt x="326" y="459"/>
                  </a:cubicBezTo>
                  <a:cubicBezTo>
                    <a:pt x="379" y="491"/>
                    <a:pt x="379" y="491"/>
                    <a:pt x="379" y="491"/>
                  </a:cubicBezTo>
                  <a:cubicBezTo>
                    <a:pt x="383" y="493"/>
                    <a:pt x="386" y="498"/>
                    <a:pt x="386" y="503"/>
                  </a:cubicBezTo>
                  <a:lnTo>
                    <a:pt x="386" y="548"/>
                  </a:lnTo>
                  <a:close/>
                  <a:moveTo>
                    <a:pt x="386" y="460"/>
                  </a:moveTo>
                  <a:cubicBezTo>
                    <a:pt x="386" y="462"/>
                    <a:pt x="385" y="463"/>
                    <a:pt x="384" y="464"/>
                  </a:cubicBezTo>
                  <a:cubicBezTo>
                    <a:pt x="384" y="464"/>
                    <a:pt x="384" y="464"/>
                    <a:pt x="384" y="464"/>
                  </a:cubicBezTo>
                  <a:cubicBezTo>
                    <a:pt x="379" y="467"/>
                    <a:pt x="379" y="467"/>
                    <a:pt x="379" y="467"/>
                  </a:cubicBezTo>
                  <a:cubicBezTo>
                    <a:pt x="379" y="467"/>
                    <a:pt x="379" y="467"/>
                    <a:pt x="379" y="467"/>
                  </a:cubicBezTo>
                  <a:cubicBezTo>
                    <a:pt x="378" y="468"/>
                    <a:pt x="376" y="468"/>
                    <a:pt x="374" y="467"/>
                  </a:cubicBezTo>
                  <a:cubicBezTo>
                    <a:pt x="321" y="434"/>
                    <a:pt x="321" y="434"/>
                    <a:pt x="321" y="434"/>
                  </a:cubicBezTo>
                  <a:cubicBezTo>
                    <a:pt x="317" y="432"/>
                    <a:pt x="315" y="427"/>
                    <a:pt x="315" y="423"/>
                  </a:cubicBezTo>
                  <a:cubicBezTo>
                    <a:pt x="315" y="377"/>
                    <a:pt x="315" y="377"/>
                    <a:pt x="315" y="377"/>
                  </a:cubicBezTo>
                  <a:cubicBezTo>
                    <a:pt x="315" y="375"/>
                    <a:pt x="315" y="373"/>
                    <a:pt x="317" y="373"/>
                  </a:cubicBezTo>
                  <a:cubicBezTo>
                    <a:pt x="316" y="373"/>
                    <a:pt x="316" y="373"/>
                    <a:pt x="316" y="373"/>
                  </a:cubicBezTo>
                  <a:cubicBezTo>
                    <a:pt x="321" y="370"/>
                    <a:pt x="321" y="370"/>
                    <a:pt x="321" y="370"/>
                  </a:cubicBezTo>
                  <a:cubicBezTo>
                    <a:pt x="323" y="369"/>
                    <a:pt x="324" y="369"/>
                    <a:pt x="326" y="370"/>
                  </a:cubicBezTo>
                  <a:cubicBezTo>
                    <a:pt x="379" y="403"/>
                    <a:pt x="379" y="403"/>
                    <a:pt x="379" y="403"/>
                  </a:cubicBezTo>
                  <a:cubicBezTo>
                    <a:pt x="383" y="405"/>
                    <a:pt x="386" y="410"/>
                    <a:pt x="386" y="414"/>
                  </a:cubicBezTo>
                  <a:lnTo>
                    <a:pt x="386" y="460"/>
                  </a:lnTo>
                  <a:close/>
                  <a:moveTo>
                    <a:pt x="386" y="376"/>
                  </a:moveTo>
                  <a:cubicBezTo>
                    <a:pt x="386" y="378"/>
                    <a:pt x="385" y="380"/>
                    <a:pt x="384" y="380"/>
                  </a:cubicBezTo>
                  <a:cubicBezTo>
                    <a:pt x="384" y="380"/>
                    <a:pt x="384" y="380"/>
                    <a:pt x="384" y="380"/>
                  </a:cubicBezTo>
                  <a:cubicBezTo>
                    <a:pt x="379" y="383"/>
                    <a:pt x="379" y="383"/>
                    <a:pt x="379" y="383"/>
                  </a:cubicBezTo>
                  <a:cubicBezTo>
                    <a:pt x="379" y="383"/>
                    <a:pt x="379" y="383"/>
                    <a:pt x="379" y="383"/>
                  </a:cubicBezTo>
                  <a:cubicBezTo>
                    <a:pt x="378" y="384"/>
                    <a:pt x="376" y="384"/>
                    <a:pt x="374" y="383"/>
                  </a:cubicBezTo>
                  <a:cubicBezTo>
                    <a:pt x="321" y="350"/>
                    <a:pt x="321" y="350"/>
                    <a:pt x="321" y="350"/>
                  </a:cubicBezTo>
                  <a:cubicBezTo>
                    <a:pt x="317" y="348"/>
                    <a:pt x="315" y="343"/>
                    <a:pt x="315" y="339"/>
                  </a:cubicBezTo>
                  <a:cubicBezTo>
                    <a:pt x="315" y="306"/>
                    <a:pt x="315" y="306"/>
                    <a:pt x="315" y="306"/>
                  </a:cubicBezTo>
                  <a:cubicBezTo>
                    <a:pt x="315" y="304"/>
                    <a:pt x="315" y="303"/>
                    <a:pt x="317" y="302"/>
                  </a:cubicBezTo>
                  <a:cubicBezTo>
                    <a:pt x="316" y="302"/>
                    <a:pt x="316" y="302"/>
                    <a:pt x="316" y="302"/>
                  </a:cubicBezTo>
                  <a:cubicBezTo>
                    <a:pt x="321" y="299"/>
                    <a:pt x="321" y="299"/>
                    <a:pt x="321" y="299"/>
                  </a:cubicBezTo>
                  <a:cubicBezTo>
                    <a:pt x="323" y="298"/>
                    <a:pt x="324" y="299"/>
                    <a:pt x="326" y="300"/>
                  </a:cubicBezTo>
                  <a:cubicBezTo>
                    <a:pt x="379" y="332"/>
                    <a:pt x="379" y="332"/>
                    <a:pt x="379" y="332"/>
                  </a:cubicBezTo>
                  <a:cubicBezTo>
                    <a:pt x="383" y="334"/>
                    <a:pt x="386" y="340"/>
                    <a:pt x="386" y="344"/>
                  </a:cubicBezTo>
                  <a:lnTo>
                    <a:pt x="386" y="376"/>
                  </a:lnTo>
                  <a:close/>
                  <a:moveTo>
                    <a:pt x="386" y="306"/>
                  </a:moveTo>
                  <a:cubicBezTo>
                    <a:pt x="386" y="308"/>
                    <a:pt x="385" y="309"/>
                    <a:pt x="384" y="310"/>
                  </a:cubicBezTo>
                  <a:cubicBezTo>
                    <a:pt x="384" y="310"/>
                    <a:pt x="384" y="310"/>
                    <a:pt x="384" y="310"/>
                  </a:cubicBezTo>
                  <a:cubicBezTo>
                    <a:pt x="379" y="313"/>
                    <a:pt x="379" y="313"/>
                    <a:pt x="379" y="313"/>
                  </a:cubicBezTo>
                  <a:cubicBezTo>
                    <a:pt x="379" y="313"/>
                    <a:pt x="379" y="313"/>
                    <a:pt x="379" y="313"/>
                  </a:cubicBezTo>
                  <a:cubicBezTo>
                    <a:pt x="378" y="313"/>
                    <a:pt x="376" y="313"/>
                    <a:pt x="374" y="312"/>
                  </a:cubicBezTo>
                  <a:cubicBezTo>
                    <a:pt x="321" y="279"/>
                    <a:pt x="321" y="279"/>
                    <a:pt x="321" y="279"/>
                  </a:cubicBezTo>
                  <a:cubicBezTo>
                    <a:pt x="317" y="277"/>
                    <a:pt x="315" y="272"/>
                    <a:pt x="315" y="268"/>
                  </a:cubicBezTo>
                  <a:cubicBezTo>
                    <a:pt x="315" y="246"/>
                    <a:pt x="315" y="246"/>
                    <a:pt x="315" y="246"/>
                  </a:cubicBezTo>
                  <a:cubicBezTo>
                    <a:pt x="315" y="244"/>
                    <a:pt x="315" y="242"/>
                    <a:pt x="317" y="242"/>
                  </a:cubicBezTo>
                  <a:cubicBezTo>
                    <a:pt x="316" y="242"/>
                    <a:pt x="316" y="242"/>
                    <a:pt x="316" y="242"/>
                  </a:cubicBezTo>
                  <a:cubicBezTo>
                    <a:pt x="321" y="239"/>
                    <a:pt x="321" y="239"/>
                    <a:pt x="321" y="239"/>
                  </a:cubicBezTo>
                  <a:cubicBezTo>
                    <a:pt x="323" y="238"/>
                    <a:pt x="324" y="238"/>
                    <a:pt x="326" y="239"/>
                  </a:cubicBezTo>
                  <a:cubicBezTo>
                    <a:pt x="379" y="272"/>
                    <a:pt x="379" y="272"/>
                    <a:pt x="379" y="272"/>
                  </a:cubicBezTo>
                  <a:cubicBezTo>
                    <a:pt x="383" y="274"/>
                    <a:pt x="386" y="279"/>
                    <a:pt x="386" y="283"/>
                  </a:cubicBezTo>
                  <a:lnTo>
                    <a:pt x="386" y="306"/>
                  </a:lnTo>
                  <a:close/>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67" name="íś1îdé">
              <a:extLst>
                <a:ext uri="{FF2B5EF4-FFF2-40B4-BE49-F238E27FC236}">
                  <a16:creationId xmlns:a16="http://schemas.microsoft.com/office/drawing/2014/main" id="{366CFFE6-4451-4CDE-9F04-9F931B266B24}"/>
                </a:ext>
              </a:extLst>
            </p:cNvPr>
            <p:cNvSpPr/>
            <p:nvPr/>
          </p:nvSpPr>
          <p:spPr bwMode="auto">
            <a:xfrm>
              <a:off x="6621463" y="2994026"/>
              <a:ext cx="603250" cy="1189038"/>
            </a:xfrm>
            <a:custGeom>
              <a:avLst/>
              <a:gdLst>
                <a:gd name="T0" fmla="*/ 420 w 457"/>
                <a:gd name="T1" fmla="*/ 281 h 904"/>
                <a:gd name="T2" fmla="*/ 420 w 457"/>
                <a:gd name="T3" fmla="*/ 278 h 904"/>
                <a:gd name="T4" fmla="*/ 420 w 457"/>
                <a:gd name="T5" fmla="*/ 275 h 904"/>
                <a:gd name="T6" fmla="*/ 420 w 457"/>
                <a:gd name="T7" fmla="*/ 274 h 904"/>
                <a:gd name="T8" fmla="*/ 420 w 457"/>
                <a:gd name="T9" fmla="*/ 272 h 904"/>
                <a:gd name="T10" fmla="*/ 419 w 457"/>
                <a:gd name="T11" fmla="*/ 271 h 904"/>
                <a:gd name="T12" fmla="*/ 419 w 457"/>
                <a:gd name="T13" fmla="*/ 269 h 904"/>
                <a:gd name="T14" fmla="*/ 419 w 457"/>
                <a:gd name="T15" fmla="*/ 267 h 904"/>
                <a:gd name="T16" fmla="*/ 418 w 457"/>
                <a:gd name="T17" fmla="*/ 266 h 904"/>
                <a:gd name="T18" fmla="*/ 418 w 457"/>
                <a:gd name="T19" fmla="*/ 264 h 904"/>
                <a:gd name="T20" fmla="*/ 417 w 457"/>
                <a:gd name="T21" fmla="*/ 263 h 904"/>
                <a:gd name="T22" fmla="*/ 417 w 457"/>
                <a:gd name="T23" fmla="*/ 261 h 904"/>
                <a:gd name="T24" fmla="*/ 416 w 457"/>
                <a:gd name="T25" fmla="*/ 260 h 904"/>
                <a:gd name="T26" fmla="*/ 415 w 457"/>
                <a:gd name="T27" fmla="*/ 258 h 904"/>
                <a:gd name="T28" fmla="*/ 415 w 457"/>
                <a:gd name="T29" fmla="*/ 257 h 904"/>
                <a:gd name="T30" fmla="*/ 414 w 457"/>
                <a:gd name="T31" fmla="*/ 254 h 904"/>
                <a:gd name="T32" fmla="*/ 413 w 457"/>
                <a:gd name="T33" fmla="*/ 254 h 904"/>
                <a:gd name="T34" fmla="*/ 412 w 457"/>
                <a:gd name="T35" fmla="*/ 251 h 904"/>
                <a:gd name="T36" fmla="*/ 412 w 457"/>
                <a:gd name="T37" fmla="*/ 251 h 904"/>
                <a:gd name="T38" fmla="*/ 410 w 457"/>
                <a:gd name="T39" fmla="*/ 248 h 904"/>
                <a:gd name="T40" fmla="*/ 410 w 457"/>
                <a:gd name="T41" fmla="*/ 248 h 904"/>
                <a:gd name="T42" fmla="*/ 408 w 457"/>
                <a:gd name="T43" fmla="*/ 245 h 904"/>
                <a:gd name="T44" fmla="*/ 408 w 457"/>
                <a:gd name="T45" fmla="*/ 245 h 904"/>
                <a:gd name="T46" fmla="*/ 406 w 457"/>
                <a:gd name="T47" fmla="*/ 243 h 904"/>
                <a:gd name="T48" fmla="*/ 406 w 457"/>
                <a:gd name="T49" fmla="*/ 243 h 904"/>
                <a:gd name="T50" fmla="*/ 404 w 457"/>
                <a:gd name="T51" fmla="*/ 240 h 904"/>
                <a:gd name="T52" fmla="*/ 404 w 457"/>
                <a:gd name="T53" fmla="*/ 240 h 904"/>
                <a:gd name="T54" fmla="*/ 397 w 457"/>
                <a:gd name="T55" fmla="*/ 234 h 904"/>
                <a:gd name="T56" fmla="*/ 395 w 457"/>
                <a:gd name="T57" fmla="*/ 233 h 904"/>
                <a:gd name="T58" fmla="*/ 25 w 457"/>
                <a:gd name="T59" fmla="*/ 5 h 904"/>
                <a:gd name="T60" fmla="*/ 8 w 457"/>
                <a:gd name="T61" fmla="*/ 3 h 904"/>
                <a:gd name="T62" fmla="*/ 0 w 457"/>
                <a:gd name="T63" fmla="*/ 19 h 904"/>
                <a:gd name="T64" fmla="*/ 0 w 457"/>
                <a:gd name="T65" fmla="*/ 111 h 904"/>
                <a:gd name="T66" fmla="*/ 420 w 457"/>
                <a:gd name="T67" fmla="*/ 369 h 904"/>
                <a:gd name="T68" fmla="*/ 420 w 457"/>
                <a:gd name="T69" fmla="*/ 887 h 904"/>
                <a:gd name="T70" fmla="*/ 414 w 457"/>
                <a:gd name="T71" fmla="*/ 903 h 904"/>
                <a:gd name="T72" fmla="*/ 414 w 457"/>
                <a:gd name="T73" fmla="*/ 904 h 904"/>
                <a:gd name="T74" fmla="*/ 449 w 457"/>
                <a:gd name="T75" fmla="*/ 884 h 904"/>
                <a:gd name="T76" fmla="*/ 457 w 457"/>
                <a:gd name="T77" fmla="*/ 867 h 904"/>
                <a:gd name="T78" fmla="*/ 457 w 457"/>
                <a:gd name="T79" fmla="*/ 348 h 904"/>
                <a:gd name="T80" fmla="*/ 420 w 457"/>
                <a:gd name="T81" fmla="*/ 369 h 904"/>
                <a:gd name="T82" fmla="*/ 420 w 457"/>
                <a:gd name="T83" fmla="*/ 281 h 904"/>
                <a:gd name="T84" fmla="*/ 366 w 457"/>
                <a:gd name="T85" fmla="*/ 311 h 904"/>
                <a:gd name="T86" fmla="*/ 255 w 457"/>
                <a:gd name="T87" fmla="*/ 243 h 904"/>
                <a:gd name="T88" fmla="*/ 243 w 457"/>
                <a:gd name="T89" fmla="*/ 236 h 904"/>
                <a:gd name="T90" fmla="*/ 234 w 457"/>
                <a:gd name="T91" fmla="*/ 230 h 904"/>
                <a:gd name="T92" fmla="*/ 209 w 457"/>
                <a:gd name="T93" fmla="*/ 215 h 904"/>
                <a:gd name="T94" fmla="*/ 196 w 457"/>
                <a:gd name="T95" fmla="*/ 207 h 904"/>
                <a:gd name="T96" fmla="*/ 135 w 457"/>
                <a:gd name="T97" fmla="*/ 170 h 904"/>
                <a:gd name="T98" fmla="*/ 49 w 457"/>
                <a:gd name="T99" fmla="*/ 117 h 904"/>
                <a:gd name="T100" fmla="*/ 49 w 457"/>
                <a:gd name="T101" fmla="*/ 46 h 904"/>
                <a:gd name="T102" fmla="*/ 173 w 457"/>
                <a:gd name="T103" fmla="*/ 122 h 904"/>
                <a:gd name="T104" fmla="*/ 234 w 457"/>
                <a:gd name="T105" fmla="*/ 160 h 904"/>
                <a:gd name="T106" fmla="*/ 248 w 457"/>
                <a:gd name="T107" fmla="*/ 168 h 904"/>
                <a:gd name="T108" fmla="*/ 272 w 457"/>
                <a:gd name="T109" fmla="*/ 183 h 904"/>
                <a:gd name="T110" fmla="*/ 281 w 457"/>
                <a:gd name="T111" fmla="*/ 189 h 904"/>
                <a:gd name="T112" fmla="*/ 293 w 457"/>
                <a:gd name="T113" fmla="*/ 196 h 904"/>
                <a:gd name="T114" fmla="*/ 366 w 457"/>
                <a:gd name="T115" fmla="*/ 241 h 904"/>
                <a:gd name="T116" fmla="*/ 366 w 457"/>
                <a:gd name="T117" fmla="*/ 311 h 9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57" h="904">
                  <a:moveTo>
                    <a:pt x="420" y="281"/>
                  </a:moveTo>
                  <a:cubicBezTo>
                    <a:pt x="420" y="278"/>
                    <a:pt x="420" y="278"/>
                    <a:pt x="420" y="278"/>
                  </a:cubicBezTo>
                  <a:cubicBezTo>
                    <a:pt x="420" y="277"/>
                    <a:pt x="420" y="276"/>
                    <a:pt x="420" y="275"/>
                  </a:cubicBezTo>
                  <a:cubicBezTo>
                    <a:pt x="420" y="275"/>
                    <a:pt x="420" y="275"/>
                    <a:pt x="420" y="274"/>
                  </a:cubicBezTo>
                  <a:cubicBezTo>
                    <a:pt x="420" y="274"/>
                    <a:pt x="420" y="273"/>
                    <a:pt x="420" y="272"/>
                  </a:cubicBezTo>
                  <a:cubicBezTo>
                    <a:pt x="420" y="272"/>
                    <a:pt x="420" y="271"/>
                    <a:pt x="419" y="271"/>
                  </a:cubicBezTo>
                  <a:cubicBezTo>
                    <a:pt x="419" y="270"/>
                    <a:pt x="419" y="270"/>
                    <a:pt x="419" y="269"/>
                  </a:cubicBezTo>
                  <a:cubicBezTo>
                    <a:pt x="419" y="269"/>
                    <a:pt x="419" y="268"/>
                    <a:pt x="419" y="267"/>
                  </a:cubicBezTo>
                  <a:cubicBezTo>
                    <a:pt x="419" y="267"/>
                    <a:pt x="418" y="266"/>
                    <a:pt x="418" y="266"/>
                  </a:cubicBezTo>
                  <a:cubicBezTo>
                    <a:pt x="418" y="265"/>
                    <a:pt x="418" y="265"/>
                    <a:pt x="418" y="264"/>
                  </a:cubicBezTo>
                  <a:cubicBezTo>
                    <a:pt x="418" y="264"/>
                    <a:pt x="417" y="263"/>
                    <a:pt x="417" y="263"/>
                  </a:cubicBezTo>
                  <a:cubicBezTo>
                    <a:pt x="417" y="262"/>
                    <a:pt x="417" y="261"/>
                    <a:pt x="417" y="261"/>
                  </a:cubicBezTo>
                  <a:cubicBezTo>
                    <a:pt x="416" y="260"/>
                    <a:pt x="416" y="260"/>
                    <a:pt x="416" y="260"/>
                  </a:cubicBezTo>
                  <a:cubicBezTo>
                    <a:pt x="416" y="259"/>
                    <a:pt x="416" y="258"/>
                    <a:pt x="415" y="258"/>
                  </a:cubicBezTo>
                  <a:cubicBezTo>
                    <a:pt x="415" y="257"/>
                    <a:pt x="415" y="257"/>
                    <a:pt x="415" y="257"/>
                  </a:cubicBezTo>
                  <a:cubicBezTo>
                    <a:pt x="414" y="256"/>
                    <a:pt x="414" y="255"/>
                    <a:pt x="414" y="254"/>
                  </a:cubicBezTo>
                  <a:cubicBezTo>
                    <a:pt x="413" y="254"/>
                    <a:pt x="413" y="254"/>
                    <a:pt x="413" y="254"/>
                  </a:cubicBezTo>
                  <a:cubicBezTo>
                    <a:pt x="413" y="253"/>
                    <a:pt x="412" y="252"/>
                    <a:pt x="412" y="251"/>
                  </a:cubicBezTo>
                  <a:cubicBezTo>
                    <a:pt x="412" y="251"/>
                    <a:pt x="412" y="251"/>
                    <a:pt x="412" y="251"/>
                  </a:cubicBezTo>
                  <a:cubicBezTo>
                    <a:pt x="411" y="250"/>
                    <a:pt x="411" y="249"/>
                    <a:pt x="410" y="248"/>
                  </a:cubicBezTo>
                  <a:cubicBezTo>
                    <a:pt x="410" y="248"/>
                    <a:pt x="410" y="248"/>
                    <a:pt x="410" y="248"/>
                  </a:cubicBezTo>
                  <a:cubicBezTo>
                    <a:pt x="409" y="247"/>
                    <a:pt x="409" y="246"/>
                    <a:pt x="408" y="245"/>
                  </a:cubicBezTo>
                  <a:cubicBezTo>
                    <a:pt x="408" y="245"/>
                    <a:pt x="408" y="245"/>
                    <a:pt x="408" y="245"/>
                  </a:cubicBezTo>
                  <a:cubicBezTo>
                    <a:pt x="407" y="244"/>
                    <a:pt x="407" y="244"/>
                    <a:pt x="406" y="243"/>
                  </a:cubicBezTo>
                  <a:cubicBezTo>
                    <a:pt x="406" y="243"/>
                    <a:pt x="406" y="243"/>
                    <a:pt x="406" y="243"/>
                  </a:cubicBezTo>
                  <a:cubicBezTo>
                    <a:pt x="405" y="242"/>
                    <a:pt x="404" y="241"/>
                    <a:pt x="404" y="240"/>
                  </a:cubicBezTo>
                  <a:cubicBezTo>
                    <a:pt x="404" y="240"/>
                    <a:pt x="404" y="240"/>
                    <a:pt x="404" y="240"/>
                  </a:cubicBezTo>
                  <a:cubicBezTo>
                    <a:pt x="401" y="238"/>
                    <a:pt x="399" y="236"/>
                    <a:pt x="397" y="234"/>
                  </a:cubicBezTo>
                  <a:cubicBezTo>
                    <a:pt x="396" y="234"/>
                    <a:pt x="396" y="233"/>
                    <a:pt x="395" y="233"/>
                  </a:cubicBezTo>
                  <a:cubicBezTo>
                    <a:pt x="25" y="5"/>
                    <a:pt x="25" y="5"/>
                    <a:pt x="25" y="5"/>
                  </a:cubicBezTo>
                  <a:cubicBezTo>
                    <a:pt x="18" y="1"/>
                    <a:pt x="12" y="0"/>
                    <a:pt x="8" y="3"/>
                  </a:cubicBezTo>
                  <a:cubicBezTo>
                    <a:pt x="3" y="5"/>
                    <a:pt x="0" y="11"/>
                    <a:pt x="0" y="19"/>
                  </a:cubicBezTo>
                  <a:cubicBezTo>
                    <a:pt x="0" y="111"/>
                    <a:pt x="0" y="111"/>
                    <a:pt x="0" y="111"/>
                  </a:cubicBezTo>
                  <a:cubicBezTo>
                    <a:pt x="420" y="369"/>
                    <a:pt x="420" y="369"/>
                    <a:pt x="420" y="369"/>
                  </a:cubicBezTo>
                  <a:cubicBezTo>
                    <a:pt x="420" y="887"/>
                    <a:pt x="420" y="887"/>
                    <a:pt x="420" y="887"/>
                  </a:cubicBezTo>
                  <a:cubicBezTo>
                    <a:pt x="420" y="895"/>
                    <a:pt x="418" y="901"/>
                    <a:pt x="414" y="903"/>
                  </a:cubicBezTo>
                  <a:cubicBezTo>
                    <a:pt x="414" y="904"/>
                    <a:pt x="414" y="904"/>
                    <a:pt x="414" y="904"/>
                  </a:cubicBezTo>
                  <a:cubicBezTo>
                    <a:pt x="449" y="884"/>
                    <a:pt x="449" y="884"/>
                    <a:pt x="449" y="884"/>
                  </a:cubicBezTo>
                  <a:cubicBezTo>
                    <a:pt x="454" y="881"/>
                    <a:pt x="457" y="875"/>
                    <a:pt x="457" y="867"/>
                  </a:cubicBezTo>
                  <a:cubicBezTo>
                    <a:pt x="457" y="348"/>
                    <a:pt x="457" y="348"/>
                    <a:pt x="457" y="348"/>
                  </a:cubicBezTo>
                  <a:cubicBezTo>
                    <a:pt x="420" y="369"/>
                    <a:pt x="420" y="369"/>
                    <a:pt x="420" y="369"/>
                  </a:cubicBezTo>
                  <a:lnTo>
                    <a:pt x="420" y="281"/>
                  </a:lnTo>
                  <a:close/>
                  <a:moveTo>
                    <a:pt x="366" y="311"/>
                  </a:moveTo>
                  <a:cubicBezTo>
                    <a:pt x="255" y="243"/>
                    <a:pt x="255" y="243"/>
                    <a:pt x="255" y="243"/>
                  </a:cubicBezTo>
                  <a:cubicBezTo>
                    <a:pt x="243" y="236"/>
                    <a:pt x="243" y="236"/>
                    <a:pt x="243" y="236"/>
                  </a:cubicBezTo>
                  <a:cubicBezTo>
                    <a:pt x="234" y="230"/>
                    <a:pt x="234" y="230"/>
                    <a:pt x="234" y="230"/>
                  </a:cubicBezTo>
                  <a:cubicBezTo>
                    <a:pt x="209" y="215"/>
                    <a:pt x="209" y="215"/>
                    <a:pt x="209" y="215"/>
                  </a:cubicBezTo>
                  <a:cubicBezTo>
                    <a:pt x="196" y="207"/>
                    <a:pt x="196" y="207"/>
                    <a:pt x="196" y="207"/>
                  </a:cubicBezTo>
                  <a:cubicBezTo>
                    <a:pt x="135" y="170"/>
                    <a:pt x="135" y="170"/>
                    <a:pt x="135" y="170"/>
                  </a:cubicBezTo>
                  <a:cubicBezTo>
                    <a:pt x="49" y="117"/>
                    <a:pt x="49" y="117"/>
                    <a:pt x="49" y="117"/>
                  </a:cubicBezTo>
                  <a:cubicBezTo>
                    <a:pt x="49" y="46"/>
                    <a:pt x="49" y="46"/>
                    <a:pt x="49" y="46"/>
                  </a:cubicBezTo>
                  <a:cubicBezTo>
                    <a:pt x="173" y="122"/>
                    <a:pt x="173" y="122"/>
                    <a:pt x="173" y="122"/>
                  </a:cubicBezTo>
                  <a:cubicBezTo>
                    <a:pt x="234" y="160"/>
                    <a:pt x="234" y="160"/>
                    <a:pt x="234" y="160"/>
                  </a:cubicBezTo>
                  <a:cubicBezTo>
                    <a:pt x="248" y="168"/>
                    <a:pt x="248" y="168"/>
                    <a:pt x="248" y="168"/>
                  </a:cubicBezTo>
                  <a:cubicBezTo>
                    <a:pt x="272" y="183"/>
                    <a:pt x="272" y="183"/>
                    <a:pt x="272" y="183"/>
                  </a:cubicBezTo>
                  <a:cubicBezTo>
                    <a:pt x="281" y="189"/>
                    <a:pt x="281" y="189"/>
                    <a:pt x="281" y="189"/>
                  </a:cubicBezTo>
                  <a:cubicBezTo>
                    <a:pt x="293" y="196"/>
                    <a:pt x="293" y="196"/>
                    <a:pt x="293" y="196"/>
                  </a:cubicBezTo>
                  <a:cubicBezTo>
                    <a:pt x="366" y="241"/>
                    <a:pt x="366" y="241"/>
                    <a:pt x="366" y="241"/>
                  </a:cubicBezTo>
                  <a:lnTo>
                    <a:pt x="366" y="311"/>
                  </a:lnTo>
                  <a:close/>
                </a:path>
              </a:pathLst>
            </a:custGeom>
            <a:solidFill>
              <a:srgbClr val="99999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68" name="iŝļiďê">
              <a:extLst>
                <a:ext uri="{FF2B5EF4-FFF2-40B4-BE49-F238E27FC236}">
                  <a16:creationId xmlns:a16="http://schemas.microsoft.com/office/drawing/2014/main" id="{F18E8003-F679-4E6F-845E-C1FCFDECF364}"/>
                </a:ext>
              </a:extLst>
            </p:cNvPr>
            <p:cNvSpPr/>
            <p:nvPr/>
          </p:nvSpPr>
          <p:spPr bwMode="auto">
            <a:xfrm>
              <a:off x="7038975" y="3857626"/>
              <a:ext cx="92075" cy="246063"/>
            </a:xfrm>
            <a:custGeom>
              <a:avLst/>
              <a:gdLst>
                <a:gd name="T0" fmla="*/ 63 w 70"/>
                <a:gd name="T1" fmla="*/ 33 h 187"/>
                <a:gd name="T2" fmla="*/ 10 w 70"/>
                <a:gd name="T3" fmla="*/ 1 h 187"/>
                <a:gd name="T4" fmla="*/ 5 w 70"/>
                <a:gd name="T5" fmla="*/ 0 h 187"/>
                <a:gd name="T6" fmla="*/ 0 w 70"/>
                <a:gd name="T7" fmla="*/ 3 h 187"/>
                <a:gd name="T8" fmla="*/ 1 w 70"/>
                <a:gd name="T9" fmla="*/ 3 h 187"/>
                <a:gd name="T10" fmla="*/ 5 w 70"/>
                <a:gd name="T11" fmla="*/ 4 h 187"/>
                <a:gd name="T12" fmla="*/ 58 w 70"/>
                <a:gd name="T13" fmla="*/ 36 h 187"/>
                <a:gd name="T14" fmla="*/ 65 w 70"/>
                <a:gd name="T15" fmla="*/ 48 h 187"/>
                <a:gd name="T16" fmla="*/ 65 w 70"/>
                <a:gd name="T17" fmla="*/ 183 h 187"/>
                <a:gd name="T18" fmla="*/ 63 w 70"/>
                <a:gd name="T19" fmla="*/ 187 h 187"/>
                <a:gd name="T20" fmla="*/ 63 w 70"/>
                <a:gd name="T21" fmla="*/ 187 h 187"/>
                <a:gd name="T22" fmla="*/ 68 w 70"/>
                <a:gd name="T23" fmla="*/ 184 h 187"/>
                <a:gd name="T24" fmla="*/ 68 w 70"/>
                <a:gd name="T25" fmla="*/ 184 h 187"/>
                <a:gd name="T26" fmla="*/ 70 w 70"/>
                <a:gd name="T27" fmla="*/ 180 h 187"/>
                <a:gd name="T28" fmla="*/ 70 w 70"/>
                <a:gd name="T29" fmla="*/ 45 h 187"/>
                <a:gd name="T30" fmla="*/ 63 w 70"/>
                <a:gd name="T31" fmla="*/ 33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0" h="187">
                  <a:moveTo>
                    <a:pt x="63" y="33"/>
                  </a:moveTo>
                  <a:cubicBezTo>
                    <a:pt x="10" y="1"/>
                    <a:pt x="10" y="1"/>
                    <a:pt x="10" y="1"/>
                  </a:cubicBezTo>
                  <a:cubicBezTo>
                    <a:pt x="8" y="0"/>
                    <a:pt x="7" y="0"/>
                    <a:pt x="5" y="0"/>
                  </a:cubicBezTo>
                  <a:cubicBezTo>
                    <a:pt x="0" y="3"/>
                    <a:pt x="0" y="3"/>
                    <a:pt x="0" y="3"/>
                  </a:cubicBezTo>
                  <a:cubicBezTo>
                    <a:pt x="1" y="3"/>
                    <a:pt x="1" y="3"/>
                    <a:pt x="1" y="3"/>
                  </a:cubicBezTo>
                  <a:cubicBezTo>
                    <a:pt x="2" y="3"/>
                    <a:pt x="3" y="3"/>
                    <a:pt x="5" y="4"/>
                  </a:cubicBezTo>
                  <a:cubicBezTo>
                    <a:pt x="58" y="36"/>
                    <a:pt x="58" y="36"/>
                    <a:pt x="58" y="36"/>
                  </a:cubicBezTo>
                  <a:cubicBezTo>
                    <a:pt x="62" y="39"/>
                    <a:pt x="65" y="44"/>
                    <a:pt x="65" y="48"/>
                  </a:cubicBezTo>
                  <a:cubicBezTo>
                    <a:pt x="65" y="183"/>
                    <a:pt x="65" y="183"/>
                    <a:pt x="65" y="183"/>
                  </a:cubicBezTo>
                  <a:cubicBezTo>
                    <a:pt x="65" y="185"/>
                    <a:pt x="64" y="186"/>
                    <a:pt x="63" y="187"/>
                  </a:cubicBezTo>
                  <a:cubicBezTo>
                    <a:pt x="63" y="187"/>
                    <a:pt x="63" y="187"/>
                    <a:pt x="63" y="187"/>
                  </a:cubicBezTo>
                  <a:cubicBezTo>
                    <a:pt x="68" y="184"/>
                    <a:pt x="68" y="184"/>
                    <a:pt x="68" y="184"/>
                  </a:cubicBezTo>
                  <a:cubicBezTo>
                    <a:pt x="68" y="184"/>
                    <a:pt x="68" y="184"/>
                    <a:pt x="68" y="184"/>
                  </a:cubicBezTo>
                  <a:cubicBezTo>
                    <a:pt x="69" y="183"/>
                    <a:pt x="70" y="182"/>
                    <a:pt x="70" y="180"/>
                  </a:cubicBezTo>
                  <a:cubicBezTo>
                    <a:pt x="70" y="45"/>
                    <a:pt x="70" y="45"/>
                    <a:pt x="70" y="45"/>
                  </a:cubicBezTo>
                  <a:cubicBezTo>
                    <a:pt x="70" y="41"/>
                    <a:pt x="67" y="36"/>
                    <a:pt x="63" y="33"/>
                  </a:cubicBez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69" name="ïṥļïďè">
              <a:extLst>
                <a:ext uri="{FF2B5EF4-FFF2-40B4-BE49-F238E27FC236}">
                  <a16:creationId xmlns:a16="http://schemas.microsoft.com/office/drawing/2014/main" id="{6050D66A-622A-439C-8AEE-CC39275A9B55}"/>
                </a:ext>
              </a:extLst>
            </p:cNvPr>
            <p:cNvSpPr/>
            <p:nvPr/>
          </p:nvSpPr>
          <p:spPr bwMode="auto">
            <a:xfrm>
              <a:off x="7037388" y="3860801"/>
              <a:ext cx="87313" cy="242888"/>
            </a:xfrm>
            <a:custGeom>
              <a:avLst/>
              <a:gdLst>
                <a:gd name="T0" fmla="*/ 66 w 66"/>
                <a:gd name="T1" fmla="*/ 180 h 184"/>
                <a:gd name="T2" fmla="*/ 66 w 66"/>
                <a:gd name="T3" fmla="*/ 45 h 184"/>
                <a:gd name="T4" fmla="*/ 59 w 66"/>
                <a:gd name="T5" fmla="*/ 33 h 184"/>
                <a:gd name="T6" fmla="*/ 6 w 66"/>
                <a:gd name="T7" fmla="*/ 1 h 184"/>
                <a:gd name="T8" fmla="*/ 2 w 66"/>
                <a:gd name="T9" fmla="*/ 0 h 184"/>
                <a:gd name="T10" fmla="*/ 0 w 66"/>
                <a:gd name="T11" fmla="*/ 4 h 184"/>
                <a:gd name="T12" fmla="*/ 0 w 66"/>
                <a:gd name="T13" fmla="*/ 139 h 184"/>
                <a:gd name="T14" fmla="*/ 6 w 66"/>
                <a:gd name="T15" fmla="*/ 150 h 184"/>
                <a:gd name="T16" fmla="*/ 59 w 66"/>
                <a:gd name="T17" fmla="*/ 183 h 184"/>
                <a:gd name="T18" fmla="*/ 64 w 66"/>
                <a:gd name="T19" fmla="*/ 184 h 184"/>
                <a:gd name="T20" fmla="*/ 66 w 66"/>
                <a:gd name="T21" fmla="*/ 18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6" h="184">
                  <a:moveTo>
                    <a:pt x="66" y="180"/>
                  </a:moveTo>
                  <a:cubicBezTo>
                    <a:pt x="66" y="45"/>
                    <a:pt x="66" y="45"/>
                    <a:pt x="66" y="45"/>
                  </a:cubicBezTo>
                  <a:cubicBezTo>
                    <a:pt x="66" y="41"/>
                    <a:pt x="63" y="36"/>
                    <a:pt x="59" y="33"/>
                  </a:cubicBezTo>
                  <a:cubicBezTo>
                    <a:pt x="6" y="1"/>
                    <a:pt x="6" y="1"/>
                    <a:pt x="6" y="1"/>
                  </a:cubicBezTo>
                  <a:cubicBezTo>
                    <a:pt x="4" y="0"/>
                    <a:pt x="3" y="0"/>
                    <a:pt x="2" y="0"/>
                  </a:cubicBezTo>
                  <a:cubicBezTo>
                    <a:pt x="0" y="1"/>
                    <a:pt x="0" y="2"/>
                    <a:pt x="0" y="4"/>
                  </a:cubicBezTo>
                  <a:cubicBezTo>
                    <a:pt x="0" y="139"/>
                    <a:pt x="0" y="139"/>
                    <a:pt x="0" y="139"/>
                  </a:cubicBezTo>
                  <a:cubicBezTo>
                    <a:pt x="0" y="143"/>
                    <a:pt x="2" y="148"/>
                    <a:pt x="6" y="150"/>
                  </a:cubicBezTo>
                  <a:cubicBezTo>
                    <a:pt x="59" y="183"/>
                    <a:pt x="59" y="183"/>
                    <a:pt x="59" y="183"/>
                  </a:cubicBezTo>
                  <a:cubicBezTo>
                    <a:pt x="61" y="184"/>
                    <a:pt x="63" y="184"/>
                    <a:pt x="64" y="184"/>
                  </a:cubicBezTo>
                  <a:cubicBezTo>
                    <a:pt x="65" y="183"/>
                    <a:pt x="66" y="182"/>
                    <a:pt x="66" y="180"/>
                  </a:cubicBezTo>
                  <a:close/>
                </a:path>
              </a:pathLst>
            </a:custGeom>
            <a:solidFill>
              <a:srgbClr val="99999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70" name="íṩľïḓè">
              <a:extLst>
                <a:ext uri="{FF2B5EF4-FFF2-40B4-BE49-F238E27FC236}">
                  <a16:creationId xmlns:a16="http://schemas.microsoft.com/office/drawing/2014/main" id="{D40C5AC5-8202-4039-B19F-C95DA848810A}"/>
                </a:ext>
              </a:extLst>
            </p:cNvPr>
            <p:cNvSpPr/>
            <p:nvPr/>
          </p:nvSpPr>
          <p:spPr bwMode="auto">
            <a:xfrm>
              <a:off x="6659563" y="3214688"/>
              <a:ext cx="90488" cy="98425"/>
            </a:xfrm>
            <a:custGeom>
              <a:avLst/>
              <a:gdLst>
                <a:gd name="T0" fmla="*/ 63 w 69"/>
                <a:gd name="T1" fmla="*/ 34 h 75"/>
                <a:gd name="T2" fmla="*/ 10 w 69"/>
                <a:gd name="T3" fmla="*/ 1 h 75"/>
                <a:gd name="T4" fmla="*/ 5 w 69"/>
                <a:gd name="T5" fmla="*/ 1 h 75"/>
                <a:gd name="T6" fmla="*/ 0 w 69"/>
                <a:gd name="T7" fmla="*/ 4 h 75"/>
                <a:gd name="T8" fmla="*/ 0 w 69"/>
                <a:gd name="T9" fmla="*/ 4 h 75"/>
                <a:gd name="T10" fmla="*/ 4 w 69"/>
                <a:gd name="T11" fmla="*/ 4 h 75"/>
                <a:gd name="T12" fmla="*/ 58 w 69"/>
                <a:gd name="T13" fmla="*/ 37 h 75"/>
                <a:gd name="T14" fmla="*/ 64 w 69"/>
                <a:gd name="T15" fmla="*/ 48 h 75"/>
                <a:gd name="T16" fmla="*/ 64 w 69"/>
                <a:gd name="T17" fmla="*/ 70 h 75"/>
                <a:gd name="T18" fmla="*/ 62 w 69"/>
                <a:gd name="T19" fmla="*/ 74 h 75"/>
                <a:gd name="T20" fmla="*/ 62 w 69"/>
                <a:gd name="T21" fmla="*/ 75 h 75"/>
                <a:gd name="T22" fmla="*/ 67 w 69"/>
                <a:gd name="T23" fmla="*/ 71 h 75"/>
                <a:gd name="T24" fmla="*/ 67 w 69"/>
                <a:gd name="T25" fmla="*/ 71 h 75"/>
                <a:gd name="T26" fmla="*/ 69 w 69"/>
                <a:gd name="T27" fmla="*/ 67 h 75"/>
                <a:gd name="T28" fmla="*/ 69 w 69"/>
                <a:gd name="T29" fmla="*/ 45 h 75"/>
                <a:gd name="T30" fmla="*/ 63 w 69"/>
                <a:gd name="T31" fmla="*/ 34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9" h="75">
                  <a:moveTo>
                    <a:pt x="63" y="34"/>
                  </a:moveTo>
                  <a:cubicBezTo>
                    <a:pt x="10" y="1"/>
                    <a:pt x="10" y="1"/>
                    <a:pt x="10" y="1"/>
                  </a:cubicBezTo>
                  <a:cubicBezTo>
                    <a:pt x="8" y="0"/>
                    <a:pt x="6" y="0"/>
                    <a:pt x="5" y="1"/>
                  </a:cubicBezTo>
                  <a:cubicBezTo>
                    <a:pt x="0" y="4"/>
                    <a:pt x="0" y="4"/>
                    <a:pt x="0" y="4"/>
                  </a:cubicBezTo>
                  <a:cubicBezTo>
                    <a:pt x="0" y="4"/>
                    <a:pt x="0" y="4"/>
                    <a:pt x="0" y="4"/>
                  </a:cubicBezTo>
                  <a:cubicBezTo>
                    <a:pt x="1" y="3"/>
                    <a:pt x="3" y="3"/>
                    <a:pt x="4" y="4"/>
                  </a:cubicBezTo>
                  <a:cubicBezTo>
                    <a:pt x="58" y="37"/>
                    <a:pt x="58" y="37"/>
                    <a:pt x="58" y="37"/>
                  </a:cubicBezTo>
                  <a:cubicBezTo>
                    <a:pt x="61" y="39"/>
                    <a:pt x="64" y="44"/>
                    <a:pt x="64" y="48"/>
                  </a:cubicBezTo>
                  <a:cubicBezTo>
                    <a:pt x="64" y="70"/>
                    <a:pt x="64" y="70"/>
                    <a:pt x="64" y="70"/>
                  </a:cubicBezTo>
                  <a:cubicBezTo>
                    <a:pt x="64" y="72"/>
                    <a:pt x="63" y="74"/>
                    <a:pt x="62" y="74"/>
                  </a:cubicBezTo>
                  <a:cubicBezTo>
                    <a:pt x="62" y="75"/>
                    <a:pt x="62" y="75"/>
                    <a:pt x="62" y="75"/>
                  </a:cubicBezTo>
                  <a:cubicBezTo>
                    <a:pt x="67" y="71"/>
                    <a:pt x="67" y="71"/>
                    <a:pt x="67" y="71"/>
                  </a:cubicBezTo>
                  <a:cubicBezTo>
                    <a:pt x="67" y="71"/>
                    <a:pt x="67" y="71"/>
                    <a:pt x="67" y="71"/>
                  </a:cubicBezTo>
                  <a:cubicBezTo>
                    <a:pt x="69" y="71"/>
                    <a:pt x="69" y="69"/>
                    <a:pt x="69" y="67"/>
                  </a:cubicBezTo>
                  <a:cubicBezTo>
                    <a:pt x="69" y="45"/>
                    <a:pt x="69" y="45"/>
                    <a:pt x="69" y="45"/>
                  </a:cubicBezTo>
                  <a:cubicBezTo>
                    <a:pt x="69" y="41"/>
                    <a:pt x="66" y="36"/>
                    <a:pt x="63" y="34"/>
                  </a:cubicBezTo>
                  <a:close/>
                </a:path>
              </a:pathLst>
            </a:custGeom>
            <a:solidFill>
              <a:srgbClr val="BC304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71" name="íṣľîḑê">
              <a:extLst>
                <a:ext uri="{FF2B5EF4-FFF2-40B4-BE49-F238E27FC236}">
                  <a16:creationId xmlns:a16="http://schemas.microsoft.com/office/drawing/2014/main" id="{ED8468BA-A32B-4052-9A61-732A7033EADE}"/>
                </a:ext>
              </a:extLst>
            </p:cNvPr>
            <p:cNvSpPr/>
            <p:nvPr/>
          </p:nvSpPr>
          <p:spPr bwMode="auto">
            <a:xfrm>
              <a:off x="6656388" y="3217863"/>
              <a:ext cx="87313" cy="95250"/>
            </a:xfrm>
            <a:custGeom>
              <a:avLst/>
              <a:gdLst>
                <a:gd name="T0" fmla="*/ 66 w 66"/>
                <a:gd name="T1" fmla="*/ 67 h 72"/>
                <a:gd name="T2" fmla="*/ 66 w 66"/>
                <a:gd name="T3" fmla="*/ 45 h 72"/>
                <a:gd name="T4" fmla="*/ 60 w 66"/>
                <a:gd name="T5" fmla="*/ 34 h 72"/>
                <a:gd name="T6" fmla="*/ 6 w 66"/>
                <a:gd name="T7" fmla="*/ 1 h 72"/>
                <a:gd name="T8" fmla="*/ 2 w 66"/>
                <a:gd name="T9" fmla="*/ 1 h 72"/>
                <a:gd name="T10" fmla="*/ 0 w 66"/>
                <a:gd name="T11" fmla="*/ 5 h 72"/>
                <a:gd name="T12" fmla="*/ 0 w 66"/>
                <a:gd name="T13" fmla="*/ 27 h 72"/>
                <a:gd name="T14" fmla="*/ 6 w 66"/>
                <a:gd name="T15" fmla="*/ 38 h 72"/>
                <a:gd name="T16" fmla="*/ 60 w 66"/>
                <a:gd name="T17" fmla="*/ 71 h 72"/>
                <a:gd name="T18" fmla="*/ 64 w 66"/>
                <a:gd name="T19" fmla="*/ 71 h 72"/>
                <a:gd name="T20" fmla="*/ 66 w 66"/>
                <a:gd name="T21" fmla="*/ 67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6" h="72">
                  <a:moveTo>
                    <a:pt x="66" y="67"/>
                  </a:moveTo>
                  <a:cubicBezTo>
                    <a:pt x="66" y="45"/>
                    <a:pt x="66" y="45"/>
                    <a:pt x="66" y="45"/>
                  </a:cubicBezTo>
                  <a:cubicBezTo>
                    <a:pt x="66" y="41"/>
                    <a:pt x="63" y="36"/>
                    <a:pt x="60" y="34"/>
                  </a:cubicBezTo>
                  <a:cubicBezTo>
                    <a:pt x="6" y="1"/>
                    <a:pt x="6" y="1"/>
                    <a:pt x="6" y="1"/>
                  </a:cubicBezTo>
                  <a:cubicBezTo>
                    <a:pt x="5" y="0"/>
                    <a:pt x="3" y="0"/>
                    <a:pt x="2" y="1"/>
                  </a:cubicBezTo>
                  <a:cubicBezTo>
                    <a:pt x="1" y="1"/>
                    <a:pt x="0" y="3"/>
                    <a:pt x="0" y="5"/>
                  </a:cubicBezTo>
                  <a:cubicBezTo>
                    <a:pt x="0" y="27"/>
                    <a:pt x="0" y="27"/>
                    <a:pt x="0" y="27"/>
                  </a:cubicBezTo>
                  <a:cubicBezTo>
                    <a:pt x="0" y="31"/>
                    <a:pt x="3" y="36"/>
                    <a:pt x="6" y="38"/>
                  </a:cubicBezTo>
                  <a:cubicBezTo>
                    <a:pt x="60" y="71"/>
                    <a:pt x="60" y="71"/>
                    <a:pt x="60" y="71"/>
                  </a:cubicBezTo>
                  <a:cubicBezTo>
                    <a:pt x="61" y="72"/>
                    <a:pt x="63" y="72"/>
                    <a:pt x="64" y="71"/>
                  </a:cubicBezTo>
                  <a:cubicBezTo>
                    <a:pt x="65" y="71"/>
                    <a:pt x="66" y="69"/>
                    <a:pt x="66" y="67"/>
                  </a:cubicBezTo>
                  <a:close/>
                </a:path>
              </a:pathLst>
            </a:custGeom>
            <a:solidFill>
              <a:srgbClr val="ED626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72" name="íSḷîdê">
              <a:extLst>
                <a:ext uri="{FF2B5EF4-FFF2-40B4-BE49-F238E27FC236}">
                  <a16:creationId xmlns:a16="http://schemas.microsoft.com/office/drawing/2014/main" id="{531CFCC9-C4AB-46ED-8678-1999A3AC3501}"/>
                </a:ext>
              </a:extLst>
            </p:cNvPr>
            <p:cNvSpPr/>
            <p:nvPr/>
          </p:nvSpPr>
          <p:spPr bwMode="auto">
            <a:xfrm>
              <a:off x="6784975" y="3294063"/>
              <a:ext cx="92075" cy="98425"/>
            </a:xfrm>
            <a:custGeom>
              <a:avLst/>
              <a:gdLst>
                <a:gd name="T0" fmla="*/ 63 w 69"/>
                <a:gd name="T1" fmla="*/ 34 h 75"/>
                <a:gd name="T2" fmla="*/ 10 w 69"/>
                <a:gd name="T3" fmla="*/ 2 h 75"/>
                <a:gd name="T4" fmla="*/ 5 w 69"/>
                <a:gd name="T5" fmla="*/ 1 h 75"/>
                <a:gd name="T6" fmla="*/ 0 w 69"/>
                <a:gd name="T7" fmla="*/ 4 h 75"/>
                <a:gd name="T8" fmla="*/ 0 w 69"/>
                <a:gd name="T9" fmla="*/ 4 h 75"/>
                <a:gd name="T10" fmla="*/ 5 w 69"/>
                <a:gd name="T11" fmla="*/ 5 h 75"/>
                <a:gd name="T12" fmla="*/ 58 w 69"/>
                <a:gd name="T13" fmla="*/ 37 h 75"/>
                <a:gd name="T14" fmla="*/ 64 w 69"/>
                <a:gd name="T15" fmla="*/ 49 h 75"/>
                <a:gd name="T16" fmla="*/ 64 w 69"/>
                <a:gd name="T17" fmla="*/ 71 h 75"/>
                <a:gd name="T18" fmla="*/ 62 w 69"/>
                <a:gd name="T19" fmla="*/ 75 h 75"/>
                <a:gd name="T20" fmla="*/ 62 w 69"/>
                <a:gd name="T21" fmla="*/ 75 h 75"/>
                <a:gd name="T22" fmla="*/ 68 w 69"/>
                <a:gd name="T23" fmla="*/ 72 h 75"/>
                <a:gd name="T24" fmla="*/ 68 w 69"/>
                <a:gd name="T25" fmla="*/ 72 h 75"/>
                <a:gd name="T26" fmla="*/ 69 w 69"/>
                <a:gd name="T27" fmla="*/ 68 h 75"/>
                <a:gd name="T28" fmla="*/ 69 w 69"/>
                <a:gd name="T29" fmla="*/ 46 h 75"/>
                <a:gd name="T30" fmla="*/ 63 w 69"/>
                <a:gd name="T31" fmla="*/ 34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9" h="75">
                  <a:moveTo>
                    <a:pt x="63" y="34"/>
                  </a:moveTo>
                  <a:cubicBezTo>
                    <a:pt x="10" y="2"/>
                    <a:pt x="10" y="2"/>
                    <a:pt x="10" y="2"/>
                  </a:cubicBezTo>
                  <a:cubicBezTo>
                    <a:pt x="8" y="0"/>
                    <a:pt x="6" y="0"/>
                    <a:pt x="5" y="1"/>
                  </a:cubicBezTo>
                  <a:cubicBezTo>
                    <a:pt x="0" y="4"/>
                    <a:pt x="0" y="4"/>
                    <a:pt x="0" y="4"/>
                  </a:cubicBezTo>
                  <a:cubicBezTo>
                    <a:pt x="0" y="4"/>
                    <a:pt x="0" y="4"/>
                    <a:pt x="0" y="4"/>
                  </a:cubicBezTo>
                  <a:cubicBezTo>
                    <a:pt x="1" y="3"/>
                    <a:pt x="3" y="4"/>
                    <a:pt x="5" y="5"/>
                  </a:cubicBezTo>
                  <a:cubicBezTo>
                    <a:pt x="58" y="37"/>
                    <a:pt x="58" y="37"/>
                    <a:pt x="58" y="37"/>
                  </a:cubicBezTo>
                  <a:cubicBezTo>
                    <a:pt x="61" y="39"/>
                    <a:pt x="64" y="44"/>
                    <a:pt x="64" y="49"/>
                  </a:cubicBezTo>
                  <a:cubicBezTo>
                    <a:pt x="64" y="71"/>
                    <a:pt x="64" y="71"/>
                    <a:pt x="64" y="71"/>
                  </a:cubicBezTo>
                  <a:cubicBezTo>
                    <a:pt x="64" y="73"/>
                    <a:pt x="63" y="74"/>
                    <a:pt x="62" y="75"/>
                  </a:cubicBezTo>
                  <a:cubicBezTo>
                    <a:pt x="62" y="75"/>
                    <a:pt x="62" y="75"/>
                    <a:pt x="62" y="75"/>
                  </a:cubicBezTo>
                  <a:cubicBezTo>
                    <a:pt x="68" y="72"/>
                    <a:pt x="68" y="72"/>
                    <a:pt x="68" y="72"/>
                  </a:cubicBezTo>
                  <a:cubicBezTo>
                    <a:pt x="68" y="72"/>
                    <a:pt x="68" y="72"/>
                    <a:pt x="68" y="72"/>
                  </a:cubicBezTo>
                  <a:cubicBezTo>
                    <a:pt x="69" y="71"/>
                    <a:pt x="69" y="70"/>
                    <a:pt x="69" y="68"/>
                  </a:cubicBezTo>
                  <a:cubicBezTo>
                    <a:pt x="69" y="46"/>
                    <a:pt x="69" y="46"/>
                    <a:pt x="69" y="46"/>
                  </a:cubicBezTo>
                  <a:cubicBezTo>
                    <a:pt x="69" y="41"/>
                    <a:pt x="67" y="36"/>
                    <a:pt x="63" y="34"/>
                  </a:cubicBezTo>
                  <a:close/>
                </a:path>
              </a:pathLst>
            </a:custGeom>
            <a:solidFill>
              <a:srgbClr val="BC304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73" name="îś1îḑè">
              <a:extLst>
                <a:ext uri="{FF2B5EF4-FFF2-40B4-BE49-F238E27FC236}">
                  <a16:creationId xmlns:a16="http://schemas.microsoft.com/office/drawing/2014/main" id="{2F67362B-55A5-4940-A66D-646DF56A94F4}"/>
                </a:ext>
              </a:extLst>
            </p:cNvPr>
            <p:cNvSpPr/>
            <p:nvPr/>
          </p:nvSpPr>
          <p:spPr bwMode="auto">
            <a:xfrm>
              <a:off x="6783388" y="3297238"/>
              <a:ext cx="85725" cy="95250"/>
            </a:xfrm>
            <a:custGeom>
              <a:avLst/>
              <a:gdLst>
                <a:gd name="T0" fmla="*/ 66 w 66"/>
                <a:gd name="T1" fmla="*/ 68 h 72"/>
                <a:gd name="T2" fmla="*/ 66 w 66"/>
                <a:gd name="T3" fmla="*/ 46 h 72"/>
                <a:gd name="T4" fmla="*/ 60 w 66"/>
                <a:gd name="T5" fmla="*/ 34 h 72"/>
                <a:gd name="T6" fmla="*/ 7 w 66"/>
                <a:gd name="T7" fmla="*/ 2 h 72"/>
                <a:gd name="T8" fmla="*/ 2 w 66"/>
                <a:gd name="T9" fmla="*/ 1 h 72"/>
                <a:gd name="T10" fmla="*/ 0 w 66"/>
                <a:gd name="T11" fmla="*/ 5 h 72"/>
                <a:gd name="T12" fmla="*/ 0 w 66"/>
                <a:gd name="T13" fmla="*/ 27 h 72"/>
                <a:gd name="T14" fmla="*/ 7 w 66"/>
                <a:gd name="T15" fmla="*/ 39 h 72"/>
                <a:gd name="T16" fmla="*/ 60 w 66"/>
                <a:gd name="T17" fmla="*/ 71 h 72"/>
                <a:gd name="T18" fmla="*/ 64 w 66"/>
                <a:gd name="T19" fmla="*/ 72 h 72"/>
                <a:gd name="T20" fmla="*/ 66 w 66"/>
                <a:gd name="T21" fmla="*/ 68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6" h="72">
                  <a:moveTo>
                    <a:pt x="66" y="68"/>
                  </a:moveTo>
                  <a:cubicBezTo>
                    <a:pt x="66" y="46"/>
                    <a:pt x="66" y="46"/>
                    <a:pt x="66" y="46"/>
                  </a:cubicBezTo>
                  <a:cubicBezTo>
                    <a:pt x="66" y="41"/>
                    <a:pt x="63" y="36"/>
                    <a:pt x="60" y="34"/>
                  </a:cubicBezTo>
                  <a:cubicBezTo>
                    <a:pt x="7" y="2"/>
                    <a:pt x="7" y="2"/>
                    <a:pt x="7" y="2"/>
                  </a:cubicBezTo>
                  <a:cubicBezTo>
                    <a:pt x="5" y="1"/>
                    <a:pt x="3" y="0"/>
                    <a:pt x="2" y="1"/>
                  </a:cubicBezTo>
                  <a:cubicBezTo>
                    <a:pt x="1" y="2"/>
                    <a:pt x="0" y="3"/>
                    <a:pt x="0" y="5"/>
                  </a:cubicBezTo>
                  <a:cubicBezTo>
                    <a:pt x="0" y="27"/>
                    <a:pt x="0" y="27"/>
                    <a:pt x="0" y="27"/>
                  </a:cubicBezTo>
                  <a:cubicBezTo>
                    <a:pt x="0" y="31"/>
                    <a:pt x="3" y="36"/>
                    <a:pt x="7" y="39"/>
                  </a:cubicBezTo>
                  <a:cubicBezTo>
                    <a:pt x="60" y="71"/>
                    <a:pt x="60" y="71"/>
                    <a:pt x="60" y="71"/>
                  </a:cubicBezTo>
                  <a:cubicBezTo>
                    <a:pt x="62" y="72"/>
                    <a:pt x="63" y="72"/>
                    <a:pt x="64" y="72"/>
                  </a:cubicBezTo>
                  <a:cubicBezTo>
                    <a:pt x="65" y="71"/>
                    <a:pt x="66" y="70"/>
                    <a:pt x="66" y="68"/>
                  </a:cubicBezTo>
                  <a:close/>
                </a:path>
              </a:pathLst>
            </a:custGeom>
            <a:solidFill>
              <a:srgbClr val="ED626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74" name="íŝľide">
              <a:extLst>
                <a:ext uri="{FF2B5EF4-FFF2-40B4-BE49-F238E27FC236}">
                  <a16:creationId xmlns:a16="http://schemas.microsoft.com/office/drawing/2014/main" id="{57E1B82F-BF28-45B1-A926-3BD7A04C1496}"/>
                </a:ext>
              </a:extLst>
            </p:cNvPr>
            <p:cNvSpPr/>
            <p:nvPr/>
          </p:nvSpPr>
          <p:spPr bwMode="auto">
            <a:xfrm>
              <a:off x="6911975" y="3373438"/>
              <a:ext cx="92075" cy="96838"/>
            </a:xfrm>
            <a:custGeom>
              <a:avLst/>
              <a:gdLst>
                <a:gd name="T0" fmla="*/ 63 w 70"/>
                <a:gd name="T1" fmla="*/ 34 h 74"/>
                <a:gd name="T2" fmla="*/ 10 w 70"/>
                <a:gd name="T3" fmla="*/ 1 h 74"/>
                <a:gd name="T4" fmla="*/ 5 w 70"/>
                <a:gd name="T5" fmla="*/ 1 h 74"/>
                <a:gd name="T6" fmla="*/ 0 w 70"/>
                <a:gd name="T7" fmla="*/ 3 h 74"/>
                <a:gd name="T8" fmla="*/ 0 w 70"/>
                <a:gd name="T9" fmla="*/ 3 h 74"/>
                <a:gd name="T10" fmla="*/ 5 w 70"/>
                <a:gd name="T11" fmla="*/ 4 h 74"/>
                <a:gd name="T12" fmla="*/ 58 w 70"/>
                <a:gd name="T13" fmla="*/ 37 h 74"/>
                <a:gd name="T14" fmla="*/ 64 w 70"/>
                <a:gd name="T15" fmla="*/ 48 h 74"/>
                <a:gd name="T16" fmla="*/ 64 w 70"/>
                <a:gd name="T17" fmla="*/ 70 h 74"/>
                <a:gd name="T18" fmla="*/ 62 w 70"/>
                <a:gd name="T19" fmla="*/ 74 h 74"/>
                <a:gd name="T20" fmla="*/ 62 w 70"/>
                <a:gd name="T21" fmla="*/ 74 h 74"/>
                <a:gd name="T22" fmla="*/ 68 w 70"/>
                <a:gd name="T23" fmla="*/ 71 h 74"/>
                <a:gd name="T24" fmla="*/ 68 w 70"/>
                <a:gd name="T25" fmla="*/ 71 h 74"/>
                <a:gd name="T26" fmla="*/ 70 w 70"/>
                <a:gd name="T27" fmla="*/ 67 h 74"/>
                <a:gd name="T28" fmla="*/ 70 w 70"/>
                <a:gd name="T29" fmla="*/ 45 h 74"/>
                <a:gd name="T30" fmla="*/ 63 w 70"/>
                <a:gd name="T31" fmla="*/ 34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0" h="74">
                  <a:moveTo>
                    <a:pt x="63" y="34"/>
                  </a:moveTo>
                  <a:cubicBezTo>
                    <a:pt x="10" y="1"/>
                    <a:pt x="10" y="1"/>
                    <a:pt x="10" y="1"/>
                  </a:cubicBezTo>
                  <a:cubicBezTo>
                    <a:pt x="8" y="0"/>
                    <a:pt x="6" y="0"/>
                    <a:pt x="5" y="1"/>
                  </a:cubicBezTo>
                  <a:cubicBezTo>
                    <a:pt x="0" y="3"/>
                    <a:pt x="0" y="3"/>
                    <a:pt x="0" y="3"/>
                  </a:cubicBezTo>
                  <a:cubicBezTo>
                    <a:pt x="0" y="3"/>
                    <a:pt x="0" y="3"/>
                    <a:pt x="0" y="3"/>
                  </a:cubicBezTo>
                  <a:cubicBezTo>
                    <a:pt x="1" y="3"/>
                    <a:pt x="3" y="3"/>
                    <a:pt x="5" y="4"/>
                  </a:cubicBezTo>
                  <a:cubicBezTo>
                    <a:pt x="58" y="37"/>
                    <a:pt x="58" y="37"/>
                    <a:pt x="58" y="37"/>
                  </a:cubicBezTo>
                  <a:cubicBezTo>
                    <a:pt x="62" y="39"/>
                    <a:pt x="64" y="44"/>
                    <a:pt x="64" y="48"/>
                  </a:cubicBezTo>
                  <a:cubicBezTo>
                    <a:pt x="64" y="70"/>
                    <a:pt x="64" y="70"/>
                    <a:pt x="64" y="70"/>
                  </a:cubicBezTo>
                  <a:cubicBezTo>
                    <a:pt x="64" y="72"/>
                    <a:pt x="64" y="74"/>
                    <a:pt x="62" y="74"/>
                  </a:cubicBezTo>
                  <a:cubicBezTo>
                    <a:pt x="62" y="74"/>
                    <a:pt x="62" y="74"/>
                    <a:pt x="62" y="74"/>
                  </a:cubicBezTo>
                  <a:cubicBezTo>
                    <a:pt x="68" y="71"/>
                    <a:pt x="68" y="71"/>
                    <a:pt x="68" y="71"/>
                  </a:cubicBezTo>
                  <a:cubicBezTo>
                    <a:pt x="68" y="71"/>
                    <a:pt x="68" y="71"/>
                    <a:pt x="68" y="71"/>
                  </a:cubicBezTo>
                  <a:cubicBezTo>
                    <a:pt x="69" y="71"/>
                    <a:pt x="70" y="69"/>
                    <a:pt x="70" y="67"/>
                  </a:cubicBezTo>
                  <a:cubicBezTo>
                    <a:pt x="70" y="45"/>
                    <a:pt x="70" y="45"/>
                    <a:pt x="70" y="45"/>
                  </a:cubicBezTo>
                  <a:cubicBezTo>
                    <a:pt x="70" y="41"/>
                    <a:pt x="67" y="36"/>
                    <a:pt x="63" y="34"/>
                  </a:cubicBezTo>
                  <a:close/>
                </a:path>
              </a:pathLst>
            </a:custGeom>
            <a:solidFill>
              <a:srgbClr val="BC304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75" name="iṧḻidé">
              <a:extLst>
                <a:ext uri="{FF2B5EF4-FFF2-40B4-BE49-F238E27FC236}">
                  <a16:creationId xmlns:a16="http://schemas.microsoft.com/office/drawing/2014/main" id="{BC87C3C8-B1F5-4F6E-9CEB-CC55164A92AA}"/>
                </a:ext>
              </a:extLst>
            </p:cNvPr>
            <p:cNvSpPr/>
            <p:nvPr/>
          </p:nvSpPr>
          <p:spPr bwMode="auto">
            <a:xfrm>
              <a:off x="6908800" y="3378201"/>
              <a:ext cx="87313" cy="93663"/>
            </a:xfrm>
            <a:custGeom>
              <a:avLst/>
              <a:gdLst>
                <a:gd name="T0" fmla="*/ 66 w 66"/>
                <a:gd name="T1" fmla="*/ 67 h 72"/>
                <a:gd name="T2" fmla="*/ 66 w 66"/>
                <a:gd name="T3" fmla="*/ 45 h 72"/>
                <a:gd name="T4" fmla="*/ 60 w 66"/>
                <a:gd name="T5" fmla="*/ 34 h 72"/>
                <a:gd name="T6" fmla="*/ 7 w 66"/>
                <a:gd name="T7" fmla="*/ 1 h 72"/>
                <a:gd name="T8" fmla="*/ 2 w 66"/>
                <a:gd name="T9" fmla="*/ 0 h 72"/>
                <a:gd name="T10" fmla="*/ 0 w 66"/>
                <a:gd name="T11" fmla="*/ 4 h 72"/>
                <a:gd name="T12" fmla="*/ 0 w 66"/>
                <a:gd name="T13" fmla="*/ 27 h 72"/>
                <a:gd name="T14" fmla="*/ 7 w 66"/>
                <a:gd name="T15" fmla="*/ 38 h 72"/>
                <a:gd name="T16" fmla="*/ 60 w 66"/>
                <a:gd name="T17" fmla="*/ 71 h 72"/>
                <a:gd name="T18" fmla="*/ 64 w 66"/>
                <a:gd name="T19" fmla="*/ 71 h 72"/>
                <a:gd name="T20" fmla="*/ 66 w 66"/>
                <a:gd name="T21" fmla="*/ 67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6" h="72">
                  <a:moveTo>
                    <a:pt x="66" y="67"/>
                  </a:moveTo>
                  <a:cubicBezTo>
                    <a:pt x="66" y="45"/>
                    <a:pt x="66" y="45"/>
                    <a:pt x="66" y="45"/>
                  </a:cubicBezTo>
                  <a:cubicBezTo>
                    <a:pt x="66" y="41"/>
                    <a:pt x="64" y="36"/>
                    <a:pt x="60" y="34"/>
                  </a:cubicBezTo>
                  <a:cubicBezTo>
                    <a:pt x="7" y="1"/>
                    <a:pt x="7" y="1"/>
                    <a:pt x="7" y="1"/>
                  </a:cubicBezTo>
                  <a:cubicBezTo>
                    <a:pt x="5" y="0"/>
                    <a:pt x="3" y="0"/>
                    <a:pt x="2" y="0"/>
                  </a:cubicBezTo>
                  <a:cubicBezTo>
                    <a:pt x="1" y="1"/>
                    <a:pt x="0" y="2"/>
                    <a:pt x="0" y="4"/>
                  </a:cubicBezTo>
                  <a:cubicBezTo>
                    <a:pt x="0" y="27"/>
                    <a:pt x="0" y="27"/>
                    <a:pt x="0" y="27"/>
                  </a:cubicBezTo>
                  <a:cubicBezTo>
                    <a:pt x="0" y="31"/>
                    <a:pt x="3" y="36"/>
                    <a:pt x="7" y="38"/>
                  </a:cubicBezTo>
                  <a:cubicBezTo>
                    <a:pt x="60" y="71"/>
                    <a:pt x="60" y="71"/>
                    <a:pt x="60" y="71"/>
                  </a:cubicBezTo>
                  <a:cubicBezTo>
                    <a:pt x="62" y="72"/>
                    <a:pt x="63" y="72"/>
                    <a:pt x="64" y="71"/>
                  </a:cubicBezTo>
                  <a:cubicBezTo>
                    <a:pt x="66" y="71"/>
                    <a:pt x="66" y="69"/>
                    <a:pt x="66" y="67"/>
                  </a:cubicBezTo>
                  <a:close/>
                </a:path>
              </a:pathLst>
            </a:custGeom>
            <a:solidFill>
              <a:srgbClr val="ED626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76" name="íṣļîḋé">
              <a:extLst>
                <a:ext uri="{FF2B5EF4-FFF2-40B4-BE49-F238E27FC236}">
                  <a16:creationId xmlns:a16="http://schemas.microsoft.com/office/drawing/2014/main" id="{8AE9E3CA-7DE2-4FCA-A0F0-F05144C8603B}"/>
                </a:ext>
              </a:extLst>
            </p:cNvPr>
            <p:cNvSpPr/>
            <p:nvPr/>
          </p:nvSpPr>
          <p:spPr bwMode="auto">
            <a:xfrm>
              <a:off x="7038975" y="3452813"/>
              <a:ext cx="92075" cy="98425"/>
            </a:xfrm>
            <a:custGeom>
              <a:avLst/>
              <a:gdLst>
                <a:gd name="T0" fmla="*/ 63 w 70"/>
                <a:gd name="T1" fmla="*/ 34 h 75"/>
                <a:gd name="T2" fmla="*/ 10 w 70"/>
                <a:gd name="T3" fmla="*/ 1 h 75"/>
                <a:gd name="T4" fmla="*/ 5 w 70"/>
                <a:gd name="T5" fmla="*/ 1 h 75"/>
                <a:gd name="T6" fmla="*/ 0 w 70"/>
                <a:gd name="T7" fmla="*/ 4 h 75"/>
                <a:gd name="T8" fmla="*/ 1 w 70"/>
                <a:gd name="T9" fmla="*/ 4 h 75"/>
                <a:gd name="T10" fmla="*/ 5 w 70"/>
                <a:gd name="T11" fmla="*/ 4 h 75"/>
                <a:gd name="T12" fmla="*/ 58 w 70"/>
                <a:gd name="T13" fmla="*/ 37 h 75"/>
                <a:gd name="T14" fmla="*/ 65 w 70"/>
                <a:gd name="T15" fmla="*/ 48 h 75"/>
                <a:gd name="T16" fmla="*/ 65 w 70"/>
                <a:gd name="T17" fmla="*/ 70 h 75"/>
                <a:gd name="T18" fmla="*/ 63 w 70"/>
                <a:gd name="T19" fmla="*/ 75 h 75"/>
                <a:gd name="T20" fmla="*/ 63 w 70"/>
                <a:gd name="T21" fmla="*/ 75 h 75"/>
                <a:gd name="T22" fmla="*/ 68 w 70"/>
                <a:gd name="T23" fmla="*/ 72 h 75"/>
                <a:gd name="T24" fmla="*/ 68 w 70"/>
                <a:gd name="T25" fmla="*/ 72 h 75"/>
                <a:gd name="T26" fmla="*/ 70 w 70"/>
                <a:gd name="T27" fmla="*/ 68 h 75"/>
                <a:gd name="T28" fmla="*/ 70 w 70"/>
                <a:gd name="T29" fmla="*/ 45 h 75"/>
                <a:gd name="T30" fmla="*/ 63 w 70"/>
                <a:gd name="T31" fmla="*/ 34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0" h="75">
                  <a:moveTo>
                    <a:pt x="63" y="34"/>
                  </a:moveTo>
                  <a:cubicBezTo>
                    <a:pt x="10" y="1"/>
                    <a:pt x="10" y="1"/>
                    <a:pt x="10" y="1"/>
                  </a:cubicBezTo>
                  <a:cubicBezTo>
                    <a:pt x="8" y="0"/>
                    <a:pt x="7" y="0"/>
                    <a:pt x="5" y="1"/>
                  </a:cubicBezTo>
                  <a:cubicBezTo>
                    <a:pt x="0" y="4"/>
                    <a:pt x="0" y="4"/>
                    <a:pt x="0" y="4"/>
                  </a:cubicBezTo>
                  <a:cubicBezTo>
                    <a:pt x="1" y="4"/>
                    <a:pt x="1" y="4"/>
                    <a:pt x="1" y="4"/>
                  </a:cubicBezTo>
                  <a:cubicBezTo>
                    <a:pt x="2" y="3"/>
                    <a:pt x="3" y="3"/>
                    <a:pt x="5" y="4"/>
                  </a:cubicBezTo>
                  <a:cubicBezTo>
                    <a:pt x="58" y="37"/>
                    <a:pt x="58" y="37"/>
                    <a:pt x="58" y="37"/>
                  </a:cubicBezTo>
                  <a:cubicBezTo>
                    <a:pt x="62" y="39"/>
                    <a:pt x="65" y="44"/>
                    <a:pt x="65" y="48"/>
                  </a:cubicBezTo>
                  <a:cubicBezTo>
                    <a:pt x="65" y="70"/>
                    <a:pt x="65" y="70"/>
                    <a:pt x="65" y="70"/>
                  </a:cubicBezTo>
                  <a:cubicBezTo>
                    <a:pt x="65" y="73"/>
                    <a:pt x="64" y="74"/>
                    <a:pt x="63" y="75"/>
                  </a:cubicBezTo>
                  <a:cubicBezTo>
                    <a:pt x="63" y="75"/>
                    <a:pt x="63" y="75"/>
                    <a:pt x="63" y="75"/>
                  </a:cubicBezTo>
                  <a:cubicBezTo>
                    <a:pt x="68" y="72"/>
                    <a:pt x="68" y="72"/>
                    <a:pt x="68" y="72"/>
                  </a:cubicBezTo>
                  <a:cubicBezTo>
                    <a:pt x="68" y="72"/>
                    <a:pt x="68" y="72"/>
                    <a:pt x="68" y="72"/>
                  </a:cubicBezTo>
                  <a:cubicBezTo>
                    <a:pt x="69" y="71"/>
                    <a:pt x="70" y="70"/>
                    <a:pt x="70" y="68"/>
                  </a:cubicBezTo>
                  <a:cubicBezTo>
                    <a:pt x="70" y="45"/>
                    <a:pt x="70" y="45"/>
                    <a:pt x="70" y="45"/>
                  </a:cubicBezTo>
                  <a:cubicBezTo>
                    <a:pt x="70" y="41"/>
                    <a:pt x="67" y="36"/>
                    <a:pt x="63" y="34"/>
                  </a:cubicBezTo>
                  <a:close/>
                </a:path>
              </a:pathLst>
            </a:custGeom>
            <a:solidFill>
              <a:srgbClr val="BC304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77" name="iṩlîḓê">
              <a:extLst>
                <a:ext uri="{FF2B5EF4-FFF2-40B4-BE49-F238E27FC236}">
                  <a16:creationId xmlns:a16="http://schemas.microsoft.com/office/drawing/2014/main" id="{746B9CBF-39D6-4C11-B43A-3094A4FBABF3}"/>
                </a:ext>
              </a:extLst>
            </p:cNvPr>
            <p:cNvSpPr/>
            <p:nvPr/>
          </p:nvSpPr>
          <p:spPr bwMode="auto">
            <a:xfrm>
              <a:off x="7037388" y="3455988"/>
              <a:ext cx="87313" cy="95250"/>
            </a:xfrm>
            <a:custGeom>
              <a:avLst/>
              <a:gdLst>
                <a:gd name="T0" fmla="*/ 66 w 66"/>
                <a:gd name="T1" fmla="*/ 67 h 72"/>
                <a:gd name="T2" fmla="*/ 66 w 66"/>
                <a:gd name="T3" fmla="*/ 45 h 72"/>
                <a:gd name="T4" fmla="*/ 59 w 66"/>
                <a:gd name="T5" fmla="*/ 34 h 72"/>
                <a:gd name="T6" fmla="*/ 6 w 66"/>
                <a:gd name="T7" fmla="*/ 1 h 72"/>
                <a:gd name="T8" fmla="*/ 2 w 66"/>
                <a:gd name="T9" fmla="*/ 1 h 72"/>
                <a:gd name="T10" fmla="*/ 0 w 66"/>
                <a:gd name="T11" fmla="*/ 5 h 72"/>
                <a:gd name="T12" fmla="*/ 0 w 66"/>
                <a:gd name="T13" fmla="*/ 27 h 72"/>
                <a:gd name="T14" fmla="*/ 6 w 66"/>
                <a:gd name="T15" fmla="*/ 38 h 72"/>
                <a:gd name="T16" fmla="*/ 59 w 66"/>
                <a:gd name="T17" fmla="*/ 71 h 72"/>
                <a:gd name="T18" fmla="*/ 64 w 66"/>
                <a:gd name="T19" fmla="*/ 72 h 72"/>
                <a:gd name="T20" fmla="*/ 66 w 66"/>
                <a:gd name="T21" fmla="*/ 67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6" h="72">
                  <a:moveTo>
                    <a:pt x="66" y="67"/>
                  </a:moveTo>
                  <a:cubicBezTo>
                    <a:pt x="66" y="45"/>
                    <a:pt x="66" y="45"/>
                    <a:pt x="66" y="45"/>
                  </a:cubicBezTo>
                  <a:cubicBezTo>
                    <a:pt x="66" y="41"/>
                    <a:pt x="63" y="36"/>
                    <a:pt x="59" y="34"/>
                  </a:cubicBezTo>
                  <a:cubicBezTo>
                    <a:pt x="6" y="1"/>
                    <a:pt x="6" y="1"/>
                    <a:pt x="6" y="1"/>
                  </a:cubicBezTo>
                  <a:cubicBezTo>
                    <a:pt x="4" y="0"/>
                    <a:pt x="3" y="0"/>
                    <a:pt x="2" y="1"/>
                  </a:cubicBezTo>
                  <a:cubicBezTo>
                    <a:pt x="0" y="1"/>
                    <a:pt x="0" y="3"/>
                    <a:pt x="0" y="5"/>
                  </a:cubicBezTo>
                  <a:cubicBezTo>
                    <a:pt x="0" y="27"/>
                    <a:pt x="0" y="27"/>
                    <a:pt x="0" y="27"/>
                  </a:cubicBezTo>
                  <a:cubicBezTo>
                    <a:pt x="0" y="31"/>
                    <a:pt x="2" y="36"/>
                    <a:pt x="6" y="38"/>
                  </a:cubicBezTo>
                  <a:cubicBezTo>
                    <a:pt x="59" y="71"/>
                    <a:pt x="59" y="71"/>
                    <a:pt x="59" y="71"/>
                  </a:cubicBezTo>
                  <a:cubicBezTo>
                    <a:pt x="61" y="72"/>
                    <a:pt x="63" y="72"/>
                    <a:pt x="64" y="72"/>
                  </a:cubicBezTo>
                  <a:cubicBezTo>
                    <a:pt x="65" y="71"/>
                    <a:pt x="66" y="70"/>
                    <a:pt x="66" y="67"/>
                  </a:cubicBezTo>
                  <a:close/>
                </a:path>
              </a:pathLst>
            </a:custGeom>
            <a:solidFill>
              <a:srgbClr val="ED626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78" name="isľîḋé">
              <a:extLst>
                <a:ext uri="{FF2B5EF4-FFF2-40B4-BE49-F238E27FC236}">
                  <a16:creationId xmlns:a16="http://schemas.microsoft.com/office/drawing/2014/main" id="{1F84FE80-F364-43A8-8E51-A3F4D402111F}"/>
                </a:ext>
              </a:extLst>
            </p:cNvPr>
            <p:cNvSpPr/>
            <p:nvPr/>
          </p:nvSpPr>
          <p:spPr bwMode="auto">
            <a:xfrm>
              <a:off x="6659563" y="3294063"/>
              <a:ext cx="90488" cy="111125"/>
            </a:xfrm>
            <a:custGeom>
              <a:avLst/>
              <a:gdLst>
                <a:gd name="T0" fmla="*/ 63 w 69"/>
                <a:gd name="T1" fmla="*/ 34 h 85"/>
                <a:gd name="T2" fmla="*/ 10 w 69"/>
                <a:gd name="T3" fmla="*/ 2 h 85"/>
                <a:gd name="T4" fmla="*/ 5 w 69"/>
                <a:gd name="T5" fmla="*/ 1 h 85"/>
                <a:gd name="T6" fmla="*/ 0 w 69"/>
                <a:gd name="T7" fmla="*/ 4 h 85"/>
                <a:gd name="T8" fmla="*/ 0 w 69"/>
                <a:gd name="T9" fmla="*/ 4 h 85"/>
                <a:gd name="T10" fmla="*/ 4 w 69"/>
                <a:gd name="T11" fmla="*/ 5 h 85"/>
                <a:gd name="T12" fmla="*/ 58 w 69"/>
                <a:gd name="T13" fmla="*/ 37 h 85"/>
                <a:gd name="T14" fmla="*/ 64 w 69"/>
                <a:gd name="T15" fmla="*/ 49 h 85"/>
                <a:gd name="T16" fmla="*/ 64 w 69"/>
                <a:gd name="T17" fmla="*/ 81 h 85"/>
                <a:gd name="T18" fmla="*/ 62 w 69"/>
                <a:gd name="T19" fmla="*/ 85 h 85"/>
                <a:gd name="T20" fmla="*/ 62 w 69"/>
                <a:gd name="T21" fmla="*/ 85 h 85"/>
                <a:gd name="T22" fmla="*/ 67 w 69"/>
                <a:gd name="T23" fmla="*/ 82 h 85"/>
                <a:gd name="T24" fmla="*/ 67 w 69"/>
                <a:gd name="T25" fmla="*/ 82 h 85"/>
                <a:gd name="T26" fmla="*/ 69 w 69"/>
                <a:gd name="T27" fmla="*/ 78 h 85"/>
                <a:gd name="T28" fmla="*/ 69 w 69"/>
                <a:gd name="T29" fmla="*/ 46 h 85"/>
                <a:gd name="T30" fmla="*/ 63 w 69"/>
                <a:gd name="T31" fmla="*/ 34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9" h="85">
                  <a:moveTo>
                    <a:pt x="63" y="34"/>
                  </a:moveTo>
                  <a:cubicBezTo>
                    <a:pt x="10" y="2"/>
                    <a:pt x="10" y="2"/>
                    <a:pt x="10" y="2"/>
                  </a:cubicBezTo>
                  <a:cubicBezTo>
                    <a:pt x="8" y="0"/>
                    <a:pt x="6" y="0"/>
                    <a:pt x="5" y="1"/>
                  </a:cubicBezTo>
                  <a:cubicBezTo>
                    <a:pt x="0" y="4"/>
                    <a:pt x="0" y="4"/>
                    <a:pt x="0" y="4"/>
                  </a:cubicBezTo>
                  <a:cubicBezTo>
                    <a:pt x="0" y="4"/>
                    <a:pt x="0" y="4"/>
                    <a:pt x="0" y="4"/>
                  </a:cubicBezTo>
                  <a:cubicBezTo>
                    <a:pt x="1" y="3"/>
                    <a:pt x="3" y="4"/>
                    <a:pt x="4" y="5"/>
                  </a:cubicBezTo>
                  <a:cubicBezTo>
                    <a:pt x="58" y="37"/>
                    <a:pt x="58" y="37"/>
                    <a:pt x="58" y="37"/>
                  </a:cubicBezTo>
                  <a:cubicBezTo>
                    <a:pt x="61" y="39"/>
                    <a:pt x="64" y="44"/>
                    <a:pt x="64" y="49"/>
                  </a:cubicBezTo>
                  <a:cubicBezTo>
                    <a:pt x="64" y="81"/>
                    <a:pt x="64" y="81"/>
                    <a:pt x="64" y="81"/>
                  </a:cubicBezTo>
                  <a:cubicBezTo>
                    <a:pt x="64" y="83"/>
                    <a:pt x="63" y="85"/>
                    <a:pt x="62" y="85"/>
                  </a:cubicBezTo>
                  <a:cubicBezTo>
                    <a:pt x="62" y="85"/>
                    <a:pt x="62" y="85"/>
                    <a:pt x="62" y="85"/>
                  </a:cubicBezTo>
                  <a:cubicBezTo>
                    <a:pt x="67" y="82"/>
                    <a:pt x="67" y="82"/>
                    <a:pt x="67" y="82"/>
                  </a:cubicBezTo>
                  <a:cubicBezTo>
                    <a:pt x="67" y="82"/>
                    <a:pt x="67" y="82"/>
                    <a:pt x="67" y="82"/>
                  </a:cubicBezTo>
                  <a:cubicBezTo>
                    <a:pt x="69" y="82"/>
                    <a:pt x="69" y="80"/>
                    <a:pt x="69" y="78"/>
                  </a:cubicBezTo>
                  <a:cubicBezTo>
                    <a:pt x="69" y="46"/>
                    <a:pt x="69" y="46"/>
                    <a:pt x="69" y="46"/>
                  </a:cubicBezTo>
                  <a:cubicBezTo>
                    <a:pt x="69" y="41"/>
                    <a:pt x="66" y="36"/>
                    <a:pt x="63" y="34"/>
                  </a:cubicBezTo>
                  <a:close/>
                </a:path>
              </a:pathLst>
            </a:cu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79" name="íšḻïḍê">
              <a:extLst>
                <a:ext uri="{FF2B5EF4-FFF2-40B4-BE49-F238E27FC236}">
                  <a16:creationId xmlns:a16="http://schemas.microsoft.com/office/drawing/2014/main" id="{BED25493-FDF5-4818-9D11-D29EB77D252A}"/>
                </a:ext>
              </a:extLst>
            </p:cNvPr>
            <p:cNvSpPr/>
            <p:nvPr/>
          </p:nvSpPr>
          <p:spPr bwMode="auto">
            <a:xfrm>
              <a:off x="6656388" y="3297238"/>
              <a:ext cx="87313" cy="109538"/>
            </a:xfrm>
            <a:custGeom>
              <a:avLst/>
              <a:gdLst>
                <a:gd name="T0" fmla="*/ 66 w 66"/>
                <a:gd name="T1" fmla="*/ 78 h 83"/>
                <a:gd name="T2" fmla="*/ 66 w 66"/>
                <a:gd name="T3" fmla="*/ 46 h 83"/>
                <a:gd name="T4" fmla="*/ 60 w 66"/>
                <a:gd name="T5" fmla="*/ 34 h 83"/>
                <a:gd name="T6" fmla="*/ 6 w 66"/>
                <a:gd name="T7" fmla="*/ 2 h 83"/>
                <a:gd name="T8" fmla="*/ 2 w 66"/>
                <a:gd name="T9" fmla="*/ 1 h 83"/>
                <a:gd name="T10" fmla="*/ 0 w 66"/>
                <a:gd name="T11" fmla="*/ 5 h 83"/>
                <a:gd name="T12" fmla="*/ 0 w 66"/>
                <a:gd name="T13" fmla="*/ 38 h 83"/>
                <a:gd name="T14" fmla="*/ 6 w 66"/>
                <a:gd name="T15" fmla="*/ 49 h 83"/>
                <a:gd name="T16" fmla="*/ 60 w 66"/>
                <a:gd name="T17" fmla="*/ 82 h 83"/>
                <a:gd name="T18" fmla="*/ 64 w 66"/>
                <a:gd name="T19" fmla="*/ 82 h 83"/>
                <a:gd name="T20" fmla="*/ 66 w 66"/>
                <a:gd name="T21" fmla="*/ 78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6" h="83">
                  <a:moveTo>
                    <a:pt x="66" y="78"/>
                  </a:moveTo>
                  <a:cubicBezTo>
                    <a:pt x="66" y="46"/>
                    <a:pt x="66" y="46"/>
                    <a:pt x="66" y="46"/>
                  </a:cubicBezTo>
                  <a:cubicBezTo>
                    <a:pt x="66" y="41"/>
                    <a:pt x="63" y="36"/>
                    <a:pt x="60" y="34"/>
                  </a:cubicBezTo>
                  <a:cubicBezTo>
                    <a:pt x="6" y="2"/>
                    <a:pt x="6" y="2"/>
                    <a:pt x="6" y="2"/>
                  </a:cubicBezTo>
                  <a:cubicBezTo>
                    <a:pt x="5" y="1"/>
                    <a:pt x="3" y="0"/>
                    <a:pt x="2" y="1"/>
                  </a:cubicBezTo>
                  <a:cubicBezTo>
                    <a:pt x="1" y="2"/>
                    <a:pt x="0" y="3"/>
                    <a:pt x="0" y="5"/>
                  </a:cubicBezTo>
                  <a:cubicBezTo>
                    <a:pt x="0" y="38"/>
                    <a:pt x="0" y="38"/>
                    <a:pt x="0" y="38"/>
                  </a:cubicBezTo>
                  <a:cubicBezTo>
                    <a:pt x="0" y="42"/>
                    <a:pt x="3" y="47"/>
                    <a:pt x="6" y="49"/>
                  </a:cubicBezTo>
                  <a:cubicBezTo>
                    <a:pt x="60" y="82"/>
                    <a:pt x="60" y="82"/>
                    <a:pt x="60" y="82"/>
                  </a:cubicBezTo>
                  <a:cubicBezTo>
                    <a:pt x="61" y="83"/>
                    <a:pt x="63" y="83"/>
                    <a:pt x="64" y="82"/>
                  </a:cubicBezTo>
                  <a:cubicBezTo>
                    <a:pt x="65" y="82"/>
                    <a:pt x="66" y="80"/>
                    <a:pt x="66" y="78"/>
                  </a:cubicBez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80" name="ïsľíḑé">
              <a:extLst>
                <a:ext uri="{FF2B5EF4-FFF2-40B4-BE49-F238E27FC236}">
                  <a16:creationId xmlns:a16="http://schemas.microsoft.com/office/drawing/2014/main" id="{2089DFAB-BB99-466D-82A0-71316C899D89}"/>
                </a:ext>
              </a:extLst>
            </p:cNvPr>
            <p:cNvSpPr/>
            <p:nvPr/>
          </p:nvSpPr>
          <p:spPr bwMode="auto">
            <a:xfrm>
              <a:off x="6784975" y="3373438"/>
              <a:ext cx="92075" cy="112713"/>
            </a:xfrm>
            <a:custGeom>
              <a:avLst/>
              <a:gdLst>
                <a:gd name="T0" fmla="*/ 63 w 69"/>
                <a:gd name="T1" fmla="*/ 34 h 85"/>
                <a:gd name="T2" fmla="*/ 10 w 69"/>
                <a:gd name="T3" fmla="*/ 1 h 85"/>
                <a:gd name="T4" fmla="*/ 5 w 69"/>
                <a:gd name="T5" fmla="*/ 1 h 85"/>
                <a:gd name="T6" fmla="*/ 0 w 69"/>
                <a:gd name="T7" fmla="*/ 3 h 85"/>
                <a:gd name="T8" fmla="*/ 0 w 69"/>
                <a:gd name="T9" fmla="*/ 3 h 85"/>
                <a:gd name="T10" fmla="*/ 5 w 69"/>
                <a:gd name="T11" fmla="*/ 4 h 85"/>
                <a:gd name="T12" fmla="*/ 58 w 69"/>
                <a:gd name="T13" fmla="*/ 37 h 85"/>
                <a:gd name="T14" fmla="*/ 64 w 69"/>
                <a:gd name="T15" fmla="*/ 48 h 85"/>
                <a:gd name="T16" fmla="*/ 64 w 69"/>
                <a:gd name="T17" fmla="*/ 81 h 85"/>
                <a:gd name="T18" fmla="*/ 62 w 69"/>
                <a:gd name="T19" fmla="*/ 85 h 85"/>
                <a:gd name="T20" fmla="*/ 62 w 69"/>
                <a:gd name="T21" fmla="*/ 85 h 85"/>
                <a:gd name="T22" fmla="*/ 68 w 69"/>
                <a:gd name="T23" fmla="*/ 82 h 85"/>
                <a:gd name="T24" fmla="*/ 68 w 69"/>
                <a:gd name="T25" fmla="*/ 82 h 85"/>
                <a:gd name="T26" fmla="*/ 69 w 69"/>
                <a:gd name="T27" fmla="*/ 78 h 85"/>
                <a:gd name="T28" fmla="*/ 69 w 69"/>
                <a:gd name="T29" fmla="*/ 45 h 85"/>
                <a:gd name="T30" fmla="*/ 63 w 69"/>
                <a:gd name="T31" fmla="*/ 34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9" h="85">
                  <a:moveTo>
                    <a:pt x="63" y="34"/>
                  </a:moveTo>
                  <a:cubicBezTo>
                    <a:pt x="10" y="1"/>
                    <a:pt x="10" y="1"/>
                    <a:pt x="10" y="1"/>
                  </a:cubicBezTo>
                  <a:cubicBezTo>
                    <a:pt x="8" y="0"/>
                    <a:pt x="6" y="0"/>
                    <a:pt x="5" y="1"/>
                  </a:cubicBezTo>
                  <a:cubicBezTo>
                    <a:pt x="0" y="3"/>
                    <a:pt x="0" y="3"/>
                    <a:pt x="0" y="3"/>
                  </a:cubicBezTo>
                  <a:cubicBezTo>
                    <a:pt x="0" y="3"/>
                    <a:pt x="0" y="3"/>
                    <a:pt x="0" y="3"/>
                  </a:cubicBezTo>
                  <a:cubicBezTo>
                    <a:pt x="1" y="3"/>
                    <a:pt x="3" y="3"/>
                    <a:pt x="5" y="4"/>
                  </a:cubicBezTo>
                  <a:cubicBezTo>
                    <a:pt x="58" y="37"/>
                    <a:pt x="58" y="37"/>
                    <a:pt x="58" y="37"/>
                  </a:cubicBezTo>
                  <a:cubicBezTo>
                    <a:pt x="61" y="39"/>
                    <a:pt x="64" y="44"/>
                    <a:pt x="64" y="48"/>
                  </a:cubicBezTo>
                  <a:cubicBezTo>
                    <a:pt x="64" y="81"/>
                    <a:pt x="64" y="81"/>
                    <a:pt x="64" y="81"/>
                  </a:cubicBezTo>
                  <a:cubicBezTo>
                    <a:pt x="64" y="83"/>
                    <a:pt x="63" y="84"/>
                    <a:pt x="62" y="85"/>
                  </a:cubicBezTo>
                  <a:cubicBezTo>
                    <a:pt x="62" y="85"/>
                    <a:pt x="62" y="85"/>
                    <a:pt x="62" y="85"/>
                  </a:cubicBezTo>
                  <a:cubicBezTo>
                    <a:pt x="68" y="82"/>
                    <a:pt x="68" y="82"/>
                    <a:pt x="68" y="82"/>
                  </a:cubicBezTo>
                  <a:cubicBezTo>
                    <a:pt x="68" y="82"/>
                    <a:pt x="68" y="82"/>
                    <a:pt x="68" y="82"/>
                  </a:cubicBezTo>
                  <a:cubicBezTo>
                    <a:pt x="69" y="81"/>
                    <a:pt x="69" y="80"/>
                    <a:pt x="69" y="78"/>
                  </a:cubicBezTo>
                  <a:cubicBezTo>
                    <a:pt x="69" y="45"/>
                    <a:pt x="69" y="45"/>
                    <a:pt x="69" y="45"/>
                  </a:cubicBezTo>
                  <a:cubicBezTo>
                    <a:pt x="69" y="41"/>
                    <a:pt x="67" y="36"/>
                    <a:pt x="63" y="34"/>
                  </a:cubicBezTo>
                  <a:close/>
                </a:path>
              </a:pathLst>
            </a:cu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81" name="i$ḻiḋè">
              <a:extLst>
                <a:ext uri="{FF2B5EF4-FFF2-40B4-BE49-F238E27FC236}">
                  <a16:creationId xmlns:a16="http://schemas.microsoft.com/office/drawing/2014/main" id="{46D1921A-A42D-470C-B4A7-61C977628BF9}"/>
                </a:ext>
              </a:extLst>
            </p:cNvPr>
            <p:cNvSpPr/>
            <p:nvPr/>
          </p:nvSpPr>
          <p:spPr bwMode="auto">
            <a:xfrm>
              <a:off x="6783388" y="3378201"/>
              <a:ext cx="85725" cy="107950"/>
            </a:xfrm>
            <a:custGeom>
              <a:avLst/>
              <a:gdLst>
                <a:gd name="T0" fmla="*/ 66 w 66"/>
                <a:gd name="T1" fmla="*/ 78 h 82"/>
                <a:gd name="T2" fmla="*/ 66 w 66"/>
                <a:gd name="T3" fmla="*/ 45 h 82"/>
                <a:gd name="T4" fmla="*/ 60 w 66"/>
                <a:gd name="T5" fmla="*/ 34 h 82"/>
                <a:gd name="T6" fmla="*/ 7 w 66"/>
                <a:gd name="T7" fmla="*/ 1 h 82"/>
                <a:gd name="T8" fmla="*/ 2 w 66"/>
                <a:gd name="T9" fmla="*/ 0 h 82"/>
                <a:gd name="T10" fmla="*/ 0 w 66"/>
                <a:gd name="T11" fmla="*/ 4 h 82"/>
                <a:gd name="T12" fmla="*/ 0 w 66"/>
                <a:gd name="T13" fmla="*/ 37 h 82"/>
                <a:gd name="T14" fmla="*/ 7 w 66"/>
                <a:gd name="T15" fmla="*/ 48 h 82"/>
                <a:gd name="T16" fmla="*/ 60 w 66"/>
                <a:gd name="T17" fmla="*/ 81 h 82"/>
                <a:gd name="T18" fmla="*/ 64 w 66"/>
                <a:gd name="T19" fmla="*/ 82 h 82"/>
                <a:gd name="T20" fmla="*/ 66 w 66"/>
                <a:gd name="T21" fmla="*/ 78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6" h="82">
                  <a:moveTo>
                    <a:pt x="66" y="78"/>
                  </a:moveTo>
                  <a:cubicBezTo>
                    <a:pt x="66" y="45"/>
                    <a:pt x="66" y="45"/>
                    <a:pt x="66" y="45"/>
                  </a:cubicBezTo>
                  <a:cubicBezTo>
                    <a:pt x="66" y="41"/>
                    <a:pt x="63" y="36"/>
                    <a:pt x="60" y="34"/>
                  </a:cubicBezTo>
                  <a:cubicBezTo>
                    <a:pt x="7" y="1"/>
                    <a:pt x="7" y="1"/>
                    <a:pt x="7" y="1"/>
                  </a:cubicBezTo>
                  <a:cubicBezTo>
                    <a:pt x="5" y="0"/>
                    <a:pt x="3" y="0"/>
                    <a:pt x="2" y="0"/>
                  </a:cubicBezTo>
                  <a:cubicBezTo>
                    <a:pt x="1" y="1"/>
                    <a:pt x="0" y="2"/>
                    <a:pt x="0" y="4"/>
                  </a:cubicBezTo>
                  <a:cubicBezTo>
                    <a:pt x="0" y="37"/>
                    <a:pt x="0" y="37"/>
                    <a:pt x="0" y="37"/>
                  </a:cubicBezTo>
                  <a:cubicBezTo>
                    <a:pt x="0" y="41"/>
                    <a:pt x="3" y="46"/>
                    <a:pt x="7" y="48"/>
                  </a:cubicBezTo>
                  <a:cubicBezTo>
                    <a:pt x="60" y="81"/>
                    <a:pt x="60" y="81"/>
                    <a:pt x="60" y="81"/>
                  </a:cubicBezTo>
                  <a:cubicBezTo>
                    <a:pt x="62" y="82"/>
                    <a:pt x="63" y="82"/>
                    <a:pt x="64" y="82"/>
                  </a:cubicBezTo>
                  <a:cubicBezTo>
                    <a:pt x="65" y="81"/>
                    <a:pt x="66" y="80"/>
                    <a:pt x="66" y="78"/>
                  </a:cubicBez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82" name="íS1îḍe">
              <a:extLst>
                <a:ext uri="{FF2B5EF4-FFF2-40B4-BE49-F238E27FC236}">
                  <a16:creationId xmlns:a16="http://schemas.microsoft.com/office/drawing/2014/main" id="{26ACC52A-0424-4DEF-95DD-B11853A8DE30}"/>
                </a:ext>
              </a:extLst>
            </p:cNvPr>
            <p:cNvSpPr/>
            <p:nvPr/>
          </p:nvSpPr>
          <p:spPr bwMode="auto">
            <a:xfrm>
              <a:off x="6911975" y="3452813"/>
              <a:ext cx="92075" cy="111125"/>
            </a:xfrm>
            <a:custGeom>
              <a:avLst/>
              <a:gdLst>
                <a:gd name="T0" fmla="*/ 63 w 70"/>
                <a:gd name="T1" fmla="*/ 34 h 85"/>
                <a:gd name="T2" fmla="*/ 10 w 70"/>
                <a:gd name="T3" fmla="*/ 1 h 85"/>
                <a:gd name="T4" fmla="*/ 5 w 70"/>
                <a:gd name="T5" fmla="*/ 1 h 85"/>
                <a:gd name="T6" fmla="*/ 0 w 70"/>
                <a:gd name="T7" fmla="*/ 4 h 85"/>
                <a:gd name="T8" fmla="*/ 0 w 70"/>
                <a:gd name="T9" fmla="*/ 4 h 85"/>
                <a:gd name="T10" fmla="*/ 5 w 70"/>
                <a:gd name="T11" fmla="*/ 4 h 85"/>
                <a:gd name="T12" fmla="*/ 58 w 70"/>
                <a:gd name="T13" fmla="*/ 37 h 85"/>
                <a:gd name="T14" fmla="*/ 64 w 70"/>
                <a:gd name="T15" fmla="*/ 48 h 85"/>
                <a:gd name="T16" fmla="*/ 64 w 70"/>
                <a:gd name="T17" fmla="*/ 81 h 85"/>
                <a:gd name="T18" fmla="*/ 62 w 70"/>
                <a:gd name="T19" fmla="*/ 85 h 85"/>
                <a:gd name="T20" fmla="*/ 62 w 70"/>
                <a:gd name="T21" fmla="*/ 85 h 85"/>
                <a:gd name="T22" fmla="*/ 68 w 70"/>
                <a:gd name="T23" fmla="*/ 82 h 85"/>
                <a:gd name="T24" fmla="*/ 68 w 70"/>
                <a:gd name="T25" fmla="*/ 82 h 85"/>
                <a:gd name="T26" fmla="*/ 70 w 70"/>
                <a:gd name="T27" fmla="*/ 78 h 85"/>
                <a:gd name="T28" fmla="*/ 70 w 70"/>
                <a:gd name="T29" fmla="*/ 45 h 85"/>
                <a:gd name="T30" fmla="*/ 63 w 70"/>
                <a:gd name="T31" fmla="*/ 34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0" h="85">
                  <a:moveTo>
                    <a:pt x="63" y="34"/>
                  </a:moveTo>
                  <a:cubicBezTo>
                    <a:pt x="10" y="1"/>
                    <a:pt x="10" y="1"/>
                    <a:pt x="10" y="1"/>
                  </a:cubicBezTo>
                  <a:cubicBezTo>
                    <a:pt x="8" y="0"/>
                    <a:pt x="6" y="0"/>
                    <a:pt x="5" y="1"/>
                  </a:cubicBezTo>
                  <a:cubicBezTo>
                    <a:pt x="0" y="4"/>
                    <a:pt x="0" y="4"/>
                    <a:pt x="0" y="4"/>
                  </a:cubicBezTo>
                  <a:cubicBezTo>
                    <a:pt x="0" y="4"/>
                    <a:pt x="0" y="4"/>
                    <a:pt x="0" y="4"/>
                  </a:cubicBezTo>
                  <a:cubicBezTo>
                    <a:pt x="1" y="3"/>
                    <a:pt x="3" y="3"/>
                    <a:pt x="5" y="4"/>
                  </a:cubicBezTo>
                  <a:cubicBezTo>
                    <a:pt x="58" y="37"/>
                    <a:pt x="58" y="37"/>
                    <a:pt x="58" y="37"/>
                  </a:cubicBezTo>
                  <a:cubicBezTo>
                    <a:pt x="62" y="39"/>
                    <a:pt x="64" y="44"/>
                    <a:pt x="64" y="48"/>
                  </a:cubicBezTo>
                  <a:cubicBezTo>
                    <a:pt x="64" y="81"/>
                    <a:pt x="64" y="81"/>
                    <a:pt x="64" y="81"/>
                  </a:cubicBezTo>
                  <a:cubicBezTo>
                    <a:pt x="64" y="83"/>
                    <a:pt x="64" y="84"/>
                    <a:pt x="62" y="85"/>
                  </a:cubicBezTo>
                  <a:cubicBezTo>
                    <a:pt x="62" y="85"/>
                    <a:pt x="62" y="85"/>
                    <a:pt x="62" y="85"/>
                  </a:cubicBezTo>
                  <a:cubicBezTo>
                    <a:pt x="68" y="82"/>
                    <a:pt x="68" y="82"/>
                    <a:pt x="68" y="82"/>
                  </a:cubicBezTo>
                  <a:cubicBezTo>
                    <a:pt x="68" y="82"/>
                    <a:pt x="68" y="82"/>
                    <a:pt x="68" y="82"/>
                  </a:cubicBezTo>
                  <a:cubicBezTo>
                    <a:pt x="69" y="81"/>
                    <a:pt x="70" y="80"/>
                    <a:pt x="70" y="78"/>
                  </a:cubicBezTo>
                  <a:cubicBezTo>
                    <a:pt x="70" y="45"/>
                    <a:pt x="70" y="45"/>
                    <a:pt x="70" y="45"/>
                  </a:cubicBezTo>
                  <a:cubicBezTo>
                    <a:pt x="70" y="41"/>
                    <a:pt x="67" y="36"/>
                    <a:pt x="63" y="34"/>
                  </a:cubicBezTo>
                  <a:close/>
                </a:path>
              </a:pathLst>
            </a:cu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83" name="iṧ1îdê">
              <a:extLst>
                <a:ext uri="{FF2B5EF4-FFF2-40B4-BE49-F238E27FC236}">
                  <a16:creationId xmlns:a16="http://schemas.microsoft.com/office/drawing/2014/main" id="{1CC2AB90-4E0B-4599-8D70-D2E089F48AED}"/>
                </a:ext>
              </a:extLst>
            </p:cNvPr>
            <p:cNvSpPr/>
            <p:nvPr/>
          </p:nvSpPr>
          <p:spPr bwMode="auto">
            <a:xfrm>
              <a:off x="6908800" y="3455988"/>
              <a:ext cx="87313" cy="109538"/>
            </a:xfrm>
            <a:custGeom>
              <a:avLst/>
              <a:gdLst>
                <a:gd name="T0" fmla="*/ 66 w 66"/>
                <a:gd name="T1" fmla="*/ 78 h 83"/>
                <a:gd name="T2" fmla="*/ 66 w 66"/>
                <a:gd name="T3" fmla="*/ 45 h 83"/>
                <a:gd name="T4" fmla="*/ 60 w 66"/>
                <a:gd name="T5" fmla="*/ 34 h 83"/>
                <a:gd name="T6" fmla="*/ 7 w 66"/>
                <a:gd name="T7" fmla="*/ 1 h 83"/>
                <a:gd name="T8" fmla="*/ 2 w 66"/>
                <a:gd name="T9" fmla="*/ 1 h 83"/>
                <a:gd name="T10" fmla="*/ 0 w 66"/>
                <a:gd name="T11" fmla="*/ 5 h 83"/>
                <a:gd name="T12" fmla="*/ 0 w 66"/>
                <a:gd name="T13" fmla="*/ 38 h 83"/>
                <a:gd name="T14" fmla="*/ 7 w 66"/>
                <a:gd name="T15" fmla="*/ 49 h 83"/>
                <a:gd name="T16" fmla="*/ 60 w 66"/>
                <a:gd name="T17" fmla="*/ 81 h 83"/>
                <a:gd name="T18" fmla="*/ 64 w 66"/>
                <a:gd name="T19" fmla="*/ 82 h 83"/>
                <a:gd name="T20" fmla="*/ 66 w 66"/>
                <a:gd name="T21" fmla="*/ 78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6" h="83">
                  <a:moveTo>
                    <a:pt x="66" y="78"/>
                  </a:moveTo>
                  <a:cubicBezTo>
                    <a:pt x="66" y="45"/>
                    <a:pt x="66" y="45"/>
                    <a:pt x="66" y="45"/>
                  </a:cubicBezTo>
                  <a:cubicBezTo>
                    <a:pt x="66" y="41"/>
                    <a:pt x="64" y="36"/>
                    <a:pt x="60" y="34"/>
                  </a:cubicBezTo>
                  <a:cubicBezTo>
                    <a:pt x="7" y="1"/>
                    <a:pt x="7" y="1"/>
                    <a:pt x="7" y="1"/>
                  </a:cubicBezTo>
                  <a:cubicBezTo>
                    <a:pt x="5" y="0"/>
                    <a:pt x="3" y="0"/>
                    <a:pt x="2" y="1"/>
                  </a:cubicBezTo>
                  <a:cubicBezTo>
                    <a:pt x="1" y="1"/>
                    <a:pt x="0" y="3"/>
                    <a:pt x="0" y="5"/>
                  </a:cubicBezTo>
                  <a:cubicBezTo>
                    <a:pt x="0" y="38"/>
                    <a:pt x="0" y="38"/>
                    <a:pt x="0" y="38"/>
                  </a:cubicBezTo>
                  <a:cubicBezTo>
                    <a:pt x="0" y="42"/>
                    <a:pt x="3" y="47"/>
                    <a:pt x="7" y="49"/>
                  </a:cubicBezTo>
                  <a:cubicBezTo>
                    <a:pt x="60" y="81"/>
                    <a:pt x="60" y="81"/>
                    <a:pt x="60" y="81"/>
                  </a:cubicBezTo>
                  <a:cubicBezTo>
                    <a:pt x="62" y="83"/>
                    <a:pt x="63" y="83"/>
                    <a:pt x="64" y="82"/>
                  </a:cubicBezTo>
                  <a:cubicBezTo>
                    <a:pt x="66" y="81"/>
                    <a:pt x="66" y="80"/>
                    <a:pt x="66" y="78"/>
                  </a:cubicBez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84" name="îṡļiďe">
              <a:extLst>
                <a:ext uri="{FF2B5EF4-FFF2-40B4-BE49-F238E27FC236}">
                  <a16:creationId xmlns:a16="http://schemas.microsoft.com/office/drawing/2014/main" id="{F0CD6C88-EB15-4BBD-96C8-CAC99DB8F155}"/>
                </a:ext>
              </a:extLst>
            </p:cNvPr>
            <p:cNvSpPr/>
            <p:nvPr/>
          </p:nvSpPr>
          <p:spPr bwMode="auto">
            <a:xfrm>
              <a:off x="7038975" y="3532188"/>
              <a:ext cx="92075" cy="111125"/>
            </a:xfrm>
            <a:custGeom>
              <a:avLst/>
              <a:gdLst>
                <a:gd name="T0" fmla="*/ 63 w 70"/>
                <a:gd name="T1" fmla="*/ 34 h 85"/>
                <a:gd name="T2" fmla="*/ 10 w 70"/>
                <a:gd name="T3" fmla="*/ 2 h 85"/>
                <a:gd name="T4" fmla="*/ 5 w 70"/>
                <a:gd name="T5" fmla="*/ 1 h 85"/>
                <a:gd name="T6" fmla="*/ 0 w 70"/>
                <a:gd name="T7" fmla="*/ 4 h 85"/>
                <a:gd name="T8" fmla="*/ 1 w 70"/>
                <a:gd name="T9" fmla="*/ 4 h 85"/>
                <a:gd name="T10" fmla="*/ 5 w 70"/>
                <a:gd name="T11" fmla="*/ 5 h 85"/>
                <a:gd name="T12" fmla="*/ 58 w 70"/>
                <a:gd name="T13" fmla="*/ 37 h 85"/>
                <a:gd name="T14" fmla="*/ 65 w 70"/>
                <a:gd name="T15" fmla="*/ 49 h 85"/>
                <a:gd name="T16" fmla="*/ 65 w 70"/>
                <a:gd name="T17" fmla="*/ 81 h 85"/>
                <a:gd name="T18" fmla="*/ 63 w 70"/>
                <a:gd name="T19" fmla="*/ 85 h 85"/>
                <a:gd name="T20" fmla="*/ 63 w 70"/>
                <a:gd name="T21" fmla="*/ 85 h 85"/>
                <a:gd name="T22" fmla="*/ 68 w 70"/>
                <a:gd name="T23" fmla="*/ 82 h 85"/>
                <a:gd name="T24" fmla="*/ 68 w 70"/>
                <a:gd name="T25" fmla="*/ 82 h 85"/>
                <a:gd name="T26" fmla="*/ 70 w 70"/>
                <a:gd name="T27" fmla="*/ 78 h 85"/>
                <a:gd name="T28" fmla="*/ 70 w 70"/>
                <a:gd name="T29" fmla="*/ 46 h 85"/>
                <a:gd name="T30" fmla="*/ 63 w 70"/>
                <a:gd name="T31" fmla="*/ 34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0" h="85">
                  <a:moveTo>
                    <a:pt x="63" y="34"/>
                  </a:moveTo>
                  <a:cubicBezTo>
                    <a:pt x="10" y="2"/>
                    <a:pt x="10" y="2"/>
                    <a:pt x="10" y="2"/>
                  </a:cubicBezTo>
                  <a:cubicBezTo>
                    <a:pt x="8" y="1"/>
                    <a:pt x="7" y="0"/>
                    <a:pt x="5" y="1"/>
                  </a:cubicBezTo>
                  <a:cubicBezTo>
                    <a:pt x="0" y="4"/>
                    <a:pt x="0" y="4"/>
                    <a:pt x="0" y="4"/>
                  </a:cubicBezTo>
                  <a:cubicBezTo>
                    <a:pt x="1" y="4"/>
                    <a:pt x="1" y="4"/>
                    <a:pt x="1" y="4"/>
                  </a:cubicBezTo>
                  <a:cubicBezTo>
                    <a:pt x="2" y="3"/>
                    <a:pt x="3" y="4"/>
                    <a:pt x="5" y="5"/>
                  </a:cubicBezTo>
                  <a:cubicBezTo>
                    <a:pt x="58" y="37"/>
                    <a:pt x="58" y="37"/>
                    <a:pt x="58" y="37"/>
                  </a:cubicBezTo>
                  <a:cubicBezTo>
                    <a:pt x="62" y="39"/>
                    <a:pt x="65" y="45"/>
                    <a:pt x="65" y="49"/>
                  </a:cubicBezTo>
                  <a:cubicBezTo>
                    <a:pt x="65" y="81"/>
                    <a:pt x="65" y="81"/>
                    <a:pt x="65" y="81"/>
                  </a:cubicBezTo>
                  <a:cubicBezTo>
                    <a:pt x="65" y="83"/>
                    <a:pt x="64" y="85"/>
                    <a:pt x="63" y="85"/>
                  </a:cubicBezTo>
                  <a:cubicBezTo>
                    <a:pt x="63" y="85"/>
                    <a:pt x="63" y="85"/>
                    <a:pt x="63" y="85"/>
                  </a:cubicBezTo>
                  <a:cubicBezTo>
                    <a:pt x="68" y="82"/>
                    <a:pt x="68" y="82"/>
                    <a:pt x="68" y="82"/>
                  </a:cubicBezTo>
                  <a:cubicBezTo>
                    <a:pt x="68" y="82"/>
                    <a:pt x="68" y="82"/>
                    <a:pt x="68" y="82"/>
                  </a:cubicBezTo>
                  <a:cubicBezTo>
                    <a:pt x="69" y="82"/>
                    <a:pt x="70" y="80"/>
                    <a:pt x="70" y="78"/>
                  </a:cubicBezTo>
                  <a:cubicBezTo>
                    <a:pt x="70" y="46"/>
                    <a:pt x="70" y="46"/>
                    <a:pt x="70" y="46"/>
                  </a:cubicBezTo>
                  <a:cubicBezTo>
                    <a:pt x="70" y="42"/>
                    <a:pt x="67" y="36"/>
                    <a:pt x="63" y="34"/>
                  </a:cubicBezTo>
                  <a:close/>
                </a:path>
              </a:pathLst>
            </a:cu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85" name="îṩlîḑe">
              <a:extLst>
                <a:ext uri="{FF2B5EF4-FFF2-40B4-BE49-F238E27FC236}">
                  <a16:creationId xmlns:a16="http://schemas.microsoft.com/office/drawing/2014/main" id="{DAB0B5C7-651B-4094-BF28-01AECABF9BF1}"/>
                </a:ext>
              </a:extLst>
            </p:cNvPr>
            <p:cNvSpPr/>
            <p:nvPr/>
          </p:nvSpPr>
          <p:spPr bwMode="auto">
            <a:xfrm>
              <a:off x="7037388" y="3535363"/>
              <a:ext cx="87313" cy="109538"/>
            </a:xfrm>
            <a:custGeom>
              <a:avLst/>
              <a:gdLst>
                <a:gd name="T0" fmla="*/ 66 w 66"/>
                <a:gd name="T1" fmla="*/ 78 h 83"/>
                <a:gd name="T2" fmla="*/ 66 w 66"/>
                <a:gd name="T3" fmla="*/ 46 h 83"/>
                <a:gd name="T4" fmla="*/ 59 w 66"/>
                <a:gd name="T5" fmla="*/ 34 h 83"/>
                <a:gd name="T6" fmla="*/ 6 w 66"/>
                <a:gd name="T7" fmla="*/ 2 h 83"/>
                <a:gd name="T8" fmla="*/ 2 w 66"/>
                <a:gd name="T9" fmla="*/ 1 h 83"/>
                <a:gd name="T10" fmla="*/ 0 w 66"/>
                <a:gd name="T11" fmla="*/ 5 h 83"/>
                <a:gd name="T12" fmla="*/ 0 w 66"/>
                <a:gd name="T13" fmla="*/ 38 h 83"/>
                <a:gd name="T14" fmla="*/ 6 w 66"/>
                <a:gd name="T15" fmla="*/ 49 h 83"/>
                <a:gd name="T16" fmla="*/ 59 w 66"/>
                <a:gd name="T17" fmla="*/ 82 h 83"/>
                <a:gd name="T18" fmla="*/ 64 w 66"/>
                <a:gd name="T19" fmla="*/ 82 h 83"/>
                <a:gd name="T20" fmla="*/ 66 w 66"/>
                <a:gd name="T21" fmla="*/ 78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6" h="83">
                  <a:moveTo>
                    <a:pt x="66" y="78"/>
                  </a:moveTo>
                  <a:cubicBezTo>
                    <a:pt x="66" y="46"/>
                    <a:pt x="66" y="46"/>
                    <a:pt x="66" y="46"/>
                  </a:cubicBezTo>
                  <a:cubicBezTo>
                    <a:pt x="66" y="42"/>
                    <a:pt x="63" y="36"/>
                    <a:pt x="59" y="34"/>
                  </a:cubicBezTo>
                  <a:cubicBezTo>
                    <a:pt x="6" y="2"/>
                    <a:pt x="6" y="2"/>
                    <a:pt x="6" y="2"/>
                  </a:cubicBezTo>
                  <a:cubicBezTo>
                    <a:pt x="4" y="1"/>
                    <a:pt x="3" y="0"/>
                    <a:pt x="2" y="1"/>
                  </a:cubicBezTo>
                  <a:cubicBezTo>
                    <a:pt x="0" y="2"/>
                    <a:pt x="0" y="3"/>
                    <a:pt x="0" y="5"/>
                  </a:cubicBezTo>
                  <a:cubicBezTo>
                    <a:pt x="0" y="38"/>
                    <a:pt x="0" y="38"/>
                    <a:pt x="0" y="38"/>
                  </a:cubicBezTo>
                  <a:cubicBezTo>
                    <a:pt x="0" y="42"/>
                    <a:pt x="2" y="47"/>
                    <a:pt x="6" y="49"/>
                  </a:cubicBezTo>
                  <a:cubicBezTo>
                    <a:pt x="59" y="82"/>
                    <a:pt x="59" y="82"/>
                    <a:pt x="59" y="82"/>
                  </a:cubicBezTo>
                  <a:cubicBezTo>
                    <a:pt x="61" y="83"/>
                    <a:pt x="63" y="83"/>
                    <a:pt x="64" y="82"/>
                  </a:cubicBezTo>
                  <a:cubicBezTo>
                    <a:pt x="65" y="82"/>
                    <a:pt x="66" y="80"/>
                    <a:pt x="66" y="78"/>
                  </a:cubicBez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86" name="iṧḻíḑè">
              <a:extLst>
                <a:ext uri="{FF2B5EF4-FFF2-40B4-BE49-F238E27FC236}">
                  <a16:creationId xmlns:a16="http://schemas.microsoft.com/office/drawing/2014/main" id="{42A160FB-1A1E-464D-997D-11454D3FF0E0}"/>
                </a:ext>
              </a:extLst>
            </p:cNvPr>
            <p:cNvSpPr/>
            <p:nvPr/>
          </p:nvSpPr>
          <p:spPr bwMode="auto">
            <a:xfrm>
              <a:off x="6659563" y="3386138"/>
              <a:ext cx="90488" cy="130175"/>
            </a:xfrm>
            <a:custGeom>
              <a:avLst/>
              <a:gdLst>
                <a:gd name="T0" fmla="*/ 63 w 69"/>
                <a:gd name="T1" fmla="*/ 34 h 98"/>
                <a:gd name="T2" fmla="*/ 10 w 69"/>
                <a:gd name="T3" fmla="*/ 1 h 98"/>
                <a:gd name="T4" fmla="*/ 5 w 69"/>
                <a:gd name="T5" fmla="*/ 1 h 98"/>
                <a:gd name="T6" fmla="*/ 0 w 69"/>
                <a:gd name="T7" fmla="*/ 4 h 98"/>
                <a:gd name="T8" fmla="*/ 0 w 69"/>
                <a:gd name="T9" fmla="*/ 4 h 98"/>
                <a:gd name="T10" fmla="*/ 4 w 69"/>
                <a:gd name="T11" fmla="*/ 4 h 98"/>
                <a:gd name="T12" fmla="*/ 58 w 69"/>
                <a:gd name="T13" fmla="*/ 37 h 98"/>
                <a:gd name="T14" fmla="*/ 64 w 69"/>
                <a:gd name="T15" fmla="*/ 48 h 98"/>
                <a:gd name="T16" fmla="*/ 64 w 69"/>
                <a:gd name="T17" fmla="*/ 94 h 98"/>
                <a:gd name="T18" fmla="*/ 62 w 69"/>
                <a:gd name="T19" fmla="*/ 98 h 98"/>
                <a:gd name="T20" fmla="*/ 62 w 69"/>
                <a:gd name="T21" fmla="*/ 98 h 98"/>
                <a:gd name="T22" fmla="*/ 67 w 69"/>
                <a:gd name="T23" fmla="*/ 95 h 98"/>
                <a:gd name="T24" fmla="*/ 67 w 69"/>
                <a:gd name="T25" fmla="*/ 95 h 98"/>
                <a:gd name="T26" fmla="*/ 69 w 69"/>
                <a:gd name="T27" fmla="*/ 91 h 98"/>
                <a:gd name="T28" fmla="*/ 69 w 69"/>
                <a:gd name="T29" fmla="*/ 45 h 98"/>
                <a:gd name="T30" fmla="*/ 63 w 69"/>
                <a:gd name="T31" fmla="*/ 34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9" h="98">
                  <a:moveTo>
                    <a:pt x="63" y="34"/>
                  </a:moveTo>
                  <a:cubicBezTo>
                    <a:pt x="10" y="1"/>
                    <a:pt x="10" y="1"/>
                    <a:pt x="10" y="1"/>
                  </a:cubicBezTo>
                  <a:cubicBezTo>
                    <a:pt x="8" y="0"/>
                    <a:pt x="6" y="0"/>
                    <a:pt x="5" y="1"/>
                  </a:cubicBezTo>
                  <a:cubicBezTo>
                    <a:pt x="0" y="4"/>
                    <a:pt x="0" y="4"/>
                    <a:pt x="0" y="4"/>
                  </a:cubicBezTo>
                  <a:cubicBezTo>
                    <a:pt x="0" y="4"/>
                    <a:pt x="0" y="4"/>
                    <a:pt x="0" y="4"/>
                  </a:cubicBezTo>
                  <a:cubicBezTo>
                    <a:pt x="1" y="3"/>
                    <a:pt x="3" y="3"/>
                    <a:pt x="4" y="4"/>
                  </a:cubicBezTo>
                  <a:cubicBezTo>
                    <a:pt x="58" y="37"/>
                    <a:pt x="58" y="37"/>
                    <a:pt x="58" y="37"/>
                  </a:cubicBezTo>
                  <a:cubicBezTo>
                    <a:pt x="61" y="39"/>
                    <a:pt x="64" y="44"/>
                    <a:pt x="64" y="48"/>
                  </a:cubicBezTo>
                  <a:cubicBezTo>
                    <a:pt x="64" y="94"/>
                    <a:pt x="64" y="94"/>
                    <a:pt x="64" y="94"/>
                  </a:cubicBezTo>
                  <a:cubicBezTo>
                    <a:pt x="64" y="96"/>
                    <a:pt x="63" y="97"/>
                    <a:pt x="62" y="98"/>
                  </a:cubicBezTo>
                  <a:cubicBezTo>
                    <a:pt x="62" y="98"/>
                    <a:pt x="62" y="98"/>
                    <a:pt x="62" y="98"/>
                  </a:cubicBezTo>
                  <a:cubicBezTo>
                    <a:pt x="67" y="95"/>
                    <a:pt x="67" y="95"/>
                    <a:pt x="67" y="95"/>
                  </a:cubicBezTo>
                  <a:cubicBezTo>
                    <a:pt x="67" y="95"/>
                    <a:pt x="67" y="95"/>
                    <a:pt x="67" y="95"/>
                  </a:cubicBezTo>
                  <a:cubicBezTo>
                    <a:pt x="69" y="94"/>
                    <a:pt x="69" y="93"/>
                    <a:pt x="69" y="91"/>
                  </a:cubicBezTo>
                  <a:cubicBezTo>
                    <a:pt x="69" y="45"/>
                    <a:pt x="69" y="45"/>
                    <a:pt x="69" y="45"/>
                  </a:cubicBezTo>
                  <a:cubicBezTo>
                    <a:pt x="69" y="41"/>
                    <a:pt x="66" y="36"/>
                    <a:pt x="63" y="34"/>
                  </a:cubicBez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87" name="ïṧḻiḍe">
              <a:extLst>
                <a:ext uri="{FF2B5EF4-FFF2-40B4-BE49-F238E27FC236}">
                  <a16:creationId xmlns:a16="http://schemas.microsoft.com/office/drawing/2014/main" id="{4396C17A-82F3-4B48-BF42-8E81356D1D8A}"/>
                </a:ext>
              </a:extLst>
            </p:cNvPr>
            <p:cNvSpPr/>
            <p:nvPr/>
          </p:nvSpPr>
          <p:spPr bwMode="auto">
            <a:xfrm>
              <a:off x="6656388" y="3390901"/>
              <a:ext cx="87313" cy="125413"/>
            </a:xfrm>
            <a:custGeom>
              <a:avLst/>
              <a:gdLst>
                <a:gd name="T0" fmla="*/ 66 w 66"/>
                <a:gd name="T1" fmla="*/ 91 h 96"/>
                <a:gd name="T2" fmla="*/ 66 w 66"/>
                <a:gd name="T3" fmla="*/ 45 h 96"/>
                <a:gd name="T4" fmla="*/ 60 w 66"/>
                <a:gd name="T5" fmla="*/ 34 h 96"/>
                <a:gd name="T6" fmla="*/ 6 w 66"/>
                <a:gd name="T7" fmla="*/ 1 h 96"/>
                <a:gd name="T8" fmla="*/ 2 w 66"/>
                <a:gd name="T9" fmla="*/ 1 h 96"/>
                <a:gd name="T10" fmla="*/ 0 w 66"/>
                <a:gd name="T11" fmla="*/ 5 h 96"/>
                <a:gd name="T12" fmla="*/ 0 w 66"/>
                <a:gd name="T13" fmla="*/ 50 h 96"/>
                <a:gd name="T14" fmla="*/ 6 w 66"/>
                <a:gd name="T15" fmla="*/ 62 h 96"/>
                <a:gd name="T16" fmla="*/ 60 w 66"/>
                <a:gd name="T17" fmla="*/ 94 h 96"/>
                <a:gd name="T18" fmla="*/ 64 w 66"/>
                <a:gd name="T19" fmla="*/ 95 h 96"/>
                <a:gd name="T20" fmla="*/ 66 w 66"/>
                <a:gd name="T21" fmla="*/ 91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6" h="96">
                  <a:moveTo>
                    <a:pt x="66" y="91"/>
                  </a:moveTo>
                  <a:cubicBezTo>
                    <a:pt x="66" y="45"/>
                    <a:pt x="66" y="45"/>
                    <a:pt x="66" y="45"/>
                  </a:cubicBezTo>
                  <a:cubicBezTo>
                    <a:pt x="66" y="41"/>
                    <a:pt x="63" y="36"/>
                    <a:pt x="60" y="34"/>
                  </a:cubicBezTo>
                  <a:cubicBezTo>
                    <a:pt x="6" y="1"/>
                    <a:pt x="6" y="1"/>
                    <a:pt x="6" y="1"/>
                  </a:cubicBezTo>
                  <a:cubicBezTo>
                    <a:pt x="5" y="0"/>
                    <a:pt x="3" y="0"/>
                    <a:pt x="2" y="1"/>
                  </a:cubicBezTo>
                  <a:cubicBezTo>
                    <a:pt x="1" y="1"/>
                    <a:pt x="0" y="3"/>
                    <a:pt x="0" y="5"/>
                  </a:cubicBezTo>
                  <a:cubicBezTo>
                    <a:pt x="0" y="50"/>
                    <a:pt x="0" y="50"/>
                    <a:pt x="0" y="50"/>
                  </a:cubicBezTo>
                  <a:cubicBezTo>
                    <a:pt x="0" y="55"/>
                    <a:pt x="3" y="60"/>
                    <a:pt x="6" y="62"/>
                  </a:cubicBezTo>
                  <a:cubicBezTo>
                    <a:pt x="60" y="94"/>
                    <a:pt x="60" y="94"/>
                    <a:pt x="60" y="94"/>
                  </a:cubicBezTo>
                  <a:cubicBezTo>
                    <a:pt x="61" y="95"/>
                    <a:pt x="63" y="96"/>
                    <a:pt x="64" y="95"/>
                  </a:cubicBezTo>
                  <a:cubicBezTo>
                    <a:pt x="65" y="94"/>
                    <a:pt x="66" y="93"/>
                    <a:pt x="66" y="91"/>
                  </a:cubicBezTo>
                  <a:close/>
                </a:path>
              </a:pathLst>
            </a:custGeom>
            <a:solidFill>
              <a:srgbClr val="99999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88" name="îṧļîḓé">
              <a:extLst>
                <a:ext uri="{FF2B5EF4-FFF2-40B4-BE49-F238E27FC236}">
                  <a16:creationId xmlns:a16="http://schemas.microsoft.com/office/drawing/2014/main" id="{DFE5CCB0-1FDF-4D4C-B85A-7CF3C7682889}"/>
                </a:ext>
              </a:extLst>
            </p:cNvPr>
            <p:cNvSpPr/>
            <p:nvPr/>
          </p:nvSpPr>
          <p:spPr bwMode="auto">
            <a:xfrm>
              <a:off x="6784975" y="3465513"/>
              <a:ext cx="92075" cy="128588"/>
            </a:xfrm>
            <a:custGeom>
              <a:avLst/>
              <a:gdLst>
                <a:gd name="T0" fmla="*/ 63 w 69"/>
                <a:gd name="T1" fmla="*/ 34 h 98"/>
                <a:gd name="T2" fmla="*/ 10 w 69"/>
                <a:gd name="T3" fmla="*/ 2 h 98"/>
                <a:gd name="T4" fmla="*/ 5 w 69"/>
                <a:gd name="T5" fmla="*/ 1 h 98"/>
                <a:gd name="T6" fmla="*/ 0 w 69"/>
                <a:gd name="T7" fmla="*/ 4 h 98"/>
                <a:gd name="T8" fmla="*/ 0 w 69"/>
                <a:gd name="T9" fmla="*/ 4 h 98"/>
                <a:gd name="T10" fmla="*/ 5 w 69"/>
                <a:gd name="T11" fmla="*/ 4 h 98"/>
                <a:gd name="T12" fmla="*/ 58 w 69"/>
                <a:gd name="T13" fmla="*/ 37 h 98"/>
                <a:gd name="T14" fmla="*/ 64 w 69"/>
                <a:gd name="T15" fmla="*/ 48 h 98"/>
                <a:gd name="T16" fmla="*/ 64 w 69"/>
                <a:gd name="T17" fmla="*/ 94 h 98"/>
                <a:gd name="T18" fmla="*/ 62 w 69"/>
                <a:gd name="T19" fmla="*/ 98 h 98"/>
                <a:gd name="T20" fmla="*/ 62 w 69"/>
                <a:gd name="T21" fmla="*/ 98 h 98"/>
                <a:gd name="T22" fmla="*/ 68 w 69"/>
                <a:gd name="T23" fmla="*/ 95 h 98"/>
                <a:gd name="T24" fmla="*/ 68 w 69"/>
                <a:gd name="T25" fmla="*/ 95 h 98"/>
                <a:gd name="T26" fmla="*/ 69 w 69"/>
                <a:gd name="T27" fmla="*/ 91 h 98"/>
                <a:gd name="T28" fmla="*/ 69 w 69"/>
                <a:gd name="T29" fmla="*/ 46 h 98"/>
                <a:gd name="T30" fmla="*/ 63 w 69"/>
                <a:gd name="T31" fmla="*/ 34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9" h="98">
                  <a:moveTo>
                    <a:pt x="63" y="34"/>
                  </a:moveTo>
                  <a:cubicBezTo>
                    <a:pt x="10" y="2"/>
                    <a:pt x="10" y="2"/>
                    <a:pt x="10" y="2"/>
                  </a:cubicBezTo>
                  <a:cubicBezTo>
                    <a:pt x="8" y="0"/>
                    <a:pt x="6" y="0"/>
                    <a:pt x="5" y="1"/>
                  </a:cubicBezTo>
                  <a:cubicBezTo>
                    <a:pt x="0" y="4"/>
                    <a:pt x="0" y="4"/>
                    <a:pt x="0" y="4"/>
                  </a:cubicBezTo>
                  <a:cubicBezTo>
                    <a:pt x="0" y="4"/>
                    <a:pt x="0" y="4"/>
                    <a:pt x="0" y="4"/>
                  </a:cubicBezTo>
                  <a:cubicBezTo>
                    <a:pt x="1" y="3"/>
                    <a:pt x="3" y="3"/>
                    <a:pt x="5" y="4"/>
                  </a:cubicBezTo>
                  <a:cubicBezTo>
                    <a:pt x="58" y="37"/>
                    <a:pt x="58" y="37"/>
                    <a:pt x="58" y="37"/>
                  </a:cubicBezTo>
                  <a:cubicBezTo>
                    <a:pt x="61" y="39"/>
                    <a:pt x="64" y="44"/>
                    <a:pt x="64" y="48"/>
                  </a:cubicBezTo>
                  <a:cubicBezTo>
                    <a:pt x="64" y="94"/>
                    <a:pt x="64" y="94"/>
                    <a:pt x="64" y="94"/>
                  </a:cubicBezTo>
                  <a:cubicBezTo>
                    <a:pt x="64" y="96"/>
                    <a:pt x="63" y="98"/>
                    <a:pt x="62" y="98"/>
                  </a:cubicBezTo>
                  <a:cubicBezTo>
                    <a:pt x="62" y="98"/>
                    <a:pt x="62" y="98"/>
                    <a:pt x="62" y="98"/>
                  </a:cubicBezTo>
                  <a:cubicBezTo>
                    <a:pt x="68" y="95"/>
                    <a:pt x="68" y="95"/>
                    <a:pt x="68" y="95"/>
                  </a:cubicBezTo>
                  <a:cubicBezTo>
                    <a:pt x="68" y="95"/>
                    <a:pt x="68" y="95"/>
                    <a:pt x="68" y="95"/>
                  </a:cubicBezTo>
                  <a:cubicBezTo>
                    <a:pt x="69" y="95"/>
                    <a:pt x="69" y="93"/>
                    <a:pt x="69" y="91"/>
                  </a:cubicBezTo>
                  <a:cubicBezTo>
                    <a:pt x="69" y="46"/>
                    <a:pt x="69" y="46"/>
                    <a:pt x="69" y="46"/>
                  </a:cubicBezTo>
                  <a:cubicBezTo>
                    <a:pt x="69" y="41"/>
                    <a:pt x="67" y="36"/>
                    <a:pt x="63" y="34"/>
                  </a:cubicBez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89" name="ïṡ1íďe">
              <a:extLst>
                <a:ext uri="{FF2B5EF4-FFF2-40B4-BE49-F238E27FC236}">
                  <a16:creationId xmlns:a16="http://schemas.microsoft.com/office/drawing/2014/main" id="{C6D27FA3-FE9C-4344-8FB6-A14268AC975D}"/>
                </a:ext>
              </a:extLst>
            </p:cNvPr>
            <p:cNvSpPr/>
            <p:nvPr/>
          </p:nvSpPr>
          <p:spPr bwMode="auto">
            <a:xfrm>
              <a:off x="6783388" y="3470276"/>
              <a:ext cx="85725" cy="125413"/>
            </a:xfrm>
            <a:custGeom>
              <a:avLst/>
              <a:gdLst>
                <a:gd name="T0" fmla="*/ 66 w 66"/>
                <a:gd name="T1" fmla="*/ 91 h 96"/>
                <a:gd name="T2" fmla="*/ 66 w 66"/>
                <a:gd name="T3" fmla="*/ 45 h 96"/>
                <a:gd name="T4" fmla="*/ 60 w 66"/>
                <a:gd name="T5" fmla="*/ 34 h 96"/>
                <a:gd name="T6" fmla="*/ 7 w 66"/>
                <a:gd name="T7" fmla="*/ 1 h 96"/>
                <a:gd name="T8" fmla="*/ 2 w 66"/>
                <a:gd name="T9" fmla="*/ 1 h 96"/>
                <a:gd name="T10" fmla="*/ 0 w 66"/>
                <a:gd name="T11" fmla="*/ 5 h 96"/>
                <a:gd name="T12" fmla="*/ 0 w 66"/>
                <a:gd name="T13" fmla="*/ 51 h 96"/>
                <a:gd name="T14" fmla="*/ 7 w 66"/>
                <a:gd name="T15" fmla="*/ 62 h 96"/>
                <a:gd name="T16" fmla="*/ 60 w 66"/>
                <a:gd name="T17" fmla="*/ 95 h 96"/>
                <a:gd name="T18" fmla="*/ 64 w 66"/>
                <a:gd name="T19" fmla="*/ 95 h 96"/>
                <a:gd name="T20" fmla="*/ 66 w 66"/>
                <a:gd name="T21" fmla="*/ 91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6" h="96">
                  <a:moveTo>
                    <a:pt x="66" y="91"/>
                  </a:moveTo>
                  <a:cubicBezTo>
                    <a:pt x="66" y="45"/>
                    <a:pt x="66" y="45"/>
                    <a:pt x="66" y="45"/>
                  </a:cubicBezTo>
                  <a:cubicBezTo>
                    <a:pt x="66" y="41"/>
                    <a:pt x="63" y="36"/>
                    <a:pt x="60" y="34"/>
                  </a:cubicBezTo>
                  <a:cubicBezTo>
                    <a:pt x="7" y="1"/>
                    <a:pt x="7" y="1"/>
                    <a:pt x="7" y="1"/>
                  </a:cubicBezTo>
                  <a:cubicBezTo>
                    <a:pt x="5" y="0"/>
                    <a:pt x="3" y="0"/>
                    <a:pt x="2" y="1"/>
                  </a:cubicBezTo>
                  <a:cubicBezTo>
                    <a:pt x="1" y="2"/>
                    <a:pt x="0" y="3"/>
                    <a:pt x="0" y="5"/>
                  </a:cubicBezTo>
                  <a:cubicBezTo>
                    <a:pt x="0" y="51"/>
                    <a:pt x="0" y="51"/>
                    <a:pt x="0" y="51"/>
                  </a:cubicBezTo>
                  <a:cubicBezTo>
                    <a:pt x="0" y="55"/>
                    <a:pt x="3" y="60"/>
                    <a:pt x="7" y="62"/>
                  </a:cubicBezTo>
                  <a:cubicBezTo>
                    <a:pt x="60" y="95"/>
                    <a:pt x="60" y="95"/>
                    <a:pt x="60" y="95"/>
                  </a:cubicBezTo>
                  <a:cubicBezTo>
                    <a:pt x="62" y="96"/>
                    <a:pt x="63" y="96"/>
                    <a:pt x="64" y="95"/>
                  </a:cubicBezTo>
                  <a:cubicBezTo>
                    <a:pt x="65" y="95"/>
                    <a:pt x="66" y="93"/>
                    <a:pt x="66" y="91"/>
                  </a:cubicBezTo>
                  <a:close/>
                </a:path>
              </a:pathLst>
            </a:custGeom>
            <a:solidFill>
              <a:srgbClr val="99999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90" name="išlîḍê">
              <a:extLst>
                <a:ext uri="{FF2B5EF4-FFF2-40B4-BE49-F238E27FC236}">
                  <a16:creationId xmlns:a16="http://schemas.microsoft.com/office/drawing/2014/main" id="{EFEA73F0-77FC-4091-9EDC-1E21F901A0EF}"/>
                </a:ext>
              </a:extLst>
            </p:cNvPr>
            <p:cNvSpPr/>
            <p:nvPr/>
          </p:nvSpPr>
          <p:spPr bwMode="auto">
            <a:xfrm>
              <a:off x="6911975" y="3546476"/>
              <a:ext cx="92075" cy="128588"/>
            </a:xfrm>
            <a:custGeom>
              <a:avLst/>
              <a:gdLst>
                <a:gd name="T0" fmla="*/ 63 w 70"/>
                <a:gd name="T1" fmla="*/ 34 h 98"/>
                <a:gd name="T2" fmla="*/ 10 w 70"/>
                <a:gd name="T3" fmla="*/ 1 h 98"/>
                <a:gd name="T4" fmla="*/ 5 w 70"/>
                <a:gd name="T5" fmla="*/ 1 h 98"/>
                <a:gd name="T6" fmla="*/ 0 w 70"/>
                <a:gd name="T7" fmla="*/ 3 h 98"/>
                <a:gd name="T8" fmla="*/ 0 w 70"/>
                <a:gd name="T9" fmla="*/ 3 h 98"/>
                <a:gd name="T10" fmla="*/ 5 w 70"/>
                <a:gd name="T11" fmla="*/ 4 h 98"/>
                <a:gd name="T12" fmla="*/ 58 w 70"/>
                <a:gd name="T13" fmla="*/ 37 h 98"/>
                <a:gd name="T14" fmla="*/ 64 w 70"/>
                <a:gd name="T15" fmla="*/ 48 h 98"/>
                <a:gd name="T16" fmla="*/ 64 w 70"/>
                <a:gd name="T17" fmla="*/ 94 h 98"/>
                <a:gd name="T18" fmla="*/ 62 w 70"/>
                <a:gd name="T19" fmla="*/ 98 h 98"/>
                <a:gd name="T20" fmla="*/ 62 w 70"/>
                <a:gd name="T21" fmla="*/ 98 h 98"/>
                <a:gd name="T22" fmla="*/ 68 w 70"/>
                <a:gd name="T23" fmla="*/ 95 h 98"/>
                <a:gd name="T24" fmla="*/ 68 w 70"/>
                <a:gd name="T25" fmla="*/ 95 h 98"/>
                <a:gd name="T26" fmla="*/ 70 w 70"/>
                <a:gd name="T27" fmla="*/ 91 h 98"/>
                <a:gd name="T28" fmla="*/ 70 w 70"/>
                <a:gd name="T29" fmla="*/ 45 h 98"/>
                <a:gd name="T30" fmla="*/ 63 w 70"/>
                <a:gd name="T31" fmla="*/ 34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0" h="98">
                  <a:moveTo>
                    <a:pt x="63" y="34"/>
                  </a:moveTo>
                  <a:cubicBezTo>
                    <a:pt x="10" y="1"/>
                    <a:pt x="10" y="1"/>
                    <a:pt x="10" y="1"/>
                  </a:cubicBezTo>
                  <a:cubicBezTo>
                    <a:pt x="8" y="0"/>
                    <a:pt x="6" y="0"/>
                    <a:pt x="5" y="1"/>
                  </a:cubicBezTo>
                  <a:cubicBezTo>
                    <a:pt x="0" y="3"/>
                    <a:pt x="0" y="3"/>
                    <a:pt x="0" y="3"/>
                  </a:cubicBezTo>
                  <a:cubicBezTo>
                    <a:pt x="0" y="3"/>
                    <a:pt x="0" y="3"/>
                    <a:pt x="0" y="3"/>
                  </a:cubicBezTo>
                  <a:cubicBezTo>
                    <a:pt x="1" y="3"/>
                    <a:pt x="3" y="3"/>
                    <a:pt x="5" y="4"/>
                  </a:cubicBezTo>
                  <a:cubicBezTo>
                    <a:pt x="58" y="37"/>
                    <a:pt x="58" y="37"/>
                    <a:pt x="58" y="37"/>
                  </a:cubicBezTo>
                  <a:cubicBezTo>
                    <a:pt x="62" y="39"/>
                    <a:pt x="64" y="44"/>
                    <a:pt x="64" y="48"/>
                  </a:cubicBezTo>
                  <a:cubicBezTo>
                    <a:pt x="64" y="94"/>
                    <a:pt x="64" y="94"/>
                    <a:pt x="64" y="94"/>
                  </a:cubicBezTo>
                  <a:cubicBezTo>
                    <a:pt x="64" y="96"/>
                    <a:pt x="64" y="97"/>
                    <a:pt x="62" y="98"/>
                  </a:cubicBezTo>
                  <a:cubicBezTo>
                    <a:pt x="62" y="98"/>
                    <a:pt x="62" y="98"/>
                    <a:pt x="62" y="98"/>
                  </a:cubicBezTo>
                  <a:cubicBezTo>
                    <a:pt x="68" y="95"/>
                    <a:pt x="68" y="95"/>
                    <a:pt x="68" y="95"/>
                  </a:cubicBezTo>
                  <a:cubicBezTo>
                    <a:pt x="68" y="95"/>
                    <a:pt x="68" y="95"/>
                    <a:pt x="68" y="95"/>
                  </a:cubicBezTo>
                  <a:cubicBezTo>
                    <a:pt x="69" y="94"/>
                    <a:pt x="70" y="93"/>
                    <a:pt x="70" y="91"/>
                  </a:cubicBezTo>
                  <a:cubicBezTo>
                    <a:pt x="70" y="45"/>
                    <a:pt x="70" y="45"/>
                    <a:pt x="70" y="45"/>
                  </a:cubicBezTo>
                  <a:cubicBezTo>
                    <a:pt x="70" y="41"/>
                    <a:pt x="67" y="36"/>
                    <a:pt x="63" y="34"/>
                  </a:cubicBez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91" name="íṣľiḑé">
              <a:extLst>
                <a:ext uri="{FF2B5EF4-FFF2-40B4-BE49-F238E27FC236}">
                  <a16:creationId xmlns:a16="http://schemas.microsoft.com/office/drawing/2014/main" id="{6406F852-B12E-4331-B1F1-7430E2A860F8}"/>
                </a:ext>
              </a:extLst>
            </p:cNvPr>
            <p:cNvSpPr/>
            <p:nvPr/>
          </p:nvSpPr>
          <p:spPr bwMode="auto">
            <a:xfrm>
              <a:off x="6908800" y="3549651"/>
              <a:ext cx="87313" cy="125413"/>
            </a:xfrm>
            <a:custGeom>
              <a:avLst/>
              <a:gdLst>
                <a:gd name="T0" fmla="*/ 66 w 66"/>
                <a:gd name="T1" fmla="*/ 91 h 95"/>
                <a:gd name="T2" fmla="*/ 66 w 66"/>
                <a:gd name="T3" fmla="*/ 45 h 95"/>
                <a:gd name="T4" fmla="*/ 60 w 66"/>
                <a:gd name="T5" fmla="*/ 34 h 95"/>
                <a:gd name="T6" fmla="*/ 7 w 66"/>
                <a:gd name="T7" fmla="*/ 1 h 95"/>
                <a:gd name="T8" fmla="*/ 2 w 66"/>
                <a:gd name="T9" fmla="*/ 0 h 95"/>
                <a:gd name="T10" fmla="*/ 0 w 66"/>
                <a:gd name="T11" fmla="*/ 4 h 95"/>
                <a:gd name="T12" fmla="*/ 0 w 66"/>
                <a:gd name="T13" fmla="*/ 50 h 95"/>
                <a:gd name="T14" fmla="*/ 7 w 66"/>
                <a:gd name="T15" fmla="*/ 61 h 95"/>
                <a:gd name="T16" fmla="*/ 60 w 66"/>
                <a:gd name="T17" fmla="*/ 94 h 95"/>
                <a:gd name="T18" fmla="*/ 64 w 66"/>
                <a:gd name="T19" fmla="*/ 95 h 95"/>
                <a:gd name="T20" fmla="*/ 66 w 66"/>
                <a:gd name="T21" fmla="*/ 91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6" h="95">
                  <a:moveTo>
                    <a:pt x="66" y="91"/>
                  </a:moveTo>
                  <a:cubicBezTo>
                    <a:pt x="66" y="45"/>
                    <a:pt x="66" y="45"/>
                    <a:pt x="66" y="45"/>
                  </a:cubicBezTo>
                  <a:cubicBezTo>
                    <a:pt x="66" y="41"/>
                    <a:pt x="64" y="36"/>
                    <a:pt x="60" y="34"/>
                  </a:cubicBezTo>
                  <a:cubicBezTo>
                    <a:pt x="7" y="1"/>
                    <a:pt x="7" y="1"/>
                    <a:pt x="7" y="1"/>
                  </a:cubicBezTo>
                  <a:cubicBezTo>
                    <a:pt x="5" y="0"/>
                    <a:pt x="3" y="0"/>
                    <a:pt x="2" y="0"/>
                  </a:cubicBezTo>
                  <a:cubicBezTo>
                    <a:pt x="1" y="1"/>
                    <a:pt x="0" y="2"/>
                    <a:pt x="0" y="4"/>
                  </a:cubicBezTo>
                  <a:cubicBezTo>
                    <a:pt x="0" y="50"/>
                    <a:pt x="0" y="50"/>
                    <a:pt x="0" y="50"/>
                  </a:cubicBezTo>
                  <a:cubicBezTo>
                    <a:pt x="0" y="54"/>
                    <a:pt x="3" y="59"/>
                    <a:pt x="7" y="61"/>
                  </a:cubicBezTo>
                  <a:cubicBezTo>
                    <a:pt x="60" y="94"/>
                    <a:pt x="60" y="94"/>
                    <a:pt x="60" y="94"/>
                  </a:cubicBezTo>
                  <a:cubicBezTo>
                    <a:pt x="62" y="95"/>
                    <a:pt x="63" y="95"/>
                    <a:pt x="64" y="95"/>
                  </a:cubicBezTo>
                  <a:cubicBezTo>
                    <a:pt x="66" y="94"/>
                    <a:pt x="66" y="93"/>
                    <a:pt x="66" y="91"/>
                  </a:cubicBezTo>
                  <a:close/>
                </a:path>
              </a:pathLst>
            </a:custGeom>
            <a:solidFill>
              <a:srgbClr val="99999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92" name="íŝlîḓè">
              <a:extLst>
                <a:ext uri="{FF2B5EF4-FFF2-40B4-BE49-F238E27FC236}">
                  <a16:creationId xmlns:a16="http://schemas.microsoft.com/office/drawing/2014/main" id="{34249AE8-8EE3-482F-8755-90EB5869EA83}"/>
                </a:ext>
              </a:extLst>
            </p:cNvPr>
            <p:cNvSpPr/>
            <p:nvPr/>
          </p:nvSpPr>
          <p:spPr bwMode="auto">
            <a:xfrm>
              <a:off x="7038975" y="3624263"/>
              <a:ext cx="92075" cy="130175"/>
            </a:xfrm>
            <a:custGeom>
              <a:avLst/>
              <a:gdLst>
                <a:gd name="T0" fmla="*/ 63 w 70"/>
                <a:gd name="T1" fmla="*/ 34 h 98"/>
                <a:gd name="T2" fmla="*/ 10 w 70"/>
                <a:gd name="T3" fmla="*/ 1 h 98"/>
                <a:gd name="T4" fmla="*/ 5 w 70"/>
                <a:gd name="T5" fmla="*/ 1 h 98"/>
                <a:gd name="T6" fmla="*/ 0 w 70"/>
                <a:gd name="T7" fmla="*/ 4 h 98"/>
                <a:gd name="T8" fmla="*/ 1 w 70"/>
                <a:gd name="T9" fmla="*/ 4 h 98"/>
                <a:gd name="T10" fmla="*/ 5 w 70"/>
                <a:gd name="T11" fmla="*/ 4 h 98"/>
                <a:gd name="T12" fmla="*/ 58 w 70"/>
                <a:gd name="T13" fmla="*/ 37 h 98"/>
                <a:gd name="T14" fmla="*/ 65 w 70"/>
                <a:gd name="T15" fmla="*/ 48 h 98"/>
                <a:gd name="T16" fmla="*/ 65 w 70"/>
                <a:gd name="T17" fmla="*/ 94 h 98"/>
                <a:gd name="T18" fmla="*/ 63 w 70"/>
                <a:gd name="T19" fmla="*/ 98 h 98"/>
                <a:gd name="T20" fmla="*/ 63 w 70"/>
                <a:gd name="T21" fmla="*/ 98 h 98"/>
                <a:gd name="T22" fmla="*/ 68 w 70"/>
                <a:gd name="T23" fmla="*/ 95 h 98"/>
                <a:gd name="T24" fmla="*/ 68 w 70"/>
                <a:gd name="T25" fmla="*/ 95 h 98"/>
                <a:gd name="T26" fmla="*/ 70 w 70"/>
                <a:gd name="T27" fmla="*/ 91 h 98"/>
                <a:gd name="T28" fmla="*/ 70 w 70"/>
                <a:gd name="T29" fmla="*/ 45 h 98"/>
                <a:gd name="T30" fmla="*/ 63 w 70"/>
                <a:gd name="T31" fmla="*/ 34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0" h="98">
                  <a:moveTo>
                    <a:pt x="63" y="34"/>
                  </a:moveTo>
                  <a:cubicBezTo>
                    <a:pt x="10" y="1"/>
                    <a:pt x="10" y="1"/>
                    <a:pt x="10" y="1"/>
                  </a:cubicBezTo>
                  <a:cubicBezTo>
                    <a:pt x="8" y="0"/>
                    <a:pt x="7" y="0"/>
                    <a:pt x="5" y="1"/>
                  </a:cubicBezTo>
                  <a:cubicBezTo>
                    <a:pt x="0" y="4"/>
                    <a:pt x="0" y="4"/>
                    <a:pt x="0" y="4"/>
                  </a:cubicBezTo>
                  <a:cubicBezTo>
                    <a:pt x="1" y="4"/>
                    <a:pt x="1" y="4"/>
                    <a:pt x="1" y="4"/>
                  </a:cubicBezTo>
                  <a:cubicBezTo>
                    <a:pt x="2" y="3"/>
                    <a:pt x="3" y="3"/>
                    <a:pt x="5" y="4"/>
                  </a:cubicBezTo>
                  <a:cubicBezTo>
                    <a:pt x="58" y="37"/>
                    <a:pt x="58" y="37"/>
                    <a:pt x="58" y="37"/>
                  </a:cubicBezTo>
                  <a:cubicBezTo>
                    <a:pt x="62" y="39"/>
                    <a:pt x="65" y="44"/>
                    <a:pt x="65" y="48"/>
                  </a:cubicBezTo>
                  <a:cubicBezTo>
                    <a:pt x="65" y="94"/>
                    <a:pt x="65" y="94"/>
                    <a:pt x="65" y="94"/>
                  </a:cubicBezTo>
                  <a:cubicBezTo>
                    <a:pt x="65" y="96"/>
                    <a:pt x="64" y="97"/>
                    <a:pt x="63" y="98"/>
                  </a:cubicBezTo>
                  <a:cubicBezTo>
                    <a:pt x="63" y="98"/>
                    <a:pt x="63" y="98"/>
                    <a:pt x="63" y="98"/>
                  </a:cubicBezTo>
                  <a:cubicBezTo>
                    <a:pt x="68" y="95"/>
                    <a:pt x="68" y="95"/>
                    <a:pt x="68" y="95"/>
                  </a:cubicBezTo>
                  <a:cubicBezTo>
                    <a:pt x="68" y="95"/>
                    <a:pt x="68" y="95"/>
                    <a:pt x="68" y="95"/>
                  </a:cubicBezTo>
                  <a:cubicBezTo>
                    <a:pt x="69" y="94"/>
                    <a:pt x="70" y="93"/>
                    <a:pt x="70" y="91"/>
                  </a:cubicBezTo>
                  <a:cubicBezTo>
                    <a:pt x="70" y="45"/>
                    <a:pt x="70" y="45"/>
                    <a:pt x="70" y="45"/>
                  </a:cubicBezTo>
                  <a:cubicBezTo>
                    <a:pt x="70" y="41"/>
                    <a:pt x="67" y="36"/>
                    <a:pt x="63" y="34"/>
                  </a:cubicBez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93" name="iṥḻíḓe">
              <a:extLst>
                <a:ext uri="{FF2B5EF4-FFF2-40B4-BE49-F238E27FC236}">
                  <a16:creationId xmlns:a16="http://schemas.microsoft.com/office/drawing/2014/main" id="{F43B5880-1272-4F0F-8305-ED33898E33AA}"/>
                </a:ext>
              </a:extLst>
            </p:cNvPr>
            <p:cNvSpPr/>
            <p:nvPr/>
          </p:nvSpPr>
          <p:spPr bwMode="auto">
            <a:xfrm>
              <a:off x="7037388" y="3629026"/>
              <a:ext cx="87313" cy="125413"/>
            </a:xfrm>
            <a:custGeom>
              <a:avLst/>
              <a:gdLst>
                <a:gd name="T0" fmla="*/ 66 w 66"/>
                <a:gd name="T1" fmla="*/ 91 h 96"/>
                <a:gd name="T2" fmla="*/ 66 w 66"/>
                <a:gd name="T3" fmla="*/ 45 h 96"/>
                <a:gd name="T4" fmla="*/ 59 w 66"/>
                <a:gd name="T5" fmla="*/ 34 h 96"/>
                <a:gd name="T6" fmla="*/ 6 w 66"/>
                <a:gd name="T7" fmla="*/ 1 h 96"/>
                <a:gd name="T8" fmla="*/ 2 w 66"/>
                <a:gd name="T9" fmla="*/ 1 h 96"/>
                <a:gd name="T10" fmla="*/ 0 w 66"/>
                <a:gd name="T11" fmla="*/ 5 h 96"/>
                <a:gd name="T12" fmla="*/ 0 w 66"/>
                <a:gd name="T13" fmla="*/ 51 h 96"/>
                <a:gd name="T14" fmla="*/ 6 w 66"/>
                <a:gd name="T15" fmla="*/ 62 h 96"/>
                <a:gd name="T16" fmla="*/ 59 w 66"/>
                <a:gd name="T17" fmla="*/ 95 h 96"/>
                <a:gd name="T18" fmla="*/ 64 w 66"/>
                <a:gd name="T19" fmla="*/ 95 h 96"/>
                <a:gd name="T20" fmla="*/ 66 w 66"/>
                <a:gd name="T21" fmla="*/ 91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6" h="96">
                  <a:moveTo>
                    <a:pt x="66" y="91"/>
                  </a:moveTo>
                  <a:cubicBezTo>
                    <a:pt x="66" y="45"/>
                    <a:pt x="66" y="45"/>
                    <a:pt x="66" y="45"/>
                  </a:cubicBezTo>
                  <a:cubicBezTo>
                    <a:pt x="66" y="41"/>
                    <a:pt x="63" y="36"/>
                    <a:pt x="59" y="34"/>
                  </a:cubicBezTo>
                  <a:cubicBezTo>
                    <a:pt x="6" y="1"/>
                    <a:pt x="6" y="1"/>
                    <a:pt x="6" y="1"/>
                  </a:cubicBezTo>
                  <a:cubicBezTo>
                    <a:pt x="4" y="0"/>
                    <a:pt x="3" y="0"/>
                    <a:pt x="2" y="1"/>
                  </a:cubicBezTo>
                  <a:cubicBezTo>
                    <a:pt x="0" y="1"/>
                    <a:pt x="0" y="3"/>
                    <a:pt x="0" y="5"/>
                  </a:cubicBezTo>
                  <a:cubicBezTo>
                    <a:pt x="0" y="51"/>
                    <a:pt x="0" y="51"/>
                    <a:pt x="0" y="51"/>
                  </a:cubicBezTo>
                  <a:cubicBezTo>
                    <a:pt x="0" y="55"/>
                    <a:pt x="2" y="60"/>
                    <a:pt x="6" y="62"/>
                  </a:cubicBezTo>
                  <a:cubicBezTo>
                    <a:pt x="59" y="95"/>
                    <a:pt x="59" y="95"/>
                    <a:pt x="59" y="95"/>
                  </a:cubicBezTo>
                  <a:cubicBezTo>
                    <a:pt x="61" y="96"/>
                    <a:pt x="63" y="96"/>
                    <a:pt x="64" y="95"/>
                  </a:cubicBezTo>
                  <a:cubicBezTo>
                    <a:pt x="65" y="94"/>
                    <a:pt x="66" y="93"/>
                    <a:pt x="66" y="91"/>
                  </a:cubicBezTo>
                  <a:close/>
                </a:path>
              </a:pathLst>
            </a:custGeom>
            <a:solidFill>
              <a:srgbClr val="99999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94" name="îsḷîḓè">
              <a:extLst>
                <a:ext uri="{FF2B5EF4-FFF2-40B4-BE49-F238E27FC236}">
                  <a16:creationId xmlns:a16="http://schemas.microsoft.com/office/drawing/2014/main" id="{51B33BEF-764D-4FEC-9313-6F63D683E51E}"/>
                </a:ext>
              </a:extLst>
            </p:cNvPr>
            <p:cNvSpPr/>
            <p:nvPr/>
          </p:nvSpPr>
          <p:spPr bwMode="auto">
            <a:xfrm>
              <a:off x="6659563" y="3502026"/>
              <a:ext cx="90488" cy="130175"/>
            </a:xfrm>
            <a:custGeom>
              <a:avLst/>
              <a:gdLst>
                <a:gd name="T0" fmla="*/ 63 w 69"/>
                <a:gd name="T1" fmla="*/ 34 h 98"/>
                <a:gd name="T2" fmla="*/ 10 w 69"/>
                <a:gd name="T3" fmla="*/ 1 h 98"/>
                <a:gd name="T4" fmla="*/ 5 w 69"/>
                <a:gd name="T5" fmla="*/ 1 h 98"/>
                <a:gd name="T6" fmla="*/ 0 w 69"/>
                <a:gd name="T7" fmla="*/ 4 h 98"/>
                <a:gd name="T8" fmla="*/ 0 w 69"/>
                <a:gd name="T9" fmla="*/ 4 h 98"/>
                <a:gd name="T10" fmla="*/ 4 w 69"/>
                <a:gd name="T11" fmla="*/ 4 h 98"/>
                <a:gd name="T12" fmla="*/ 58 w 69"/>
                <a:gd name="T13" fmla="*/ 37 h 98"/>
                <a:gd name="T14" fmla="*/ 64 w 69"/>
                <a:gd name="T15" fmla="*/ 48 h 98"/>
                <a:gd name="T16" fmla="*/ 64 w 69"/>
                <a:gd name="T17" fmla="*/ 94 h 98"/>
                <a:gd name="T18" fmla="*/ 62 w 69"/>
                <a:gd name="T19" fmla="*/ 98 h 98"/>
                <a:gd name="T20" fmla="*/ 62 w 69"/>
                <a:gd name="T21" fmla="*/ 98 h 98"/>
                <a:gd name="T22" fmla="*/ 67 w 69"/>
                <a:gd name="T23" fmla="*/ 95 h 98"/>
                <a:gd name="T24" fmla="*/ 67 w 69"/>
                <a:gd name="T25" fmla="*/ 95 h 98"/>
                <a:gd name="T26" fmla="*/ 69 w 69"/>
                <a:gd name="T27" fmla="*/ 91 h 98"/>
                <a:gd name="T28" fmla="*/ 69 w 69"/>
                <a:gd name="T29" fmla="*/ 45 h 98"/>
                <a:gd name="T30" fmla="*/ 63 w 69"/>
                <a:gd name="T31" fmla="*/ 34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9" h="98">
                  <a:moveTo>
                    <a:pt x="63" y="34"/>
                  </a:moveTo>
                  <a:cubicBezTo>
                    <a:pt x="10" y="1"/>
                    <a:pt x="10" y="1"/>
                    <a:pt x="10" y="1"/>
                  </a:cubicBezTo>
                  <a:cubicBezTo>
                    <a:pt x="8" y="0"/>
                    <a:pt x="6" y="0"/>
                    <a:pt x="5" y="1"/>
                  </a:cubicBezTo>
                  <a:cubicBezTo>
                    <a:pt x="0" y="4"/>
                    <a:pt x="0" y="4"/>
                    <a:pt x="0" y="4"/>
                  </a:cubicBezTo>
                  <a:cubicBezTo>
                    <a:pt x="0" y="4"/>
                    <a:pt x="0" y="4"/>
                    <a:pt x="0" y="4"/>
                  </a:cubicBezTo>
                  <a:cubicBezTo>
                    <a:pt x="1" y="3"/>
                    <a:pt x="3" y="3"/>
                    <a:pt x="4" y="4"/>
                  </a:cubicBezTo>
                  <a:cubicBezTo>
                    <a:pt x="58" y="37"/>
                    <a:pt x="58" y="37"/>
                    <a:pt x="58" y="37"/>
                  </a:cubicBezTo>
                  <a:cubicBezTo>
                    <a:pt x="61" y="39"/>
                    <a:pt x="64" y="44"/>
                    <a:pt x="64" y="48"/>
                  </a:cubicBezTo>
                  <a:cubicBezTo>
                    <a:pt x="64" y="94"/>
                    <a:pt x="64" y="94"/>
                    <a:pt x="64" y="94"/>
                  </a:cubicBezTo>
                  <a:cubicBezTo>
                    <a:pt x="64" y="96"/>
                    <a:pt x="63" y="98"/>
                    <a:pt x="62" y="98"/>
                  </a:cubicBezTo>
                  <a:cubicBezTo>
                    <a:pt x="62" y="98"/>
                    <a:pt x="62" y="98"/>
                    <a:pt x="62" y="98"/>
                  </a:cubicBezTo>
                  <a:cubicBezTo>
                    <a:pt x="67" y="95"/>
                    <a:pt x="67" y="95"/>
                    <a:pt x="67" y="95"/>
                  </a:cubicBezTo>
                  <a:cubicBezTo>
                    <a:pt x="67" y="95"/>
                    <a:pt x="67" y="95"/>
                    <a:pt x="67" y="95"/>
                  </a:cubicBezTo>
                  <a:cubicBezTo>
                    <a:pt x="69" y="95"/>
                    <a:pt x="69" y="93"/>
                    <a:pt x="69" y="91"/>
                  </a:cubicBezTo>
                  <a:cubicBezTo>
                    <a:pt x="69" y="45"/>
                    <a:pt x="69" y="45"/>
                    <a:pt x="69" y="45"/>
                  </a:cubicBezTo>
                  <a:cubicBezTo>
                    <a:pt x="69" y="41"/>
                    <a:pt x="66" y="36"/>
                    <a:pt x="63" y="34"/>
                  </a:cubicBez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95" name="iṥḻïḍé">
              <a:extLst>
                <a:ext uri="{FF2B5EF4-FFF2-40B4-BE49-F238E27FC236}">
                  <a16:creationId xmlns:a16="http://schemas.microsoft.com/office/drawing/2014/main" id="{2E34D2B5-61BB-4575-9F1B-67F82546728D}"/>
                </a:ext>
              </a:extLst>
            </p:cNvPr>
            <p:cNvSpPr/>
            <p:nvPr/>
          </p:nvSpPr>
          <p:spPr bwMode="auto">
            <a:xfrm>
              <a:off x="6656388" y="3506788"/>
              <a:ext cx="87313" cy="125413"/>
            </a:xfrm>
            <a:custGeom>
              <a:avLst/>
              <a:gdLst>
                <a:gd name="T0" fmla="*/ 66 w 66"/>
                <a:gd name="T1" fmla="*/ 91 h 96"/>
                <a:gd name="T2" fmla="*/ 66 w 66"/>
                <a:gd name="T3" fmla="*/ 45 h 96"/>
                <a:gd name="T4" fmla="*/ 60 w 66"/>
                <a:gd name="T5" fmla="*/ 34 h 96"/>
                <a:gd name="T6" fmla="*/ 6 w 66"/>
                <a:gd name="T7" fmla="*/ 1 h 96"/>
                <a:gd name="T8" fmla="*/ 2 w 66"/>
                <a:gd name="T9" fmla="*/ 1 h 96"/>
                <a:gd name="T10" fmla="*/ 0 w 66"/>
                <a:gd name="T11" fmla="*/ 5 h 96"/>
                <a:gd name="T12" fmla="*/ 0 w 66"/>
                <a:gd name="T13" fmla="*/ 51 h 96"/>
                <a:gd name="T14" fmla="*/ 6 w 66"/>
                <a:gd name="T15" fmla="*/ 62 h 96"/>
                <a:gd name="T16" fmla="*/ 60 w 66"/>
                <a:gd name="T17" fmla="*/ 95 h 96"/>
                <a:gd name="T18" fmla="*/ 64 w 66"/>
                <a:gd name="T19" fmla="*/ 95 h 96"/>
                <a:gd name="T20" fmla="*/ 66 w 66"/>
                <a:gd name="T21" fmla="*/ 91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6" h="96">
                  <a:moveTo>
                    <a:pt x="66" y="91"/>
                  </a:moveTo>
                  <a:cubicBezTo>
                    <a:pt x="66" y="45"/>
                    <a:pt x="66" y="45"/>
                    <a:pt x="66" y="45"/>
                  </a:cubicBezTo>
                  <a:cubicBezTo>
                    <a:pt x="66" y="41"/>
                    <a:pt x="63" y="36"/>
                    <a:pt x="60" y="34"/>
                  </a:cubicBezTo>
                  <a:cubicBezTo>
                    <a:pt x="6" y="1"/>
                    <a:pt x="6" y="1"/>
                    <a:pt x="6" y="1"/>
                  </a:cubicBezTo>
                  <a:cubicBezTo>
                    <a:pt x="5" y="0"/>
                    <a:pt x="3" y="0"/>
                    <a:pt x="2" y="1"/>
                  </a:cubicBezTo>
                  <a:cubicBezTo>
                    <a:pt x="1" y="1"/>
                    <a:pt x="0" y="3"/>
                    <a:pt x="0" y="5"/>
                  </a:cubicBezTo>
                  <a:cubicBezTo>
                    <a:pt x="0" y="51"/>
                    <a:pt x="0" y="51"/>
                    <a:pt x="0" y="51"/>
                  </a:cubicBezTo>
                  <a:cubicBezTo>
                    <a:pt x="0" y="55"/>
                    <a:pt x="3" y="60"/>
                    <a:pt x="6" y="62"/>
                  </a:cubicBezTo>
                  <a:cubicBezTo>
                    <a:pt x="60" y="95"/>
                    <a:pt x="60" y="95"/>
                    <a:pt x="60" y="95"/>
                  </a:cubicBezTo>
                  <a:cubicBezTo>
                    <a:pt x="61" y="96"/>
                    <a:pt x="63" y="96"/>
                    <a:pt x="64" y="95"/>
                  </a:cubicBezTo>
                  <a:cubicBezTo>
                    <a:pt x="65" y="95"/>
                    <a:pt x="66" y="93"/>
                    <a:pt x="66" y="91"/>
                  </a:cubicBezTo>
                  <a:close/>
                </a:path>
              </a:pathLst>
            </a:custGeom>
            <a:solidFill>
              <a:srgbClr val="99999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96" name="isliḓê">
              <a:extLst>
                <a:ext uri="{FF2B5EF4-FFF2-40B4-BE49-F238E27FC236}">
                  <a16:creationId xmlns:a16="http://schemas.microsoft.com/office/drawing/2014/main" id="{A5A30B6A-3BC4-4872-86DB-08A2749B4277}"/>
                </a:ext>
              </a:extLst>
            </p:cNvPr>
            <p:cNvSpPr/>
            <p:nvPr/>
          </p:nvSpPr>
          <p:spPr bwMode="auto">
            <a:xfrm>
              <a:off x="6784975" y="3582988"/>
              <a:ext cx="92075" cy="128588"/>
            </a:xfrm>
            <a:custGeom>
              <a:avLst/>
              <a:gdLst>
                <a:gd name="T0" fmla="*/ 63 w 69"/>
                <a:gd name="T1" fmla="*/ 33 h 98"/>
                <a:gd name="T2" fmla="*/ 10 w 69"/>
                <a:gd name="T3" fmla="*/ 1 h 98"/>
                <a:gd name="T4" fmla="*/ 5 w 69"/>
                <a:gd name="T5" fmla="*/ 0 h 98"/>
                <a:gd name="T6" fmla="*/ 0 w 69"/>
                <a:gd name="T7" fmla="*/ 3 h 98"/>
                <a:gd name="T8" fmla="*/ 0 w 69"/>
                <a:gd name="T9" fmla="*/ 3 h 98"/>
                <a:gd name="T10" fmla="*/ 5 w 69"/>
                <a:gd name="T11" fmla="*/ 4 h 98"/>
                <a:gd name="T12" fmla="*/ 58 w 69"/>
                <a:gd name="T13" fmla="*/ 36 h 98"/>
                <a:gd name="T14" fmla="*/ 64 w 69"/>
                <a:gd name="T15" fmla="*/ 48 h 98"/>
                <a:gd name="T16" fmla="*/ 64 w 69"/>
                <a:gd name="T17" fmla="*/ 94 h 98"/>
                <a:gd name="T18" fmla="*/ 62 w 69"/>
                <a:gd name="T19" fmla="*/ 98 h 98"/>
                <a:gd name="T20" fmla="*/ 62 w 69"/>
                <a:gd name="T21" fmla="*/ 98 h 98"/>
                <a:gd name="T22" fmla="*/ 68 w 69"/>
                <a:gd name="T23" fmla="*/ 95 h 98"/>
                <a:gd name="T24" fmla="*/ 68 w 69"/>
                <a:gd name="T25" fmla="*/ 95 h 98"/>
                <a:gd name="T26" fmla="*/ 69 w 69"/>
                <a:gd name="T27" fmla="*/ 91 h 98"/>
                <a:gd name="T28" fmla="*/ 69 w 69"/>
                <a:gd name="T29" fmla="*/ 45 h 98"/>
                <a:gd name="T30" fmla="*/ 63 w 69"/>
                <a:gd name="T31" fmla="*/ 33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9" h="98">
                  <a:moveTo>
                    <a:pt x="63" y="33"/>
                  </a:moveTo>
                  <a:cubicBezTo>
                    <a:pt x="10" y="1"/>
                    <a:pt x="10" y="1"/>
                    <a:pt x="10" y="1"/>
                  </a:cubicBezTo>
                  <a:cubicBezTo>
                    <a:pt x="8" y="0"/>
                    <a:pt x="6" y="0"/>
                    <a:pt x="5" y="0"/>
                  </a:cubicBezTo>
                  <a:cubicBezTo>
                    <a:pt x="0" y="3"/>
                    <a:pt x="0" y="3"/>
                    <a:pt x="0" y="3"/>
                  </a:cubicBezTo>
                  <a:cubicBezTo>
                    <a:pt x="0" y="3"/>
                    <a:pt x="0" y="3"/>
                    <a:pt x="0" y="3"/>
                  </a:cubicBezTo>
                  <a:cubicBezTo>
                    <a:pt x="1" y="3"/>
                    <a:pt x="3" y="3"/>
                    <a:pt x="5" y="4"/>
                  </a:cubicBezTo>
                  <a:cubicBezTo>
                    <a:pt x="58" y="36"/>
                    <a:pt x="58" y="36"/>
                    <a:pt x="58" y="36"/>
                  </a:cubicBezTo>
                  <a:cubicBezTo>
                    <a:pt x="61" y="39"/>
                    <a:pt x="64" y="44"/>
                    <a:pt x="64" y="48"/>
                  </a:cubicBezTo>
                  <a:cubicBezTo>
                    <a:pt x="64" y="94"/>
                    <a:pt x="64" y="94"/>
                    <a:pt x="64" y="94"/>
                  </a:cubicBezTo>
                  <a:cubicBezTo>
                    <a:pt x="64" y="96"/>
                    <a:pt x="63" y="97"/>
                    <a:pt x="62" y="98"/>
                  </a:cubicBezTo>
                  <a:cubicBezTo>
                    <a:pt x="62" y="98"/>
                    <a:pt x="62" y="98"/>
                    <a:pt x="62" y="98"/>
                  </a:cubicBezTo>
                  <a:cubicBezTo>
                    <a:pt x="68" y="95"/>
                    <a:pt x="68" y="95"/>
                    <a:pt x="68" y="95"/>
                  </a:cubicBezTo>
                  <a:cubicBezTo>
                    <a:pt x="68" y="95"/>
                    <a:pt x="68" y="95"/>
                    <a:pt x="68" y="95"/>
                  </a:cubicBezTo>
                  <a:cubicBezTo>
                    <a:pt x="69" y="94"/>
                    <a:pt x="69" y="93"/>
                    <a:pt x="69" y="91"/>
                  </a:cubicBezTo>
                  <a:cubicBezTo>
                    <a:pt x="69" y="45"/>
                    <a:pt x="69" y="45"/>
                    <a:pt x="69" y="45"/>
                  </a:cubicBezTo>
                  <a:cubicBezTo>
                    <a:pt x="69" y="41"/>
                    <a:pt x="67" y="36"/>
                    <a:pt x="63" y="33"/>
                  </a:cubicBez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97" name="ïṩlïḋê">
              <a:extLst>
                <a:ext uri="{FF2B5EF4-FFF2-40B4-BE49-F238E27FC236}">
                  <a16:creationId xmlns:a16="http://schemas.microsoft.com/office/drawing/2014/main" id="{000087FA-81BB-4288-B13C-B09FAC26C01B}"/>
                </a:ext>
              </a:extLst>
            </p:cNvPr>
            <p:cNvSpPr/>
            <p:nvPr/>
          </p:nvSpPr>
          <p:spPr bwMode="auto">
            <a:xfrm>
              <a:off x="6783388" y="3586163"/>
              <a:ext cx="85725" cy="125413"/>
            </a:xfrm>
            <a:custGeom>
              <a:avLst/>
              <a:gdLst>
                <a:gd name="T0" fmla="*/ 66 w 66"/>
                <a:gd name="T1" fmla="*/ 91 h 95"/>
                <a:gd name="T2" fmla="*/ 66 w 66"/>
                <a:gd name="T3" fmla="*/ 45 h 95"/>
                <a:gd name="T4" fmla="*/ 60 w 66"/>
                <a:gd name="T5" fmla="*/ 33 h 95"/>
                <a:gd name="T6" fmla="*/ 7 w 66"/>
                <a:gd name="T7" fmla="*/ 1 h 95"/>
                <a:gd name="T8" fmla="*/ 2 w 66"/>
                <a:gd name="T9" fmla="*/ 0 h 95"/>
                <a:gd name="T10" fmla="*/ 0 w 66"/>
                <a:gd name="T11" fmla="*/ 4 h 95"/>
                <a:gd name="T12" fmla="*/ 0 w 66"/>
                <a:gd name="T13" fmla="*/ 50 h 95"/>
                <a:gd name="T14" fmla="*/ 7 w 66"/>
                <a:gd name="T15" fmla="*/ 61 h 95"/>
                <a:gd name="T16" fmla="*/ 60 w 66"/>
                <a:gd name="T17" fmla="*/ 94 h 95"/>
                <a:gd name="T18" fmla="*/ 64 w 66"/>
                <a:gd name="T19" fmla="*/ 95 h 95"/>
                <a:gd name="T20" fmla="*/ 66 w 66"/>
                <a:gd name="T21" fmla="*/ 91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6" h="95">
                  <a:moveTo>
                    <a:pt x="66" y="91"/>
                  </a:moveTo>
                  <a:cubicBezTo>
                    <a:pt x="66" y="45"/>
                    <a:pt x="66" y="45"/>
                    <a:pt x="66" y="45"/>
                  </a:cubicBezTo>
                  <a:cubicBezTo>
                    <a:pt x="66" y="41"/>
                    <a:pt x="63" y="36"/>
                    <a:pt x="60" y="33"/>
                  </a:cubicBezTo>
                  <a:cubicBezTo>
                    <a:pt x="7" y="1"/>
                    <a:pt x="7" y="1"/>
                    <a:pt x="7" y="1"/>
                  </a:cubicBezTo>
                  <a:cubicBezTo>
                    <a:pt x="5" y="0"/>
                    <a:pt x="3" y="0"/>
                    <a:pt x="2" y="0"/>
                  </a:cubicBezTo>
                  <a:cubicBezTo>
                    <a:pt x="1" y="1"/>
                    <a:pt x="0" y="2"/>
                    <a:pt x="0" y="4"/>
                  </a:cubicBezTo>
                  <a:cubicBezTo>
                    <a:pt x="0" y="50"/>
                    <a:pt x="0" y="50"/>
                    <a:pt x="0" y="50"/>
                  </a:cubicBezTo>
                  <a:cubicBezTo>
                    <a:pt x="0" y="54"/>
                    <a:pt x="3" y="59"/>
                    <a:pt x="7" y="61"/>
                  </a:cubicBezTo>
                  <a:cubicBezTo>
                    <a:pt x="60" y="94"/>
                    <a:pt x="60" y="94"/>
                    <a:pt x="60" y="94"/>
                  </a:cubicBezTo>
                  <a:cubicBezTo>
                    <a:pt x="62" y="95"/>
                    <a:pt x="63" y="95"/>
                    <a:pt x="64" y="95"/>
                  </a:cubicBezTo>
                  <a:cubicBezTo>
                    <a:pt x="65" y="94"/>
                    <a:pt x="66" y="93"/>
                    <a:pt x="66" y="91"/>
                  </a:cubicBezTo>
                  <a:close/>
                </a:path>
              </a:pathLst>
            </a:custGeom>
            <a:solidFill>
              <a:srgbClr val="99999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98" name="íṡḷîḍè">
              <a:extLst>
                <a:ext uri="{FF2B5EF4-FFF2-40B4-BE49-F238E27FC236}">
                  <a16:creationId xmlns:a16="http://schemas.microsoft.com/office/drawing/2014/main" id="{F0F99E92-6A5F-487B-A1E2-9252EE380FE5}"/>
                </a:ext>
              </a:extLst>
            </p:cNvPr>
            <p:cNvSpPr/>
            <p:nvPr/>
          </p:nvSpPr>
          <p:spPr bwMode="auto">
            <a:xfrm>
              <a:off x="6911975" y="3662363"/>
              <a:ext cx="92075" cy="128588"/>
            </a:xfrm>
            <a:custGeom>
              <a:avLst/>
              <a:gdLst>
                <a:gd name="T0" fmla="*/ 63 w 70"/>
                <a:gd name="T1" fmla="*/ 34 h 98"/>
                <a:gd name="T2" fmla="*/ 10 w 70"/>
                <a:gd name="T3" fmla="*/ 1 h 98"/>
                <a:gd name="T4" fmla="*/ 5 w 70"/>
                <a:gd name="T5" fmla="*/ 1 h 98"/>
                <a:gd name="T6" fmla="*/ 0 w 70"/>
                <a:gd name="T7" fmla="*/ 4 h 98"/>
                <a:gd name="T8" fmla="*/ 0 w 70"/>
                <a:gd name="T9" fmla="*/ 4 h 98"/>
                <a:gd name="T10" fmla="*/ 5 w 70"/>
                <a:gd name="T11" fmla="*/ 4 h 98"/>
                <a:gd name="T12" fmla="*/ 58 w 70"/>
                <a:gd name="T13" fmla="*/ 37 h 98"/>
                <a:gd name="T14" fmla="*/ 64 w 70"/>
                <a:gd name="T15" fmla="*/ 48 h 98"/>
                <a:gd name="T16" fmla="*/ 64 w 70"/>
                <a:gd name="T17" fmla="*/ 94 h 98"/>
                <a:gd name="T18" fmla="*/ 62 w 70"/>
                <a:gd name="T19" fmla="*/ 98 h 98"/>
                <a:gd name="T20" fmla="*/ 62 w 70"/>
                <a:gd name="T21" fmla="*/ 98 h 98"/>
                <a:gd name="T22" fmla="*/ 68 w 70"/>
                <a:gd name="T23" fmla="*/ 95 h 98"/>
                <a:gd name="T24" fmla="*/ 68 w 70"/>
                <a:gd name="T25" fmla="*/ 95 h 98"/>
                <a:gd name="T26" fmla="*/ 70 w 70"/>
                <a:gd name="T27" fmla="*/ 91 h 98"/>
                <a:gd name="T28" fmla="*/ 70 w 70"/>
                <a:gd name="T29" fmla="*/ 45 h 98"/>
                <a:gd name="T30" fmla="*/ 63 w 70"/>
                <a:gd name="T31" fmla="*/ 34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0" h="98">
                  <a:moveTo>
                    <a:pt x="63" y="34"/>
                  </a:moveTo>
                  <a:cubicBezTo>
                    <a:pt x="10" y="1"/>
                    <a:pt x="10" y="1"/>
                    <a:pt x="10" y="1"/>
                  </a:cubicBezTo>
                  <a:cubicBezTo>
                    <a:pt x="8" y="0"/>
                    <a:pt x="6" y="0"/>
                    <a:pt x="5" y="1"/>
                  </a:cubicBezTo>
                  <a:cubicBezTo>
                    <a:pt x="0" y="4"/>
                    <a:pt x="0" y="4"/>
                    <a:pt x="0" y="4"/>
                  </a:cubicBezTo>
                  <a:cubicBezTo>
                    <a:pt x="0" y="4"/>
                    <a:pt x="0" y="4"/>
                    <a:pt x="0" y="4"/>
                  </a:cubicBezTo>
                  <a:cubicBezTo>
                    <a:pt x="1" y="3"/>
                    <a:pt x="3" y="3"/>
                    <a:pt x="5" y="4"/>
                  </a:cubicBezTo>
                  <a:cubicBezTo>
                    <a:pt x="58" y="37"/>
                    <a:pt x="58" y="37"/>
                    <a:pt x="58" y="37"/>
                  </a:cubicBezTo>
                  <a:cubicBezTo>
                    <a:pt x="62" y="39"/>
                    <a:pt x="64" y="44"/>
                    <a:pt x="64" y="48"/>
                  </a:cubicBezTo>
                  <a:cubicBezTo>
                    <a:pt x="64" y="94"/>
                    <a:pt x="64" y="94"/>
                    <a:pt x="64" y="94"/>
                  </a:cubicBezTo>
                  <a:cubicBezTo>
                    <a:pt x="64" y="96"/>
                    <a:pt x="64" y="97"/>
                    <a:pt x="62" y="98"/>
                  </a:cubicBezTo>
                  <a:cubicBezTo>
                    <a:pt x="62" y="98"/>
                    <a:pt x="62" y="98"/>
                    <a:pt x="62" y="98"/>
                  </a:cubicBezTo>
                  <a:cubicBezTo>
                    <a:pt x="68" y="95"/>
                    <a:pt x="68" y="95"/>
                    <a:pt x="68" y="95"/>
                  </a:cubicBezTo>
                  <a:cubicBezTo>
                    <a:pt x="68" y="95"/>
                    <a:pt x="68" y="95"/>
                    <a:pt x="68" y="95"/>
                  </a:cubicBezTo>
                  <a:cubicBezTo>
                    <a:pt x="69" y="94"/>
                    <a:pt x="70" y="93"/>
                    <a:pt x="70" y="91"/>
                  </a:cubicBezTo>
                  <a:cubicBezTo>
                    <a:pt x="70" y="45"/>
                    <a:pt x="70" y="45"/>
                    <a:pt x="70" y="45"/>
                  </a:cubicBezTo>
                  <a:cubicBezTo>
                    <a:pt x="70" y="41"/>
                    <a:pt x="67" y="36"/>
                    <a:pt x="63" y="34"/>
                  </a:cubicBez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99" name="iŝlidè">
              <a:extLst>
                <a:ext uri="{FF2B5EF4-FFF2-40B4-BE49-F238E27FC236}">
                  <a16:creationId xmlns:a16="http://schemas.microsoft.com/office/drawing/2014/main" id="{0F5AA412-1080-46BA-9F48-6BCFF11CD54E}"/>
                </a:ext>
              </a:extLst>
            </p:cNvPr>
            <p:cNvSpPr/>
            <p:nvPr/>
          </p:nvSpPr>
          <p:spPr bwMode="auto">
            <a:xfrm>
              <a:off x="6908800" y="3665538"/>
              <a:ext cx="87313" cy="127000"/>
            </a:xfrm>
            <a:custGeom>
              <a:avLst/>
              <a:gdLst>
                <a:gd name="T0" fmla="*/ 66 w 66"/>
                <a:gd name="T1" fmla="*/ 91 h 96"/>
                <a:gd name="T2" fmla="*/ 66 w 66"/>
                <a:gd name="T3" fmla="*/ 45 h 96"/>
                <a:gd name="T4" fmla="*/ 60 w 66"/>
                <a:gd name="T5" fmla="*/ 34 h 96"/>
                <a:gd name="T6" fmla="*/ 7 w 66"/>
                <a:gd name="T7" fmla="*/ 1 h 96"/>
                <a:gd name="T8" fmla="*/ 2 w 66"/>
                <a:gd name="T9" fmla="*/ 1 h 96"/>
                <a:gd name="T10" fmla="*/ 0 w 66"/>
                <a:gd name="T11" fmla="*/ 5 h 96"/>
                <a:gd name="T12" fmla="*/ 0 w 66"/>
                <a:gd name="T13" fmla="*/ 50 h 96"/>
                <a:gd name="T14" fmla="*/ 7 w 66"/>
                <a:gd name="T15" fmla="*/ 62 h 96"/>
                <a:gd name="T16" fmla="*/ 60 w 66"/>
                <a:gd name="T17" fmla="*/ 94 h 96"/>
                <a:gd name="T18" fmla="*/ 64 w 66"/>
                <a:gd name="T19" fmla="*/ 95 h 96"/>
                <a:gd name="T20" fmla="*/ 66 w 66"/>
                <a:gd name="T21" fmla="*/ 91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6" h="96">
                  <a:moveTo>
                    <a:pt x="66" y="91"/>
                  </a:moveTo>
                  <a:cubicBezTo>
                    <a:pt x="66" y="45"/>
                    <a:pt x="66" y="45"/>
                    <a:pt x="66" y="45"/>
                  </a:cubicBezTo>
                  <a:cubicBezTo>
                    <a:pt x="66" y="41"/>
                    <a:pt x="64" y="36"/>
                    <a:pt x="60" y="34"/>
                  </a:cubicBezTo>
                  <a:cubicBezTo>
                    <a:pt x="7" y="1"/>
                    <a:pt x="7" y="1"/>
                    <a:pt x="7" y="1"/>
                  </a:cubicBezTo>
                  <a:cubicBezTo>
                    <a:pt x="5" y="0"/>
                    <a:pt x="3" y="0"/>
                    <a:pt x="2" y="1"/>
                  </a:cubicBezTo>
                  <a:cubicBezTo>
                    <a:pt x="1" y="1"/>
                    <a:pt x="0" y="3"/>
                    <a:pt x="0" y="5"/>
                  </a:cubicBezTo>
                  <a:cubicBezTo>
                    <a:pt x="0" y="50"/>
                    <a:pt x="0" y="50"/>
                    <a:pt x="0" y="50"/>
                  </a:cubicBezTo>
                  <a:cubicBezTo>
                    <a:pt x="0" y="55"/>
                    <a:pt x="3" y="60"/>
                    <a:pt x="7" y="62"/>
                  </a:cubicBezTo>
                  <a:cubicBezTo>
                    <a:pt x="60" y="94"/>
                    <a:pt x="60" y="94"/>
                    <a:pt x="60" y="94"/>
                  </a:cubicBezTo>
                  <a:cubicBezTo>
                    <a:pt x="62" y="95"/>
                    <a:pt x="63" y="96"/>
                    <a:pt x="64" y="95"/>
                  </a:cubicBezTo>
                  <a:cubicBezTo>
                    <a:pt x="66" y="94"/>
                    <a:pt x="66" y="93"/>
                    <a:pt x="66" y="91"/>
                  </a:cubicBezTo>
                  <a:close/>
                </a:path>
              </a:pathLst>
            </a:custGeom>
            <a:solidFill>
              <a:srgbClr val="99999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00" name="iṧḻidê">
              <a:extLst>
                <a:ext uri="{FF2B5EF4-FFF2-40B4-BE49-F238E27FC236}">
                  <a16:creationId xmlns:a16="http://schemas.microsoft.com/office/drawing/2014/main" id="{F10784CD-8F49-462D-B420-7481BEEFD144}"/>
                </a:ext>
              </a:extLst>
            </p:cNvPr>
            <p:cNvSpPr/>
            <p:nvPr/>
          </p:nvSpPr>
          <p:spPr bwMode="auto">
            <a:xfrm>
              <a:off x="7038975" y="3740151"/>
              <a:ext cx="92075" cy="128588"/>
            </a:xfrm>
            <a:custGeom>
              <a:avLst/>
              <a:gdLst>
                <a:gd name="T0" fmla="*/ 63 w 70"/>
                <a:gd name="T1" fmla="*/ 34 h 98"/>
                <a:gd name="T2" fmla="*/ 10 w 70"/>
                <a:gd name="T3" fmla="*/ 2 h 98"/>
                <a:gd name="T4" fmla="*/ 5 w 70"/>
                <a:gd name="T5" fmla="*/ 1 h 98"/>
                <a:gd name="T6" fmla="*/ 0 w 70"/>
                <a:gd name="T7" fmla="*/ 4 h 98"/>
                <a:gd name="T8" fmla="*/ 1 w 70"/>
                <a:gd name="T9" fmla="*/ 4 h 98"/>
                <a:gd name="T10" fmla="*/ 5 w 70"/>
                <a:gd name="T11" fmla="*/ 5 h 98"/>
                <a:gd name="T12" fmla="*/ 58 w 70"/>
                <a:gd name="T13" fmla="*/ 37 h 98"/>
                <a:gd name="T14" fmla="*/ 65 w 70"/>
                <a:gd name="T15" fmla="*/ 48 h 98"/>
                <a:gd name="T16" fmla="*/ 65 w 70"/>
                <a:gd name="T17" fmla="*/ 94 h 98"/>
                <a:gd name="T18" fmla="*/ 63 w 70"/>
                <a:gd name="T19" fmla="*/ 98 h 98"/>
                <a:gd name="T20" fmla="*/ 63 w 70"/>
                <a:gd name="T21" fmla="*/ 98 h 98"/>
                <a:gd name="T22" fmla="*/ 68 w 70"/>
                <a:gd name="T23" fmla="*/ 95 h 98"/>
                <a:gd name="T24" fmla="*/ 68 w 70"/>
                <a:gd name="T25" fmla="*/ 95 h 98"/>
                <a:gd name="T26" fmla="*/ 70 w 70"/>
                <a:gd name="T27" fmla="*/ 91 h 98"/>
                <a:gd name="T28" fmla="*/ 70 w 70"/>
                <a:gd name="T29" fmla="*/ 46 h 98"/>
                <a:gd name="T30" fmla="*/ 63 w 70"/>
                <a:gd name="T31" fmla="*/ 34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0" h="98">
                  <a:moveTo>
                    <a:pt x="63" y="34"/>
                  </a:moveTo>
                  <a:cubicBezTo>
                    <a:pt x="10" y="2"/>
                    <a:pt x="10" y="2"/>
                    <a:pt x="10" y="2"/>
                  </a:cubicBezTo>
                  <a:cubicBezTo>
                    <a:pt x="8" y="0"/>
                    <a:pt x="7" y="0"/>
                    <a:pt x="5" y="1"/>
                  </a:cubicBezTo>
                  <a:cubicBezTo>
                    <a:pt x="0" y="4"/>
                    <a:pt x="0" y="4"/>
                    <a:pt x="0" y="4"/>
                  </a:cubicBezTo>
                  <a:cubicBezTo>
                    <a:pt x="1" y="4"/>
                    <a:pt x="1" y="4"/>
                    <a:pt x="1" y="4"/>
                  </a:cubicBezTo>
                  <a:cubicBezTo>
                    <a:pt x="2" y="3"/>
                    <a:pt x="3" y="3"/>
                    <a:pt x="5" y="5"/>
                  </a:cubicBezTo>
                  <a:cubicBezTo>
                    <a:pt x="58" y="37"/>
                    <a:pt x="58" y="37"/>
                    <a:pt x="58" y="37"/>
                  </a:cubicBezTo>
                  <a:cubicBezTo>
                    <a:pt x="62" y="39"/>
                    <a:pt x="65" y="44"/>
                    <a:pt x="65" y="48"/>
                  </a:cubicBezTo>
                  <a:cubicBezTo>
                    <a:pt x="65" y="94"/>
                    <a:pt x="65" y="94"/>
                    <a:pt x="65" y="94"/>
                  </a:cubicBezTo>
                  <a:cubicBezTo>
                    <a:pt x="65" y="96"/>
                    <a:pt x="64" y="98"/>
                    <a:pt x="63" y="98"/>
                  </a:cubicBezTo>
                  <a:cubicBezTo>
                    <a:pt x="63" y="98"/>
                    <a:pt x="63" y="98"/>
                    <a:pt x="63" y="98"/>
                  </a:cubicBezTo>
                  <a:cubicBezTo>
                    <a:pt x="68" y="95"/>
                    <a:pt x="68" y="95"/>
                    <a:pt x="68" y="95"/>
                  </a:cubicBezTo>
                  <a:cubicBezTo>
                    <a:pt x="68" y="95"/>
                    <a:pt x="68" y="95"/>
                    <a:pt x="68" y="95"/>
                  </a:cubicBezTo>
                  <a:cubicBezTo>
                    <a:pt x="69" y="95"/>
                    <a:pt x="70" y="93"/>
                    <a:pt x="70" y="91"/>
                  </a:cubicBezTo>
                  <a:cubicBezTo>
                    <a:pt x="70" y="46"/>
                    <a:pt x="70" y="46"/>
                    <a:pt x="70" y="46"/>
                  </a:cubicBezTo>
                  <a:cubicBezTo>
                    <a:pt x="70" y="41"/>
                    <a:pt x="67" y="36"/>
                    <a:pt x="63" y="34"/>
                  </a:cubicBez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01" name="îṥľîḍé">
              <a:extLst>
                <a:ext uri="{FF2B5EF4-FFF2-40B4-BE49-F238E27FC236}">
                  <a16:creationId xmlns:a16="http://schemas.microsoft.com/office/drawing/2014/main" id="{0BD64AB5-E9E8-4FAE-A54D-83704CE7A800}"/>
                </a:ext>
              </a:extLst>
            </p:cNvPr>
            <p:cNvSpPr/>
            <p:nvPr/>
          </p:nvSpPr>
          <p:spPr bwMode="auto">
            <a:xfrm>
              <a:off x="7037388" y="3744913"/>
              <a:ext cx="87313" cy="125413"/>
            </a:xfrm>
            <a:custGeom>
              <a:avLst/>
              <a:gdLst>
                <a:gd name="T0" fmla="*/ 66 w 66"/>
                <a:gd name="T1" fmla="*/ 91 h 96"/>
                <a:gd name="T2" fmla="*/ 66 w 66"/>
                <a:gd name="T3" fmla="*/ 45 h 96"/>
                <a:gd name="T4" fmla="*/ 59 w 66"/>
                <a:gd name="T5" fmla="*/ 34 h 96"/>
                <a:gd name="T6" fmla="*/ 6 w 66"/>
                <a:gd name="T7" fmla="*/ 2 h 96"/>
                <a:gd name="T8" fmla="*/ 2 w 66"/>
                <a:gd name="T9" fmla="*/ 1 h 96"/>
                <a:gd name="T10" fmla="*/ 0 w 66"/>
                <a:gd name="T11" fmla="*/ 5 h 96"/>
                <a:gd name="T12" fmla="*/ 0 w 66"/>
                <a:gd name="T13" fmla="*/ 51 h 96"/>
                <a:gd name="T14" fmla="*/ 6 w 66"/>
                <a:gd name="T15" fmla="*/ 62 h 96"/>
                <a:gd name="T16" fmla="*/ 59 w 66"/>
                <a:gd name="T17" fmla="*/ 95 h 96"/>
                <a:gd name="T18" fmla="*/ 64 w 66"/>
                <a:gd name="T19" fmla="*/ 95 h 96"/>
                <a:gd name="T20" fmla="*/ 66 w 66"/>
                <a:gd name="T21" fmla="*/ 91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6" h="96">
                  <a:moveTo>
                    <a:pt x="66" y="91"/>
                  </a:moveTo>
                  <a:cubicBezTo>
                    <a:pt x="66" y="45"/>
                    <a:pt x="66" y="45"/>
                    <a:pt x="66" y="45"/>
                  </a:cubicBezTo>
                  <a:cubicBezTo>
                    <a:pt x="66" y="41"/>
                    <a:pt x="63" y="36"/>
                    <a:pt x="59" y="34"/>
                  </a:cubicBezTo>
                  <a:cubicBezTo>
                    <a:pt x="6" y="2"/>
                    <a:pt x="6" y="2"/>
                    <a:pt x="6" y="2"/>
                  </a:cubicBezTo>
                  <a:cubicBezTo>
                    <a:pt x="4" y="0"/>
                    <a:pt x="3" y="0"/>
                    <a:pt x="2" y="1"/>
                  </a:cubicBezTo>
                  <a:cubicBezTo>
                    <a:pt x="0" y="2"/>
                    <a:pt x="0" y="3"/>
                    <a:pt x="0" y="5"/>
                  </a:cubicBezTo>
                  <a:cubicBezTo>
                    <a:pt x="0" y="51"/>
                    <a:pt x="0" y="51"/>
                    <a:pt x="0" y="51"/>
                  </a:cubicBezTo>
                  <a:cubicBezTo>
                    <a:pt x="0" y="55"/>
                    <a:pt x="2" y="60"/>
                    <a:pt x="6" y="62"/>
                  </a:cubicBezTo>
                  <a:cubicBezTo>
                    <a:pt x="59" y="95"/>
                    <a:pt x="59" y="95"/>
                    <a:pt x="59" y="95"/>
                  </a:cubicBezTo>
                  <a:cubicBezTo>
                    <a:pt x="61" y="96"/>
                    <a:pt x="63" y="96"/>
                    <a:pt x="64" y="95"/>
                  </a:cubicBezTo>
                  <a:cubicBezTo>
                    <a:pt x="65" y="95"/>
                    <a:pt x="66" y="93"/>
                    <a:pt x="66" y="91"/>
                  </a:cubicBezTo>
                  <a:close/>
                </a:path>
              </a:pathLst>
            </a:custGeom>
            <a:solidFill>
              <a:srgbClr val="99999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02" name="iSḷiḓè">
              <a:extLst>
                <a:ext uri="{FF2B5EF4-FFF2-40B4-BE49-F238E27FC236}">
                  <a16:creationId xmlns:a16="http://schemas.microsoft.com/office/drawing/2014/main" id="{FAD8031C-78F2-44D6-BE1C-0B8DDAC2E1C2}"/>
                </a:ext>
              </a:extLst>
            </p:cNvPr>
            <p:cNvSpPr/>
            <p:nvPr/>
          </p:nvSpPr>
          <p:spPr bwMode="auto">
            <a:xfrm>
              <a:off x="6659563" y="3619501"/>
              <a:ext cx="90488" cy="128588"/>
            </a:xfrm>
            <a:custGeom>
              <a:avLst/>
              <a:gdLst>
                <a:gd name="T0" fmla="*/ 63 w 69"/>
                <a:gd name="T1" fmla="*/ 33 h 98"/>
                <a:gd name="T2" fmla="*/ 10 w 69"/>
                <a:gd name="T3" fmla="*/ 1 h 98"/>
                <a:gd name="T4" fmla="*/ 5 w 69"/>
                <a:gd name="T5" fmla="*/ 0 h 98"/>
                <a:gd name="T6" fmla="*/ 0 w 69"/>
                <a:gd name="T7" fmla="*/ 3 h 98"/>
                <a:gd name="T8" fmla="*/ 0 w 69"/>
                <a:gd name="T9" fmla="*/ 3 h 98"/>
                <a:gd name="T10" fmla="*/ 4 w 69"/>
                <a:gd name="T11" fmla="*/ 4 h 98"/>
                <a:gd name="T12" fmla="*/ 58 w 69"/>
                <a:gd name="T13" fmla="*/ 36 h 98"/>
                <a:gd name="T14" fmla="*/ 64 w 69"/>
                <a:gd name="T15" fmla="*/ 48 h 98"/>
                <a:gd name="T16" fmla="*/ 64 w 69"/>
                <a:gd name="T17" fmla="*/ 93 h 98"/>
                <a:gd name="T18" fmla="*/ 62 w 69"/>
                <a:gd name="T19" fmla="*/ 98 h 98"/>
                <a:gd name="T20" fmla="*/ 62 w 69"/>
                <a:gd name="T21" fmla="*/ 98 h 98"/>
                <a:gd name="T22" fmla="*/ 67 w 69"/>
                <a:gd name="T23" fmla="*/ 95 h 98"/>
                <a:gd name="T24" fmla="*/ 67 w 69"/>
                <a:gd name="T25" fmla="*/ 95 h 98"/>
                <a:gd name="T26" fmla="*/ 69 w 69"/>
                <a:gd name="T27" fmla="*/ 90 h 98"/>
                <a:gd name="T28" fmla="*/ 69 w 69"/>
                <a:gd name="T29" fmla="*/ 45 h 98"/>
                <a:gd name="T30" fmla="*/ 63 w 69"/>
                <a:gd name="T31" fmla="*/ 33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9" h="98">
                  <a:moveTo>
                    <a:pt x="63" y="33"/>
                  </a:moveTo>
                  <a:cubicBezTo>
                    <a:pt x="10" y="1"/>
                    <a:pt x="10" y="1"/>
                    <a:pt x="10" y="1"/>
                  </a:cubicBezTo>
                  <a:cubicBezTo>
                    <a:pt x="8" y="0"/>
                    <a:pt x="6" y="0"/>
                    <a:pt x="5" y="0"/>
                  </a:cubicBezTo>
                  <a:cubicBezTo>
                    <a:pt x="0" y="3"/>
                    <a:pt x="0" y="3"/>
                    <a:pt x="0" y="3"/>
                  </a:cubicBezTo>
                  <a:cubicBezTo>
                    <a:pt x="0" y="3"/>
                    <a:pt x="0" y="3"/>
                    <a:pt x="0" y="3"/>
                  </a:cubicBezTo>
                  <a:cubicBezTo>
                    <a:pt x="1" y="3"/>
                    <a:pt x="3" y="3"/>
                    <a:pt x="4" y="4"/>
                  </a:cubicBezTo>
                  <a:cubicBezTo>
                    <a:pt x="58" y="36"/>
                    <a:pt x="58" y="36"/>
                    <a:pt x="58" y="36"/>
                  </a:cubicBezTo>
                  <a:cubicBezTo>
                    <a:pt x="61" y="38"/>
                    <a:pt x="64" y="44"/>
                    <a:pt x="64" y="48"/>
                  </a:cubicBezTo>
                  <a:cubicBezTo>
                    <a:pt x="64" y="93"/>
                    <a:pt x="64" y="93"/>
                    <a:pt x="64" y="93"/>
                  </a:cubicBezTo>
                  <a:cubicBezTo>
                    <a:pt x="64" y="96"/>
                    <a:pt x="63" y="97"/>
                    <a:pt x="62" y="98"/>
                  </a:cubicBezTo>
                  <a:cubicBezTo>
                    <a:pt x="62" y="98"/>
                    <a:pt x="62" y="98"/>
                    <a:pt x="62" y="98"/>
                  </a:cubicBezTo>
                  <a:cubicBezTo>
                    <a:pt x="67" y="95"/>
                    <a:pt x="67" y="95"/>
                    <a:pt x="67" y="95"/>
                  </a:cubicBezTo>
                  <a:cubicBezTo>
                    <a:pt x="67" y="95"/>
                    <a:pt x="67" y="95"/>
                    <a:pt x="67" y="95"/>
                  </a:cubicBezTo>
                  <a:cubicBezTo>
                    <a:pt x="69" y="94"/>
                    <a:pt x="69" y="92"/>
                    <a:pt x="69" y="90"/>
                  </a:cubicBezTo>
                  <a:cubicBezTo>
                    <a:pt x="69" y="45"/>
                    <a:pt x="69" y="45"/>
                    <a:pt x="69" y="45"/>
                  </a:cubicBezTo>
                  <a:cubicBezTo>
                    <a:pt x="69" y="41"/>
                    <a:pt x="66" y="36"/>
                    <a:pt x="63" y="33"/>
                  </a:cubicBez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03" name="ïŝḷïḋè">
              <a:extLst>
                <a:ext uri="{FF2B5EF4-FFF2-40B4-BE49-F238E27FC236}">
                  <a16:creationId xmlns:a16="http://schemas.microsoft.com/office/drawing/2014/main" id="{D0335E86-BAC8-4EFA-A5CA-53962D497720}"/>
                </a:ext>
              </a:extLst>
            </p:cNvPr>
            <p:cNvSpPr/>
            <p:nvPr/>
          </p:nvSpPr>
          <p:spPr bwMode="auto">
            <a:xfrm>
              <a:off x="6656388" y="3624263"/>
              <a:ext cx="87313" cy="123825"/>
            </a:xfrm>
            <a:custGeom>
              <a:avLst/>
              <a:gdLst>
                <a:gd name="T0" fmla="*/ 66 w 66"/>
                <a:gd name="T1" fmla="*/ 90 h 95"/>
                <a:gd name="T2" fmla="*/ 66 w 66"/>
                <a:gd name="T3" fmla="*/ 45 h 95"/>
                <a:gd name="T4" fmla="*/ 60 w 66"/>
                <a:gd name="T5" fmla="*/ 33 h 95"/>
                <a:gd name="T6" fmla="*/ 6 w 66"/>
                <a:gd name="T7" fmla="*/ 1 h 95"/>
                <a:gd name="T8" fmla="*/ 2 w 66"/>
                <a:gd name="T9" fmla="*/ 0 h 95"/>
                <a:gd name="T10" fmla="*/ 0 w 66"/>
                <a:gd name="T11" fmla="*/ 4 h 95"/>
                <a:gd name="T12" fmla="*/ 0 w 66"/>
                <a:gd name="T13" fmla="*/ 50 h 95"/>
                <a:gd name="T14" fmla="*/ 6 w 66"/>
                <a:gd name="T15" fmla="*/ 61 h 95"/>
                <a:gd name="T16" fmla="*/ 60 w 66"/>
                <a:gd name="T17" fmla="*/ 94 h 95"/>
                <a:gd name="T18" fmla="*/ 64 w 66"/>
                <a:gd name="T19" fmla="*/ 95 h 95"/>
                <a:gd name="T20" fmla="*/ 66 w 66"/>
                <a:gd name="T21" fmla="*/ 9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6" h="95">
                  <a:moveTo>
                    <a:pt x="66" y="90"/>
                  </a:moveTo>
                  <a:cubicBezTo>
                    <a:pt x="66" y="45"/>
                    <a:pt x="66" y="45"/>
                    <a:pt x="66" y="45"/>
                  </a:cubicBezTo>
                  <a:cubicBezTo>
                    <a:pt x="66" y="41"/>
                    <a:pt x="63" y="35"/>
                    <a:pt x="60" y="33"/>
                  </a:cubicBezTo>
                  <a:cubicBezTo>
                    <a:pt x="6" y="1"/>
                    <a:pt x="6" y="1"/>
                    <a:pt x="6" y="1"/>
                  </a:cubicBezTo>
                  <a:cubicBezTo>
                    <a:pt x="5" y="0"/>
                    <a:pt x="3" y="0"/>
                    <a:pt x="2" y="0"/>
                  </a:cubicBezTo>
                  <a:cubicBezTo>
                    <a:pt x="1" y="1"/>
                    <a:pt x="0" y="2"/>
                    <a:pt x="0" y="4"/>
                  </a:cubicBezTo>
                  <a:cubicBezTo>
                    <a:pt x="0" y="50"/>
                    <a:pt x="0" y="50"/>
                    <a:pt x="0" y="50"/>
                  </a:cubicBezTo>
                  <a:cubicBezTo>
                    <a:pt x="0" y="54"/>
                    <a:pt x="3" y="59"/>
                    <a:pt x="6" y="61"/>
                  </a:cubicBezTo>
                  <a:cubicBezTo>
                    <a:pt x="60" y="94"/>
                    <a:pt x="60" y="94"/>
                    <a:pt x="60" y="94"/>
                  </a:cubicBezTo>
                  <a:cubicBezTo>
                    <a:pt x="61" y="95"/>
                    <a:pt x="63" y="95"/>
                    <a:pt x="64" y="95"/>
                  </a:cubicBezTo>
                  <a:cubicBezTo>
                    <a:pt x="65" y="94"/>
                    <a:pt x="66" y="93"/>
                    <a:pt x="66" y="90"/>
                  </a:cubicBezTo>
                  <a:close/>
                </a:path>
              </a:pathLst>
            </a:custGeom>
            <a:solidFill>
              <a:srgbClr val="99999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04" name="îṡlîḑé">
              <a:extLst>
                <a:ext uri="{FF2B5EF4-FFF2-40B4-BE49-F238E27FC236}">
                  <a16:creationId xmlns:a16="http://schemas.microsoft.com/office/drawing/2014/main" id="{1EE8F3AF-9610-48A0-8929-3908F7C9918B}"/>
                </a:ext>
              </a:extLst>
            </p:cNvPr>
            <p:cNvSpPr/>
            <p:nvPr/>
          </p:nvSpPr>
          <p:spPr bwMode="auto">
            <a:xfrm>
              <a:off x="6784975" y="3698876"/>
              <a:ext cx="92075" cy="128588"/>
            </a:xfrm>
            <a:custGeom>
              <a:avLst/>
              <a:gdLst>
                <a:gd name="T0" fmla="*/ 63 w 69"/>
                <a:gd name="T1" fmla="*/ 34 h 98"/>
                <a:gd name="T2" fmla="*/ 10 w 69"/>
                <a:gd name="T3" fmla="*/ 1 h 98"/>
                <a:gd name="T4" fmla="*/ 5 w 69"/>
                <a:gd name="T5" fmla="*/ 1 h 98"/>
                <a:gd name="T6" fmla="*/ 0 w 69"/>
                <a:gd name="T7" fmla="*/ 3 h 98"/>
                <a:gd name="T8" fmla="*/ 0 w 69"/>
                <a:gd name="T9" fmla="*/ 3 h 98"/>
                <a:gd name="T10" fmla="*/ 5 w 69"/>
                <a:gd name="T11" fmla="*/ 4 h 98"/>
                <a:gd name="T12" fmla="*/ 58 w 69"/>
                <a:gd name="T13" fmla="*/ 37 h 98"/>
                <a:gd name="T14" fmla="*/ 64 w 69"/>
                <a:gd name="T15" fmla="*/ 48 h 98"/>
                <a:gd name="T16" fmla="*/ 64 w 69"/>
                <a:gd name="T17" fmla="*/ 94 h 98"/>
                <a:gd name="T18" fmla="*/ 62 w 69"/>
                <a:gd name="T19" fmla="*/ 98 h 98"/>
                <a:gd name="T20" fmla="*/ 62 w 69"/>
                <a:gd name="T21" fmla="*/ 98 h 98"/>
                <a:gd name="T22" fmla="*/ 68 w 69"/>
                <a:gd name="T23" fmla="*/ 95 h 98"/>
                <a:gd name="T24" fmla="*/ 68 w 69"/>
                <a:gd name="T25" fmla="*/ 95 h 98"/>
                <a:gd name="T26" fmla="*/ 69 w 69"/>
                <a:gd name="T27" fmla="*/ 91 h 98"/>
                <a:gd name="T28" fmla="*/ 69 w 69"/>
                <a:gd name="T29" fmla="*/ 45 h 98"/>
                <a:gd name="T30" fmla="*/ 63 w 69"/>
                <a:gd name="T31" fmla="*/ 34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9" h="98">
                  <a:moveTo>
                    <a:pt x="63" y="34"/>
                  </a:moveTo>
                  <a:cubicBezTo>
                    <a:pt x="10" y="1"/>
                    <a:pt x="10" y="1"/>
                    <a:pt x="10" y="1"/>
                  </a:cubicBezTo>
                  <a:cubicBezTo>
                    <a:pt x="8" y="0"/>
                    <a:pt x="6" y="0"/>
                    <a:pt x="5" y="1"/>
                  </a:cubicBezTo>
                  <a:cubicBezTo>
                    <a:pt x="0" y="3"/>
                    <a:pt x="0" y="3"/>
                    <a:pt x="0" y="3"/>
                  </a:cubicBezTo>
                  <a:cubicBezTo>
                    <a:pt x="0" y="3"/>
                    <a:pt x="0" y="3"/>
                    <a:pt x="0" y="3"/>
                  </a:cubicBezTo>
                  <a:cubicBezTo>
                    <a:pt x="1" y="3"/>
                    <a:pt x="3" y="3"/>
                    <a:pt x="5" y="4"/>
                  </a:cubicBezTo>
                  <a:cubicBezTo>
                    <a:pt x="58" y="37"/>
                    <a:pt x="58" y="37"/>
                    <a:pt x="58" y="37"/>
                  </a:cubicBezTo>
                  <a:cubicBezTo>
                    <a:pt x="61" y="39"/>
                    <a:pt x="64" y="44"/>
                    <a:pt x="64" y="48"/>
                  </a:cubicBezTo>
                  <a:cubicBezTo>
                    <a:pt x="64" y="94"/>
                    <a:pt x="64" y="94"/>
                    <a:pt x="64" y="94"/>
                  </a:cubicBezTo>
                  <a:cubicBezTo>
                    <a:pt x="64" y="96"/>
                    <a:pt x="63" y="97"/>
                    <a:pt x="62" y="98"/>
                  </a:cubicBezTo>
                  <a:cubicBezTo>
                    <a:pt x="62" y="98"/>
                    <a:pt x="62" y="98"/>
                    <a:pt x="62" y="98"/>
                  </a:cubicBezTo>
                  <a:cubicBezTo>
                    <a:pt x="68" y="95"/>
                    <a:pt x="68" y="95"/>
                    <a:pt x="68" y="95"/>
                  </a:cubicBezTo>
                  <a:cubicBezTo>
                    <a:pt x="68" y="95"/>
                    <a:pt x="68" y="95"/>
                    <a:pt x="68" y="95"/>
                  </a:cubicBezTo>
                  <a:cubicBezTo>
                    <a:pt x="69" y="94"/>
                    <a:pt x="69" y="93"/>
                    <a:pt x="69" y="91"/>
                  </a:cubicBezTo>
                  <a:cubicBezTo>
                    <a:pt x="69" y="45"/>
                    <a:pt x="69" y="45"/>
                    <a:pt x="69" y="45"/>
                  </a:cubicBezTo>
                  <a:cubicBezTo>
                    <a:pt x="69" y="41"/>
                    <a:pt x="67" y="36"/>
                    <a:pt x="63" y="34"/>
                  </a:cubicBez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05" name="íş1ïdê">
              <a:extLst>
                <a:ext uri="{FF2B5EF4-FFF2-40B4-BE49-F238E27FC236}">
                  <a16:creationId xmlns:a16="http://schemas.microsoft.com/office/drawing/2014/main" id="{26673ABB-52CB-443D-9A30-4D2055D0E260}"/>
                </a:ext>
              </a:extLst>
            </p:cNvPr>
            <p:cNvSpPr/>
            <p:nvPr/>
          </p:nvSpPr>
          <p:spPr bwMode="auto">
            <a:xfrm>
              <a:off x="6783388" y="3702051"/>
              <a:ext cx="85725" cy="127000"/>
            </a:xfrm>
            <a:custGeom>
              <a:avLst/>
              <a:gdLst>
                <a:gd name="T0" fmla="*/ 66 w 66"/>
                <a:gd name="T1" fmla="*/ 91 h 96"/>
                <a:gd name="T2" fmla="*/ 66 w 66"/>
                <a:gd name="T3" fmla="*/ 45 h 96"/>
                <a:gd name="T4" fmla="*/ 60 w 66"/>
                <a:gd name="T5" fmla="*/ 34 h 96"/>
                <a:gd name="T6" fmla="*/ 7 w 66"/>
                <a:gd name="T7" fmla="*/ 1 h 96"/>
                <a:gd name="T8" fmla="*/ 2 w 66"/>
                <a:gd name="T9" fmla="*/ 0 h 96"/>
                <a:gd name="T10" fmla="*/ 0 w 66"/>
                <a:gd name="T11" fmla="*/ 5 h 96"/>
                <a:gd name="T12" fmla="*/ 0 w 66"/>
                <a:gd name="T13" fmla="*/ 50 h 96"/>
                <a:gd name="T14" fmla="*/ 7 w 66"/>
                <a:gd name="T15" fmla="*/ 62 h 96"/>
                <a:gd name="T16" fmla="*/ 60 w 66"/>
                <a:gd name="T17" fmla="*/ 94 h 96"/>
                <a:gd name="T18" fmla="*/ 64 w 66"/>
                <a:gd name="T19" fmla="*/ 95 h 96"/>
                <a:gd name="T20" fmla="*/ 66 w 66"/>
                <a:gd name="T21" fmla="*/ 91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6" h="96">
                  <a:moveTo>
                    <a:pt x="66" y="91"/>
                  </a:moveTo>
                  <a:cubicBezTo>
                    <a:pt x="66" y="45"/>
                    <a:pt x="66" y="45"/>
                    <a:pt x="66" y="45"/>
                  </a:cubicBezTo>
                  <a:cubicBezTo>
                    <a:pt x="66" y="41"/>
                    <a:pt x="63" y="36"/>
                    <a:pt x="60" y="34"/>
                  </a:cubicBezTo>
                  <a:cubicBezTo>
                    <a:pt x="7" y="1"/>
                    <a:pt x="7" y="1"/>
                    <a:pt x="7" y="1"/>
                  </a:cubicBezTo>
                  <a:cubicBezTo>
                    <a:pt x="5" y="0"/>
                    <a:pt x="3" y="0"/>
                    <a:pt x="2" y="0"/>
                  </a:cubicBezTo>
                  <a:cubicBezTo>
                    <a:pt x="1" y="1"/>
                    <a:pt x="0" y="2"/>
                    <a:pt x="0" y="5"/>
                  </a:cubicBezTo>
                  <a:cubicBezTo>
                    <a:pt x="0" y="50"/>
                    <a:pt x="0" y="50"/>
                    <a:pt x="0" y="50"/>
                  </a:cubicBezTo>
                  <a:cubicBezTo>
                    <a:pt x="0" y="54"/>
                    <a:pt x="3" y="60"/>
                    <a:pt x="7" y="62"/>
                  </a:cubicBezTo>
                  <a:cubicBezTo>
                    <a:pt x="60" y="94"/>
                    <a:pt x="60" y="94"/>
                    <a:pt x="60" y="94"/>
                  </a:cubicBezTo>
                  <a:cubicBezTo>
                    <a:pt x="62" y="95"/>
                    <a:pt x="63" y="96"/>
                    <a:pt x="64" y="95"/>
                  </a:cubicBezTo>
                  <a:cubicBezTo>
                    <a:pt x="65" y="94"/>
                    <a:pt x="66" y="93"/>
                    <a:pt x="66" y="91"/>
                  </a:cubicBezTo>
                  <a:close/>
                </a:path>
              </a:pathLst>
            </a:custGeom>
            <a:solidFill>
              <a:srgbClr val="99999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06" name="ïṣľiḍé">
              <a:extLst>
                <a:ext uri="{FF2B5EF4-FFF2-40B4-BE49-F238E27FC236}">
                  <a16:creationId xmlns:a16="http://schemas.microsoft.com/office/drawing/2014/main" id="{2FDA6BDA-86FD-43CE-A1D1-0735786289D8}"/>
                </a:ext>
              </a:extLst>
            </p:cNvPr>
            <p:cNvSpPr/>
            <p:nvPr/>
          </p:nvSpPr>
          <p:spPr bwMode="auto">
            <a:xfrm>
              <a:off x="6911975" y="3776663"/>
              <a:ext cx="92075" cy="130175"/>
            </a:xfrm>
            <a:custGeom>
              <a:avLst/>
              <a:gdLst>
                <a:gd name="T0" fmla="*/ 63 w 70"/>
                <a:gd name="T1" fmla="*/ 34 h 98"/>
                <a:gd name="T2" fmla="*/ 10 w 70"/>
                <a:gd name="T3" fmla="*/ 1 h 98"/>
                <a:gd name="T4" fmla="*/ 5 w 70"/>
                <a:gd name="T5" fmla="*/ 1 h 98"/>
                <a:gd name="T6" fmla="*/ 0 w 70"/>
                <a:gd name="T7" fmla="*/ 4 h 98"/>
                <a:gd name="T8" fmla="*/ 0 w 70"/>
                <a:gd name="T9" fmla="*/ 4 h 98"/>
                <a:gd name="T10" fmla="*/ 5 w 70"/>
                <a:gd name="T11" fmla="*/ 4 h 98"/>
                <a:gd name="T12" fmla="*/ 58 w 70"/>
                <a:gd name="T13" fmla="*/ 37 h 98"/>
                <a:gd name="T14" fmla="*/ 64 w 70"/>
                <a:gd name="T15" fmla="*/ 48 h 98"/>
                <a:gd name="T16" fmla="*/ 64 w 70"/>
                <a:gd name="T17" fmla="*/ 94 h 98"/>
                <a:gd name="T18" fmla="*/ 62 w 70"/>
                <a:gd name="T19" fmla="*/ 98 h 98"/>
                <a:gd name="T20" fmla="*/ 62 w 70"/>
                <a:gd name="T21" fmla="*/ 98 h 98"/>
                <a:gd name="T22" fmla="*/ 68 w 70"/>
                <a:gd name="T23" fmla="*/ 95 h 98"/>
                <a:gd name="T24" fmla="*/ 68 w 70"/>
                <a:gd name="T25" fmla="*/ 95 h 98"/>
                <a:gd name="T26" fmla="*/ 70 w 70"/>
                <a:gd name="T27" fmla="*/ 91 h 98"/>
                <a:gd name="T28" fmla="*/ 70 w 70"/>
                <a:gd name="T29" fmla="*/ 45 h 98"/>
                <a:gd name="T30" fmla="*/ 63 w 70"/>
                <a:gd name="T31" fmla="*/ 34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0" h="98">
                  <a:moveTo>
                    <a:pt x="63" y="34"/>
                  </a:moveTo>
                  <a:cubicBezTo>
                    <a:pt x="10" y="1"/>
                    <a:pt x="10" y="1"/>
                    <a:pt x="10" y="1"/>
                  </a:cubicBezTo>
                  <a:cubicBezTo>
                    <a:pt x="8" y="0"/>
                    <a:pt x="6" y="0"/>
                    <a:pt x="5" y="1"/>
                  </a:cubicBezTo>
                  <a:cubicBezTo>
                    <a:pt x="0" y="4"/>
                    <a:pt x="0" y="4"/>
                    <a:pt x="0" y="4"/>
                  </a:cubicBezTo>
                  <a:cubicBezTo>
                    <a:pt x="0" y="4"/>
                    <a:pt x="0" y="4"/>
                    <a:pt x="0" y="4"/>
                  </a:cubicBezTo>
                  <a:cubicBezTo>
                    <a:pt x="1" y="3"/>
                    <a:pt x="3" y="3"/>
                    <a:pt x="5" y="4"/>
                  </a:cubicBezTo>
                  <a:cubicBezTo>
                    <a:pt x="58" y="37"/>
                    <a:pt x="58" y="37"/>
                    <a:pt x="58" y="37"/>
                  </a:cubicBezTo>
                  <a:cubicBezTo>
                    <a:pt x="62" y="39"/>
                    <a:pt x="64" y="44"/>
                    <a:pt x="64" y="48"/>
                  </a:cubicBezTo>
                  <a:cubicBezTo>
                    <a:pt x="64" y="94"/>
                    <a:pt x="64" y="94"/>
                    <a:pt x="64" y="94"/>
                  </a:cubicBezTo>
                  <a:cubicBezTo>
                    <a:pt x="64" y="96"/>
                    <a:pt x="64" y="98"/>
                    <a:pt x="62" y="98"/>
                  </a:cubicBezTo>
                  <a:cubicBezTo>
                    <a:pt x="62" y="98"/>
                    <a:pt x="62" y="98"/>
                    <a:pt x="62" y="98"/>
                  </a:cubicBezTo>
                  <a:cubicBezTo>
                    <a:pt x="68" y="95"/>
                    <a:pt x="68" y="95"/>
                    <a:pt x="68" y="95"/>
                  </a:cubicBezTo>
                  <a:cubicBezTo>
                    <a:pt x="68" y="95"/>
                    <a:pt x="68" y="95"/>
                    <a:pt x="68" y="95"/>
                  </a:cubicBezTo>
                  <a:cubicBezTo>
                    <a:pt x="69" y="95"/>
                    <a:pt x="70" y="93"/>
                    <a:pt x="70" y="91"/>
                  </a:cubicBezTo>
                  <a:cubicBezTo>
                    <a:pt x="70" y="45"/>
                    <a:pt x="70" y="45"/>
                    <a:pt x="70" y="45"/>
                  </a:cubicBezTo>
                  <a:cubicBezTo>
                    <a:pt x="70" y="41"/>
                    <a:pt x="67" y="36"/>
                    <a:pt x="63" y="34"/>
                  </a:cubicBez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07" name="îŝḻiḑè">
              <a:extLst>
                <a:ext uri="{FF2B5EF4-FFF2-40B4-BE49-F238E27FC236}">
                  <a16:creationId xmlns:a16="http://schemas.microsoft.com/office/drawing/2014/main" id="{1CFC8ED3-F9D6-4331-8FE0-21F312C452B2}"/>
                </a:ext>
              </a:extLst>
            </p:cNvPr>
            <p:cNvSpPr/>
            <p:nvPr/>
          </p:nvSpPr>
          <p:spPr bwMode="auto">
            <a:xfrm>
              <a:off x="6908800" y="3781426"/>
              <a:ext cx="87313" cy="125413"/>
            </a:xfrm>
            <a:custGeom>
              <a:avLst/>
              <a:gdLst>
                <a:gd name="T0" fmla="*/ 66 w 66"/>
                <a:gd name="T1" fmla="*/ 91 h 96"/>
                <a:gd name="T2" fmla="*/ 66 w 66"/>
                <a:gd name="T3" fmla="*/ 45 h 96"/>
                <a:gd name="T4" fmla="*/ 60 w 66"/>
                <a:gd name="T5" fmla="*/ 34 h 96"/>
                <a:gd name="T6" fmla="*/ 7 w 66"/>
                <a:gd name="T7" fmla="*/ 1 h 96"/>
                <a:gd name="T8" fmla="*/ 2 w 66"/>
                <a:gd name="T9" fmla="*/ 1 h 96"/>
                <a:gd name="T10" fmla="*/ 0 w 66"/>
                <a:gd name="T11" fmla="*/ 5 h 96"/>
                <a:gd name="T12" fmla="*/ 0 w 66"/>
                <a:gd name="T13" fmla="*/ 51 h 96"/>
                <a:gd name="T14" fmla="*/ 7 w 66"/>
                <a:gd name="T15" fmla="*/ 62 h 96"/>
                <a:gd name="T16" fmla="*/ 60 w 66"/>
                <a:gd name="T17" fmla="*/ 95 h 96"/>
                <a:gd name="T18" fmla="*/ 64 w 66"/>
                <a:gd name="T19" fmla="*/ 95 h 96"/>
                <a:gd name="T20" fmla="*/ 66 w 66"/>
                <a:gd name="T21" fmla="*/ 91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6" h="96">
                  <a:moveTo>
                    <a:pt x="66" y="91"/>
                  </a:moveTo>
                  <a:cubicBezTo>
                    <a:pt x="66" y="45"/>
                    <a:pt x="66" y="45"/>
                    <a:pt x="66" y="45"/>
                  </a:cubicBezTo>
                  <a:cubicBezTo>
                    <a:pt x="66" y="41"/>
                    <a:pt x="64" y="36"/>
                    <a:pt x="60" y="34"/>
                  </a:cubicBezTo>
                  <a:cubicBezTo>
                    <a:pt x="7" y="1"/>
                    <a:pt x="7" y="1"/>
                    <a:pt x="7" y="1"/>
                  </a:cubicBezTo>
                  <a:cubicBezTo>
                    <a:pt x="5" y="0"/>
                    <a:pt x="3" y="0"/>
                    <a:pt x="2" y="1"/>
                  </a:cubicBezTo>
                  <a:cubicBezTo>
                    <a:pt x="1" y="1"/>
                    <a:pt x="0" y="3"/>
                    <a:pt x="0" y="5"/>
                  </a:cubicBezTo>
                  <a:cubicBezTo>
                    <a:pt x="0" y="51"/>
                    <a:pt x="0" y="51"/>
                    <a:pt x="0" y="51"/>
                  </a:cubicBezTo>
                  <a:cubicBezTo>
                    <a:pt x="0" y="55"/>
                    <a:pt x="3" y="60"/>
                    <a:pt x="7" y="62"/>
                  </a:cubicBezTo>
                  <a:cubicBezTo>
                    <a:pt x="60" y="95"/>
                    <a:pt x="60" y="95"/>
                    <a:pt x="60" y="95"/>
                  </a:cubicBezTo>
                  <a:cubicBezTo>
                    <a:pt x="62" y="96"/>
                    <a:pt x="63" y="96"/>
                    <a:pt x="64" y="95"/>
                  </a:cubicBezTo>
                  <a:cubicBezTo>
                    <a:pt x="66" y="95"/>
                    <a:pt x="66" y="93"/>
                    <a:pt x="66" y="91"/>
                  </a:cubicBezTo>
                  <a:close/>
                </a:path>
              </a:pathLst>
            </a:custGeom>
            <a:solidFill>
              <a:srgbClr val="99999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08" name="îšḻïḍè">
              <a:extLst>
                <a:ext uri="{FF2B5EF4-FFF2-40B4-BE49-F238E27FC236}">
                  <a16:creationId xmlns:a16="http://schemas.microsoft.com/office/drawing/2014/main" id="{C7871CCC-A85A-427D-B9C6-D3801A32A2B1}"/>
                </a:ext>
              </a:extLst>
            </p:cNvPr>
            <p:cNvSpPr/>
            <p:nvPr/>
          </p:nvSpPr>
          <p:spPr bwMode="auto">
            <a:xfrm>
              <a:off x="6659563" y="3735388"/>
              <a:ext cx="90488" cy="128588"/>
            </a:xfrm>
            <a:custGeom>
              <a:avLst/>
              <a:gdLst>
                <a:gd name="T0" fmla="*/ 63 w 69"/>
                <a:gd name="T1" fmla="*/ 34 h 98"/>
                <a:gd name="T2" fmla="*/ 10 w 69"/>
                <a:gd name="T3" fmla="*/ 1 h 98"/>
                <a:gd name="T4" fmla="*/ 5 w 69"/>
                <a:gd name="T5" fmla="*/ 1 h 98"/>
                <a:gd name="T6" fmla="*/ 0 w 69"/>
                <a:gd name="T7" fmla="*/ 3 h 98"/>
                <a:gd name="T8" fmla="*/ 0 w 69"/>
                <a:gd name="T9" fmla="*/ 3 h 98"/>
                <a:gd name="T10" fmla="*/ 4 w 69"/>
                <a:gd name="T11" fmla="*/ 4 h 98"/>
                <a:gd name="T12" fmla="*/ 58 w 69"/>
                <a:gd name="T13" fmla="*/ 37 h 98"/>
                <a:gd name="T14" fmla="*/ 64 w 69"/>
                <a:gd name="T15" fmla="*/ 48 h 98"/>
                <a:gd name="T16" fmla="*/ 64 w 69"/>
                <a:gd name="T17" fmla="*/ 94 h 98"/>
                <a:gd name="T18" fmla="*/ 62 w 69"/>
                <a:gd name="T19" fmla="*/ 98 h 98"/>
                <a:gd name="T20" fmla="*/ 62 w 69"/>
                <a:gd name="T21" fmla="*/ 98 h 98"/>
                <a:gd name="T22" fmla="*/ 67 w 69"/>
                <a:gd name="T23" fmla="*/ 95 h 98"/>
                <a:gd name="T24" fmla="*/ 67 w 69"/>
                <a:gd name="T25" fmla="*/ 95 h 98"/>
                <a:gd name="T26" fmla="*/ 69 w 69"/>
                <a:gd name="T27" fmla="*/ 91 h 98"/>
                <a:gd name="T28" fmla="*/ 69 w 69"/>
                <a:gd name="T29" fmla="*/ 45 h 98"/>
                <a:gd name="T30" fmla="*/ 63 w 69"/>
                <a:gd name="T31" fmla="*/ 34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9" h="98">
                  <a:moveTo>
                    <a:pt x="63" y="34"/>
                  </a:moveTo>
                  <a:cubicBezTo>
                    <a:pt x="10" y="1"/>
                    <a:pt x="10" y="1"/>
                    <a:pt x="10" y="1"/>
                  </a:cubicBezTo>
                  <a:cubicBezTo>
                    <a:pt x="8" y="0"/>
                    <a:pt x="6" y="0"/>
                    <a:pt x="5" y="1"/>
                  </a:cubicBezTo>
                  <a:cubicBezTo>
                    <a:pt x="0" y="3"/>
                    <a:pt x="0" y="3"/>
                    <a:pt x="0" y="3"/>
                  </a:cubicBezTo>
                  <a:cubicBezTo>
                    <a:pt x="0" y="3"/>
                    <a:pt x="0" y="3"/>
                    <a:pt x="0" y="3"/>
                  </a:cubicBezTo>
                  <a:cubicBezTo>
                    <a:pt x="1" y="3"/>
                    <a:pt x="3" y="3"/>
                    <a:pt x="4" y="4"/>
                  </a:cubicBezTo>
                  <a:cubicBezTo>
                    <a:pt x="58" y="37"/>
                    <a:pt x="58" y="37"/>
                    <a:pt x="58" y="37"/>
                  </a:cubicBezTo>
                  <a:cubicBezTo>
                    <a:pt x="61" y="39"/>
                    <a:pt x="64" y="44"/>
                    <a:pt x="64" y="48"/>
                  </a:cubicBezTo>
                  <a:cubicBezTo>
                    <a:pt x="64" y="94"/>
                    <a:pt x="64" y="94"/>
                    <a:pt x="64" y="94"/>
                  </a:cubicBezTo>
                  <a:cubicBezTo>
                    <a:pt x="64" y="96"/>
                    <a:pt x="63" y="97"/>
                    <a:pt x="62" y="98"/>
                  </a:cubicBezTo>
                  <a:cubicBezTo>
                    <a:pt x="62" y="98"/>
                    <a:pt x="62" y="98"/>
                    <a:pt x="62" y="98"/>
                  </a:cubicBezTo>
                  <a:cubicBezTo>
                    <a:pt x="67" y="95"/>
                    <a:pt x="67" y="95"/>
                    <a:pt x="67" y="95"/>
                  </a:cubicBezTo>
                  <a:cubicBezTo>
                    <a:pt x="67" y="95"/>
                    <a:pt x="67" y="95"/>
                    <a:pt x="67" y="95"/>
                  </a:cubicBezTo>
                  <a:cubicBezTo>
                    <a:pt x="69" y="94"/>
                    <a:pt x="69" y="93"/>
                    <a:pt x="69" y="91"/>
                  </a:cubicBezTo>
                  <a:cubicBezTo>
                    <a:pt x="69" y="45"/>
                    <a:pt x="69" y="45"/>
                    <a:pt x="69" y="45"/>
                  </a:cubicBezTo>
                  <a:cubicBezTo>
                    <a:pt x="69" y="41"/>
                    <a:pt x="66" y="36"/>
                    <a:pt x="63" y="34"/>
                  </a:cubicBez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09" name="îśļîḑé">
              <a:extLst>
                <a:ext uri="{FF2B5EF4-FFF2-40B4-BE49-F238E27FC236}">
                  <a16:creationId xmlns:a16="http://schemas.microsoft.com/office/drawing/2014/main" id="{03D0B729-1775-42B2-9D20-2C06029CF479}"/>
                </a:ext>
              </a:extLst>
            </p:cNvPr>
            <p:cNvSpPr/>
            <p:nvPr/>
          </p:nvSpPr>
          <p:spPr bwMode="auto">
            <a:xfrm>
              <a:off x="6656388" y="3738563"/>
              <a:ext cx="87313" cy="125413"/>
            </a:xfrm>
            <a:custGeom>
              <a:avLst/>
              <a:gdLst>
                <a:gd name="T0" fmla="*/ 66 w 66"/>
                <a:gd name="T1" fmla="*/ 91 h 95"/>
                <a:gd name="T2" fmla="*/ 66 w 66"/>
                <a:gd name="T3" fmla="*/ 45 h 95"/>
                <a:gd name="T4" fmla="*/ 60 w 66"/>
                <a:gd name="T5" fmla="*/ 34 h 95"/>
                <a:gd name="T6" fmla="*/ 6 w 66"/>
                <a:gd name="T7" fmla="*/ 1 h 95"/>
                <a:gd name="T8" fmla="*/ 2 w 66"/>
                <a:gd name="T9" fmla="*/ 0 h 95"/>
                <a:gd name="T10" fmla="*/ 0 w 66"/>
                <a:gd name="T11" fmla="*/ 4 h 95"/>
                <a:gd name="T12" fmla="*/ 0 w 66"/>
                <a:gd name="T13" fmla="*/ 50 h 95"/>
                <a:gd name="T14" fmla="*/ 6 w 66"/>
                <a:gd name="T15" fmla="*/ 62 h 95"/>
                <a:gd name="T16" fmla="*/ 60 w 66"/>
                <a:gd name="T17" fmla="*/ 94 h 95"/>
                <a:gd name="T18" fmla="*/ 64 w 66"/>
                <a:gd name="T19" fmla="*/ 95 h 95"/>
                <a:gd name="T20" fmla="*/ 66 w 66"/>
                <a:gd name="T21" fmla="*/ 91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6" h="95">
                  <a:moveTo>
                    <a:pt x="66" y="91"/>
                  </a:moveTo>
                  <a:cubicBezTo>
                    <a:pt x="66" y="45"/>
                    <a:pt x="66" y="45"/>
                    <a:pt x="66" y="45"/>
                  </a:cubicBezTo>
                  <a:cubicBezTo>
                    <a:pt x="66" y="41"/>
                    <a:pt x="63" y="36"/>
                    <a:pt x="60" y="34"/>
                  </a:cubicBezTo>
                  <a:cubicBezTo>
                    <a:pt x="6" y="1"/>
                    <a:pt x="6" y="1"/>
                    <a:pt x="6" y="1"/>
                  </a:cubicBezTo>
                  <a:cubicBezTo>
                    <a:pt x="5" y="0"/>
                    <a:pt x="3" y="0"/>
                    <a:pt x="2" y="0"/>
                  </a:cubicBezTo>
                  <a:cubicBezTo>
                    <a:pt x="1" y="1"/>
                    <a:pt x="0" y="2"/>
                    <a:pt x="0" y="4"/>
                  </a:cubicBezTo>
                  <a:cubicBezTo>
                    <a:pt x="0" y="50"/>
                    <a:pt x="0" y="50"/>
                    <a:pt x="0" y="50"/>
                  </a:cubicBezTo>
                  <a:cubicBezTo>
                    <a:pt x="0" y="54"/>
                    <a:pt x="3" y="59"/>
                    <a:pt x="6" y="62"/>
                  </a:cubicBezTo>
                  <a:cubicBezTo>
                    <a:pt x="60" y="94"/>
                    <a:pt x="60" y="94"/>
                    <a:pt x="60" y="94"/>
                  </a:cubicBezTo>
                  <a:cubicBezTo>
                    <a:pt x="61" y="95"/>
                    <a:pt x="63" y="95"/>
                    <a:pt x="64" y="95"/>
                  </a:cubicBezTo>
                  <a:cubicBezTo>
                    <a:pt x="65" y="94"/>
                    <a:pt x="66" y="93"/>
                    <a:pt x="66" y="91"/>
                  </a:cubicBezTo>
                  <a:close/>
                </a:path>
              </a:pathLst>
            </a:custGeom>
            <a:solidFill>
              <a:srgbClr val="99999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10" name="ïsḻïḋé">
              <a:extLst>
                <a:ext uri="{FF2B5EF4-FFF2-40B4-BE49-F238E27FC236}">
                  <a16:creationId xmlns:a16="http://schemas.microsoft.com/office/drawing/2014/main" id="{71C79C5B-A402-4DCB-9166-1F01882BC80D}"/>
                </a:ext>
              </a:extLst>
            </p:cNvPr>
            <p:cNvSpPr/>
            <p:nvPr/>
          </p:nvSpPr>
          <p:spPr bwMode="auto">
            <a:xfrm>
              <a:off x="6784975" y="3814763"/>
              <a:ext cx="92075" cy="128588"/>
            </a:xfrm>
            <a:custGeom>
              <a:avLst/>
              <a:gdLst>
                <a:gd name="T0" fmla="*/ 63 w 69"/>
                <a:gd name="T1" fmla="*/ 34 h 98"/>
                <a:gd name="T2" fmla="*/ 10 w 69"/>
                <a:gd name="T3" fmla="*/ 1 h 98"/>
                <a:gd name="T4" fmla="*/ 5 w 69"/>
                <a:gd name="T5" fmla="*/ 1 h 98"/>
                <a:gd name="T6" fmla="*/ 0 w 69"/>
                <a:gd name="T7" fmla="*/ 4 h 98"/>
                <a:gd name="T8" fmla="*/ 0 w 69"/>
                <a:gd name="T9" fmla="*/ 4 h 98"/>
                <a:gd name="T10" fmla="*/ 5 w 69"/>
                <a:gd name="T11" fmla="*/ 4 h 98"/>
                <a:gd name="T12" fmla="*/ 58 w 69"/>
                <a:gd name="T13" fmla="*/ 37 h 98"/>
                <a:gd name="T14" fmla="*/ 64 w 69"/>
                <a:gd name="T15" fmla="*/ 48 h 98"/>
                <a:gd name="T16" fmla="*/ 64 w 69"/>
                <a:gd name="T17" fmla="*/ 94 h 98"/>
                <a:gd name="T18" fmla="*/ 62 w 69"/>
                <a:gd name="T19" fmla="*/ 98 h 98"/>
                <a:gd name="T20" fmla="*/ 62 w 69"/>
                <a:gd name="T21" fmla="*/ 98 h 98"/>
                <a:gd name="T22" fmla="*/ 68 w 69"/>
                <a:gd name="T23" fmla="*/ 95 h 98"/>
                <a:gd name="T24" fmla="*/ 68 w 69"/>
                <a:gd name="T25" fmla="*/ 95 h 98"/>
                <a:gd name="T26" fmla="*/ 69 w 69"/>
                <a:gd name="T27" fmla="*/ 91 h 98"/>
                <a:gd name="T28" fmla="*/ 69 w 69"/>
                <a:gd name="T29" fmla="*/ 45 h 98"/>
                <a:gd name="T30" fmla="*/ 63 w 69"/>
                <a:gd name="T31" fmla="*/ 34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9" h="98">
                  <a:moveTo>
                    <a:pt x="63" y="34"/>
                  </a:moveTo>
                  <a:cubicBezTo>
                    <a:pt x="10" y="1"/>
                    <a:pt x="10" y="1"/>
                    <a:pt x="10" y="1"/>
                  </a:cubicBezTo>
                  <a:cubicBezTo>
                    <a:pt x="8" y="0"/>
                    <a:pt x="6" y="0"/>
                    <a:pt x="5" y="1"/>
                  </a:cubicBezTo>
                  <a:cubicBezTo>
                    <a:pt x="0" y="4"/>
                    <a:pt x="0" y="4"/>
                    <a:pt x="0" y="4"/>
                  </a:cubicBezTo>
                  <a:cubicBezTo>
                    <a:pt x="0" y="4"/>
                    <a:pt x="0" y="4"/>
                    <a:pt x="0" y="4"/>
                  </a:cubicBezTo>
                  <a:cubicBezTo>
                    <a:pt x="1" y="3"/>
                    <a:pt x="3" y="3"/>
                    <a:pt x="5" y="4"/>
                  </a:cubicBezTo>
                  <a:cubicBezTo>
                    <a:pt x="58" y="37"/>
                    <a:pt x="58" y="37"/>
                    <a:pt x="58" y="37"/>
                  </a:cubicBezTo>
                  <a:cubicBezTo>
                    <a:pt x="61" y="39"/>
                    <a:pt x="64" y="44"/>
                    <a:pt x="64" y="48"/>
                  </a:cubicBezTo>
                  <a:cubicBezTo>
                    <a:pt x="64" y="94"/>
                    <a:pt x="64" y="94"/>
                    <a:pt x="64" y="94"/>
                  </a:cubicBezTo>
                  <a:cubicBezTo>
                    <a:pt x="64" y="96"/>
                    <a:pt x="63" y="98"/>
                    <a:pt x="62" y="98"/>
                  </a:cubicBezTo>
                  <a:cubicBezTo>
                    <a:pt x="62" y="98"/>
                    <a:pt x="62" y="98"/>
                    <a:pt x="62" y="98"/>
                  </a:cubicBezTo>
                  <a:cubicBezTo>
                    <a:pt x="68" y="95"/>
                    <a:pt x="68" y="95"/>
                    <a:pt x="68" y="95"/>
                  </a:cubicBezTo>
                  <a:cubicBezTo>
                    <a:pt x="68" y="95"/>
                    <a:pt x="68" y="95"/>
                    <a:pt x="68" y="95"/>
                  </a:cubicBezTo>
                  <a:cubicBezTo>
                    <a:pt x="69" y="95"/>
                    <a:pt x="69" y="93"/>
                    <a:pt x="69" y="91"/>
                  </a:cubicBezTo>
                  <a:cubicBezTo>
                    <a:pt x="69" y="45"/>
                    <a:pt x="69" y="45"/>
                    <a:pt x="69" y="45"/>
                  </a:cubicBezTo>
                  <a:cubicBezTo>
                    <a:pt x="69" y="41"/>
                    <a:pt x="67" y="36"/>
                    <a:pt x="63" y="34"/>
                  </a:cubicBez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11" name="íSḻïḍe">
              <a:extLst>
                <a:ext uri="{FF2B5EF4-FFF2-40B4-BE49-F238E27FC236}">
                  <a16:creationId xmlns:a16="http://schemas.microsoft.com/office/drawing/2014/main" id="{B3E2E8B8-C625-499C-AF4E-9000FB4634CD}"/>
                </a:ext>
              </a:extLst>
            </p:cNvPr>
            <p:cNvSpPr/>
            <p:nvPr/>
          </p:nvSpPr>
          <p:spPr bwMode="auto">
            <a:xfrm>
              <a:off x="6783388" y="3817938"/>
              <a:ext cx="85725" cy="127000"/>
            </a:xfrm>
            <a:custGeom>
              <a:avLst/>
              <a:gdLst>
                <a:gd name="T0" fmla="*/ 66 w 66"/>
                <a:gd name="T1" fmla="*/ 91 h 96"/>
                <a:gd name="T2" fmla="*/ 66 w 66"/>
                <a:gd name="T3" fmla="*/ 45 h 96"/>
                <a:gd name="T4" fmla="*/ 60 w 66"/>
                <a:gd name="T5" fmla="*/ 34 h 96"/>
                <a:gd name="T6" fmla="*/ 7 w 66"/>
                <a:gd name="T7" fmla="*/ 1 h 96"/>
                <a:gd name="T8" fmla="*/ 2 w 66"/>
                <a:gd name="T9" fmla="*/ 1 h 96"/>
                <a:gd name="T10" fmla="*/ 0 w 66"/>
                <a:gd name="T11" fmla="*/ 5 h 96"/>
                <a:gd name="T12" fmla="*/ 0 w 66"/>
                <a:gd name="T13" fmla="*/ 51 h 96"/>
                <a:gd name="T14" fmla="*/ 7 w 66"/>
                <a:gd name="T15" fmla="*/ 62 h 96"/>
                <a:gd name="T16" fmla="*/ 60 w 66"/>
                <a:gd name="T17" fmla="*/ 95 h 96"/>
                <a:gd name="T18" fmla="*/ 64 w 66"/>
                <a:gd name="T19" fmla="*/ 95 h 96"/>
                <a:gd name="T20" fmla="*/ 66 w 66"/>
                <a:gd name="T21" fmla="*/ 91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6" h="96">
                  <a:moveTo>
                    <a:pt x="66" y="91"/>
                  </a:moveTo>
                  <a:cubicBezTo>
                    <a:pt x="66" y="45"/>
                    <a:pt x="66" y="45"/>
                    <a:pt x="66" y="45"/>
                  </a:cubicBezTo>
                  <a:cubicBezTo>
                    <a:pt x="66" y="41"/>
                    <a:pt x="63" y="36"/>
                    <a:pt x="60" y="34"/>
                  </a:cubicBezTo>
                  <a:cubicBezTo>
                    <a:pt x="7" y="1"/>
                    <a:pt x="7" y="1"/>
                    <a:pt x="7" y="1"/>
                  </a:cubicBezTo>
                  <a:cubicBezTo>
                    <a:pt x="5" y="0"/>
                    <a:pt x="3" y="0"/>
                    <a:pt x="2" y="1"/>
                  </a:cubicBezTo>
                  <a:cubicBezTo>
                    <a:pt x="1" y="1"/>
                    <a:pt x="0" y="3"/>
                    <a:pt x="0" y="5"/>
                  </a:cubicBezTo>
                  <a:cubicBezTo>
                    <a:pt x="0" y="51"/>
                    <a:pt x="0" y="51"/>
                    <a:pt x="0" y="51"/>
                  </a:cubicBezTo>
                  <a:cubicBezTo>
                    <a:pt x="0" y="55"/>
                    <a:pt x="3" y="60"/>
                    <a:pt x="7" y="62"/>
                  </a:cubicBezTo>
                  <a:cubicBezTo>
                    <a:pt x="60" y="95"/>
                    <a:pt x="60" y="95"/>
                    <a:pt x="60" y="95"/>
                  </a:cubicBezTo>
                  <a:cubicBezTo>
                    <a:pt x="62" y="96"/>
                    <a:pt x="63" y="96"/>
                    <a:pt x="64" y="95"/>
                  </a:cubicBezTo>
                  <a:cubicBezTo>
                    <a:pt x="65" y="95"/>
                    <a:pt x="66" y="93"/>
                    <a:pt x="66" y="91"/>
                  </a:cubicBezTo>
                  <a:close/>
                </a:path>
              </a:pathLst>
            </a:custGeom>
            <a:solidFill>
              <a:srgbClr val="99999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12" name="ïṣľiḋè">
              <a:extLst>
                <a:ext uri="{FF2B5EF4-FFF2-40B4-BE49-F238E27FC236}">
                  <a16:creationId xmlns:a16="http://schemas.microsoft.com/office/drawing/2014/main" id="{A2426F16-2D7F-40E5-B53A-C5C8A26014C7}"/>
                </a:ext>
              </a:extLst>
            </p:cNvPr>
            <p:cNvSpPr/>
            <p:nvPr/>
          </p:nvSpPr>
          <p:spPr bwMode="auto">
            <a:xfrm>
              <a:off x="6911975" y="3894138"/>
              <a:ext cx="92075" cy="128588"/>
            </a:xfrm>
            <a:custGeom>
              <a:avLst/>
              <a:gdLst>
                <a:gd name="T0" fmla="*/ 63 w 70"/>
                <a:gd name="T1" fmla="*/ 33 h 98"/>
                <a:gd name="T2" fmla="*/ 10 w 70"/>
                <a:gd name="T3" fmla="*/ 1 h 98"/>
                <a:gd name="T4" fmla="*/ 5 w 70"/>
                <a:gd name="T5" fmla="*/ 0 h 98"/>
                <a:gd name="T6" fmla="*/ 0 w 70"/>
                <a:gd name="T7" fmla="*/ 3 h 98"/>
                <a:gd name="T8" fmla="*/ 0 w 70"/>
                <a:gd name="T9" fmla="*/ 3 h 98"/>
                <a:gd name="T10" fmla="*/ 5 w 70"/>
                <a:gd name="T11" fmla="*/ 4 h 98"/>
                <a:gd name="T12" fmla="*/ 58 w 70"/>
                <a:gd name="T13" fmla="*/ 36 h 98"/>
                <a:gd name="T14" fmla="*/ 64 w 70"/>
                <a:gd name="T15" fmla="*/ 48 h 98"/>
                <a:gd name="T16" fmla="*/ 64 w 70"/>
                <a:gd name="T17" fmla="*/ 93 h 98"/>
                <a:gd name="T18" fmla="*/ 62 w 70"/>
                <a:gd name="T19" fmla="*/ 98 h 98"/>
                <a:gd name="T20" fmla="*/ 62 w 70"/>
                <a:gd name="T21" fmla="*/ 98 h 98"/>
                <a:gd name="T22" fmla="*/ 68 w 70"/>
                <a:gd name="T23" fmla="*/ 95 h 98"/>
                <a:gd name="T24" fmla="*/ 68 w 70"/>
                <a:gd name="T25" fmla="*/ 95 h 98"/>
                <a:gd name="T26" fmla="*/ 70 w 70"/>
                <a:gd name="T27" fmla="*/ 90 h 98"/>
                <a:gd name="T28" fmla="*/ 70 w 70"/>
                <a:gd name="T29" fmla="*/ 45 h 98"/>
                <a:gd name="T30" fmla="*/ 63 w 70"/>
                <a:gd name="T31" fmla="*/ 33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0" h="98">
                  <a:moveTo>
                    <a:pt x="63" y="33"/>
                  </a:moveTo>
                  <a:cubicBezTo>
                    <a:pt x="10" y="1"/>
                    <a:pt x="10" y="1"/>
                    <a:pt x="10" y="1"/>
                  </a:cubicBezTo>
                  <a:cubicBezTo>
                    <a:pt x="8" y="0"/>
                    <a:pt x="6" y="0"/>
                    <a:pt x="5" y="0"/>
                  </a:cubicBezTo>
                  <a:cubicBezTo>
                    <a:pt x="0" y="3"/>
                    <a:pt x="0" y="3"/>
                    <a:pt x="0" y="3"/>
                  </a:cubicBezTo>
                  <a:cubicBezTo>
                    <a:pt x="0" y="3"/>
                    <a:pt x="0" y="3"/>
                    <a:pt x="0" y="3"/>
                  </a:cubicBezTo>
                  <a:cubicBezTo>
                    <a:pt x="1" y="3"/>
                    <a:pt x="3" y="3"/>
                    <a:pt x="5" y="4"/>
                  </a:cubicBezTo>
                  <a:cubicBezTo>
                    <a:pt x="58" y="36"/>
                    <a:pt x="58" y="36"/>
                    <a:pt x="58" y="36"/>
                  </a:cubicBezTo>
                  <a:cubicBezTo>
                    <a:pt x="62" y="38"/>
                    <a:pt x="64" y="44"/>
                    <a:pt x="64" y="48"/>
                  </a:cubicBezTo>
                  <a:cubicBezTo>
                    <a:pt x="64" y="93"/>
                    <a:pt x="64" y="93"/>
                    <a:pt x="64" y="93"/>
                  </a:cubicBezTo>
                  <a:cubicBezTo>
                    <a:pt x="64" y="96"/>
                    <a:pt x="64" y="97"/>
                    <a:pt x="62" y="98"/>
                  </a:cubicBezTo>
                  <a:cubicBezTo>
                    <a:pt x="62" y="98"/>
                    <a:pt x="62" y="98"/>
                    <a:pt x="62" y="98"/>
                  </a:cubicBezTo>
                  <a:cubicBezTo>
                    <a:pt x="68" y="95"/>
                    <a:pt x="68" y="95"/>
                    <a:pt x="68" y="95"/>
                  </a:cubicBezTo>
                  <a:cubicBezTo>
                    <a:pt x="68" y="95"/>
                    <a:pt x="68" y="95"/>
                    <a:pt x="68" y="95"/>
                  </a:cubicBezTo>
                  <a:cubicBezTo>
                    <a:pt x="69" y="94"/>
                    <a:pt x="70" y="93"/>
                    <a:pt x="70" y="90"/>
                  </a:cubicBezTo>
                  <a:cubicBezTo>
                    <a:pt x="70" y="45"/>
                    <a:pt x="70" y="45"/>
                    <a:pt x="70" y="45"/>
                  </a:cubicBezTo>
                  <a:cubicBezTo>
                    <a:pt x="70" y="41"/>
                    <a:pt x="67" y="36"/>
                    <a:pt x="63" y="33"/>
                  </a:cubicBez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13" name="íṩḷïďé">
              <a:extLst>
                <a:ext uri="{FF2B5EF4-FFF2-40B4-BE49-F238E27FC236}">
                  <a16:creationId xmlns:a16="http://schemas.microsoft.com/office/drawing/2014/main" id="{364D75B3-F993-4E2B-AB2E-31F74E24ECB5}"/>
                </a:ext>
              </a:extLst>
            </p:cNvPr>
            <p:cNvSpPr/>
            <p:nvPr/>
          </p:nvSpPr>
          <p:spPr bwMode="auto">
            <a:xfrm>
              <a:off x="6908800" y="3898901"/>
              <a:ext cx="87313" cy="123825"/>
            </a:xfrm>
            <a:custGeom>
              <a:avLst/>
              <a:gdLst>
                <a:gd name="T0" fmla="*/ 66 w 66"/>
                <a:gd name="T1" fmla="*/ 90 h 95"/>
                <a:gd name="T2" fmla="*/ 66 w 66"/>
                <a:gd name="T3" fmla="*/ 45 h 95"/>
                <a:gd name="T4" fmla="*/ 60 w 66"/>
                <a:gd name="T5" fmla="*/ 33 h 95"/>
                <a:gd name="T6" fmla="*/ 7 w 66"/>
                <a:gd name="T7" fmla="*/ 1 h 95"/>
                <a:gd name="T8" fmla="*/ 2 w 66"/>
                <a:gd name="T9" fmla="*/ 0 h 95"/>
                <a:gd name="T10" fmla="*/ 0 w 66"/>
                <a:gd name="T11" fmla="*/ 4 h 95"/>
                <a:gd name="T12" fmla="*/ 0 w 66"/>
                <a:gd name="T13" fmla="*/ 50 h 95"/>
                <a:gd name="T14" fmla="*/ 7 w 66"/>
                <a:gd name="T15" fmla="*/ 61 h 95"/>
                <a:gd name="T16" fmla="*/ 60 w 66"/>
                <a:gd name="T17" fmla="*/ 94 h 95"/>
                <a:gd name="T18" fmla="*/ 64 w 66"/>
                <a:gd name="T19" fmla="*/ 95 h 95"/>
                <a:gd name="T20" fmla="*/ 66 w 66"/>
                <a:gd name="T21" fmla="*/ 9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6" h="95">
                  <a:moveTo>
                    <a:pt x="66" y="90"/>
                  </a:moveTo>
                  <a:cubicBezTo>
                    <a:pt x="66" y="45"/>
                    <a:pt x="66" y="45"/>
                    <a:pt x="66" y="45"/>
                  </a:cubicBezTo>
                  <a:cubicBezTo>
                    <a:pt x="66" y="41"/>
                    <a:pt x="64" y="35"/>
                    <a:pt x="60" y="33"/>
                  </a:cubicBezTo>
                  <a:cubicBezTo>
                    <a:pt x="7" y="1"/>
                    <a:pt x="7" y="1"/>
                    <a:pt x="7" y="1"/>
                  </a:cubicBezTo>
                  <a:cubicBezTo>
                    <a:pt x="5" y="0"/>
                    <a:pt x="3" y="0"/>
                    <a:pt x="2" y="0"/>
                  </a:cubicBezTo>
                  <a:cubicBezTo>
                    <a:pt x="1" y="1"/>
                    <a:pt x="0" y="2"/>
                    <a:pt x="0" y="4"/>
                  </a:cubicBezTo>
                  <a:cubicBezTo>
                    <a:pt x="0" y="50"/>
                    <a:pt x="0" y="50"/>
                    <a:pt x="0" y="50"/>
                  </a:cubicBezTo>
                  <a:cubicBezTo>
                    <a:pt x="0" y="54"/>
                    <a:pt x="3" y="59"/>
                    <a:pt x="7" y="61"/>
                  </a:cubicBezTo>
                  <a:cubicBezTo>
                    <a:pt x="60" y="94"/>
                    <a:pt x="60" y="94"/>
                    <a:pt x="60" y="94"/>
                  </a:cubicBezTo>
                  <a:cubicBezTo>
                    <a:pt x="62" y="95"/>
                    <a:pt x="63" y="95"/>
                    <a:pt x="64" y="95"/>
                  </a:cubicBezTo>
                  <a:cubicBezTo>
                    <a:pt x="66" y="94"/>
                    <a:pt x="66" y="93"/>
                    <a:pt x="66" y="90"/>
                  </a:cubicBezTo>
                  <a:close/>
                </a:path>
              </a:pathLst>
            </a:custGeom>
            <a:solidFill>
              <a:srgbClr val="99999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14" name="îṥļïḍê">
              <a:extLst>
                <a:ext uri="{FF2B5EF4-FFF2-40B4-BE49-F238E27FC236}">
                  <a16:creationId xmlns:a16="http://schemas.microsoft.com/office/drawing/2014/main" id="{B1195AB8-2BF0-46E6-9503-8384775EBED2}"/>
                </a:ext>
              </a:extLst>
            </p:cNvPr>
            <p:cNvSpPr/>
            <p:nvPr/>
          </p:nvSpPr>
          <p:spPr bwMode="auto">
            <a:xfrm>
              <a:off x="6880225" y="3203576"/>
              <a:ext cx="68263" cy="73025"/>
            </a:xfrm>
            <a:custGeom>
              <a:avLst/>
              <a:gdLst>
                <a:gd name="T0" fmla="*/ 32 w 43"/>
                <a:gd name="T1" fmla="*/ 0 h 46"/>
                <a:gd name="T2" fmla="*/ 0 w 43"/>
                <a:gd name="T3" fmla="*/ 39 h 46"/>
                <a:gd name="T4" fmla="*/ 11 w 43"/>
                <a:gd name="T5" fmla="*/ 46 h 46"/>
                <a:gd name="T6" fmla="*/ 43 w 43"/>
                <a:gd name="T7" fmla="*/ 7 h 46"/>
                <a:gd name="T8" fmla="*/ 32 w 43"/>
                <a:gd name="T9" fmla="*/ 0 h 46"/>
              </a:gdLst>
              <a:ahLst/>
              <a:cxnLst>
                <a:cxn ang="0">
                  <a:pos x="T0" y="T1"/>
                </a:cxn>
                <a:cxn ang="0">
                  <a:pos x="T2" y="T3"/>
                </a:cxn>
                <a:cxn ang="0">
                  <a:pos x="T4" y="T5"/>
                </a:cxn>
                <a:cxn ang="0">
                  <a:pos x="T6" y="T7"/>
                </a:cxn>
                <a:cxn ang="0">
                  <a:pos x="T8" y="T9"/>
                </a:cxn>
              </a:cxnLst>
              <a:rect l="0" t="0" r="r" b="b"/>
              <a:pathLst>
                <a:path w="43" h="46">
                  <a:moveTo>
                    <a:pt x="32" y="0"/>
                  </a:moveTo>
                  <a:lnTo>
                    <a:pt x="0" y="39"/>
                  </a:lnTo>
                  <a:lnTo>
                    <a:pt x="11" y="46"/>
                  </a:lnTo>
                  <a:lnTo>
                    <a:pt x="43" y="7"/>
                  </a:lnTo>
                  <a:lnTo>
                    <a:pt x="32" y="0"/>
                  </a:lnTo>
                  <a:close/>
                </a:path>
              </a:pathLst>
            </a:custGeom>
            <a:solidFill>
              <a:srgbClr val="95DAE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15" name="íś1îḍe">
              <a:extLst>
                <a:ext uri="{FF2B5EF4-FFF2-40B4-BE49-F238E27FC236}">
                  <a16:creationId xmlns:a16="http://schemas.microsoft.com/office/drawing/2014/main" id="{2CA515EA-3C9A-46E1-9612-AFD063E22C46}"/>
                </a:ext>
              </a:extLst>
            </p:cNvPr>
            <p:cNvSpPr/>
            <p:nvPr/>
          </p:nvSpPr>
          <p:spPr bwMode="auto">
            <a:xfrm>
              <a:off x="6799263" y="3154363"/>
              <a:ext cx="131763" cy="111125"/>
            </a:xfrm>
            <a:custGeom>
              <a:avLst/>
              <a:gdLst>
                <a:gd name="T0" fmla="*/ 32 w 83"/>
                <a:gd name="T1" fmla="*/ 0 h 70"/>
                <a:gd name="T2" fmla="*/ 0 w 83"/>
                <a:gd name="T3" fmla="*/ 40 h 70"/>
                <a:gd name="T4" fmla="*/ 51 w 83"/>
                <a:gd name="T5" fmla="*/ 70 h 70"/>
                <a:gd name="T6" fmla="*/ 83 w 83"/>
                <a:gd name="T7" fmla="*/ 31 h 70"/>
                <a:gd name="T8" fmla="*/ 32 w 83"/>
                <a:gd name="T9" fmla="*/ 0 h 70"/>
              </a:gdLst>
              <a:ahLst/>
              <a:cxnLst>
                <a:cxn ang="0">
                  <a:pos x="T0" y="T1"/>
                </a:cxn>
                <a:cxn ang="0">
                  <a:pos x="T2" y="T3"/>
                </a:cxn>
                <a:cxn ang="0">
                  <a:pos x="T4" y="T5"/>
                </a:cxn>
                <a:cxn ang="0">
                  <a:pos x="T6" y="T7"/>
                </a:cxn>
                <a:cxn ang="0">
                  <a:pos x="T8" y="T9"/>
                </a:cxn>
              </a:cxnLst>
              <a:rect l="0" t="0" r="r" b="b"/>
              <a:pathLst>
                <a:path w="83" h="70">
                  <a:moveTo>
                    <a:pt x="32" y="0"/>
                  </a:moveTo>
                  <a:lnTo>
                    <a:pt x="0" y="40"/>
                  </a:lnTo>
                  <a:lnTo>
                    <a:pt x="51" y="70"/>
                  </a:lnTo>
                  <a:lnTo>
                    <a:pt x="83" y="31"/>
                  </a:lnTo>
                  <a:lnTo>
                    <a:pt x="32" y="0"/>
                  </a:lnTo>
                  <a:close/>
                </a:path>
              </a:pathLst>
            </a:custGeom>
            <a:solidFill>
              <a:srgbClr val="B1E4F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16" name="ïṧļíḓé">
              <a:extLst>
                <a:ext uri="{FF2B5EF4-FFF2-40B4-BE49-F238E27FC236}">
                  <a16:creationId xmlns:a16="http://schemas.microsoft.com/office/drawing/2014/main" id="{67817BDE-0A73-4B33-85CB-7830AE8D62BE}"/>
                </a:ext>
              </a:extLst>
            </p:cNvPr>
            <p:cNvSpPr/>
            <p:nvPr/>
          </p:nvSpPr>
          <p:spPr bwMode="auto">
            <a:xfrm>
              <a:off x="6686550" y="3054351"/>
              <a:ext cx="163513" cy="163513"/>
            </a:xfrm>
            <a:custGeom>
              <a:avLst/>
              <a:gdLst>
                <a:gd name="T0" fmla="*/ 0 w 103"/>
                <a:gd name="T1" fmla="*/ 0 h 103"/>
                <a:gd name="T2" fmla="*/ 0 w 103"/>
                <a:gd name="T3" fmla="*/ 59 h 103"/>
                <a:gd name="T4" fmla="*/ 71 w 103"/>
                <a:gd name="T5" fmla="*/ 103 h 103"/>
                <a:gd name="T6" fmla="*/ 103 w 103"/>
                <a:gd name="T7" fmla="*/ 63 h 103"/>
                <a:gd name="T8" fmla="*/ 0 w 103"/>
                <a:gd name="T9" fmla="*/ 0 h 103"/>
              </a:gdLst>
              <a:ahLst/>
              <a:cxnLst>
                <a:cxn ang="0">
                  <a:pos x="T0" y="T1"/>
                </a:cxn>
                <a:cxn ang="0">
                  <a:pos x="T2" y="T3"/>
                </a:cxn>
                <a:cxn ang="0">
                  <a:pos x="T4" y="T5"/>
                </a:cxn>
                <a:cxn ang="0">
                  <a:pos x="T6" y="T7"/>
                </a:cxn>
                <a:cxn ang="0">
                  <a:pos x="T8" y="T9"/>
                </a:cxn>
              </a:cxnLst>
              <a:rect l="0" t="0" r="r" b="b"/>
              <a:pathLst>
                <a:path w="103" h="103">
                  <a:moveTo>
                    <a:pt x="0" y="0"/>
                  </a:moveTo>
                  <a:lnTo>
                    <a:pt x="0" y="59"/>
                  </a:lnTo>
                  <a:lnTo>
                    <a:pt x="71" y="103"/>
                  </a:lnTo>
                  <a:lnTo>
                    <a:pt x="103" y="63"/>
                  </a:lnTo>
                  <a:lnTo>
                    <a:pt x="0" y="0"/>
                  </a:lnTo>
                  <a:close/>
                </a:path>
              </a:pathLst>
            </a:custGeom>
            <a:solidFill>
              <a:srgbClr val="95DAE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17" name="íšļïdé">
              <a:extLst>
                <a:ext uri="{FF2B5EF4-FFF2-40B4-BE49-F238E27FC236}">
                  <a16:creationId xmlns:a16="http://schemas.microsoft.com/office/drawing/2014/main" id="{429A76FD-0C53-42C6-AD32-8EA3B68CC465}"/>
                </a:ext>
              </a:extLst>
            </p:cNvPr>
            <p:cNvSpPr/>
            <p:nvPr/>
          </p:nvSpPr>
          <p:spPr bwMode="auto">
            <a:xfrm>
              <a:off x="6897688" y="3214688"/>
              <a:ext cx="82550" cy="80963"/>
            </a:xfrm>
            <a:custGeom>
              <a:avLst/>
              <a:gdLst>
                <a:gd name="T0" fmla="*/ 32 w 52"/>
                <a:gd name="T1" fmla="*/ 0 h 51"/>
                <a:gd name="T2" fmla="*/ 0 w 52"/>
                <a:gd name="T3" fmla="*/ 39 h 51"/>
                <a:gd name="T4" fmla="*/ 21 w 52"/>
                <a:gd name="T5" fmla="*/ 51 h 51"/>
                <a:gd name="T6" fmla="*/ 52 w 52"/>
                <a:gd name="T7" fmla="*/ 12 h 51"/>
                <a:gd name="T8" fmla="*/ 32 w 52"/>
                <a:gd name="T9" fmla="*/ 0 h 51"/>
              </a:gdLst>
              <a:ahLst/>
              <a:cxnLst>
                <a:cxn ang="0">
                  <a:pos x="T0" y="T1"/>
                </a:cxn>
                <a:cxn ang="0">
                  <a:pos x="T2" y="T3"/>
                </a:cxn>
                <a:cxn ang="0">
                  <a:pos x="T4" y="T5"/>
                </a:cxn>
                <a:cxn ang="0">
                  <a:pos x="T6" y="T7"/>
                </a:cxn>
                <a:cxn ang="0">
                  <a:pos x="T8" y="T9"/>
                </a:cxn>
              </a:cxnLst>
              <a:rect l="0" t="0" r="r" b="b"/>
              <a:pathLst>
                <a:path w="52" h="51">
                  <a:moveTo>
                    <a:pt x="32" y="0"/>
                  </a:moveTo>
                  <a:lnTo>
                    <a:pt x="0" y="39"/>
                  </a:lnTo>
                  <a:lnTo>
                    <a:pt x="21" y="51"/>
                  </a:lnTo>
                  <a:lnTo>
                    <a:pt x="52" y="12"/>
                  </a:lnTo>
                  <a:lnTo>
                    <a:pt x="32" y="0"/>
                  </a:lnTo>
                  <a:close/>
                </a:path>
              </a:pathLst>
            </a:custGeom>
            <a:solidFill>
              <a:srgbClr val="B1E4F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18" name="ïṩ1iḋe">
              <a:extLst>
                <a:ext uri="{FF2B5EF4-FFF2-40B4-BE49-F238E27FC236}">
                  <a16:creationId xmlns:a16="http://schemas.microsoft.com/office/drawing/2014/main" id="{083CAAF7-6456-4F6F-BEFE-C1446B6EED26}"/>
                </a:ext>
              </a:extLst>
            </p:cNvPr>
            <p:cNvSpPr/>
            <p:nvPr/>
          </p:nvSpPr>
          <p:spPr bwMode="auto">
            <a:xfrm>
              <a:off x="6958013" y="3251201"/>
              <a:ext cx="146050" cy="150813"/>
            </a:xfrm>
            <a:custGeom>
              <a:avLst/>
              <a:gdLst>
                <a:gd name="T0" fmla="*/ 0 w 92"/>
                <a:gd name="T1" fmla="*/ 39 h 95"/>
                <a:gd name="T2" fmla="*/ 92 w 92"/>
                <a:gd name="T3" fmla="*/ 95 h 95"/>
                <a:gd name="T4" fmla="*/ 92 w 92"/>
                <a:gd name="T5" fmla="*/ 37 h 95"/>
                <a:gd name="T6" fmla="*/ 32 w 92"/>
                <a:gd name="T7" fmla="*/ 0 h 95"/>
                <a:gd name="T8" fmla="*/ 0 w 92"/>
                <a:gd name="T9" fmla="*/ 39 h 95"/>
              </a:gdLst>
              <a:ahLst/>
              <a:cxnLst>
                <a:cxn ang="0">
                  <a:pos x="T0" y="T1"/>
                </a:cxn>
                <a:cxn ang="0">
                  <a:pos x="T2" y="T3"/>
                </a:cxn>
                <a:cxn ang="0">
                  <a:pos x="T4" y="T5"/>
                </a:cxn>
                <a:cxn ang="0">
                  <a:pos x="T6" y="T7"/>
                </a:cxn>
                <a:cxn ang="0">
                  <a:pos x="T8" y="T9"/>
                </a:cxn>
              </a:cxnLst>
              <a:rect l="0" t="0" r="r" b="b"/>
              <a:pathLst>
                <a:path w="92" h="95">
                  <a:moveTo>
                    <a:pt x="0" y="39"/>
                  </a:moveTo>
                  <a:lnTo>
                    <a:pt x="92" y="95"/>
                  </a:lnTo>
                  <a:lnTo>
                    <a:pt x="92" y="37"/>
                  </a:lnTo>
                  <a:lnTo>
                    <a:pt x="32" y="0"/>
                  </a:lnTo>
                  <a:lnTo>
                    <a:pt x="0" y="39"/>
                  </a:lnTo>
                  <a:close/>
                </a:path>
              </a:pathLst>
            </a:custGeom>
            <a:solidFill>
              <a:srgbClr val="95DAE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19" name="ïş1idé">
              <a:extLst>
                <a:ext uri="{FF2B5EF4-FFF2-40B4-BE49-F238E27FC236}">
                  <a16:creationId xmlns:a16="http://schemas.microsoft.com/office/drawing/2014/main" id="{4513E358-786A-4523-983C-FA55A2348520}"/>
                </a:ext>
              </a:extLst>
            </p:cNvPr>
            <p:cNvSpPr/>
            <p:nvPr/>
          </p:nvSpPr>
          <p:spPr bwMode="auto">
            <a:xfrm>
              <a:off x="6931025" y="3233738"/>
              <a:ext cx="61913" cy="69850"/>
            </a:xfrm>
            <a:custGeom>
              <a:avLst/>
              <a:gdLst>
                <a:gd name="T0" fmla="*/ 31 w 39"/>
                <a:gd name="T1" fmla="*/ 0 h 44"/>
                <a:gd name="T2" fmla="*/ 0 w 39"/>
                <a:gd name="T3" fmla="*/ 39 h 44"/>
                <a:gd name="T4" fmla="*/ 7 w 39"/>
                <a:gd name="T5" fmla="*/ 44 h 44"/>
                <a:gd name="T6" fmla="*/ 39 w 39"/>
                <a:gd name="T7" fmla="*/ 5 h 44"/>
                <a:gd name="T8" fmla="*/ 31 w 39"/>
                <a:gd name="T9" fmla="*/ 0 h 44"/>
              </a:gdLst>
              <a:ahLst/>
              <a:cxnLst>
                <a:cxn ang="0">
                  <a:pos x="T0" y="T1"/>
                </a:cxn>
                <a:cxn ang="0">
                  <a:pos x="T2" y="T3"/>
                </a:cxn>
                <a:cxn ang="0">
                  <a:pos x="T4" y="T5"/>
                </a:cxn>
                <a:cxn ang="0">
                  <a:pos x="T6" y="T7"/>
                </a:cxn>
                <a:cxn ang="0">
                  <a:pos x="T8" y="T9"/>
                </a:cxn>
              </a:cxnLst>
              <a:rect l="0" t="0" r="r" b="b"/>
              <a:pathLst>
                <a:path w="39" h="44">
                  <a:moveTo>
                    <a:pt x="31" y="0"/>
                  </a:moveTo>
                  <a:lnTo>
                    <a:pt x="0" y="39"/>
                  </a:lnTo>
                  <a:lnTo>
                    <a:pt x="7" y="44"/>
                  </a:lnTo>
                  <a:lnTo>
                    <a:pt x="39" y="5"/>
                  </a:lnTo>
                  <a:lnTo>
                    <a:pt x="31" y="0"/>
                  </a:lnTo>
                  <a:close/>
                </a:path>
              </a:pathLst>
            </a:custGeom>
            <a:solidFill>
              <a:srgbClr val="95DAE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20" name="ïṣḷiḍe">
              <a:extLst>
                <a:ext uri="{FF2B5EF4-FFF2-40B4-BE49-F238E27FC236}">
                  <a16:creationId xmlns:a16="http://schemas.microsoft.com/office/drawing/2014/main" id="{86C7312E-5B73-4C85-B952-06B360E6B1DE}"/>
                </a:ext>
              </a:extLst>
            </p:cNvPr>
            <p:cNvSpPr/>
            <p:nvPr/>
          </p:nvSpPr>
          <p:spPr bwMode="auto">
            <a:xfrm>
              <a:off x="6942138" y="3241676"/>
              <a:ext cx="66675" cy="71438"/>
            </a:xfrm>
            <a:custGeom>
              <a:avLst/>
              <a:gdLst>
                <a:gd name="T0" fmla="*/ 32 w 42"/>
                <a:gd name="T1" fmla="*/ 0 h 45"/>
                <a:gd name="T2" fmla="*/ 0 w 42"/>
                <a:gd name="T3" fmla="*/ 39 h 45"/>
                <a:gd name="T4" fmla="*/ 10 w 42"/>
                <a:gd name="T5" fmla="*/ 45 h 45"/>
                <a:gd name="T6" fmla="*/ 42 w 42"/>
                <a:gd name="T7" fmla="*/ 6 h 45"/>
                <a:gd name="T8" fmla="*/ 32 w 42"/>
                <a:gd name="T9" fmla="*/ 0 h 45"/>
              </a:gdLst>
              <a:ahLst/>
              <a:cxnLst>
                <a:cxn ang="0">
                  <a:pos x="T0" y="T1"/>
                </a:cxn>
                <a:cxn ang="0">
                  <a:pos x="T2" y="T3"/>
                </a:cxn>
                <a:cxn ang="0">
                  <a:pos x="T4" y="T5"/>
                </a:cxn>
                <a:cxn ang="0">
                  <a:pos x="T6" y="T7"/>
                </a:cxn>
                <a:cxn ang="0">
                  <a:pos x="T8" y="T9"/>
                </a:cxn>
              </a:cxnLst>
              <a:rect l="0" t="0" r="r" b="b"/>
              <a:pathLst>
                <a:path w="42" h="45">
                  <a:moveTo>
                    <a:pt x="32" y="0"/>
                  </a:moveTo>
                  <a:lnTo>
                    <a:pt x="0" y="39"/>
                  </a:lnTo>
                  <a:lnTo>
                    <a:pt x="10" y="45"/>
                  </a:lnTo>
                  <a:lnTo>
                    <a:pt x="42" y="6"/>
                  </a:lnTo>
                  <a:lnTo>
                    <a:pt x="32" y="0"/>
                  </a:lnTo>
                  <a:close/>
                </a:path>
              </a:pathLst>
            </a:custGeom>
            <a:solidFill>
              <a:srgbClr val="B1E4F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21" name="ïs1iḋè">
              <a:extLst>
                <a:ext uri="{FF2B5EF4-FFF2-40B4-BE49-F238E27FC236}">
                  <a16:creationId xmlns:a16="http://schemas.microsoft.com/office/drawing/2014/main" id="{1C146FCC-B0EF-4E13-A8C3-076130BA7451}"/>
                </a:ext>
              </a:extLst>
            </p:cNvPr>
            <p:cNvSpPr/>
            <p:nvPr/>
          </p:nvSpPr>
          <p:spPr bwMode="auto">
            <a:xfrm>
              <a:off x="7175500" y="3333751"/>
              <a:ext cx="49213" cy="144463"/>
            </a:xfrm>
            <a:custGeom>
              <a:avLst/>
              <a:gdLst>
                <a:gd name="T0" fmla="*/ 0 w 31"/>
                <a:gd name="T1" fmla="*/ 91 h 91"/>
                <a:gd name="T2" fmla="*/ 31 w 31"/>
                <a:gd name="T3" fmla="*/ 74 h 91"/>
                <a:gd name="T4" fmla="*/ 31 w 31"/>
                <a:gd name="T5" fmla="*/ 0 h 91"/>
                <a:gd name="T6" fmla="*/ 0 w 31"/>
                <a:gd name="T7" fmla="*/ 19 h 91"/>
                <a:gd name="T8" fmla="*/ 0 w 31"/>
                <a:gd name="T9" fmla="*/ 91 h 91"/>
              </a:gdLst>
              <a:ahLst/>
              <a:cxnLst>
                <a:cxn ang="0">
                  <a:pos x="T0" y="T1"/>
                </a:cxn>
                <a:cxn ang="0">
                  <a:pos x="T2" y="T3"/>
                </a:cxn>
                <a:cxn ang="0">
                  <a:pos x="T4" y="T5"/>
                </a:cxn>
                <a:cxn ang="0">
                  <a:pos x="T6" y="T7"/>
                </a:cxn>
                <a:cxn ang="0">
                  <a:pos x="T8" y="T9"/>
                </a:cxn>
              </a:cxnLst>
              <a:rect l="0" t="0" r="r" b="b"/>
              <a:pathLst>
                <a:path w="31" h="91">
                  <a:moveTo>
                    <a:pt x="0" y="91"/>
                  </a:moveTo>
                  <a:lnTo>
                    <a:pt x="31" y="74"/>
                  </a:lnTo>
                  <a:lnTo>
                    <a:pt x="31" y="0"/>
                  </a:lnTo>
                  <a:lnTo>
                    <a:pt x="0" y="19"/>
                  </a:lnTo>
                  <a:lnTo>
                    <a:pt x="0" y="91"/>
                  </a:lnTo>
                  <a:close/>
                </a:path>
              </a:pathLst>
            </a:custGeom>
            <a:solidFill>
              <a:srgbClr val="75757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22" name="ïşḷiḍe">
              <a:extLst>
                <a:ext uri="{FF2B5EF4-FFF2-40B4-BE49-F238E27FC236}">
                  <a16:creationId xmlns:a16="http://schemas.microsoft.com/office/drawing/2014/main" id="{4E199149-A071-4AAE-9C58-2C7811459E43}"/>
                </a:ext>
              </a:extLst>
            </p:cNvPr>
            <p:cNvSpPr/>
            <p:nvPr/>
          </p:nvSpPr>
          <p:spPr bwMode="auto">
            <a:xfrm>
              <a:off x="6632575" y="2967038"/>
              <a:ext cx="557213" cy="334963"/>
            </a:xfrm>
            <a:custGeom>
              <a:avLst/>
              <a:gdLst>
                <a:gd name="T0" fmla="*/ 17 w 423"/>
                <a:gd name="T1" fmla="*/ 25 h 254"/>
                <a:gd name="T2" fmla="*/ 387 w 423"/>
                <a:gd name="T3" fmla="*/ 253 h 254"/>
                <a:gd name="T4" fmla="*/ 389 w 423"/>
                <a:gd name="T5" fmla="*/ 254 h 254"/>
                <a:gd name="T6" fmla="*/ 423 w 423"/>
                <a:gd name="T7" fmla="*/ 232 h 254"/>
                <a:gd name="T8" fmla="*/ 53 w 423"/>
                <a:gd name="T9" fmla="*/ 4 h 254"/>
                <a:gd name="T10" fmla="*/ 36 w 423"/>
                <a:gd name="T11" fmla="*/ 2 h 254"/>
                <a:gd name="T12" fmla="*/ 0 w 423"/>
                <a:gd name="T13" fmla="*/ 23 h 254"/>
                <a:gd name="T14" fmla="*/ 0 w 423"/>
                <a:gd name="T15" fmla="*/ 23 h 254"/>
                <a:gd name="T16" fmla="*/ 17 w 423"/>
                <a:gd name="T17" fmla="*/ 25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3" h="254">
                  <a:moveTo>
                    <a:pt x="17" y="25"/>
                  </a:moveTo>
                  <a:cubicBezTo>
                    <a:pt x="387" y="253"/>
                    <a:pt x="387" y="253"/>
                    <a:pt x="387" y="253"/>
                  </a:cubicBezTo>
                  <a:cubicBezTo>
                    <a:pt x="388" y="253"/>
                    <a:pt x="388" y="254"/>
                    <a:pt x="389" y="254"/>
                  </a:cubicBezTo>
                  <a:cubicBezTo>
                    <a:pt x="423" y="232"/>
                    <a:pt x="423" y="232"/>
                    <a:pt x="423" y="232"/>
                  </a:cubicBezTo>
                  <a:cubicBezTo>
                    <a:pt x="53" y="4"/>
                    <a:pt x="53" y="4"/>
                    <a:pt x="53" y="4"/>
                  </a:cubicBezTo>
                  <a:cubicBezTo>
                    <a:pt x="47" y="0"/>
                    <a:pt x="40" y="0"/>
                    <a:pt x="36" y="2"/>
                  </a:cubicBezTo>
                  <a:cubicBezTo>
                    <a:pt x="0" y="23"/>
                    <a:pt x="0" y="23"/>
                    <a:pt x="0" y="23"/>
                  </a:cubicBezTo>
                  <a:cubicBezTo>
                    <a:pt x="0" y="23"/>
                    <a:pt x="0" y="23"/>
                    <a:pt x="0" y="23"/>
                  </a:cubicBezTo>
                  <a:cubicBezTo>
                    <a:pt x="4" y="20"/>
                    <a:pt x="10" y="21"/>
                    <a:pt x="17" y="25"/>
                  </a:cubicBezTo>
                  <a:close/>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23" name="iŝļïďê">
              <a:extLst>
                <a:ext uri="{FF2B5EF4-FFF2-40B4-BE49-F238E27FC236}">
                  <a16:creationId xmlns:a16="http://schemas.microsoft.com/office/drawing/2014/main" id="{7EA9D69C-DCAD-48FB-A363-A52029070D3C}"/>
                </a:ext>
              </a:extLst>
            </p:cNvPr>
            <p:cNvSpPr/>
            <p:nvPr/>
          </p:nvSpPr>
          <p:spPr bwMode="auto">
            <a:xfrm>
              <a:off x="7145338" y="3271838"/>
              <a:ext cx="79375" cy="92075"/>
            </a:xfrm>
            <a:custGeom>
              <a:avLst/>
              <a:gdLst>
                <a:gd name="T0" fmla="*/ 34 w 60"/>
                <a:gd name="T1" fmla="*/ 1 h 69"/>
                <a:gd name="T2" fmla="*/ 34 w 60"/>
                <a:gd name="T3" fmla="*/ 0 h 69"/>
                <a:gd name="T4" fmla="*/ 0 w 60"/>
                <a:gd name="T5" fmla="*/ 22 h 69"/>
                <a:gd name="T6" fmla="*/ 7 w 60"/>
                <a:gd name="T7" fmla="*/ 28 h 69"/>
                <a:gd name="T8" fmla="*/ 7 w 60"/>
                <a:gd name="T9" fmla="*/ 28 h 69"/>
                <a:gd name="T10" fmla="*/ 9 w 60"/>
                <a:gd name="T11" fmla="*/ 31 h 69"/>
                <a:gd name="T12" fmla="*/ 9 w 60"/>
                <a:gd name="T13" fmla="*/ 31 h 69"/>
                <a:gd name="T14" fmla="*/ 11 w 60"/>
                <a:gd name="T15" fmla="*/ 33 h 69"/>
                <a:gd name="T16" fmla="*/ 11 w 60"/>
                <a:gd name="T17" fmla="*/ 33 h 69"/>
                <a:gd name="T18" fmla="*/ 13 w 60"/>
                <a:gd name="T19" fmla="*/ 36 h 69"/>
                <a:gd name="T20" fmla="*/ 13 w 60"/>
                <a:gd name="T21" fmla="*/ 36 h 69"/>
                <a:gd name="T22" fmla="*/ 15 w 60"/>
                <a:gd name="T23" fmla="*/ 39 h 69"/>
                <a:gd name="T24" fmla="*/ 15 w 60"/>
                <a:gd name="T25" fmla="*/ 39 h 69"/>
                <a:gd name="T26" fmla="*/ 16 w 60"/>
                <a:gd name="T27" fmla="*/ 42 h 69"/>
                <a:gd name="T28" fmla="*/ 17 w 60"/>
                <a:gd name="T29" fmla="*/ 42 h 69"/>
                <a:gd name="T30" fmla="*/ 18 w 60"/>
                <a:gd name="T31" fmla="*/ 45 h 69"/>
                <a:gd name="T32" fmla="*/ 18 w 60"/>
                <a:gd name="T33" fmla="*/ 46 h 69"/>
                <a:gd name="T34" fmla="*/ 19 w 60"/>
                <a:gd name="T35" fmla="*/ 48 h 69"/>
                <a:gd name="T36" fmla="*/ 20 w 60"/>
                <a:gd name="T37" fmla="*/ 49 h 69"/>
                <a:gd name="T38" fmla="*/ 20 w 60"/>
                <a:gd name="T39" fmla="*/ 51 h 69"/>
                <a:gd name="T40" fmla="*/ 21 w 60"/>
                <a:gd name="T41" fmla="*/ 52 h 69"/>
                <a:gd name="T42" fmla="*/ 21 w 60"/>
                <a:gd name="T43" fmla="*/ 54 h 69"/>
                <a:gd name="T44" fmla="*/ 22 w 60"/>
                <a:gd name="T45" fmla="*/ 55 h 69"/>
                <a:gd name="T46" fmla="*/ 22 w 60"/>
                <a:gd name="T47" fmla="*/ 57 h 69"/>
                <a:gd name="T48" fmla="*/ 22 w 60"/>
                <a:gd name="T49" fmla="*/ 59 h 69"/>
                <a:gd name="T50" fmla="*/ 23 w 60"/>
                <a:gd name="T51" fmla="*/ 60 h 69"/>
                <a:gd name="T52" fmla="*/ 23 w 60"/>
                <a:gd name="T53" fmla="*/ 62 h 69"/>
                <a:gd name="T54" fmla="*/ 23 w 60"/>
                <a:gd name="T55" fmla="*/ 63 h 69"/>
                <a:gd name="T56" fmla="*/ 23 w 60"/>
                <a:gd name="T57" fmla="*/ 66 h 69"/>
                <a:gd name="T58" fmla="*/ 23 w 60"/>
                <a:gd name="T59" fmla="*/ 69 h 69"/>
                <a:gd name="T60" fmla="*/ 60 w 60"/>
                <a:gd name="T61" fmla="*/ 47 h 69"/>
                <a:gd name="T62" fmla="*/ 60 w 60"/>
                <a:gd name="T63" fmla="*/ 46 h 69"/>
                <a:gd name="T64" fmla="*/ 34 w 60"/>
                <a:gd name="T65" fmla="*/ 1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0" h="69">
                  <a:moveTo>
                    <a:pt x="34" y="1"/>
                  </a:moveTo>
                  <a:cubicBezTo>
                    <a:pt x="34" y="0"/>
                    <a:pt x="34" y="0"/>
                    <a:pt x="34" y="0"/>
                  </a:cubicBezTo>
                  <a:cubicBezTo>
                    <a:pt x="0" y="22"/>
                    <a:pt x="0" y="22"/>
                    <a:pt x="0" y="22"/>
                  </a:cubicBezTo>
                  <a:cubicBezTo>
                    <a:pt x="2" y="24"/>
                    <a:pt x="4" y="26"/>
                    <a:pt x="7" y="28"/>
                  </a:cubicBezTo>
                  <a:cubicBezTo>
                    <a:pt x="7" y="28"/>
                    <a:pt x="7" y="28"/>
                    <a:pt x="7" y="28"/>
                  </a:cubicBezTo>
                  <a:cubicBezTo>
                    <a:pt x="7" y="29"/>
                    <a:pt x="8" y="30"/>
                    <a:pt x="9" y="31"/>
                  </a:cubicBezTo>
                  <a:cubicBezTo>
                    <a:pt x="9" y="31"/>
                    <a:pt x="9" y="31"/>
                    <a:pt x="9" y="31"/>
                  </a:cubicBezTo>
                  <a:cubicBezTo>
                    <a:pt x="10" y="32"/>
                    <a:pt x="10" y="32"/>
                    <a:pt x="11" y="33"/>
                  </a:cubicBezTo>
                  <a:cubicBezTo>
                    <a:pt x="11" y="33"/>
                    <a:pt x="11" y="33"/>
                    <a:pt x="11" y="33"/>
                  </a:cubicBezTo>
                  <a:cubicBezTo>
                    <a:pt x="12" y="34"/>
                    <a:pt x="12" y="35"/>
                    <a:pt x="13" y="36"/>
                  </a:cubicBezTo>
                  <a:cubicBezTo>
                    <a:pt x="13" y="36"/>
                    <a:pt x="13" y="36"/>
                    <a:pt x="13" y="36"/>
                  </a:cubicBezTo>
                  <a:cubicBezTo>
                    <a:pt x="14" y="37"/>
                    <a:pt x="14" y="38"/>
                    <a:pt x="15" y="39"/>
                  </a:cubicBezTo>
                  <a:cubicBezTo>
                    <a:pt x="15" y="39"/>
                    <a:pt x="15" y="39"/>
                    <a:pt x="15" y="39"/>
                  </a:cubicBezTo>
                  <a:cubicBezTo>
                    <a:pt x="15" y="40"/>
                    <a:pt x="16" y="41"/>
                    <a:pt x="16" y="42"/>
                  </a:cubicBezTo>
                  <a:cubicBezTo>
                    <a:pt x="17" y="42"/>
                    <a:pt x="17" y="42"/>
                    <a:pt x="17" y="42"/>
                  </a:cubicBezTo>
                  <a:cubicBezTo>
                    <a:pt x="17" y="43"/>
                    <a:pt x="17" y="44"/>
                    <a:pt x="18" y="45"/>
                  </a:cubicBezTo>
                  <a:cubicBezTo>
                    <a:pt x="18" y="46"/>
                    <a:pt x="18" y="46"/>
                    <a:pt x="18" y="46"/>
                  </a:cubicBezTo>
                  <a:cubicBezTo>
                    <a:pt x="19" y="46"/>
                    <a:pt x="19" y="47"/>
                    <a:pt x="19" y="48"/>
                  </a:cubicBezTo>
                  <a:cubicBezTo>
                    <a:pt x="19" y="48"/>
                    <a:pt x="19" y="48"/>
                    <a:pt x="20" y="49"/>
                  </a:cubicBezTo>
                  <a:cubicBezTo>
                    <a:pt x="20" y="49"/>
                    <a:pt x="20" y="50"/>
                    <a:pt x="20" y="51"/>
                  </a:cubicBezTo>
                  <a:cubicBezTo>
                    <a:pt x="20" y="51"/>
                    <a:pt x="21" y="52"/>
                    <a:pt x="21" y="52"/>
                  </a:cubicBezTo>
                  <a:cubicBezTo>
                    <a:pt x="21" y="53"/>
                    <a:pt x="21" y="53"/>
                    <a:pt x="21" y="54"/>
                  </a:cubicBezTo>
                  <a:cubicBezTo>
                    <a:pt x="21" y="54"/>
                    <a:pt x="22" y="55"/>
                    <a:pt x="22" y="55"/>
                  </a:cubicBezTo>
                  <a:cubicBezTo>
                    <a:pt x="22" y="56"/>
                    <a:pt x="22" y="57"/>
                    <a:pt x="22" y="57"/>
                  </a:cubicBezTo>
                  <a:cubicBezTo>
                    <a:pt x="22" y="58"/>
                    <a:pt x="22" y="58"/>
                    <a:pt x="22" y="59"/>
                  </a:cubicBezTo>
                  <a:cubicBezTo>
                    <a:pt x="23" y="59"/>
                    <a:pt x="23" y="60"/>
                    <a:pt x="23" y="60"/>
                  </a:cubicBezTo>
                  <a:cubicBezTo>
                    <a:pt x="23" y="61"/>
                    <a:pt x="23" y="62"/>
                    <a:pt x="23" y="62"/>
                  </a:cubicBezTo>
                  <a:cubicBezTo>
                    <a:pt x="23" y="63"/>
                    <a:pt x="23" y="63"/>
                    <a:pt x="23" y="63"/>
                  </a:cubicBezTo>
                  <a:cubicBezTo>
                    <a:pt x="23" y="64"/>
                    <a:pt x="23" y="65"/>
                    <a:pt x="23" y="66"/>
                  </a:cubicBezTo>
                  <a:cubicBezTo>
                    <a:pt x="23" y="69"/>
                    <a:pt x="23" y="69"/>
                    <a:pt x="23" y="69"/>
                  </a:cubicBezTo>
                  <a:cubicBezTo>
                    <a:pt x="60" y="47"/>
                    <a:pt x="60" y="47"/>
                    <a:pt x="60" y="47"/>
                  </a:cubicBezTo>
                  <a:cubicBezTo>
                    <a:pt x="60" y="46"/>
                    <a:pt x="60" y="46"/>
                    <a:pt x="60" y="46"/>
                  </a:cubicBezTo>
                  <a:cubicBezTo>
                    <a:pt x="60" y="29"/>
                    <a:pt x="48" y="9"/>
                    <a:pt x="34" y="1"/>
                  </a:cubicBezTo>
                  <a:close/>
                </a:path>
              </a:pathLst>
            </a:custGeom>
            <a:solidFill>
              <a:srgbClr val="87878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24" name="ïś1iḓé">
              <a:extLst>
                <a:ext uri="{FF2B5EF4-FFF2-40B4-BE49-F238E27FC236}">
                  <a16:creationId xmlns:a16="http://schemas.microsoft.com/office/drawing/2014/main" id="{D80634E3-ED3F-4087-9458-3EBAF6F1944C}"/>
                </a:ext>
              </a:extLst>
            </p:cNvPr>
            <p:cNvSpPr/>
            <p:nvPr/>
          </p:nvSpPr>
          <p:spPr bwMode="auto">
            <a:xfrm>
              <a:off x="6861175" y="4584701"/>
              <a:ext cx="100013" cy="130175"/>
            </a:xfrm>
            <a:custGeom>
              <a:avLst/>
              <a:gdLst>
                <a:gd name="T0" fmla="*/ 76 w 76"/>
                <a:gd name="T1" fmla="*/ 49 h 99"/>
                <a:gd name="T2" fmla="*/ 39 w 76"/>
                <a:gd name="T3" fmla="*/ 27 h 99"/>
                <a:gd name="T4" fmla="*/ 40 w 76"/>
                <a:gd name="T5" fmla="*/ 13 h 99"/>
                <a:gd name="T6" fmla="*/ 39 w 76"/>
                <a:gd name="T7" fmla="*/ 22 h 99"/>
                <a:gd name="T8" fmla="*/ 4 w 76"/>
                <a:gd name="T9" fmla="*/ 0 h 99"/>
                <a:gd name="T10" fmla="*/ 1 w 76"/>
                <a:gd name="T11" fmla="*/ 99 h 99"/>
                <a:gd name="T12" fmla="*/ 75 w 76"/>
                <a:gd name="T13" fmla="*/ 57 h 99"/>
                <a:gd name="T14" fmla="*/ 76 w 76"/>
                <a:gd name="T15" fmla="*/ 49 h 9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6" h="99">
                  <a:moveTo>
                    <a:pt x="76" y="49"/>
                  </a:moveTo>
                  <a:cubicBezTo>
                    <a:pt x="54" y="36"/>
                    <a:pt x="39" y="27"/>
                    <a:pt x="39" y="27"/>
                  </a:cubicBezTo>
                  <a:cubicBezTo>
                    <a:pt x="39" y="22"/>
                    <a:pt x="39" y="17"/>
                    <a:pt x="40" y="13"/>
                  </a:cubicBezTo>
                  <a:cubicBezTo>
                    <a:pt x="39" y="16"/>
                    <a:pt x="39" y="19"/>
                    <a:pt x="39" y="22"/>
                  </a:cubicBezTo>
                  <a:cubicBezTo>
                    <a:pt x="22" y="12"/>
                    <a:pt x="10" y="4"/>
                    <a:pt x="4" y="0"/>
                  </a:cubicBezTo>
                  <a:cubicBezTo>
                    <a:pt x="1" y="25"/>
                    <a:pt x="0" y="58"/>
                    <a:pt x="1" y="99"/>
                  </a:cubicBezTo>
                  <a:cubicBezTo>
                    <a:pt x="75" y="57"/>
                    <a:pt x="75" y="57"/>
                    <a:pt x="75" y="57"/>
                  </a:cubicBezTo>
                  <a:cubicBezTo>
                    <a:pt x="75" y="54"/>
                    <a:pt x="75" y="51"/>
                    <a:pt x="76" y="49"/>
                  </a:cubicBezTo>
                  <a:close/>
                </a:path>
              </a:pathLst>
            </a:custGeom>
            <a:solidFill>
              <a:srgbClr val="E8AB8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25" name="iṥḷïḑe">
              <a:extLst>
                <a:ext uri="{FF2B5EF4-FFF2-40B4-BE49-F238E27FC236}">
                  <a16:creationId xmlns:a16="http://schemas.microsoft.com/office/drawing/2014/main" id="{6B96C66B-F4EC-49A8-BB1A-8CEC04C8752D}"/>
                </a:ext>
              </a:extLst>
            </p:cNvPr>
            <p:cNvSpPr/>
            <p:nvPr/>
          </p:nvSpPr>
          <p:spPr bwMode="auto">
            <a:xfrm>
              <a:off x="6926263" y="4524376"/>
              <a:ext cx="12700" cy="23813"/>
            </a:xfrm>
            <a:custGeom>
              <a:avLst/>
              <a:gdLst>
                <a:gd name="T0" fmla="*/ 0 w 9"/>
                <a:gd name="T1" fmla="*/ 18 h 18"/>
                <a:gd name="T2" fmla="*/ 9 w 9"/>
                <a:gd name="T3" fmla="*/ 0 h 18"/>
                <a:gd name="T4" fmla="*/ 0 w 9"/>
                <a:gd name="T5" fmla="*/ 18 h 18"/>
              </a:gdLst>
              <a:ahLst/>
              <a:cxnLst>
                <a:cxn ang="0">
                  <a:pos x="T0" y="T1"/>
                </a:cxn>
                <a:cxn ang="0">
                  <a:pos x="T2" y="T3"/>
                </a:cxn>
                <a:cxn ang="0">
                  <a:pos x="T4" y="T5"/>
                </a:cxn>
              </a:cxnLst>
              <a:rect l="0" t="0" r="r" b="b"/>
              <a:pathLst>
                <a:path w="9" h="18">
                  <a:moveTo>
                    <a:pt x="0" y="18"/>
                  </a:moveTo>
                  <a:cubicBezTo>
                    <a:pt x="2" y="11"/>
                    <a:pt x="6" y="5"/>
                    <a:pt x="9" y="0"/>
                  </a:cubicBezTo>
                  <a:cubicBezTo>
                    <a:pt x="6" y="5"/>
                    <a:pt x="2" y="11"/>
                    <a:pt x="0" y="18"/>
                  </a:cubicBezTo>
                  <a:close/>
                </a:path>
              </a:pathLst>
            </a:custGeom>
            <a:solidFill>
              <a:srgbClr val="E8AB8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26" name="ïśļíďê">
              <a:extLst>
                <a:ext uri="{FF2B5EF4-FFF2-40B4-BE49-F238E27FC236}">
                  <a16:creationId xmlns:a16="http://schemas.microsoft.com/office/drawing/2014/main" id="{C29DDE1F-014A-4F06-8750-209D62022FCE}"/>
                </a:ext>
              </a:extLst>
            </p:cNvPr>
            <p:cNvSpPr/>
            <p:nvPr/>
          </p:nvSpPr>
          <p:spPr bwMode="auto">
            <a:xfrm>
              <a:off x="7035800" y="4429126"/>
              <a:ext cx="30163" cy="22225"/>
            </a:xfrm>
            <a:custGeom>
              <a:avLst/>
              <a:gdLst>
                <a:gd name="T0" fmla="*/ 21 w 23"/>
                <a:gd name="T1" fmla="*/ 16 h 16"/>
                <a:gd name="T2" fmla="*/ 23 w 23"/>
                <a:gd name="T3" fmla="*/ 0 h 16"/>
                <a:gd name="T4" fmla="*/ 0 w 23"/>
                <a:gd name="T5" fmla="*/ 13 h 16"/>
                <a:gd name="T6" fmla="*/ 21 w 23"/>
                <a:gd name="T7" fmla="*/ 16 h 16"/>
              </a:gdLst>
              <a:ahLst/>
              <a:cxnLst>
                <a:cxn ang="0">
                  <a:pos x="T0" y="T1"/>
                </a:cxn>
                <a:cxn ang="0">
                  <a:pos x="T2" y="T3"/>
                </a:cxn>
                <a:cxn ang="0">
                  <a:pos x="T4" y="T5"/>
                </a:cxn>
                <a:cxn ang="0">
                  <a:pos x="T6" y="T7"/>
                </a:cxn>
              </a:cxnLst>
              <a:rect l="0" t="0" r="r" b="b"/>
              <a:pathLst>
                <a:path w="23" h="16">
                  <a:moveTo>
                    <a:pt x="21" y="16"/>
                  </a:moveTo>
                  <a:cubicBezTo>
                    <a:pt x="21" y="16"/>
                    <a:pt x="22" y="10"/>
                    <a:pt x="23" y="0"/>
                  </a:cubicBezTo>
                  <a:cubicBezTo>
                    <a:pt x="15" y="4"/>
                    <a:pt x="8" y="8"/>
                    <a:pt x="0" y="13"/>
                  </a:cubicBezTo>
                  <a:lnTo>
                    <a:pt x="21" y="1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27" name="îŝ1îḋe">
              <a:extLst>
                <a:ext uri="{FF2B5EF4-FFF2-40B4-BE49-F238E27FC236}">
                  <a16:creationId xmlns:a16="http://schemas.microsoft.com/office/drawing/2014/main" id="{EE40941F-53DE-4431-AF69-333D6899DA05}"/>
                </a:ext>
              </a:extLst>
            </p:cNvPr>
            <p:cNvSpPr/>
            <p:nvPr/>
          </p:nvSpPr>
          <p:spPr bwMode="auto">
            <a:xfrm>
              <a:off x="6861175" y="4479926"/>
              <a:ext cx="92075" cy="133350"/>
            </a:xfrm>
            <a:custGeom>
              <a:avLst/>
              <a:gdLst>
                <a:gd name="T0" fmla="*/ 40 w 71"/>
                <a:gd name="T1" fmla="*/ 93 h 102"/>
                <a:gd name="T2" fmla="*/ 50 w 71"/>
                <a:gd name="T3" fmla="*/ 52 h 102"/>
                <a:gd name="T4" fmla="*/ 59 w 71"/>
                <a:gd name="T5" fmla="*/ 34 h 102"/>
                <a:gd name="T6" fmla="*/ 65 w 71"/>
                <a:gd name="T7" fmla="*/ 27 h 102"/>
                <a:gd name="T8" fmla="*/ 71 w 71"/>
                <a:gd name="T9" fmla="*/ 21 h 102"/>
                <a:gd name="T10" fmla="*/ 23 w 71"/>
                <a:gd name="T11" fmla="*/ 7 h 102"/>
                <a:gd name="T12" fmla="*/ 19 w 71"/>
                <a:gd name="T13" fmla="*/ 0 h 102"/>
                <a:gd name="T14" fmla="*/ 0 w 71"/>
                <a:gd name="T15" fmla="*/ 78 h 102"/>
                <a:gd name="T16" fmla="*/ 4 w 71"/>
                <a:gd name="T17" fmla="*/ 80 h 102"/>
                <a:gd name="T18" fmla="*/ 39 w 71"/>
                <a:gd name="T19" fmla="*/ 102 h 102"/>
                <a:gd name="T20" fmla="*/ 40 w 71"/>
                <a:gd name="T21" fmla="*/ 93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1" h="102">
                  <a:moveTo>
                    <a:pt x="40" y="93"/>
                  </a:moveTo>
                  <a:cubicBezTo>
                    <a:pt x="41" y="78"/>
                    <a:pt x="44" y="64"/>
                    <a:pt x="50" y="52"/>
                  </a:cubicBezTo>
                  <a:cubicBezTo>
                    <a:pt x="52" y="45"/>
                    <a:pt x="56" y="39"/>
                    <a:pt x="59" y="34"/>
                  </a:cubicBezTo>
                  <a:cubicBezTo>
                    <a:pt x="61" y="32"/>
                    <a:pt x="63" y="30"/>
                    <a:pt x="65" y="27"/>
                  </a:cubicBezTo>
                  <a:cubicBezTo>
                    <a:pt x="67" y="25"/>
                    <a:pt x="69" y="23"/>
                    <a:pt x="71" y="21"/>
                  </a:cubicBezTo>
                  <a:cubicBezTo>
                    <a:pt x="44" y="14"/>
                    <a:pt x="23" y="7"/>
                    <a:pt x="23" y="7"/>
                  </a:cubicBezTo>
                  <a:cubicBezTo>
                    <a:pt x="23" y="7"/>
                    <a:pt x="21" y="5"/>
                    <a:pt x="19" y="0"/>
                  </a:cubicBezTo>
                  <a:cubicBezTo>
                    <a:pt x="5" y="21"/>
                    <a:pt x="0" y="48"/>
                    <a:pt x="0" y="78"/>
                  </a:cubicBezTo>
                  <a:cubicBezTo>
                    <a:pt x="0" y="78"/>
                    <a:pt x="1" y="79"/>
                    <a:pt x="4" y="80"/>
                  </a:cubicBezTo>
                  <a:cubicBezTo>
                    <a:pt x="10" y="84"/>
                    <a:pt x="22" y="92"/>
                    <a:pt x="39" y="102"/>
                  </a:cubicBezTo>
                  <a:cubicBezTo>
                    <a:pt x="39" y="99"/>
                    <a:pt x="39" y="96"/>
                    <a:pt x="40" y="93"/>
                  </a:cubicBez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28" name="íŝľidè">
              <a:extLst>
                <a:ext uri="{FF2B5EF4-FFF2-40B4-BE49-F238E27FC236}">
                  <a16:creationId xmlns:a16="http://schemas.microsoft.com/office/drawing/2014/main" id="{D0E6C973-206D-4BFE-8316-8A98F87114EF}"/>
                </a:ext>
              </a:extLst>
            </p:cNvPr>
            <p:cNvSpPr/>
            <p:nvPr/>
          </p:nvSpPr>
          <p:spPr bwMode="auto">
            <a:xfrm>
              <a:off x="6938963" y="4351338"/>
              <a:ext cx="134938" cy="95250"/>
            </a:xfrm>
            <a:custGeom>
              <a:avLst/>
              <a:gdLst>
                <a:gd name="T0" fmla="*/ 74 w 103"/>
                <a:gd name="T1" fmla="*/ 73 h 73"/>
                <a:gd name="T2" fmla="*/ 97 w 103"/>
                <a:gd name="T3" fmla="*/ 60 h 73"/>
                <a:gd name="T4" fmla="*/ 103 w 103"/>
                <a:gd name="T5" fmla="*/ 0 h 73"/>
                <a:gd name="T6" fmla="*/ 0 w 103"/>
                <a:gd name="T7" fmla="*/ 59 h 73"/>
                <a:gd name="T8" fmla="*/ 74 w 103"/>
                <a:gd name="T9" fmla="*/ 73 h 73"/>
              </a:gdLst>
              <a:ahLst/>
              <a:cxnLst>
                <a:cxn ang="0">
                  <a:pos x="T0" y="T1"/>
                </a:cxn>
                <a:cxn ang="0">
                  <a:pos x="T2" y="T3"/>
                </a:cxn>
                <a:cxn ang="0">
                  <a:pos x="T4" y="T5"/>
                </a:cxn>
                <a:cxn ang="0">
                  <a:pos x="T6" y="T7"/>
                </a:cxn>
                <a:cxn ang="0">
                  <a:pos x="T8" y="T9"/>
                </a:cxn>
              </a:cxnLst>
              <a:rect l="0" t="0" r="r" b="b"/>
              <a:pathLst>
                <a:path w="103" h="73">
                  <a:moveTo>
                    <a:pt x="74" y="73"/>
                  </a:moveTo>
                  <a:cubicBezTo>
                    <a:pt x="82" y="68"/>
                    <a:pt x="89" y="64"/>
                    <a:pt x="97" y="60"/>
                  </a:cubicBezTo>
                  <a:cubicBezTo>
                    <a:pt x="98" y="45"/>
                    <a:pt x="101" y="23"/>
                    <a:pt x="103" y="0"/>
                  </a:cubicBezTo>
                  <a:cubicBezTo>
                    <a:pt x="71" y="15"/>
                    <a:pt x="32" y="35"/>
                    <a:pt x="0" y="59"/>
                  </a:cubicBezTo>
                  <a:lnTo>
                    <a:pt x="74" y="73"/>
                  </a:ln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29" name="iSḷïḍe">
              <a:extLst>
                <a:ext uri="{FF2B5EF4-FFF2-40B4-BE49-F238E27FC236}">
                  <a16:creationId xmlns:a16="http://schemas.microsoft.com/office/drawing/2014/main" id="{EB310803-3EF9-47B5-8234-0446FC2BACE7}"/>
                </a:ext>
              </a:extLst>
            </p:cNvPr>
            <p:cNvSpPr/>
            <p:nvPr/>
          </p:nvSpPr>
          <p:spPr bwMode="auto">
            <a:xfrm>
              <a:off x="6811963" y="4383088"/>
              <a:ext cx="80963" cy="92075"/>
            </a:xfrm>
            <a:custGeom>
              <a:avLst/>
              <a:gdLst>
                <a:gd name="T0" fmla="*/ 62 w 62"/>
                <a:gd name="T1" fmla="*/ 33 h 71"/>
                <a:gd name="T2" fmla="*/ 44 w 62"/>
                <a:gd name="T3" fmla="*/ 12 h 71"/>
                <a:gd name="T4" fmla="*/ 35 w 62"/>
                <a:gd name="T5" fmla="*/ 5 h 71"/>
                <a:gd name="T6" fmla="*/ 24 w 62"/>
                <a:gd name="T7" fmla="*/ 13 h 71"/>
                <a:gd name="T8" fmla="*/ 10 w 62"/>
                <a:gd name="T9" fmla="*/ 18 h 71"/>
                <a:gd name="T10" fmla="*/ 8 w 62"/>
                <a:gd name="T11" fmla="*/ 30 h 71"/>
                <a:gd name="T12" fmla="*/ 5 w 62"/>
                <a:gd name="T13" fmla="*/ 40 h 71"/>
                <a:gd name="T14" fmla="*/ 8 w 62"/>
                <a:gd name="T15" fmla="*/ 53 h 71"/>
                <a:gd name="T16" fmla="*/ 36 w 62"/>
                <a:gd name="T17" fmla="*/ 69 h 71"/>
                <a:gd name="T18" fmla="*/ 54 w 62"/>
                <a:gd name="T19" fmla="*/ 71 h 71"/>
                <a:gd name="T20" fmla="*/ 62 w 62"/>
                <a:gd name="T21" fmla="*/ 33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2" h="71">
                  <a:moveTo>
                    <a:pt x="62" y="33"/>
                  </a:moveTo>
                  <a:cubicBezTo>
                    <a:pt x="57" y="25"/>
                    <a:pt x="50" y="19"/>
                    <a:pt x="44" y="12"/>
                  </a:cubicBezTo>
                  <a:cubicBezTo>
                    <a:pt x="39" y="7"/>
                    <a:pt x="35" y="0"/>
                    <a:pt x="35" y="5"/>
                  </a:cubicBezTo>
                  <a:cubicBezTo>
                    <a:pt x="37" y="28"/>
                    <a:pt x="30" y="18"/>
                    <a:pt x="24" y="13"/>
                  </a:cubicBezTo>
                  <a:cubicBezTo>
                    <a:pt x="10" y="3"/>
                    <a:pt x="9" y="15"/>
                    <a:pt x="10" y="18"/>
                  </a:cubicBezTo>
                  <a:cubicBezTo>
                    <a:pt x="2" y="23"/>
                    <a:pt x="8" y="29"/>
                    <a:pt x="8" y="30"/>
                  </a:cubicBezTo>
                  <a:cubicBezTo>
                    <a:pt x="0" y="33"/>
                    <a:pt x="5" y="40"/>
                    <a:pt x="5" y="40"/>
                  </a:cubicBezTo>
                  <a:cubicBezTo>
                    <a:pt x="0" y="45"/>
                    <a:pt x="8" y="53"/>
                    <a:pt x="8" y="53"/>
                  </a:cubicBezTo>
                  <a:cubicBezTo>
                    <a:pt x="15" y="60"/>
                    <a:pt x="25" y="65"/>
                    <a:pt x="36" y="69"/>
                  </a:cubicBezTo>
                  <a:cubicBezTo>
                    <a:pt x="36" y="69"/>
                    <a:pt x="45" y="71"/>
                    <a:pt x="54" y="71"/>
                  </a:cubicBezTo>
                  <a:cubicBezTo>
                    <a:pt x="48" y="60"/>
                    <a:pt x="42" y="41"/>
                    <a:pt x="62" y="33"/>
                  </a:cubicBezTo>
                  <a:close/>
                </a:path>
              </a:pathLst>
            </a:custGeom>
            <a:solidFill>
              <a:srgbClr val="E8AB8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30" name="işlîdê">
              <a:extLst>
                <a:ext uri="{FF2B5EF4-FFF2-40B4-BE49-F238E27FC236}">
                  <a16:creationId xmlns:a16="http://schemas.microsoft.com/office/drawing/2014/main" id="{F7BF6FA4-46CB-4569-8B48-772B2E2550F7}"/>
                </a:ext>
              </a:extLst>
            </p:cNvPr>
            <p:cNvSpPr/>
            <p:nvPr/>
          </p:nvSpPr>
          <p:spPr bwMode="auto">
            <a:xfrm>
              <a:off x="7156450" y="3860801"/>
              <a:ext cx="66675" cy="174625"/>
            </a:xfrm>
            <a:custGeom>
              <a:avLst/>
              <a:gdLst>
                <a:gd name="T0" fmla="*/ 46 w 50"/>
                <a:gd name="T1" fmla="*/ 113 h 133"/>
                <a:gd name="T2" fmla="*/ 29 w 50"/>
                <a:gd name="T3" fmla="*/ 97 h 133"/>
                <a:gd name="T4" fmla="*/ 31 w 50"/>
                <a:gd name="T5" fmla="*/ 72 h 133"/>
                <a:gd name="T6" fmla="*/ 30 w 50"/>
                <a:gd name="T7" fmla="*/ 36 h 133"/>
                <a:gd name="T8" fmla="*/ 30 w 50"/>
                <a:gd name="T9" fmla="*/ 37 h 133"/>
                <a:gd name="T10" fmla="*/ 27 w 50"/>
                <a:gd name="T11" fmla="*/ 23 h 133"/>
                <a:gd name="T12" fmla="*/ 24 w 50"/>
                <a:gd name="T13" fmla="*/ 14 h 133"/>
                <a:gd name="T14" fmla="*/ 17 w 50"/>
                <a:gd name="T15" fmla="*/ 2 h 133"/>
                <a:gd name="T16" fmla="*/ 17 w 50"/>
                <a:gd name="T17" fmla="*/ 1 h 133"/>
                <a:gd name="T18" fmla="*/ 17 w 50"/>
                <a:gd name="T19" fmla="*/ 0 h 133"/>
                <a:gd name="T20" fmla="*/ 17 w 50"/>
                <a:gd name="T21" fmla="*/ 0 h 133"/>
                <a:gd name="T22" fmla="*/ 8 w 50"/>
                <a:gd name="T23" fmla="*/ 26 h 133"/>
                <a:gd name="T24" fmla="*/ 8 w 50"/>
                <a:gd name="T25" fmla="*/ 26 h 133"/>
                <a:gd name="T26" fmla="*/ 5 w 50"/>
                <a:gd name="T27" fmla="*/ 39 h 133"/>
                <a:gd name="T28" fmla="*/ 13 w 50"/>
                <a:gd name="T29" fmla="*/ 108 h 133"/>
                <a:gd name="T30" fmla="*/ 40 w 50"/>
                <a:gd name="T31" fmla="*/ 112 h 133"/>
                <a:gd name="T32" fmla="*/ 47 w 50"/>
                <a:gd name="T33" fmla="*/ 133 h 133"/>
                <a:gd name="T34" fmla="*/ 46 w 50"/>
                <a:gd name="T35" fmla="*/ 113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 h="133">
                  <a:moveTo>
                    <a:pt x="46" y="113"/>
                  </a:moveTo>
                  <a:cubicBezTo>
                    <a:pt x="41" y="105"/>
                    <a:pt x="33" y="106"/>
                    <a:pt x="29" y="97"/>
                  </a:cubicBezTo>
                  <a:cubicBezTo>
                    <a:pt x="26" y="90"/>
                    <a:pt x="31" y="78"/>
                    <a:pt x="31" y="72"/>
                  </a:cubicBezTo>
                  <a:cubicBezTo>
                    <a:pt x="31" y="62"/>
                    <a:pt x="29" y="47"/>
                    <a:pt x="30" y="36"/>
                  </a:cubicBezTo>
                  <a:cubicBezTo>
                    <a:pt x="30" y="37"/>
                    <a:pt x="30" y="37"/>
                    <a:pt x="30" y="37"/>
                  </a:cubicBezTo>
                  <a:cubicBezTo>
                    <a:pt x="29" y="32"/>
                    <a:pt x="28" y="26"/>
                    <a:pt x="27" y="23"/>
                  </a:cubicBezTo>
                  <a:cubicBezTo>
                    <a:pt x="26" y="20"/>
                    <a:pt x="25" y="17"/>
                    <a:pt x="24" y="14"/>
                  </a:cubicBezTo>
                  <a:cubicBezTo>
                    <a:pt x="20" y="10"/>
                    <a:pt x="18" y="6"/>
                    <a:pt x="17" y="2"/>
                  </a:cubicBezTo>
                  <a:cubicBezTo>
                    <a:pt x="17" y="1"/>
                    <a:pt x="17" y="1"/>
                    <a:pt x="17" y="1"/>
                  </a:cubicBezTo>
                  <a:cubicBezTo>
                    <a:pt x="17" y="0"/>
                    <a:pt x="17" y="0"/>
                    <a:pt x="17" y="0"/>
                  </a:cubicBezTo>
                  <a:cubicBezTo>
                    <a:pt x="17" y="0"/>
                    <a:pt x="17" y="0"/>
                    <a:pt x="17" y="0"/>
                  </a:cubicBezTo>
                  <a:cubicBezTo>
                    <a:pt x="13" y="8"/>
                    <a:pt x="10" y="16"/>
                    <a:pt x="8" y="26"/>
                  </a:cubicBezTo>
                  <a:cubicBezTo>
                    <a:pt x="8" y="26"/>
                    <a:pt x="8" y="26"/>
                    <a:pt x="8" y="26"/>
                  </a:cubicBezTo>
                  <a:cubicBezTo>
                    <a:pt x="7" y="30"/>
                    <a:pt x="6" y="37"/>
                    <a:pt x="5" y="39"/>
                  </a:cubicBezTo>
                  <a:cubicBezTo>
                    <a:pt x="0" y="76"/>
                    <a:pt x="5" y="98"/>
                    <a:pt x="13" y="108"/>
                  </a:cubicBezTo>
                  <a:cubicBezTo>
                    <a:pt x="19" y="114"/>
                    <a:pt x="36" y="113"/>
                    <a:pt x="40" y="112"/>
                  </a:cubicBezTo>
                  <a:cubicBezTo>
                    <a:pt x="42" y="111"/>
                    <a:pt x="44" y="121"/>
                    <a:pt x="47" y="133"/>
                  </a:cubicBezTo>
                  <a:cubicBezTo>
                    <a:pt x="49" y="126"/>
                    <a:pt x="50" y="119"/>
                    <a:pt x="46" y="113"/>
                  </a:cubicBezTo>
                  <a:close/>
                </a:path>
              </a:pathLst>
            </a:custGeom>
            <a:solidFill>
              <a:srgbClr val="E8AB8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31" name="îSľîḍe">
              <a:extLst>
                <a:ext uri="{FF2B5EF4-FFF2-40B4-BE49-F238E27FC236}">
                  <a16:creationId xmlns:a16="http://schemas.microsoft.com/office/drawing/2014/main" id="{DBC3AD84-1325-4360-868E-CF4A3934847F}"/>
                </a:ext>
              </a:extLst>
            </p:cNvPr>
            <p:cNvSpPr/>
            <p:nvPr/>
          </p:nvSpPr>
          <p:spPr bwMode="auto">
            <a:xfrm>
              <a:off x="7370763" y="4089401"/>
              <a:ext cx="50800" cy="346075"/>
            </a:xfrm>
            <a:custGeom>
              <a:avLst/>
              <a:gdLst>
                <a:gd name="T0" fmla="*/ 25 w 38"/>
                <a:gd name="T1" fmla="*/ 18 h 264"/>
                <a:gd name="T2" fmla="*/ 25 w 38"/>
                <a:gd name="T3" fmla="*/ 19 h 264"/>
                <a:gd name="T4" fmla="*/ 0 w 38"/>
                <a:gd name="T5" fmla="*/ 259 h 264"/>
                <a:gd name="T6" fmla="*/ 1 w 38"/>
                <a:gd name="T7" fmla="*/ 264 h 264"/>
                <a:gd name="T8" fmla="*/ 5 w 38"/>
                <a:gd name="T9" fmla="*/ 254 h 264"/>
                <a:gd name="T10" fmla="*/ 37 w 38"/>
                <a:gd name="T11" fmla="*/ 38 h 264"/>
                <a:gd name="T12" fmla="*/ 34 w 38"/>
                <a:gd name="T13" fmla="*/ 0 h 264"/>
                <a:gd name="T14" fmla="*/ 32 w 38"/>
                <a:gd name="T15" fmla="*/ 4 h 264"/>
                <a:gd name="T16" fmla="*/ 25 w 38"/>
                <a:gd name="T17" fmla="*/ 18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264">
                  <a:moveTo>
                    <a:pt x="25" y="18"/>
                  </a:moveTo>
                  <a:cubicBezTo>
                    <a:pt x="25" y="19"/>
                    <a:pt x="25" y="19"/>
                    <a:pt x="25" y="19"/>
                  </a:cubicBezTo>
                  <a:cubicBezTo>
                    <a:pt x="0" y="259"/>
                    <a:pt x="0" y="259"/>
                    <a:pt x="0" y="259"/>
                  </a:cubicBezTo>
                  <a:cubicBezTo>
                    <a:pt x="1" y="264"/>
                    <a:pt x="1" y="264"/>
                    <a:pt x="1" y="264"/>
                  </a:cubicBezTo>
                  <a:cubicBezTo>
                    <a:pt x="2" y="262"/>
                    <a:pt x="4" y="259"/>
                    <a:pt x="5" y="254"/>
                  </a:cubicBezTo>
                  <a:cubicBezTo>
                    <a:pt x="19" y="215"/>
                    <a:pt x="38" y="98"/>
                    <a:pt x="37" y="38"/>
                  </a:cubicBezTo>
                  <a:cubicBezTo>
                    <a:pt x="37" y="23"/>
                    <a:pt x="36" y="10"/>
                    <a:pt x="34" y="0"/>
                  </a:cubicBezTo>
                  <a:cubicBezTo>
                    <a:pt x="33" y="1"/>
                    <a:pt x="32" y="3"/>
                    <a:pt x="32" y="4"/>
                  </a:cubicBezTo>
                  <a:cubicBezTo>
                    <a:pt x="29" y="9"/>
                    <a:pt x="27" y="14"/>
                    <a:pt x="25" y="18"/>
                  </a:cubicBezTo>
                  <a:close/>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32" name="îṧḷîḋe">
              <a:extLst>
                <a:ext uri="{FF2B5EF4-FFF2-40B4-BE49-F238E27FC236}">
                  <a16:creationId xmlns:a16="http://schemas.microsoft.com/office/drawing/2014/main" id="{307478E9-793A-4B9E-B36D-91841B792CF1}"/>
                </a:ext>
              </a:extLst>
            </p:cNvPr>
            <p:cNvSpPr/>
            <p:nvPr/>
          </p:nvSpPr>
          <p:spPr bwMode="auto">
            <a:xfrm>
              <a:off x="6911975" y="4075113"/>
              <a:ext cx="492125" cy="677863"/>
            </a:xfrm>
            <a:custGeom>
              <a:avLst/>
              <a:gdLst>
                <a:gd name="T0" fmla="*/ 163 w 374"/>
                <a:gd name="T1" fmla="*/ 47 h 516"/>
                <a:gd name="T2" fmla="*/ 198 w 374"/>
                <a:gd name="T3" fmla="*/ 137 h 516"/>
                <a:gd name="T4" fmla="*/ 197 w 374"/>
                <a:gd name="T5" fmla="*/ 186 h 516"/>
                <a:gd name="T6" fmla="*/ 199 w 374"/>
                <a:gd name="T7" fmla="*/ 261 h 516"/>
                <a:gd name="T8" fmla="*/ 196 w 374"/>
                <a:gd name="T9" fmla="*/ 467 h 516"/>
                <a:gd name="T10" fmla="*/ 114 w 374"/>
                <a:gd name="T11" fmla="*/ 419 h 516"/>
                <a:gd name="T12" fmla="*/ 137 w 374"/>
                <a:gd name="T13" fmla="*/ 350 h 516"/>
                <a:gd name="T14" fmla="*/ 32 w 374"/>
                <a:gd name="T15" fmla="*/ 329 h 516"/>
                <a:gd name="T16" fmla="*/ 26 w 374"/>
                <a:gd name="T17" fmla="*/ 335 h 516"/>
                <a:gd name="T18" fmla="*/ 20 w 374"/>
                <a:gd name="T19" fmla="*/ 342 h 516"/>
                <a:gd name="T20" fmla="*/ 11 w 374"/>
                <a:gd name="T21" fmla="*/ 360 h 516"/>
                <a:gd name="T22" fmla="*/ 1 w 374"/>
                <a:gd name="T23" fmla="*/ 401 h 516"/>
                <a:gd name="T24" fmla="*/ 0 w 374"/>
                <a:gd name="T25" fmla="*/ 415 h 516"/>
                <a:gd name="T26" fmla="*/ 37 w 374"/>
                <a:gd name="T27" fmla="*/ 437 h 516"/>
                <a:gd name="T28" fmla="*/ 43 w 374"/>
                <a:gd name="T29" fmla="*/ 440 h 516"/>
                <a:gd name="T30" fmla="*/ 236 w 374"/>
                <a:gd name="T31" fmla="*/ 500 h 516"/>
                <a:gd name="T32" fmla="*/ 315 w 374"/>
                <a:gd name="T33" fmla="*/ 478 h 516"/>
                <a:gd name="T34" fmla="*/ 371 w 374"/>
                <a:gd name="T35" fmla="*/ 411 h 516"/>
                <a:gd name="T36" fmla="*/ 372 w 374"/>
                <a:gd name="T37" fmla="*/ 408 h 516"/>
                <a:gd name="T38" fmla="*/ 371 w 374"/>
                <a:gd name="T39" fmla="*/ 406 h 516"/>
                <a:gd name="T40" fmla="*/ 368 w 374"/>
                <a:gd name="T41" fmla="*/ 372 h 516"/>
                <a:gd name="T42" fmla="*/ 366 w 374"/>
                <a:gd name="T43" fmla="*/ 372 h 516"/>
                <a:gd name="T44" fmla="*/ 350 w 374"/>
                <a:gd name="T45" fmla="*/ 275 h 516"/>
                <a:gd name="T46" fmla="*/ 349 w 374"/>
                <a:gd name="T47" fmla="*/ 270 h 516"/>
                <a:gd name="T48" fmla="*/ 374 w 374"/>
                <a:gd name="T49" fmla="*/ 30 h 516"/>
                <a:gd name="T50" fmla="*/ 374 w 374"/>
                <a:gd name="T51" fmla="*/ 29 h 516"/>
                <a:gd name="T52" fmla="*/ 367 w 374"/>
                <a:gd name="T53" fmla="*/ 39 h 516"/>
                <a:gd name="T54" fmla="*/ 333 w 374"/>
                <a:gd name="T55" fmla="*/ 50 h 516"/>
                <a:gd name="T56" fmla="*/ 305 w 374"/>
                <a:gd name="T57" fmla="*/ 65 h 516"/>
                <a:gd name="T58" fmla="*/ 271 w 374"/>
                <a:gd name="T59" fmla="*/ 65 h 516"/>
                <a:gd name="T60" fmla="*/ 242 w 374"/>
                <a:gd name="T61" fmla="*/ 36 h 516"/>
                <a:gd name="T62" fmla="*/ 224 w 374"/>
                <a:gd name="T63" fmla="*/ 27 h 516"/>
                <a:gd name="T64" fmla="*/ 221 w 374"/>
                <a:gd name="T65" fmla="*/ 2 h 516"/>
                <a:gd name="T66" fmla="*/ 218 w 374"/>
                <a:gd name="T67" fmla="*/ 2 h 516"/>
                <a:gd name="T68" fmla="*/ 217 w 374"/>
                <a:gd name="T69" fmla="*/ 0 h 516"/>
                <a:gd name="T70" fmla="*/ 214 w 374"/>
                <a:gd name="T71" fmla="*/ 1 h 516"/>
                <a:gd name="T72" fmla="*/ 150 w 374"/>
                <a:gd name="T73" fmla="*/ 43 h 516"/>
                <a:gd name="T74" fmla="*/ 163 w 374"/>
                <a:gd name="T75" fmla="*/ 47 h 5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74" h="516">
                  <a:moveTo>
                    <a:pt x="163" y="47"/>
                  </a:moveTo>
                  <a:cubicBezTo>
                    <a:pt x="163" y="47"/>
                    <a:pt x="191" y="64"/>
                    <a:pt x="198" y="137"/>
                  </a:cubicBezTo>
                  <a:cubicBezTo>
                    <a:pt x="200" y="152"/>
                    <a:pt x="199" y="169"/>
                    <a:pt x="197" y="186"/>
                  </a:cubicBezTo>
                  <a:cubicBezTo>
                    <a:pt x="199" y="261"/>
                    <a:pt x="199" y="261"/>
                    <a:pt x="199" y="261"/>
                  </a:cubicBezTo>
                  <a:cubicBezTo>
                    <a:pt x="196" y="467"/>
                    <a:pt x="196" y="467"/>
                    <a:pt x="196" y="467"/>
                  </a:cubicBezTo>
                  <a:cubicBezTo>
                    <a:pt x="152" y="481"/>
                    <a:pt x="114" y="419"/>
                    <a:pt x="114" y="419"/>
                  </a:cubicBezTo>
                  <a:cubicBezTo>
                    <a:pt x="137" y="350"/>
                    <a:pt x="137" y="350"/>
                    <a:pt x="137" y="350"/>
                  </a:cubicBezTo>
                  <a:cubicBezTo>
                    <a:pt x="112" y="350"/>
                    <a:pt x="66" y="339"/>
                    <a:pt x="32" y="329"/>
                  </a:cubicBezTo>
                  <a:cubicBezTo>
                    <a:pt x="30" y="331"/>
                    <a:pt x="28" y="333"/>
                    <a:pt x="26" y="335"/>
                  </a:cubicBezTo>
                  <a:cubicBezTo>
                    <a:pt x="24" y="338"/>
                    <a:pt x="22" y="340"/>
                    <a:pt x="20" y="342"/>
                  </a:cubicBezTo>
                  <a:cubicBezTo>
                    <a:pt x="17" y="347"/>
                    <a:pt x="13" y="353"/>
                    <a:pt x="11" y="360"/>
                  </a:cubicBezTo>
                  <a:cubicBezTo>
                    <a:pt x="5" y="372"/>
                    <a:pt x="2" y="386"/>
                    <a:pt x="1" y="401"/>
                  </a:cubicBezTo>
                  <a:cubicBezTo>
                    <a:pt x="0" y="405"/>
                    <a:pt x="0" y="410"/>
                    <a:pt x="0" y="415"/>
                  </a:cubicBezTo>
                  <a:cubicBezTo>
                    <a:pt x="0" y="415"/>
                    <a:pt x="15" y="424"/>
                    <a:pt x="37" y="437"/>
                  </a:cubicBezTo>
                  <a:cubicBezTo>
                    <a:pt x="39" y="438"/>
                    <a:pt x="41" y="439"/>
                    <a:pt x="43" y="440"/>
                  </a:cubicBezTo>
                  <a:cubicBezTo>
                    <a:pt x="99" y="471"/>
                    <a:pt x="192" y="516"/>
                    <a:pt x="236" y="500"/>
                  </a:cubicBezTo>
                  <a:cubicBezTo>
                    <a:pt x="258" y="497"/>
                    <a:pt x="285" y="491"/>
                    <a:pt x="315" y="478"/>
                  </a:cubicBezTo>
                  <a:cubicBezTo>
                    <a:pt x="355" y="460"/>
                    <a:pt x="368" y="433"/>
                    <a:pt x="371" y="411"/>
                  </a:cubicBezTo>
                  <a:cubicBezTo>
                    <a:pt x="371" y="410"/>
                    <a:pt x="371" y="409"/>
                    <a:pt x="372" y="408"/>
                  </a:cubicBezTo>
                  <a:cubicBezTo>
                    <a:pt x="371" y="406"/>
                    <a:pt x="371" y="406"/>
                    <a:pt x="371" y="406"/>
                  </a:cubicBezTo>
                  <a:cubicBezTo>
                    <a:pt x="373" y="387"/>
                    <a:pt x="368" y="372"/>
                    <a:pt x="368" y="372"/>
                  </a:cubicBezTo>
                  <a:cubicBezTo>
                    <a:pt x="366" y="372"/>
                    <a:pt x="366" y="372"/>
                    <a:pt x="366" y="372"/>
                  </a:cubicBezTo>
                  <a:cubicBezTo>
                    <a:pt x="350" y="275"/>
                    <a:pt x="350" y="275"/>
                    <a:pt x="350" y="275"/>
                  </a:cubicBezTo>
                  <a:cubicBezTo>
                    <a:pt x="349" y="270"/>
                    <a:pt x="349" y="270"/>
                    <a:pt x="349" y="270"/>
                  </a:cubicBezTo>
                  <a:cubicBezTo>
                    <a:pt x="374" y="30"/>
                    <a:pt x="374" y="30"/>
                    <a:pt x="374" y="30"/>
                  </a:cubicBezTo>
                  <a:cubicBezTo>
                    <a:pt x="374" y="30"/>
                    <a:pt x="374" y="30"/>
                    <a:pt x="374" y="29"/>
                  </a:cubicBezTo>
                  <a:cubicBezTo>
                    <a:pt x="372" y="33"/>
                    <a:pt x="370" y="36"/>
                    <a:pt x="367" y="39"/>
                  </a:cubicBezTo>
                  <a:cubicBezTo>
                    <a:pt x="355" y="52"/>
                    <a:pt x="348" y="47"/>
                    <a:pt x="333" y="50"/>
                  </a:cubicBezTo>
                  <a:cubicBezTo>
                    <a:pt x="321" y="53"/>
                    <a:pt x="316" y="61"/>
                    <a:pt x="305" y="65"/>
                  </a:cubicBezTo>
                  <a:cubicBezTo>
                    <a:pt x="292" y="69"/>
                    <a:pt x="283" y="67"/>
                    <a:pt x="271" y="65"/>
                  </a:cubicBezTo>
                  <a:cubicBezTo>
                    <a:pt x="249" y="60"/>
                    <a:pt x="259" y="46"/>
                    <a:pt x="242" y="36"/>
                  </a:cubicBezTo>
                  <a:cubicBezTo>
                    <a:pt x="233" y="32"/>
                    <a:pt x="231" y="37"/>
                    <a:pt x="224" y="27"/>
                  </a:cubicBezTo>
                  <a:cubicBezTo>
                    <a:pt x="219" y="19"/>
                    <a:pt x="219" y="11"/>
                    <a:pt x="221" y="2"/>
                  </a:cubicBezTo>
                  <a:cubicBezTo>
                    <a:pt x="219" y="2"/>
                    <a:pt x="218" y="2"/>
                    <a:pt x="218" y="2"/>
                  </a:cubicBezTo>
                  <a:cubicBezTo>
                    <a:pt x="217" y="0"/>
                    <a:pt x="217" y="0"/>
                    <a:pt x="217" y="0"/>
                  </a:cubicBezTo>
                  <a:cubicBezTo>
                    <a:pt x="214" y="1"/>
                    <a:pt x="214" y="1"/>
                    <a:pt x="214" y="1"/>
                  </a:cubicBezTo>
                  <a:cubicBezTo>
                    <a:pt x="182" y="11"/>
                    <a:pt x="162" y="24"/>
                    <a:pt x="150" y="43"/>
                  </a:cubicBezTo>
                  <a:cubicBezTo>
                    <a:pt x="154" y="41"/>
                    <a:pt x="158" y="42"/>
                    <a:pt x="163" y="4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33" name="ïs1ïḑe">
              <a:extLst>
                <a:ext uri="{FF2B5EF4-FFF2-40B4-BE49-F238E27FC236}">
                  <a16:creationId xmlns:a16="http://schemas.microsoft.com/office/drawing/2014/main" id="{B1308371-A038-436D-8C2B-0544CF70A2FC}"/>
                </a:ext>
              </a:extLst>
            </p:cNvPr>
            <p:cNvSpPr/>
            <p:nvPr/>
          </p:nvSpPr>
          <p:spPr bwMode="auto">
            <a:xfrm>
              <a:off x="7191375" y="4051301"/>
              <a:ext cx="20638" cy="25400"/>
            </a:xfrm>
            <a:custGeom>
              <a:avLst/>
              <a:gdLst>
                <a:gd name="T0" fmla="*/ 9 w 16"/>
                <a:gd name="T1" fmla="*/ 20 h 20"/>
                <a:gd name="T2" fmla="*/ 9 w 16"/>
                <a:gd name="T3" fmla="*/ 16 h 20"/>
                <a:gd name="T4" fmla="*/ 16 w 16"/>
                <a:gd name="T5" fmla="*/ 0 h 20"/>
                <a:gd name="T6" fmla="*/ 0 w 16"/>
                <a:gd name="T7" fmla="*/ 1 h 20"/>
                <a:gd name="T8" fmla="*/ 5 w 16"/>
                <a:gd name="T9" fmla="*/ 18 h 20"/>
                <a:gd name="T10" fmla="*/ 6 w 16"/>
                <a:gd name="T11" fmla="*/ 20 h 20"/>
                <a:gd name="T12" fmla="*/ 9 w 16"/>
                <a:gd name="T13" fmla="*/ 20 h 20"/>
              </a:gdLst>
              <a:ahLst/>
              <a:cxnLst>
                <a:cxn ang="0">
                  <a:pos x="T0" y="T1"/>
                </a:cxn>
                <a:cxn ang="0">
                  <a:pos x="T2" y="T3"/>
                </a:cxn>
                <a:cxn ang="0">
                  <a:pos x="T4" y="T5"/>
                </a:cxn>
                <a:cxn ang="0">
                  <a:pos x="T6" y="T7"/>
                </a:cxn>
                <a:cxn ang="0">
                  <a:pos x="T8" y="T9"/>
                </a:cxn>
                <a:cxn ang="0">
                  <a:pos x="T10" y="T11"/>
                </a:cxn>
                <a:cxn ang="0">
                  <a:pos x="T12" y="T13"/>
                </a:cxn>
              </a:cxnLst>
              <a:rect l="0" t="0" r="r" b="b"/>
              <a:pathLst>
                <a:path w="16" h="20">
                  <a:moveTo>
                    <a:pt x="9" y="20"/>
                  </a:moveTo>
                  <a:cubicBezTo>
                    <a:pt x="9" y="18"/>
                    <a:pt x="9" y="17"/>
                    <a:pt x="9" y="16"/>
                  </a:cubicBezTo>
                  <a:cubicBezTo>
                    <a:pt x="11" y="11"/>
                    <a:pt x="13" y="6"/>
                    <a:pt x="16" y="0"/>
                  </a:cubicBezTo>
                  <a:cubicBezTo>
                    <a:pt x="11" y="1"/>
                    <a:pt x="5" y="1"/>
                    <a:pt x="0" y="1"/>
                  </a:cubicBezTo>
                  <a:cubicBezTo>
                    <a:pt x="5" y="18"/>
                    <a:pt x="5" y="18"/>
                    <a:pt x="5" y="18"/>
                  </a:cubicBezTo>
                  <a:cubicBezTo>
                    <a:pt x="6" y="20"/>
                    <a:pt x="6" y="20"/>
                    <a:pt x="6" y="20"/>
                  </a:cubicBezTo>
                  <a:cubicBezTo>
                    <a:pt x="6" y="20"/>
                    <a:pt x="7" y="20"/>
                    <a:pt x="9" y="20"/>
                  </a:cubicBez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34" name="işļíḓè">
              <a:extLst>
                <a:ext uri="{FF2B5EF4-FFF2-40B4-BE49-F238E27FC236}">
                  <a16:creationId xmlns:a16="http://schemas.microsoft.com/office/drawing/2014/main" id="{46603003-F41F-4F09-A34E-A756ED2EC03A}"/>
                </a:ext>
              </a:extLst>
            </p:cNvPr>
            <p:cNvSpPr/>
            <p:nvPr/>
          </p:nvSpPr>
          <p:spPr bwMode="auto">
            <a:xfrm>
              <a:off x="7062788" y="4319588"/>
              <a:ext cx="111125" cy="387350"/>
            </a:xfrm>
            <a:custGeom>
              <a:avLst/>
              <a:gdLst>
                <a:gd name="T0" fmla="*/ 0 w 85"/>
                <a:gd name="T1" fmla="*/ 233 h 295"/>
                <a:gd name="T2" fmla="*/ 82 w 85"/>
                <a:gd name="T3" fmla="*/ 281 h 295"/>
                <a:gd name="T4" fmla="*/ 85 w 85"/>
                <a:gd name="T5" fmla="*/ 75 h 295"/>
                <a:gd name="T6" fmla="*/ 83 w 85"/>
                <a:gd name="T7" fmla="*/ 0 h 295"/>
                <a:gd name="T8" fmla="*/ 37 w 85"/>
                <a:gd name="T9" fmla="*/ 162 h 295"/>
                <a:gd name="T10" fmla="*/ 23 w 85"/>
                <a:gd name="T11" fmla="*/ 164 h 295"/>
                <a:gd name="T12" fmla="*/ 0 w 85"/>
                <a:gd name="T13" fmla="*/ 233 h 295"/>
              </a:gdLst>
              <a:ahLst/>
              <a:cxnLst>
                <a:cxn ang="0">
                  <a:pos x="T0" y="T1"/>
                </a:cxn>
                <a:cxn ang="0">
                  <a:pos x="T2" y="T3"/>
                </a:cxn>
                <a:cxn ang="0">
                  <a:pos x="T4" y="T5"/>
                </a:cxn>
                <a:cxn ang="0">
                  <a:pos x="T6" y="T7"/>
                </a:cxn>
                <a:cxn ang="0">
                  <a:pos x="T8" y="T9"/>
                </a:cxn>
                <a:cxn ang="0">
                  <a:pos x="T10" y="T11"/>
                </a:cxn>
                <a:cxn ang="0">
                  <a:pos x="T12" y="T13"/>
                </a:cxn>
              </a:cxnLst>
              <a:rect l="0" t="0" r="r" b="b"/>
              <a:pathLst>
                <a:path w="85" h="295">
                  <a:moveTo>
                    <a:pt x="0" y="233"/>
                  </a:moveTo>
                  <a:cubicBezTo>
                    <a:pt x="0" y="233"/>
                    <a:pt x="38" y="295"/>
                    <a:pt x="82" y="281"/>
                  </a:cubicBezTo>
                  <a:cubicBezTo>
                    <a:pt x="85" y="75"/>
                    <a:pt x="85" y="75"/>
                    <a:pt x="85" y="75"/>
                  </a:cubicBezTo>
                  <a:cubicBezTo>
                    <a:pt x="83" y="0"/>
                    <a:pt x="83" y="0"/>
                    <a:pt x="83" y="0"/>
                  </a:cubicBezTo>
                  <a:cubicBezTo>
                    <a:pt x="76" y="72"/>
                    <a:pt x="47" y="159"/>
                    <a:pt x="37" y="162"/>
                  </a:cubicBezTo>
                  <a:cubicBezTo>
                    <a:pt x="34" y="164"/>
                    <a:pt x="29" y="164"/>
                    <a:pt x="23" y="164"/>
                  </a:cubicBezTo>
                  <a:lnTo>
                    <a:pt x="0" y="233"/>
                  </a:lnTo>
                  <a:close/>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35" name="íSḻíḍe">
              <a:extLst>
                <a:ext uri="{FF2B5EF4-FFF2-40B4-BE49-F238E27FC236}">
                  <a16:creationId xmlns:a16="http://schemas.microsoft.com/office/drawing/2014/main" id="{463063D3-9729-4442-9DE6-901432A69BA4}"/>
                </a:ext>
              </a:extLst>
            </p:cNvPr>
            <p:cNvSpPr/>
            <p:nvPr/>
          </p:nvSpPr>
          <p:spPr bwMode="auto">
            <a:xfrm>
              <a:off x="6867525" y="4129088"/>
              <a:ext cx="307975" cy="406400"/>
            </a:xfrm>
            <a:custGeom>
              <a:avLst/>
              <a:gdLst>
                <a:gd name="T0" fmla="*/ 66 w 234"/>
                <a:gd name="T1" fmla="*/ 288 h 309"/>
                <a:gd name="T2" fmla="*/ 171 w 234"/>
                <a:gd name="T3" fmla="*/ 309 h 309"/>
                <a:gd name="T4" fmla="*/ 185 w 234"/>
                <a:gd name="T5" fmla="*/ 307 h 309"/>
                <a:gd name="T6" fmla="*/ 231 w 234"/>
                <a:gd name="T7" fmla="*/ 145 h 309"/>
                <a:gd name="T8" fmla="*/ 232 w 234"/>
                <a:gd name="T9" fmla="*/ 96 h 309"/>
                <a:gd name="T10" fmla="*/ 197 w 234"/>
                <a:gd name="T11" fmla="*/ 6 h 309"/>
                <a:gd name="T12" fmla="*/ 184 w 234"/>
                <a:gd name="T13" fmla="*/ 2 h 309"/>
                <a:gd name="T14" fmla="*/ 164 w 234"/>
                <a:gd name="T15" fmla="*/ 83 h 309"/>
                <a:gd name="T16" fmla="*/ 157 w 234"/>
                <a:gd name="T17" fmla="*/ 169 h 309"/>
                <a:gd name="T18" fmla="*/ 151 w 234"/>
                <a:gd name="T19" fmla="*/ 229 h 309"/>
                <a:gd name="T20" fmla="*/ 149 w 234"/>
                <a:gd name="T21" fmla="*/ 245 h 309"/>
                <a:gd name="T22" fmla="*/ 128 w 234"/>
                <a:gd name="T23" fmla="*/ 242 h 309"/>
                <a:gd name="T24" fmla="*/ 54 w 234"/>
                <a:gd name="T25" fmla="*/ 228 h 309"/>
                <a:gd name="T26" fmla="*/ 29 w 234"/>
                <a:gd name="T27" fmla="*/ 223 h 309"/>
                <a:gd name="T28" fmla="*/ 20 w 234"/>
                <a:gd name="T29" fmla="*/ 226 h 309"/>
                <a:gd name="T30" fmla="*/ 12 w 234"/>
                <a:gd name="T31" fmla="*/ 264 h 309"/>
                <a:gd name="T32" fmla="*/ 14 w 234"/>
                <a:gd name="T33" fmla="*/ 267 h 309"/>
                <a:gd name="T34" fmla="*/ 18 w 234"/>
                <a:gd name="T35" fmla="*/ 274 h 309"/>
                <a:gd name="T36" fmla="*/ 66 w 234"/>
                <a:gd name="T37" fmla="*/ 288 h 309"/>
                <a:gd name="T38" fmla="*/ 184 w 234"/>
                <a:gd name="T39" fmla="*/ 260 h 309"/>
                <a:gd name="T40" fmla="*/ 184 w 234"/>
                <a:gd name="T41" fmla="*/ 260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34" h="309">
                  <a:moveTo>
                    <a:pt x="66" y="288"/>
                  </a:moveTo>
                  <a:cubicBezTo>
                    <a:pt x="100" y="298"/>
                    <a:pt x="146" y="309"/>
                    <a:pt x="171" y="309"/>
                  </a:cubicBezTo>
                  <a:cubicBezTo>
                    <a:pt x="177" y="309"/>
                    <a:pt x="182" y="309"/>
                    <a:pt x="185" y="307"/>
                  </a:cubicBezTo>
                  <a:cubicBezTo>
                    <a:pt x="195" y="304"/>
                    <a:pt x="224" y="217"/>
                    <a:pt x="231" y="145"/>
                  </a:cubicBezTo>
                  <a:cubicBezTo>
                    <a:pt x="233" y="128"/>
                    <a:pt x="234" y="111"/>
                    <a:pt x="232" y="96"/>
                  </a:cubicBezTo>
                  <a:cubicBezTo>
                    <a:pt x="225" y="23"/>
                    <a:pt x="197" y="6"/>
                    <a:pt x="197" y="6"/>
                  </a:cubicBezTo>
                  <a:cubicBezTo>
                    <a:pt x="192" y="1"/>
                    <a:pt x="188" y="0"/>
                    <a:pt x="184" y="2"/>
                  </a:cubicBezTo>
                  <a:cubicBezTo>
                    <a:pt x="171" y="10"/>
                    <a:pt x="163" y="57"/>
                    <a:pt x="164" y="83"/>
                  </a:cubicBezTo>
                  <a:cubicBezTo>
                    <a:pt x="165" y="88"/>
                    <a:pt x="161" y="130"/>
                    <a:pt x="157" y="169"/>
                  </a:cubicBezTo>
                  <a:cubicBezTo>
                    <a:pt x="155" y="192"/>
                    <a:pt x="152" y="214"/>
                    <a:pt x="151" y="229"/>
                  </a:cubicBezTo>
                  <a:cubicBezTo>
                    <a:pt x="150" y="239"/>
                    <a:pt x="149" y="245"/>
                    <a:pt x="149" y="245"/>
                  </a:cubicBezTo>
                  <a:cubicBezTo>
                    <a:pt x="128" y="242"/>
                    <a:pt x="128" y="242"/>
                    <a:pt x="128" y="242"/>
                  </a:cubicBezTo>
                  <a:cubicBezTo>
                    <a:pt x="54" y="228"/>
                    <a:pt x="54" y="228"/>
                    <a:pt x="54" y="228"/>
                  </a:cubicBezTo>
                  <a:cubicBezTo>
                    <a:pt x="29" y="223"/>
                    <a:pt x="29" y="223"/>
                    <a:pt x="29" y="223"/>
                  </a:cubicBezTo>
                  <a:cubicBezTo>
                    <a:pt x="26" y="224"/>
                    <a:pt x="23" y="225"/>
                    <a:pt x="20" y="226"/>
                  </a:cubicBezTo>
                  <a:cubicBezTo>
                    <a:pt x="0" y="234"/>
                    <a:pt x="6" y="253"/>
                    <a:pt x="12" y="264"/>
                  </a:cubicBezTo>
                  <a:cubicBezTo>
                    <a:pt x="12" y="265"/>
                    <a:pt x="13" y="266"/>
                    <a:pt x="14" y="267"/>
                  </a:cubicBezTo>
                  <a:cubicBezTo>
                    <a:pt x="16" y="272"/>
                    <a:pt x="18" y="274"/>
                    <a:pt x="18" y="274"/>
                  </a:cubicBezTo>
                  <a:cubicBezTo>
                    <a:pt x="18" y="274"/>
                    <a:pt x="39" y="281"/>
                    <a:pt x="66" y="288"/>
                  </a:cubicBezTo>
                  <a:close/>
                  <a:moveTo>
                    <a:pt x="184" y="260"/>
                  </a:moveTo>
                  <a:cubicBezTo>
                    <a:pt x="184" y="260"/>
                    <a:pt x="184" y="260"/>
                    <a:pt x="184" y="260"/>
                  </a:cubicBez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36" name="îşļíďe">
              <a:extLst>
                <a:ext uri="{FF2B5EF4-FFF2-40B4-BE49-F238E27FC236}">
                  <a16:creationId xmlns:a16="http://schemas.microsoft.com/office/drawing/2014/main" id="{336BC87C-B391-4623-B9BB-E706F5A2D772}"/>
                </a:ext>
              </a:extLst>
            </p:cNvPr>
            <p:cNvSpPr/>
            <p:nvPr/>
          </p:nvSpPr>
          <p:spPr bwMode="auto">
            <a:xfrm>
              <a:off x="7108825" y="4470401"/>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923C2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37" name="ïŝľíḑè">
              <a:extLst>
                <a:ext uri="{FF2B5EF4-FFF2-40B4-BE49-F238E27FC236}">
                  <a16:creationId xmlns:a16="http://schemas.microsoft.com/office/drawing/2014/main" id="{801DFFBD-381E-4E3D-B505-3359AE4657D9}"/>
                </a:ext>
              </a:extLst>
            </p:cNvPr>
            <p:cNvSpPr/>
            <p:nvPr/>
          </p:nvSpPr>
          <p:spPr bwMode="auto">
            <a:xfrm>
              <a:off x="7108825" y="4470401"/>
              <a:ext cx="0" cy="0"/>
            </a:xfrm>
            <a:custGeom>
              <a:avLst/>
              <a:gdLst/>
              <a:ahLst/>
              <a:cxnLst>
                <a:cxn ang="0">
                  <a:pos x="0" y="0"/>
                </a:cxn>
                <a:cxn ang="0">
                  <a:pos x="0" y="0"/>
                </a:cxn>
                <a:cxn ang="0">
                  <a:pos x="0" y="0"/>
                </a:cxn>
              </a:cxnLst>
              <a:rect l="0" t="0" r="r" b="b"/>
              <a:pathLst>
                <a:path>
                  <a:moveTo>
                    <a:pt x="0" y="0"/>
                  </a:move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38" name="îṡḷíďè">
              <a:extLst>
                <a:ext uri="{FF2B5EF4-FFF2-40B4-BE49-F238E27FC236}">
                  <a16:creationId xmlns:a16="http://schemas.microsoft.com/office/drawing/2014/main" id="{7C2B14DC-36F4-46BA-AC41-437D56EAD803}"/>
                </a:ext>
              </a:extLst>
            </p:cNvPr>
            <p:cNvSpPr/>
            <p:nvPr/>
          </p:nvSpPr>
          <p:spPr bwMode="auto">
            <a:xfrm>
              <a:off x="7178675" y="3817938"/>
              <a:ext cx="254000" cy="347663"/>
            </a:xfrm>
            <a:custGeom>
              <a:avLst/>
              <a:gdLst>
                <a:gd name="T0" fmla="*/ 19 w 194"/>
                <a:gd name="T1" fmla="*/ 197 h 264"/>
                <a:gd name="T2" fmla="*/ 22 w 194"/>
                <a:gd name="T3" fmla="*/ 222 h 264"/>
                <a:gd name="T4" fmla="*/ 40 w 194"/>
                <a:gd name="T5" fmla="*/ 231 h 264"/>
                <a:gd name="T6" fmla="*/ 69 w 194"/>
                <a:gd name="T7" fmla="*/ 260 h 264"/>
                <a:gd name="T8" fmla="*/ 103 w 194"/>
                <a:gd name="T9" fmla="*/ 260 h 264"/>
                <a:gd name="T10" fmla="*/ 131 w 194"/>
                <a:gd name="T11" fmla="*/ 245 h 264"/>
                <a:gd name="T12" fmla="*/ 165 w 194"/>
                <a:gd name="T13" fmla="*/ 234 h 264"/>
                <a:gd name="T14" fmla="*/ 172 w 194"/>
                <a:gd name="T15" fmla="*/ 224 h 264"/>
                <a:gd name="T16" fmla="*/ 179 w 194"/>
                <a:gd name="T17" fmla="*/ 210 h 264"/>
                <a:gd name="T18" fmla="*/ 181 w 194"/>
                <a:gd name="T19" fmla="*/ 206 h 264"/>
                <a:gd name="T20" fmla="*/ 191 w 194"/>
                <a:gd name="T21" fmla="*/ 166 h 264"/>
                <a:gd name="T22" fmla="*/ 163 w 194"/>
                <a:gd name="T23" fmla="*/ 137 h 264"/>
                <a:gd name="T24" fmla="*/ 151 w 194"/>
                <a:gd name="T25" fmla="*/ 108 h 264"/>
                <a:gd name="T26" fmla="*/ 131 w 194"/>
                <a:gd name="T27" fmla="*/ 78 h 264"/>
                <a:gd name="T28" fmla="*/ 120 w 194"/>
                <a:gd name="T29" fmla="*/ 49 h 264"/>
                <a:gd name="T30" fmla="*/ 64 w 194"/>
                <a:gd name="T31" fmla="*/ 1 h 264"/>
                <a:gd name="T32" fmla="*/ 34 w 194"/>
                <a:gd name="T33" fmla="*/ 3 h 264"/>
                <a:gd name="T34" fmla="*/ 34 w 194"/>
                <a:gd name="T35" fmla="*/ 3 h 264"/>
                <a:gd name="T36" fmla="*/ 32 w 194"/>
                <a:gd name="T37" fmla="*/ 4 h 264"/>
                <a:gd name="T38" fmla="*/ 1 w 194"/>
                <a:gd name="T39" fmla="*/ 32 h 264"/>
                <a:gd name="T40" fmla="*/ 1 w 194"/>
                <a:gd name="T41" fmla="*/ 32 h 264"/>
                <a:gd name="T42" fmla="*/ 1 w 194"/>
                <a:gd name="T43" fmla="*/ 33 h 264"/>
                <a:gd name="T44" fmla="*/ 1 w 194"/>
                <a:gd name="T45" fmla="*/ 34 h 264"/>
                <a:gd name="T46" fmla="*/ 8 w 194"/>
                <a:gd name="T47" fmla="*/ 46 h 264"/>
                <a:gd name="T48" fmla="*/ 11 w 194"/>
                <a:gd name="T49" fmla="*/ 55 h 264"/>
                <a:gd name="T50" fmla="*/ 14 w 194"/>
                <a:gd name="T51" fmla="*/ 69 h 264"/>
                <a:gd name="T52" fmla="*/ 14 w 194"/>
                <a:gd name="T53" fmla="*/ 68 h 264"/>
                <a:gd name="T54" fmla="*/ 15 w 194"/>
                <a:gd name="T55" fmla="*/ 104 h 264"/>
                <a:gd name="T56" fmla="*/ 13 w 194"/>
                <a:gd name="T57" fmla="*/ 129 h 264"/>
                <a:gd name="T58" fmla="*/ 30 w 194"/>
                <a:gd name="T59" fmla="*/ 145 h 264"/>
                <a:gd name="T60" fmla="*/ 31 w 194"/>
                <a:gd name="T61" fmla="*/ 165 h 264"/>
                <a:gd name="T62" fmla="*/ 26 w 194"/>
                <a:gd name="T63" fmla="*/ 177 h 264"/>
                <a:gd name="T64" fmla="*/ 19 w 194"/>
                <a:gd name="T65" fmla="*/ 193 h 264"/>
                <a:gd name="T66" fmla="*/ 19 w 194"/>
                <a:gd name="T67" fmla="*/ 197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94" h="264">
                  <a:moveTo>
                    <a:pt x="19" y="197"/>
                  </a:moveTo>
                  <a:cubicBezTo>
                    <a:pt x="17" y="206"/>
                    <a:pt x="17" y="214"/>
                    <a:pt x="22" y="222"/>
                  </a:cubicBezTo>
                  <a:cubicBezTo>
                    <a:pt x="29" y="232"/>
                    <a:pt x="31" y="227"/>
                    <a:pt x="40" y="231"/>
                  </a:cubicBezTo>
                  <a:cubicBezTo>
                    <a:pt x="57" y="241"/>
                    <a:pt x="47" y="255"/>
                    <a:pt x="69" y="260"/>
                  </a:cubicBezTo>
                  <a:cubicBezTo>
                    <a:pt x="81" y="262"/>
                    <a:pt x="90" y="264"/>
                    <a:pt x="103" y="260"/>
                  </a:cubicBezTo>
                  <a:cubicBezTo>
                    <a:pt x="114" y="256"/>
                    <a:pt x="119" y="248"/>
                    <a:pt x="131" y="245"/>
                  </a:cubicBezTo>
                  <a:cubicBezTo>
                    <a:pt x="146" y="242"/>
                    <a:pt x="153" y="247"/>
                    <a:pt x="165" y="234"/>
                  </a:cubicBezTo>
                  <a:cubicBezTo>
                    <a:pt x="168" y="231"/>
                    <a:pt x="170" y="228"/>
                    <a:pt x="172" y="224"/>
                  </a:cubicBezTo>
                  <a:cubicBezTo>
                    <a:pt x="174" y="220"/>
                    <a:pt x="176" y="215"/>
                    <a:pt x="179" y="210"/>
                  </a:cubicBezTo>
                  <a:cubicBezTo>
                    <a:pt x="179" y="209"/>
                    <a:pt x="180" y="207"/>
                    <a:pt x="181" y="206"/>
                  </a:cubicBezTo>
                  <a:cubicBezTo>
                    <a:pt x="187" y="194"/>
                    <a:pt x="194" y="183"/>
                    <a:pt x="191" y="166"/>
                  </a:cubicBezTo>
                  <a:cubicBezTo>
                    <a:pt x="188" y="147"/>
                    <a:pt x="177" y="148"/>
                    <a:pt x="163" y="137"/>
                  </a:cubicBezTo>
                  <a:cubicBezTo>
                    <a:pt x="152" y="128"/>
                    <a:pt x="154" y="122"/>
                    <a:pt x="151" y="108"/>
                  </a:cubicBezTo>
                  <a:cubicBezTo>
                    <a:pt x="148" y="93"/>
                    <a:pt x="138" y="88"/>
                    <a:pt x="131" y="78"/>
                  </a:cubicBezTo>
                  <a:cubicBezTo>
                    <a:pt x="125" y="70"/>
                    <a:pt x="126" y="58"/>
                    <a:pt x="120" y="49"/>
                  </a:cubicBezTo>
                  <a:cubicBezTo>
                    <a:pt x="115" y="23"/>
                    <a:pt x="96" y="4"/>
                    <a:pt x="64" y="1"/>
                  </a:cubicBezTo>
                  <a:cubicBezTo>
                    <a:pt x="52" y="0"/>
                    <a:pt x="42" y="1"/>
                    <a:pt x="34" y="3"/>
                  </a:cubicBezTo>
                  <a:cubicBezTo>
                    <a:pt x="34" y="3"/>
                    <a:pt x="34" y="3"/>
                    <a:pt x="34" y="3"/>
                  </a:cubicBezTo>
                  <a:cubicBezTo>
                    <a:pt x="33" y="4"/>
                    <a:pt x="32" y="4"/>
                    <a:pt x="32" y="4"/>
                  </a:cubicBezTo>
                  <a:cubicBezTo>
                    <a:pt x="25" y="7"/>
                    <a:pt x="0" y="16"/>
                    <a:pt x="1" y="32"/>
                  </a:cubicBezTo>
                  <a:cubicBezTo>
                    <a:pt x="1" y="32"/>
                    <a:pt x="1" y="32"/>
                    <a:pt x="1" y="32"/>
                  </a:cubicBezTo>
                  <a:cubicBezTo>
                    <a:pt x="1" y="33"/>
                    <a:pt x="1" y="33"/>
                    <a:pt x="1" y="33"/>
                  </a:cubicBezTo>
                  <a:cubicBezTo>
                    <a:pt x="1" y="34"/>
                    <a:pt x="1" y="34"/>
                    <a:pt x="1" y="34"/>
                  </a:cubicBezTo>
                  <a:cubicBezTo>
                    <a:pt x="2" y="38"/>
                    <a:pt x="4" y="42"/>
                    <a:pt x="8" y="46"/>
                  </a:cubicBezTo>
                  <a:cubicBezTo>
                    <a:pt x="9" y="49"/>
                    <a:pt x="10" y="52"/>
                    <a:pt x="11" y="55"/>
                  </a:cubicBezTo>
                  <a:cubicBezTo>
                    <a:pt x="12" y="58"/>
                    <a:pt x="13" y="64"/>
                    <a:pt x="14" y="69"/>
                  </a:cubicBezTo>
                  <a:cubicBezTo>
                    <a:pt x="14" y="68"/>
                    <a:pt x="14" y="68"/>
                    <a:pt x="14" y="68"/>
                  </a:cubicBezTo>
                  <a:cubicBezTo>
                    <a:pt x="13" y="79"/>
                    <a:pt x="15" y="94"/>
                    <a:pt x="15" y="104"/>
                  </a:cubicBezTo>
                  <a:cubicBezTo>
                    <a:pt x="15" y="110"/>
                    <a:pt x="10" y="122"/>
                    <a:pt x="13" y="129"/>
                  </a:cubicBezTo>
                  <a:cubicBezTo>
                    <a:pt x="17" y="138"/>
                    <a:pt x="25" y="137"/>
                    <a:pt x="30" y="145"/>
                  </a:cubicBezTo>
                  <a:cubicBezTo>
                    <a:pt x="34" y="151"/>
                    <a:pt x="33" y="158"/>
                    <a:pt x="31" y="165"/>
                  </a:cubicBezTo>
                  <a:cubicBezTo>
                    <a:pt x="29" y="169"/>
                    <a:pt x="28" y="173"/>
                    <a:pt x="26" y="177"/>
                  </a:cubicBezTo>
                  <a:cubicBezTo>
                    <a:pt x="23" y="183"/>
                    <a:pt x="21" y="188"/>
                    <a:pt x="19" y="193"/>
                  </a:cubicBezTo>
                  <a:cubicBezTo>
                    <a:pt x="19" y="194"/>
                    <a:pt x="19" y="195"/>
                    <a:pt x="19" y="197"/>
                  </a:cubicBezTo>
                  <a:close/>
                </a:path>
              </a:pathLst>
            </a:custGeom>
            <a:solidFill>
              <a:srgbClr val="5D381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grpSp>
    </p:spTree>
    <p:custDataLst>
      <p:tags r:id="rId1"/>
    </p:custDataLst>
    <p:extLst>
      <p:ext uri="{BB962C8B-B14F-4D97-AF65-F5344CB8AC3E}">
        <p14:creationId xmlns:p14="http://schemas.microsoft.com/office/powerpoint/2010/main" val="3345827821"/>
      </p:ext>
    </p:extLst>
  </p:cSld>
  <p:clrMapOvr>
    <a:masterClrMapping/>
  </p:clrMapOvr>
  <mc:AlternateContent xmlns:mc="http://schemas.openxmlformats.org/markup-compatibility/2006">
    <mc:Choice xmlns:p14="http://schemas.microsoft.com/office/powerpoint/2010/main" Requires="p14">
      <p:transition spd="slow" p14:dur="1250">
        <p:blinds dir="vert"/>
      </p:transition>
    </mc:Choice>
    <mc:Fallback>
      <p:transition spd="slow">
        <p:blinds dir="vert"/>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p:txBody>
          <a:bodyPr/>
          <a:lstStyle/>
          <a:p>
            <a:r>
              <a:rPr lang="zh-CN" altLang="en-US" dirty="0"/>
              <a:t>小组分工</a:t>
            </a:r>
          </a:p>
        </p:txBody>
      </p:sp>
      <p:sp>
        <p:nvSpPr>
          <p:cNvPr id="9" name="文本框 8">
            <a:extLst>
              <a:ext uri="{FF2B5EF4-FFF2-40B4-BE49-F238E27FC236}">
                <a16:creationId xmlns:a16="http://schemas.microsoft.com/office/drawing/2014/main" id="{04F69230-F3A6-4586-9371-A858F4763E9F}"/>
              </a:ext>
            </a:extLst>
          </p:cNvPr>
          <p:cNvSpPr txBox="1"/>
          <p:nvPr/>
        </p:nvSpPr>
        <p:spPr>
          <a:xfrm>
            <a:off x="6632714" y="2171808"/>
            <a:ext cx="1029773" cy="895349"/>
          </a:xfrm>
          <a:prstGeom prst="rect">
            <a:avLst/>
          </a:prstGeom>
          <a:noFill/>
          <a:ln w="117475">
            <a:noFill/>
          </a:ln>
        </p:spPr>
        <p:txBody>
          <a:bodyPr wrap="none" rtlCol="0">
            <a:prstTxWarp prst="textPlain">
              <a:avLst/>
            </a:prstTxWarp>
            <a:spAutoFit/>
          </a:bodyPr>
          <a:lstStyle/>
          <a:p>
            <a:r>
              <a:rPr lang="en-US" altLang="zh-CN" spc="100" dirty="0">
                <a:solidFill>
                  <a:schemeClr val="accent1"/>
                </a:solidFill>
                <a:latin typeface="Impact" panose="020B0806030902050204" pitchFamily="34" charset="0"/>
                <a:cs typeface="Arial" panose="020B0604020202020204" pitchFamily="34" charset="0"/>
              </a:rPr>
              <a:t>/3</a:t>
            </a:r>
            <a:endParaRPr lang="zh-CN" altLang="en-US" spc="100" dirty="0">
              <a:solidFill>
                <a:schemeClr val="accent1"/>
              </a:solidFill>
              <a:latin typeface="Impact" panose="020B0806030902050204" pitchFamily="34" charset="0"/>
              <a:cs typeface="Arial" panose="020B0604020202020204" pitchFamily="34" charset="0"/>
            </a:endParaRPr>
          </a:p>
        </p:txBody>
      </p:sp>
    </p:spTree>
    <p:custDataLst>
      <p:tags r:id="rId2"/>
    </p:custDataLst>
    <p:extLst>
      <p:ext uri="{BB962C8B-B14F-4D97-AF65-F5344CB8AC3E}">
        <p14:creationId xmlns:p14="http://schemas.microsoft.com/office/powerpoint/2010/main" val="3745744141"/>
      </p:ext>
    </p:extLst>
  </p:cSld>
  <p:clrMapOvr>
    <a:masterClrMapping/>
  </p:clrMapOvr>
  <p:transition spd="slow">
    <p:cover/>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87E7D277-9053-45C3-84D8-2E482EA0229B}"/>
              </a:ext>
            </a:extLst>
          </p:cNvPr>
          <p:cNvSpPr>
            <a:spLocks noGrp="1"/>
          </p:cNvSpPr>
          <p:nvPr>
            <p:ph type="title"/>
          </p:nvPr>
        </p:nvSpPr>
        <p:spPr/>
        <p:txBody>
          <a:bodyPr/>
          <a:lstStyle/>
          <a:p>
            <a:r>
              <a:rPr lang="zh-CN" altLang="en-US" dirty="0"/>
              <a:t>小组分工</a:t>
            </a:r>
          </a:p>
        </p:txBody>
      </p:sp>
      <p:sp>
        <p:nvSpPr>
          <p:cNvPr id="4" name="灯片编号占位符 3">
            <a:extLst>
              <a:ext uri="{FF2B5EF4-FFF2-40B4-BE49-F238E27FC236}">
                <a16:creationId xmlns:a16="http://schemas.microsoft.com/office/drawing/2014/main" id="{28DABF54-6D93-41CF-84F6-8044E3170029}"/>
              </a:ext>
            </a:extLst>
          </p:cNvPr>
          <p:cNvSpPr>
            <a:spLocks noGrp="1"/>
          </p:cNvSpPr>
          <p:nvPr>
            <p:ph type="sldNum" sz="quarter" idx="12"/>
          </p:nvPr>
        </p:nvSpPr>
        <p:spPr/>
        <p:txBody>
          <a:bodyPr/>
          <a:lstStyle/>
          <a:p>
            <a:fld id="{5DD3DB80-B894-403A-B48E-6FDC1A72010E}" type="slidenum">
              <a:rPr lang="zh-CN" altLang="en-US" smtClean="0"/>
              <a:pPr/>
              <a:t>33</a:t>
            </a:fld>
            <a:endParaRPr lang="zh-CN" altLang="en-US"/>
          </a:p>
        </p:txBody>
      </p:sp>
      <p:grpSp>
        <p:nvGrpSpPr>
          <p:cNvPr id="5" name="210827"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a16="http://schemas.microsoft.com/office/drawing/2014/main" id="{C8C3786A-4C09-4EB9-B7EC-FE75C77FD1F5}"/>
              </a:ext>
            </a:extLst>
          </p:cNvPr>
          <p:cNvGrpSpPr>
            <a:grpSpLocks noChangeAspect="1"/>
          </p:cNvGrpSpPr>
          <p:nvPr/>
        </p:nvGrpSpPr>
        <p:grpSpPr>
          <a:xfrm>
            <a:off x="-978282" y="1011605"/>
            <a:ext cx="12498770" cy="5132023"/>
            <a:chOff x="-978282" y="1011605"/>
            <a:chExt cx="12498770" cy="5132023"/>
          </a:xfrm>
        </p:grpSpPr>
        <p:sp>
          <p:nvSpPr>
            <p:cNvPr id="6" name="îṣļïḋé">
              <a:extLst>
                <a:ext uri="{FF2B5EF4-FFF2-40B4-BE49-F238E27FC236}">
                  <a16:creationId xmlns:a16="http://schemas.microsoft.com/office/drawing/2014/main" id="{66DCE522-D6C8-4478-AACF-10C02B4BC135}"/>
                </a:ext>
              </a:extLst>
            </p:cNvPr>
            <p:cNvSpPr/>
            <p:nvPr/>
          </p:nvSpPr>
          <p:spPr>
            <a:xfrm rot="5400000">
              <a:off x="-758472" y="791795"/>
              <a:ext cx="5132023" cy="5571643"/>
            </a:xfrm>
            <a:prstGeom prst="donut">
              <a:avLst>
                <a:gd name="adj" fmla="val 21222"/>
              </a:avLst>
            </a:prstGeom>
            <a:gradFill flip="none" rotWithShape="1">
              <a:gsLst>
                <a:gs pos="57000">
                  <a:schemeClr val="accent1">
                    <a:lumMod val="0"/>
                    <a:lumOff val="100000"/>
                    <a:alpha val="0"/>
                  </a:schemeClr>
                </a:gs>
                <a:gs pos="100000">
                  <a:schemeClr val="bg1">
                    <a:lumMod val="85000"/>
                    <a:alpha val="39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p>
              <a:pPr marL="0" marR="0" lvl="0" indent="0" algn="ctr" defTabSz="913765"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FFFFFF"/>
                </a:solidFill>
                <a:effectLst/>
                <a:uLnTx/>
                <a:uFillTx/>
              </a:endParaRPr>
            </a:p>
          </p:txBody>
        </p:sp>
        <p:grpSp>
          <p:nvGrpSpPr>
            <p:cNvPr id="7" name="ïSḻïḑê"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a16="http://schemas.microsoft.com/office/drawing/2014/main" id="{533DDD49-13B8-4D9B-AEE8-820C28D7E054}"/>
                </a:ext>
              </a:extLst>
            </p:cNvPr>
            <p:cNvGrpSpPr>
              <a:grpSpLocks noChangeAspect="1"/>
            </p:cNvGrpSpPr>
            <p:nvPr/>
          </p:nvGrpSpPr>
          <p:grpSpPr>
            <a:xfrm>
              <a:off x="669925" y="2166143"/>
              <a:ext cx="2127375" cy="2525716"/>
              <a:chOff x="4154488" y="1217613"/>
              <a:chExt cx="3883026" cy="4610101"/>
            </a:xfrm>
          </p:grpSpPr>
          <p:sp>
            <p:nvSpPr>
              <p:cNvPr id="25" name="iṡḷíḓé">
                <a:extLst>
                  <a:ext uri="{FF2B5EF4-FFF2-40B4-BE49-F238E27FC236}">
                    <a16:creationId xmlns:a16="http://schemas.microsoft.com/office/drawing/2014/main" id="{D24B19DC-2D52-4409-B5A9-E273A13778A5}"/>
                  </a:ext>
                </a:extLst>
              </p:cNvPr>
              <p:cNvSpPr/>
              <p:nvPr/>
            </p:nvSpPr>
            <p:spPr bwMode="auto">
              <a:xfrm>
                <a:off x="4883151" y="3546476"/>
                <a:ext cx="3154363" cy="1935163"/>
              </a:xfrm>
              <a:custGeom>
                <a:avLst/>
                <a:gdLst>
                  <a:gd name="T0" fmla="*/ 11386 w 11916"/>
                  <a:gd name="T1" fmla="*/ 7318 h 7318"/>
                  <a:gd name="T2" fmla="*/ 530 w 11916"/>
                  <a:gd name="T3" fmla="*/ 7318 h 7318"/>
                  <a:gd name="T4" fmla="*/ 0 w 11916"/>
                  <a:gd name="T5" fmla="*/ 6789 h 7318"/>
                  <a:gd name="T6" fmla="*/ 0 w 11916"/>
                  <a:gd name="T7" fmla="*/ 529 h 7318"/>
                  <a:gd name="T8" fmla="*/ 530 w 11916"/>
                  <a:gd name="T9" fmla="*/ 0 h 7318"/>
                  <a:gd name="T10" fmla="*/ 11386 w 11916"/>
                  <a:gd name="T11" fmla="*/ 0 h 7318"/>
                  <a:gd name="T12" fmla="*/ 11916 w 11916"/>
                  <a:gd name="T13" fmla="*/ 529 h 7318"/>
                  <a:gd name="T14" fmla="*/ 11916 w 11916"/>
                  <a:gd name="T15" fmla="*/ 6789 h 7318"/>
                  <a:gd name="T16" fmla="*/ 11386 w 11916"/>
                  <a:gd name="T17" fmla="*/ 7318 h 7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916" h="7318">
                    <a:moveTo>
                      <a:pt x="11386" y="7318"/>
                    </a:moveTo>
                    <a:cubicBezTo>
                      <a:pt x="530" y="7318"/>
                      <a:pt x="530" y="7318"/>
                      <a:pt x="530" y="7318"/>
                    </a:cubicBezTo>
                    <a:cubicBezTo>
                      <a:pt x="237" y="7318"/>
                      <a:pt x="0" y="7081"/>
                      <a:pt x="0" y="6789"/>
                    </a:cubicBezTo>
                    <a:cubicBezTo>
                      <a:pt x="0" y="529"/>
                      <a:pt x="0" y="529"/>
                      <a:pt x="0" y="529"/>
                    </a:cubicBezTo>
                    <a:cubicBezTo>
                      <a:pt x="0" y="237"/>
                      <a:pt x="237" y="0"/>
                      <a:pt x="530" y="0"/>
                    </a:cubicBezTo>
                    <a:cubicBezTo>
                      <a:pt x="11386" y="0"/>
                      <a:pt x="11386" y="0"/>
                      <a:pt x="11386" y="0"/>
                    </a:cubicBezTo>
                    <a:cubicBezTo>
                      <a:pt x="11678" y="0"/>
                      <a:pt x="11916" y="237"/>
                      <a:pt x="11916" y="529"/>
                    </a:cubicBezTo>
                    <a:cubicBezTo>
                      <a:pt x="11916" y="6789"/>
                      <a:pt x="11916" y="6789"/>
                      <a:pt x="11916" y="6789"/>
                    </a:cubicBezTo>
                    <a:cubicBezTo>
                      <a:pt x="11916" y="7081"/>
                      <a:pt x="11678" y="7318"/>
                      <a:pt x="11386" y="7318"/>
                    </a:cubicBezTo>
                  </a:path>
                </a:pathLst>
              </a:custGeom>
              <a:solidFill>
                <a:srgbClr val="192533"/>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26" name="ïšḷídê">
                <a:extLst>
                  <a:ext uri="{FF2B5EF4-FFF2-40B4-BE49-F238E27FC236}">
                    <a16:creationId xmlns:a16="http://schemas.microsoft.com/office/drawing/2014/main" id="{50B799DC-D391-4A3E-B559-FE598175035F}"/>
                  </a:ext>
                </a:extLst>
              </p:cNvPr>
              <p:cNvSpPr/>
              <p:nvPr/>
            </p:nvSpPr>
            <p:spPr bwMode="auto">
              <a:xfrm>
                <a:off x="4972051" y="3635376"/>
                <a:ext cx="2976563" cy="1755775"/>
              </a:xfrm>
              <a:custGeom>
                <a:avLst/>
                <a:gdLst>
                  <a:gd name="T0" fmla="*/ 10749 w 11239"/>
                  <a:gd name="T1" fmla="*/ 6638 h 6638"/>
                  <a:gd name="T2" fmla="*/ 490 w 11239"/>
                  <a:gd name="T3" fmla="*/ 6638 h 6638"/>
                  <a:gd name="T4" fmla="*/ 0 w 11239"/>
                  <a:gd name="T5" fmla="*/ 6148 h 6638"/>
                  <a:gd name="T6" fmla="*/ 0 w 11239"/>
                  <a:gd name="T7" fmla="*/ 490 h 6638"/>
                  <a:gd name="T8" fmla="*/ 490 w 11239"/>
                  <a:gd name="T9" fmla="*/ 0 h 6638"/>
                  <a:gd name="T10" fmla="*/ 10749 w 11239"/>
                  <a:gd name="T11" fmla="*/ 0 h 6638"/>
                  <a:gd name="T12" fmla="*/ 11239 w 11239"/>
                  <a:gd name="T13" fmla="*/ 490 h 6638"/>
                  <a:gd name="T14" fmla="*/ 11239 w 11239"/>
                  <a:gd name="T15" fmla="*/ 6148 h 6638"/>
                  <a:gd name="T16" fmla="*/ 10749 w 11239"/>
                  <a:gd name="T17" fmla="*/ 6638 h 66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39" h="6638">
                    <a:moveTo>
                      <a:pt x="10749" y="6638"/>
                    </a:moveTo>
                    <a:cubicBezTo>
                      <a:pt x="490" y="6638"/>
                      <a:pt x="490" y="6638"/>
                      <a:pt x="490" y="6638"/>
                    </a:cubicBezTo>
                    <a:cubicBezTo>
                      <a:pt x="219" y="6638"/>
                      <a:pt x="0" y="6418"/>
                      <a:pt x="0" y="6148"/>
                    </a:cubicBezTo>
                    <a:cubicBezTo>
                      <a:pt x="0" y="490"/>
                      <a:pt x="0" y="490"/>
                      <a:pt x="0" y="490"/>
                    </a:cubicBezTo>
                    <a:cubicBezTo>
                      <a:pt x="0" y="220"/>
                      <a:pt x="219" y="0"/>
                      <a:pt x="490" y="0"/>
                    </a:cubicBezTo>
                    <a:cubicBezTo>
                      <a:pt x="10749" y="0"/>
                      <a:pt x="10749" y="0"/>
                      <a:pt x="10749" y="0"/>
                    </a:cubicBezTo>
                    <a:cubicBezTo>
                      <a:pt x="11020" y="0"/>
                      <a:pt x="11239" y="220"/>
                      <a:pt x="11239" y="490"/>
                    </a:cubicBezTo>
                    <a:cubicBezTo>
                      <a:pt x="11239" y="6148"/>
                      <a:pt x="11239" y="6148"/>
                      <a:pt x="11239" y="6148"/>
                    </a:cubicBezTo>
                    <a:cubicBezTo>
                      <a:pt x="11239" y="6418"/>
                      <a:pt x="11020" y="6638"/>
                      <a:pt x="10749" y="6638"/>
                    </a:cubicBezTo>
                  </a:path>
                </a:pathLst>
              </a:custGeom>
              <a:solidFill>
                <a:srgbClr val="2FA58D"/>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27" name="ïšḷîďe">
                <a:extLst>
                  <a:ext uri="{FF2B5EF4-FFF2-40B4-BE49-F238E27FC236}">
                    <a16:creationId xmlns:a16="http://schemas.microsoft.com/office/drawing/2014/main" id="{B98385CE-75C2-41A6-AE48-4E796258937A}"/>
                  </a:ext>
                </a:extLst>
              </p:cNvPr>
              <p:cNvSpPr/>
              <p:nvPr/>
            </p:nvSpPr>
            <p:spPr bwMode="auto">
              <a:xfrm>
                <a:off x="6151563" y="5481638"/>
                <a:ext cx="617538" cy="258763"/>
              </a:xfrm>
              <a:prstGeom prst="rect">
                <a:avLst/>
              </a:prstGeom>
              <a:solidFill>
                <a:srgbClr val="192533"/>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28" name="iṧḷiḓe">
                <a:extLst>
                  <a:ext uri="{FF2B5EF4-FFF2-40B4-BE49-F238E27FC236}">
                    <a16:creationId xmlns:a16="http://schemas.microsoft.com/office/drawing/2014/main" id="{7137137A-2D89-42A3-B1F1-0BCA805F0170}"/>
                  </a:ext>
                </a:extLst>
              </p:cNvPr>
              <p:cNvSpPr/>
              <p:nvPr/>
            </p:nvSpPr>
            <p:spPr bwMode="auto">
              <a:xfrm>
                <a:off x="6151563" y="5481638"/>
                <a:ext cx="617538" cy="258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29" name="íṣļiďè">
                <a:extLst>
                  <a:ext uri="{FF2B5EF4-FFF2-40B4-BE49-F238E27FC236}">
                    <a16:creationId xmlns:a16="http://schemas.microsoft.com/office/drawing/2014/main" id="{E35FF23F-AE44-4D39-ABBD-D470C1E7F323}"/>
                  </a:ext>
                </a:extLst>
              </p:cNvPr>
              <p:cNvSpPr/>
              <p:nvPr/>
            </p:nvSpPr>
            <p:spPr bwMode="auto">
              <a:xfrm>
                <a:off x="6151563" y="5481638"/>
                <a:ext cx="617538" cy="63500"/>
              </a:xfrm>
              <a:prstGeom prst="rect">
                <a:avLst/>
              </a:prstGeom>
              <a:solidFill>
                <a:srgbClr val="151F2A"/>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30" name="ïşliḑè">
                <a:extLst>
                  <a:ext uri="{FF2B5EF4-FFF2-40B4-BE49-F238E27FC236}">
                    <a16:creationId xmlns:a16="http://schemas.microsoft.com/office/drawing/2014/main" id="{86AF20E4-56DA-41A8-9DE5-CE3865C3BBF9}"/>
                  </a:ext>
                </a:extLst>
              </p:cNvPr>
              <p:cNvSpPr/>
              <p:nvPr/>
            </p:nvSpPr>
            <p:spPr bwMode="auto">
              <a:xfrm>
                <a:off x="6151563" y="5481638"/>
                <a:ext cx="617538" cy="6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31" name="îṧļíḓe">
                <a:extLst>
                  <a:ext uri="{FF2B5EF4-FFF2-40B4-BE49-F238E27FC236}">
                    <a16:creationId xmlns:a16="http://schemas.microsoft.com/office/drawing/2014/main" id="{7351A61C-AEB1-4C33-B82B-17429A361FC9}"/>
                  </a:ext>
                </a:extLst>
              </p:cNvPr>
              <p:cNvSpPr/>
              <p:nvPr/>
            </p:nvSpPr>
            <p:spPr bwMode="auto">
              <a:xfrm>
                <a:off x="5913438" y="5715001"/>
                <a:ext cx="1092200" cy="112713"/>
              </a:xfrm>
              <a:custGeom>
                <a:avLst/>
                <a:gdLst>
                  <a:gd name="T0" fmla="*/ 3713 w 4123"/>
                  <a:gd name="T1" fmla="*/ 0 h 427"/>
                  <a:gd name="T2" fmla="*/ 411 w 4123"/>
                  <a:gd name="T3" fmla="*/ 0 h 427"/>
                  <a:gd name="T4" fmla="*/ 186 w 4123"/>
                  <a:gd name="T5" fmla="*/ 126 h 427"/>
                  <a:gd name="T6" fmla="*/ 0 w 4123"/>
                  <a:gd name="T7" fmla="*/ 427 h 427"/>
                  <a:gd name="T8" fmla="*/ 4123 w 4123"/>
                  <a:gd name="T9" fmla="*/ 427 h 427"/>
                  <a:gd name="T10" fmla="*/ 3940 w 4123"/>
                  <a:gd name="T11" fmla="*/ 127 h 427"/>
                  <a:gd name="T12" fmla="*/ 3713 w 4123"/>
                  <a:gd name="T13" fmla="*/ 0 h 427"/>
                </a:gdLst>
                <a:ahLst/>
                <a:cxnLst>
                  <a:cxn ang="0">
                    <a:pos x="T0" y="T1"/>
                  </a:cxn>
                  <a:cxn ang="0">
                    <a:pos x="T2" y="T3"/>
                  </a:cxn>
                  <a:cxn ang="0">
                    <a:pos x="T4" y="T5"/>
                  </a:cxn>
                  <a:cxn ang="0">
                    <a:pos x="T6" y="T7"/>
                  </a:cxn>
                  <a:cxn ang="0">
                    <a:pos x="T8" y="T9"/>
                  </a:cxn>
                  <a:cxn ang="0">
                    <a:pos x="T10" y="T11"/>
                  </a:cxn>
                  <a:cxn ang="0">
                    <a:pos x="T12" y="T13"/>
                  </a:cxn>
                </a:cxnLst>
                <a:rect l="0" t="0" r="r" b="b"/>
                <a:pathLst>
                  <a:path w="4123" h="427">
                    <a:moveTo>
                      <a:pt x="3713" y="0"/>
                    </a:moveTo>
                    <a:cubicBezTo>
                      <a:pt x="411" y="0"/>
                      <a:pt x="411" y="0"/>
                      <a:pt x="411" y="0"/>
                    </a:cubicBezTo>
                    <a:cubicBezTo>
                      <a:pt x="319" y="0"/>
                      <a:pt x="234" y="48"/>
                      <a:pt x="186" y="126"/>
                    </a:cubicBezTo>
                    <a:cubicBezTo>
                      <a:pt x="0" y="427"/>
                      <a:pt x="0" y="427"/>
                      <a:pt x="0" y="427"/>
                    </a:cubicBezTo>
                    <a:cubicBezTo>
                      <a:pt x="4123" y="427"/>
                      <a:pt x="4123" y="427"/>
                      <a:pt x="4123" y="427"/>
                    </a:cubicBezTo>
                    <a:cubicBezTo>
                      <a:pt x="3940" y="127"/>
                      <a:pt x="3940" y="127"/>
                      <a:pt x="3940" y="127"/>
                    </a:cubicBezTo>
                    <a:cubicBezTo>
                      <a:pt x="3892" y="48"/>
                      <a:pt x="3806" y="0"/>
                      <a:pt x="3713" y="0"/>
                    </a:cubicBezTo>
                    <a:close/>
                  </a:path>
                </a:pathLst>
              </a:custGeom>
              <a:solidFill>
                <a:srgbClr val="141D26"/>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32" name="îsļïďe">
                <a:extLst>
                  <a:ext uri="{FF2B5EF4-FFF2-40B4-BE49-F238E27FC236}">
                    <a16:creationId xmlns:a16="http://schemas.microsoft.com/office/drawing/2014/main" id="{DBF26A91-59CA-4427-AA9B-EE82AF301CDF}"/>
                  </a:ext>
                </a:extLst>
              </p:cNvPr>
              <p:cNvSpPr/>
              <p:nvPr/>
            </p:nvSpPr>
            <p:spPr bwMode="auto">
              <a:xfrm>
                <a:off x="5006976" y="1589088"/>
                <a:ext cx="549275" cy="776288"/>
              </a:xfrm>
              <a:custGeom>
                <a:avLst/>
                <a:gdLst>
                  <a:gd name="T0" fmla="*/ 93 w 2071"/>
                  <a:gd name="T1" fmla="*/ 2003 h 2937"/>
                  <a:gd name="T2" fmla="*/ 153 w 2071"/>
                  <a:gd name="T3" fmla="*/ 1877 h 2937"/>
                  <a:gd name="T4" fmla="*/ 169 w 2071"/>
                  <a:gd name="T5" fmla="*/ 1613 h 2937"/>
                  <a:gd name="T6" fmla="*/ 49 w 2071"/>
                  <a:gd name="T7" fmla="*/ 1274 h 2937"/>
                  <a:gd name="T8" fmla="*/ 92 w 2071"/>
                  <a:gd name="T9" fmla="*/ 737 h 2937"/>
                  <a:gd name="T10" fmla="*/ 1387 w 2071"/>
                  <a:gd name="T11" fmla="*/ 573 h 2937"/>
                  <a:gd name="T12" fmla="*/ 1541 w 2071"/>
                  <a:gd name="T13" fmla="*/ 1950 h 2937"/>
                  <a:gd name="T14" fmla="*/ 1482 w 2071"/>
                  <a:gd name="T15" fmla="*/ 2009 h 2937"/>
                  <a:gd name="T16" fmla="*/ 1822 w 2071"/>
                  <a:gd name="T17" fmla="*/ 1979 h 2937"/>
                  <a:gd name="T18" fmla="*/ 1930 w 2071"/>
                  <a:gd name="T19" fmla="*/ 2224 h 2937"/>
                  <a:gd name="T20" fmla="*/ 1190 w 2071"/>
                  <a:gd name="T21" fmla="*/ 2937 h 2937"/>
                  <a:gd name="T22" fmla="*/ 989 w 2071"/>
                  <a:gd name="T23" fmla="*/ 2477 h 2937"/>
                  <a:gd name="T24" fmla="*/ 514 w 2071"/>
                  <a:gd name="T25" fmla="*/ 2566 h 2937"/>
                  <a:gd name="T26" fmla="*/ 505 w 2071"/>
                  <a:gd name="T27" fmla="*/ 2442 h 2937"/>
                  <a:gd name="T28" fmla="*/ 502 w 2071"/>
                  <a:gd name="T29" fmla="*/ 2408 h 2937"/>
                  <a:gd name="T30" fmla="*/ 457 w 2071"/>
                  <a:gd name="T31" fmla="*/ 2352 h 2937"/>
                  <a:gd name="T32" fmla="*/ 309 w 2071"/>
                  <a:gd name="T33" fmla="*/ 2152 h 2937"/>
                  <a:gd name="T34" fmla="*/ 187 w 2071"/>
                  <a:gd name="T35" fmla="*/ 2103 h 2937"/>
                  <a:gd name="T36" fmla="*/ 93 w 2071"/>
                  <a:gd name="T37" fmla="*/ 2003 h 29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071" h="2937">
                    <a:moveTo>
                      <a:pt x="93" y="2003"/>
                    </a:moveTo>
                    <a:cubicBezTo>
                      <a:pt x="108" y="1975"/>
                      <a:pt x="128" y="1935"/>
                      <a:pt x="153" y="1877"/>
                    </a:cubicBezTo>
                    <a:cubicBezTo>
                      <a:pt x="187" y="1793"/>
                      <a:pt x="193" y="1700"/>
                      <a:pt x="169" y="1613"/>
                    </a:cubicBezTo>
                    <a:cubicBezTo>
                      <a:pt x="140" y="1511"/>
                      <a:pt x="97" y="1372"/>
                      <a:pt x="49" y="1274"/>
                    </a:cubicBezTo>
                    <a:cubicBezTo>
                      <a:pt x="49" y="1274"/>
                      <a:pt x="0" y="1009"/>
                      <a:pt x="92" y="737"/>
                    </a:cubicBezTo>
                    <a:cubicBezTo>
                      <a:pt x="92" y="737"/>
                      <a:pt x="683" y="0"/>
                      <a:pt x="1387" y="573"/>
                    </a:cubicBezTo>
                    <a:cubicBezTo>
                      <a:pt x="1387" y="573"/>
                      <a:pt x="2071" y="1110"/>
                      <a:pt x="1541" y="1950"/>
                    </a:cubicBezTo>
                    <a:cubicBezTo>
                      <a:pt x="1482" y="2009"/>
                      <a:pt x="1482" y="2009"/>
                      <a:pt x="1482" y="2009"/>
                    </a:cubicBezTo>
                    <a:cubicBezTo>
                      <a:pt x="1822" y="1979"/>
                      <a:pt x="1822" y="1979"/>
                      <a:pt x="1822" y="1979"/>
                    </a:cubicBezTo>
                    <a:cubicBezTo>
                      <a:pt x="1930" y="2224"/>
                      <a:pt x="1930" y="2224"/>
                      <a:pt x="1930" y="2224"/>
                    </a:cubicBezTo>
                    <a:cubicBezTo>
                      <a:pt x="1190" y="2937"/>
                      <a:pt x="1190" y="2937"/>
                      <a:pt x="1190" y="2937"/>
                    </a:cubicBezTo>
                    <a:cubicBezTo>
                      <a:pt x="989" y="2477"/>
                      <a:pt x="989" y="2477"/>
                      <a:pt x="989" y="2477"/>
                    </a:cubicBezTo>
                    <a:cubicBezTo>
                      <a:pt x="989" y="2477"/>
                      <a:pt x="593" y="2679"/>
                      <a:pt x="514" y="2566"/>
                    </a:cubicBezTo>
                    <a:cubicBezTo>
                      <a:pt x="514" y="2566"/>
                      <a:pt x="470" y="2517"/>
                      <a:pt x="505" y="2442"/>
                    </a:cubicBezTo>
                    <a:cubicBezTo>
                      <a:pt x="505" y="2442"/>
                      <a:pt x="504" y="2429"/>
                      <a:pt x="502" y="2408"/>
                    </a:cubicBezTo>
                    <a:cubicBezTo>
                      <a:pt x="486" y="2391"/>
                      <a:pt x="470" y="2372"/>
                      <a:pt x="457" y="2352"/>
                    </a:cubicBezTo>
                    <a:cubicBezTo>
                      <a:pt x="406" y="2278"/>
                      <a:pt x="329" y="2168"/>
                      <a:pt x="309" y="2152"/>
                    </a:cubicBezTo>
                    <a:cubicBezTo>
                      <a:pt x="288" y="2137"/>
                      <a:pt x="255" y="2123"/>
                      <a:pt x="187" y="2103"/>
                    </a:cubicBezTo>
                    <a:cubicBezTo>
                      <a:pt x="138" y="2088"/>
                      <a:pt x="68" y="2047"/>
                      <a:pt x="93" y="2003"/>
                    </a:cubicBezTo>
                    <a:close/>
                  </a:path>
                </a:pathLst>
              </a:custGeom>
              <a:solidFill>
                <a:srgbClr val="EFD4B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33" name="íṧļíďè">
                <a:extLst>
                  <a:ext uri="{FF2B5EF4-FFF2-40B4-BE49-F238E27FC236}">
                    <a16:creationId xmlns:a16="http://schemas.microsoft.com/office/drawing/2014/main" id="{D2BD676A-A484-456F-93DE-E17EFD95A8DD}"/>
                  </a:ext>
                </a:extLst>
              </p:cNvPr>
              <p:cNvSpPr/>
              <p:nvPr/>
            </p:nvSpPr>
            <p:spPr bwMode="auto">
              <a:xfrm>
                <a:off x="4975226" y="1662113"/>
                <a:ext cx="565150" cy="546100"/>
              </a:xfrm>
              <a:custGeom>
                <a:avLst/>
                <a:gdLst>
                  <a:gd name="T0" fmla="*/ 218 w 2132"/>
                  <a:gd name="T1" fmla="*/ 972 h 2066"/>
                  <a:gd name="T2" fmla="*/ 126 w 2132"/>
                  <a:gd name="T3" fmla="*/ 979 h 2066"/>
                  <a:gd name="T4" fmla="*/ 99 w 2132"/>
                  <a:gd name="T5" fmla="*/ 377 h 2066"/>
                  <a:gd name="T6" fmla="*/ 370 w 2132"/>
                  <a:gd name="T7" fmla="*/ 103 h 2066"/>
                  <a:gd name="T8" fmla="*/ 858 w 2132"/>
                  <a:gd name="T9" fmla="*/ 28 h 2066"/>
                  <a:gd name="T10" fmla="*/ 960 w 2132"/>
                  <a:gd name="T11" fmla="*/ 57 h 2066"/>
                  <a:gd name="T12" fmla="*/ 1211 w 2132"/>
                  <a:gd name="T13" fmla="*/ 86 h 2066"/>
                  <a:gd name="T14" fmla="*/ 1576 w 2132"/>
                  <a:gd name="T15" fmla="*/ 145 h 2066"/>
                  <a:gd name="T16" fmla="*/ 1998 w 2132"/>
                  <a:gd name="T17" fmla="*/ 603 h 2066"/>
                  <a:gd name="T18" fmla="*/ 2072 w 2132"/>
                  <a:gd name="T19" fmla="*/ 1175 h 2066"/>
                  <a:gd name="T20" fmla="*/ 2069 w 2132"/>
                  <a:gd name="T21" fmla="*/ 1187 h 2066"/>
                  <a:gd name="T22" fmla="*/ 2051 w 2132"/>
                  <a:gd name="T23" fmla="*/ 1931 h 2066"/>
                  <a:gd name="T24" fmla="*/ 2035 w 2132"/>
                  <a:gd name="T25" fmla="*/ 1964 h 2066"/>
                  <a:gd name="T26" fmla="*/ 1710 w 2132"/>
                  <a:gd name="T27" fmla="*/ 1966 h 2066"/>
                  <a:gd name="T28" fmla="*/ 1556 w 2132"/>
                  <a:gd name="T29" fmla="*/ 1754 h 2066"/>
                  <a:gd name="T30" fmla="*/ 1508 w 2132"/>
                  <a:gd name="T31" fmla="*/ 1468 h 2066"/>
                  <a:gd name="T32" fmla="*/ 1433 w 2132"/>
                  <a:gd name="T33" fmla="*/ 1213 h 2066"/>
                  <a:gd name="T34" fmla="*/ 1431 w 2132"/>
                  <a:gd name="T35" fmla="*/ 1210 h 2066"/>
                  <a:gd name="T36" fmla="*/ 1176 w 2132"/>
                  <a:gd name="T37" fmla="*/ 1175 h 2066"/>
                  <a:gd name="T38" fmla="*/ 1173 w 2132"/>
                  <a:gd name="T39" fmla="*/ 1180 h 2066"/>
                  <a:gd name="T40" fmla="*/ 1029 w 2132"/>
                  <a:gd name="T41" fmla="*/ 1305 h 2066"/>
                  <a:gd name="T42" fmla="*/ 871 w 2132"/>
                  <a:gd name="T43" fmla="*/ 1262 h 2066"/>
                  <a:gd name="T44" fmla="*/ 697 w 2132"/>
                  <a:gd name="T45" fmla="*/ 994 h 2066"/>
                  <a:gd name="T46" fmla="*/ 693 w 2132"/>
                  <a:gd name="T47" fmla="*/ 918 h 2066"/>
                  <a:gd name="T48" fmla="*/ 319 w 2132"/>
                  <a:gd name="T49" fmla="*/ 804 h 2066"/>
                  <a:gd name="T50" fmla="*/ 218 w 2132"/>
                  <a:gd name="T51" fmla="*/ 972 h 20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132" h="2066">
                    <a:moveTo>
                      <a:pt x="218" y="972"/>
                    </a:moveTo>
                    <a:cubicBezTo>
                      <a:pt x="200" y="1008"/>
                      <a:pt x="150" y="1012"/>
                      <a:pt x="126" y="979"/>
                    </a:cubicBezTo>
                    <a:cubicBezTo>
                      <a:pt x="88" y="924"/>
                      <a:pt x="0" y="761"/>
                      <a:pt x="99" y="377"/>
                    </a:cubicBezTo>
                    <a:cubicBezTo>
                      <a:pt x="125" y="277"/>
                      <a:pt x="245" y="154"/>
                      <a:pt x="370" y="103"/>
                    </a:cubicBezTo>
                    <a:cubicBezTo>
                      <a:pt x="487" y="56"/>
                      <a:pt x="673" y="0"/>
                      <a:pt x="858" y="28"/>
                    </a:cubicBezTo>
                    <a:cubicBezTo>
                      <a:pt x="893" y="33"/>
                      <a:pt x="927" y="44"/>
                      <a:pt x="960" y="57"/>
                    </a:cubicBezTo>
                    <a:cubicBezTo>
                      <a:pt x="999" y="71"/>
                      <a:pt x="1082" y="95"/>
                      <a:pt x="1211" y="86"/>
                    </a:cubicBezTo>
                    <a:cubicBezTo>
                      <a:pt x="1336" y="76"/>
                      <a:pt x="1461" y="95"/>
                      <a:pt x="1576" y="145"/>
                    </a:cubicBezTo>
                    <a:cubicBezTo>
                      <a:pt x="1749" y="220"/>
                      <a:pt x="1920" y="386"/>
                      <a:pt x="1998" y="603"/>
                    </a:cubicBezTo>
                    <a:cubicBezTo>
                      <a:pt x="1998" y="603"/>
                      <a:pt x="2132" y="1024"/>
                      <a:pt x="2072" y="1175"/>
                    </a:cubicBezTo>
                    <a:cubicBezTo>
                      <a:pt x="2070" y="1179"/>
                      <a:pt x="2069" y="1183"/>
                      <a:pt x="2069" y="1187"/>
                    </a:cubicBezTo>
                    <a:cubicBezTo>
                      <a:pt x="2065" y="1248"/>
                      <a:pt x="1865" y="1579"/>
                      <a:pt x="2051" y="1931"/>
                    </a:cubicBezTo>
                    <a:cubicBezTo>
                      <a:pt x="2057" y="1942"/>
                      <a:pt x="2046" y="1956"/>
                      <a:pt x="2035" y="1964"/>
                    </a:cubicBezTo>
                    <a:cubicBezTo>
                      <a:pt x="1990" y="1995"/>
                      <a:pt x="1860" y="2066"/>
                      <a:pt x="1710" y="1966"/>
                    </a:cubicBezTo>
                    <a:cubicBezTo>
                      <a:pt x="1710" y="1966"/>
                      <a:pt x="1626" y="1917"/>
                      <a:pt x="1556" y="1754"/>
                    </a:cubicBezTo>
                    <a:cubicBezTo>
                      <a:pt x="1517" y="1664"/>
                      <a:pt x="1502" y="1566"/>
                      <a:pt x="1508" y="1468"/>
                    </a:cubicBezTo>
                    <a:cubicBezTo>
                      <a:pt x="1513" y="1398"/>
                      <a:pt x="1503" y="1299"/>
                      <a:pt x="1433" y="1213"/>
                    </a:cubicBezTo>
                    <a:cubicBezTo>
                      <a:pt x="1433" y="1212"/>
                      <a:pt x="1432" y="1211"/>
                      <a:pt x="1431" y="1210"/>
                    </a:cubicBezTo>
                    <a:cubicBezTo>
                      <a:pt x="1414" y="1194"/>
                      <a:pt x="1249" y="1031"/>
                      <a:pt x="1176" y="1175"/>
                    </a:cubicBezTo>
                    <a:cubicBezTo>
                      <a:pt x="1175" y="1177"/>
                      <a:pt x="1174" y="1178"/>
                      <a:pt x="1173" y="1180"/>
                    </a:cubicBezTo>
                    <a:cubicBezTo>
                      <a:pt x="1163" y="1194"/>
                      <a:pt x="1107" y="1268"/>
                      <a:pt x="1029" y="1305"/>
                    </a:cubicBezTo>
                    <a:cubicBezTo>
                      <a:pt x="973" y="1332"/>
                      <a:pt x="906" y="1313"/>
                      <a:pt x="871" y="1262"/>
                    </a:cubicBezTo>
                    <a:cubicBezTo>
                      <a:pt x="840" y="1216"/>
                      <a:pt x="716" y="1057"/>
                      <a:pt x="697" y="994"/>
                    </a:cubicBezTo>
                    <a:cubicBezTo>
                      <a:pt x="693" y="980"/>
                      <a:pt x="695" y="951"/>
                      <a:pt x="693" y="918"/>
                    </a:cubicBezTo>
                    <a:cubicBezTo>
                      <a:pt x="682" y="726"/>
                      <a:pt x="436" y="651"/>
                      <a:pt x="319" y="804"/>
                    </a:cubicBezTo>
                    <a:cubicBezTo>
                      <a:pt x="287" y="847"/>
                      <a:pt x="252" y="902"/>
                      <a:pt x="218" y="972"/>
                    </a:cubicBezTo>
                    <a:close/>
                  </a:path>
                </a:pathLst>
              </a:custGeom>
              <a:solidFill>
                <a:srgbClr val="192533"/>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34" name="ïšļîde">
                <a:extLst>
                  <a:ext uri="{FF2B5EF4-FFF2-40B4-BE49-F238E27FC236}">
                    <a16:creationId xmlns:a16="http://schemas.microsoft.com/office/drawing/2014/main" id="{B46D1C94-63A6-4346-8C16-4CCD9B7B24F9}"/>
                  </a:ext>
                </a:extLst>
              </p:cNvPr>
              <p:cNvSpPr/>
              <p:nvPr/>
            </p:nvSpPr>
            <p:spPr bwMode="auto">
              <a:xfrm>
                <a:off x="4448176" y="4064001"/>
                <a:ext cx="214313" cy="165100"/>
              </a:xfrm>
              <a:custGeom>
                <a:avLst/>
                <a:gdLst>
                  <a:gd name="T0" fmla="*/ 148 w 812"/>
                  <a:gd name="T1" fmla="*/ 0 h 622"/>
                  <a:gd name="T2" fmla="*/ 0 w 812"/>
                  <a:gd name="T3" fmla="*/ 602 h 622"/>
                  <a:gd name="T4" fmla="*/ 744 w 812"/>
                  <a:gd name="T5" fmla="*/ 622 h 622"/>
                  <a:gd name="T6" fmla="*/ 812 w 812"/>
                  <a:gd name="T7" fmla="*/ 84 h 622"/>
                  <a:gd name="T8" fmla="*/ 148 w 812"/>
                  <a:gd name="T9" fmla="*/ 0 h 622"/>
                </a:gdLst>
                <a:ahLst/>
                <a:cxnLst>
                  <a:cxn ang="0">
                    <a:pos x="T0" y="T1"/>
                  </a:cxn>
                  <a:cxn ang="0">
                    <a:pos x="T2" y="T3"/>
                  </a:cxn>
                  <a:cxn ang="0">
                    <a:pos x="T4" y="T5"/>
                  </a:cxn>
                  <a:cxn ang="0">
                    <a:pos x="T6" y="T7"/>
                  </a:cxn>
                  <a:cxn ang="0">
                    <a:pos x="T8" y="T9"/>
                  </a:cxn>
                </a:cxnLst>
                <a:rect l="0" t="0" r="r" b="b"/>
                <a:pathLst>
                  <a:path w="812" h="622">
                    <a:moveTo>
                      <a:pt x="148" y="0"/>
                    </a:moveTo>
                    <a:cubicBezTo>
                      <a:pt x="148" y="0"/>
                      <a:pt x="119" y="404"/>
                      <a:pt x="0" y="602"/>
                    </a:cubicBezTo>
                    <a:cubicBezTo>
                      <a:pt x="744" y="622"/>
                      <a:pt x="744" y="622"/>
                      <a:pt x="744" y="622"/>
                    </a:cubicBezTo>
                    <a:cubicBezTo>
                      <a:pt x="744" y="622"/>
                      <a:pt x="656" y="389"/>
                      <a:pt x="812" y="84"/>
                    </a:cubicBezTo>
                    <a:lnTo>
                      <a:pt x="148" y="0"/>
                    </a:lnTo>
                    <a:close/>
                  </a:path>
                </a:pathLst>
              </a:custGeom>
              <a:solidFill>
                <a:srgbClr val="CCA992"/>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35" name="iṧḻíḍe">
                <a:extLst>
                  <a:ext uri="{FF2B5EF4-FFF2-40B4-BE49-F238E27FC236}">
                    <a16:creationId xmlns:a16="http://schemas.microsoft.com/office/drawing/2014/main" id="{3E99AD17-73E7-448A-BD78-B56A4E5AA8BD}"/>
                  </a:ext>
                </a:extLst>
              </p:cNvPr>
              <p:cNvSpPr/>
              <p:nvPr/>
            </p:nvSpPr>
            <p:spPr bwMode="auto">
              <a:xfrm>
                <a:off x="4154488" y="4143376"/>
                <a:ext cx="503238" cy="252413"/>
              </a:xfrm>
              <a:custGeom>
                <a:avLst/>
                <a:gdLst>
                  <a:gd name="T0" fmla="*/ 1246 w 1903"/>
                  <a:gd name="T1" fmla="*/ 53 h 954"/>
                  <a:gd name="T2" fmla="*/ 1123 w 1903"/>
                  <a:gd name="T3" fmla="*/ 0 h 954"/>
                  <a:gd name="T4" fmla="*/ 1035 w 1903"/>
                  <a:gd name="T5" fmla="*/ 61 h 954"/>
                  <a:gd name="T6" fmla="*/ 1030 w 1903"/>
                  <a:gd name="T7" fmla="*/ 64 h 954"/>
                  <a:gd name="T8" fmla="*/ 956 w 1903"/>
                  <a:gd name="T9" fmla="*/ 112 h 954"/>
                  <a:gd name="T10" fmla="*/ 953 w 1903"/>
                  <a:gd name="T11" fmla="*/ 114 h 954"/>
                  <a:gd name="T12" fmla="*/ 922 w 1903"/>
                  <a:gd name="T13" fmla="*/ 133 h 954"/>
                  <a:gd name="T14" fmla="*/ 915 w 1903"/>
                  <a:gd name="T15" fmla="*/ 137 h 954"/>
                  <a:gd name="T16" fmla="*/ 843 w 1903"/>
                  <a:gd name="T17" fmla="*/ 179 h 954"/>
                  <a:gd name="T18" fmla="*/ 826 w 1903"/>
                  <a:gd name="T19" fmla="*/ 188 h 954"/>
                  <a:gd name="T20" fmla="*/ 797 w 1903"/>
                  <a:gd name="T21" fmla="*/ 203 h 954"/>
                  <a:gd name="T22" fmla="*/ 776 w 1903"/>
                  <a:gd name="T23" fmla="*/ 215 h 954"/>
                  <a:gd name="T24" fmla="*/ 712 w 1903"/>
                  <a:gd name="T25" fmla="*/ 246 h 954"/>
                  <a:gd name="T26" fmla="*/ 681 w 1903"/>
                  <a:gd name="T27" fmla="*/ 262 h 954"/>
                  <a:gd name="T28" fmla="*/ 418 w 1903"/>
                  <a:gd name="T29" fmla="*/ 361 h 954"/>
                  <a:gd name="T30" fmla="*/ 369 w 1903"/>
                  <a:gd name="T31" fmla="*/ 374 h 954"/>
                  <a:gd name="T32" fmla="*/ 1 w 1903"/>
                  <a:gd name="T33" fmla="*/ 706 h 954"/>
                  <a:gd name="T34" fmla="*/ 7 w 1903"/>
                  <a:gd name="T35" fmla="*/ 764 h 954"/>
                  <a:gd name="T36" fmla="*/ 282 w 1903"/>
                  <a:gd name="T37" fmla="*/ 867 h 954"/>
                  <a:gd name="T38" fmla="*/ 1826 w 1903"/>
                  <a:gd name="T39" fmla="*/ 754 h 954"/>
                  <a:gd name="T40" fmla="*/ 1903 w 1903"/>
                  <a:gd name="T41" fmla="*/ 500 h 954"/>
                  <a:gd name="T42" fmla="*/ 1903 w 1903"/>
                  <a:gd name="T43" fmla="*/ 474 h 954"/>
                  <a:gd name="T44" fmla="*/ 1841 w 1903"/>
                  <a:gd name="T45" fmla="*/ 7 h 954"/>
                  <a:gd name="T46" fmla="*/ 1413 w 1903"/>
                  <a:gd name="T47" fmla="*/ 63 h 954"/>
                  <a:gd name="T48" fmla="*/ 1359 w 1903"/>
                  <a:gd name="T49" fmla="*/ 65 h 954"/>
                  <a:gd name="T50" fmla="*/ 1327 w 1903"/>
                  <a:gd name="T51" fmla="*/ 65 h 954"/>
                  <a:gd name="T52" fmla="*/ 1275 w 1903"/>
                  <a:gd name="T53" fmla="*/ 59 h 954"/>
                  <a:gd name="T54" fmla="*/ 1274 w 1903"/>
                  <a:gd name="T55" fmla="*/ 58 h 954"/>
                  <a:gd name="T56" fmla="*/ 1268 w 1903"/>
                  <a:gd name="T57" fmla="*/ 58 h 954"/>
                  <a:gd name="T58" fmla="*/ 1266 w 1903"/>
                  <a:gd name="T59" fmla="*/ 57 h 954"/>
                  <a:gd name="T60" fmla="*/ 1246 w 1903"/>
                  <a:gd name="T61" fmla="*/ 53 h 9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903" h="954">
                    <a:moveTo>
                      <a:pt x="1246" y="53"/>
                    </a:moveTo>
                    <a:cubicBezTo>
                      <a:pt x="1194" y="42"/>
                      <a:pt x="1151" y="23"/>
                      <a:pt x="1123" y="0"/>
                    </a:cubicBezTo>
                    <a:cubicBezTo>
                      <a:pt x="1098" y="18"/>
                      <a:pt x="1069" y="38"/>
                      <a:pt x="1035" y="61"/>
                    </a:cubicBezTo>
                    <a:cubicBezTo>
                      <a:pt x="1033" y="62"/>
                      <a:pt x="1032" y="63"/>
                      <a:pt x="1030" y="64"/>
                    </a:cubicBezTo>
                    <a:cubicBezTo>
                      <a:pt x="1007" y="79"/>
                      <a:pt x="982" y="96"/>
                      <a:pt x="956" y="112"/>
                    </a:cubicBezTo>
                    <a:cubicBezTo>
                      <a:pt x="955" y="113"/>
                      <a:pt x="954" y="113"/>
                      <a:pt x="953" y="114"/>
                    </a:cubicBezTo>
                    <a:cubicBezTo>
                      <a:pt x="943" y="120"/>
                      <a:pt x="933" y="127"/>
                      <a:pt x="922" y="133"/>
                    </a:cubicBezTo>
                    <a:cubicBezTo>
                      <a:pt x="919" y="134"/>
                      <a:pt x="917" y="136"/>
                      <a:pt x="915" y="137"/>
                    </a:cubicBezTo>
                    <a:cubicBezTo>
                      <a:pt x="892" y="151"/>
                      <a:pt x="868" y="165"/>
                      <a:pt x="843" y="179"/>
                    </a:cubicBezTo>
                    <a:cubicBezTo>
                      <a:pt x="837" y="182"/>
                      <a:pt x="832" y="185"/>
                      <a:pt x="826" y="188"/>
                    </a:cubicBezTo>
                    <a:cubicBezTo>
                      <a:pt x="817" y="193"/>
                      <a:pt x="807" y="198"/>
                      <a:pt x="797" y="203"/>
                    </a:cubicBezTo>
                    <a:cubicBezTo>
                      <a:pt x="790" y="207"/>
                      <a:pt x="783" y="211"/>
                      <a:pt x="776" y="215"/>
                    </a:cubicBezTo>
                    <a:cubicBezTo>
                      <a:pt x="755" y="226"/>
                      <a:pt x="734" y="236"/>
                      <a:pt x="712" y="246"/>
                    </a:cubicBezTo>
                    <a:cubicBezTo>
                      <a:pt x="702" y="252"/>
                      <a:pt x="691" y="257"/>
                      <a:pt x="681" y="262"/>
                    </a:cubicBezTo>
                    <a:cubicBezTo>
                      <a:pt x="598" y="300"/>
                      <a:pt x="509" y="335"/>
                      <a:pt x="418" y="361"/>
                    </a:cubicBezTo>
                    <a:cubicBezTo>
                      <a:pt x="402" y="365"/>
                      <a:pt x="386" y="370"/>
                      <a:pt x="369" y="374"/>
                    </a:cubicBezTo>
                    <a:cubicBezTo>
                      <a:pt x="51" y="452"/>
                      <a:pt x="2" y="618"/>
                      <a:pt x="1" y="706"/>
                    </a:cubicBezTo>
                    <a:cubicBezTo>
                      <a:pt x="0" y="741"/>
                      <a:pt x="7" y="764"/>
                      <a:pt x="7" y="764"/>
                    </a:cubicBezTo>
                    <a:cubicBezTo>
                      <a:pt x="7" y="764"/>
                      <a:pt x="122" y="843"/>
                      <a:pt x="282" y="867"/>
                    </a:cubicBezTo>
                    <a:cubicBezTo>
                      <a:pt x="869" y="954"/>
                      <a:pt x="1826" y="754"/>
                      <a:pt x="1826" y="754"/>
                    </a:cubicBezTo>
                    <a:cubicBezTo>
                      <a:pt x="1826" y="754"/>
                      <a:pt x="1902" y="684"/>
                      <a:pt x="1903" y="500"/>
                    </a:cubicBezTo>
                    <a:cubicBezTo>
                      <a:pt x="1903" y="492"/>
                      <a:pt x="1903" y="483"/>
                      <a:pt x="1903" y="474"/>
                    </a:cubicBezTo>
                    <a:cubicBezTo>
                      <a:pt x="1902" y="462"/>
                      <a:pt x="1862" y="109"/>
                      <a:pt x="1841" y="7"/>
                    </a:cubicBezTo>
                    <a:cubicBezTo>
                      <a:pt x="1762" y="24"/>
                      <a:pt x="1637" y="46"/>
                      <a:pt x="1413" y="63"/>
                    </a:cubicBezTo>
                    <a:cubicBezTo>
                      <a:pt x="1393" y="64"/>
                      <a:pt x="1375" y="65"/>
                      <a:pt x="1359" y="65"/>
                    </a:cubicBezTo>
                    <a:cubicBezTo>
                      <a:pt x="1348" y="65"/>
                      <a:pt x="1337" y="65"/>
                      <a:pt x="1327" y="65"/>
                    </a:cubicBezTo>
                    <a:cubicBezTo>
                      <a:pt x="1307" y="64"/>
                      <a:pt x="1290" y="62"/>
                      <a:pt x="1275" y="59"/>
                    </a:cubicBezTo>
                    <a:cubicBezTo>
                      <a:pt x="1274" y="58"/>
                      <a:pt x="1274" y="58"/>
                      <a:pt x="1274" y="58"/>
                    </a:cubicBezTo>
                    <a:cubicBezTo>
                      <a:pt x="1268" y="58"/>
                      <a:pt x="1268" y="58"/>
                      <a:pt x="1268" y="58"/>
                    </a:cubicBezTo>
                    <a:cubicBezTo>
                      <a:pt x="1267" y="57"/>
                      <a:pt x="1266" y="57"/>
                      <a:pt x="1266" y="57"/>
                    </a:cubicBezTo>
                    <a:lnTo>
                      <a:pt x="1246" y="53"/>
                    </a:lnTo>
                    <a:close/>
                  </a:path>
                </a:pathLst>
              </a:custGeom>
              <a:solidFill>
                <a:srgbClr val="1E4C56"/>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36" name="îṣľíde">
                <a:extLst>
                  <a:ext uri="{FF2B5EF4-FFF2-40B4-BE49-F238E27FC236}">
                    <a16:creationId xmlns:a16="http://schemas.microsoft.com/office/drawing/2014/main" id="{E97D0447-EA9B-4AFF-B46E-89664AE25928}"/>
                  </a:ext>
                </a:extLst>
              </p:cNvPr>
              <p:cNvSpPr/>
              <p:nvPr/>
            </p:nvSpPr>
            <p:spPr bwMode="auto">
              <a:xfrm>
                <a:off x="4154488" y="4314826"/>
                <a:ext cx="498475" cy="80963"/>
              </a:xfrm>
              <a:custGeom>
                <a:avLst/>
                <a:gdLst>
                  <a:gd name="T0" fmla="*/ 286 w 1884"/>
                  <a:gd name="T1" fmla="*/ 107 h 307"/>
                  <a:gd name="T2" fmla="*/ 7 w 1884"/>
                  <a:gd name="T3" fmla="*/ 7 h 307"/>
                  <a:gd name="T4" fmla="*/ 1 w 1884"/>
                  <a:gd name="T5" fmla="*/ 59 h 307"/>
                  <a:gd name="T6" fmla="*/ 7 w 1884"/>
                  <a:gd name="T7" fmla="*/ 117 h 307"/>
                  <a:gd name="T8" fmla="*/ 283 w 1884"/>
                  <a:gd name="T9" fmla="*/ 220 h 307"/>
                  <a:gd name="T10" fmla="*/ 1827 w 1884"/>
                  <a:gd name="T11" fmla="*/ 107 h 307"/>
                  <a:gd name="T12" fmla="*/ 1884 w 1884"/>
                  <a:gd name="T13" fmla="*/ 0 h 307"/>
                  <a:gd name="T14" fmla="*/ 286 w 1884"/>
                  <a:gd name="T15" fmla="*/ 107 h 30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84" h="307">
                    <a:moveTo>
                      <a:pt x="286" y="107"/>
                    </a:moveTo>
                    <a:cubicBezTo>
                      <a:pt x="153" y="87"/>
                      <a:pt x="48" y="32"/>
                      <a:pt x="7" y="7"/>
                    </a:cubicBezTo>
                    <a:cubicBezTo>
                      <a:pt x="3" y="26"/>
                      <a:pt x="1" y="44"/>
                      <a:pt x="1" y="59"/>
                    </a:cubicBezTo>
                    <a:cubicBezTo>
                      <a:pt x="0" y="94"/>
                      <a:pt x="7" y="117"/>
                      <a:pt x="7" y="117"/>
                    </a:cubicBezTo>
                    <a:cubicBezTo>
                      <a:pt x="7" y="117"/>
                      <a:pt x="123" y="196"/>
                      <a:pt x="283" y="220"/>
                    </a:cubicBezTo>
                    <a:cubicBezTo>
                      <a:pt x="869" y="307"/>
                      <a:pt x="1827" y="107"/>
                      <a:pt x="1827" y="107"/>
                    </a:cubicBezTo>
                    <a:cubicBezTo>
                      <a:pt x="1827" y="107"/>
                      <a:pt x="1861" y="75"/>
                      <a:pt x="1884" y="0"/>
                    </a:cubicBezTo>
                    <a:cubicBezTo>
                      <a:pt x="1635" y="47"/>
                      <a:pt x="819" y="186"/>
                      <a:pt x="286" y="107"/>
                    </a:cubicBezTo>
                    <a:close/>
                  </a:path>
                </a:pathLst>
              </a:custGeom>
              <a:solidFill>
                <a:srgbClr val="FFFDFE"/>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37" name="îṧ1îḑé">
                <a:extLst>
                  <a:ext uri="{FF2B5EF4-FFF2-40B4-BE49-F238E27FC236}">
                    <a16:creationId xmlns:a16="http://schemas.microsoft.com/office/drawing/2014/main" id="{C905562C-A4A6-4EEF-A9D8-3576D8E3E8E9}"/>
                  </a:ext>
                </a:extLst>
              </p:cNvPr>
              <p:cNvSpPr/>
              <p:nvPr/>
            </p:nvSpPr>
            <p:spPr bwMode="auto">
              <a:xfrm>
                <a:off x="4403726" y="4159251"/>
                <a:ext cx="85725" cy="47625"/>
              </a:xfrm>
              <a:custGeom>
                <a:avLst/>
                <a:gdLst>
                  <a:gd name="T0" fmla="*/ 316 w 324"/>
                  <a:gd name="T1" fmla="*/ 154 h 178"/>
                  <a:gd name="T2" fmla="*/ 254 w 324"/>
                  <a:gd name="T3" fmla="*/ 166 h 178"/>
                  <a:gd name="T4" fmla="*/ 0 w 324"/>
                  <a:gd name="T5" fmla="*/ 48 h 178"/>
                  <a:gd name="T6" fmla="*/ 75 w 324"/>
                  <a:gd name="T7" fmla="*/ 0 h 178"/>
                  <a:gd name="T8" fmla="*/ 285 w 324"/>
                  <a:gd name="T9" fmla="*/ 98 h 178"/>
                  <a:gd name="T10" fmla="*/ 316 w 324"/>
                  <a:gd name="T11" fmla="*/ 154 h 178"/>
                </a:gdLst>
                <a:ahLst/>
                <a:cxnLst>
                  <a:cxn ang="0">
                    <a:pos x="T0" y="T1"/>
                  </a:cxn>
                  <a:cxn ang="0">
                    <a:pos x="T2" y="T3"/>
                  </a:cxn>
                  <a:cxn ang="0">
                    <a:pos x="T4" y="T5"/>
                  </a:cxn>
                  <a:cxn ang="0">
                    <a:pos x="T6" y="T7"/>
                  </a:cxn>
                  <a:cxn ang="0">
                    <a:pos x="T8" y="T9"/>
                  </a:cxn>
                  <a:cxn ang="0">
                    <a:pos x="T10" y="T11"/>
                  </a:cxn>
                </a:cxnLst>
                <a:rect l="0" t="0" r="r" b="b"/>
                <a:pathLst>
                  <a:path w="324" h="178">
                    <a:moveTo>
                      <a:pt x="316" y="154"/>
                    </a:moveTo>
                    <a:cubicBezTo>
                      <a:pt x="307" y="172"/>
                      <a:pt x="279" y="178"/>
                      <a:pt x="254" y="166"/>
                    </a:cubicBezTo>
                    <a:cubicBezTo>
                      <a:pt x="0" y="48"/>
                      <a:pt x="0" y="48"/>
                      <a:pt x="0" y="48"/>
                    </a:cubicBezTo>
                    <a:cubicBezTo>
                      <a:pt x="27" y="32"/>
                      <a:pt x="52" y="16"/>
                      <a:pt x="75" y="0"/>
                    </a:cubicBezTo>
                    <a:cubicBezTo>
                      <a:pt x="285" y="98"/>
                      <a:pt x="285" y="98"/>
                      <a:pt x="285" y="98"/>
                    </a:cubicBezTo>
                    <a:cubicBezTo>
                      <a:pt x="310" y="110"/>
                      <a:pt x="324" y="135"/>
                      <a:pt x="316" y="154"/>
                    </a:cubicBezTo>
                    <a:close/>
                  </a:path>
                </a:pathLst>
              </a:custGeom>
              <a:solidFill>
                <a:srgbClr val="FFFDFE"/>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38" name="îṩḷíḓe">
                <a:extLst>
                  <a:ext uri="{FF2B5EF4-FFF2-40B4-BE49-F238E27FC236}">
                    <a16:creationId xmlns:a16="http://schemas.microsoft.com/office/drawing/2014/main" id="{10AEBBE2-5412-4455-987D-58FAE732C0A0}"/>
                  </a:ext>
                </a:extLst>
              </p:cNvPr>
              <p:cNvSpPr/>
              <p:nvPr/>
            </p:nvSpPr>
            <p:spPr bwMode="auto">
              <a:xfrm>
                <a:off x="4373563" y="4178301"/>
                <a:ext cx="80963" cy="44450"/>
              </a:xfrm>
              <a:custGeom>
                <a:avLst/>
                <a:gdLst>
                  <a:gd name="T0" fmla="*/ 296 w 305"/>
                  <a:gd name="T1" fmla="*/ 142 h 167"/>
                  <a:gd name="T2" fmla="*/ 234 w 305"/>
                  <a:gd name="T3" fmla="*/ 155 h 167"/>
                  <a:gd name="T4" fmla="*/ 0 w 305"/>
                  <a:gd name="T5" fmla="*/ 46 h 167"/>
                  <a:gd name="T6" fmla="*/ 72 w 305"/>
                  <a:gd name="T7" fmla="*/ 4 h 167"/>
                  <a:gd name="T8" fmla="*/ 79 w 305"/>
                  <a:gd name="T9" fmla="*/ 0 h 167"/>
                  <a:gd name="T10" fmla="*/ 265 w 305"/>
                  <a:gd name="T11" fmla="*/ 87 h 167"/>
                  <a:gd name="T12" fmla="*/ 296 w 305"/>
                  <a:gd name="T13" fmla="*/ 142 h 167"/>
                </a:gdLst>
                <a:ahLst/>
                <a:cxnLst>
                  <a:cxn ang="0">
                    <a:pos x="T0" y="T1"/>
                  </a:cxn>
                  <a:cxn ang="0">
                    <a:pos x="T2" y="T3"/>
                  </a:cxn>
                  <a:cxn ang="0">
                    <a:pos x="T4" y="T5"/>
                  </a:cxn>
                  <a:cxn ang="0">
                    <a:pos x="T6" y="T7"/>
                  </a:cxn>
                  <a:cxn ang="0">
                    <a:pos x="T8" y="T9"/>
                  </a:cxn>
                  <a:cxn ang="0">
                    <a:pos x="T10" y="T11"/>
                  </a:cxn>
                  <a:cxn ang="0">
                    <a:pos x="T12" y="T13"/>
                  </a:cxn>
                </a:cxnLst>
                <a:rect l="0" t="0" r="r" b="b"/>
                <a:pathLst>
                  <a:path w="305" h="167">
                    <a:moveTo>
                      <a:pt x="296" y="142"/>
                    </a:moveTo>
                    <a:cubicBezTo>
                      <a:pt x="287" y="161"/>
                      <a:pt x="259" y="167"/>
                      <a:pt x="234" y="155"/>
                    </a:cubicBezTo>
                    <a:cubicBezTo>
                      <a:pt x="0" y="46"/>
                      <a:pt x="0" y="46"/>
                      <a:pt x="0" y="46"/>
                    </a:cubicBezTo>
                    <a:cubicBezTo>
                      <a:pt x="25" y="32"/>
                      <a:pt x="49" y="18"/>
                      <a:pt x="72" y="4"/>
                    </a:cubicBezTo>
                    <a:cubicBezTo>
                      <a:pt x="75" y="3"/>
                      <a:pt x="77" y="1"/>
                      <a:pt x="79" y="0"/>
                    </a:cubicBezTo>
                    <a:cubicBezTo>
                      <a:pt x="265" y="87"/>
                      <a:pt x="265" y="87"/>
                      <a:pt x="265" y="87"/>
                    </a:cubicBezTo>
                    <a:cubicBezTo>
                      <a:pt x="291" y="99"/>
                      <a:pt x="305" y="124"/>
                      <a:pt x="296" y="142"/>
                    </a:cubicBezTo>
                    <a:close/>
                  </a:path>
                </a:pathLst>
              </a:custGeom>
              <a:solidFill>
                <a:srgbClr val="FFFDFE"/>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39" name="îṥ1ïḋé">
                <a:extLst>
                  <a:ext uri="{FF2B5EF4-FFF2-40B4-BE49-F238E27FC236}">
                    <a16:creationId xmlns:a16="http://schemas.microsoft.com/office/drawing/2014/main" id="{3C3C47A3-A7ED-42B0-9353-A3819AFDFFF7}"/>
                  </a:ext>
                </a:extLst>
              </p:cNvPr>
              <p:cNvSpPr/>
              <p:nvPr/>
            </p:nvSpPr>
            <p:spPr bwMode="auto">
              <a:xfrm>
                <a:off x="4338638" y="4197351"/>
                <a:ext cx="79375" cy="41275"/>
              </a:xfrm>
              <a:custGeom>
                <a:avLst/>
                <a:gdLst>
                  <a:gd name="T0" fmla="*/ 288 w 297"/>
                  <a:gd name="T1" fmla="*/ 136 h 161"/>
                  <a:gd name="T2" fmla="*/ 226 w 297"/>
                  <a:gd name="T3" fmla="*/ 149 h 161"/>
                  <a:gd name="T4" fmla="*/ 0 w 297"/>
                  <a:gd name="T5" fmla="*/ 43 h 161"/>
                  <a:gd name="T6" fmla="*/ 63 w 297"/>
                  <a:gd name="T7" fmla="*/ 12 h 161"/>
                  <a:gd name="T8" fmla="*/ 85 w 297"/>
                  <a:gd name="T9" fmla="*/ 0 h 161"/>
                  <a:gd name="T10" fmla="*/ 258 w 297"/>
                  <a:gd name="T11" fmla="*/ 81 h 161"/>
                  <a:gd name="T12" fmla="*/ 288 w 297"/>
                  <a:gd name="T13" fmla="*/ 136 h 161"/>
                </a:gdLst>
                <a:ahLst/>
                <a:cxnLst>
                  <a:cxn ang="0">
                    <a:pos x="T0" y="T1"/>
                  </a:cxn>
                  <a:cxn ang="0">
                    <a:pos x="T2" y="T3"/>
                  </a:cxn>
                  <a:cxn ang="0">
                    <a:pos x="T4" y="T5"/>
                  </a:cxn>
                  <a:cxn ang="0">
                    <a:pos x="T6" y="T7"/>
                  </a:cxn>
                  <a:cxn ang="0">
                    <a:pos x="T8" y="T9"/>
                  </a:cxn>
                  <a:cxn ang="0">
                    <a:pos x="T10" y="T11"/>
                  </a:cxn>
                  <a:cxn ang="0">
                    <a:pos x="T12" y="T13"/>
                  </a:cxn>
                </a:cxnLst>
                <a:rect l="0" t="0" r="r" b="b"/>
                <a:pathLst>
                  <a:path w="297" h="161">
                    <a:moveTo>
                      <a:pt x="288" y="136"/>
                    </a:moveTo>
                    <a:cubicBezTo>
                      <a:pt x="279" y="155"/>
                      <a:pt x="251" y="161"/>
                      <a:pt x="226" y="149"/>
                    </a:cubicBezTo>
                    <a:cubicBezTo>
                      <a:pt x="0" y="43"/>
                      <a:pt x="0" y="43"/>
                      <a:pt x="0" y="43"/>
                    </a:cubicBezTo>
                    <a:cubicBezTo>
                      <a:pt x="22" y="34"/>
                      <a:pt x="43" y="23"/>
                      <a:pt x="63" y="12"/>
                    </a:cubicBezTo>
                    <a:cubicBezTo>
                      <a:pt x="71" y="8"/>
                      <a:pt x="78" y="4"/>
                      <a:pt x="85" y="0"/>
                    </a:cubicBezTo>
                    <a:cubicBezTo>
                      <a:pt x="258" y="81"/>
                      <a:pt x="258" y="81"/>
                      <a:pt x="258" y="81"/>
                    </a:cubicBezTo>
                    <a:cubicBezTo>
                      <a:pt x="283" y="93"/>
                      <a:pt x="297" y="117"/>
                      <a:pt x="288" y="136"/>
                    </a:cubicBezTo>
                    <a:close/>
                  </a:path>
                </a:pathLst>
              </a:custGeom>
              <a:solidFill>
                <a:srgbClr val="FFFDFE"/>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40" name="ïsḷíḋê">
                <a:extLst>
                  <a:ext uri="{FF2B5EF4-FFF2-40B4-BE49-F238E27FC236}">
                    <a16:creationId xmlns:a16="http://schemas.microsoft.com/office/drawing/2014/main" id="{DF4FFF20-2A2A-46E3-B7DC-80778EC6CAE7}"/>
                  </a:ext>
                </a:extLst>
              </p:cNvPr>
              <p:cNvSpPr/>
              <p:nvPr/>
            </p:nvSpPr>
            <p:spPr bwMode="auto">
              <a:xfrm>
                <a:off x="4464051" y="3238501"/>
                <a:ext cx="365125" cy="893763"/>
              </a:xfrm>
              <a:custGeom>
                <a:avLst/>
                <a:gdLst>
                  <a:gd name="T0" fmla="*/ 332 w 1374"/>
                  <a:gd name="T1" fmla="*/ 3378 h 3378"/>
                  <a:gd name="T2" fmla="*/ 0 w 1374"/>
                  <a:gd name="T3" fmla="*/ 3348 h 3378"/>
                  <a:gd name="T4" fmla="*/ 881 w 1374"/>
                  <a:gd name="T5" fmla="*/ 63 h 3378"/>
                  <a:gd name="T6" fmla="*/ 919 w 1374"/>
                  <a:gd name="T7" fmla="*/ 1624 h 3378"/>
                  <a:gd name="T8" fmla="*/ 332 w 1374"/>
                  <a:gd name="T9" fmla="*/ 3378 h 3378"/>
                </a:gdLst>
                <a:ahLst/>
                <a:cxnLst>
                  <a:cxn ang="0">
                    <a:pos x="T0" y="T1"/>
                  </a:cxn>
                  <a:cxn ang="0">
                    <a:pos x="T2" y="T3"/>
                  </a:cxn>
                  <a:cxn ang="0">
                    <a:pos x="T4" y="T5"/>
                  </a:cxn>
                  <a:cxn ang="0">
                    <a:pos x="T6" y="T7"/>
                  </a:cxn>
                  <a:cxn ang="0">
                    <a:pos x="T8" y="T9"/>
                  </a:cxn>
                </a:cxnLst>
                <a:rect l="0" t="0" r="r" b="b"/>
                <a:pathLst>
                  <a:path w="1374" h="3378">
                    <a:moveTo>
                      <a:pt x="332" y="3378"/>
                    </a:moveTo>
                    <a:cubicBezTo>
                      <a:pt x="0" y="3348"/>
                      <a:pt x="0" y="3348"/>
                      <a:pt x="0" y="3348"/>
                    </a:cubicBezTo>
                    <a:cubicBezTo>
                      <a:pt x="0" y="3348"/>
                      <a:pt x="149" y="0"/>
                      <a:pt x="881" y="63"/>
                    </a:cubicBezTo>
                    <a:cubicBezTo>
                      <a:pt x="1374" y="106"/>
                      <a:pt x="919" y="1624"/>
                      <a:pt x="919" y="1624"/>
                    </a:cubicBezTo>
                    <a:lnTo>
                      <a:pt x="332" y="3378"/>
                    </a:lnTo>
                    <a:close/>
                  </a:path>
                </a:pathLst>
              </a:custGeom>
              <a:solidFill>
                <a:srgbClr val="EFA543"/>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41" name="i$ḷídè">
                <a:extLst>
                  <a:ext uri="{FF2B5EF4-FFF2-40B4-BE49-F238E27FC236}">
                    <a16:creationId xmlns:a16="http://schemas.microsoft.com/office/drawing/2014/main" id="{ACB57A7D-EF41-4285-9027-E1A00BB83670}"/>
                  </a:ext>
                </a:extLst>
              </p:cNvPr>
              <p:cNvSpPr/>
              <p:nvPr/>
            </p:nvSpPr>
            <p:spPr bwMode="auto">
              <a:xfrm>
                <a:off x="4610101" y="3135313"/>
                <a:ext cx="700088" cy="82550"/>
              </a:xfrm>
              <a:custGeom>
                <a:avLst/>
                <a:gdLst>
                  <a:gd name="T0" fmla="*/ 61 w 2644"/>
                  <a:gd name="T1" fmla="*/ 0 h 312"/>
                  <a:gd name="T2" fmla="*/ 2582 w 2644"/>
                  <a:gd name="T3" fmla="*/ 0 h 312"/>
                  <a:gd name="T4" fmla="*/ 2644 w 2644"/>
                  <a:gd name="T5" fmla="*/ 62 h 312"/>
                  <a:gd name="T6" fmla="*/ 2644 w 2644"/>
                  <a:gd name="T7" fmla="*/ 251 h 312"/>
                  <a:gd name="T8" fmla="*/ 2582 w 2644"/>
                  <a:gd name="T9" fmla="*/ 312 h 312"/>
                  <a:gd name="T10" fmla="*/ 61 w 2644"/>
                  <a:gd name="T11" fmla="*/ 312 h 312"/>
                  <a:gd name="T12" fmla="*/ 0 w 2644"/>
                  <a:gd name="T13" fmla="*/ 251 h 312"/>
                  <a:gd name="T14" fmla="*/ 0 w 2644"/>
                  <a:gd name="T15" fmla="*/ 62 h 312"/>
                  <a:gd name="T16" fmla="*/ 61 w 2644"/>
                  <a:gd name="T17" fmla="*/ 0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44" h="312">
                    <a:moveTo>
                      <a:pt x="61" y="0"/>
                    </a:moveTo>
                    <a:cubicBezTo>
                      <a:pt x="2582" y="0"/>
                      <a:pt x="2582" y="0"/>
                      <a:pt x="2582" y="0"/>
                    </a:cubicBezTo>
                    <a:cubicBezTo>
                      <a:pt x="2616" y="0"/>
                      <a:pt x="2644" y="28"/>
                      <a:pt x="2644" y="62"/>
                    </a:cubicBezTo>
                    <a:cubicBezTo>
                      <a:pt x="2644" y="251"/>
                      <a:pt x="2644" y="251"/>
                      <a:pt x="2644" y="251"/>
                    </a:cubicBezTo>
                    <a:cubicBezTo>
                      <a:pt x="2644" y="285"/>
                      <a:pt x="2616" y="312"/>
                      <a:pt x="2582" y="312"/>
                    </a:cubicBezTo>
                    <a:cubicBezTo>
                      <a:pt x="61" y="312"/>
                      <a:pt x="61" y="312"/>
                      <a:pt x="61" y="312"/>
                    </a:cubicBezTo>
                    <a:cubicBezTo>
                      <a:pt x="27" y="312"/>
                      <a:pt x="0" y="285"/>
                      <a:pt x="0" y="251"/>
                    </a:cubicBezTo>
                    <a:cubicBezTo>
                      <a:pt x="0" y="62"/>
                      <a:pt x="0" y="62"/>
                      <a:pt x="0" y="62"/>
                    </a:cubicBezTo>
                    <a:cubicBezTo>
                      <a:pt x="0" y="28"/>
                      <a:pt x="27" y="0"/>
                      <a:pt x="61" y="0"/>
                    </a:cubicBezTo>
                    <a:close/>
                  </a:path>
                </a:pathLst>
              </a:custGeom>
              <a:solidFill>
                <a:srgbClr val="F4F4F4"/>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42" name="îşḷíḓe">
                <a:extLst>
                  <a:ext uri="{FF2B5EF4-FFF2-40B4-BE49-F238E27FC236}">
                    <a16:creationId xmlns:a16="http://schemas.microsoft.com/office/drawing/2014/main" id="{A6F837F4-59B1-4DDE-9EE2-34198F940146}"/>
                  </a:ext>
                </a:extLst>
              </p:cNvPr>
              <p:cNvSpPr/>
              <p:nvPr/>
            </p:nvSpPr>
            <p:spPr bwMode="auto">
              <a:xfrm>
                <a:off x="4264026" y="2590801"/>
                <a:ext cx="401638" cy="604838"/>
              </a:xfrm>
              <a:custGeom>
                <a:avLst/>
                <a:gdLst>
                  <a:gd name="T0" fmla="*/ 133 w 1518"/>
                  <a:gd name="T1" fmla="*/ 28 h 2283"/>
                  <a:gd name="T2" fmla="*/ 1504 w 1518"/>
                  <a:gd name="T3" fmla="*/ 2179 h 2283"/>
                  <a:gd name="T4" fmla="*/ 1490 w 1518"/>
                  <a:gd name="T5" fmla="*/ 2243 h 2283"/>
                  <a:gd name="T6" fmla="*/ 1450 w 1518"/>
                  <a:gd name="T7" fmla="*/ 2269 h 2283"/>
                  <a:gd name="T8" fmla="*/ 1385 w 1518"/>
                  <a:gd name="T9" fmla="*/ 2255 h 2283"/>
                  <a:gd name="T10" fmla="*/ 14 w 1518"/>
                  <a:gd name="T11" fmla="*/ 104 h 2283"/>
                  <a:gd name="T12" fmla="*/ 28 w 1518"/>
                  <a:gd name="T13" fmla="*/ 40 h 2283"/>
                  <a:gd name="T14" fmla="*/ 68 w 1518"/>
                  <a:gd name="T15" fmla="*/ 14 h 2283"/>
                  <a:gd name="T16" fmla="*/ 133 w 1518"/>
                  <a:gd name="T17" fmla="*/ 28 h 2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18" h="2283">
                    <a:moveTo>
                      <a:pt x="133" y="28"/>
                    </a:moveTo>
                    <a:cubicBezTo>
                      <a:pt x="1504" y="2179"/>
                      <a:pt x="1504" y="2179"/>
                      <a:pt x="1504" y="2179"/>
                    </a:cubicBezTo>
                    <a:cubicBezTo>
                      <a:pt x="1518" y="2201"/>
                      <a:pt x="1512" y="2229"/>
                      <a:pt x="1490" y="2243"/>
                    </a:cubicBezTo>
                    <a:cubicBezTo>
                      <a:pt x="1450" y="2269"/>
                      <a:pt x="1450" y="2269"/>
                      <a:pt x="1450" y="2269"/>
                    </a:cubicBezTo>
                    <a:cubicBezTo>
                      <a:pt x="1428" y="2283"/>
                      <a:pt x="1399" y="2276"/>
                      <a:pt x="1385" y="2255"/>
                    </a:cubicBezTo>
                    <a:cubicBezTo>
                      <a:pt x="14" y="104"/>
                      <a:pt x="14" y="104"/>
                      <a:pt x="14" y="104"/>
                    </a:cubicBezTo>
                    <a:cubicBezTo>
                      <a:pt x="0" y="82"/>
                      <a:pt x="6" y="53"/>
                      <a:pt x="28" y="40"/>
                    </a:cubicBezTo>
                    <a:cubicBezTo>
                      <a:pt x="68" y="14"/>
                      <a:pt x="68" y="14"/>
                      <a:pt x="68" y="14"/>
                    </a:cubicBezTo>
                    <a:cubicBezTo>
                      <a:pt x="90" y="0"/>
                      <a:pt x="119" y="6"/>
                      <a:pt x="133" y="28"/>
                    </a:cubicBezTo>
                    <a:close/>
                  </a:path>
                </a:pathLst>
              </a:custGeom>
              <a:solidFill>
                <a:srgbClr val="F4F4F4"/>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43" name="í$liďé">
                <a:extLst>
                  <a:ext uri="{FF2B5EF4-FFF2-40B4-BE49-F238E27FC236}">
                    <a16:creationId xmlns:a16="http://schemas.microsoft.com/office/drawing/2014/main" id="{42441F81-E250-4944-9B73-D4FB4F8ABE44}"/>
                  </a:ext>
                </a:extLst>
              </p:cNvPr>
              <p:cNvSpPr/>
              <p:nvPr/>
            </p:nvSpPr>
            <p:spPr bwMode="auto">
              <a:xfrm>
                <a:off x="4554538" y="4094163"/>
                <a:ext cx="215900" cy="165100"/>
              </a:xfrm>
              <a:custGeom>
                <a:avLst/>
                <a:gdLst>
                  <a:gd name="T0" fmla="*/ 149 w 813"/>
                  <a:gd name="T1" fmla="*/ 0 h 622"/>
                  <a:gd name="T2" fmla="*/ 0 w 813"/>
                  <a:gd name="T3" fmla="*/ 602 h 622"/>
                  <a:gd name="T4" fmla="*/ 744 w 813"/>
                  <a:gd name="T5" fmla="*/ 622 h 622"/>
                  <a:gd name="T6" fmla="*/ 813 w 813"/>
                  <a:gd name="T7" fmla="*/ 84 h 622"/>
                  <a:gd name="T8" fmla="*/ 149 w 813"/>
                  <a:gd name="T9" fmla="*/ 0 h 622"/>
                </a:gdLst>
                <a:ahLst/>
                <a:cxnLst>
                  <a:cxn ang="0">
                    <a:pos x="T0" y="T1"/>
                  </a:cxn>
                  <a:cxn ang="0">
                    <a:pos x="T2" y="T3"/>
                  </a:cxn>
                  <a:cxn ang="0">
                    <a:pos x="T4" y="T5"/>
                  </a:cxn>
                  <a:cxn ang="0">
                    <a:pos x="T6" y="T7"/>
                  </a:cxn>
                  <a:cxn ang="0">
                    <a:pos x="T8" y="T9"/>
                  </a:cxn>
                </a:cxnLst>
                <a:rect l="0" t="0" r="r" b="b"/>
                <a:pathLst>
                  <a:path w="813" h="622">
                    <a:moveTo>
                      <a:pt x="149" y="0"/>
                    </a:moveTo>
                    <a:cubicBezTo>
                      <a:pt x="149" y="0"/>
                      <a:pt x="119" y="404"/>
                      <a:pt x="0" y="602"/>
                    </a:cubicBezTo>
                    <a:cubicBezTo>
                      <a:pt x="744" y="622"/>
                      <a:pt x="744" y="622"/>
                      <a:pt x="744" y="622"/>
                    </a:cubicBezTo>
                    <a:cubicBezTo>
                      <a:pt x="744" y="622"/>
                      <a:pt x="656" y="389"/>
                      <a:pt x="813" y="84"/>
                    </a:cubicBezTo>
                    <a:lnTo>
                      <a:pt x="149" y="0"/>
                    </a:lnTo>
                    <a:close/>
                  </a:path>
                </a:pathLst>
              </a:custGeom>
              <a:solidFill>
                <a:srgbClr val="DBB89C"/>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44" name="íṣ1ïḓê">
                <a:extLst>
                  <a:ext uri="{FF2B5EF4-FFF2-40B4-BE49-F238E27FC236}">
                    <a16:creationId xmlns:a16="http://schemas.microsoft.com/office/drawing/2014/main" id="{7A710BB3-B646-4ECA-B467-70639F3784A3}"/>
                  </a:ext>
                </a:extLst>
              </p:cNvPr>
              <p:cNvSpPr/>
              <p:nvPr/>
            </p:nvSpPr>
            <p:spPr bwMode="auto">
              <a:xfrm>
                <a:off x="4260851" y="4173538"/>
                <a:ext cx="504825" cy="252413"/>
              </a:xfrm>
              <a:custGeom>
                <a:avLst/>
                <a:gdLst>
                  <a:gd name="T0" fmla="*/ 1246 w 1903"/>
                  <a:gd name="T1" fmla="*/ 53 h 954"/>
                  <a:gd name="T2" fmla="*/ 1123 w 1903"/>
                  <a:gd name="T3" fmla="*/ 0 h 954"/>
                  <a:gd name="T4" fmla="*/ 1035 w 1903"/>
                  <a:gd name="T5" fmla="*/ 61 h 954"/>
                  <a:gd name="T6" fmla="*/ 1030 w 1903"/>
                  <a:gd name="T7" fmla="*/ 64 h 954"/>
                  <a:gd name="T8" fmla="*/ 956 w 1903"/>
                  <a:gd name="T9" fmla="*/ 112 h 954"/>
                  <a:gd name="T10" fmla="*/ 953 w 1903"/>
                  <a:gd name="T11" fmla="*/ 114 h 954"/>
                  <a:gd name="T12" fmla="*/ 922 w 1903"/>
                  <a:gd name="T13" fmla="*/ 133 h 954"/>
                  <a:gd name="T14" fmla="*/ 915 w 1903"/>
                  <a:gd name="T15" fmla="*/ 137 h 954"/>
                  <a:gd name="T16" fmla="*/ 843 w 1903"/>
                  <a:gd name="T17" fmla="*/ 179 h 954"/>
                  <a:gd name="T18" fmla="*/ 827 w 1903"/>
                  <a:gd name="T19" fmla="*/ 188 h 954"/>
                  <a:gd name="T20" fmla="*/ 798 w 1903"/>
                  <a:gd name="T21" fmla="*/ 203 h 954"/>
                  <a:gd name="T22" fmla="*/ 776 w 1903"/>
                  <a:gd name="T23" fmla="*/ 215 h 954"/>
                  <a:gd name="T24" fmla="*/ 713 w 1903"/>
                  <a:gd name="T25" fmla="*/ 246 h 954"/>
                  <a:gd name="T26" fmla="*/ 681 w 1903"/>
                  <a:gd name="T27" fmla="*/ 262 h 954"/>
                  <a:gd name="T28" fmla="*/ 418 w 1903"/>
                  <a:gd name="T29" fmla="*/ 361 h 954"/>
                  <a:gd name="T30" fmla="*/ 370 w 1903"/>
                  <a:gd name="T31" fmla="*/ 374 h 954"/>
                  <a:gd name="T32" fmla="*/ 1 w 1903"/>
                  <a:gd name="T33" fmla="*/ 706 h 954"/>
                  <a:gd name="T34" fmla="*/ 7 w 1903"/>
                  <a:gd name="T35" fmla="*/ 764 h 954"/>
                  <a:gd name="T36" fmla="*/ 282 w 1903"/>
                  <a:gd name="T37" fmla="*/ 867 h 954"/>
                  <a:gd name="T38" fmla="*/ 1827 w 1903"/>
                  <a:gd name="T39" fmla="*/ 754 h 954"/>
                  <a:gd name="T40" fmla="*/ 1903 w 1903"/>
                  <a:gd name="T41" fmla="*/ 500 h 954"/>
                  <a:gd name="T42" fmla="*/ 1903 w 1903"/>
                  <a:gd name="T43" fmla="*/ 474 h 954"/>
                  <a:gd name="T44" fmla="*/ 1842 w 1903"/>
                  <a:gd name="T45" fmla="*/ 8 h 954"/>
                  <a:gd name="T46" fmla="*/ 1414 w 1903"/>
                  <a:gd name="T47" fmla="*/ 63 h 954"/>
                  <a:gd name="T48" fmla="*/ 1359 w 1903"/>
                  <a:gd name="T49" fmla="*/ 65 h 954"/>
                  <a:gd name="T50" fmla="*/ 1327 w 1903"/>
                  <a:gd name="T51" fmla="*/ 65 h 954"/>
                  <a:gd name="T52" fmla="*/ 1275 w 1903"/>
                  <a:gd name="T53" fmla="*/ 59 h 954"/>
                  <a:gd name="T54" fmla="*/ 1274 w 1903"/>
                  <a:gd name="T55" fmla="*/ 58 h 954"/>
                  <a:gd name="T56" fmla="*/ 1268 w 1903"/>
                  <a:gd name="T57" fmla="*/ 58 h 954"/>
                  <a:gd name="T58" fmla="*/ 1266 w 1903"/>
                  <a:gd name="T59" fmla="*/ 57 h 954"/>
                  <a:gd name="T60" fmla="*/ 1246 w 1903"/>
                  <a:gd name="T61" fmla="*/ 53 h 9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903" h="954">
                    <a:moveTo>
                      <a:pt x="1246" y="53"/>
                    </a:moveTo>
                    <a:cubicBezTo>
                      <a:pt x="1194" y="42"/>
                      <a:pt x="1151" y="23"/>
                      <a:pt x="1123" y="0"/>
                    </a:cubicBezTo>
                    <a:cubicBezTo>
                      <a:pt x="1099" y="18"/>
                      <a:pt x="1069" y="38"/>
                      <a:pt x="1035" y="61"/>
                    </a:cubicBezTo>
                    <a:cubicBezTo>
                      <a:pt x="1034" y="62"/>
                      <a:pt x="1032" y="63"/>
                      <a:pt x="1030" y="64"/>
                    </a:cubicBezTo>
                    <a:cubicBezTo>
                      <a:pt x="1008" y="79"/>
                      <a:pt x="983" y="96"/>
                      <a:pt x="956" y="112"/>
                    </a:cubicBezTo>
                    <a:cubicBezTo>
                      <a:pt x="955" y="113"/>
                      <a:pt x="954" y="113"/>
                      <a:pt x="953" y="114"/>
                    </a:cubicBezTo>
                    <a:cubicBezTo>
                      <a:pt x="943" y="120"/>
                      <a:pt x="933" y="127"/>
                      <a:pt x="922" y="133"/>
                    </a:cubicBezTo>
                    <a:cubicBezTo>
                      <a:pt x="920" y="134"/>
                      <a:pt x="917" y="136"/>
                      <a:pt x="915" y="137"/>
                    </a:cubicBezTo>
                    <a:cubicBezTo>
                      <a:pt x="892" y="151"/>
                      <a:pt x="868" y="165"/>
                      <a:pt x="843" y="179"/>
                    </a:cubicBezTo>
                    <a:cubicBezTo>
                      <a:pt x="837" y="182"/>
                      <a:pt x="832" y="185"/>
                      <a:pt x="827" y="188"/>
                    </a:cubicBezTo>
                    <a:cubicBezTo>
                      <a:pt x="817" y="193"/>
                      <a:pt x="807" y="198"/>
                      <a:pt x="798" y="203"/>
                    </a:cubicBezTo>
                    <a:cubicBezTo>
                      <a:pt x="790" y="207"/>
                      <a:pt x="783" y="211"/>
                      <a:pt x="776" y="215"/>
                    </a:cubicBezTo>
                    <a:cubicBezTo>
                      <a:pt x="755" y="226"/>
                      <a:pt x="734" y="236"/>
                      <a:pt x="713" y="246"/>
                    </a:cubicBezTo>
                    <a:cubicBezTo>
                      <a:pt x="702" y="252"/>
                      <a:pt x="691" y="257"/>
                      <a:pt x="681" y="262"/>
                    </a:cubicBezTo>
                    <a:cubicBezTo>
                      <a:pt x="598" y="300"/>
                      <a:pt x="510" y="335"/>
                      <a:pt x="418" y="361"/>
                    </a:cubicBezTo>
                    <a:cubicBezTo>
                      <a:pt x="402" y="365"/>
                      <a:pt x="386" y="370"/>
                      <a:pt x="370" y="374"/>
                    </a:cubicBezTo>
                    <a:cubicBezTo>
                      <a:pt x="51" y="452"/>
                      <a:pt x="3" y="618"/>
                      <a:pt x="1" y="706"/>
                    </a:cubicBezTo>
                    <a:cubicBezTo>
                      <a:pt x="0" y="741"/>
                      <a:pt x="7" y="764"/>
                      <a:pt x="7" y="764"/>
                    </a:cubicBezTo>
                    <a:cubicBezTo>
                      <a:pt x="7" y="764"/>
                      <a:pt x="122" y="843"/>
                      <a:pt x="282" y="867"/>
                    </a:cubicBezTo>
                    <a:cubicBezTo>
                      <a:pt x="869" y="954"/>
                      <a:pt x="1827" y="754"/>
                      <a:pt x="1827" y="754"/>
                    </a:cubicBezTo>
                    <a:cubicBezTo>
                      <a:pt x="1827" y="754"/>
                      <a:pt x="1902" y="684"/>
                      <a:pt x="1903" y="500"/>
                    </a:cubicBezTo>
                    <a:cubicBezTo>
                      <a:pt x="1903" y="492"/>
                      <a:pt x="1903" y="483"/>
                      <a:pt x="1903" y="474"/>
                    </a:cubicBezTo>
                    <a:cubicBezTo>
                      <a:pt x="1903" y="462"/>
                      <a:pt x="1862" y="109"/>
                      <a:pt x="1842" y="8"/>
                    </a:cubicBezTo>
                    <a:cubicBezTo>
                      <a:pt x="1762" y="24"/>
                      <a:pt x="1637" y="46"/>
                      <a:pt x="1414" y="63"/>
                    </a:cubicBezTo>
                    <a:cubicBezTo>
                      <a:pt x="1394" y="64"/>
                      <a:pt x="1375" y="65"/>
                      <a:pt x="1359" y="65"/>
                    </a:cubicBezTo>
                    <a:cubicBezTo>
                      <a:pt x="1348" y="65"/>
                      <a:pt x="1337" y="65"/>
                      <a:pt x="1327" y="65"/>
                    </a:cubicBezTo>
                    <a:cubicBezTo>
                      <a:pt x="1308" y="64"/>
                      <a:pt x="1290" y="62"/>
                      <a:pt x="1275" y="59"/>
                    </a:cubicBezTo>
                    <a:cubicBezTo>
                      <a:pt x="1274" y="58"/>
                      <a:pt x="1274" y="58"/>
                      <a:pt x="1274" y="58"/>
                    </a:cubicBezTo>
                    <a:cubicBezTo>
                      <a:pt x="1268" y="58"/>
                      <a:pt x="1268" y="58"/>
                      <a:pt x="1268" y="58"/>
                    </a:cubicBezTo>
                    <a:cubicBezTo>
                      <a:pt x="1267" y="57"/>
                      <a:pt x="1267" y="57"/>
                      <a:pt x="1266" y="57"/>
                    </a:cubicBezTo>
                    <a:lnTo>
                      <a:pt x="1246" y="53"/>
                    </a:lnTo>
                    <a:close/>
                  </a:path>
                </a:pathLst>
              </a:custGeom>
              <a:solidFill>
                <a:srgbClr val="174652"/>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45" name="işľïḑê">
                <a:extLst>
                  <a:ext uri="{FF2B5EF4-FFF2-40B4-BE49-F238E27FC236}">
                    <a16:creationId xmlns:a16="http://schemas.microsoft.com/office/drawing/2014/main" id="{0D29A168-107D-432E-B0A1-C22AE7C37245}"/>
                  </a:ext>
                </a:extLst>
              </p:cNvPr>
              <p:cNvSpPr/>
              <p:nvPr/>
            </p:nvSpPr>
            <p:spPr bwMode="auto">
              <a:xfrm>
                <a:off x="4260851" y="4343401"/>
                <a:ext cx="500063" cy="82550"/>
              </a:xfrm>
              <a:custGeom>
                <a:avLst/>
                <a:gdLst>
                  <a:gd name="T0" fmla="*/ 286 w 1884"/>
                  <a:gd name="T1" fmla="*/ 107 h 307"/>
                  <a:gd name="T2" fmla="*/ 7 w 1884"/>
                  <a:gd name="T3" fmla="*/ 7 h 307"/>
                  <a:gd name="T4" fmla="*/ 1 w 1884"/>
                  <a:gd name="T5" fmla="*/ 59 h 307"/>
                  <a:gd name="T6" fmla="*/ 7 w 1884"/>
                  <a:gd name="T7" fmla="*/ 117 h 307"/>
                  <a:gd name="T8" fmla="*/ 283 w 1884"/>
                  <a:gd name="T9" fmla="*/ 220 h 307"/>
                  <a:gd name="T10" fmla="*/ 1828 w 1884"/>
                  <a:gd name="T11" fmla="*/ 107 h 307"/>
                  <a:gd name="T12" fmla="*/ 1884 w 1884"/>
                  <a:gd name="T13" fmla="*/ 0 h 307"/>
                  <a:gd name="T14" fmla="*/ 286 w 1884"/>
                  <a:gd name="T15" fmla="*/ 107 h 30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84" h="307">
                    <a:moveTo>
                      <a:pt x="286" y="107"/>
                    </a:moveTo>
                    <a:cubicBezTo>
                      <a:pt x="153" y="87"/>
                      <a:pt x="48" y="32"/>
                      <a:pt x="7" y="7"/>
                    </a:cubicBezTo>
                    <a:cubicBezTo>
                      <a:pt x="3" y="26"/>
                      <a:pt x="1" y="44"/>
                      <a:pt x="1" y="59"/>
                    </a:cubicBezTo>
                    <a:cubicBezTo>
                      <a:pt x="0" y="94"/>
                      <a:pt x="7" y="117"/>
                      <a:pt x="7" y="117"/>
                    </a:cubicBezTo>
                    <a:cubicBezTo>
                      <a:pt x="7" y="117"/>
                      <a:pt x="123" y="196"/>
                      <a:pt x="283" y="220"/>
                    </a:cubicBezTo>
                    <a:cubicBezTo>
                      <a:pt x="869" y="307"/>
                      <a:pt x="1828" y="107"/>
                      <a:pt x="1828" y="107"/>
                    </a:cubicBezTo>
                    <a:cubicBezTo>
                      <a:pt x="1828" y="107"/>
                      <a:pt x="1861" y="75"/>
                      <a:pt x="1884" y="0"/>
                    </a:cubicBezTo>
                    <a:cubicBezTo>
                      <a:pt x="1635" y="47"/>
                      <a:pt x="819" y="186"/>
                      <a:pt x="286" y="107"/>
                    </a:cubicBezTo>
                    <a:close/>
                  </a:path>
                </a:pathLst>
              </a:custGeom>
              <a:solidFill>
                <a:srgbClr val="FFFDFE"/>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46" name="î$ļiḑè">
                <a:extLst>
                  <a:ext uri="{FF2B5EF4-FFF2-40B4-BE49-F238E27FC236}">
                    <a16:creationId xmlns:a16="http://schemas.microsoft.com/office/drawing/2014/main" id="{1FF97E1D-5111-4229-9858-4C43C40D5571}"/>
                  </a:ext>
                </a:extLst>
              </p:cNvPr>
              <p:cNvSpPr/>
              <p:nvPr/>
            </p:nvSpPr>
            <p:spPr bwMode="auto">
              <a:xfrm>
                <a:off x="4510088" y="4189413"/>
                <a:ext cx="85725" cy="47625"/>
              </a:xfrm>
              <a:custGeom>
                <a:avLst/>
                <a:gdLst>
                  <a:gd name="T0" fmla="*/ 316 w 325"/>
                  <a:gd name="T1" fmla="*/ 154 h 178"/>
                  <a:gd name="T2" fmla="*/ 254 w 325"/>
                  <a:gd name="T3" fmla="*/ 166 h 178"/>
                  <a:gd name="T4" fmla="*/ 0 w 325"/>
                  <a:gd name="T5" fmla="*/ 48 h 178"/>
                  <a:gd name="T6" fmla="*/ 75 w 325"/>
                  <a:gd name="T7" fmla="*/ 0 h 178"/>
                  <a:gd name="T8" fmla="*/ 285 w 325"/>
                  <a:gd name="T9" fmla="*/ 98 h 178"/>
                  <a:gd name="T10" fmla="*/ 316 w 325"/>
                  <a:gd name="T11" fmla="*/ 154 h 178"/>
                </a:gdLst>
                <a:ahLst/>
                <a:cxnLst>
                  <a:cxn ang="0">
                    <a:pos x="T0" y="T1"/>
                  </a:cxn>
                  <a:cxn ang="0">
                    <a:pos x="T2" y="T3"/>
                  </a:cxn>
                  <a:cxn ang="0">
                    <a:pos x="T4" y="T5"/>
                  </a:cxn>
                  <a:cxn ang="0">
                    <a:pos x="T6" y="T7"/>
                  </a:cxn>
                  <a:cxn ang="0">
                    <a:pos x="T8" y="T9"/>
                  </a:cxn>
                  <a:cxn ang="0">
                    <a:pos x="T10" y="T11"/>
                  </a:cxn>
                </a:cxnLst>
                <a:rect l="0" t="0" r="r" b="b"/>
                <a:pathLst>
                  <a:path w="325" h="178">
                    <a:moveTo>
                      <a:pt x="316" y="154"/>
                    </a:moveTo>
                    <a:cubicBezTo>
                      <a:pt x="307" y="172"/>
                      <a:pt x="279" y="178"/>
                      <a:pt x="254" y="166"/>
                    </a:cubicBezTo>
                    <a:cubicBezTo>
                      <a:pt x="0" y="48"/>
                      <a:pt x="0" y="48"/>
                      <a:pt x="0" y="48"/>
                    </a:cubicBezTo>
                    <a:cubicBezTo>
                      <a:pt x="27" y="32"/>
                      <a:pt x="52" y="16"/>
                      <a:pt x="75" y="0"/>
                    </a:cubicBezTo>
                    <a:cubicBezTo>
                      <a:pt x="285" y="98"/>
                      <a:pt x="285" y="98"/>
                      <a:pt x="285" y="98"/>
                    </a:cubicBezTo>
                    <a:cubicBezTo>
                      <a:pt x="311" y="110"/>
                      <a:pt x="325" y="135"/>
                      <a:pt x="316" y="154"/>
                    </a:cubicBezTo>
                    <a:close/>
                  </a:path>
                </a:pathLst>
              </a:custGeom>
              <a:solidFill>
                <a:srgbClr val="FFFDFE"/>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47" name="ï$ľíďê">
                <a:extLst>
                  <a:ext uri="{FF2B5EF4-FFF2-40B4-BE49-F238E27FC236}">
                    <a16:creationId xmlns:a16="http://schemas.microsoft.com/office/drawing/2014/main" id="{FCB82828-5895-4FC0-BC59-C40E637D9841}"/>
                  </a:ext>
                </a:extLst>
              </p:cNvPr>
              <p:cNvSpPr/>
              <p:nvPr/>
            </p:nvSpPr>
            <p:spPr bwMode="auto">
              <a:xfrm>
                <a:off x="4479926" y="4208463"/>
                <a:ext cx="80963" cy="42863"/>
              </a:xfrm>
              <a:custGeom>
                <a:avLst/>
                <a:gdLst>
                  <a:gd name="T0" fmla="*/ 296 w 305"/>
                  <a:gd name="T1" fmla="*/ 142 h 167"/>
                  <a:gd name="T2" fmla="*/ 234 w 305"/>
                  <a:gd name="T3" fmla="*/ 155 h 167"/>
                  <a:gd name="T4" fmla="*/ 0 w 305"/>
                  <a:gd name="T5" fmla="*/ 46 h 167"/>
                  <a:gd name="T6" fmla="*/ 73 w 305"/>
                  <a:gd name="T7" fmla="*/ 4 h 167"/>
                  <a:gd name="T8" fmla="*/ 79 w 305"/>
                  <a:gd name="T9" fmla="*/ 0 h 167"/>
                  <a:gd name="T10" fmla="*/ 265 w 305"/>
                  <a:gd name="T11" fmla="*/ 87 h 167"/>
                  <a:gd name="T12" fmla="*/ 296 w 305"/>
                  <a:gd name="T13" fmla="*/ 142 h 167"/>
                </a:gdLst>
                <a:ahLst/>
                <a:cxnLst>
                  <a:cxn ang="0">
                    <a:pos x="T0" y="T1"/>
                  </a:cxn>
                  <a:cxn ang="0">
                    <a:pos x="T2" y="T3"/>
                  </a:cxn>
                  <a:cxn ang="0">
                    <a:pos x="T4" y="T5"/>
                  </a:cxn>
                  <a:cxn ang="0">
                    <a:pos x="T6" y="T7"/>
                  </a:cxn>
                  <a:cxn ang="0">
                    <a:pos x="T8" y="T9"/>
                  </a:cxn>
                  <a:cxn ang="0">
                    <a:pos x="T10" y="T11"/>
                  </a:cxn>
                  <a:cxn ang="0">
                    <a:pos x="T12" y="T13"/>
                  </a:cxn>
                </a:cxnLst>
                <a:rect l="0" t="0" r="r" b="b"/>
                <a:pathLst>
                  <a:path w="305" h="167">
                    <a:moveTo>
                      <a:pt x="296" y="142"/>
                    </a:moveTo>
                    <a:cubicBezTo>
                      <a:pt x="287" y="161"/>
                      <a:pt x="259" y="167"/>
                      <a:pt x="234" y="155"/>
                    </a:cubicBezTo>
                    <a:cubicBezTo>
                      <a:pt x="0" y="46"/>
                      <a:pt x="0" y="46"/>
                      <a:pt x="0" y="46"/>
                    </a:cubicBezTo>
                    <a:cubicBezTo>
                      <a:pt x="25" y="32"/>
                      <a:pt x="50" y="18"/>
                      <a:pt x="73" y="4"/>
                    </a:cubicBezTo>
                    <a:cubicBezTo>
                      <a:pt x="75" y="3"/>
                      <a:pt x="77" y="1"/>
                      <a:pt x="79" y="0"/>
                    </a:cubicBezTo>
                    <a:cubicBezTo>
                      <a:pt x="265" y="87"/>
                      <a:pt x="265" y="87"/>
                      <a:pt x="265" y="87"/>
                    </a:cubicBezTo>
                    <a:cubicBezTo>
                      <a:pt x="291" y="99"/>
                      <a:pt x="305" y="124"/>
                      <a:pt x="296" y="142"/>
                    </a:cubicBezTo>
                    <a:close/>
                  </a:path>
                </a:pathLst>
              </a:custGeom>
              <a:solidFill>
                <a:srgbClr val="FFFDFE"/>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48" name="íśḻïḍe">
                <a:extLst>
                  <a:ext uri="{FF2B5EF4-FFF2-40B4-BE49-F238E27FC236}">
                    <a16:creationId xmlns:a16="http://schemas.microsoft.com/office/drawing/2014/main" id="{F72BDADE-F8C9-42BB-9116-A308A1B96B6C}"/>
                  </a:ext>
                </a:extLst>
              </p:cNvPr>
              <p:cNvSpPr/>
              <p:nvPr/>
            </p:nvSpPr>
            <p:spPr bwMode="auto">
              <a:xfrm>
                <a:off x="4446588" y="4225926"/>
                <a:ext cx="77788" cy="42863"/>
              </a:xfrm>
              <a:custGeom>
                <a:avLst/>
                <a:gdLst>
                  <a:gd name="T0" fmla="*/ 288 w 297"/>
                  <a:gd name="T1" fmla="*/ 136 h 161"/>
                  <a:gd name="T2" fmla="*/ 226 w 297"/>
                  <a:gd name="T3" fmla="*/ 149 h 161"/>
                  <a:gd name="T4" fmla="*/ 0 w 297"/>
                  <a:gd name="T5" fmla="*/ 43 h 161"/>
                  <a:gd name="T6" fmla="*/ 63 w 297"/>
                  <a:gd name="T7" fmla="*/ 12 h 161"/>
                  <a:gd name="T8" fmla="*/ 85 w 297"/>
                  <a:gd name="T9" fmla="*/ 0 h 161"/>
                  <a:gd name="T10" fmla="*/ 258 w 297"/>
                  <a:gd name="T11" fmla="*/ 81 h 161"/>
                  <a:gd name="T12" fmla="*/ 288 w 297"/>
                  <a:gd name="T13" fmla="*/ 136 h 161"/>
                </a:gdLst>
                <a:ahLst/>
                <a:cxnLst>
                  <a:cxn ang="0">
                    <a:pos x="T0" y="T1"/>
                  </a:cxn>
                  <a:cxn ang="0">
                    <a:pos x="T2" y="T3"/>
                  </a:cxn>
                  <a:cxn ang="0">
                    <a:pos x="T4" y="T5"/>
                  </a:cxn>
                  <a:cxn ang="0">
                    <a:pos x="T6" y="T7"/>
                  </a:cxn>
                  <a:cxn ang="0">
                    <a:pos x="T8" y="T9"/>
                  </a:cxn>
                  <a:cxn ang="0">
                    <a:pos x="T10" y="T11"/>
                  </a:cxn>
                  <a:cxn ang="0">
                    <a:pos x="T12" y="T13"/>
                  </a:cxn>
                </a:cxnLst>
                <a:rect l="0" t="0" r="r" b="b"/>
                <a:pathLst>
                  <a:path w="297" h="161">
                    <a:moveTo>
                      <a:pt x="288" y="136"/>
                    </a:moveTo>
                    <a:cubicBezTo>
                      <a:pt x="279" y="155"/>
                      <a:pt x="252" y="161"/>
                      <a:pt x="226" y="149"/>
                    </a:cubicBezTo>
                    <a:cubicBezTo>
                      <a:pt x="0" y="43"/>
                      <a:pt x="0" y="43"/>
                      <a:pt x="0" y="43"/>
                    </a:cubicBezTo>
                    <a:cubicBezTo>
                      <a:pt x="22" y="34"/>
                      <a:pt x="43" y="23"/>
                      <a:pt x="63" y="12"/>
                    </a:cubicBezTo>
                    <a:cubicBezTo>
                      <a:pt x="71" y="8"/>
                      <a:pt x="78" y="4"/>
                      <a:pt x="85" y="0"/>
                    </a:cubicBezTo>
                    <a:cubicBezTo>
                      <a:pt x="258" y="81"/>
                      <a:pt x="258" y="81"/>
                      <a:pt x="258" y="81"/>
                    </a:cubicBezTo>
                    <a:cubicBezTo>
                      <a:pt x="283" y="93"/>
                      <a:pt x="297" y="117"/>
                      <a:pt x="288" y="136"/>
                    </a:cubicBezTo>
                    <a:close/>
                  </a:path>
                </a:pathLst>
              </a:custGeom>
              <a:solidFill>
                <a:srgbClr val="FFFDFE"/>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49" name="íṣlidé">
                <a:extLst>
                  <a:ext uri="{FF2B5EF4-FFF2-40B4-BE49-F238E27FC236}">
                    <a16:creationId xmlns:a16="http://schemas.microsoft.com/office/drawing/2014/main" id="{68FE1C5D-2641-4F83-9B68-E1A384EA53CE}"/>
                  </a:ext>
                </a:extLst>
              </p:cNvPr>
              <p:cNvSpPr/>
              <p:nvPr/>
            </p:nvSpPr>
            <p:spPr bwMode="auto">
              <a:xfrm>
                <a:off x="4522788" y="3209926"/>
                <a:ext cx="1238250" cy="954088"/>
              </a:xfrm>
              <a:custGeom>
                <a:avLst/>
                <a:gdLst>
                  <a:gd name="T0" fmla="*/ 353 w 4679"/>
                  <a:gd name="T1" fmla="*/ 836 h 3612"/>
                  <a:gd name="T2" fmla="*/ 884 w 4679"/>
                  <a:gd name="T3" fmla="*/ 46 h 3612"/>
                  <a:gd name="T4" fmla="*/ 2363 w 4679"/>
                  <a:gd name="T5" fmla="*/ 35 h 3612"/>
                  <a:gd name="T6" fmla="*/ 3009 w 4679"/>
                  <a:gd name="T7" fmla="*/ 0 h 3612"/>
                  <a:gd name="T8" fmla="*/ 4679 w 4679"/>
                  <a:gd name="T9" fmla="*/ 602 h 3612"/>
                  <a:gd name="T10" fmla="*/ 4648 w 4679"/>
                  <a:gd name="T11" fmla="*/ 769 h 3612"/>
                  <a:gd name="T12" fmla="*/ 4009 w 4679"/>
                  <a:gd name="T13" fmla="*/ 1265 h 3612"/>
                  <a:gd name="T14" fmla="*/ 2693 w 4679"/>
                  <a:gd name="T15" fmla="*/ 1265 h 3612"/>
                  <a:gd name="T16" fmla="*/ 1358 w 4679"/>
                  <a:gd name="T17" fmla="*/ 1254 h 3612"/>
                  <a:gd name="T18" fmla="*/ 1358 w 4679"/>
                  <a:gd name="T19" fmla="*/ 1482 h 3612"/>
                  <a:gd name="T20" fmla="*/ 1134 w 4679"/>
                  <a:gd name="T21" fmla="*/ 3584 h 3612"/>
                  <a:gd name="T22" fmla="*/ 69 w 4679"/>
                  <a:gd name="T23" fmla="*/ 3535 h 3612"/>
                  <a:gd name="T24" fmla="*/ 136 w 4679"/>
                  <a:gd name="T25" fmla="*/ 2482 h 3612"/>
                  <a:gd name="T26" fmla="*/ 353 w 4679"/>
                  <a:gd name="T27" fmla="*/ 836 h 36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679" h="3612">
                    <a:moveTo>
                      <a:pt x="353" y="836"/>
                    </a:moveTo>
                    <a:cubicBezTo>
                      <a:pt x="416" y="421"/>
                      <a:pt x="504" y="64"/>
                      <a:pt x="884" y="46"/>
                    </a:cubicBezTo>
                    <a:cubicBezTo>
                      <a:pt x="1427" y="21"/>
                      <a:pt x="1758" y="25"/>
                      <a:pt x="2363" y="35"/>
                    </a:cubicBezTo>
                    <a:cubicBezTo>
                      <a:pt x="2423" y="36"/>
                      <a:pt x="2849" y="69"/>
                      <a:pt x="3009" y="0"/>
                    </a:cubicBezTo>
                    <a:cubicBezTo>
                      <a:pt x="3893" y="425"/>
                      <a:pt x="4409" y="561"/>
                      <a:pt x="4679" y="602"/>
                    </a:cubicBezTo>
                    <a:cubicBezTo>
                      <a:pt x="4670" y="659"/>
                      <a:pt x="4660" y="715"/>
                      <a:pt x="4648" y="769"/>
                    </a:cubicBezTo>
                    <a:cubicBezTo>
                      <a:pt x="4596" y="995"/>
                      <a:pt x="4246" y="1251"/>
                      <a:pt x="4009" y="1265"/>
                    </a:cubicBezTo>
                    <a:cubicBezTo>
                      <a:pt x="3605" y="1289"/>
                      <a:pt x="3093" y="1265"/>
                      <a:pt x="2693" y="1265"/>
                    </a:cubicBezTo>
                    <a:cubicBezTo>
                      <a:pt x="2223" y="1267"/>
                      <a:pt x="1638" y="1265"/>
                      <a:pt x="1358" y="1254"/>
                    </a:cubicBezTo>
                    <a:cubicBezTo>
                      <a:pt x="1358" y="1345"/>
                      <a:pt x="1358" y="1413"/>
                      <a:pt x="1358" y="1482"/>
                    </a:cubicBezTo>
                    <a:cubicBezTo>
                      <a:pt x="1359" y="2114"/>
                      <a:pt x="1145" y="3519"/>
                      <a:pt x="1134" y="3584"/>
                    </a:cubicBezTo>
                    <a:cubicBezTo>
                      <a:pt x="621" y="3612"/>
                      <a:pt x="492" y="3546"/>
                      <a:pt x="69" y="3535"/>
                    </a:cubicBezTo>
                    <a:cubicBezTo>
                      <a:pt x="0" y="3533"/>
                      <a:pt x="128" y="2533"/>
                      <a:pt x="136" y="2482"/>
                    </a:cubicBezTo>
                    <a:cubicBezTo>
                      <a:pt x="218" y="1922"/>
                      <a:pt x="244" y="1415"/>
                      <a:pt x="353" y="836"/>
                    </a:cubicBezTo>
                    <a:close/>
                  </a:path>
                </a:pathLst>
              </a:custGeom>
              <a:solidFill>
                <a:srgbClr val="E69621"/>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50" name="ïsľïḍe">
                <a:extLst>
                  <a:ext uri="{FF2B5EF4-FFF2-40B4-BE49-F238E27FC236}">
                    <a16:creationId xmlns:a16="http://schemas.microsoft.com/office/drawing/2014/main" id="{CCB50E76-4DC4-4D9A-98D6-0BA6D375216E}"/>
                  </a:ext>
                </a:extLst>
              </p:cNvPr>
              <p:cNvSpPr/>
              <p:nvPr/>
            </p:nvSpPr>
            <p:spPr bwMode="auto">
              <a:xfrm>
                <a:off x="4754563" y="2900363"/>
                <a:ext cx="128588" cy="130175"/>
              </a:xfrm>
              <a:custGeom>
                <a:avLst/>
                <a:gdLst>
                  <a:gd name="T0" fmla="*/ 81 w 81"/>
                  <a:gd name="T1" fmla="*/ 48 h 82"/>
                  <a:gd name="T2" fmla="*/ 48 w 81"/>
                  <a:gd name="T3" fmla="*/ 82 h 82"/>
                  <a:gd name="T4" fmla="*/ 0 w 81"/>
                  <a:gd name="T5" fmla="*/ 36 h 82"/>
                  <a:gd name="T6" fmla="*/ 36 w 81"/>
                  <a:gd name="T7" fmla="*/ 0 h 82"/>
                  <a:gd name="T8" fmla="*/ 81 w 81"/>
                  <a:gd name="T9" fmla="*/ 48 h 82"/>
                </a:gdLst>
                <a:ahLst/>
                <a:cxnLst>
                  <a:cxn ang="0">
                    <a:pos x="T0" y="T1"/>
                  </a:cxn>
                  <a:cxn ang="0">
                    <a:pos x="T2" y="T3"/>
                  </a:cxn>
                  <a:cxn ang="0">
                    <a:pos x="T4" y="T5"/>
                  </a:cxn>
                  <a:cxn ang="0">
                    <a:pos x="T6" y="T7"/>
                  </a:cxn>
                  <a:cxn ang="0">
                    <a:pos x="T8" y="T9"/>
                  </a:cxn>
                </a:cxnLst>
                <a:rect l="0" t="0" r="r" b="b"/>
                <a:pathLst>
                  <a:path w="81" h="82">
                    <a:moveTo>
                      <a:pt x="81" y="48"/>
                    </a:moveTo>
                    <a:lnTo>
                      <a:pt x="48" y="82"/>
                    </a:lnTo>
                    <a:lnTo>
                      <a:pt x="0" y="36"/>
                    </a:lnTo>
                    <a:lnTo>
                      <a:pt x="36" y="0"/>
                    </a:lnTo>
                    <a:lnTo>
                      <a:pt x="81" y="48"/>
                    </a:lnTo>
                    <a:close/>
                  </a:path>
                </a:pathLst>
              </a:custGeom>
              <a:solidFill>
                <a:srgbClr val="EFD4B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51" name="ïšľïďè">
                <a:extLst>
                  <a:ext uri="{FF2B5EF4-FFF2-40B4-BE49-F238E27FC236}">
                    <a16:creationId xmlns:a16="http://schemas.microsoft.com/office/drawing/2014/main" id="{F76FC058-5BB9-46B4-B8F1-F86147257F4B}"/>
                  </a:ext>
                </a:extLst>
              </p:cNvPr>
              <p:cNvSpPr/>
              <p:nvPr/>
            </p:nvSpPr>
            <p:spPr bwMode="auto">
              <a:xfrm>
                <a:off x="4579938" y="2946401"/>
                <a:ext cx="250825" cy="244475"/>
              </a:xfrm>
              <a:custGeom>
                <a:avLst/>
                <a:gdLst>
                  <a:gd name="T0" fmla="*/ 707 w 948"/>
                  <a:gd name="T1" fmla="*/ 0 h 924"/>
                  <a:gd name="T2" fmla="*/ 948 w 948"/>
                  <a:gd name="T3" fmla="*/ 306 h 924"/>
                  <a:gd name="T4" fmla="*/ 841 w 948"/>
                  <a:gd name="T5" fmla="*/ 660 h 924"/>
                  <a:gd name="T6" fmla="*/ 557 w 948"/>
                  <a:gd name="T7" fmla="*/ 892 h 924"/>
                  <a:gd name="T8" fmla="*/ 412 w 948"/>
                  <a:gd name="T9" fmla="*/ 836 h 924"/>
                  <a:gd name="T10" fmla="*/ 273 w 948"/>
                  <a:gd name="T11" fmla="*/ 678 h 924"/>
                  <a:gd name="T12" fmla="*/ 161 w 948"/>
                  <a:gd name="T13" fmla="*/ 476 h 924"/>
                  <a:gd name="T14" fmla="*/ 145 w 948"/>
                  <a:gd name="T15" fmla="*/ 301 h 924"/>
                  <a:gd name="T16" fmla="*/ 230 w 948"/>
                  <a:gd name="T17" fmla="*/ 163 h 924"/>
                  <a:gd name="T18" fmla="*/ 451 w 948"/>
                  <a:gd name="T19" fmla="*/ 54 h 924"/>
                  <a:gd name="T20" fmla="*/ 707 w 948"/>
                  <a:gd name="T21" fmla="*/ 0 h 9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48" h="924">
                    <a:moveTo>
                      <a:pt x="707" y="0"/>
                    </a:moveTo>
                    <a:cubicBezTo>
                      <a:pt x="948" y="306"/>
                      <a:pt x="948" y="306"/>
                      <a:pt x="948" y="306"/>
                    </a:cubicBezTo>
                    <a:cubicBezTo>
                      <a:pt x="948" y="306"/>
                      <a:pt x="905" y="593"/>
                      <a:pt x="841" y="660"/>
                    </a:cubicBezTo>
                    <a:cubicBezTo>
                      <a:pt x="841" y="660"/>
                      <a:pt x="736" y="873"/>
                      <a:pt x="557" y="892"/>
                    </a:cubicBezTo>
                    <a:cubicBezTo>
                      <a:pt x="557" y="892"/>
                      <a:pt x="392" y="924"/>
                      <a:pt x="412" y="836"/>
                    </a:cubicBezTo>
                    <a:cubicBezTo>
                      <a:pt x="412" y="836"/>
                      <a:pt x="199" y="820"/>
                      <a:pt x="273" y="678"/>
                    </a:cubicBezTo>
                    <a:cubicBezTo>
                      <a:pt x="273" y="678"/>
                      <a:pt x="44" y="659"/>
                      <a:pt x="161" y="476"/>
                    </a:cubicBezTo>
                    <a:cubicBezTo>
                      <a:pt x="161" y="476"/>
                      <a:pt x="0" y="427"/>
                      <a:pt x="145" y="301"/>
                    </a:cubicBezTo>
                    <a:cubicBezTo>
                      <a:pt x="145" y="301"/>
                      <a:pt x="180" y="273"/>
                      <a:pt x="230" y="163"/>
                    </a:cubicBezTo>
                    <a:cubicBezTo>
                      <a:pt x="230" y="163"/>
                      <a:pt x="293" y="39"/>
                      <a:pt x="451" y="54"/>
                    </a:cubicBezTo>
                    <a:cubicBezTo>
                      <a:pt x="451" y="54"/>
                      <a:pt x="559" y="93"/>
                      <a:pt x="707" y="0"/>
                    </a:cubicBezTo>
                    <a:close/>
                  </a:path>
                </a:pathLst>
              </a:custGeom>
              <a:solidFill>
                <a:srgbClr val="EFD4B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52" name="îṡļïḋé">
                <a:extLst>
                  <a:ext uri="{FF2B5EF4-FFF2-40B4-BE49-F238E27FC236}">
                    <a16:creationId xmlns:a16="http://schemas.microsoft.com/office/drawing/2014/main" id="{EDCF48CE-5F07-4769-8F1F-BF64B558692A}"/>
                  </a:ext>
                </a:extLst>
              </p:cNvPr>
              <p:cNvSpPr/>
              <p:nvPr/>
            </p:nvSpPr>
            <p:spPr bwMode="auto">
              <a:xfrm>
                <a:off x="4757738" y="2151063"/>
                <a:ext cx="1023938" cy="1217613"/>
              </a:xfrm>
              <a:custGeom>
                <a:avLst/>
                <a:gdLst>
                  <a:gd name="T0" fmla="*/ 3479 w 3861"/>
                  <a:gd name="T1" fmla="*/ 1512 h 4601"/>
                  <a:gd name="T2" fmla="*/ 3064 w 3861"/>
                  <a:gd name="T3" fmla="*/ 459 h 4601"/>
                  <a:gd name="T4" fmla="*/ 2831 w 3861"/>
                  <a:gd name="T5" fmla="*/ 0 h 4601"/>
                  <a:gd name="T6" fmla="*/ 2343 w 3861"/>
                  <a:gd name="T7" fmla="*/ 425 h 4601"/>
                  <a:gd name="T8" fmla="*/ 2029 w 3861"/>
                  <a:gd name="T9" fmla="*/ 740 h 4601"/>
                  <a:gd name="T10" fmla="*/ 1624 w 3861"/>
                  <a:gd name="T11" fmla="*/ 1690 h 4601"/>
                  <a:gd name="T12" fmla="*/ 1284 w 3861"/>
                  <a:gd name="T13" fmla="*/ 2021 h 4601"/>
                  <a:gd name="T14" fmla="*/ 0 w 3861"/>
                  <a:gd name="T15" fmla="*/ 2964 h 4601"/>
                  <a:gd name="T16" fmla="*/ 408 w 3861"/>
                  <a:gd name="T17" fmla="*/ 3564 h 4601"/>
                  <a:gd name="T18" fmla="*/ 1888 w 3861"/>
                  <a:gd name="T19" fmla="*/ 2573 h 4601"/>
                  <a:gd name="T20" fmla="*/ 2005 w 3861"/>
                  <a:gd name="T21" fmla="*/ 2475 h 4601"/>
                  <a:gd name="T22" fmla="*/ 2155 w 3861"/>
                  <a:gd name="T23" fmla="*/ 3978 h 4601"/>
                  <a:gd name="T24" fmla="*/ 2118 w 3861"/>
                  <a:gd name="T25" fmla="*/ 3999 h 4601"/>
                  <a:gd name="T26" fmla="*/ 3788 w 3861"/>
                  <a:gd name="T27" fmla="*/ 4601 h 4601"/>
                  <a:gd name="T28" fmla="*/ 3827 w 3861"/>
                  <a:gd name="T29" fmla="*/ 4251 h 4601"/>
                  <a:gd name="T30" fmla="*/ 3846 w 3861"/>
                  <a:gd name="T31" fmla="*/ 3732 h 4601"/>
                  <a:gd name="T32" fmla="*/ 3479 w 3861"/>
                  <a:gd name="T33" fmla="*/ 1512 h 46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861" h="4601">
                    <a:moveTo>
                      <a:pt x="3479" y="1512"/>
                    </a:moveTo>
                    <a:cubicBezTo>
                      <a:pt x="3353" y="1081"/>
                      <a:pt x="3308" y="1002"/>
                      <a:pt x="3064" y="459"/>
                    </a:cubicBezTo>
                    <a:cubicBezTo>
                      <a:pt x="2935" y="201"/>
                      <a:pt x="2975" y="259"/>
                      <a:pt x="2831" y="0"/>
                    </a:cubicBezTo>
                    <a:cubicBezTo>
                      <a:pt x="2677" y="129"/>
                      <a:pt x="2549" y="246"/>
                      <a:pt x="2343" y="425"/>
                    </a:cubicBezTo>
                    <a:cubicBezTo>
                      <a:pt x="2070" y="690"/>
                      <a:pt x="2070" y="690"/>
                      <a:pt x="2029" y="740"/>
                    </a:cubicBezTo>
                    <a:cubicBezTo>
                      <a:pt x="1787" y="1034"/>
                      <a:pt x="1747" y="1384"/>
                      <a:pt x="1624" y="1690"/>
                    </a:cubicBezTo>
                    <a:cubicBezTo>
                      <a:pt x="1505" y="1835"/>
                      <a:pt x="1284" y="2021"/>
                      <a:pt x="1284" y="2021"/>
                    </a:cubicBezTo>
                    <a:cubicBezTo>
                      <a:pt x="0" y="2964"/>
                      <a:pt x="0" y="2964"/>
                      <a:pt x="0" y="2964"/>
                    </a:cubicBezTo>
                    <a:cubicBezTo>
                      <a:pt x="408" y="3564"/>
                      <a:pt x="408" y="3564"/>
                      <a:pt x="408" y="3564"/>
                    </a:cubicBezTo>
                    <a:cubicBezTo>
                      <a:pt x="1888" y="2573"/>
                      <a:pt x="1888" y="2573"/>
                      <a:pt x="1888" y="2573"/>
                    </a:cubicBezTo>
                    <a:cubicBezTo>
                      <a:pt x="1888" y="2573"/>
                      <a:pt x="1943" y="2539"/>
                      <a:pt x="2005" y="2475"/>
                    </a:cubicBezTo>
                    <a:cubicBezTo>
                      <a:pt x="2155" y="3978"/>
                      <a:pt x="2155" y="3978"/>
                      <a:pt x="2155" y="3978"/>
                    </a:cubicBezTo>
                    <a:cubicBezTo>
                      <a:pt x="2145" y="3986"/>
                      <a:pt x="2133" y="3993"/>
                      <a:pt x="2118" y="3999"/>
                    </a:cubicBezTo>
                    <a:cubicBezTo>
                      <a:pt x="3002" y="4424"/>
                      <a:pt x="3518" y="4560"/>
                      <a:pt x="3788" y="4601"/>
                    </a:cubicBezTo>
                    <a:cubicBezTo>
                      <a:pt x="3806" y="4488"/>
                      <a:pt x="3819" y="4369"/>
                      <a:pt x="3827" y="4251"/>
                    </a:cubicBezTo>
                    <a:cubicBezTo>
                      <a:pt x="3839" y="4073"/>
                      <a:pt x="3843" y="3895"/>
                      <a:pt x="3846" y="3732"/>
                    </a:cubicBezTo>
                    <a:cubicBezTo>
                      <a:pt x="3861" y="2969"/>
                      <a:pt x="3691" y="2245"/>
                      <a:pt x="3479" y="1512"/>
                    </a:cubicBezTo>
                    <a:close/>
                  </a:path>
                </a:pathLst>
              </a:custGeom>
              <a:solidFill>
                <a:srgbClr val="EE5438"/>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53" name="işḷiḑè">
                <a:extLst>
                  <a:ext uri="{FF2B5EF4-FFF2-40B4-BE49-F238E27FC236}">
                    <a16:creationId xmlns:a16="http://schemas.microsoft.com/office/drawing/2014/main" id="{E1976C98-D2C5-4D02-80D7-7026489C2A86}"/>
                  </a:ext>
                </a:extLst>
              </p:cNvPr>
              <p:cNvSpPr/>
              <p:nvPr/>
            </p:nvSpPr>
            <p:spPr bwMode="auto">
              <a:xfrm>
                <a:off x="4727576" y="2890838"/>
                <a:ext cx="190500" cy="220663"/>
              </a:xfrm>
              <a:custGeom>
                <a:avLst/>
                <a:gdLst>
                  <a:gd name="T0" fmla="*/ 292 w 718"/>
                  <a:gd name="T1" fmla="*/ 47 h 839"/>
                  <a:gd name="T2" fmla="*/ 691 w 718"/>
                  <a:gd name="T3" fmla="*/ 602 h 839"/>
                  <a:gd name="T4" fmla="*/ 671 w 718"/>
                  <a:gd name="T5" fmla="*/ 722 h 839"/>
                  <a:gd name="T6" fmla="*/ 546 w 718"/>
                  <a:gd name="T7" fmla="*/ 812 h 839"/>
                  <a:gd name="T8" fmla="*/ 426 w 718"/>
                  <a:gd name="T9" fmla="*/ 792 h 839"/>
                  <a:gd name="T10" fmla="*/ 28 w 718"/>
                  <a:gd name="T11" fmla="*/ 237 h 839"/>
                  <a:gd name="T12" fmla="*/ 47 w 718"/>
                  <a:gd name="T13" fmla="*/ 117 h 839"/>
                  <a:gd name="T14" fmla="*/ 173 w 718"/>
                  <a:gd name="T15" fmla="*/ 27 h 839"/>
                  <a:gd name="T16" fmla="*/ 292 w 718"/>
                  <a:gd name="T17" fmla="*/ 47 h 8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18" h="839">
                    <a:moveTo>
                      <a:pt x="292" y="47"/>
                    </a:moveTo>
                    <a:cubicBezTo>
                      <a:pt x="691" y="602"/>
                      <a:pt x="691" y="602"/>
                      <a:pt x="691" y="602"/>
                    </a:cubicBezTo>
                    <a:cubicBezTo>
                      <a:pt x="718" y="640"/>
                      <a:pt x="709" y="694"/>
                      <a:pt x="671" y="722"/>
                    </a:cubicBezTo>
                    <a:cubicBezTo>
                      <a:pt x="546" y="812"/>
                      <a:pt x="546" y="812"/>
                      <a:pt x="546" y="812"/>
                    </a:cubicBezTo>
                    <a:cubicBezTo>
                      <a:pt x="507" y="839"/>
                      <a:pt x="453" y="830"/>
                      <a:pt x="426" y="792"/>
                    </a:cubicBezTo>
                    <a:cubicBezTo>
                      <a:pt x="28" y="237"/>
                      <a:pt x="28" y="237"/>
                      <a:pt x="28" y="237"/>
                    </a:cubicBezTo>
                    <a:cubicBezTo>
                      <a:pt x="0" y="199"/>
                      <a:pt x="9" y="145"/>
                      <a:pt x="47" y="117"/>
                    </a:cubicBezTo>
                    <a:cubicBezTo>
                      <a:pt x="173" y="27"/>
                      <a:pt x="173" y="27"/>
                      <a:pt x="173" y="27"/>
                    </a:cubicBezTo>
                    <a:cubicBezTo>
                      <a:pt x="211" y="0"/>
                      <a:pt x="265" y="9"/>
                      <a:pt x="292" y="47"/>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54" name="i$ļíḍê">
                <a:extLst>
                  <a:ext uri="{FF2B5EF4-FFF2-40B4-BE49-F238E27FC236}">
                    <a16:creationId xmlns:a16="http://schemas.microsoft.com/office/drawing/2014/main" id="{2E8905E4-DB46-4EA5-9D29-E9346FAF76CF}"/>
                  </a:ext>
                </a:extLst>
              </p:cNvPr>
              <p:cNvSpPr/>
              <p:nvPr/>
            </p:nvSpPr>
            <p:spPr bwMode="auto">
              <a:xfrm>
                <a:off x="6286501" y="2641601"/>
                <a:ext cx="106363" cy="212725"/>
              </a:xfrm>
              <a:custGeom>
                <a:avLst/>
                <a:gdLst>
                  <a:gd name="T0" fmla="*/ 0 w 403"/>
                  <a:gd name="T1" fmla="*/ 806 h 806"/>
                  <a:gd name="T2" fmla="*/ 0 w 403"/>
                  <a:gd name="T3" fmla="*/ 0 h 806"/>
                  <a:gd name="T4" fmla="*/ 403 w 403"/>
                  <a:gd name="T5" fmla="*/ 403 h 806"/>
                  <a:gd name="T6" fmla="*/ 0 w 403"/>
                  <a:gd name="T7" fmla="*/ 806 h 806"/>
                </a:gdLst>
                <a:ahLst/>
                <a:cxnLst>
                  <a:cxn ang="0">
                    <a:pos x="T0" y="T1"/>
                  </a:cxn>
                  <a:cxn ang="0">
                    <a:pos x="T2" y="T3"/>
                  </a:cxn>
                  <a:cxn ang="0">
                    <a:pos x="T4" y="T5"/>
                  </a:cxn>
                  <a:cxn ang="0">
                    <a:pos x="T6" y="T7"/>
                  </a:cxn>
                </a:cxnLst>
                <a:rect l="0" t="0" r="r" b="b"/>
                <a:pathLst>
                  <a:path w="403" h="806">
                    <a:moveTo>
                      <a:pt x="0" y="806"/>
                    </a:moveTo>
                    <a:cubicBezTo>
                      <a:pt x="0" y="0"/>
                      <a:pt x="0" y="0"/>
                      <a:pt x="0" y="0"/>
                    </a:cubicBezTo>
                    <a:cubicBezTo>
                      <a:pt x="238" y="0"/>
                      <a:pt x="403" y="181"/>
                      <a:pt x="403" y="403"/>
                    </a:cubicBezTo>
                    <a:cubicBezTo>
                      <a:pt x="403" y="626"/>
                      <a:pt x="198" y="806"/>
                      <a:pt x="0" y="806"/>
                    </a:cubicBezTo>
                    <a:close/>
                  </a:path>
                </a:pathLst>
              </a:custGeom>
              <a:solidFill>
                <a:srgbClr val="B3B2B3"/>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55" name="îṩlidé">
                <a:extLst>
                  <a:ext uri="{FF2B5EF4-FFF2-40B4-BE49-F238E27FC236}">
                    <a16:creationId xmlns:a16="http://schemas.microsoft.com/office/drawing/2014/main" id="{E06350FF-8173-408A-9966-A95B48542015}"/>
                  </a:ext>
                </a:extLst>
              </p:cNvPr>
              <p:cNvSpPr/>
              <p:nvPr/>
            </p:nvSpPr>
            <p:spPr bwMode="auto">
              <a:xfrm>
                <a:off x="6022976" y="1535113"/>
                <a:ext cx="695325" cy="1366838"/>
              </a:xfrm>
              <a:custGeom>
                <a:avLst/>
                <a:gdLst>
                  <a:gd name="T0" fmla="*/ 2225 w 2625"/>
                  <a:gd name="T1" fmla="*/ 0 h 5168"/>
                  <a:gd name="T2" fmla="*/ 1312 w 2625"/>
                  <a:gd name="T3" fmla="*/ 0 h 5168"/>
                  <a:gd name="T4" fmla="*/ 400 w 2625"/>
                  <a:gd name="T5" fmla="*/ 0 h 5168"/>
                  <a:gd name="T6" fmla="*/ 60 w 2625"/>
                  <a:gd name="T7" fmla="*/ 2596 h 5168"/>
                  <a:gd name="T8" fmla="*/ 781 w 2625"/>
                  <a:gd name="T9" fmla="*/ 5168 h 5168"/>
                  <a:gd name="T10" fmla="*/ 1312 w 2625"/>
                  <a:gd name="T11" fmla="*/ 5168 h 5168"/>
                  <a:gd name="T12" fmla="*/ 1845 w 2625"/>
                  <a:gd name="T13" fmla="*/ 5168 h 5168"/>
                  <a:gd name="T14" fmla="*/ 2565 w 2625"/>
                  <a:gd name="T15" fmla="*/ 2596 h 5168"/>
                  <a:gd name="T16" fmla="*/ 2225 w 2625"/>
                  <a:gd name="T17" fmla="*/ 0 h 5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25" h="5168">
                    <a:moveTo>
                      <a:pt x="2225" y="0"/>
                    </a:moveTo>
                    <a:cubicBezTo>
                      <a:pt x="1312" y="0"/>
                      <a:pt x="1312" y="0"/>
                      <a:pt x="1312" y="0"/>
                    </a:cubicBezTo>
                    <a:cubicBezTo>
                      <a:pt x="400" y="0"/>
                      <a:pt x="400" y="0"/>
                      <a:pt x="400" y="0"/>
                    </a:cubicBezTo>
                    <a:cubicBezTo>
                      <a:pt x="0" y="1109"/>
                      <a:pt x="60" y="2596"/>
                      <a:pt x="60" y="2596"/>
                    </a:cubicBezTo>
                    <a:cubicBezTo>
                      <a:pt x="106" y="4926"/>
                      <a:pt x="781" y="5168"/>
                      <a:pt x="781" y="5168"/>
                    </a:cubicBezTo>
                    <a:cubicBezTo>
                      <a:pt x="1312" y="5168"/>
                      <a:pt x="1312" y="5168"/>
                      <a:pt x="1312" y="5168"/>
                    </a:cubicBezTo>
                    <a:cubicBezTo>
                      <a:pt x="1845" y="5168"/>
                      <a:pt x="1845" y="5168"/>
                      <a:pt x="1845" y="5168"/>
                    </a:cubicBezTo>
                    <a:cubicBezTo>
                      <a:pt x="1845" y="5168"/>
                      <a:pt x="2519" y="4926"/>
                      <a:pt x="2565" y="2596"/>
                    </a:cubicBezTo>
                    <a:cubicBezTo>
                      <a:pt x="2565" y="2596"/>
                      <a:pt x="2625" y="1109"/>
                      <a:pt x="2225" y="0"/>
                    </a:cubicBezTo>
                    <a:close/>
                  </a:path>
                </a:pathLst>
              </a:custGeom>
              <a:solidFill>
                <a:srgbClr val="71CCAD"/>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56" name="ïSḷiḍe">
                <a:extLst>
                  <a:ext uri="{FF2B5EF4-FFF2-40B4-BE49-F238E27FC236}">
                    <a16:creationId xmlns:a16="http://schemas.microsoft.com/office/drawing/2014/main" id="{18CB2E63-D17F-402E-8FE0-60602663D073}"/>
                  </a:ext>
                </a:extLst>
              </p:cNvPr>
              <p:cNvSpPr/>
              <p:nvPr/>
            </p:nvSpPr>
            <p:spPr bwMode="auto">
              <a:xfrm>
                <a:off x="5713413" y="2276476"/>
                <a:ext cx="500063" cy="782638"/>
              </a:xfrm>
              <a:custGeom>
                <a:avLst/>
                <a:gdLst>
                  <a:gd name="T0" fmla="*/ 1237 w 1888"/>
                  <a:gd name="T1" fmla="*/ 0 h 2960"/>
                  <a:gd name="T2" fmla="*/ 922 w 1888"/>
                  <a:gd name="T3" fmla="*/ 2960 h 2960"/>
                  <a:gd name="T4" fmla="*/ 1888 w 1888"/>
                  <a:gd name="T5" fmla="*/ 2321 h 2960"/>
                  <a:gd name="T6" fmla="*/ 1237 w 1888"/>
                  <a:gd name="T7" fmla="*/ 0 h 2960"/>
                </a:gdLst>
                <a:ahLst/>
                <a:cxnLst>
                  <a:cxn ang="0">
                    <a:pos x="T0" y="T1"/>
                  </a:cxn>
                  <a:cxn ang="0">
                    <a:pos x="T2" y="T3"/>
                  </a:cxn>
                  <a:cxn ang="0">
                    <a:pos x="T4" y="T5"/>
                  </a:cxn>
                  <a:cxn ang="0">
                    <a:pos x="T6" y="T7"/>
                  </a:cxn>
                </a:cxnLst>
                <a:rect l="0" t="0" r="r" b="b"/>
                <a:pathLst>
                  <a:path w="1888" h="2960">
                    <a:moveTo>
                      <a:pt x="1237" y="0"/>
                    </a:moveTo>
                    <a:cubicBezTo>
                      <a:pt x="1237" y="0"/>
                      <a:pt x="0" y="907"/>
                      <a:pt x="922" y="2960"/>
                    </a:cubicBezTo>
                    <a:cubicBezTo>
                      <a:pt x="922" y="2960"/>
                      <a:pt x="1179" y="2237"/>
                      <a:pt x="1888" y="2321"/>
                    </a:cubicBezTo>
                    <a:cubicBezTo>
                      <a:pt x="1888" y="2321"/>
                      <a:pt x="1307" y="1954"/>
                      <a:pt x="1237" y="0"/>
                    </a:cubicBezTo>
                    <a:close/>
                  </a:path>
                </a:pathLst>
              </a:custGeom>
              <a:solidFill>
                <a:srgbClr val="E17B38"/>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57" name="íṩľíḋê">
                <a:extLst>
                  <a:ext uri="{FF2B5EF4-FFF2-40B4-BE49-F238E27FC236}">
                    <a16:creationId xmlns:a16="http://schemas.microsoft.com/office/drawing/2014/main" id="{81EA9252-F33A-4947-858C-510ACA7B4E47}"/>
                  </a:ext>
                </a:extLst>
              </p:cNvPr>
              <p:cNvSpPr/>
              <p:nvPr/>
            </p:nvSpPr>
            <p:spPr bwMode="auto">
              <a:xfrm>
                <a:off x="6529388" y="2276476"/>
                <a:ext cx="498475" cy="782638"/>
              </a:xfrm>
              <a:custGeom>
                <a:avLst/>
                <a:gdLst>
                  <a:gd name="T0" fmla="*/ 646 w 1883"/>
                  <a:gd name="T1" fmla="*/ 0 h 2960"/>
                  <a:gd name="T2" fmla="*/ 961 w 1883"/>
                  <a:gd name="T3" fmla="*/ 2960 h 2960"/>
                  <a:gd name="T4" fmla="*/ 0 w 1883"/>
                  <a:gd name="T5" fmla="*/ 2320 h 2960"/>
                  <a:gd name="T6" fmla="*/ 646 w 1883"/>
                  <a:gd name="T7" fmla="*/ 0 h 2960"/>
                </a:gdLst>
                <a:ahLst/>
                <a:cxnLst>
                  <a:cxn ang="0">
                    <a:pos x="T0" y="T1"/>
                  </a:cxn>
                  <a:cxn ang="0">
                    <a:pos x="T2" y="T3"/>
                  </a:cxn>
                  <a:cxn ang="0">
                    <a:pos x="T4" y="T5"/>
                  </a:cxn>
                  <a:cxn ang="0">
                    <a:pos x="T6" y="T7"/>
                  </a:cxn>
                </a:cxnLst>
                <a:rect l="0" t="0" r="r" b="b"/>
                <a:pathLst>
                  <a:path w="1883" h="2960">
                    <a:moveTo>
                      <a:pt x="646" y="0"/>
                    </a:moveTo>
                    <a:cubicBezTo>
                      <a:pt x="646" y="0"/>
                      <a:pt x="1883" y="907"/>
                      <a:pt x="961" y="2960"/>
                    </a:cubicBezTo>
                    <a:cubicBezTo>
                      <a:pt x="961" y="2960"/>
                      <a:pt x="709" y="2237"/>
                      <a:pt x="0" y="2320"/>
                    </a:cubicBezTo>
                    <a:cubicBezTo>
                      <a:pt x="0" y="2320"/>
                      <a:pt x="577" y="1954"/>
                      <a:pt x="646" y="0"/>
                    </a:cubicBezTo>
                    <a:close/>
                  </a:path>
                </a:pathLst>
              </a:custGeom>
              <a:solidFill>
                <a:srgbClr val="E17B38"/>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58" name="íṡľîďe">
                <a:extLst>
                  <a:ext uri="{FF2B5EF4-FFF2-40B4-BE49-F238E27FC236}">
                    <a16:creationId xmlns:a16="http://schemas.microsoft.com/office/drawing/2014/main" id="{7CD7A88E-F0B5-42DF-9B02-0C1A926DC9CA}"/>
                  </a:ext>
                </a:extLst>
              </p:cNvPr>
              <p:cNvSpPr/>
              <p:nvPr/>
            </p:nvSpPr>
            <p:spPr bwMode="auto">
              <a:xfrm>
                <a:off x="6370638" y="1535113"/>
                <a:ext cx="347663" cy="1365250"/>
              </a:xfrm>
              <a:custGeom>
                <a:avLst/>
                <a:gdLst>
                  <a:gd name="T0" fmla="*/ 1253 w 1312"/>
                  <a:gd name="T1" fmla="*/ 2552 h 5161"/>
                  <a:gd name="T2" fmla="*/ 529 w 1312"/>
                  <a:gd name="T3" fmla="*/ 5161 h 5161"/>
                  <a:gd name="T4" fmla="*/ 0 w 1312"/>
                  <a:gd name="T5" fmla="*/ 5156 h 5161"/>
                  <a:gd name="T6" fmla="*/ 4 w 1312"/>
                  <a:gd name="T7" fmla="*/ 0 h 5161"/>
                  <a:gd name="T8" fmla="*/ 922 w 1312"/>
                  <a:gd name="T9" fmla="*/ 0 h 5161"/>
                  <a:gd name="T10" fmla="*/ 1253 w 1312"/>
                  <a:gd name="T11" fmla="*/ 2552 h 5161"/>
                </a:gdLst>
                <a:ahLst/>
                <a:cxnLst>
                  <a:cxn ang="0">
                    <a:pos x="T0" y="T1"/>
                  </a:cxn>
                  <a:cxn ang="0">
                    <a:pos x="T2" y="T3"/>
                  </a:cxn>
                  <a:cxn ang="0">
                    <a:pos x="T4" y="T5"/>
                  </a:cxn>
                  <a:cxn ang="0">
                    <a:pos x="T6" y="T7"/>
                  </a:cxn>
                  <a:cxn ang="0">
                    <a:pos x="T8" y="T9"/>
                  </a:cxn>
                  <a:cxn ang="0">
                    <a:pos x="T10" y="T11"/>
                  </a:cxn>
                </a:cxnLst>
                <a:rect l="0" t="0" r="r" b="b"/>
                <a:pathLst>
                  <a:path w="1312" h="5161">
                    <a:moveTo>
                      <a:pt x="1253" y="2552"/>
                    </a:moveTo>
                    <a:cubicBezTo>
                      <a:pt x="1214" y="4942"/>
                      <a:pt x="529" y="5161"/>
                      <a:pt x="529" y="5161"/>
                    </a:cubicBezTo>
                    <a:cubicBezTo>
                      <a:pt x="0" y="5156"/>
                      <a:pt x="0" y="5156"/>
                      <a:pt x="0" y="5156"/>
                    </a:cubicBezTo>
                    <a:cubicBezTo>
                      <a:pt x="4" y="0"/>
                      <a:pt x="4" y="0"/>
                      <a:pt x="4" y="0"/>
                    </a:cubicBezTo>
                    <a:cubicBezTo>
                      <a:pt x="922" y="0"/>
                      <a:pt x="922" y="0"/>
                      <a:pt x="922" y="0"/>
                    </a:cubicBezTo>
                    <a:cubicBezTo>
                      <a:pt x="1312" y="1089"/>
                      <a:pt x="1253" y="2552"/>
                      <a:pt x="1253" y="2552"/>
                    </a:cubicBezTo>
                    <a:close/>
                  </a:path>
                </a:pathLst>
              </a:custGeom>
              <a:solidFill>
                <a:srgbClr val="51A888"/>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59" name="ïṧļïḓe">
                <a:extLst>
                  <a:ext uri="{FF2B5EF4-FFF2-40B4-BE49-F238E27FC236}">
                    <a16:creationId xmlns:a16="http://schemas.microsoft.com/office/drawing/2014/main" id="{71E719E1-D375-44B6-A882-731104CD3959}"/>
                  </a:ext>
                </a:extLst>
              </p:cNvPr>
              <p:cNvSpPr/>
              <p:nvPr/>
            </p:nvSpPr>
            <p:spPr bwMode="auto">
              <a:xfrm>
                <a:off x="6151563" y="1217613"/>
                <a:ext cx="228600" cy="271463"/>
              </a:xfrm>
              <a:custGeom>
                <a:avLst/>
                <a:gdLst>
                  <a:gd name="T0" fmla="*/ 829 w 863"/>
                  <a:gd name="T1" fmla="*/ 7 h 1023"/>
                  <a:gd name="T2" fmla="*/ 824 w 863"/>
                  <a:gd name="T3" fmla="*/ 8 h 1023"/>
                  <a:gd name="T4" fmla="*/ 815 w 863"/>
                  <a:gd name="T5" fmla="*/ 0 h 1023"/>
                  <a:gd name="T6" fmla="*/ 0 w 863"/>
                  <a:gd name="T7" fmla="*/ 1023 h 1023"/>
                  <a:gd name="T8" fmla="*/ 814 w 863"/>
                  <a:gd name="T9" fmla="*/ 1023 h 1023"/>
                  <a:gd name="T10" fmla="*/ 825 w 863"/>
                  <a:gd name="T11" fmla="*/ 1023 h 1023"/>
                  <a:gd name="T12" fmla="*/ 863 w 863"/>
                  <a:gd name="T13" fmla="*/ 1023 h 1023"/>
                  <a:gd name="T14" fmla="*/ 863 w 863"/>
                  <a:gd name="T15" fmla="*/ 19 h 1023"/>
                  <a:gd name="T16" fmla="*/ 829 w 863"/>
                  <a:gd name="T17" fmla="*/ 7 h 10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63" h="1023">
                    <a:moveTo>
                      <a:pt x="829" y="7"/>
                    </a:moveTo>
                    <a:cubicBezTo>
                      <a:pt x="829" y="7"/>
                      <a:pt x="825" y="8"/>
                      <a:pt x="824" y="8"/>
                    </a:cubicBezTo>
                    <a:cubicBezTo>
                      <a:pt x="820" y="8"/>
                      <a:pt x="815" y="0"/>
                      <a:pt x="815" y="0"/>
                    </a:cubicBezTo>
                    <a:cubicBezTo>
                      <a:pt x="733" y="17"/>
                      <a:pt x="238" y="151"/>
                      <a:pt x="0" y="1023"/>
                    </a:cubicBezTo>
                    <a:cubicBezTo>
                      <a:pt x="814" y="1023"/>
                      <a:pt x="814" y="1023"/>
                      <a:pt x="814" y="1023"/>
                    </a:cubicBezTo>
                    <a:cubicBezTo>
                      <a:pt x="825" y="1023"/>
                      <a:pt x="825" y="1023"/>
                      <a:pt x="825" y="1023"/>
                    </a:cubicBezTo>
                    <a:cubicBezTo>
                      <a:pt x="863" y="1023"/>
                      <a:pt x="863" y="1023"/>
                      <a:pt x="863" y="1023"/>
                    </a:cubicBezTo>
                    <a:cubicBezTo>
                      <a:pt x="863" y="19"/>
                      <a:pt x="863" y="19"/>
                      <a:pt x="863" y="19"/>
                    </a:cubicBezTo>
                    <a:cubicBezTo>
                      <a:pt x="843" y="15"/>
                      <a:pt x="836" y="9"/>
                      <a:pt x="829" y="7"/>
                    </a:cubicBezTo>
                    <a:close/>
                  </a:path>
                </a:pathLst>
              </a:custGeom>
              <a:solidFill>
                <a:srgbClr val="D56648"/>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60" name="îṥľídè">
                <a:extLst>
                  <a:ext uri="{FF2B5EF4-FFF2-40B4-BE49-F238E27FC236}">
                    <a16:creationId xmlns:a16="http://schemas.microsoft.com/office/drawing/2014/main" id="{8D5ECC88-1580-44EA-AB35-7A53B7F46A0E}"/>
                  </a:ext>
                </a:extLst>
              </p:cNvPr>
              <p:cNvSpPr/>
              <p:nvPr/>
            </p:nvSpPr>
            <p:spPr bwMode="auto">
              <a:xfrm>
                <a:off x="6369051" y="1217613"/>
                <a:ext cx="217488" cy="271463"/>
              </a:xfrm>
              <a:custGeom>
                <a:avLst/>
                <a:gdLst>
                  <a:gd name="T0" fmla="*/ 0 w 821"/>
                  <a:gd name="T1" fmla="*/ 0 h 1025"/>
                  <a:gd name="T2" fmla="*/ 6 w 821"/>
                  <a:gd name="T3" fmla="*/ 1025 h 1025"/>
                  <a:gd name="T4" fmla="*/ 821 w 821"/>
                  <a:gd name="T5" fmla="*/ 1025 h 1025"/>
                  <a:gd name="T6" fmla="*/ 0 w 821"/>
                  <a:gd name="T7" fmla="*/ 0 h 1025"/>
                </a:gdLst>
                <a:ahLst/>
                <a:cxnLst>
                  <a:cxn ang="0">
                    <a:pos x="T0" y="T1"/>
                  </a:cxn>
                  <a:cxn ang="0">
                    <a:pos x="T2" y="T3"/>
                  </a:cxn>
                  <a:cxn ang="0">
                    <a:pos x="T4" y="T5"/>
                  </a:cxn>
                  <a:cxn ang="0">
                    <a:pos x="T6" y="T7"/>
                  </a:cxn>
                </a:cxnLst>
                <a:rect l="0" t="0" r="r" b="b"/>
                <a:pathLst>
                  <a:path w="821" h="1025">
                    <a:moveTo>
                      <a:pt x="0" y="0"/>
                    </a:moveTo>
                    <a:cubicBezTo>
                      <a:pt x="6" y="1025"/>
                      <a:pt x="6" y="1025"/>
                      <a:pt x="6" y="1025"/>
                    </a:cubicBezTo>
                    <a:cubicBezTo>
                      <a:pt x="821" y="1025"/>
                      <a:pt x="821" y="1025"/>
                      <a:pt x="821" y="1025"/>
                    </a:cubicBezTo>
                    <a:cubicBezTo>
                      <a:pt x="604" y="233"/>
                      <a:pt x="127" y="41"/>
                      <a:pt x="0" y="0"/>
                    </a:cubicBezTo>
                    <a:close/>
                  </a:path>
                </a:pathLst>
              </a:custGeom>
              <a:solidFill>
                <a:srgbClr val="CC5A28"/>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61" name="íṥľide">
                <a:extLst>
                  <a:ext uri="{FF2B5EF4-FFF2-40B4-BE49-F238E27FC236}">
                    <a16:creationId xmlns:a16="http://schemas.microsoft.com/office/drawing/2014/main" id="{2FB06AF7-777D-4171-B7D4-8A6FC8183139}"/>
                  </a:ext>
                </a:extLst>
              </p:cNvPr>
              <p:cNvSpPr/>
              <p:nvPr/>
            </p:nvSpPr>
            <p:spPr bwMode="auto">
              <a:xfrm>
                <a:off x="6294438" y="2068513"/>
                <a:ext cx="168275" cy="168275"/>
              </a:xfrm>
              <a:custGeom>
                <a:avLst/>
                <a:gdLst>
                  <a:gd name="T0" fmla="*/ 319 w 637"/>
                  <a:gd name="T1" fmla="*/ 0 h 637"/>
                  <a:gd name="T2" fmla="*/ 0 w 637"/>
                  <a:gd name="T3" fmla="*/ 319 h 637"/>
                  <a:gd name="T4" fmla="*/ 319 w 637"/>
                  <a:gd name="T5" fmla="*/ 637 h 637"/>
                  <a:gd name="T6" fmla="*/ 637 w 637"/>
                  <a:gd name="T7" fmla="*/ 319 h 637"/>
                  <a:gd name="T8" fmla="*/ 319 w 637"/>
                  <a:gd name="T9" fmla="*/ 0 h 637"/>
                  <a:gd name="T10" fmla="*/ 531 w 637"/>
                  <a:gd name="T11" fmla="*/ 434 h 637"/>
                  <a:gd name="T12" fmla="*/ 519 w 637"/>
                  <a:gd name="T13" fmla="*/ 454 h 637"/>
                  <a:gd name="T14" fmla="*/ 513 w 637"/>
                  <a:gd name="T15" fmla="*/ 464 h 637"/>
                  <a:gd name="T16" fmla="*/ 498 w 637"/>
                  <a:gd name="T17" fmla="*/ 482 h 637"/>
                  <a:gd name="T18" fmla="*/ 454 w 637"/>
                  <a:gd name="T19" fmla="*/ 520 h 637"/>
                  <a:gd name="T20" fmla="*/ 424 w 637"/>
                  <a:gd name="T21" fmla="*/ 537 h 637"/>
                  <a:gd name="T22" fmla="*/ 319 w 637"/>
                  <a:gd name="T23" fmla="*/ 561 h 637"/>
                  <a:gd name="T24" fmla="*/ 214 w 637"/>
                  <a:gd name="T25" fmla="*/ 537 h 637"/>
                  <a:gd name="T26" fmla="*/ 183 w 637"/>
                  <a:gd name="T27" fmla="*/ 520 h 637"/>
                  <a:gd name="T28" fmla="*/ 156 w 637"/>
                  <a:gd name="T29" fmla="*/ 498 h 637"/>
                  <a:gd name="T30" fmla="*/ 139 w 637"/>
                  <a:gd name="T31" fmla="*/ 482 h 637"/>
                  <a:gd name="T32" fmla="*/ 125 w 637"/>
                  <a:gd name="T33" fmla="*/ 464 h 637"/>
                  <a:gd name="T34" fmla="*/ 118 w 637"/>
                  <a:gd name="T35" fmla="*/ 454 h 637"/>
                  <a:gd name="T36" fmla="*/ 106 w 637"/>
                  <a:gd name="T37" fmla="*/ 434 h 637"/>
                  <a:gd name="T38" fmla="*/ 76 w 637"/>
                  <a:gd name="T39" fmla="*/ 319 h 637"/>
                  <a:gd name="T40" fmla="*/ 118 w 637"/>
                  <a:gd name="T41" fmla="*/ 184 h 637"/>
                  <a:gd name="T42" fmla="*/ 125 w 637"/>
                  <a:gd name="T43" fmla="*/ 174 h 637"/>
                  <a:gd name="T44" fmla="*/ 139 w 637"/>
                  <a:gd name="T45" fmla="*/ 156 h 637"/>
                  <a:gd name="T46" fmla="*/ 156 w 637"/>
                  <a:gd name="T47" fmla="*/ 140 h 637"/>
                  <a:gd name="T48" fmla="*/ 183 w 637"/>
                  <a:gd name="T49" fmla="*/ 118 h 637"/>
                  <a:gd name="T50" fmla="*/ 214 w 637"/>
                  <a:gd name="T51" fmla="*/ 101 h 637"/>
                  <a:gd name="T52" fmla="*/ 235 w 637"/>
                  <a:gd name="T53" fmla="*/ 92 h 637"/>
                  <a:gd name="T54" fmla="*/ 258 w 637"/>
                  <a:gd name="T55" fmla="*/ 84 h 637"/>
                  <a:gd name="T56" fmla="*/ 319 w 637"/>
                  <a:gd name="T57" fmla="*/ 77 h 637"/>
                  <a:gd name="T58" fmla="*/ 379 w 637"/>
                  <a:gd name="T59" fmla="*/ 84 h 637"/>
                  <a:gd name="T60" fmla="*/ 402 w 637"/>
                  <a:gd name="T61" fmla="*/ 92 h 637"/>
                  <a:gd name="T62" fmla="*/ 424 w 637"/>
                  <a:gd name="T63" fmla="*/ 101 h 637"/>
                  <a:gd name="T64" fmla="*/ 454 w 637"/>
                  <a:gd name="T65" fmla="*/ 118 h 637"/>
                  <a:gd name="T66" fmla="*/ 498 w 637"/>
                  <a:gd name="T67" fmla="*/ 156 h 637"/>
                  <a:gd name="T68" fmla="*/ 513 w 637"/>
                  <a:gd name="T69" fmla="*/ 174 h 637"/>
                  <a:gd name="T70" fmla="*/ 519 w 637"/>
                  <a:gd name="T71" fmla="*/ 184 h 637"/>
                  <a:gd name="T72" fmla="*/ 561 w 637"/>
                  <a:gd name="T73" fmla="*/ 319 h 637"/>
                  <a:gd name="T74" fmla="*/ 531 w 637"/>
                  <a:gd name="T75" fmla="*/ 434 h 6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37" h="637">
                    <a:moveTo>
                      <a:pt x="319" y="0"/>
                    </a:moveTo>
                    <a:cubicBezTo>
                      <a:pt x="143" y="0"/>
                      <a:pt x="0" y="143"/>
                      <a:pt x="0" y="319"/>
                    </a:cubicBezTo>
                    <a:cubicBezTo>
                      <a:pt x="0" y="495"/>
                      <a:pt x="143" y="637"/>
                      <a:pt x="319" y="637"/>
                    </a:cubicBezTo>
                    <a:cubicBezTo>
                      <a:pt x="494" y="637"/>
                      <a:pt x="637" y="495"/>
                      <a:pt x="637" y="319"/>
                    </a:cubicBezTo>
                    <a:cubicBezTo>
                      <a:pt x="637" y="143"/>
                      <a:pt x="494" y="0"/>
                      <a:pt x="319" y="0"/>
                    </a:cubicBezTo>
                    <a:close/>
                    <a:moveTo>
                      <a:pt x="531" y="434"/>
                    </a:moveTo>
                    <a:cubicBezTo>
                      <a:pt x="528" y="441"/>
                      <a:pt x="524" y="448"/>
                      <a:pt x="519" y="454"/>
                    </a:cubicBezTo>
                    <a:cubicBezTo>
                      <a:pt x="517" y="457"/>
                      <a:pt x="515" y="461"/>
                      <a:pt x="513" y="464"/>
                    </a:cubicBezTo>
                    <a:cubicBezTo>
                      <a:pt x="508" y="470"/>
                      <a:pt x="503" y="476"/>
                      <a:pt x="498" y="482"/>
                    </a:cubicBezTo>
                    <a:cubicBezTo>
                      <a:pt x="485" y="496"/>
                      <a:pt x="470" y="509"/>
                      <a:pt x="454" y="520"/>
                    </a:cubicBezTo>
                    <a:cubicBezTo>
                      <a:pt x="444" y="526"/>
                      <a:pt x="434" y="532"/>
                      <a:pt x="424" y="537"/>
                    </a:cubicBezTo>
                    <a:cubicBezTo>
                      <a:pt x="392" y="552"/>
                      <a:pt x="356" y="561"/>
                      <a:pt x="319" y="561"/>
                    </a:cubicBezTo>
                    <a:cubicBezTo>
                      <a:pt x="281" y="561"/>
                      <a:pt x="245" y="552"/>
                      <a:pt x="214" y="537"/>
                    </a:cubicBezTo>
                    <a:cubicBezTo>
                      <a:pt x="203" y="532"/>
                      <a:pt x="193" y="526"/>
                      <a:pt x="183" y="520"/>
                    </a:cubicBezTo>
                    <a:cubicBezTo>
                      <a:pt x="174" y="513"/>
                      <a:pt x="164" y="506"/>
                      <a:pt x="156" y="498"/>
                    </a:cubicBezTo>
                    <a:cubicBezTo>
                      <a:pt x="150" y="493"/>
                      <a:pt x="145" y="487"/>
                      <a:pt x="139" y="482"/>
                    </a:cubicBezTo>
                    <a:cubicBezTo>
                      <a:pt x="134" y="476"/>
                      <a:pt x="129" y="470"/>
                      <a:pt x="125" y="464"/>
                    </a:cubicBezTo>
                    <a:cubicBezTo>
                      <a:pt x="122" y="461"/>
                      <a:pt x="120" y="457"/>
                      <a:pt x="118" y="454"/>
                    </a:cubicBezTo>
                    <a:cubicBezTo>
                      <a:pt x="113" y="448"/>
                      <a:pt x="109" y="441"/>
                      <a:pt x="106" y="434"/>
                    </a:cubicBezTo>
                    <a:cubicBezTo>
                      <a:pt x="87" y="400"/>
                      <a:pt x="76" y="361"/>
                      <a:pt x="76" y="319"/>
                    </a:cubicBezTo>
                    <a:cubicBezTo>
                      <a:pt x="76" y="269"/>
                      <a:pt x="92" y="222"/>
                      <a:pt x="118" y="184"/>
                    </a:cubicBezTo>
                    <a:cubicBezTo>
                      <a:pt x="120" y="180"/>
                      <a:pt x="122" y="177"/>
                      <a:pt x="125" y="174"/>
                    </a:cubicBezTo>
                    <a:cubicBezTo>
                      <a:pt x="129" y="168"/>
                      <a:pt x="134" y="162"/>
                      <a:pt x="139" y="156"/>
                    </a:cubicBezTo>
                    <a:cubicBezTo>
                      <a:pt x="145" y="150"/>
                      <a:pt x="150" y="145"/>
                      <a:pt x="156" y="140"/>
                    </a:cubicBezTo>
                    <a:cubicBezTo>
                      <a:pt x="164" y="132"/>
                      <a:pt x="174" y="125"/>
                      <a:pt x="183" y="118"/>
                    </a:cubicBezTo>
                    <a:cubicBezTo>
                      <a:pt x="193" y="112"/>
                      <a:pt x="203" y="106"/>
                      <a:pt x="214" y="101"/>
                    </a:cubicBezTo>
                    <a:cubicBezTo>
                      <a:pt x="221" y="97"/>
                      <a:pt x="228" y="94"/>
                      <a:pt x="235" y="92"/>
                    </a:cubicBezTo>
                    <a:cubicBezTo>
                      <a:pt x="243" y="89"/>
                      <a:pt x="250" y="86"/>
                      <a:pt x="258" y="84"/>
                    </a:cubicBezTo>
                    <a:cubicBezTo>
                      <a:pt x="277" y="79"/>
                      <a:pt x="298" y="77"/>
                      <a:pt x="319" y="77"/>
                    </a:cubicBezTo>
                    <a:cubicBezTo>
                      <a:pt x="339" y="77"/>
                      <a:pt x="360" y="79"/>
                      <a:pt x="379" y="84"/>
                    </a:cubicBezTo>
                    <a:cubicBezTo>
                      <a:pt x="387" y="86"/>
                      <a:pt x="394" y="89"/>
                      <a:pt x="402" y="92"/>
                    </a:cubicBezTo>
                    <a:cubicBezTo>
                      <a:pt x="409" y="94"/>
                      <a:pt x="416" y="97"/>
                      <a:pt x="424" y="101"/>
                    </a:cubicBezTo>
                    <a:cubicBezTo>
                      <a:pt x="434" y="106"/>
                      <a:pt x="444" y="112"/>
                      <a:pt x="454" y="118"/>
                    </a:cubicBezTo>
                    <a:cubicBezTo>
                      <a:pt x="470" y="129"/>
                      <a:pt x="485" y="142"/>
                      <a:pt x="498" y="156"/>
                    </a:cubicBezTo>
                    <a:cubicBezTo>
                      <a:pt x="503" y="162"/>
                      <a:pt x="508" y="168"/>
                      <a:pt x="513" y="174"/>
                    </a:cubicBezTo>
                    <a:cubicBezTo>
                      <a:pt x="515" y="177"/>
                      <a:pt x="517" y="180"/>
                      <a:pt x="519" y="184"/>
                    </a:cubicBezTo>
                    <a:cubicBezTo>
                      <a:pt x="545" y="222"/>
                      <a:pt x="561" y="269"/>
                      <a:pt x="561" y="319"/>
                    </a:cubicBezTo>
                    <a:cubicBezTo>
                      <a:pt x="561" y="361"/>
                      <a:pt x="550" y="400"/>
                      <a:pt x="531" y="434"/>
                    </a:cubicBezTo>
                    <a:close/>
                  </a:path>
                </a:pathLst>
              </a:custGeom>
              <a:solidFill>
                <a:srgbClr val="F6F4F4"/>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62" name="ïşľîḓe">
                <a:extLst>
                  <a:ext uri="{FF2B5EF4-FFF2-40B4-BE49-F238E27FC236}">
                    <a16:creationId xmlns:a16="http://schemas.microsoft.com/office/drawing/2014/main" id="{1A604751-1261-452F-AF76-E6E1D55662AA}"/>
                  </a:ext>
                </a:extLst>
              </p:cNvPr>
              <p:cNvSpPr/>
              <p:nvPr/>
            </p:nvSpPr>
            <p:spPr bwMode="auto">
              <a:xfrm>
                <a:off x="6311901" y="1757363"/>
                <a:ext cx="131763" cy="131763"/>
              </a:xfrm>
              <a:custGeom>
                <a:avLst/>
                <a:gdLst>
                  <a:gd name="T0" fmla="*/ 248 w 495"/>
                  <a:gd name="T1" fmla="*/ 0 h 495"/>
                  <a:gd name="T2" fmla="*/ 0 w 495"/>
                  <a:gd name="T3" fmla="*/ 247 h 495"/>
                  <a:gd name="T4" fmla="*/ 248 w 495"/>
                  <a:gd name="T5" fmla="*/ 495 h 495"/>
                  <a:gd name="T6" fmla="*/ 495 w 495"/>
                  <a:gd name="T7" fmla="*/ 247 h 495"/>
                  <a:gd name="T8" fmla="*/ 248 w 495"/>
                  <a:gd name="T9" fmla="*/ 0 h 495"/>
                  <a:gd name="T10" fmla="*/ 413 w 495"/>
                  <a:gd name="T11" fmla="*/ 337 h 495"/>
                  <a:gd name="T12" fmla="*/ 403 w 495"/>
                  <a:gd name="T13" fmla="*/ 353 h 495"/>
                  <a:gd name="T14" fmla="*/ 398 w 495"/>
                  <a:gd name="T15" fmla="*/ 360 h 495"/>
                  <a:gd name="T16" fmla="*/ 387 w 495"/>
                  <a:gd name="T17" fmla="*/ 374 h 495"/>
                  <a:gd name="T18" fmla="*/ 353 w 495"/>
                  <a:gd name="T19" fmla="*/ 403 h 495"/>
                  <a:gd name="T20" fmla="*/ 329 w 495"/>
                  <a:gd name="T21" fmla="*/ 417 h 495"/>
                  <a:gd name="T22" fmla="*/ 248 w 495"/>
                  <a:gd name="T23" fmla="*/ 436 h 495"/>
                  <a:gd name="T24" fmla="*/ 166 w 495"/>
                  <a:gd name="T25" fmla="*/ 417 h 495"/>
                  <a:gd name="T26" fmla="*/ 142 w 495"/>
                  <a:gd name="T27" fmla="*/ 403 h 495"/>
                  <a:gd name="T28" fmla="*/ 121 w 495"/>
                  <a:gd name="T29" fmla="*/ 387 h 495"/>
                  <a:gd name="T30" fmla="*/ 108 w 495"/>
                  <a:gd name="T31" fmla="*/ 374 h 495"/>
                  <a:gd name="T32" fmla="*/ 97 w 495"/>
                  <a:gd name="T33" fmla="*/ 360 h 495"/>
                  <a:gd name="T34" fmla="*/ 92 w 495"/>
                  <a:gd name="T35" fmla="*/ 353 h 495"/>
                  <a:gd name="T36" fmla="*/ 82 w 495"/>
                  <a:gd name="T37" fmla="*/ 337 h 495"/>
                  <a:gd name="T38" fmla="*/ 60 w 495"/>
                  <a:gd name="T39" fmla="*/ 247 h 495"/>
                  <a:gd name="T40" fmla="*/ 92 w 495"/>
                  <a:gd name="T41" fmla="*/ 142 h 495"/>
                  <a:gd name="T42" fmla="*/ 97 w 495"/>
                  <a:gd name="T43" fmla="*/ 135 h 495"/>
                  <a:gd name="T44" fmla="*/ 108 w 495"/>
                  <a:gd name="T45" fmla="*/ 121 h 495"/>
                  <a:gd name="T46" fmla="*/ 121 w 495"/>
                  <a:gd name="T47" fmla="*/ 108 h 495"/>
                  <a:gd name="T48" fmla="*/ 142 w 495"/>
                  <a:gd name="T49" fmla="*/ 92 h 495"/>
                  <a:gd name="T50" fmla="*/ 166 w 495"/>
                  <a:gd name="T51" fmla="*/ 78 h 495"/>
                  <a:gd name="T52" fmla="*/ 183 w 495"/>
                  <a:gd name="T53" fmla="*/ 71 h 495"/>
                  <a:gd name="T54" fmla="*/ 201 w 495"/>
                  <a:gd name="T55" fmla="*/ 65 h 495"/>
                  <a:gd name="T56" fmla="*/ 248 w 495"/>
                  <a:gd name="T57" fmla="*/ 59 h 495"/>
                  <a:gd name="T58" fmla="*/ 295 w 495"/>
                  <a:gd name="T59" fmla="*/ 65 h 495"/>
                  <a:gd name="T60" fmla="*/ 312 w 495"/>
                  <a:gd name="T61" fmla="*/ 71 h 495"/>
                  <a:gd name="T62" fmla="*/ 329 w 495"/>
                  <a:gd name="T63" fmla="*/ 78 h 495"/>
                  <a:gd name="T64" fmla="*/ 353 w 495"/>
                  <a:gd name="T65" fmla="*/ 92 h 495"/>
                  <a:gd name="T66" fmla="*/ 387 w 495"/>
                  <a:gd name="T67" fmla="*/ 121 h 495"/>
                  <a:gd name="T68" fmla="*/ 398 w 495"/>
                  <a:gd name="T69" fmla="*/ 135 h 495"/>
                  <a:gd name="T70" fmla="*/ 403 w 495"/>
                  <a:gd name="T71" fmla="*/ 142 h 495"/>
                  <a:gd name="T72" fmla="*/ 436 w 495"/>
                  <a:gd name="T73" fmla="*/ 247 h 495"/>
                  <a:gd name="T74" fmla="*/ 413 w 495"/>
                  <a:gd name="T75" fmla="*/ 337 h 4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95" h="495">
                    <a:moveTo>
                      <a:pt x="248" y="0"/>
                    </a:moveTo>
                    <a:cubicBezTo>
                      <a:pt x="111" y="0"/>
                      <a:pt x="0" y="111"/>
                      <a:pt x="0" y="247"/>
                    </a:cubicBezTo>
                    <a:cubicBezTo>
                      <a:pt x="0" y="384"/>
                      <a:pt x="111" y="495"/>
                      <a:pt x="248" y="495"/>
                    </a:cubicBezTo>
                    <a:cubicBezTo>
                      <a:pt x="384" y="495"/>
                      <a:pt x="495" y="384"/>
                      <a:pt x="495" y="247"/>
                    </a:cubicBezTo>
                    <a:cubicBezTo>
                      <a:pt x="495" y="111"/>
                      <a:pt x="384" y="0"/>
                      <a:pt x="248" y="0"/>
                    </a:cubicBezTo>
                    <a:close/>
                    <a:moveTo>
                      <a:pt x="413" y="337"/>
                    </a:moveTo>
                    <a:cubicBezTo>
                      <a:pt x="410" y="342"/>
                      <a:pt x="407" y="348"/>
                      <a:pt x="403" y="353"/>
                    </a:cubicBezTo>
                    <a:cubicBezTo>
                      <a:pt x="402" y="355"/>
                      <a:pt x="400" y="358"/>
                      <a:pt x="398" y="360"/>
                    </a:cubicBezTo>
                    <a:cubicBezTo>
                      <a:pt x="395" y="365"/>
                      <a:pt x="391" y="369"/>
                      <a:pt x="387" y="374"/>
                    </a:cubicBezTo>
                    <a:cubicBezTo>
                      <a:pt x="377" y="385"/>
                      <a:pt x="365" y="395"/>
                      <a:pt x="353" y="403"/>
                    </a:cubicBezTo>
                    <a:cubicBezTo>
                      <a:pt x="345" y="408"/>
                      <a:pt x="337" y="413"/>
                      <a:pt x="329" y="417"/>
                    </a:cubicBezTo>
                    <a:cubicBezTo>
                      <a:pt x="304" y="429"/>
                      <a:pt x="277" y="436"/>
                      <a:pt x="248" y="436"/>
                    </a:cubicBezTo>
                    <a:cubicBezTo>
                      <a:pt x="218" y="436"/>
                      <a:pt x="191" y="429"/>
                      <a:pt x="166" y="417"/>
                    </a:cubicBezTo>
                    <a:cubicBezTo>
                      <a:pt x="158" y="413"/>
                      <a:pt x="150" y="408"/>
                      <a:pt x="142" y="403"/>
                    </a:cubicBezTo>
                    <a:cubicBezTo>
                      <a:pt x="135" y="398"/>
                      <a:pt x="128" y="393"/>
                      <a:pt x="121" y="387"/>
                    </a:cubicBezTo>
                    <a:cubicBezTo>
                      <a:pt x="117" y="383"/>
                      <a:pt x="112" y="378"/>
                      <a:pt x="108" y="374"/>
                    </a:cubicBezTo>
                    <a:cubicBezTo>
                      <a:pt x="104" y="369"/>
                      <a:pt x="100" y="365"/>
                      <a:pt x="97" y="360"/>
                    </a:cubicBezTo>
                    <a:cubicBezTo>
                      <a:pt x="95" y="358"/>
                      <a:pt x="93" y="355"/>
                      <a:pt x="92" y="353"/>
                    </a:cubicBezTo>
                    <a:cubicBezTo>
                      <a:pt x="88" y="348"/>
                      <a:pt x="85" y="342"/>
                      <a:pt x="82" y="337"/>
                    </a:cubicBezTo>
                    <a:cubicBezTo>
                      <a:pt x="68" y="310"/>
                      <a:pt x="60" y="280"/>
                      <a:pt x="60" y="247"/>
                    </a:cubicBezTo>
                    <a:cubicBezTo>
                      <a:pt x="60" y="209"/>
                      <a:pt x="71" y="172"/>
                      <a:pt x="92" y="142"/>
                    </a:cubicBezTo>
                    <a:cubicBezTo>
                      <a:pt x="93" y="140"/>
                      <a:pt x="95" y="137"/>
                      <a:pt x="97" y="135"/>
                    </a:cubicBezTo>
                    <a:cubicBezTo>
                      <a:pt x="100" y="130"/>
                      <a:pt x="104" y="125"/>
                      <a:pt x="108" y="121"/>
                    </a:cubicBezTo>
                    <a:cubicBezTo>
                      <a:pt x="112" y="117"/>
                      <a:pt x="117" y="112"/>
                      <a:pt x="121" y="108"/>
                    </a:cubicBezTo>
                    <a:cubicBezTo>
                      <a:pt x="128" y="102"/>
                      <a:pt x="135" y="97"/>
                      <a:pt x="142" y="92"/>
                    </a:cubicBezTo>
                    <a:cubicBezTo>
                      <a:pt x="150" y="86"/>
                      <a:pt x="158" y="82"/>
                      <a:pt x="166" y="78"/>
                    </a:cubicBezTo>
                    <a:cubicBezTo>
                      <a:pt x="172" y="75"/>
                      <a:pt x="177" y="73"/>
                      <a:pt x="183" y="71"/>
                    </a:cubicBezTo>
                    <a:cubicBezTo>
                      <a:pt x="189" y="69"/>
                      <a:pt x="195" y="67"/>
                      <a:pt x="201" y="65"/>
                    </a:cubicBezTo>
                    <a:cubicBezTo>
                      <a:pt x="216" y="61"/>
                      <a:pt x="231" y="59"/>
                      <a:pt x="248" y="59"/>
                    </a:cubicBezTo>
                    <a:cubicBezTo>
                      <a:pt x="264" y="59"/>
                      <a:pt x="280" y="61"/>
                      <a:pt x="295" y="65"/>
                    </a:cubicBezTo>
                    <a:cubicBezTo>
                      <a:pt x="301" y="67"/>
                      <a:pt x="306" y="69"/>
                      <a:pt x="312" y="71"/>
                    </a:cubicBezTo>
                    <a:cubicBezTo>
                      <a:pt x="318" y="73"/>
                      <a:pt x="324" y="75"/>
                      <a:pt x="329" y="78"/>
                    </a:cubicBezTo>
                    <a:cubicBezTo>
                      <a:pt x="337" y="82"/>
                      <a:pt x="345" y="86"/>
                      <a:pt x="353" y="92"/>
                    </a:cubicBezTo>
                    <a:cubicBezTo>
                      <a:pt x="365" y="100"/>
                      <a:pt x="377" y="110"/>
                      <a:pt x="387" y="121"/>
                    </a:cubicBezTo>
                    <a:cubicBezTo>
                      <a:pt x="391" y="125"/>
                      <a:pt x="395" y="130"/>
                      <a:pt x="398" y="135"/>
                    </a:cubicBezTo>
                    <a:cubicBezTo>
                      <a:pt x="400" y="137"/>
                      <a:pt x="402" y="140"/>
                      <a:pt x="403" y="142"/>
                    </a:cubicBezTo>
                    <a:cubicBezTo>
                      <a:pt x="424" y="172"/>
                      <a:pt x="436" y="209"/>
                      <a:pt x="436" y="247"/>
                    </a:cubicBezTo>
                    <a:cubicBezTo>
                      <a:pt x="436" y="280"/>
                      <a:pt x="427" y="310"/>
                      <a:pt x="413" y="337"/>
                    </a:cubicBezTo>
                    <a:close/>
                  </a:path>
                </a:pathLst>
              </a:custGeom>
              <a:solidFill>
                <a:srgbClr val="F6F4F4"/>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63" name="iṣḻîďe">
                <a:extLst>
                  <a:ext uri="{FF2B5EF4-FFF2-40B4-BE49-F238E27FC236}">
                    <a16:creationId xmlns:a16="http://schemas.microsoft.com/office/drawing/2014/main" id="{31E603EC-5CDC-4205-9752-C4FBE1131AA0}"/>
                  </a:ext>
                </a:extLst>
              </p:cNvPr>
              <p:cNvSpPr/>
              <p:nvPr/>
            </p:nvSpPr>
            <p:spPr bwMode="auto">
              <a:xfrm>
                <a:off x="6230938" y="2901951"/>
                <a:ext cx="280988" cy="127000"/>
              </a:xfrm>
              <a:custGeom>
                <a:avLst/>
                <a:gdLst>
                  <a:gd name="T0" fmla="*/ 536 w 1066"/>
                  <a:gd name="T1" fmla="*/ 0 h 478"/>
                  <a:gd name="T2" fmla="*/ 0 w 1066"/>
                  <a:gd name="T3" fmla="*/ 0 h 478"/>
                  <a:gd name="T4" fmla="*/ 536 w 1066"/>
                  <a:gd name="T5" fmla="*/ 478 h 478"/>
                  <a:gd name="T6" fmla="*/ 1066 w 1066"/>
                  <a:gd name="T7" fmla="*/ 0 h 478"/>
                  <a:gd name="T8" fmla="*/ 536 w 1066"/>
                  <a:gd name="T9" fmla="*/ 0 h 478"/>
                </a:gdLst>
                <a:ahLst/>
                <a:cxnLst>
                  <a:cxn ang="0">
                    <a:pos x="T0" y="T1"/>
                  </a:cxn>
                  <a:cxn ang="0">
                    <a:pos x="T2" y="T3"/>
                  </a:cxn>
                  <a:cxn ang="0">
                    <a:pos x="T4" y="T5"/>
                  </a:cxn>
                  <a:cxn ang="0">
                    <a:pos x="T6" y="T7"/>
                  </a:cxn>
                  <a:cxn ang="0">
                    <a:pos x="T8" y="T9"/>
                  </a:cxn>
                </a:cxnLst>
                <a:rect l="0" t="0" r="r" b="b"/>
                <a:pathLst>
                  <a:path w="1066" h="478">
                    <a:moveTo>
                      <a:pt x="536" y="0"/>
                    </a:moveTo>
                    <a:cubicBezTo>
                      <a:pt x="0" y="0"/>
                      <a:pt x="0" y="0"/>
                      <a:pt x="0" y="0"/>
                    </a:cubicBezTo>
                    <a:cubicBezTo>
                      <a:pt x="0" y="0"/>
                      <a:pt x="71" y="390"/>
                      <a:pt x="536" y="478"/>
                    </a:cubicBezTo>
                    <a:cubicBezTo>
                      <a:pt x="1000" y="390"/>
                      <a:pt x="1066" y="0"/>
                      <a:pt x="1066" y="0"/>
                    </a:cubicBezTo>
                    <a:lnTo>
                      <a:pt x="536" y="0"/>
                    </a:lnTo>
                    <a:close/>
                  </a:path>
                </a:pathLst>
              </a:custGeom>
              <a:solidFill>
                <a:srgbClr val="73BCC4"/>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64" name="îSľiḋè">
                <a:extLst>
                  <a:ext uri="{FF2B5EF4-FFF2-40B4-BE49-F238E27FC236}">
                    <a16:creationId xmlns:a16="http://schemas.microsoft.com/office/drawing/2014/main" id="{B2C2BF93-6719-4C64-BC58-E8CC32F48495}"/>
                  </a:ext>
                </a:extLst>
              </p:cNvPr>
              <p:cNvSpPr/>
              <p:nvPr/>
            </p:nvSpPr>
            <p:spPr bwMode="auto">
              <a:xfrm>
                <a:off x="6369051" y="2901951"/>
                <a:ext cx="142875" cy="125413"/>
              </a:xfrm>
              <a:custGeom>
                <a:avLst/>
                <a:gdLst>
                  <a:gd name="T0" fmla="*/ 539 w 539"/>
                  <a:gd name="T1" fmla="*/ 0 h 474"/>
                  <a:gd name="T2" fmla="*/ 9 w 539"/>
                  <a:gd name="T3" fmla="*/ 0 h 474"/>
                  <a:gd name="T4" fmla="*/ 0 w 539"/>
                  <a:gd name="T5" fmla="*/ 0 h 474"/>
                  <a:gd name="T6" fmla="*/ 0 w 539"/>
                  <a:gd name="T7" fmla="*/ 470 h 474"/>
                  <a:gd name="T8" fmla="*/ 6 w 539"/>
                  <a:gd name="T9" fmla="*/ 474 h 474"/>
                  <a:gd name="T10" fmla="*/ 539 w 539"/>
                  <a:gd name="T11" fmla="*/ 0 h 474"/>
                </a:gdLst>
                <a:ahLst/>
                <a:cxnLst>
                  <a:cxn ang="0">
                    <a:pos x="T0" y="T1"/>
                  </a:cxn>
                  <a:cxn ang="0">
                    <a:pos x="T2" y="T3"/>
                  </a:cxn>
                  <a:cxn ang="0">
                    <a:pos x="T4" y="T5"/>
                  </a:cxn>
                  <a:cxn ang="0">
                    <a:pos x="T6" y="T7"/>
                  </a:cxn>
                  <a:cxn ang="0">
                    <a:pos x="T8" y="T9"/>
                  </a:cxn>
                  <a:cxn ang="0">
                    <a:pos x="T10" y="T11"/>
                  </a:cxn>
                </a:cxnLst>
                <a:rect l="0" t="0" r="r" b="b"/>
                <a:pathLst>
                  <a:path w="539" h="474">
                    <a:moveTo>
                      <a:pt x="539" y="0"/>
                    </a:moveTo>
                    <a:cubicBezTo>
                      <a:pt x="9" y="0"/>
                      <a:pt x="9" y="0"/>
                      <a:pt x="9" y="0"/>
                    </a:cubicBezTo>
                    <a:cubicBezTo>
                      <a:pt x="0" y="0"/>
                      <a:pt x="0" y="0"/>
                      <a:pt x="0" y="0"/>
                    </a:cubicBezTo>
                    <a:cubicBezTo>
                      <a:pt x="0" y="470"/>
                      <a:pt x="0" y="470"/>
                      <a:pt x="0" y="470"/>
                    </a:cubicBezTo>
                    <a:cubicBezTo>
                      <a:pt x="0" y="470"/>
                      <a:pt x="5" y="474"/>
                      <a:pt x="6" y="474"/>
                    </a:cubicBezTo>
                    <a:cubicBezTo>
                      <a:pt x="470" y="387"/>
                      <a:pt x="539" y="0"/>
                      <a:pt x="539" y="0"/>
                    </a:cubicBezTo>
                    <a:close/>
                  </a:path>
                </a:pathLst>
              </a:custGeom>
              <a:solidFill>
                <a:srgbClr val="5E9BA3"/>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65" name="ïSlîḑê">
                <a:extLst>
                  <a:ext uri="{FF2B5EF4-FFF2-40B4-BE49-F238E27FC236}">
                    <a16:creationId xmlns:a16="http://schemas.microsoft.com/office/drawing/2014/main" id="{707C1A30-B72B-46FB-83D1-D494FEE34F89}"/>
                  </a:ext>
                </a:extLst>
              </p:cNvPr>
              <p:cNvSpPr/>
              <p:nvPr/>
            </p:nvSpPr>
            <p:spPr bwMode="auto">
              <a:xfrm>
                <a:off x="5046663" y="3059113"/>
                <a:ext cx="2878138" cy="2330450"/>
              </a:xfrm>
              <a:custGeom>
                <a:avLst/>
                <a:gdLst>
                  <a:gd name="T0" fmla="*/ 10869 w 10869"/>
                  <a:gd name="T1" fmla="*/ 7713 h 8814"/>
                  <a:gd name="T2" fmla="*/ 10414 w 10869"/>
                  <a:gd name="T3" fmla="*/ 8814 h 8814"/>
                  <a:gd name="T4" fmla="*/ 662 w 10869"/>
                  <a:gd name="T5" fmla="*/ 8814 h 8814"/>
                  <a:gd name="T6" fmla="*/ 0 w 10869"/>
                  <a:gd name="T7" fmla="*/ 7713 h 8814"/>
                  <a:gd name="T8" fmla="*/ 711 w 10869"/>
                  <a:gd name="T9" fmla="*/ 6583 h 8814"/>
                  <a:gd name="T10" fmla="*/ 2056 w 10869"/>
                  <a:gd name="T11" fmla="*/ 5455 h 8814"/>
                  <a:gd name="T12" fmla="*/ 2996 w 10869"/>
                  <a:gd name="T13" fmla="*/ 5814 h 8814"/>
                  <a:gd name="T14" fmla="*/ 3900 w 10869"/>
                  <a:gd name="T15" fmla="*/ 4307 h 8814"/>
                  <a:gd name="T16" fmla="*/ 4594 w 10869"/>
                  <a:gd name="T17" fmla="*/ 0 h 8814"/>
                  <a:gd name="T18" fmla="*/ 5535 w 10869"/>
                  <a:gd name="T19" fmla="*/ 0 h 8814"/>
                  <a:gd name="T20" fmla="*/ 6274 w 10869"/>
                  <a:gd name="T21" fmla="*/ 4731 h 8814"/>
                  <a:gd name="T22" fmla="*/ 6678 w 10869"/>
                  <a:gd name="T23" fmla="*/ 5851 h 8814"/>
                  <a:gd name="T24" fmla="*/ 6673 w 10869"/>
                  <a:gd name="T25" fmla="*/ 5974 h 8814"/>
                  <a:gd name="T26" fmla="*/ 7659 w 10869"/>
                  <a:gd name="T27" fmla="*/ 5532 h 8814"/>
                  <a:gd name="T28" fmla="*/ 8812 w 10869"/>
                  <a:gd name="T29" fmla="*/ 6226 h 8814"/>
                  <a:gd name="T30" fmla="*/ 9302 w 10869"/>
                  <a:gd name="T31" fmla="*/ 6146 h 8814"/>
                  <a:gd name="T32" fmla="*/ 10869 w 10869"/>
                  <a:gd name="T33" fmla="*/ 7713 h 88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869" h="8814">
                    <a:moveTo>
                      <a:pt x="10869" y="7713"/>
                    </a:moveTo>
                    <a:cubicBezTo>
                      <a:pt x="10869" y="8144"/>
                      <a:pt x="10695" y="8532"/>
                      <a:pt x="10414" y="8814"/>
                    </a:cubicBezTo>
                    <a:cubicBezTo>
                      <a:pt x="662" y="8814"/>
                      <a:pt x="662" y="8814"/>
                      <a:pt x="662" y="8814"/>
                    </a:cubicBezTo>
                    <a:cubicBezTo>
                      <a:pt x="265" y="8588"/>
                      <a:pt x="0" y="8182"/>
                      <a:pt x="0" y="7713"/>
                    </a:cubicBezTo>
                    <a:cubicBezTo>
                      <a:pt x="0" y="7224"/>
                      <a:pt x="288" y="6800"/>
                      <a:pt x="711" y="6583"/>
                    </a:cubicBezTo>
                    <a:cubicBezTo>
                      <a:pt x="792" y="5947"/>
                      <a:pt x="1363" y="5455"/>
                      <a:pt x="2056" y="5455"/>
                    </a:cubicBezTo>
                    <a:cubicBezTo>
                      <a:pt x="2421" y="5455"/>
                      <a:pt x="2752" y="5592"/>
                      <a:pt x="2996" y="5814"/>
                    </a:cubicBezTo>
                    <a:cubicBezTo>
                      <a:pt x="3009" y="5173"/>
                      <a:pt x="3369" y="4613"/>
                      <a:pt x="3900" y="4307"/>
                    </a:cubicBezTo>
                    <a:cubicBezTo>
                      <a:pt x="4594" y="0"/>
                      <a:pt x="4594" y="0"/>
                      <a:pt x="4594" y="0"/>
                    </a:cubicBezTo>
                    <a:cubicBezTo>
                      <a:pt x="5535" y="0"/>
                      <a:pt x="5535" y="0"/>
                      <a:pt x="5535" y="0"/>
                    </a:cubicBezTo>
                    <a:cubicBezTo>
                      <a:pt x="6274" y="4731"/>
                      <a:pt x="6274" y="4731"/>
                      <a:pt x="6274" y="4731"/>
                    </a:cubicBezTo>
                    <a:cubicBezTo>
                      <a:pt x="6527" y="5038"/>
                      <a:pt x="6678" y="5428"/>
                      <a:pt x="6678" y="5851"/>
                    </a:cubicBezTo>
                    <a:cubicBezTo>
                      <a:pt x="6678" y="5892"/>
                      <a:pt x="6676" y="5934"/>
                      <a:pt x="6673" y="5974"/>
                    </a:cubicBezTo>
                    <a:cubicBezTo>
                      <a:pt x="6907" y="5704"/>
                      <a:pt x="7262" y="5532"/>
                      <a:pt x="7659" y="5532"/>
                    </a:cubicBezTo>
                    <a:cubicBezTo>
                      <a:pt x="8169" y="5532"/>
                      <a:pt x="8608" y="5816"/>
                      <a:pt x="8812" y="6226"/>
                    </a:cubicBezTo>
                    <a:cubicBezTo>
                      <a:pt x="8966" y="6175"/>
                      <a:pt x="9131" y="6146"/>
                      <a:pt x="9302" y="6146"/>
                    </a:cubicBezTo>
                    <a:cubicBezTo>
                      <a:pt x="10167" y="6146"/>
                      <a:pt x="10869" y="6847"/>
                      <a:pt x="10869" y="7713"/>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66" name="îslidê">
                <a:extLst>
                  <a:ext uri="{FF2B5EF4-FFF2-40B4-BE49-F238E27FC236}">
                    <a16:creationId xmlns:a16="http://schemas.microsoft.com/office/drawing/2014/main" id="{450557C3-2D40-498E-B80A-706322D615D8}"/>
                  </a:ext>
                </a:extLst>
              </p:cNvPr>
              <p:cNvSpPr/>
              <p:nvPr/>
            </p:nvSpPr>
            <p:spPr bwMode="auto">
              <a:xfrm>
                <a:off x="5373688" y="5389563"/>
                <a:ext cx="733425" cy="1588"/>
              </a:xfrm>
              <a:custGeom>
                <a:avLst/>
                <a:gdLst>
                  <a:gd name="T0" fmla="*/ 1338 w 2770"/>
                  <a:gd name="T1" fmla="*/ 0 h 6"/>
                  <a:gd name="T2" fmla="*/ 0 w 2770"/>
                  <a:gd name="T3" fmla="*/ 0 h 6"/>
                  <a:gd name="T4" fmla="*/ 6 w 2770"/>
                  <a:gd name="T5" fmla="*/ 6 h 6"/>
                  <a:gd name="T6" fmla="*/ 2770 w 2770"/>
                  <a:gd name="T7" fmla="*/ 6 h 6"/>
                  <a:gd name="T8" fmla="*/ 2770 w 2770"/>
                  <a:gd name="T9" fmla="*/ 6 h 6"/>
                  <a:gd name="T10" fmla="*/ 1337 w 2770"/>
                  <a:gd name="T11" fmla="*/ 6 h 6"/>
                  <a:gd name="T12" fmla="*/ 1338 w 2770"/>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2770" h="6">
                    <a:moveTo>
                      <a:pt x="1338" y="0"/>
                    </a:moveTo>
                    <a:cubicBezTo>
                      <a:pt x="0" y="0"/>
                      <a:pt x="0" y="0"/>
                      <a:pt x="0" y="0"/>
                    </a:cubicBezTo>
                    <a:cubicBezTo>
                      <a:pt x="2" y="2"/>
                      <a:pt x="4" y="4"/>
                      <a:pt x="6" y="6"/>
                    </a:cubicBezTo>
                    <a:cubicBezTo>
                      <a:pt x="2770" y="6"/>
                      <a:pt x="2770" y="6"/>
                      <a:pt x="2770" y="6"/>
                    </a:cubicBezTo>
                    <a:cubicBezTo>
                      <a:pt x="2770" y="6"/>
                      <a:pt x="2770" y="6"/>
                      <a:pt x="2770" y="6"/>
                    </a:cubicBezTo>
                    <a:cubicBezTo>
                      <a:pt x="1337" y="6"/>
                      <a:pt x="1337" y="6"/>
                      <a:pt x="1337" y="6"/>
                    </a:cubicBezTo>
                    <a:cubicBezTo>
                      <a:pt x="1337" y="4"/>
                      <a:pt x="1337" y="2"/>
                      <a:pt x="1338" y="0"/>
                    </a:cubicBezTo>
                  </a:path>
                </a:pathLst>
              </a:custGeom>
              <a:solidFill>
                <a:srgbClr val="38ABA2"/>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67" name="îṩliḓê">
                <a:extLst>
                  <a:ext uri="{FF2B5EF4-FFF2-40B4-BE49-F238E27FC236}">
                    <a16:creationId xmlns:a16="http://schemas.microsoft.com/office/drawing/2014/main" id="{3EB5A7EC-2A3F-44FC-BCC1-7BE688E72E94}"/>
                  </a:ext>
                </a:extLst>
              </p:cNvPr>
              <p:cNvSpPr/>
              <p:nvPr/>
            </p:nvSpPr>
            <p:spPr bwMode="auto">
              <a:xfrm>
                <a:off x="5292726" y="4884738"/>
                <a:ext cx="685800" cy="504825"/>
              </a:xfrm>
              <a:custGeom>
                <a:avLst/>
                <a:gdLst>
                  <a:gd name="T0" fmla="*/ 1695 w 2591"/>
                  <a:gd name="T1" fmla="*/ 0 h 1909"/>
                  <a:gd name="T2" fmla="*/ 0 w 2591"/>
                  <a:gd name="T3" fmla="*/ 1213 h 1909"/>
                  <a:gd name="T4" fmla="*/ 307 w 2591"/>
                  <a:gd name="T5" fmla="*/ 1909 h 1909"/>
                  <a:gd name="T6" fmla="*/ 1645 w 2591"/>
                  <a:gd name="T7" fmla="*/ 1909 h 1909"/>
                  <a:gd name="T8" fmla="*/ 2193 w 2591"/>
                  <a:gd name="T9" fmla="*/ 1372 h 1909"/>
                  <a:gd name="T10" fmla="*/ 2591 w 2591"/>
                  <a:gd name="T11" fmla="*/ 941 h 1909"/>
                  <a:gd name="T12" fmla="*/ 2591 w 2591"/>
                  <a:gd name="T13" fmla="*/ 941 h 1909"/>
                  <a:gd name="T14" fmla="*/ 2591 w 2591"/>
                  <a:gd name="T15" fmla="*/ 941 h 1909"/>
                  <a:gd name="T16" fmla="*/ 2552 w 2591"/>
                  <a:gd name="T17" fmla="*/ 562 h 1909"/>
                  <a:gd name="T18" fmla="*/ 2591 w 2591"/>
                  <a:gd name="T19" fmla="*/ 184 h 1909"/>
                  <a:gd name="T20" fmla="*/ 1695 w 2591"/>
                  <a:gd name="T21" fmla="*/ 0 h 19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91" h="1909">
                    <a:moveTo>
                      <a:pt x="1695" y="0"/>
                    </a:moveTo>
                    <a:cubicBezTo>
                      <a:pt x="759" y="0"/>
                      <a:pt x="0" y="543"/>
                      <a:pt x="0" y="1213"/>
                    </a:cubicBezTo>
                    <a:cubicBezTo>
                      <a:pt x="0" y="1472"/>
                      <a:pt x="114" y="1712"/>
                      <a:pt x="307" y="1909"/>
                    </a:cubicBezTo>
                    <a:cubicBezTo>
                      <a:pt x="1645" y="1909"/>
                      <a:pt x="1645" y="1909"/>
                      <a:pt x="1645" y="1909"/>
                    </a:cubicBezTo>
                    <a:cubicBezTo>
                      <a:pt x="1690" y="1631"/>
                      <a:pt x="1913" y="1412"/>
                      <a:pt x="2193" y="1372"/>
                    </a:cubicBezTo>
                    <a:cubicBezTo>
                      <a:pt x="2232" y="1164"/>
                      <a:pt x="2388" y="996"/>
                      <a:pt x="2591" y="941"/>
                    </a:cubicBezTo>
                    <a:cubicBezTo>
                      <a:pt x="2591" y="941"/>
                      <a:pt x="2591" y="941"/>
                      <a:pt x="2591" y="941"/>
                    </a:cubicBezTo>
                    <a:cubicBezTo>
                      <a:pt x="2591" y="941"/>
                      <a:pt x="2591" y="941"/>
                      <a:pt x="2591" y="941"/>
                    </a:cubicBezTo>
                    <a:cubicBezTo>
                      <a:pt x="2566" y="819"/>
                      <a:pt x="2552" y="692"/>
                      <a:pt x="2552" y="562"/>
                    </a:cubicBezTo>
                    <a:cubicBezTo>
                      <a:pt x="2552" y="433"/>
                      <a:pt x="2566" y="306"/>
                      <a:pt x="2591" y="184"/>
                    </a:cubicBezTo>
                    <a:cubicBezTo>
                      <a:pt x="2331" y="67"/>
                      <a:pt x="2024" y="0"/>
                      <a:pt x="1695" y="0"/>
                    </a:cubicBezTo>
                  </a:path>
                </a:pathLst>
              </a:custGeom>
              <a:solidFill>
                <a:srgbClr val="DBF1FB"/>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68" name="îS1íďe">
                <a:extLst>
                  <a:ext uri="{FF2B5EF4-FFF2-40B4-BE49-F238E27FC236}">
                    <a16:creationId xmlns:a16="http://schemas.microsoft.com/office/drawing/2014/main" id="{C8F4A86D-B09B-4F57-AA76-1F3224C0B414}"/>
                  </a:ext>
                </a:extLst>
              </p:cNvPr>
              <p:cNvSpPr/>
              <p:nvPr/>
            </p:nvSpPr>
            <p:spPr bwMode="auto">
              <a:xfrm>
                <a:off x="6727826" y="5389563"/>
                <a:ext cx="666750" cy="1588"/>
              </a:xfrm>
              <a:custGeom>
                <a:avLst/>
                <a:gdLst>
                  <a:gd name="T0" fmla="*/ 2517 w 2517"/>
                  <a:gd name="T1" fmla="*/ 0 h 6"/>
                  <a:gd name="T2" fmla="*/ 282 w 2517"/>
                  <a:gd name="T3" fmla="*/ 0 h 6"/>
                  <a:gd name="T4" fmla="*/ 276 w 2517"/>
                  <a:gd name="T5" fmla="*/ 6 h 6"/>
                  <a:gd name="T6" fmla="*/ 0 w 2517"/>
                  <a:gd name="T7" fmla="*/ 6 h 6"/>
                  <a:gd name="T8" fmla="*/ 0 w 2517"/>
                  <a:gd name="T9" fmla="*/ 6 h 6"/>
                  <a:gd name="T10" fmla="*/ 2513 w 2517"/>
                  <a:gd name="T11" fmla="*/ 6 h 6"/>
                  <a:gd name="T12" fmla="*/ 2517 w 2517"/>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2517" h="6">
                    <a:moveTo>
                      <a:pt x="2517" y="0"/>
                    </a:moveTo>
                    <a:cubicBezTo>
                      <a:pt x="282" y="0"/>
                      <a:pt x="282" y="0"/>
                      <a:pt x="282" y="0"/>
                    </a:cubicBezTo>
                    <a:cubicBezTo>
                      <a:pt x="280" y="2"/>
                      <a:pt x="278" y="4"/>
                      <a:pt x="276" y="6"/>
                    </a:cubicBezTo>
                    <a:cubicBezTo>
                      <a:pt x="0" y="6"/>
                      <a:pt x="0" y="6"/>
                      <a:pt x="0" y="6"/>
                    </a:cubicBezTo>
                    <a:cubicBezTo>
                      <a:pt x="0" y="6"/>
                      <a:pt x="0" y="6"/>
                      <a:pt x="0" y="6"/>
                    </a:cubicBezTo>
                    <a:cubicBezTo>
                      <a:pt x="2513" y="6"/>
                      <a:pt x="2513" y="6"/>
                      <a:pt x="2513" y="6"/>
                    </a:cubicBezTo>
                    <a:cubicBezTo>
                      <a:pt x="2514" y="4"/>
                      <a:pt x="2516" y="2"/>
                      <a:pt x="2517" y="0"/>
                    </a:cubicBezTo>
                  </a:path>
                </a:pathLst>
              </a:custGeom>
              <a:solidFill>
                <a:srgbClr val="38ABA2"/>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69" name="íşḷíḓe">
                <a:extLst>
                  <a:ext uri="{FF2B5EF4-FFF2-40B4-BE49-F238E27FC236}">
                    <a16:creationId xmlns:a16="http://schemas.microsoft.com/office/drawing/2014/main" id="{984796D5-BBBC-4AC1-8D61-9D85239A50C2}"/>
                  </a:ext>
                </a:extLst>
              </p:cNvPr>
              <p:cNvSpPr/>
              <p:nvPr/>
            </p:nvSpPr>
            <p:spPr bwMode="auto">
              <a:xfrm>
                <a:off x="6802438" y="4984751"/>
                <a:ext cx="642938" cy="404813"/>
              </a:xfrm>
              <a:custGeom>
                <a:avLst/>
                <a:gdLst>
                  <a:gd name="T0" fmla="*/ 974 w 2426"/>
                  <a:gd name="T1" fmla="*/ 0 h 1532"/>
                  <a:gd name="T2" fmla="*/ 570 w 2426"/>
                  <a:gd name="T3" fmla="*/ 41 h 1532"/>
                  <a:gd name="T4" fmla="*/ 575 w 2426"/>
                  <a:gd name="T5" fmla="*/ 185 h 1532"/>
                  <a:gd name="T6" fmla="*/ 0 w 2426"/>
                  <a:gd name="T7" fmla="*/ 1532 h 1532"/>
                  <a:gd name="T8" fmla="*/ 2235 w 2426"/>
                  <a:gd name="T9" fmla="*/ 1532 h 1532"/>
                  <a:gd name="T10" fmla="*/ 2426 w 2426"/>
                  <a:gd name="T11" fmla="*/ 1025 h 1532"/>
                  <a:gd name="T12" fmla="*/ 974 w 2426"/>
                  <a:gd name="T13" fmla="*/ 0 h 1532"/>
                </a:gdLst>
                <a:ahLst/>
                <a:cxnLst>
                  <a:cxn ang="0">
                    <a:pos x="T0" y="T1"/>
                  </a:cxn>
                  <a:cxn ang="0">
                    <a:pos x="T2" y="T3"/>
                  </a:cxn>
                  <a:cxn ang="0">
                    <a:pos x="T4" y="T5"/>
                  </a:cxn>
                  <a:cxn ang="0">
                    <a:pos x="T6" y="T7"/>
                  </a:cxn>
                  <a:cxn ang="0">
                    <a:pos x="T8" y="T9"/>
                  </a:cxn>
                  <a:cxn ang="0">
                    <a:pos x="T10" y="T11"/>
                  </a:cxn>
                  <a:cxn ang="0">
                    <a:pos x="T12" y="T13"/>
                  </a:cxn>
                </a:cxnLst>
                <a:rect l="0" t="0" r="r" b="b"/>
                <a:pathLst>
                  <a:path w="2426" h="1532">
                    <a:moveTo>
                      <a:pt x="974" y="0"/>
                    </a:moveTo>
                    <a:cubicBezTo>
                      <a:pt x="834" y="0"/>
                      <a:pt x="698" y="14"/>
                      <a:pt x="570" y="41"/>
                    </a:cubicBezTo>
                    <a:cubicBezTo>
                      <a:pt x="574" y="88"/>
                      <a:pt x="575" y="137"/>
                      <a:pt x="575" y="185"/>
                    </a:cubicBezTo>
                    <a:cubicBezTo>
                      <a:pt x="575" y="715"/>
                      <a:pt x="355" y="1193"/>
                      <a:pt x="0" y="1532"/>
                    </a:cubicBezTo>
                    <a:cubicBezTo>
                      <a:pt x="2235" y="1532"/>
                      <a:pt x="2235" y="1532"/>
                      <a:pt x="2235" y="1532"/>
                    </a:cubicBezTo>
                    <a:cubicBezTo>
                      <a:pt x="2356" y="1383"/>
                      <a:pt x="2426" y="1209"/>
                      <a:pt x="2426" y="1025"/>
                    </a:cubicBezTo>
                    <a:cubicBezTo>
                      <a:pt x="2426" y="459"/>
                      <a:pt x="1776" y="0"/>
                      <a:pt x="974" y="0"/>
                    </a:cubicBezTo>
                  </a:path>
                </a:pathLst>
              </a:custGeom>
              <a:solidFill>
                <a:srgbClr val="DBF1FB"/>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70" name="ïsľidê">
                <a:extLst>
                  <a:ext uri="{FF2B5EF4-FFF2-40B4-BE49-F238E27FC236}">
                    <a16:creationId xmlns:a16="http://schemas.microsoft.com/office/drawing/2014/main" id="{28D3DF70-2468-4E7A-9959-987C9A64BFCA}"/>
                  </a:ext>
                </a:extLst>
              </p:cNvPr>
              <p:cNvSpPr/>
              <p:nvPr/>
            </p:nvSpPr>
            <p:spPr bwMode="auto">
              <a:xfrm>
                <a:off x="6107113" y="5389563"/>
                <a:ext cx="450850" cy="1588"/>
              </a:xfrm>
              <a:custGeom>
                <a:avLst/>
                <a:gdLst>
                  <a:gd name="T0" fmla="*/ 51 w 1704"/>
                  <a:gd name="T1" fmla="*/ 0 h 6"/>
                  <a:gd name="T2" fmla="*/ 5 w 1704"/>
                  <a:gd name="T3" fmla="*/ 0 h 6"/>
                  <a:gd name="T4" fmla="*/ 0 w 1704"/>
                  <a:gd name="T5" fmla="*/ 6 h 6"/>
                  <a:gd name="T6" fmla="*/ 1704 w 1704"/>
                  <a:gd name="T7" fmla="*/ 6 h 6"/>
                  <a:gd name="T8" fmla="*/ 1704 w 1704"/>
                  <a:gd name="T9" fmla="*/ 6 h 6"/>
                  <a:gd name="T10" fmla="*/ 57 w 1704"/>
                  <a:gd name="T11" fmla="*/ 6 h 6"/>
                  <a:gd name="T12" fmla="*/ 51 w 1704"/>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1704" h="6">
                    <a:moveTo>
                      <a:pt x="51" y="0"/>
                    </a:moveTo>
                    <a:cubicBezTo>
                      <a:pt x="5" y="0"/>
                      <a:pt x="5" y="0"/>
                      <a:pt x="5" y="0"/>
                    </a:cubicBezTo>
                    <a:cubicBezTo>
                      <a:pt x="4" y="2"/>
                      <a:pt x="2" y="4"/>
                      <a:pt x="0" y="6"/>
                    </a:cubicBezTo>
                    <a:cubicBezTo>
                      <a:pt x="1704" y="6"/>
                      <a:pt x="1704" y="6"/>
                      <a:pt x="1704" y="6"/>
                    </a:cubicBezTo>
                    <a:cubicBezTo>
                      <a:pt x="1704" y="6"/>
                      <a:pt x="1704" y="6"/>
                      <a:pt x="1704" y="6"/>
                    </a:cubicBezTo>
                    <a:cubicBezTo>
                      <a:pt x="57" y="6"/>
                      <a:pt x="57" y="6"/>
                      <a:pt x="57" y="6"/>
                    </a:cubicBezTo>
                    <a:cubicBezTo>
                      <a:pt x="55" y="4"/>
                      <a:pt x="53" y="2"/>
                      <a:pt x="51" y="0"/>
                    </a:cubicBezTo>
                  </a:path>
                </a:pathLst>
              </a:custGeom>
              <a:solidFill>
                <a:srgbClr val="7AC5B6"/>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71" name="ï$lîḋé">
                <a:extLst>
                  <a:ext uri="{FF2B5EF4-FFF2-40B4-BE49-F238E27FC236}">
                    <a16:creationId xmlns:a16="http://schemas.microsoft.com/office/drawing/2014/main" id="{2DAAD000-D8CE-4B2C-A3B8-9492BC11B554}"/>
                  </a:ext>
                </a:extLst>
              </p:cNvPr>
              <p:cNvSpPr/>
              <p:nvPr/>
            </p:nvSpPr>
            <p:spPr bwMode="auto">
              <a:xfrm>
                <a:off x="6108701" y="5383213"/>
                <a:ext cx="12700" cy="6350"/>
              </a:xfrm>
              <a:custGeom>
                <a:avLst/>
                <a:gdLst>
                  <a:gd name="T0" fmla="*/ 22 w 46"/>
                  <a:gd name="T1" fmla="*/ 0 h 23"/>
                  <a:gd name="T2" fmla="*/ 22 w 46"/>
                  <a:gd name="T3" fmla="*/ 0 h 23"/>
                  <a:gd name="T4" fmla="*/ 0 w 46"/>
                  <a:gd name="T5" fmla="*/ 23 h 23"/>
                  <a:gd name="T6" fmla="*/ 46 w 46"/>
                  <a:gd name="T7" fmla="*/ 23 h 23"/>
                  <a:gd name="T8" fmla="*/ 22 w 46"/>
                  <a:gd name="T9" fmla="*/ 0 h 23"/>
                </a:gdLst>
                <a:ahLst/>
                <a:cxnLst>
                  <a:cxn ang="0">
                    <a:pos x="T0" y="T1"/>
                  </a:cxn>
                  <a:cxn ang="0">
                    <a:pos x="T2" y="T3"/>
                  </a:cxn>
                  <a:cxn ang="0">
                    <a:pos x="T4" y="T5"/>
                  </a:cxn>
                  <a:cxn ang="0">
                    <a:pos x="T6" y="T7"/>
                  </a:cxn>
                  <a:cxn ang="0">
                    <a:pos x="T8" y="T9"/>
                  </a:cxn>
                </a:cxnLst>
                <a:rect l="0" t="0" r="r" b="b"/>
                <a:pathLst>
                  <a:path w="46" h="23">
                    <a:moveTo>
                      <a:pt x="22" y="0"/>
                    </a:moveTo>
                    <a:cubicBezTo>
                      <a:pt x="22" y="0"/>
                      <a:pt x="22" y="0"/>
                      <a:pt x="22" y="0"/>
                    </a:cubicBezTo>
                    <a:cubicBezTo>
                      <a:pt x="15" y="8"/>
                      <a:pt x="8" y="16"/>
                      <a:pt x="0" y="23"/>
                    </a:cubicBezTo>
                    <a:cubicBezTo>
                      <a:pt x="46" y="23"/>
                      <a:pt x="46" y="23"/>
                      <a:pt x="46" y="23"/>
                    </a:cubicBezTo>
                    <a:cubicBezTo>
                      <a:pt x="38" y="16"/>
                      <a:pt x="30" y="8"/>
                      <a:pt x="22" y="0"/>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72" name="ïşļiďè">
                <a:extLst>
                  <a:ext uri="{FF2B5EF4-FFF2-40B4-BE49-F238E27FC236}">
                    <a16:creationId xmlns:a16="http://schemas.microsoft.com/office/drawing/2014/main" id="{B6A91FD1-81FC-49D6-8C34-B1A13CB4E352}"/>
                  </a:ext>
                </a:extLst>
              </p:cNvPr>
              <p:cNvSpPr/>
              <p:nvPr/>
            </p:nvSpPr>
            <p:spPr bwMode="auto">
              <a:xfrm>
                <a:off x="5727701" y="5389563"/>
                <a:ext cx="381000" cy="1588"/>
              </a:xfrm>
              <a:custGeom>
                <a:avLst/>
                <a:gdLst>
                  <a:gd name="T0" fmla="*/ 1438 w 1438"/>
                  <a:gd name="T1" fmla="*/ 0 h 6"/>
                  <a:gd name="T2" fmla="*/ 1 w 1438"/>
                  <a:gd name="T3" fmla="*/ 0 h 6"/>
                  <a:gd name="T4" fmla="*/ 0 w 1438"/>
                  <a:gd name="T5" fmla="*/ 6 h 6"/>
                  <a:gd name="T6" fmla="*/ 1433 w 1438"/>
                  <a:gd name="T7" fmla="*/ 6 h 6"/>
                  <a:gd name="T8" fmla="*/ 1438 w 1438"/>
                  <a:gd name="T9" fmla="*/ 0 h 6"/>
                </a:gdLst>
                <a:ahLst/>
                <a:cxnLst>
                  <a:cxn ang="0">
                    <a:pos x="T0" y="T1"/>
                  </a:cxn>
                  <a:cxn ang="0">
                    <a:pos x="T2" y="T3"/>
                  </a:cxn>
                  <a:cxn ang="0">
                    <a:pos x="T4" y="T5"/>
                  </a:cxn>
                  <a:cxn ang="0">
                    <a:pos x="T6" y="T7"/>
                  </a:cxn>
                  <a:cxn ang="0">
                    <a:pos x="T8" y="T9"/>
                  </a:cxn>
                </a:cxnLst>
                <a:rect l="0" t="0" r="r" b="b"/>
                <a:pathLst>
                  <a:path w="1438" h="6">
                    <a:moveTo>
                      <a:pt x="1438" y="0"/>
                    </a:moveTo>
                    <a:cubicBezTo>
                      <a:pt x="1" y="0"/>
                      <a:pt x="1" y="0"/>
                      <a:pt x="1" y="0"/>
                    </a:cubicBezTo>
                    <a:cubicBezTo>
                      <a:pt x="0" y="2"/>
                      <a:pt x="0" y="4"/>
                      <a:pt x="0" y="6"/>
                    </a:cubicBezTo>
                    <a:cubicBezTo>
                      <a:pt x="1433" y="6"/>
                      <a:pt x="1433" y="6"/>
                      <a:pt x="1433" y="6"/>
                    </a:cubicBezTo>
                    <a:cubicBezTo>
                      <a:pt x="1435" y="4"/>
                      <a:pt x="1437" y="2"/>
                      <a:pt x="1438" y="0"/>
                    </a:cubicBezTo>
                  </a:path>
                </a:pathLst>
              </a:custGeom>
              <a:solidFill>
                <a:srgbClr val="80C9C4"/>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73" name="ïṩlîḑe">
                <a:extLst>
                  <a:ext uri="{FF2B5EF4-FFF2-40B4-BE49-F238E27FC236}">
                    <a16:creationId xmlns:a16="http://schemas.microsoft.com/office/drawing/2014/main" id="{45222A7D-047A-4FE9-9843-242FF5F1AF39}"/>
                  </a:ext>
                </a:extLst>
              </p:cNvPr>
              <p:cNvSpPr/>
              <p:nvPr/>
            </p:nvSpPr>
            <p:spPr bwMode="auto">
              <a:xfrm>
                <a:off x="5727701" y="5133976"/>
                <a:ext cx="387350" cy="255588"/>
              </a:xfrm>
              <a:custGeom>
                <a:avLst/>
                <a:gdLst>
                  <a:gd name="T0" fmla="*/ 946 w 1459"/>
                  <a:gd name="T1" fmla="*/ 0 h 968"/>
                  <a:gd name="T2" fmla="*/ 946 w 1459"/>
                  <a:gd name="T3" fmla="*/ 0 h 968"/>
                  <a:gd name="T4" fmla="*/ 548 w 1459"/>
                  <a:gd name="T5" fmla="*/ 431 h 968"/>
                  <a:gd name="T6" fmla="*/ 0 w 1459"/>
                  <a:gd name="T7" fmla="*/ 968 h 968"/>
                  <a:gd name="T8" fmla="*/ 1437 w 1459"/>
                  <a:gd name="T9" fmla="*/ 968 h 968"/>
                  <a:gd name="T10" fmla="*/ 1459 w 1459"/>
                  <a:gd name="T11" fmla="*/ 945 h 968"/>
                  <a:gd name="T12" fmla="*/ 1459 w 1459"/>
                  <a:gd name="T13" fmla="*/ 945 h 968"/>
                  <a:gd name="T14" fmla="*/ 1459 w 1459"/>
                  <a:gd name="T15" fmla="*/ 945 h 968"/>
                  <a:gd name="T16" fmla="*/ 946 w 1459"/>
                  <a:gd name="T17" fmla="*/ 0 h 9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59" h="968">
                    <a:moveTo>
                      <a:pt x="946" y="0"/>
                    </a:moveTo>
                    <a:cubicBezTo>
                      <a:pt x="946" y="0"/>
                      <a:pt x="946" y="0"/>
                      <a:pt x="946" y="0"/>
                    </a:cubicBezTo>
                    <a:cubicBezTo>
                      <a:pt x="743" y="55"/>
                      <a:pt x="587" y="223"/>
                      <a:pt x="548" y="431"/>
                    </a:cubicBezTo>
                    <a:cubicBezTo>
                      <a:pt x="268" y="471"/>
                      <a:pt x="45" y="690"/>
                      <a:pt x="0" y="968"/>
                    </a:cubicBezTo>
                    <a:cubicBezTo>
                      <a:pt x="1437" y="968"/>
                      <a:pt x="1437" y="968"/>
                      <a:pt x="1437" y="968"/>
                    </a:cubicBezTo>
                    <a:cubicBezTo>
                      <a:pt x="1445" y="961"/>
                      <a:pt x="1452" y="953"/>
                      <a:pt x="1459" y="945"/>
                    </a:cubicBezTo>
                    <a:cubicBezTo>
                      <a:pt x="1459" y="945"/>
                      <a:pt x="1459" y="945"/>
                      <a:pt x="1459" y="945"/>
                    </a:cubicBezTo>
                    <a:cubicBezTo>
                      <a:pt x="1459" y="945"/>
                      <a:pt x="1459" y="945"/>
                      <a:pt x="1459" y="945"/>
                    </a:cubicBezTo>
                    <a:cubicBezTo>
                      <a:pt x="1204" y="692"/>
                      <a:pt x="1021" y="366"/>
                      <a:pt x="946" y="0"/>
                    </a:cubicBezTo>
                  </a:path>
                </a:pathLst>
              </a:custGeom>
              <a:solidFill>
                <a:srgbClr val="E8F6FC"/>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74" name="iṥ1iḍé">
                <a:extLst>
                  <a:ext uri="{FF2B5EF4-FFF2-40B4-BE49-F238E27FC236}">
                    <a16:creationId xmlns:a16="http://schemas.microsoft.com/office/drawing/2014/main" id="{FA613DA6-F0A6-4D74-9C73-16864F2FBA15}"/>
                  </a:ext>
                </a:extLst>
              </p:cNvPr>
              <p:cNvSpPr/>
              <p:nvPr/>
            </p:nvSpPr>
            <p:spPr bwMode="auto">
              <a:xfrm>
                <a:off x="6269038" y="3397251"/>
                <a:ext cx="100013" cy="725488"/>
              </a:xfrm>
              <a:custGeom>
                <a:avLst/>
                <a:gdLst>
                  <a:gd name="T0" fmla="*/ 42 w 63"/>
                  <a:gd name="T1" fmla="*/ 457 h 457"/>
                  <a:gd name="T2" fmla="*/ 0 w 63"/>
                  <a:gd name="T3" fmla="*/ 455 h 457"/>
                  <a:gd name="T4" fmla="*/ 21 w 63"/>
                  <a:gd name="T5" fmla="*/ 0 h 457"/>
                  <a:gd name="T6" fmla="*/ 63 w 63"/>
                  <a:gd name="T7" fmla="*/ 2 h 457"/>
                  <a:gd name="T8" fmla="*/ 42 w 63"/>
                  <a:gd name="T9" fmla="*/ 457 h 457"/>
                </a:gdLst>
                <a:ahLst/>
                <a:cxnLst>
                  <a:cxn ang="0">
                    <a:pos x="T0" y="T1"/>
                  </a:cxn>
                  <a:cxn ang="0">
                    <a:pos x="T2" y="T3"/>
                  </a:cxn>
                  <a:cxn ang="0">
                    <a:pos x="T4" y="T5"/>
                  </a:cxn>
                  <a:cxn ang="0">
                    <a:pos x="T6" y="T7"/>
                  </a:cxn>
                  <a:cxn ang="0">
                    <a:pos x="T8" y="T9"/>
                  </a:cxn>
                </a:cxnLst>
                <a:rect l="0" t="0" r="r" b="b"/>
                <a:pathLst>
                  <a:path w="63" h="457">
                    <a:moveTo>
                      <a:pt x="42" y="457"/>
                    </a:moveTo>
                    <a:lnTo>
                      <a:pt x="0" y="455"/>
                    </a:lnTo>
                    <a:lnTo>
                      <a:pt x="21" y="0"/>
                    </a:lnTo>
                    <a:lnTo>
                      <a:pt x="63" y="2"/>
                    </a:lnTo>
                    <a:lnTo>
                      <a:pt x="42" y="457"/>
                    </a:lnTo>
                    <a:close/>
                  </a:path>
                </a:pathLst>
              </a:custGeom>
              <a:solidFill>
                <a:srgbClr val="CDE9F9"/>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75" name="i$lidê">
                <a:extLst>
                  <a:ext uri="{FF2B5EF4-FFF2-40B4-BE49-F238E27FC236}">
                    <a16:creationId xmlns:a16="http://schemas.microsoft.com/office/drawing/2014/main" id="{5E68293D-EF28-46D8-BE50-8C6CAE0E003F}"/>
                  </a:ext>
                </a:extLst>
              </p:cNvPr>
              <p:cNvSpPr/>
              <p:nvPr/>
            </p:nvSpPr>
            <p:spPr bwMode="auto">
              <a:xfrm>
                <a:off x="6419851" y="3405188"/>
                <a:ext cx="101600" cy="723900"/>
              </a:xfrm>
              <a:custGeom>
                <a:avLst/>
                <a:gdLst>
                  <a:gd name="T0" fmla="*/ 22 w 64"/>
                  <a:gd name="T1" fmla="*/ 456 h 456"/>
                  <a:gd name="T2" fmla="*/ 64 w 64"/>
                  <a:gd name="T3" fmla="*/ 454 h 456"/>
                  <a:gd name="T4" fmla="*/ 43 w 64"/>
                  <a:gd name="T5" fmla="*/ 0 h 456"/>
                  <a:gd name="T6" fmla="*/ 0 w 64"/>
                  <a:gd name="T7" fmla="*/ 2 h 456"/>
                  <a:gd name="T8" fmla="*/ 22 w 64"/>
                  <a:gd name="T9" fmla="*/ 456 h 456"/>
                </a:gdLst>
                <a:ahLst/>
                <a:cxnLst>
                  <a:cxn ang="0">
                    <a:pos x="T0" y="T1"/>
                  </a:cxn>
                  <a:cxn ang="0">
                    <a:pos x="T2" y="T3"/>
                  </a:cxn>
                  <a:cxn ang="0">
                    <a:pos x="T4" y="T5"/>
                  </a:cxn>
                  <a:cxn ang="0">
                    <a:pos x="T6" y="T7"/>
                  </a:cxn>
                  <a:cxn ang="0">
                    <a:pos x="T8" y="T9"/>
                  </a:cxn>
                </a:cxnLst>
                <a:rect l="0" t="0" r="r" b="b"/>
                <a:pathLst>
                  <a:path w="64" h="456">
                    <a:moveTo>
                      <a:pt x="22" y="456"/>
                    </a:moveTo>
                    <a:lnTo>
                      <a:pt x="64" y="454"/>
                    </a:lnTo>
                    <a:lnTo>
                      <a:pt x="43" y="0"/>
                    </a:lnTo>
                    <a:lnTo>
                      <a:pt x="0" y="2"/>
                    </a:lnTo>
                    <a:lnTo>
                      <a:pt x="22" y="456"/>
                    </a:lnTo>
                    <a:close/>
                  </a:path>
                </a:pathLst>
              </a:custGeom>
              <a:solidFill>
                <a:srgbClr val="CDE9F9"/>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76" name="íṥľíḋé">
                <a:extLst>
                  <a:ext uri="{FF2B5EF4-FFF2-40B4-BE49-F238E27FC236}">
                    <a16:creationId xmlns:a16="http://schemas.microsoft.com/office/drawing/2014/main" id="{AFB3BF7E-0A9D-4487-B08F-CDF7FB3068CA}"/>
                  </a:ext>
                </a:extLst>
              </p:cNvPr>
              <p:cNvSpPr/>
              <p:nvPr/>
            </p:nvSpPr>
            <p:spPr bwMode="auto">
              <a:xfrm>
                <a:off x="6557963" y="5389563"/>
                <a:ext cx="169863" cy="1588"/>
              </a:xfrm>
              <a:custGeom>
                <a:avLst/>
                <a:gdLst>
                  <a:gd name="T0" fmla="*/ 638 w 642"/>
                  <a:gd name="T1" fmla="*/ 0 h 6"/>
                  <a:gd name="T2" fmla="*/ 0 w 642"/>
                  <a:gd name="T3" fmla="*/ 0 h 6"/>
                  <a:gd name="T4" fmla="*/ 1 w 642"/>
                  <a:gd name="T5" fmla="*/ 6 h 6"/>
                  <a:gd name="T6" fmla="*/ 642 w 642"/>
                  <a:gd name="T7" fmla="*/ 6 h 6"/>
                  <a:gd name="T8" fmla="*/ 638 w 642"/>
                  <a:gd name="T9" fmla="*/ 0 h 6"/>
                </a:gdLst>
                <a:ahLst/>
                <a:cxnLst>
                  <a:cxn ang="0">
                    <a:pos x="T0" y="T1"/>
                  </a:cxn>
                  <a:cxn ang="0">
                    <a:pos x="T2" y="T3"/>
                  </a:cxn>
                  <a:cxn ang="0">
                    <a:pos x="T4" y="T5"/>
                  </a:cxn>
                  <a:cxn ang="0">
                    <a:pos x="T6" y="T7"/>
                  </a:cxn>
                  <a:cxn ang="0">
                    <a:pos x="T8" y="T9"/>
                  </a:cxn>
                </a:cxnLst>
                <a:rect l="0" t="0" r="r" b="b"/>
                <a:pathLst>
                  <a:path w="642" h="6">
                    <a:moveTo>
                      <a:pt x="638" y="0"/>
                    </a:moveTo>
                    <a:cubicBezTo>
                      <a:pt x="0" y="0"/>
                      <a:pt x="0" y="0"/>
                      <a:pt x="0" y="0"/>
                    </a:cubicBezTo>
                    <a:cubicBezTo>
                      <a:pt x="0" y="2"/>
                      <a:pt x="0" y="4"/>
                      <a:pt x="1" y="6"/>
                    </a:cubicBezTo>
                    <a:cubicBezTo>
                      <a:pt x="642" y="6"/>
                      <a:pt x="642" y="6"/>
                      <a:pt x="642" y="6"/>
                    </a:cubicBezTo>
                    <a:cubicBezTo>
                      <a:pt x="641" y="4"/>
                      <a:pt x="639" y="2"/>
                      <a:pt x="638" y="0"/>
                    </a:cubicBezTo>
                  </a:path>
                </a:pathLst>
              </a:custGeom>
              <a:solidFill>
                <a:srgbClr val="3CADAA"/>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77" name="îşḻíḑê">
                <a:extLst>
                  <a:ext uri="{FF2B5EF4-FFF2-40B4-BE49-F238E27FC236}">
                    <a16:creationId xmlns:a16="http://schemas.microsoft.com/office/drawing/2014/main" id="{9918EA31-D66C-415C-8A38-20E67B06B769}"/>
                  </a:ext>
                </a:extLst>
              </p:cNvPr>
              <p:cNvSpPr/>
              <p:nvPr/>
            </p:nvSpPr>
            <p:spPr bwMode="auto">
              <a:xfrm>
                <a:off x="5978526" y="4540251"/>
                <a:ext cx="974725" cy="849313"/>
              </a:xfrm>
              <a:custGeom>
                <a:avLst/>
                <a:gdLst>
                  <a:gd name="T0" fmla="*/ 1825 w 3683"/>
                  <a:gd name="T1" fmla="*/ 0 h 3210"/>
                  <a:gd name="T2" fmla="*/ 0 w 3683"/>
                  <a:gd name="T3" fmla="*/ 1485 h 3210"/>
                  <a:gd name="T4" fmla="*/ 0 w 3683"/>
                  <a:gd name="T5" fmla="*/ 1485 h 3210"/>
                  <a:gd name="T6" fmla="*/ 0 w 3683"/>
                  <a:gd name="T7" fmla="*/ 1485 h 3210"/>
                  <a:gd name="T8" fmla="*/ 677 w 3683"/>
                  <a:gd name="T9" fmla="*/ 2063 h 3210"/>
                  <a:gd name="T10" fmla="*/ 677 w 3683"/>
                  <a:gd name="T11" fmla="*/ 2063 h 3210"/>
                  <a:gd name="T12" fmla="*/ 999 w 3683"/>
                  <a:gd name="T13" fmla="*/ 1994 h 3210"/>
                  <a:gd name="T14" fmla="*/ 1757 w 3683"/>
                  <a:gd name="T15" fmla="*/ 2592 h 3210"/>
                  <a:gd name="T16" fmla="*/ 1959 w 3683"/>
                  <a:gd name="T17" fmla="*/ 2813 h 3210"/>
                  <a:gd name="T18" fmla="*/ 2189 w 3683"/>
                  <a:gd name="T19" fmla="*/ 3210 h 3210"/>
                  <a:gd name="T20" fmla="*/ 2827 w 3683"/>
                  <a:gd name="T21" fmla="*/ 3210 h 3210"/>
                  <a:gd name="T22" fmla="*/ 2636 w 3683"/>
                  <a:gd name="T23" fmla="*/ 2703 h 3210"/>
                  <a:gd name="T24" fmla="*/ 3683 w 3683"/>
                  <a:gd name="T25" fmla="*/ 1719 h 3210"/>
                  <a:gd name="T26" fmla="*/ 3683 w 3683"/>
                  <a:gd name="T27" fmla="*/ 1719 h 3210"/>
                  <a:gd name="T28" fmla="*/ 3683 w 3683"/>
                  <a:gd name="T29" fmla="*/ 1719 h 3210"/>
                  <a:gd name="T30" fmla="*/ 1825 w 3683"/>
                  <a:gd name="T31" fmla="*/ 0 h 3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683" h="3210">
                    <a:moveTo>
                      <a:pt x="1825" y="0"/>
                    </a:moveTo>
                    <a:cubicBezTo>
                      <a:pt x="926" y="0"/>
                      <a:pt x="175" y="637"/>
                      <a:pt x="0" y="1485"/>
                    </a:cubicBezTo>
                    <a:cubicBezTo>
                      <a:pt x="0" y="1485"/>
                      <a:pt x="0" y="1485"/>
                      <a:pt x="0" y="1485"/>
                    </a:cubicBezTo>
                    <a:cubicBezTo>
                      <a:pt x="0" y="1485"/>
                      <a:pt x="0" y="1485"/>
                      <a:pt x="0" y="1485"/>
                    </a:cubicBezTo>
                    <a:cubicBezTo>
                      <a:pt x="303" y="1620"/>
                      <a:pt x="542" y="1822"/>
                      <a:pt x="677" y="2063"/>
                    </a:cubicBezTo>
                    <a:cubicBezTo>
                      <a:pt x="677" y="2063"/>
                      <a:pt x="677" y="2063"/>
                      <a:pt x="677" y="2063"/>
                    </a:cubicBezTo>
                    <a:cubicBezTo>
                      <a:pt x="775" y="2018"/>
                      <a:pt x="884" y="1994"/>
                      <a:pt x="999" y="1994"/>
                    </a:cubicBezTo>
                    <a:cubicBezTo>
                      <a:pt x="1367" y="1994"/>
                      <a:pt x="1675" y="2249"/>
                      <a:pt x="1757" y="2592"/>
                    </a:cubicBezTo>
                    <a:cubicBezTo>
                      <a:pt x="1869" y="2605"/>
                      <a:pt x="1956" y="2698"/>
                      <a:pt x="1959" y="2813"/>
                    </a:cubicBezTo>
                    <a:cubicBezTo>
                      <a:pt x="2079" y="2911"/>
                      <a:pt x="2163" y="3051"/>
                      <a:pt x="2189" y="3210"/>
                    </a:cubicBezTo>
                    <a:cubicBezTo>
                      <a:pt x="2827" y="3210"/>
                      <a:pt x="2827" y="3210"/>
                      <a:pt x="2827" y="3210"/>
                    </a:cubicBezTo>
                    <a:cubicBezTo>
                      <a:pt x="2705" y="3061"/>
                      <a:pt x="2636" y="2887"/>
                      <a:pt x="2636" y="2703"/>
                    </a:cubicBezTo>
                    <a:cubicBezTo>
                      <a:pt x="2636" y="2236"/>
                      <a:pt x="3078" y="1842"/>
                      <a:pt x="3683" y="1719"/>
                    </a:cubicBezTo>
                    <a:cubicBezTo>
                      <a:pt x="3683" y="1719"/>
                      <a:pt x="3683" y="1719"/>
                      <a:pt x="3683" y="1719"/>
                    </a:cubicBezTo>
                    <a:cubicBezTo>
                      <a:pt x="3683" y="1719"/>
                      <a:pt x="3683" y="1719"/>
                      <a:pt x="3683" y="1719"/>
                    </a:cubicBezTo>
                    <a:cubicBezTo>
                      <a:pt x="3609" y="757"/>
                      <a:pt x="2805" y="0"/>
                      <a:pt x="1825" y="0"/>
                    </a:cubicBezTo>
                  </a:path>
                </a:pathLst>
              </a:custGeom>
              <a:solidFill>
                <a:srgbClr val="CDECFA"/>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78" name="îsḻiḑè">
                <a:extLst>
                  <a:ext uri="{FF2B5EF4-FFF2-40B4-BE49-F238E27FC236}">
                    <a16:creationId xmlns:a16="http://schemas.microsoft.com/office/drawing/2014/main" id="{4BA957F5-D327-4DE7-B2F7-2C5F68CB70EB}"/>
                  </a:ext>
                </a:extLst>
              </p:cNvPr>
              <p:cNvSpPr/>
              <p:nvPr/>
            </p:nvSpPr>
            <p:spPr bwMode="auto">
              <a:xfrm>
                <a:off x="5969001" y="4933951"/>
                <a:ext cx="188913" cy="211138"/>
              </a:xfrm>
              <a:custGeom>
                <a:avLst/>
                <a:gdLst>
                  <a:gd name="T0" fmla="*/ 39 w 716"/>
                  <a:gd name="T1" fmla="*/ 0 h 798"/>
                  <a:gd name="T2" fmla="*/ 0 w 716"/>
                  <a:gd name="T3" fmla="*/ 378 h 798"/>
                  <a:gd name="T4" fmla="*/ 39 w 716"/>
                  <a:gd name="T5" fmla="*/ 757 h 798"/>
                  <a:gd name="T6" fmla="*/ 39 w 716"/>
                  <a:gd name="T7" fmla="*/ 757 h 798"/>
                  <a:gd name="T8" fmla="*/ 182 w 716"/>
                  <a:gd name="T9" fmla="*/ 739 h 798"/>
                  <a:gd name="T10" fmla="*/ 431 w 716"/>
                  <a:gd name="T11" fmla="*/ 798 h 798"/>
                  <a:gd name="T12" fmla="*/ 716 w 716"/>
                  <a:gd name="T13" fmla="*/ 578 h 798"/>
                  <a:gd name="T14" fmla="*/ 39 w 716"/>
                  <a:gd name="T15" fmla="*/ 0 h 798"/>
                  <a:gd name="T16" fmla="*/ 39 w 716"/>
                  <a:gd name="T17" fmla="*/ 0 h 7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16" h="798">
                    <a:moveTo>
                      <a:pt x="39" y="0"/>
                    </a:moveTo>
                    <a:cubicBezTo>
                      <a:pt x="14" y="122"/>
                      <a:pt x="0" y="249"/>
                      <a:pt x="0" y="378"/>
                    </a:cubicBezTo>
                    <a:cubicBezTo>
                      <a:pt x="0" y="508"/>
                      <a:pt x="14" y="635"/>
                      <a:pt x="39" y="757"/>
                    </a:cubicBezTo>
                    <a:cubicBezTo>
                      <a:pt x="39" y="757"/>
                      <a:pt x="39" y="757"/>
                      <a:pt x="39" y="757"/>
                    </a:cubicBezTo>
                    <a:cubicBezTo>
                      <a:pt x="84" y="745"/>
                      <a:pt x="133" y="739"/>
                      <a:pt x="182" y="739"/>
                    </a:cubicBezTo>
                    <a:cubicBezTo>
                      <a:pt x="272" y="739"/>
                      <a:pt x="357" y="760"/>
                      <a:pt x="431" y="798"/>
                    </a:cubicBezTo>
                    <a:cubicBezTo>
                      <a:pt x="507" y="704"/>
                      <a:pt x="605" y="629"/>
                      <a:pt x="716" y="578"/>
                    </a:cubicBezTo>
                    <a:cubicBezTo>
                      <a:pt x="581" y="337"/>
                      <a:pt x="342" y="135"/>
                      <a:pt x="39" y="0"/>
                    </a:cubicBezTo>
                    <a:cubicBezTo>
                      <a:pt x="39" y="0"/>
                      <a:pt x="39" y="0"/>
                      <a:pt x="39" y="0"/>
                    </a:cubicBezTo>
                  </a:path>
                </a:pathLst>
              </a:custGeom>
              <a:solidFill>
                <a:srgbClr val="B4E2F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79" name="ïṡļiďè">
                <a:extLst>
                  <a:ext uri="{FF2B5EF4-FFF2-40B4-BE49-F238E27FC236}">
                    <a16:creationId xmlns:a16="http://schemas.microsoft.com/office/drawing/2014/main" id="{EB6728F2-0597-4962-986F-B3425575621B}"/>
                  </a:ext>
                </a:extLst>
              </p:cNvPr>
              <p:cNvSpPr/>
              <p:nvPr/>
            </p:nvSpPr>
            <p:spPr bwMode="auto">
              <a:xfrm>
                <a:off x="6727826" y="5389563"/>
                <a:ext cx="74613" cy="1588"/>
              </a:xfrm>
              <a:custGeom>
                <a:avLst/>
                <a:gdLst>
                  <a:gd name="T0" fmla="*/ 286 w 286"/>
                  <a:gd name="T1" fmla="*/ 0 h 6"/>
                  <a:gd name="T2" fmla="*/ 0 w 286"/>
                  <a:gd name="T3" fmla="*/ 0 h 6"/>
                  <a:gd name="T4" fmla="*/ 4 w 286"/>
                  <a:gd name="T5" fmla="*/ 6 h 6"/>
                  <a:gd name="T6" fmla="*/ 280 w 286"/>
                  <a:gd name="T7" fmla="*/ 6 h 6"/>
                  <a:gd name="T8" fmla="*/ 286 w 286"/>
                  <a:gd name="T9" fmla="*/ 0 h 6"/>
                </a:gdLst>
                <a:ahLst/>
                <a:cxnLst>
                  <a:cxn ang="0">
                    <a:pos x="T0" y="T1"/>
                  </a:cxn>
                  <a:cxn ang="0">
                    <a:pos x="T2" y="T3"/>
                  </a:cxn>
                  <a:cxn ang="0">
                    <a:pos x="T4" y="T5"/>
                  </a:cxn>
                  <a:cxn ang="0">
                    <a:pos x="T6" y="T7"/>
                  </a:cxn>
                  <a:cxn ang="0">
                    <a:pos x="T8" y="T9"/>
                  </a:cxn>
                </a:cxnLst>
                <a:rect l="0" t="0" r="r" b="b"/>
                <a:pathLst>
                  <a:path w="286" h="6">
                    <a:moveTo>
                      <a:pt x="286" y="0"/>
                    </a:moveTo>
                    <a:cubicBezTo>
                      <a:pt x="0" y="0"/>
                      <a:pt x="0" y="0"/>
                      <a:pt x="0" y="0"/>
                    </a:cubicBezTo>
                    <a:cubicBezTo>
                      <a:pt x="1" y="2"/>
                      <a:pt x="3" y="4"/>
                      <a:pt x="4" y="6"/>
                    </a:cubicBezTo>
                    <a:cubicBezTo>
                      <a:pt x="280" y="6"/>
                      <a:pt x="280" y="6"/>
                      <a:pt x="280" y="6"/>
                    </a:cubicBezTo>
                    <a:cubicBezTo>
                      <a:pt x="282" y="4"/>
                      <a:pt x="284" y="2"/>
                      <a:pt x="286" y="0"/>
                    </a:cubicBezTo>
                  </a:path>
                </a:pathLst>
              </a:custGeom>
              <a:solidFill>
                <a:srgbClr val="42B1B9"/>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80" name="ïṣḻîḍê">
                <a:extLst>
                  <a:ext uri="{FF2B5EF4-FFF2-40B4-BE49-F238E27FC236}">
                    <a16:creationId xmlns:a16="http://schemas.microsoft.com/office/drawing/2014/main" id="{F7613D5C-BCCF-4A6A-8CF5-EC9B693AB2E4}"/>
                  </a:ext>
                </a:extLst>
              </p:cNvPr>
              <p:cNvSpPr/>
              <p:nvPr/>
            </p:nvSpPr>
            <p:spPr bwMode="auto">
              <a:xfrm>
                <a:off x="6677026" y="4995863"/>
                <a:ext cx="277813" cy="393700"/>
              </a:xfrm>
              <a:custGeom>
                <a:avLst/>
                <a:gdLst>
                  <a:gd name="T0" fmla="*/ 1047 w 1052"/>
                  <a:gd name="T1" fmla="*/ 0 h 1491"/>
                  <a:gd name="T2" fmla="*/ 1047 w 1052"/>
                  <a:gd name="T3" fmla="*/ 0 h 1491"/>
                  <a:gd name="T4" fmla="*/ 0 w 1052"/>
                  <a:gd name="T5" fmla="*/ 984 h 1491"/>
                  <a:gd name="T6" fmla="*/ 191 w 1052"/>
                  <a:gd name="T7" fmla="*/ 1491 h 1491"/>
                  <a:gd name="T8" fmla="*/ 477 w 1052"/>
                  <a:gd name="T9" fmla="*/ 1491 h 1491"/>
                  <a:gd name="T10" fmla="*/ 1052 w 1052"/>
                  <a:gd name="T11" fmla="*/ 144 h 1491"/>
                  <a:gd name="T12" fmla="*/ 1047 w 1052"/>
                  <a:gd name="T13" fmla="*/ 0 h 1491"/>
                </a:gdLst>
                <a:ahLst/>
                <a:cxnLst>
                  <a:cxn ang="0">
                    <a:pos x="T0" y="T1"/>
                  </a:cxn>
                  <a:cxn ang="0">
                    <a:pos x="T2" y="T3"/>
                  </a:cxn>
                  <a:cxn ang="0">
                    <a:pos x="T4" y="T5"/>
                  </a:cxn>
                  <a:cxn ang="0">
                    <a:pos x="T6" y="T7"/>
                  </a:cxn>
                  <a:cxn ang="0">
                    <a:pos x="T8" y="T9"/>
                  </a:cxn>
                  <a:cxn ang="0">
                    <a:pos x="T10" y="T11"/>
                  </a:cxn>
                  <a:cxn ang="0">
                    <a:pos x="T12" y="T13"/>
                  </a:cxn>
                </a:cxnLst>
                <a:rect l="0" t="0" r="r" b="b"/>
                <a:pathLst>
                  <a:path w="1052" h="1491">
                    <a:moveTo>
                      <a:pt x="1047" y="0"/>
                    </a:moveTo>
                    <a:cubicBezTo>
                      <a:pt x="1047" y="0"/>
                      <a:pt x="1047" y="0"/>
                      <a:pt x="1047" y="0"/>
                    </a:cubicBezTo>
                    <a:cubicBezTo>
                      <a:pt x="442" y="123"/>
                      <a:pt x="0" y="517"/>
                      <a:pt x="0" y="984"/>
                    </a:cubicBezTo>
                    <a:cubicBezTo>
                      <a:pt x="0" y="1168"/>
                      <a:pt x="69" y="1342"/>
                      <a:pt x="191" y="1491"/>
                    </a:cubicBezTo>
                    <a:cubicBezTo>
                      <a:pt x="477" y="1491"/>
                      <a:pt x="477" y="1491"/>
                      <a:pt x="477" y="1491"/>
                    </a:cubicBezTo>
                    <a:cubicBezTo>
                      <a:pt x="832" y="1152"/>
                      <a:pt x="1052" y="674"/>
                      <a:pt x="1052" y="144"/>
                    </a:cubicBezTo>
                    <a:cubicBezTo>
                      <a:pt x="1052" y="96"/>
                      <a:pt x="1051" y="47"/>
                      <a:pt x="1047" y="0"/>
                    </a:cubicBezTo>
                  </a:path>
                </a:pathLst>
              </a:custGeom>
              <a:solidFill>
                <a:srgbClr val="B4E2F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81" name="íṥḷîḓè">
                <a:extLst>
                  <a:ext uri="{FF2B5EF4-FFF2-40B4-BE49-F238E27FC236}">
                    <a16:creationId xmlns:a16="http://schemas.microsoft.com/office/drawing/2014/main" id="{80EC99BA-EDDF-4744-989F-122612B4D608}"/>
                  </a:ext>
                </a:extLst>
              </p:cNvPr>
              <p:cNvSpPr/>
              <p:nvPr/>
            </p:nvSpPr>
            <p:spPr bwMode="auto">
              <a:xfrm>
                <a:off x="6121401" y="5389563"/>
                <a:ext cx="436563" cy="1588"/>
              </a:xfrm>
              <a:custGeom>
                <a:avLst/>
                <a:gdLst>
                  <a:gd name="T0" fmla="*/ 1652 w 1653"/>
                  <a:gd name="T1" fmla="*/ 0 h 6"/>
                  <a:gd name="T2" fmla="*/ 0 w 1653"/>
                  <a:gd name="T3" fmla="*/ 0 h 6"/>
                  <a:gd name="T4" fmla="*/ 6 w 1653"/>
                  <a:gd name="T5" fmla="*/ 6 h 6"/>
                  <a:gd name="T6" fmla="*/ 1653 w 1653"/>
                  <a:gd name="T7" fmla="*/ 6 h 6"/>
                  <a:gd name="T8" fmla="*/ 1652 w 1653"/>
                  <a:gd name="T9" fmla="*/ 0 h 6"/>
                </a:gdLst>
                <a:ahLst/>
                <a:cxnLst>
                  <a:cxn ang="0">
                    <a:pos x="T0" y="T1"/>
                  </a:cxn>
                  <a:cxn ang="0">
                    <a:pos x="T2" y="T3"/>
                  </a:cxn>
                  <a:cxn ang="0">
                    <a:pos x="T4" y="T5"/>
                  </a:cxn>
                  <a:cxn ang="0">
                    <a:pos x="T6" y="T7"/>
                  </a:cxn>
                  <a:cxn ang="0">
                    <a:pos x="T8" y="T9"/>
                  </a:cxn>
                </a:cxnLst>
                <a:rect l="0" t="0" r="r" b="b"/>
                <a:pathLst>
                  <a:path w="1653" h="6">
                    <a:moveTo>
                      <a:pt x="1652" y="0"/>
                    </a:moveTo>
                    <a:cubicBezTo>
                      <a:pt x="0" y="0"/>
                      <a:pt x="0" y="0"/>
                      <a:pt x="0" y="0"/>
                    </a:cubicBezTo>
                    <a:cubicBezTo>
                      <a:pt x="2" y="2"/>
                      <a:pt x="4" y="4"/>
                      <a:pt x="6" y="6"/>
                    </a:cubicBezTo>
                    <a:cubicBezTo>
                      <a:pt x="1653" y="6"/>
                      <a:pt x="1653" y="6"/>
                      <a:pt x="1653" y="6"/>
                    </a:cubicBezTo>
                    <a:cubicBezTo>
                      <a:pt x="1652" y="4"/>
                      <a:pt x="1652" y="2"/>
                      <a:pt x="1652" y="0"/>
                    </a:cubicBezTo>
                  </a:path>
                </a:pathLst>
              </a:custGeom>
              <a:solidFill>
                <a:srgbClr val="70C3C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82" name="iṩlîďé">
                <a:extLst>
                  <a:ext uri="{FF2B5EF4-FFF2-40B4-BE49-F238E27FC236}">
                    <a16:creationId xmlns:a16="http://schemas.microsoft.com/office/drawing/2014/main" id="{37149FFF-6095-45CE-A304-97D8478EAB63}"/>
                  </a:ext>
                </a:extLst>
              </p:cNvPr>
              <p:cNvSpPr/>
              <p:nvPr/>
            </p:nvSpPr>
            <p:spPr bwMode="auto">
              <a:xfrm>
                <a:off x="6115051" y="5067301"/>
                <a:ext cx="442913" cy="322263"/>
              </a:xfrm>
              <a:custGeom>
                <a:avLst/>
                <a:gdLst>
                  <a:gd name="T0" fmla="*/ 486 w 1676"/>
                  <a:gd name="T1" fmla="*/ 0 h 1216"/>
                  <a:gd name="T2" fmla="*/ 164 w 1676"/>
                  <a:gd name="T3" fmla="*/ 69 h 1216"/>
                  <a:gd name="T4" fmla="*/ 164 w 1676"/>
                  <a:gd name="T5" fmla="*/ 69 h 1216"/>
                  <a:gd name="T6" fmla="*/ 164 w 1676"/>
                  <a:gd name="T7" fmla="*/ 69 h 1216"/>
                  <a:gd name="T8" fmla="*/ 285 w 1676"/>
                  <a:gd name="T9" fmla="*/ 520 h 1216"/>
                  <a:gd name="T10" fmla="*/ 0 w 1676"/>
                  <a:gd name="T11" fmla="*/ 1193 h 1216"/>
                  <a:gd name="T12" fmla="*/ 24 w 1676"/>
                  <a:gd name="T13" fmla="*/ 1216 h 1216"/>
                  <a:gd name="T14" fmla="*/ 1676 w 1676"/>
                  <a:gd name="T15" fmla="*/ 1216 h 1216"/>
                  <a:gd name="T16" fmla="*/ 1446 w 1676"/>
                  <a:gd name="T17" fmla="*/ 819 h 1216"/>
                  <a:gd name="T18" fmla="*/ 1244 w 1676"/>
                  <a:gd name="T19" fmla="*/ 598 h 1216"/>
                  <a:gd name="T20" fmla="*/ 486 w 1676"/>
                  <a:gd name="T21" fmla="*/ 0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76" h="1216">
                    <a:moveTo>
                      <a:pt x="486" y="0"/>
                    </a:moveTo>
                    <a:cubicBezTo>
                      <a:pt x="371" y="0"/>
                      <a:pt x="262" y="24"/>
                      <a:pt x="164" y="69"/>
                    </a:cubicBezTo>
                    <a:cubicBezTo>
                      <a:pt x="164" y="69"/>
                      <a:pt x="164" y="69"/>
                      <a:pt x="164" y="69"/>
                    </a:cubicBezTo>
                    <a:cubicBezTo>
                      <a:pt x="164" y="69"/>
                      <a:pt x="164" y="69"/>
                      <a:pt x="164" y="69"/>
                    </a:cubicBezTo>
                    <a:cubicBezTo>
                      <a:pt x="242" y="208"/>
                      <a:pt x="285" y="360"/>
                      <a:pt x="285" y="520"/>
                    </a:cubicBezTo>
                    <a:cubicBezTo>
                      <a:pt x="285" y="769"/>
                      <a:pt x="180" y="1001"/>
                      <a:pt x="0" y="1193"/>
                    </a:cubicBezTo>
                    <a:cubicBezTo>
                      <a:pt x="8" y="1201"/>
                      <a:pt x="16" y="1209"/>
                      <a:pt x="24" y="1216"/>
                    </a:cubicBezTo>
                    <a:cubicBezTo>
                      <a:pt x="1676" y="1216"/>
                      <a:pt x="1676" y="1216"/>
                      <a:pt x="1676" y="1216"/>
                    </a:cubicBezTo>
                    <a:cubicBezTo>
                      <a:pt x="1650" y="1057"/>
                      <a:pt x="1566" y="917"/>
                      <a:pt x="1446" y="819"/>
                    </a:cubicBezTo>
                    <a:cubicBezTo>
                      <a:pt x="1443" y="704"/>
                      <a:pt x="1356" y="611"/>
                      <a:pt x="1244" y="598"/>
                    </a:cubicBezTo>
                    <a:cubicBezTo>
                      <a:pt x="1162" y="255"/>
                      <a:pt x="854" y="0"/>
                      <a:pt x="486" y="0"/>
                    </a:cubicBezTo>
                  </a:path>
                </a:pathLst>
              </a:custGeom>
              <a:solidFill>
                <a:srgbClr val="CDECFA"/>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83" name="iŝḻiḓe">
                <a:extLst>
                  <a:ext uri="{FF2B5EF4-FFF2-40B4-BE49-F238E27FC236}">
                    <a16:creationId xmlns:a16="http://schemas.microsoft.com/office/drawing/2014/main" id="{98CD74D8-94EF-40A6-8A02-C071CE2ABF1E}"/>
                  </a:ext>
                </a:extLst>
              </p:cNvPr>
              <p:cNvSpPr/>
              <p:nvPr/>
            </p:nvSpPr>
            <p:spPr bwMode="auto">
              <a:xfrm>
                <a:off x="5978526" y="5086351"/>
                <a:ext cx="211138" cy="296863"/>
              </a:xfrm>
              <a:custGeom>
                <a:avLst/>
                <a:gdLst>
                  <a:gd name="T0" fmla="*/ 677 w 798"/>
                  <a:gd name="T1" fmla="*/ 0 h 1124"/>
                  <a:gd name="T2" fmla="*/ 392 w 798"/>
                  <a:gd name="T3" fmla="*/ 220 h 1124"/>
                  <a:gd name="T4" fmla="*/ 143 w 798"/>
                  <a:gd name="T5" fmla="*/ 161 h 1124"/>
                  <a:gd name="T6" fmla="*/ 0 w 798"/>
                  <a:gd name="T7" fmla="*/ 179 h 1124"/>
                  <a:gd name="T8" fmla="*/ 513 w 798"/>
                  <a:gd name="T9" fmla="*/ 1124 h 1124"/>
                  <a:gd name="T10" fmla="*/ 513 w 798"/>
                  <a:gd name="T11" fmla="*/ 1124 h 1124"/>
                  <a:gd name="T12" fmla="*/ 798 w 798"/>
                  <a:gd name="T13" fmla="*/ 451 h 1124"/>
                  <a:gd name="T14" fmla="*/ 677 w 798"/>
                  <a:gd name="T15" fmla="*/ 0 h 1124"/>
                  <a:gd name="T16" fmla="*/ 677 w 798"/>
                  <a:gd name="T17" fmla="*/ 0 h 1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8" h="1124">
                    <a:moveTo>
                      <a:pt x="677" y="0"/>
                    </a:moveTo>
                    <a:cubicBezTo>
                      <a:pt x="566" y="51"/>
                      <a:pt x="468" y="126"/>
                      <a:pt x="392" y="220"/>
                    </a:cubicBezTo>
                    <a:cubicBezTo>
                      <a:pt x="318" y="182"/>
                      <a:pt x="233" y="161"/>
                      <a:pt x="143" y="161"/>
                    </a:cubicBezTo>
                    <a:cubicBezTo>
                      <a:pt x="94" y="161"/>
                      <a:pt x="45" y="167"/>
                      <a:pt x="0" y="179"/>
                    </a:cubicBezTo>
                    <a:cubicBezTo>
                      <a:pt x="75" y="545"/>
                      <a:pt x="258" y="871"/>
                      <a:pt x="513" y="1124"/>
                    </a:cubicBezTo>
                    <a:cubicBezTo>
                      <a:pt x="513" y="1124"/>
                      <a:pt x="513" y="1124"/>
                      <a:pt x="513" y="1124"/>
                    </a:cubicBezTo>
                    <a:cubicBezTo>
                      <a:pt x="693" y="932"/>
                      <a:pt x="798" y="700"/>
                      <a:pt x="798" y="451"/>
                    </a:cubicBezTo>
                    <a:cubicBezTo>
                      <a:pt x="798" y="291"/>
                      <a:pt x="755" y="139"/>
                      <a:pt x="677" y="0"/>
                    </a:cubicBezTo>
                    <a:cubicBezTo>
                      <a:pt x="677" y="0"/>
                      <a:pt x="677" y="0"/>
                      <a:pt x="677" y="0"/>
                    </a:cubicBezTo>
                  </a:path>
                </a:pathLst>
              </a:custGeom>
              <a:solidFill>
                <a:srgbClr val="BDE6F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grpSp>
        <p:grpSp>
          <p:nvGrpSpPr>
            <p:cNvPr id="8" name="iṣ1ïḋé">
              <a:extLst>
                <a:ext uri="{FF2B5EF4-FFF2-40B4-BE49-F238E27FC236}">
                  <a16:creationId xmlns:a16="http://schemas.microsoft.com/office/drawing/2014/main" id="{753D7FBF-0E34-4D15-ADA8-50893C5BCF61}"/>
                </a:ext>
              </a:extLst>
            </p:cNvPr>
            <p:cNvGrpSpPr/>
            <p:nvPr/>
          </p:nvGrpSpPr>
          <p:grpSpPr>
            <a:xfrm>
              <a:off x="3237328" y="1367439"/>
              <a:ext cx="911534" cy="911534"/>
              <a:chOff x="4462645" y="1965241"/>
              <a:chExt cx="1017604" cy="1017604"/>
            </a:xfrm>
          </p:grpSpPr>
          <p:sp>
            <p:nvSpPr>
              <p:cNvPr id="23" name="îSļïḍé">
                <a:extLst>
                  <a:ext uri="{FF2B5EF4-FFF2-40B4-BE49-F238E27FC236}">
                    <a16:creationId xmlns:a16="http://schemas.microsoft.com/office/drawing/2014/main" id="{5858BB6C-7DF1-472E-9759-EDCA1423C9F4}"/>
                  </a:ext>
                </a:extLst>
              </p:cNvPr>
              <p:cNvSpPr/>
              <p:nvPr/>
            </p:nvSpPr>
            <p:spPr>
              <a:xfrm>
                <a:off x="4462645" y="1965241"/>
                <a:ext cx="1017604" cy="1017604"/>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chemeClr val="accent1"/>
              </a:solidFill>
              <a:ln w="57150">
                <a:solidFill>
                  <a:schemeClr val="bg1"/>
                </a:solidFill>
                <a:miter lim="400000"/>
              </a:ln>
            </p:spPr>
            <p:txBody>
              <a:bodyPr wrap="none" lIns="19050" tIns="19050" rIns="19050" bIns="19050" anchor="ctr">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lvl="0" algn="ctr"/>
                <a:endParaRPr lang="zh-CN" altLang="en-US" sz="2000" dirty="0">
                  <a:solidFill>
                    <a:schemeClr val="bg1"/>
                  </a:solidFill>
                </a:endParaRPr>
              </a:p>
            </p:txBody>
          </p:sp>
          <p:sp>
            <p:nvSpPr>
              <p:cNvPr id="24" name="í$ļïḍé">
                <a:extLst>
                  <a:ext uri="{FF2B5EF4-FFF2-40B4-BE49-F238E27FC236}">
                    <a16:creationId xmlns:a16="http://schemas.microsoft.com/office/drawing/2014/main" id="{2D2DB792-D66D-4285-A41E-DD570750A219}"/>
                  </a:ext>
                </a:extLst>
              </p:cNvPr>
              <p:cNvSpPr/>
              <p:nvPr/>
            </p:nvSpPr>
            <p:spPr bwMode="auto">
              <a:xfrm>
                <a:off x="4675312" y="2242200"/>
                <a:ext cx="592269" cy="463684"/>
              </a:xfrm>
              <a:custGeom>
                <a:avLst/>
                <a:gdLst>
                  <a:gd name="T0" fmla="*/ 452 w 533"/>
                  <a:gd name="T1" fmla="*/ 226 h 418"/>
                  <a:gd name="T2" fmla="*/ 452 w 533"/>
                  <a:gd name="T3" fmla="*/ 392 h 418"/>
                  <a:gd name="T4" fmla="*/ 425 w 533"/>
                  <a:gd name="T5" fmla="*/ 418 h 418"/>
                  <a:gd name="T6" fmla="*/ 108 w 533"/>
                  <a:gd name="T7" fmla="*/ 418 h 418"/>
                  <a:gd name="T8" fmla="*/ 81 w 533"/>
                  <a:gd name="T9" fmla="*/ 392 h 418"/>
                  <a:gd name="T10" fmla="*/ 81 w 533"/>
                  <a:gd name="T11" fmla="*/ 226 h 418"/>
                  <a:gd name="T12" fmla="*/ 94 w 533"/>
                  <a:gd name="T13" fmla="*/ 204 h 418"/>
                  <a:gd name="T14" fmla="*/ 253 w 533"/>
                  <a:gd name="T15" fmla="*/ 105 h 418"/>
                  <a:gd name="T16" fmla="*/ 281 w 533"/>
                  <a:gd name="T17" fmla="*/ 105 h 418"/>
                  <a:gd name="T18" fmla="*/ 440 w 533"/>
                  <a:gd name="T19" fmla="*/ 204 h 418"/>
                  <a:gd name="T20" fmla="*/ 452 w 533"/>
                  <a:gd name="T21" fmla="*/ 226 h 418"/>
                  <a:gd name="T22" fmla="*/ 517 w 533"/>
                  <a:gd name="T23" fmla="*/ 153 h 418"/>
                  <a:gd name="T24" fmla="*/ 281 w 533"/>
                  <a:gd name="T25" fmla="*/ 5 h 418"/>
                  <a:gd name="T26" fmla="*/ 253 w 533"/>
                  <a:gd name="T27" fmla="*/ 5 h 418"/>
                  <a:gd name="T28" fmla="*/ 17 w 533"/>
                  <a:gd name="T29" fmla="*/ 153 h 418"/>
                  <a:gd name="T30" fmla="*/ 8 w 533"/>
                  <a:gd name="T31" fmla="*/ 190 h 418"/>
                  <a:gd name="T32" fmla="*/ 45 w 533"/>
                  <a:gd name="T33" fmla="*/ 198 h 418"/>
                  <a:gd name="T34" fmla="*/ 267 w 533"/>
                  <a:gd name="T35" fmla="*/ 59 h 418"/>
                  <a:gd name="T36" fmla="*/ 489 w 533"/>
                  <a:gd name="T37" fmla="*/ 198 h 418"/>
                  <a:gd name="T38" fmla="*/ 503 w 533"/>
                  <a:gd name="T39" fmla="*/ 202 h 418"/>
                  <a:gd name="T40" fmla="*/ 525 w 533"/>
                  <a:gd name="T41" fmla="*/ 189 h 418"/>
                  <a:gd name="T42" fmla="*/ 517 w 533"/>
                  <a:gd name="T43" fmla="*/ 153 h 4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33" h="418">
                    <a:moveTo>
                      <a:pt x="452" y="226"/>
                    </a:moveTo>
                    <a:lnTo>
                      <a:pt x="452" y="392"/>
                    </a:lnTo>
                    <a:cubicBezTo>
                      <a:pt x="452" y="406"/>
                      <a:pt x="440" y="418"/>
                      <a:pt x="425" y="418"/>
                    </a:cubicBezTo>
                    <a:lnTo>
                      <a:pt x="108" y="418"/>
                    </a:lnTo>
                    <a:cubicBezTo>
                      <a:pt x="93" y="418"/>
                      <a:pt x="81" y="406"/>
                      <a:pt x="81" y="392"/>
                    </a:cubicBezTo>
                    <a:lnTo>
                      <a:pt x="81" y="226"/>
                    </a:lnTo>
                    <a:cubicBezTo>
                      <a:pt x="81" y="217"/>
                      <a:pt x="86" y="209"/>
                      <a:pt x="94" y="204"/>
                    </a:cubicBezTo>
                    <a:lnTo>
                      <a:pt x="253" y="105"/>
                    </a:lnTo>
                    <a:cubicBezTo>
                      <a:pt x="261" y="99"/>
                      <a:pt x="272" y="99"/>
                      <a:pt x="281" y="105"/>
                    </a:cubicBezTo>
                    <a:lnTo>
                      <a:pt x="440" y="204"/>
                    </a:lnTo>
                    <a:cubicBezTo>
                      <a:pt x="447" y="209"/>
                      <a:pt x="452" y="217"/>
                      <a:pt x="452" y="226"/>
                    </a:cubicBezTo>
                    <a:close/>
                    <a:moveTo>
                      <a:pt x="517" y="153"/>
                    </a:moveTo>
                    <a:lnTo>
                      <a:pt x="281" y="5"/>
                    </a:lnTo>
                    <a:cubicBezTo>
                      <a:pt x="272" y="0"/>
                      <a:pt x="261" y="0"/>
                      <a:pt x="253" y="5"/>
                    </a:cubicBezTo>
                    <a:lnTo>
                      <a:pt x="17" y="153"/>
                    </a:lnTo>
                    <a:cubicBezTo>
                      <a:pt x="4" y="161"/>
                      <a:pt x="0" y="177"/>
                      <a:pt x="8" y="190"/>
                    </a:cubicBezTo>
                    <a:cubicBezTo>
                      <a:pt x="16" y="202"/>
                      <a:pt x="32" y="206"/>
                      <a:pt x="45" y="198"/>
                    </a:cubicBezTo>
                    <a:lnTo>
                      <a:pt x="267" y="59"/>
                    </a:lnTo>
                    <a:lnTo>
                      <a:pt x="489" y="198"/>
                    </a:lnTo>
                    <a:cubicBezTo>
                      <a:pt x="493" y="201"/>
                      <a:pt x="498" y="202"/>
                      <a:pt x="503" y="202"/>
                    </a:cubicBezTo>
                    <a:cubicBezTo>
                      <a:pt x="512" y="202"/>
                      <a:pt x="520" y="198"/>
                      <a:pt x="525" y="189"/>
                    </a:cubicBezTo>
                    <a:cubicBezTo>
                      <a:pt x="533" y="177"/>
                      <a:pt x="529" y="161"/>
                      <a:pt x="517" y="153"/>
                    </a:cubicBezTo>
                    <a:close/>
                  </a:path>
                </a:pathLst>
              </a:custGeom>
              <a:solidFill>
                <a:schemeClr val="bg1"/>
              </a:solidFill>
              <a:ln>
                <a:noFill/>
              </a:ln>
            </p:spPr>
            <p:txBody>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zh-CN" altLang="en-US"/>
              </a:p>
            </p:txBody>
          </p:sp>
        </p:grpSp>
        <p:grpSp>
          <p:nvGrpSpPr>
            <p:cNvPr id="9" name="îṥļíďé">
              <a:extLst>
                <a:ext uri="{FF2B5EF4-FFF2-40B4-BE49-F238E27FC236}">
                  <a16:creationId xmlns:a16="http://schemas.microsoft.com/office/drawing/2014/main" id="{C2CA2E2E-11B2-415B-88D0-65931C22CEB5}"/>
                </a:ext>
              </a:extLst>
            </p:cNvPr>
            <p:cNvGrpSpPr/>
            <p:nvPr/>
          </p:nvGrpSpPr>
          <p:grpSpPr>
            <a:xfrm>
              <a:off x="4095552" y="3103259"/>
              <a:ext cx="911534" cy="911534"/>
              <a:chOff x="4462645" y="1965241"/>
              <a:chExt cx="1017604" cy="1017604"/>
            </a:xfrm>
          </p:grpSpPr>
          <p:sp>
            <p:nvSpPr>
              <p:cNvPr id="21" name="îsļïḋe">
                <a:extLst>
                  <a:ext uri="{FF2B5EF4-FFF2-40B4-BE49-F238E27FC236}">
                    <a16:creationId xmlns:a16="http://schemas.microsoft.com/office/drawing/2014/main" id="{1A33E1DF-7338-44F0-BCFD-E234E266A456}"/>
                  </a:ext>
                </a:extLst>
              </p:cNvPr>
              <p:cNvSpPr/>
              <p:nvPr/>
            </p:nvSpPr>
            <p:spPr>
              <a:xfrm>
                <a:off x="4462645" y="1965241"/>
                <a:ext cx="1017604" cy="1017604"/>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chemeClr val="accent1"/>
              </a:solidFill>
              <a:ln w="57150">
                <a:solidFill>
                  <a:schemeClr val="bg1"/>
                </a:solidFill>
                <a:miter lim="400000"/>
              </a:ln>
            </p:spPr>
            <p:txBody>
              <a:bodyPr wrap="none" lIns="19050" tIns="19050" rIns="19050" bIns="19050" anchor="ctr">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lvl="0" algn="ctr"/>
                <a:endParaRPr lang="zh-CN" altLang="en-US" sz="2000" dirty="0">
                  <a:solidFill>
                    <a:schemeClr val="bg1"/>
                  </a:solidFill>
                </a:endParaRPr>
              </a:p>
            </p:txBody>
          </p:sp>
          <p:sp>
            <p:nvSpPr>
              <p:cNvPr id="22" name="iSľîde">
                <a:extLst>
                  <a:ext uri="{FF2B5EF4-FFF2-40B4-BE49-F238E27FC236}">
                    <a16:creationId xmlns:a16="http://schemas.microsoft.com/office/drawing/2014/main" id="{CAA5512F-DE09-40C1-980E-6983B6C0CD63}"/>
                  </a:ext>
                </a:extLst>
              </p:cNvPr>
              <p:cNvSpPr/>
              <p:nvPr/>
            </p:nvSpPr>
            <p:spPr bwMode="auto">
              <a:xfrm>
                <a:off x="4675312" y="2232420"/>
                <a:ext cx="592269" cy="483242"/>
              </a:xfrm>
              <a:custGeom>
                <a:avLst/>
                <a:gdLst>
                  <a:gd name="connsiteX0" fmla="*/ 508188 w 609120"/>
                  <a:gd name="connsiteY0" fmla="*/ 388434 h 496992"/>
                  <a:gd name="connsiteX1" fmla="*/ 508188 w 609120"/>
                  <a:gd name="connsiteY1" fmla="*/ 438152 h 496992"/>
                  <a:gd name="connsiteX2" fmla="*/ 557983 w 609120"/>
                  <a:gd name="connsiteY2" fmla="*/ 438152 h 496992"/>
                  <a:gd name="connsiteX3" fmla="*/ 557983 w 609120"/>
                  <a:gd name="connsiteY3" fmla="*/ 388434 h 496992"/>
                  <a:gd name="connsiteX4" fmla="*/ 51136 w 609120"/>
                  <a:gd name="connsiteY4" fmla="*/ 388434 h 496992"/>
                  <a:gd name="connsiteX5" fmla="*/ 51136 w 609120"/>
                  <a:gd name="connsiteY5" fmla="*/ 438152 h 496992"/>
                  <a:gd name="connsiteX6" fmla="*/ 100931 w 609120"/>
                  <a:gd name="connsiteY6" fmla="*/ 438152 h 496992"/>
                  <a:gd name="connsiteX7" fmla="*/ 100931 w 609120"/>
                  <a:gd name="connsiteY7" fmla="*/ 388434 h 496992"/>
                  <a:gd name="connsiteX8" fmla="*/ 508188 w 609120"/>
                  <a:gd name="connsiteY8" fmla="*/ 314770 h 496992"/>
                  <a:gd name="connsiteX9" fmla="*/ 508188 w 609120"/>
                  <a:gd name="connsiteY9" fmla="*/ 364430 h 496992"/>
                  <a:gd name="connsiteX10" fmla="*/ 557983 w 609120"/>
                  <a:gd name="connsiteY10" fmla="*/ 364430 h 496992"/>
                  <a:gd name="connsiteX11" fmla="*/ 557983 w 609120"/>
                  <a:gd name="connsiteY11" fmla="*/ 314770 h 496992"/>
                  <a:gd name="connsiteX12" fmla="*/ 51136 w 609120"/>
                  <a:gd name="connsiteY12" fmla="*/ 314770 h 496992"/>
                  <a:gd name="connsiteX13" fmla="*/ 51136 w 609120"/>
                  <a:gd name="connsiteY13" fmla="*/ 364430 h 496992"/>
                  <a:gd name="connsiteX14" fmla="*/ 100931 w 609120"/>
                  <a:gd name="connsiteY14" fmla="*/ 364430 h 496992"/>
                  <a:gd name="connsiteX15" fmla="*/ 100931 w 609120"/>
                  <a:gd name="connsiteY15" fmla="*/ 314770 h 496992"/>
                  <a:gd name="connsiteX16" fmla="*/ 354456 w 609120"/>
                  <a:gd name="connsiteY16" fmla="*/ 314763 h 496992"/>
                  <a:gd name="connsiteX17" fmla="*/ 354456 w 609120"/>
                  <a:gd name="connsiteY17" fmla="*/ 364425 h 496992"/>
                  <a:gd name="connsiteX18" fmla="*/ 404189 w 609120"/>
                  <a:gd name="connsiteY18" fmla="*/ 364425 h 496992"/>
                  <a:gd name="connsiteX19" fmla="*/ 404189 w 609120"/>
                  <a:gd name="connsiteY19" fmla="*/ 314763 h 496992"/>
                  <a:gd name="connsiteX20" fmla="*/ 279770 w 609120"/>
                  <a:gd name="connsiteY20" fmla="*/ 314763 h 496992"/>
                  <a:gd name="connsiteX21" fmla="*/ 279770 w 609120"/>
                  <a:gd name="connsiteY21" fmla="*/ 364425 h 496992"/>
                  <a:gd name="connsiteX22" fmla="*/ 329561 w 609120"/>
                  <a:gd name="connsiteY22" fmla="*/ 364425 h 496992"/>
                  <a:gd name="connsiteX23" fmla="*/ 329561 w 609120"/>
                  <a:gd name="connsiteY23" fmla="*/ 314763 h 496992"/>
                  <a:gd name="connsiteX24" fmla="*/ 205085 w 609120"/>
                  <a:gd name="connsiteY24" fmla="*/ 314763 h 496992"/>
                  <a:gd name="connsiteX25" fmla="*/ 205085 w 609120"/>
                  <a:gd name="connsiteY25" fmla="*/ 364425 h 496992"/>
                  <a:gd name="connsiteX26" fmla="*/ 254875 w 609120"/>
                  <a:gd name="connsiteY26" fmla="*/ 364425 h 496992"/>
                  <a:gd name="connsiteX27" fmla="*/ 254875 w 609120"/>
                  <a:gd name="connsiteY27" fmla="*/ 314763 h 496992"/>
                  <a:gd name="connsiteX28" fmla="*/ 469471 w 609120"/>
                  <a:gd name="connsiteY28" fmla="*/ 288542 h 496992"/>
                  <a:gd name="connsiteX29" fmla="*/ 596700 w 609120"/>
                  <a:gd name="connsiteY29" fmla="*/ 288542 h 496992"/>
                  <a:gd name="connsiteX30" fmla="*/ 596700 w 609120"/>
                  <a:gd name="connsiteY30" fmla="*/ 496992 h 496992"/>
                  <a:gd name="connsiteX31" fmla="*/ 469471 w 609120"/>
                  <a:gd name="connsiteY31" fmla="*/ 496992 h 496992"/>
                  <a:gd name="connsiteX32" fmla="*/ 12419 w 609120"/>
                  <a:gd name="connsiteY32" fmla="*/ 288542 h 496992"/>
                  <a:gd name="connsiteX33" fmla="*/ 139648 w 609120"/>
                  <a:gd name="connsiteY33" fmla="*/ 288542 h 496992"/>
                  <a:gd name="connsiteX34" fmla="*/ 139648 w 609120"/>
                  <a:gd name="connsiteY34" fmla="*/ 496992 h 496992"/>
                  <a:gd name="connsiteX35" fmla="*/ 12419 w 609120"/>
                  <a:gd name="connsiteY35" fmla="*/ 496992 h 496992"/>
                  <a:gd name="connsiteX36" fmla="*/ 469471 w 609120"/>
                  <a:gd name="connsiteY36" fmla="*/ 257070 h 496992"/>
                  <a:gd name="connsiteX37" fmla="*/ 609120 w 609120"/>
                  <a:gd name="connsiteY37" fmla="*/ 257070 h 496992"/>
                  <a:gd name="connsiteX38" fmla="*/ 609120 w 609120"/>
                  <a:gd name="connsiteY38" fmla="*/ 271959 h 496992"/>
                  <a:gd name="connsiteX39" fmla="*/ 469471 w 609120"/>
                  <a:gd name="connsiteY39" fmla="*/ 271959 h 496992"/>
                  <a:gd name="connsiteX40" fmla="*/ 0 w 609120"/>
                  <a:gd name="connsiteY40" fmla="*/ 257070 h 496992"/>
                  <a:gd name="connsiteX41" fmla="*/ 139649 w 609120"/>
                  <a:gd name="connsiteY41" fmla="*/ 257070 h 496992"/>
                  <a:gd name="connsiteX42" fmla="*/ 139649 w 609120"/>
                  <a:gd name="connsiteY42" fmla="*/ 271959 h 496992"/>
                  <a:gd name="connsiteX43" fmla="*/ 0 w 609120"/>
                  <a:gd name="connsiteY43" fmla="*/ 271959 h 496992"/>
                  <a:gd name="connsiteX44" fmla="*/ 354456 w 609120"/>
                  <a:gd name="connsiteY44" fmla="*/ 240183 h 496992"/>
                  <a:gd name="connsiteX45" fmla="*/ 354456 w 609120"/>
                  <a:gd name="connsiteY45" fmla="*/ 289903 h 496992"/>
                  <a:gd name="connsiteX46" fmla="*/ 404189 w 609120"/>
                  <a:gd name="connsiteY46" fmla="*/ 289903 h 496992"/>
                  <a:gd name="connsiteX47" fmla="*/ 404189 w 609120"/>
                  <a:gd name="connsiteY47" fmla="*/ 240183 h 496992"/>
                  <a:gd name="connsiteX48" fmla="*/ 279770 w 609120"/>
                  <a:gd name="connsiteY48" fmla="*/ 240183 h 496992"/>
                  <a:gd name="connsiteX49" fmla="*/ 279770 w 609120"/>
                  <a:gd name="connsiteY49" fmla="*/ 289903 h 496992"/>
                  <a:gd name="connsiteX50" fmla="*/ 329561 w 609120"/>
                  <a:gd name="connsiteY50" fmla="*/ 289903 h 496992"/>
                  <a:gd name="connsiteX51" fmla="*/ 329561 w 609120"/>
                  <a:gd name="connsiteY51" fmla="*/ 240183 h 496992"/>
                  <a:gd name="connsiteX52" fmla="*/ 205085 w 609120"/>
                  <a:gd name="connsiteY52" fmla="*/ 240183 h 496992"/>
                  <a:gd name="connsiteX53" fmla="*/ 205085 w 609120"/>
                  <a:gd name="connsiteY53" fmla="*/ 289903 h 496992"/>
                  <a:gd name="connsiteX54" fmla="*/ 254875 w 609120"/>
                  <a:gd name="connsiteY54" fmla="*/ 289903 h 496992"/>
                  <a:gd name="connsiteX55" fmla="*/ 254875 w 609120"/>
                  <a:gd name="connsiteY55" fmla="*/ 240183 h 496992"/>
                  <a:gd name="connsiteX56" fmla="*/ 354456 w 609120"/>
                  <a:gd name="connsiteY56" fmla="*/ 165603 h 496992"/>
                  <a:gd name="connsiteX57" fmla="*/ 354456 w 609120"/>
                  <a:gd name="connsiteY57" fmla="*/ 215323 h 496992"/>
                  <a:gd name="connsiteX58" fmla="*/ 404189 w 609120"/>
                  <a:gd name="connsiteY58" fmla="*/ 215323 h 496992"/>
                  <a:gd name="connsiteX59" fmla="*/ 404189 w 609120"/>
                  <a:gd name="connsiteY59" fmla="*/ 165603 h 496992"/>
                  <a:gd name="connsiteX60" fmla="*/ 279770 w 609120"/>
                  <a:gd name="connsiteY60" fmla="*/ 165603 h 496992"/>
                  <a:gd name="connsiteX61" fmla="*/ 279770 w 609120"/>
                  <a:gd name="connsiteY61" fmla="*/ 215323 h 496992"/>
                  <a:gd name="connsiteX62" fmla="*/ 329561 w 609120"/>
                  <a:gd name="connsiteY62" fmla="*/ 215323 h 496992"/>
                  <a:gd name="connsiteX63" fmla="*/ 329561 w 609120"/>
                  <a:gd name="connsiteY63" fmla="*/ 165603 h 496992"/>
                  <a:gd name="connsiteX64" fmla="*/ 205085 w 609120"/>
                  <a:gd name="connsiteY64" fmla="*/ 165603 h 496992"/>
                  <a:gd name="connsiteX65" fmla="*/ 205085 w 609120"/>
                  <a:gd name="connsiteY65" fmla="*/ 215323 h 496992"/>
                  <a:gd name="connsiteX66" fmla="*/ 254875 w 609120"/>
                  <a:gd name="connsiteY66" fmla="*/ 215323 h 496992"/>
                  <a:gd name="connsiteX67" fmla="*/ 254875 w 609120"/>
                  <a:gd name="connsiteY67" fmla="*/ 165603 h 496992"/>
                  <a:gd name="connsiteX68" fmla="*/ 304666 w 609120"/>
                  <a:gd name="connsiteY68" fmla="*/ 50313 h 496992"/>
                  <a:gd name="connsiteX69" fmla="*/ 446043 w 609120"/>
                  <a:gd name="connsiteY69" fmla="*/ 144792 h 496992"/>
                  <a:gd name="connsiteX70" fmla="*/ 446043 w 609120"/>
                  <a:gd name="connsiteY70" fmla="*/ 496992 h 496992"/>
                  <a:gd name="connsiteX71" fmla="*/ 346119 w 609120"/>
                  <a:gd name="connsiteY71" fmla="*/ 496992 h 496992"/>
                  <a:gd name="connsiteX72" fmla="*/ 346119 w 609120"/>
                  <a:gd name="connsiteY72" fmla="*/ 381018 h 496992"/>
                  <a:gd name="connsiteX73" fmla="*/ 263154 w 609120"/>
                  <a:gd name="connsiteY73" fmla="*/ 381018 h 496992"/>
                  <a:gd name="connsiteX74" fmla="*/ 263154 w 609120"/>
                  <a:gd name="connsiteY74" fmla="*/ 496992 h 496992"/>
                  <a:gd name="connsiteX75" fmla="*/ 163288 w 609120"/>
                  <a:gd name="connsiteY75" fmla="*/ 496992 h 496992"/>
                  <a:gd name="connsiteX76" fmla="*/ 163288 w 609120"/>
                  <a:gd name="connsiteY76" fmla="*/ 144792 h 496992"/>
                  <a:gd name="connsiteX77" fmla="*/ 304666 w 609120"/>
                  <a:gd name="connsiteY77" fmla="*/ 0 h 496992"/>
                  <a:gd name="connsiteX78" fmla="*/ 501719 w 609120"/>
                  <a:gd name="connsiteY78" fmla="*/ 131040 h 496992"/>
                  <a:gd name="connsiteX79" fmla="*/ 455296 w 609120"/>
                  <a:gd name="connsiteY79" fmla="*/ 131040 h 496992"/>
                  <a:gd name="connsiteX80" fmla="*/ 309291 w 609120"/>
                  <a:gd name="connsiteY80" fmla="*/ 33473 h 496992"/>
                  <a:gd name="connsiteX81" fmla="*/ 300040 w 609120"/>
                  <a:gd name="connsiteY81" fmla="*/ 33473 h 496992"/>
                  <a:gd name="connsiteX82" fmla="*/ 154035 w 609120"/>
                  <a:gd name="connsiteY82" fmla="*/ 131040 h 496992"/>
                  <a:gd name="connsiteX83" fmla="*/ 107612 w 609120"/>
                  <a:gd name="connsiteY83" fmla="*/ 131040 h 4969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609120" h="496992">
                    <a:moveTo>
                      <a:pt x="508188" y="388434"/>
                    </a:moveTo>
                    <a:lnTo>
                      <a:pt x="508188" y="438152"/>
                    </a:lnTo>
                    <a:lnTo>
                      <a:pt x="557983" y="438152"/>
                    </a:lnTo>
                    <a:lnTo>
                      <a:pt x="557983" y="388434"/>
                    </a:lnTo>
                    <a:close/>
                    <a:moveTo>
                      <a:pt x="51136" y="388434"/>
                    </a:moveTo>
                    <a:lnTo>
                      <a:pt x="51136" y="438152"/>
                    </a:lnTo>
                    <a:lnTo>
                      <a:pt x="100931" y="438152"/>
                    </a:lnTo>
                    <a:lnTo>
                      <a:pt x="100931" y="388434"/>
                    </a:lnTo>
                    <a:close/>
                    <a:moveTo>
                      <a:pt x="508188" y="314770"/>
                    </a:moveTo>
                    <a:lnTo>
                      <a:pt x="508188" y="364430"/>
                    </a:lnTo>
                    <a:lnTo>
                      <a:pt x="557983" y="364430"/>
                    </a:lnTo>
                    <a:lnTo>
                      <a:pt x="557983" y="314770"/>
                    </a:lnTo>
                    <a:close/>
                    <a:moveTo>
                      <a:pt x="51136" y="314770"/>
                    </a:moveTo>
                    <a:lnTo>
                      <a:pt x="51136" y="364430"/>
                    </a:lnTo>
                    <a:lnTo>
                      <a:pt x="100931" y="364430"/>
                    </a:lnTo>
                    <a:lnTo>
                      <a:pt x="100931" y="314770"/>
                    </a:lnTo>
                    <a:close/>
                    <a:moveTo>
                      <a:pt x="354456" y="314763"/>
                    </a:moveTo>
                    <a:lnTo>
                      <a:pt x="354456" y="364425"/>
                    </a:lnTo>
                    <a:lnTo>
                      <a:pt x="404189" y="364425"/>
                    </a:lnTo>
                    <a:lnTo>
                      <a:pt x="404189" y="314763"/>
                    </a:lnTo>
                    <a:close/>
                    <a:moveTo>
                      <a:pt x="279770" y="314763"/>
                    </a:moveTo>
                    <a:lnTo>
                      <a:pt x="279770" y="364425"/>
                    </a:lnTo>
                    <a:lnTo>
                      <a:pt x="329561" y="364425"/>
                    </a:lnTo>
                    <a:lnTo>
                      <a:pt x="329561" y="314763"/>
                    </a:lnTo>
                    <a:close/>
                    <a:moveTo>
                      <a:pt x="205085" y="314763"/>
                    </a:moveTo>
                    <a:lnTo>
                      <a:pt x="205085" y="364425"/>
                    </a:lnTo>
                    <a:lnTo>
                      <a:pt x="254875" y="364425"/>
                    </a:lnTo>
                    <a:lnTo>
                      <a:pt x="254875" y="314763"/>
                    </a:lnTo>
                    <a:close/>
                    <a:moveTo>
                      <a:pt x="469471" y="288542"/>
                    </a:moveTo>
                    <a:lnTo>
                      <a:pt x="596700" y="288542"/>
                    </a:lnTo>
                    <a:lnTo>
                      <a:pt x="596700" y="496992"/>
                    </a:lnTo>
                    <a:lnTo>
                      <a:pt x="469471" y="496992"/>
                    </a:lnTo>
                    <a:close/>
                    <a:moveTo>
                      <a:pt x="12419" y="288542"/>
                    </a:moveTo>
                    <a:lnTo>
                      <a:pt x="139648" y="288542"/>
                    </a:lnTo>
                    <a:lnTo>
                      <a:pt x="139648" y="496992"/>
                    </a:lnTo>
                    <a:lnTo>
                      <a:pt x="12419" y="496992"/>
                    </a:lnTo>
                    <a:close/>
                    <a:moveTo>
                      <a:pt x="469471" y="257070"/>
                    </a:moveTo>
                    <a:lnTo>
                      <a:pt x="609120" y="257070"/>
                    </a:lnTo>
                    <a:lnTo>
                      <a:pt x="609120" y="271959"/>
                    </a:lnTo>
                    <a:lnTo>
                      <a:pt x="469471" y="271959"/>
                    </a:lnTo>
                    <a:close/>
                    <a:moveTo>
                      <a:pt x="0" y="257070"/>
                    </a:moveTo>
                    <a:lnTo>
                      <a:pt x="139649" y="257070"/>
                    </a:lnTo>
                    <a:lnTo>
                      <a:pt x="139649" y="271959"/>
                    </a:lnTo>
                    <a:lnTo>
                      <a:pt x="0" y="271959"/>
                    </a:lnTo>
                    <a:close/>
                    <a:moveTo>
                      <a:pt x="354456" y="240183"/>
                    </a:moveTo>
                    <a:lnTo>
                      <a:pt x="354456" y="289903"/>
                    </a:lnTo>
                    <a:lnTo>
                      <a:pt x="404189" y="289903"/>
                    </a:lnTo>
                    <a:lnTo>
                      <a:pt x="404189" y="240183"/>
                    </a:lnTo>
                    <a:close/>
                    <a:moveTo>
                      <a:pt x="279770" y="240183"/>
                    </a:moveTo>
                    <a:lnTo>
                      <a:pt x="279770" y="289903"/>
                    </a:lnTo>
                    <a:lnTo>
                      <a:pt x="329561" y="289903"/>
                    </a:lnTo>
                    <a:lnTo>
                      <a:pt x="329561" y="240183"/>
                    </a:lnTo>
                    <a:close/>
                    <a:moveTo>
                      <a:pt x="205085" y="240183"/>
                    </a:moveTo>
                    <a:lnTo>
                      <a:pt x="205085" y="289903"/>
                    </a:lnTo>
                    <a:lnTo>
                      <a:pt x="254875" y="289903"/>
                    </a:lnTo>
                    <a:lnTo>
                      <a:pt x="254875" y="240183"/>
                    </a:lnTo>
                    <a:close/>
                    <a:moveTo>
                      <a:pt x="354456" y="165603"/>
                    </a:moveTo>
                    <a:lnTo>
                      <a:pt x="354456" y="215323"/>
                    </a:lnTo>
                    <a:lnTo>
                      <a:pt x="404189" y="215323"/>
                    </a:lnTo>
                    <a:lnTo>
                      <a:pt x="404189" y="165603"/>
                    </a:lnTo>
                    <a:close/>
                    <a:moveTo>
                      <a:pt x="279770" y="165603"/>
                    </a:moveTo>
                    <a:lnTo>
                      <a:pt x="279770" y="215323"/>
                    </a:lnTo>
                    <a:lnTo>
                      <a:pt x="329561" y="215323"/>
                    </a:lnTo>
                    <a:lnTo>
                      <a:pt x="329561" y="165603"/>
                    </a:lnTo>
                    <a:close/>
                    <a:moveTo>
                      <a:pt x="205085" y="165603"/>
                    </a:moveTo>
                    <a:lnTo>
                      <a:pt x="205085" y="215323"/>
                    </a:lnTo>
                    <a:lnTo>
                      <a:pt x="254875" y="215323"/>
                    </a:lnTo>
                    <a:lnTo>
                      <a:pt x="254875" y="165603"/>
                    </a:lnTo>
                    <a:close/>
                    <a:moveTo>
                      <a:pt x="304666" y="50313"/>
                    </a:moveTo>
                    <a:lnTo>
                      <a:pt x="446043" y="144792"/>
                    </a:lnTo>
                    <a:lnTo>
                      <a:pt x="446043" y="496992"/>
                    </a:lnTo>
                    <a:lnTo>
                      <a:pt x="346119" y="496992"/>
                    </a:lnTo>
                    <a:lnTo>
                      <a:pt x="346119" y="381018"/>
                    </a:lnTo>
                    <a:lnTo>
                      <a:pt x="263154" y="381018"/>
                    </a:lnTo>
                    <a:lnTo>
                      <a:pt x="263154" y="496992"/>
                    </a:lnTo>
                    <a:lnTo>
                      <a:pt x="163288" y="496992"/>
                    </a:lnTo>
                    <a:lnTo>
                      <a:pt x="163288" y="144792"/>
                    </a:lnTo>
                    <a:close/>
                    <a:moveTo>
                      <a:pt x="304666" y="0"/>
                    </a:moveTo>
                    <a:lnTo>
                      <a:pt x="501719" y="131040"/>
                    </a:lnTo>
                    <a:lnTo>
                      <a:pt x="455296" y="131040"/>
                    </a:lnTo>
                    <a:lnTo>
                      <a:pt x="309291" y="33473"/>
                    </a:lnTo>
                    <a:lnTo>
                      <a:pt x="300040" y="33473"/>
                    </a:lnTo>
                    <a:lnTo>
                      <a:pt x="154035" y="131040"/>
                    </a:lnTo>
                    <a:lnTo>
                      <a:pt x="107612" y="131040"/>
                    </a:lnTo>
                    <a:close/>
                  </a:path>
                </a:pathLst>
              </a:custGeom>
              <a:solidFill>
                <a:schemeClr val="bg1"/>
              </a:solidFill>
              <a:ln>
                <a:noFill/>
              </a:ln>
            </p:spPr>
            <p:txBody>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zh-CN" altLang="en-US"/>
              </a:p>
            </p:txBody>
          </p:sp>
        </p:grpSp>
        <p:grpSp>
          <p:nvGrpSpPr>
            <p:cNvPr id="10" name="íşļïďê">
              <a:extLst>
                <a:ext uri="{FF2B5EF4-FFF2-40B4-BE49-F238E27FC236}">
                  <a16:creationId xmlns:a16="http://schemas.microsoft.com/office/drawing/2014/main" id="{7980E3A2-6A3F-4C3C-93BE-ED115698243B}"/>
                </a:ext>
              </a:extLst>
            </p:cNvPr>
            <p:cNvGrpSpPr/>
            <p:nvPr/>
          </p:nvGrpSpPr>
          <p:grpSpPr>
            <a:xfrm>
              <a:off x="3237328" y="4934861"/>
              <a:ext cx="911534" cy="911534"/>
              <a:chOff x="4462645" y="1965241"/>
              <a:chExt cx="1017604" cy="1017604"/>
            </a:xfrm>
          </p:grpSpPr>
          <p:sp>
            <p:nvSpPr>
              <p:cNvPr id="19" name="isļide">
                <a:extLst>
                  <a:ext uri="{FF2B5EF4-FFF2-40B4-BE49-F238E27FC236}">
                    <a16:creationId xmlns:a16="http://schemas.microsoft.com/office/drawing/2014/main" id="{F1AF44CF-C39D-4351-8905-F8188D4C7989}"/>
                  </a:ext>
                </a:extLst>
              </p:cNvPr>
              <p:cNvSpPr/>
              <p:nvPr/>
            </p:nvSpPr>
            <p:spPr>
              <a:xfrm>
                <a:off x="4462645" y="1965241"/>
                <a:ext cx="1017604" cy="1017604"/>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chemeClr val="accent1"/>
              </a:solidFill>
              <a:ln w="57150">
                <a:solidFill>
                  <a:schemeClr val="bg1"/>
                </a:solidFill>
                <a:miter lim="400000"/>
              </a:ln>
            </p:spPr>
            <p:txBody>
              <a:bodyPr wrap="none" lIns="19050" tIns="19050" rIns="19050" bIns="19050" anchor="ctr">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lvl="0" algn="ctr"/>
                <a:endParaRPr lang="zh-CN" altLang="en-US" sz="2000" dirty="0">
                  <a:solidFill>
                    <a:schemeClr val="bg1"/>
                  </a:solidFill>
                </a:endParaRPr>
              </a:p>
            </p:txBody>
          </p:sp>
          <p:sp>
            <p:nvSpPr>
              <p:cNvPr id="20" name="îŝḻîďè">
                <a:extLst>
                  <a:ext uri="{FF2B5EF4-FFF2-40B4-BE49-F238E27FC236}">
                    <a16:creationId xmlns:a16="http://schemas.microsoft.com/office/drawing/2014/main" id="{965A3031-45BD-4557-9949-4E442A64A60B}"/>
                  </a:ext>
                </a:extLst>
              </p:cNvPr>
              <p:cNvSpPr/>
              <p:nvPr/>
            </p:nvSpPr>
            <p:spPr bwMode="auto">
              <a:xfrm>
                <a:off x="4675312" y="2201629"/>
                <a:ext cx="592269" cy="544825"/>
              </a:xfrm>
              <a:custGeom>
                <a:avLst/>
                <a:gdLst>
                  <a:gd name="T0" fmla="*/ 1063 w 1485"/>
                  <a:gd name="T1" fmla="*/ 120 h 1368"/>
                  <a:gd name="T2" fmla="*/ 1131 w 1485"/>
                  <a:gd name="T3" fmla="*/ 88 h 1368"/>
                  <a:gd name="T4" fmla="*/ 1154 w 1485"/>
                  <a:gd name="T5" fmla="*/ 171 h 1368"/>
                  <a:gd name="T6" fmla="*/ 1281 w 1485"/>
                  <a:gd name="T7" fmla="*/ 424 h 1368"/>
                  <a:gd name="T8" fmla="*/ 1281 w 1485"/>
                  <a:gd name="T9" fmla="*/ 522 h 1368"/>
                  <a:gd name="T10" fmla="*/ 1299 w 1485"/>
                  <a:gd name="T11" fmla="*/ 519 h 1368"/>
                  <a:gd name="T12" fmla="*/ 1299 w 1485"/>
                  <a:gd name="T13" fmla="*/ 619 h 1368"/>
                  <a:gd name="T14" fmla="*/ 1244 w 1485"/>
                  <a:gd name="T15" fmla="*/ 670 h 1368"/>
                  <a:gd name="T16" fmla="*/ 1153 w 1485"/>
                  <a:gd name="T17" fmla="*/ 871 h 1368"/>
                  <a:gd name="T18" fmla="*/ 1485 w 1485"/>
                  <a:gd name="T19" fmla="*/ 1328 h 1368"/>
                  <a:gd name="T20" fmla="*/ 1353 w 1485"/>
                  <a:gd name="T21" fmla="*/ 1328 h 1368"/>
                  <a:gd name="T22" fmla="*/ 1018 w 1485"/>
                  <a:gd name="T23" fmla="*/ 845 h 1368"/>
                  <a:gd name="T24" fmla="*/ 1083 w 1485"/>
                  <a:gd name="T25" fmla="*/ 682 h 1368"/>
                  <a:gd name="T26" fmla="*/ 1148 w 1485"/>
                  <a:gd name="T27" fmla="*/ 598 h 1368"/>
                  <a:gd name="T28" fmla="*/ 1129 w 1485"/>
                  <a:gd name="T29" fmla="*/ 436 h 1368"/>
                  <a:gd name="T30" fmla="*/ 1129 w 1485"/>
                  <a:gd name="T31" fmla="*/ 373 h 1368"/>
                  <a:gd name="T32" fmla="*/ 1063 w 1485"/>
                  <a:gd name="T33" fmla="*/ 120 h 1368"/>
                  <a:gd name="T34" fmla="*/ 465 w 1485"/>
                  <a:gd name="T35" fmla="*/ 846 h 1368"/>
                  <a:gd name="T36" fmla="*/ 405 w 1485"/>
                  <a:gd name="T37" fmla="*/ 682 h 1368"/>
                  <a:gd name="T38" fmla="*/ 334 w 1485"/>
                  <a:gd name="T39" fmla="*/ 596 h 1368"/>
                  <a:gd name="T40" fmla="*/ 358 w 1485"/>
                  <a:gd name="T41" fmla="*/ 436 h 1368"/>
                  <a:gd name="T42" fmla="*/ 358 w 1485"/>
                  <a:gd name="T43" fmla="*/ 372 h 1368"/>
                  <a:gd name="T44" fmla="*/ 357 w 1485"/>
                  <a:gd name="T45" fmla="*/ 316 h 1368"/>
                  <a:gd name="T46" fmla="*/ 372 w 1485"/>
                  <a:gd name="T47" fmla="*/ 161 h 1368"/>
                  <a:gd name="T48" fmla="*/ 206 w 1485"/>
                  <a:gd name="T49" fmla="*/ 424 h 1368"/>
                  <a:gd name="T50" fmla="*/ 206 w 1485"/>
                  <a:gd name="T51" fmla="*/ 522 h 1368"/>
                  <a:gd name="T52" fmla="*/ 188 w 1485"/>
                  <a:gd name="T53" fmla="*/ 519 h 1368"/>
                  <a:gd name="T54" fmla="*/ 183 w 1485"/>
                  <a:gd name="T55" fmla="*/ 617 h 1368"/>
                  <a:gd name="T56" fmla="*/ 243 w 1485"/>
                  <a:gd name="T57" fmla="*/ 670 h 1368"/>
                  <a:gd name="T58" fmla="*/ 329 w 1485"/>
                  <a:gd name="T59" fmla="*/ 872 h 1368"/>
                  <a:gd name="T60" fmla="*/ 0 w 1485"/>
                  <a:gd name="T61" fmla="*/ 1328 h 1368"/>
                  <a:gd name="T62" fmla="*/ 132 w 1485"/>
                  <a:gd name="T63" fmla="*/ 1328 h 1368"/>
                  <a:gd name="T64" fmla="*/ 465 w 1485"/>
                  <a:gd name="T65" fmla="*/ 846 h 1368"/>
                  <a:gd name="T66" fmla="*/ 941 w 1485"/>
                  <a:gd name="T67" fmla="*/ 864 h 1368"/>
                  <a:gd name="T68" fmla="*/ 1041 w 1485"/>
                  <a:gd name="T69" fmla="*/ 642 h 1368"/>
                  <a:gd name="T70" fmla="*/ 1102 w 1485"/>
                  <a:gd name="T71" fmla="*/ 586 h 1368"/>
                  <a:gd name="T72" fmla="*/ 1102 w 1485"/>
                  <a:gd name="T73" fmla="*/ 476 h 1368"/>
                  <a:gd name="T74" fmla="*/ 1081 w 1485"/>
                  <a:gd name="T75" fmla="*/ 479 h 1368"/>
                  <a:gd name="T76" fmla="*/ 1081 w 1485"/>
                  <a:gd name="T77" fmla="*/ 372 h 1368"/>
                  <a:gd name="T78" fmla="*/ 941 w 1485"/>
                  <a:gd name="T79" fmla="*/ 92 h 1368"/>
                  <a:gd name="T80" fmla="*/ 916 w 1485"/>
                  <a:gd name="T81" fmla="*/ 0 h 1368"/>
                  <a:gd name="T82" fmla="*/ 640 w 1485"/>
                  <a:gd name="T83" fmla="*/ 73 h 1368"/>
                  <a:gd name="T84" fmla="*/ 643 w 1485"/>
                  <a:gd name="T85" fmla="*/ 74 h 1368"/>
                  <a:gd name="T86" fmla="*/ 406 w 1485"/>
                  <a:gd name="T87" fmla="*/ 372 h 1368"/>
                  <a:gd name="T88" fmla="*/ 406 w 1485"/>
                  <a:gd name="T89" fmla="*/ 479 h 1368"/>
                  <a:gd name="T90" fmla="*/ 386 w 1485"/>
                  <a:gd name="T91" fmla="*/ 476 h 1368"/>
                  <a:gd name="T92" fmla="*/ 380 w 1485"/>
                  <a:gd name="T93" fmla="*/ 584 h 1368"/>
                  <a:gd name="T94" fmla="*/ 446 w 1485"/>
                  <a:gd name="T95" fmla="*/ 642 h 1368"/>
                  <a:gd name="T96" fmla="*/ 541 w 1485"/>
                  <a:gd name="T97" fmla="*/ 865 h 1368"/>
                  <a:gd name="T98" fmla="*/ 178 w 1485"/>
                  <a:gd name="T99" fmla="*/ 1368 h 1368"/>
                  <a:gd name="T100" fmla="*/ 1307 w 1485"/>
                  <a:gd name="T101" fmla="*/ 1368 h 1368"/>
                  <a:gd name="T102" fmla="*/ 941 w 1485"/>
                  <a:gd name="T103" fmla="*/ 864 h 1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5" h="1368">
                    <a:moveTo>
                      <a:pt x="1063" y="120"/>
                    </a:moveTo>
                    <a:cubicBezTo>
                      <a:pt x="1092" y="111"/>
                      <a:pt x="1117" y="101"/>
                      <a:pt x="1131" y="88"/>
                    </a:cubicBezTo>
                    <a:cubicBezTo>
                      <a:pt x="1131" y="88"/>
                      <a:pt x="1132" y="127"/>
                      <a:pt x="1154" y="171"/>
                    </a:cubicBezTo>
                    <a:cubicBezTo>
                      <a:pt x="1269" y="215"/>
                      <a:pt x="1284" y="318"/>
                      <a:pt x="1281" y="424"/>
                    </a:cubicBezTo>
                    <a:lnTo>
                      <a:pt x="1281" y="522"/>
                    </a:lnTo>
                    <a:cubicBezTo>
                      <a:pt x="1287" y="519"/>
                      <a:pt x="1293" y="518"/>
                      <a:pt x="1299" y="519"/>
                    </a:cubicBezTo>
                    <a:cubicBezTo>
                      <a:pt x="1319" y="525"/>
                      <a:pt x="1308" y="584"/>
                      <a:pt x="1299" y="619"/>
                    </a:cubicBezTo>
                    <a:cubicBezTo>
                      <a:pt x="1290" y="653"/>
                      <a:pt x="1264" y="674"/>
                      <a:pt x="1244" y="670"/>
                    </a:cubicBezTo>
                    <a:cubicBezTo>
                      <a:pt x="1230" y="762"/>
                      <a:pt x="1198" y="828"/>
                      <a:pt x="1153" y="871"/>
                    </a:cubicBezTo>
                    <a:cubicBezTo>
                      <a:pt x="1347" y="941"/>
                      <a:pt x="1485" y="1119"/>
                      <a:pt x="1485" y="1328"/>
                    </a:cubicBezTo>
                    <a:lnTo>
                      <a:pt x="1353" y="1328"/>
                    </a:lnTo>
                    <a:cubicBezTo>
                      <a:pt x="1338" y="1123"/>
                      <a:pt x="1209" y="938"/>
                      <a:pt x="1018" y="845"/>
                    </a:cubicBezTo>
                    <a:cubicBezTo>
                      <a:pt x="1047" y="800"/>
                      <a:pt x="1069" y="746"/>
                      <a:pt x="1083" y="682"/>
                    </a:cubicBezTo>
                    <a:cubicBezTo>
                      <a:pt x="1113" y="668"/>
                      <a:pt x="1137" y="638"/>
                      <a:pt x="1148" y="598"/>
                    </a:cubicBezTo>
                    <a:cubicBezTo>
                      <a:pt x="1157" y="564"/>
                      <a:pt x="1182" y="466"/>
                      <a:pt x="1129" y="436"/>
                    </a:cubicBezTo>
                    <a:lnTo>
                      <a:pt x="1129" y="373"/>
                    </a:lnTo>
                    <a:cubicBezTo>
                      <a:pt x="1131" y="316"/>
                      <a:pt x="1134" y="203"/>
                      <a:pt x="1063" y="120"/>
                    </a:cubicBezTo>
                    <a:close/>
                    <a:moveTo>
                      <a:pt x="465" y="846"/>
                    </a:moveTo>
                    <a:cubicBezTo>
                      <a:pt x="438" y="802"/>
                      <a:pt x="418" y="748"/>
                      <a:pt x="405" y="682"/>
                    </a:cubicBezTo>
                    <a:cubicBezTo>
                      <a:pt x="372" y="668"/>
                      <a:pt x="344" y="635"/>
                      <a:pt x="334" y="596"/>
                    </a:cubicBezTo>
                    <a:cubicBezTo>
                      <a:pt x="324" y="556"/>
                      <a:pt x="306" y="465"/>
                      <a:pt x="358" y="436"/>
                    </a:cubicBezTo>
                    <a:lnTo>
                      <a:pt x="358" y="372"/>
                    </a:lnTo>
                    <a:cubicBezTo>
                      <a:pt x="358" y="352"/>
                      <a:pt x="357" y="334"/>
                      <a:pt x="357" y="316"/>
                    </a:cubicBezTo>
                    <a:cubicBezTo>
                      <a:pt x="355" y="256"/>
                      <a:pt x="356" y="204"/>
                      <a:pt x="372" y="161"/>
                    </a:cubicBezTo>
                    <a:cubicBezTo>
                      <a:pt x="175" y="193"/>
                      <a:pt x="206" y="281"/>
                      <a:pt x="206" y="424"/>
                    </a:cubicBezTo>
                    <a:lnTo>
                      <a:pt x="206" y="522"/>
                    </a:lnTo>
                    <a:cubicBezTo>
                      <a:pt x="200" y="519"/>
                      <a:pt x="194" y="518"/>
                      <a:pt x="188" y="519"/>
                    </a:cubicBezTo>
                    <a:cubicBezTo>
                      <a:pt x="168" y="525"/>
                      <a:pt x="174" y="582"/>
                      <a:pt x="183" y="617"/>
                    </a:cubicBezTo>
                    <a:cubicBezTo>
                      <a:pt x="192" y="651"/>
                      <a:pt x="223" y="674"/>
                      <a:pt x="243" y="670"/>
                    </a:cubicBezTo>
                    <a:cubicBezTo>
                      <a:pt x="258" y="766"/>
                      <a:pt x="288" y="830"/>
                      <a:pt x="329" y="872"/>
                    </a:cubicBezTo>
                    <a:cubicBezTo>
                      <a:pt x="137" y="943"/>
                      <a:pt x="0" y="1120"/>
                      <a:pt x="0" y="1328"/>
                    </a:cubicBezTo>
                    <a:lnTo>
                      <a:pt x="132" y="1328"/>
                    </a:lnTo>
                    <a:cubicBezTo>
                      <a:pt x="147" y="1124"/>
                      <a:pt x="275" y="939"/>
                      <a:pt x="465" y="846"/>
                    </a:cubicBezTo>
                    <a:close/>
                    <a:moveTo>
                      <a:pt x="941" y="864"/>
                    </a:moveTo>
                    <a:cubicBezTo>
                      <a:pt x="990" y="816"/>
                      <a:pt x="1025" y="743"/>
                      <a:pt x="1041" y="642"/>
                    </a:cubicBezTo>
                    <a:cubicBezTo>
                      <a:pt x="1063" y="646"/>
                      <a:pt x="1092" y="624"/>
                      <a:pt x="1102" y="586"/>
                    </a:cubicBezTo>
                    <a:cubicBezTo>
                      <a:pt x="1112" y="547"/>
                      <a:pt x="1124" y="482"/>
                      <a:pt x="1102" y="476"/>
                    </a:cubicBezTo>
                    <a:cubicBezTo>
                      <a:pt x="1095" y="475"/>
                      <a:pt x="1088" y="476"/>
                      <a:pt x="1081" y="479"/>
                    </a:cubicBezTo>
                    <a:lnTo>
                      <a:pt x="1081" y="372"/>
                    </a:lnTo>
                    <a:cubicBezTo>
                      <a:pt x="1085" y="254"/>
                      <a:pt x="1069" y="141"/>
                      <a:pt x="941" y="92"/>
                    </a:cubicBezTo>
                    <a:cubicBezTo>
                      <a:pt x="918" y="44"/>
                      <a:pt x="916" y="0"/>
                      <a:pt x="916" y="0"/>
                    </a:cubicBezTo>
                    <a:cubicBezTo>
                      <a:pt x="859" y="52"/>
                      <a:pt x="640" y="73"/>
                      <a:pt x="640" y="73"/>
                    </a:cubicBezTo>
                    <a:lnTo>
                      <a:pt x="643" y="74"/>
                    </a:lnTo>
                    <a:cubicBezTo>
                      <a:pt x="366" y="102"/>
                      <a:pt x="406" y="202"/>
                      <a:pt x="406" y="372"/>
                    </a:cubicBezTo>
                    <a:lnTo>
                      <a:pt x="406" y="479"/>
                    </a:lnTo>
                    <a:cubicBezTo>
                      <a:pt x="399" y="476"/>
                      <a:pt x="392" y="475"/>
                      <a:pt x="386" y="476"/>
                    </a:cubicBezTo>
                    <a:cubicBezTo>
                      <a:pt x="363" y="482"/>
                      <a:pt x="370" y="545"/>
                      <a:pt x="380" y="584"/>
                    </a:cubicBezTo>
                    <a:cubicBezTo>
                      <a:pt x="390" y="622"/>
                      <a:pt x="424" y="647"/>
                      <a:pt x="446" y="642"/>
                    </a:cubicBezTo>
                    <a:cubicBezTo>
                      <a:pt x="463" y="749"/>
                      <a:pt x="496" y="819"/>
                      <a:pt x="541" y="865"/>
                    </a:cubicBezTo>
                    <a:cubicBezTo>
                      <a:pt x="329" y="943"/>
                      <a:pt x="178" y="1139"/>
                      <a:pt x="178" y="1368"/>
                    </a:cubicBezTo>
                    <a:lnTo>
                      <a:pt x="1307" y="1368"/>
                    </a:lnTo>
                    <a:cubicBezTo>
                      <a:pt x="1306" y="1137"/>
                      <a:pt x="1154" y="941"/>
                      <a:pt x="941" y="864"/>
                    </a:cubicBezTo>
                    <a:close/>
                  </a:path>
                </a:pathLst>
              </a:custGeom>
              <a:solidFill>
                <a:schemeClr val="bg1"/>
              </a:solidFill>
              <a:ln>
                <a:noFill/>
              </a:ln>
            </p:spPr>
            <p:txBody>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zh-CN" altLang="en-US"/>
              </a:p>
            </p:txBody>
          </p:sp>
        </p:grpSp>
        <p:sp>
          <p:nvSpPr>
            <p:cNvPr id="11" name="íślidé">
              <a:extLst>
                <a:ext uri="{FF2B5EF4-FFF2-40B4-BE49-F238E27FC236}">
                  <a16:creationId xmlns:a16="http://schemas.microsoft.com/office/drawing/2014/main" id="{1DB89A98-769D-4109-BD86-D726966BC648}"/>
                </a:ext>
              </a:extLst>
            </p:cNvPr>
            <p:cNvSpPr/>
            <p:nvPr/>
          </p:nvSpPr>
          <p:spPr bwMode="auto">
            <a:xfrm>
              <a:off x="4327691" y="1367439"/>
              <a:ext cx="3001274" cy="8675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Autofit/>
            </a:bodyPr>
            <a:lstStyle>
              <a:defPPr>
                <a:defRPr lang="zh-CN"/>
              </a:defPPr>
              <a:lvl1pPr marL="0" algn="l" defTabSz="913765" rtl="0" eaLnBrk="1" latinLnBrk="0" hangingPunct="1">
                <a:defRPr sz="1800" kern="1200">
                  <a:solidFill>
                    <a:schemeClr val="tx1"/>
                  </a:solidFill>
                </a:defRPr>
              </a:lvl1pPr>
              <a:lvl2pPr marL="457200" algn="l" defTabSz="913765" rtl="0" eaLnBrk="1" latinLnBrk="0" hangingPunct="1">
                <a:defRPr sz="1800" kern="1200">
                  <a:solidFill>
                    <a:schemeClr val="tx1"/>
                  </a:solidFill>
                </a:defRPr>
              </a:lvl2pPr>
              <a:lvl3pPr marL="914400" algn="l" defTabSz="913765" rtl="0" eaLnBrk="1" latinLnBrk="0" hangingPunct="1">
                <a:defRPr sz="1800" kern="1200">
                  <a:solidFill>
                    <a:schemeClr val="tx1"/>
                  </a:solidFill>
                </a:defRPr>
              </a:lvl3pPr>
              <a:lvl4pPr marL="1371600" algn="l" defTabSz="913765" rtl="0" eaLnBrk="1" latinLnBrk="0" hangingPunct="1">
                <a:defRPr sz="1800" kern="1200">
                  <a:solidFill>
                    <a:schemeClr val="tx1"/>
                  </a:solidFill>
                </a:defRPr>
              </a:lvl4pPr>
              <a:lvl5pPr marL="1828800" algn="l" defTabSz="913765" rtl="0" eaLnBrk="1" latinLnBrk="0" hangingPunct="1">
                <a:defRPr sz="1800" kern="1200">
                  <a:solidFill>
                    <a:schemeClr val="tx1"/>
                  </a:solidFill>
                </a:defRPr>
              </a:lvl5pPr>
              <a:lvl6pPr marL="2286000" algn="l" defTabSz="913765" rtl="0" eaLnBrk="1" latinLnBrk="0" hangingPunct="1">
                <a:defRPr sz="1800" kern="1200">
                  <a:solidFill>
                    <a:schemeClr val="tx1"/>
                  </a:solidFill>
                </a:defRPr>
              </a:lvl6pPr>
              <a:lvl7pPr marL="2743200" algn="l" defTabSz="913765" rtl="0" eaLnBrk="1" latinLnBrk="0" hangingPunct="1">
                <a:defRPr sz="1800" kern="1200">
                  <a:solidFill>
                    <a:schemeClr val="tx1"/>
                  </a:solidFill>
                </a:defRPr>
              </a:lvl7pPr>
              <a:lvl8pPr marL="3200400" algn="l" defTabSz="913765" rtl="0" eaLnBrk="1" latinLnBrk="0" hangingPunct="1">
                <a:defRPr sz="1800" kern="1200">
                  <a:solidFill>
                    <a:schemeClr val="tx1"/>
                  </a:solidFill>
                </a:defRPr>
              </a:lvl8pPr>
              <a:lvl9pPr marL="3657600" algn="l" defTabSz="913765" rtl="0" eaLnBrk="1" latinLnBrk="0" hangingPunct="1">
                <a:defRPr sz="1800" kern="1200">
                  <a:solidFill>
                    <a:schemeClr val="tx1"/>
                  </a:solidFill>
                </a:defRPr>
              </a:lvl9pPr>
            </a:lstStyle>
            <a:p>
              <a:pPr marL="171450" marR="0" lvl="0" indent="-171450" algn="l" defTabSz="913765" rtl="0" eaLnBrk="1" fontAlgn="auto" latinLnBrk="0" hangingPunct="1">
                <a:lnSpc>
                  <a:spcPct val="150000"/>
                </a:lnSpc>
                <a:spcBef>
                  <a:spcPts val="0"/>
                </a:spcBef>
                <a:spcAft>
                  <a:spcPts val="0"/>
                </a:spcAft>
                <a:buClrTx/>
                <a:buSzTx/>
                <a:buFont typeface="Arial" panose="020B0604020202020204" pitchFamily="34" charset="0"/>
                <a:buChar char="•"/>
                <a:defRPr/>
              </a:pPr>
              <a:r>
                <a:rPr kumimoji="0" lang="zh-CN" altLang="en-US" sz="1050" b="0" i="0" u="none" strike="noStrike" kern="1200" cap="none" spc="0" normalizeH="0" baseline="0" noProof="0" dirty="0">
                  <a:ln>
                    <a:noFill/>
                  </a:ln>
                  <a:effectLst/>
                  <a:uLnTx/>
                  <a:uFillTx/>
                </a:rPr>
                <a:t>魏秋雨 主题构思、文档编写（</a:t>
              </a:r>
              <a:r>
                <a:rPr kumimoji="0" lang="en-US" altLang="zh-CN" sz="1050" b="0" i="0" u="none" strike="noStrike" kern="1200" cap="none" spc="0" normalizeH="0" baseline="0" noProof="0" dirty="0">
                  <a:ln>
                    <a:noFill/>
                  </a:ln>
                  <a:effectLst/>
                  <a:uLnTx/>
                  <a:uFillTx/>
                </a:rPr>
                <a:t>91.2</a:t>
              </a:r>
              <a:r>
                <a:rPr kumimoji="0" lang="zh-CN" altLang="en-US" sz="1050" b="0" i="0" u="none" strike="noStrike" kern="1200" cap="none" spc="0" normalizeH="0" baseline="0" noProof="0" dirty="0">
                  <a:ln>
                    <a:noFill/>
                  </a:ln>
                  <a:effectLst/>
                  <a:uLnTx/>
                  <a:uFillTx/>
                </a:rPr>
                <a:t>）</a:t>
              </a:r>
              <a:endParaRPr kumimoji="0" lang="en-US" altLang="zh-CN" sz="1050" b="0" i="0" u="none" strike="noStrike" kern="1200" cap="none" spc="0" normalizeH="0" baseline="0" noProof="0" dirty="0">
                <a:ln>
                  <a:noFill/>
                </a:ln>
                <a:effectLst/>
                <a:uLnTx/>
                <a:uFillTx/>
              </a:endParaRPr>
            </a:p>
            <a:p>
              <a:pPr>
                <a:lnSpc>
                  <a:spcPct val="150000"/>
                </a:lnSpc>
                <a:defRPr/>
              </a:pPr>
              <a:r>
                <a:rPr lang="zh-CN" altLang="en-US" sz="1050" dirty="0">
                  <a:latin typeface="微软雅黑" panose="020B0503020204020204" pitchFamily="34" charset="-122"/>
                  <a:ea typeface="微软雅黑" panose="020B0503020204020204" pitchFamily="34" charset="-122"/>
                </a:rPr>
                <a:t>负责</a:t>
              </a:r>
              <a:r>
                <a:rPr lang="en-US" altLang="zh-CN" sz="1050" dirty="0">
                  <a:latin typeface="微软雅黑" panose="020B0503020204020204" pitchFamily="34" charset="-122"/>
                  <a:ea typeface="微软雅黑" panose="020B0503020204020204" pitchFamily="34" charset="-122"/>
                </a:rPr>
                <a:t>ppt</a:t>
              </a:r>
              <a:r>
                <a:rPr lang="zh-CN" altLang="en-US" sz="1050" dirty="0">
                  <a:latin typeface="微软雅黑" panose="020B0503020204020204" pitchFamily="34" charset="-122"/>
                  <a:ea typeface="微软雅黑" panose="020B0503020204020204" pitchFamily="34" charset="-122"/>
                </a:rPr>
                <a:t>用例图部分制作</a:t>
              </a:r>
              <a:endParaRPr lang="en-US" altLang="zh-CN" sz="1050" dirty="0">
                <a:latin typeface="微软雅黑" panose="020B0503020204020204" pitchFamily="34" charset="-122"/>
                <a:ea typeface="微软雅黑" panose="020B0503020204020204" pitchFamily="34" charset="-122"/>
              </a:endParaRPr>
            </a:p>
            <a:p>
              <a:pPr>
                <a:lnSpc>
                  <a:spcPct val="150000"/>
                </a:lnSpc>
                <a:defRPr/>
              </a:pPr>
              <a:r>
                <a:rPr lang="zh-CN" altLang="en-US" sz="1050" dirty="0">
                  <a:latin typeface="微软雅黑" panose="020B0503020204020204" pitchFamily="34" charset="-122"/>
                  <a:ea typeface="微软雅黑" panose="020B0503020204020204" pitchFamily="34" charset="-122"/>
                </a:rPr>
                <a:t>作为组长尽职地完成了文档审核，文档编写，任务分配，绩效评定等工作</a:t>
              </a:r>
            </a:p>
            <a:p>
              <a:pPr marR="0" lvl="0" algn="l" defTabSz="913765" rtl="0" eaLnBrk="1" fontAlgn="auto" latinLnBrk="0" hangingPunct="1">
                <a:lnSpc>
                  <a:spcPct val="150000"/>
                </a:lnSpc>
                <a:spcBef>
                  <a:spcPts val="0"/>
                </a:spcBef>
                <a:spcAft>
                  <a:spcPts val="0"/>
                </a:spcAft>
                <a:buClrTx/>
                <a:buSzTx/>
                <a:defRPr/>
              </a:pPr>
              <a:endParaRPr kumimoji="0" lang="en-US" altLang="zh-CN" sz="1050" b="0" i="0" u="none" strike="noStrike" kern="1200" cap="none" spc="0" normalizeH="0" baseline="0" noProof="0" dirty="0">
                <a:ln>
                  <a:noFill/>
                </a:ln>
                <a:effectLst/>
                <a:uLnTx/>
                <a:uFillTx/>
              </a:endParaRPr>
            </a:p>
          </p:txBody>
        </p:sp>
        <p:sp>
          <p:nvSpPr>
            <p:cNvPr id="12" name="ï$ḻîdê">
              <a:extLst>
                <a:ext uri="{FF2B5EF4-FFF2-40B4-BE49-F238E27FC236}">
                  <a16:creationId xmlns:a16="http://schemas.microsoft.com/office/drawing/2014/main" id="{98F5BD53-0F3F-4436-9F11-A82B90CF4333}"/>
                </a:ext>
              </a:extLst>
            </p:cNvPr>
            <p:cNvSpPr/>
            <p:nvPr/>
          </p:nvSpPr>
          <p:spPr bwMode="auto">
            <a:xfrm>
              <a:off x="8519214" y="1367439"/>
              <a:ext cx="3001274" cy="8675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Autofit/>
            </a:bodyPr>
            <a:lstStyle>
              <a:defPPr>
                <a:defRPr lang="zh-CN"/>
              </a:defPPr>
              <a:lvl1pPr marL="0" algn="l" defTabSz="913765" rtl="0" eaLnBrk="1" latinLnBrk="0" hangingPunct="1">
                <a:defRPr sz="1800" kern="1200">
                  <a:solidFill>
                    <a:schemeClr val="tx1"/>
                  </a:solidFill>
                </a:defRPr>
              </a:lvl1pPr>
              <a:lvl2pPr marL="457200" algn="l" defTabSz="913765" rtl="0" eaLnBrk="1" latinLnBrk="0" hangingPunct="1">
                <a:defRPr sz="1800" kern="1200">
                  <a:solidFill>
                    <a:schemeClr val="tx1"/>
                  </a:solidFill>
                </a:defRPr>
              </a:lvl2pPr>
              <a:lvl3pPr marL="914400" algn="l" defTabSz="913765" rtl="0" eaLnBrk="1" latinLnBrk="0" hangingPunct="1">
                <a:defRPr sz="1800" kern="1200">
                  <a:solidFill>
                    <a:schemeClr val="tx1"/>
                  </a:solidFill>
                </a:defRPr>
              </a:lvl3pPr>
              <a:lvl4pPr marL="1371600" algn="l" defTabSz="913765" rtl="0" eaLnBrk="1" latinLnBrk="0" hangingPunct="1">
                <a:defRPr sz="1800" kern="1200">
                  <a:solidFill>
                    <a:schemeClr val="tx1"/>
                  </a:solidFill>
                </a:defRPr>
              </a:lvl4pPr>
              <a:lvl5pPr marL="1828800" algn="l" defTabSz="913765" rtl="0" eaLnBrk="1" latinLnBrk="0" hangingPunct="1">
                <a:defRPr sz="1800" kern="1200">
                  <a:solidFill>
                    <a:schemeClr val="tx1"/>
                  </a:solidFill>
                </a:defRPr>
              </a:lvl5pPr>
              <a:lvl6pPr marL="2286000" algn="l" defTabSz="913765" rtl="0" eaLnBrk="1" latinLnBrk="0" hangingPunct="1">
                <a:defRPr sz="1800" kern="1200">
                  <a:solidFill>
                    <a:schemeClr val="tx1"/>
                  </a:solidFill>
                </a:defRPr>
              </a:lvl6pPr>
              <a:lvl7pPr marL="2743200" algn="l" defTabSz="913765" rtl="0" eaLnBrk="1" latinLnBrk="0" hangingPunct="1">
                <a:defRPr sz="1800" kern="1200">
                  <a:solidFill>
                    <a:schemeClr val="tx1"/>
                  </a:solidFill>
                </a:defRPr>
              </a:lvl7pPr>
              <a:lvl8pPr marL="3200400" algn="l" defTabSz="913765" rtl="0" eaLnBrk="1" latinLnBrk="0" hangingPunct="1">
                <a:defRPr sz="1800" kern="1200">
                  <a:solidFill>
                    <a:schemeClr val="tx1"/>
                  </a:solidFill>
                </a:defRPr>
              </a:lvl8pPr>
              <a:lvl9pPr marL="3657600" algn="l" defTabSz="913765" rtl="0" eaLnBrk="1" latinLnBrk="0" hangingPunct="1">
                <a:defRPr sz="1800" kern="1200">
                  <a:solidFill>
                    <a:schemeClr val="tx1"/>
                  </a:solidFill>
                </a:defRPr>
              </a:lvl9pPr>
            </a:lstStyle>
            <a:p>
              <a:pPr marL="171450" indent="-171450">
                <a:lnSpc>
                  <a:spcPct val="150000"/>
                </a:lnSpc>
                <a:buFont typeface="Arial" panose="020B0604020202020204" pitchFamily="34" charset="0"/>
                <a:buChar char="•"/>
                <a:defRPr/>
              </a:pPr>
              <a:r>
                <a:rPr kumimoji="0" lang="zh-CN" altLang="en-US" sz="1000" i="0" u="none" strike="noStrike" kern="1200" cap="none" spc="0" normalizeH="0" baseline="0" noProof="0" dirty="0">
                  <a:ln>
                    <a:noFill/>
                  </a:ln>
                  <a:effectLst/>
                  <a:uLnTx/>
                  <a:uFillTx/>
                  <a:latin typeface="+mn-ea"/>
                </a:rPr>
                <a:t>钟宇迪 </a:t>
              </a:r>
              <a:r>
                <a:rPr lang="en-US" altLang="zh-CN" sz="1000" dirty="0">
                  <a:latin typeface="+mn-ea"/>
                </a:rPr>
                <a:t>ppt</a:t>
              </a:r>
              <a:r>
                <a:rPr lang="zh-CN" altLang="en-US" sz="1000" dirty="0">
                  <a:latin typeface="+mn-ea"/>
                </a:rPr>
                <a:t>错误查找，观感测试（</a:t>
              </a:r>
              <a:r>
                <a:rPr lang="en-US" altLang="zh-CN" sz="1000" dirty="0">
                  <a:latin typeface="+mn-ea"/>
                </a:rPr>
                <a:t>91.9</a:t>
              </a:r>
              <a:r>
                <a:rPr lang="zh-CN" altLang="en-US" sz="1000" dirty="0">
                  <a:latin typeface="+mn-ea"/>
                </a:rPr>
                <a:t>）</a:t>
              </a:r>
            </a:p>
            <a:p>
              <a:pPr>
                <a:lnSpc>
                  <a:spcPct val="150000"/>
                </a:lnSpc>
                <a:defRPr/>
              </a:pPr>
              <a:r>
                <a:rPr lang="zh-CN" altLang="en-US" sz="1000" dirty="0">
                  <a:latin typeface="+mn-ea"/>
                </a:rPr>
                <a:t>负责</a:t>
              </a:r>
              <a:r>
                <a:rPr lang="en-US" altLang="zh-CN" sz="1000" dirty="0">
                  <a:latin typeface="+mn-ea"/>
                </a:rPr>
                <a:t>ppt</a:t>
              </a:r>
              <a:r>
                <a:rPr lang="zh-CN" altLang="en-US" sz="1000" dirty="0">
                  <a:latin typeface="+mn-ea"/>
                </a:rPr>
                <a:t>类图部分制作</a:t>
              </a:r>
              <a:endParaRPr lang="en-US" altLang="zh-CN" sz="1000" dirty="0">
                <a:latin typeface="+mn-ea"/>
              </a:endParaRPr>
            </a:p>
            <a:p>
              <a:pPr>
                <a:lnSpc>
                  <a:spcPct val="150000"/>
                </a:lnSpc>
                <a:defRPr/>
              </a:pPr>
              <a:r>
                <a:rPr lang="zh-CN" altLang="en-US" sz="1000" dirty="0">
                  <a:latin typeface="+mn-ea"/>
                </a:rPr>
                <a:t>参与</a:t>
              </a:r>
              <a:r>
                <a:rPr lang="en-US" altLang="zh-CN" sz="1000" dirty="0">
                  <a:latin typeface="+mn-ea"/>
                </a:rPr>
                <a:t>ppt</a:t>
              </a:r>
              <a:r>
                <a:rPr lang="zh-CN" altLang="en-US" sz="1000" dirty="0">
                  <a:latin typeface="+mn-ea"/>
                </a:rPr>
                <a:t>修改，以及</a:t>
              </a:r>
              <a:r>
                <a:rPr lang="en-US" altLang="zh-CN" sz="1000" dirty="0">
                  <a:latin typeface="+mn-ea"/>
                </a:rPr>
                <a:t>ppt</a:t>
              </a:r>
              <a:r>
                <a:rPr lang="zh-CN" altLang="en-US" sz="1000" dirty="0">
                  <a:latin typeface="+mn-ea"/>
                </a:rPr>
                <a:t>排版审核等工作，尽职完善的完成了工作</a:t>
              </a:r>
            </a:p>
            <a:p>
              <a:pPr marR="0" lvl="0" algn="l" defTabSz="913765" rtl="0" eaLnBrk="1" fontAlgn="auto" latinLnBrk="0" hangingPunct="1">
                <a:lnSpc>
                  <a:spcPct val="150000"/>
                </a:lnSpc>
                <a:spcBef>
                  <a:spcPts val="0"/>
                </a:spcBef>
                <a:spcAft>
                  <a:spcPts val="0"/>
                </a:spcAft>
                <a:buClrTx/>
                <a:buSzTx/>
                <a:defRPr/>
              </a:pPr>
              <a:endParaRPr kumimoji="0" lang="en-US" altLang="zh-CN" sz="1000" i="0" u="none" strike="noStrike" kern="1200" cap="none" spc="0" normalizeH="0" baseline="0" noProof="0" dirty="0">
                <a:ln>
                  <a:noFill/>
                </a:ln>
                <a:effectLst/>
                <a:uLnTx/>
                <a:uFillTx/>
                <a:latin typeface="+mn-ea"/>
              </a:endParaRPr>
            </a:p>
          </p:txBody>
        </p:sp>
        <p:sp>
          <p:nvSpPr>
            <p:cNvPr id="13" name="ïśļïdé">
              <a:extLst>
                <a:ext uri="{FF2B5EF4-FFF2-40B4-BE49-F238E27FC236}">
                  <a16:creationId xmlns:a16="http://schemas.microsoft.com/office/drawing/2014/main" id="{F38014FD-E99E-496D-9F8E-506598F647FA}"/>
                </a:ext>
              </a:extLst>
            </p:cNvPr>
            <p:cNvSpPr/>
            <p:nvPr/>
          </p:nvSpPr>
          <p:spPr bwMode="auto">
            <a:xfrm>
              <a:off x="8519214" y="3104191"/>
              <a:ext cx="3001274" cy="8675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fontScale="85000" lnSpcReduction="10000"/>
            </a:bodyPr>
            <a:lstStyle>
              <a:defPPr>
                <a:defRPr lang="zh-CN"/>
              </a:defPPr>
              <a:lvl1pPr marL="0" algn="l" defTabSz="913765" rtl="0" eaLnBrk="1" latinLnBrk="0" hangingPunct="1">
                <a:defRPr sz="1800" kern="1200">
                  <a:solidFill>
                    <a:schemeClr val="tx1"/>
                  </a:solidFill>
                </a:defRPr>
              </a:lvl1pPr>
              <a:lvl2pPr marL="457200" algn="l" defTabSz="913765" rtl="0" eaLnBrk="1" latinLnBrk="0" hangingPunct="1">
                <a:defRPr sz="1800" kern="1200">
                  <a:solidFill>
                    <a:schemeClr val="tx1"/>
                  </a:solidFill>
                </a:defRPr>
              </a:lvl2pPr>
              <a:lvl3pPr marL="914400" algn="l" defTabSz="913765" rtl="0" eaLnBrk="1" latinLnBrk="0" hangingPunct="1">
                <a:defRPr sz="1800" kern="1200">
                  <a:solidFill>
                    <a:schemeClr val="tx1"/>
                  </a:solidFill>
                </a:defRPr>
              </a:lvl3pPr>
              <a:lvl4pPr marL="1371600" algn="l" defTabSz="913765" rtl="0" eaLnBrk="1" latinLnBrk="0" hangingPunct="1">
                <a:defRPr sz="1800" kern="1200">
                  <a:solidFill>
                    <a:schemeClr val="tx1"/>
                  </a:solidFill>
                </a:defRPr>
              </a:lvl4pPr>
              <a:lvl5pPr marL="1828800" algn="l" defTabSz="913765" rtl="0" eaLnBrk="1" latinLnBrk="0" hangingPunct="1">
                <a:defRPr sz="1800" kern="1200">
                  <a:solidFill>
                    <a:schemeClr val="tx1"/>
                  </a:solidFill>
                </a:defRPr>
              </a:lvl5pPr>
              <a:lvl6pPr marL="2286000" algn="l" defTabSz="913765" rtl="0" eaLnBrk="1" latinLnBrk="0" hangingPunct="1">
                <a:defRPr sz="1800" kern="1200">
                  <a:solidFill>
                    <a:schemeClr val="tx1"/>
                  </a:solidFill>
                </a:defRPr>
              </a:lvl6pPr>
              <a:lvl7pPr marL="2743200" algn="l" defTabSz="913765" rtl="0" eaLnBrk="1" latinLnBrk="0" hangingPunct="1">
                <a:defRPr sz="1800" kern="1200">
                  <a:solidFill>
                    <a:schemeClr val="tx1"/>
                  </a:solidFill>
                </a:defRPr>
              </a:lvl7pPr>
              <a:lvl8pPr marL="3200400" algn="l" defTabSz="913765" rtl="0" eaLnBrk="1" latinLnBrk="0" hangingPunct="1">
                <a:defRPr sz="1800" kern="1200">
                  <a:solidFill>
                    <a:schemeClr val="tx1"/>
                  </a:solidFill>
                </a:defRPr>
              </a:lvl8pPr>
              <a:lvl9pPr marL="3657600" algn="l" defTabSz="913765" rtl="0" eaLnBrk="1" latinLnBrk="0" hangingPunct="1">
                <a:defRPr sz="1800" kern="1200">
                  <a:solidFill>
                    <a:schemeClr val="tx1"/>
                  </a:solidFill>
                </a:defRPr>
              </a:lvl9pPr>
            </a:lstStyle>
            <a:p>
              <a:pPr marL="171450" indent="-171450">
                <a:lnSpc>
                  <a:spcPct val="150000"/>
                </a:lnSpc>
                <a:buFont typeface="Arial" panose="020B0604020202020204" pitchFamily="34" charset="0"/>
                <a:buChar char="•"/>
                <a:defRPr/>
              </a:pPr>
              <a:r>
                <a:rPr kumimoji="0" lang="zh-CN" altLang="en-US" sz="1050" i="0" u="none" strike="noStrike" kern="1200" cap="none" spc="0" normalizeH="0" baseline="0" noProof="0" dirty="0">
                  <a:ln>
                    <a:noFill/>
                  </a:ln>
                  <a:effectLst/>
                  <a:uLnTx/>
                  <a:uFillTx/>
                  <a:latin typeface="+mn-ea"/>
                </a:rPr>
                <a:t>张拓  </a:t>
              </a:r>
              <a:r>
                <a:rPr kumimoji="0" lang="en-US" altLang="zh-CN" sz="1050" i="0" u="none" strike="noStrike" kern="1200" cap="none" spc="0" normalizeH="0" baseline="0" noProof="0" dirty="0">
                  <a:ln>
                    <a:noFill/>
                  </a:ln>
                  <a:effectLst/>
                  <a:uLnTx/>
                  <a:uFillTx/>
                  <a:latin typeface="+mn-ea"/>
                </a:rPr>
                <a:t>ppt</a:t>
              </a:r>
              <a:r>
                <a:rPr kumimoji="0" lang="zh-CN" altLang="en-US" sz="1050" i="0" u="none" strike="noStrike" kern="1200" cap="none" spc="0" normalizeH="0" baseline="0" noProof="0" dirty="0">
                  <a:ln>
                    <a:noFill/>
                  </a:ln>
                  <a:effectLst/>
                  <a:uLnTx/>
                  <a:uFillTx/>
                  <a:latin typeface="+mn-ea"/>
                </a:rPr>
                <a:t>排版和内容进行优化</a:t>
              </a:r>
              <a:r>
                <a:rPr lang="zh-CN" altLang="en-US" sz="1050" dirty="0">
                  <a:latin typeface="+mn-ea"/>
                </a:rPr>
                <a:t>（</a:t>
              </a:r>
              <a:r>
                <a:rPr lang="en-US" altLang="zh-CN" sz="1050" dirty="0">
                  <a:latin typeface="+mn-ea"/>
                </a:rPr>
                <a:t>91.6</a:t>
              </a:r>
              <a:r>
                <a:rPr lang="zh-CN" altLang="en-US" sz="1050" dirty="0">
                  <a:latin typeface="+mn-ea"/>
                </a:rPr>
                <a:t>）</a:t>
              </a:r>
            </a:p>
            <a:p>
              <a:pPr>
                <a:lnSpc>
                  <a:spcPct val="150000"/>
                </a:lnSpc>
                <a:defRPr/>
              </a:pPr>
              <a:r>
                <a:rPr lang="zh-CN" altLang="en-US" sz="1050" dirty="0">
                  <a:latin typeface="+mn-ea"/>
                </a:rPr>
                <a:t>负责</a:t>
              </a:r>
              <a:r>
                <a:rPr lang="en-US" altLang="zh-CN" sz="1050" dirty="0">
                  <a:latin typeface="+mn-ea"/>
                </a:rPr>
                <a:t>ppt</a:t>
              </a:r>
              <a:r>
                <a:rPr lang="zh-CN" altLang="en-US" sz="1050" dirty="0">
                  <a:latin typeface="+mn-ea"/>
                </a:rPr>
                <a:t>状态图部分制作</a:t>
              </a:r>
              <a:endParaRPr lang="en-US" altLang="zh-CN" sz="1050" dirty="0">
                <a:latin typeface="+mn-ea"/>
              </a:endParaRPr>
            </a:p>
            <a:p>
              <a:pPr>
                <a:lnSpc>
                  <a:spcPct val="150000"/>
                </a:lnSpc>
                <a:defRPr/>
              </a:pPr>
              <a:r>
                <a:rPr lang="zh-CN" altLang="en-US" sz="1050" dirty="0">
                  <a:latin typeface="+mn-ea"/>
                </a:rPr>
                <a:t>参与</a:t>
              </a:r>
              <a:r>
                <a:rPr lang="en-US" altLang="zh-CN" sz="1050" dirty="0">
                  <a:latin typeface="+mn-ea"/>
                </a:rPr>
                <a:t>ppt</a:t>
              </a:r>
              <a:r>
                <a:rPr lang="zh-CN" altLang="en-US" sz="1050" dirty="0">
                  <a:latin typeface="+mn-ea"/>
                </a:rPr>
                <a:t>修改，优化等工作，积极完成任务并且主动配合项目小组的前进</a:t>
              </a:r>
            </a:p>
            <a:p>
              <a:pPr marL="171450" marR="0" lvl="0" indent="-171450" algn="l" defTabSz="913765" rtl="0" eaLnBrk="1" fontAlgn="auto" latinLnBrk="0" hangingPunct="1">
                <a:lnSpc>
                  <a:spcPct val="150000"/>
                </a:lnSpc>
                <a:spcBef>
                  <a:spcPts val="0"/>
                </a:spcBef>
                <a:spcAft>
                  <a:spcPts val="0"/>
                </a:spcAft>
                <a:buClrTx/>
                <a:buSzTx/>
                <a:buFont typeface="Arial" panose="020B0604020202020204" pitchFamily="34" charset="0"/>
                <a:buChar char="•"/>
                <a:defRPr/>
              </a:pPr>
              <a:endParaRPr kumimoji="0" lang="en-US" altLang="zh-CN" sz="1050" i="0" u="none" strike="noStrike" kern="1200" cap="none" spc="0" normalizeH="0" baseline="0" noProof="0" dirty="0">
                <a:ln>
                  <a:noFill/>
                </a:ln>
                <a:effectLst/>
                <a:uLnTx/>
                <a:uFillTx/>
                <a:latin typeface="+mn-ea"/>
              </a:endParaRPr>
            </a:p>
          </p:txBody>
        </p:sp>
        <p:sp>
          <p:nvSpPr>
            <p:cNvPr id="14" name="î$ḻíḓè">
              <a:extLst>
                <a:ext uri="{FF2B5EF4-FFF2-40B4-BE49-F238E27FC236}">
                  <a16:creationId xmlns:a16="http://schemas.microsoft.com/office/drawing/2014/main" id="{7F8EE339-8BA2-403B-A604-B49CDA094858}"/>
                </a:ext>
              </a:extLst>
            </p:cNvPr>
            <p:cNvSpPr/>
            <p:nvPr/>
          </p:nvSpPr>
          <p:spPr bwMode="auto">
            <a:xfrm>
              <a:off x="5197586" y="3143293"/>
              <a:ext cx="3001274" cy="8675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fontScale="85000" lnSpcReduction="10000"/>
            </a:bodyPr>
            <a:lstStyle>
              <a:defPPr>
                <a:defRPr lang="zh-CN"/>
              </a:defPPr>
              <a:lvl1pPr marL="0" algn="l" defTabSz="913765" rtl="0" eaLnBrk="1" latinLnBrk="0" hangingPunct="1">
                <a:defRPr sz="1800" kern="1200">
                  <a:solidFill>
                    <a:schemeClr val="tx1"/>
                  </a:solidFill>
                </a:defRPr>
              </a:lvl1pPr>
              <a:lvl2pPr marL="457200" algn="l" defTabSz="913765" rtl="0" eaLnBrk="1" latinLnBrk="0" hangingPunct="1">
                <a:defRPr sz="1800" kern="1200">
                  <a:solidFill>
                    <a:schemeClr val="tx1"/>
                  </a:solidFill>
                </a:defRPr>
              </a:lvl2pPr>
              <a:lvl3pPr marL="914400" algn="l" defTabSz="913765" rtl="0" eaLnBrk="1" latinLnBrk="0" hangingPunct="1">
                <a:defRPr sz="1800" kern="1200">
                  <a:solidFill>
                    <a:schemeClr val="tx1"/>
                  </a:solidFill>
                </a:defRPr>
              </a:lvl3pPr>
              <a:lvl4pPr marL="1371600" algn="l" defTabSz="913765" rtl="0" eaLnBrk="1" latinLnBrk="0" hangingPunct="1">
                <a:defRPr sz="1800" kern="1200">
                  <a:solidFill>
                    <a:schemeClr val="tx1"/>
                  </a:solidFill>
                </a:defRPr>
              </a:lvl4pPr>
              <a:lvl5pPr marL="1828800" algn="l" defTabSz="913765" rtl="0" eaLnBrk="1" latinLnBrk="0" hangingPunct="1">
                <a:defRPr sz="1800" kern="1200">
                  <a:solidFill>
                    <a:schemeClr val="tx1"/>
                  </a:solidFill>
                </a:defRPr>
              </a:lvl5pPr>
              <a:lvl6pPr marL="2286000" algn="l" defTabSz="913765" rtl="0" eaLnBrk="1" latinLnBrk="0" hangingPunct="1">
                <a:defRPr sz="1800" kern="1200">
                  <a:solidFill>
                    <a:schemeClr val="tx1"/>
                  </a:solidFill>
                </a:defRPr>
              </a:lvl6pPr>
              <a:lvl7pPr marL="2743200" algn="l" defTabSz="913765" rtl="0" eaLnBrk="1" latinLnBrk="0" hangingPunct="1">
                <a:defRPr sz="1800" kern="1200">
                  <a:solidFill>
                    <a:schemeClr val="tx1"/>
                  </a:solidFill>
                </a:defRPr>
              </a:lvl7pPr>
              <a:lvl8pPr marL="3200400" algn="l" defTabSz="913765" rtl="0" eaLnBrk="1" latinLnBrk="0" hangingPunct="1">
                <a:defRPr sz="1800" kern="1200">
                  <a:solidFill>
                    <a:schemeClr val="tx1"/>
                  </a:solidFill>
                </a:defRPr>
              </a:lvl8pPr>
              <a:lvl9pPr marL="3657600" algn="l" defTabSz="913765" rtl="0" eaLnBrk="1" latinLnBrk="0" hangingPunct="1">
                <a:defRPr sz="1800" kern="1200">
                  <a:solidFill>
                    <a:schemeClr val="tx1"/>
                  </a:solidFill>
                </a:defRPr>
              </a:lvl9pPr>
            </a:lstStyle>
            <a:p>
              <a:pPr marL="171450" indent="-171450">
                <a:lnSpc>
                  <a:spcPct val="150000"/>
                </a:lnSpc>
                <a:buFont typeface="Arial" panose="020B0604020202020204" pitchFamily="34" charset="0"/>
                <a:buChar char="•"/>
                <a:defRPr/>
              </a:pPr>
              <a:r>
                <a:rPr kumimoji="0" lang="zh-CN" altLang="en-US" sz="1050" i="0" u="none" strike="noStrike" kern="1200" cap="none" spc="0" normalizeH="0" baseline="0" noProof="0" dirty="0">
                  <a:ln>
                    <a:noFill/>
                  </a:ln>
                  <a:effectLst/>
                  <a:uLnTx/>
                  <a:uFillTx/>
                  <a:latin typeface="+mn-ea"/>
                </a:rPr>
                <a:t>王雨豪 </a:t>
              </a:r>
              <a:r>
                <a:rPr kumimoji="0" lang="en-US" altLang="zh-CN" sz="1050" i="0" u="none" strike="noStrike" kern="1200" cap="none" spc="0" normalizeH="0" baseline="0" noProof="0" dirty="0">
                  <a:ln>
                    <a:noFill/>
                  </a:ln>
                  <a:effectLst/>
                  <a:uLnTx/>
                  <a:uFillTx/>
                  <a:latin typeface="+mn-ea"/>
                </a:rPr>
                <a:t>ppt</a:t>
              </a:r>
              <a:r>
                <a:rPr lang="zh-CN" altLang="en-US" sz="1050" dirty="0">
                  <a:latin typeface="+mn-ea"/>
                </a:rPr>
                <a:t>制作、功能构思（</a:t>
              </a:r>
              <a:r>
                <a:rPr lang="en-US" altLang="zh-CN" sz="1050" dirty="0">
                  <a:latin typeface="+mn-ea"/>
                </a:rPr>
                <a:t>91.5</a:t>
              </a:r>
              <a:r>
                <a:rPr lang="zh-CN" altLang="en-US" sz="1050" dirty="0">
                  <a:latin typeface="+mn-ea"/>
                </a:rPr>
                <a:t>）</a:t>
              </a:r>
            </a:p>
            <a:p>
              <a:pPr>
                <a:lnSpc>
                  <a:spcPct val="150000"/>
                </a:lnSpc>
                <a:defRPr/>
              </a:pPr>
              <a:r>
                <a:rPr lang="zh-CN" altLang="en-US" sz="1050" dirty="0">
                  <a:latin typeface="+mn-ea"/>
                </a:rPr>
                <a:t>负责</a:t>
              </a:r>
              <a:r>
                <a:rPr lang="en-US" altLang="zh-CN" sz="1050" dirty="0">
                  <a:latin typeface="+mn-ea"/>
                </a:rPr>
                <a:t>ppt</a:t>
              </a:r>
              <a:r>
                <a:rPr lang="zh-CN" altLang="en-US" sz="1050" dirty="0">
                  <a:latin typeface="+mn-ea"/>
                </a:rPr>
                <a:t>章节总览和</a:t>
              </a:r>
              <a:r>
                <a:rPr lang="en-US" altLang="zh-CN" sz="1050" dirty="0">
                  <a:latin typeface="+mn-ea"/>
                </a:rPr>
                <a:t>ppt</a:t>
              </a:r>
              <a:r>
                <a:rPr lang="zh-CN" altLang="en-US" sz="1050" dirty="0">
                  <a:latin typeface="+mn-ea"/>
                </a:rPr>
                <a:t>类图部分制作，绘制图表等工作，</a:t>
              </a:r>
              <a:endParaRPr lang="en-US" altLang="zh-CN" sz="1050" dirty="0">
                <a:latin typeface="+mn-ea"/>
              </a:endParaRPr>
            </a:p>
            <a:p>
              <a:pPr>
                <a:lnSpc>
                  <a:spcPct val="150000"/>
                </a:lnSpc>
                <a:defRPr/>
              </a:pPr>
              <a:r>
                <a:rPr lang="zh-CN" altLang="en-US" sz="1050" dirty="0">
                  <a:latin typeface="+mn-ea"/>
                </a:rPr>
                <a:t>积极及时完成任务</a:t>
              </a:r>
            </a:p>
            <a:p>
              <a:pPr marR="0" lvl="0" algn="l" defTabSz="913765" rtl="0" eaLnBrk="1" fontAlgn="auto" latinLnBrk="0" hangingPunct="1">
                <a:lnSpc>
                  <a:spcPct val="150000"/>
                </a:lnSpc>
                <a:spcBef>
                  <a:spcPts val="0"/>
                </a:spcBef>
                <a:spcAft>
                  <a:spcPts val="0"/>
                </a:spcAft>
                <a:buClrTx/>
                <a:buSzTx/>
                <a:defRPr/>
              </a:pPr>
              <a:endParaRPr kumimoji="0" lang="en-US" altLang="zh-CN" sz="1050" i="0" u="none" strike="noStrike" kern="1200" cap="none" spc="0" normalizeH="0" baseline="0" noProof="0" dirty="0">
                <a:ln>
                  <a:noFill/>
                </a:ln>
                <a:effectLst/>
                <a:uLnTx/>
                <a:uFillTx/>
                <a:latin typeface="+mn-ea"/>
              </a:endParaRPr>
            </a:p>
          </p:txBody>
        </p:sp>
        <p:sp>
          <p:nvSpPr>
            <p:cNvPr id="15" name="i$líḍê">
              <a:extLst>
                <a:ext uri="{FF2B5EF4-FFF2-40B4-BE49-F238E27FC236}">
                  <a16:creationId xmlns:a16="http://schemas.microsoft.com/office/drawing/2014/main" id="{39128B02-69DF-4896-BED1-A604AFDC498E}"/>
                </a:ext>
              </a:extLst>
            </p:cNvPr>
            <p:cNvSpPr/>
            <p:nvPr/>
          </p:nvSpPr>
          <p:spPr bwMode="auto">
            <a:xfrm>
              <a:off x="4327691" y="4956866"/>
              <a:ext cx="3001274" cy="8675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fontScale="85000" lnSpcReduction="10000"/>
            </a:bodyPr>
            <a:lstStyle>
              <a:defPPr>
                <a:defRPr lang="zh-CN"/>
              </a:defPPr>
              <a:lvl1pPr marL="0" algn="l" defTabSz="913765" rtl="0" eaLnBrk="1" latinLnBrk="0" hangingPunct="1">
                <a:defRPr sz="1800" kern="1200">
                  <a:solidFill>
                    <a:schemeClr val="tx1"/>
                  </a:solidFill>
                </a:defRPr>
              </a:lvl1pPr>
              <a:lvl2pPr marL="457200" algn="l" defTabSz="913765" rtl="0" eaLnBrk="1" latinLnBrk="0" hangingPunct="1">
                <a:defRPr sz="1800" kern="1200">
                  <a:solidFill>
                    <a:schemeClr val="tx1"/>
                  </a:solidFill>
                </a:defRPr>
              </a:lvl2pPr>
              <a:lvl3pPr marL="914400" algn="l" defTabSz="913765" rtl="0" eaLnBrk="1" latinLnBrk="0" hangingPunct="1">
                <a:defRPr sz="1800" kern="1200">
                  <a:solidFill>
                    <a:schemeClr val="tx1"/>
                  </a:solidFill>
                </a:defRPr>
              </a:lvl3pPr>
              <a:lvl4pPr marL="1371600" algn="l" defTabSz="913765" rtl="0" eaLnBrk="1" latinLnBrk="0" hangingPunct="1">
                <a:defRPr sz="1800" kern="1200">
                  <a:solidFill>
                    <a:schemeClr val="tx1"/>
                  </a:solidFill>
                </a:defRPr>
              </a:lvl4pPr>
              <a:lvl5pPr marL="1828800" algn="l" defTabSz="913765" rtl="0" eaLnBrk="1" latinLnBrk="0" hangingPunct="1">
                <a:defRPr sz="1800" kern="1200">
                  <a:solidFill>
                    <a:schemeClr val="tx1"/>
                  </a:solidFill>
                </a:defRPr>
              </a:lvl5pPr>
              <a:lvl6pPr marL="2286000" algn="l" defTabSz="913765" rtl="0" eaLnBrk="1" latinLnBrk="0" hangingPunct="1">
                <a:defRPr sz="1800" kern="1200">
                  <a:solidFill>
                    <a:schemeClr val="tx1"/>
                  </a:solidFill>
                </a:defRPr>
              </a:lvl6pPr>
              <a:lvl7pPr marL="2743200" algn="l" defTabSz="913765" rtl="0" eaLnBrk="1" latinLnBrk="0" hangingPunct="1">
                <a:defRPr sz="1800" kern="1200">
                  <a:solidFill>
                    <a:schemeClr val="tx1"/>
                  </a:solidFill>
                </a:defRPr>
              </a:lvl7pPr>
              <a:lvl8pPr marL="3200400" algn="l" defTabSz="913765" rtl="0" eaLnBrk="1" latinLnBrk="0" hangingPunct="1">
                <a:defRPr sz="1800" kern="1200">
                  <a:solidFill>
                    <a:schemeClr val="tx1"/>
                  </a:solidFill>
                </a:defRPr>
              </a:lvl8pPr>
              <a:lvl9pPr marL="3657600" algn="l" defTabSz="913765" rtl="0" eaLnBrk="1" latinLnBrk="0" hangingPunct="1">
                <a:defRPr sz="1800" kern="1200">
                  <a:solidFill>
                    <a:schemeClr val="tx1"/>
                  </a:solidFill>
                </a:defRPr>
              </a:lvl9pPr>
            </a:lstStyle>
            <a:p>
              <a:pPr marL="171450" indent="-171450">
                <a:lnSpc>
                  <a:spcPct val="150000"/>
                </a:lnSpc>
                <a:buFont typeface="Arial" panose="020B0604020202020204" pitchFamily="34" charset="0"/>
                <a:buChar char="•"/>
                <a:defRPr/>
              </a:pPr>
              <a:r>
                <a:rPr kumimoji="0" lang="zh-CN" altLang="en-US" sz="1050" b="0" i="0" u="none" strike="noStrike" kern="1200" cap="none" spc="0" normalizeH="0" baseline="0" noProof="0" dirty="0">
                  <a:ln>
                    <a:noFill/>
                  </a:ln>
                  <a:effectLst/>
                  <a:uLnTx/>
                  <a:uFillTx/>
                  <a:latin typeface="+mn-ea"/>
                </a:rPr>
                <a:t>吾守铭</a:t>
              </a:r>
              <a:r>
                <a:rPr lang="zh-CN" altLang="en-US" sz="1050" b="1" dirty="0">
                  <a:latin typeface="+mn-ea"/>
                </a:rPr>
                <a:t>会议记录、资料查找（</a:t>
              </a:r>
              <a:r>
                <a:rPr lang="en-US" altLang="zh-CN" sz="1050" b="1" dirty="0">
                  <a:latin typeface="+mn-ea"/>
                </a:rPr>
                <a:t>90.5</a:t>
              </a:r>
              <a:r>
                <a:rPr lang="zh-CN" altLang="en-US" sz="1050" b="1" dirty="0">
                  <a:latin typeface="+mn-ea"/>
                </a:rPr>
                <a:t>）</a:t>
              </a:r>
              <a:endParaRPr lang="en-US" altLang="zh-CN" sz="1050" b="1" dirty="0">
                <a:latin typeface="+mn-ea"/>
              </a:endParaRPr>
            </a:p>
            <a:p>
              <a:pPr>
                <a:lnSpc>
                  <a:spcPct val="150000"/>
                </a:lnSpc>
                <a:defRPr/>
              </a:pPr>
              <a:r>
                <a:rPr lang="zh-CN" altLang="en-US" sz="1050" dirty="0">
                  <a:latin typeface="+mn-ea"/>
                </a:rPr>
                <a:t>负责</a:t>
              </a:r>
              <a:r>
                <a:rPr lang="en-US" altLang="zh-CN" sz="1050" dirty="0">
                  <a:latin typeface="+mn-ea"/>
                </a:rPr>
                <a:t>ppt</a:t>
              </a:r>
              <a:r>
                <a:rPr lang="zh-CN" altLang="en-US" sz="1050" dirty="0">
                  <a:latin typeface="+mn-ea"/>
                </a:rPr>
                <a:t>协作图和顺序图部分制作</a:t>
              </a:r>
              <a:endParaRPr lang="en-US" altLang="zh-CN" sz="1050" dirty="0">
                <a:latin typeface="+mn-ea"/>
              </a:endParaRPr>
            </a:p>
            <a:p>
              <a:pPr>
                <a:lnSpc>
                  <a:spcPct val="150000"/>
                </a:lnSpc>
                <a:defRPr/>
              </a:pPr>
              <a:r>
                <a:rPr lang="zh-CN" altLang="en-US" sz="1050" dirty="0">
                  <a:latin typeface="+mn-ea"/>
                </a:rPr>
                <a:t>参与</a:t>
              </a:r>
              <a:r>
                <a:rPr lang="en-US" altLang="zh-CN" sz="1050" dirty="0">
                  <a:latin typeface="+mn-ea"/>
                </a:rPr>
                <a:t>PPT</a:t>
              </a:r>
              <a:r>
                <a:rPr lang="zh-CN" altLang="en-US" sz="1050" dirty="0">
                  <a:latin typeface="+mn-ea"/>
                </a:rPr>
                <a:t>资料收集，会议记录与评定工作，积极完成任务</a:t>
              </a:r>
            </a:p>
            <a:p>
              <a:pPr marL="171450" indent="-171450">
                <a:lnSpc>
                  <a:spcPct val="150000"/>
                </a:lnSpc>
                <a:buFont typeface="Arial" panose="020B0604020202020204" pitchFamily="34" charset="0"/>
                <a:buChar char="•"/>
                <a:defRPr/>
              </a:pPr>
              <a:endParaRPr lang="zh-CN" altLang="en-US" sz="1050" b="1" dirty="0">
                <a:latin typeface="+mn-ea"/>
              </a:endParaRPr>
            </a:p>
            <a:p>
              <a:pPr marL="171450" marR="0" lvl="0" indent="-171450" algn="l" defTabSz="913765" rtl="0" eaLnBrk="1" fontAlgn="auto" latinLnBrk="0" hangingPunct="1">
                <a:lnSpc>
                  <a:spcPct val="150000"/>
                </a:lnSpc>
                <a:spcBef>
                  <a:spcPts val="0"/>
                </a:spcBef>
                <a:spcAft>
                  <a:spcPts val="0"/>
                </a:spcAft>
                <a:buClrTx/>
                <a:buSzTx/>
                <a:buFont typeface="Arial" panose="020B0604020202020204" pitchFamily="34" charset="0"/>
                <a:buChar char="•"/>
                <a:defRPr/>
              </a:pPr>
              <a:endParaRPr kumimoji="0" lang="en-US" altLang="zh-CN" sz="1050" b="0" i="0" u="none" strike="noStrike" kern="1200" cap="none" spc="0" normalizeH="0" baseline="0" noProof="0" dirty="0">
                <a:ln>
                  <a:noFill/>
                </a:ln>
                <a:effectLst/>
                <a:uLnTx/>
                <a:uFillTx/>
                <a:latin typeface="+mn-ea"/>
              </a:endParaRPr>
            </a:p>
          </p:txBody>
        </p:sp>
        <p:cxnSp>
          <p:nvCxnSpPr>
            <p:cNvPr id="17" name="直接连接符 16">
              <a:extLst>
                <a:ext uri="{FF2B5EF4-FFF2-40B4-BE49-F238E27FC236}">
                  <a16:creationId xmlns:a16="http://schemas.microsoft.com/office/drawing/2014/main" id="{931CB6F0-D61F-4678-9935-926FF4A86F96}"/>
                </a:ext>
              </a:extLst>
            </p:cNvPr>
            <p:cNvCxnSpPr/>
            <p:nvPr/>
          </p:nvCxnSpPr>
          <p:spPr>
            <a:xfrm>
              <a:off x="4593361" y="2595389"/>
              <a:ext cx="6927127" cy="0"/>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8" name="直接连接符 17">
              <a:extLst>
                <a:ext uri="{FF2B5EF4-FFF2-40B4-BE49-F238E27FC236}">
                  <a16:creationId xmlns:a16="http://schemas.microsoft.com/office/drawing/2014/main" id="{EA2357D2-16BD-4D35-8B19-DA9D4F168B49}"/>
                </a:ext>
              </a:extLst>
            </p:cNvPr>
            <p:cNvCxnSpPr/>
            <p:nvPr/>
          </p:nvCxnSpPr>
          <p:spPr>
            <a:xfrm>
              <a:off x="4593361" y="4502254"/>
              <a:ext cx="6927127" cy="0"/>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Tree>
    <p:custDataLst>
      <p:tags r:id="rId1"/>
    </p:custDataLst>
    <p:extLst>
      <p:ext uri="{BB962C8B-B14F-4D97-AF65-F5344CB8AC3E}">
        <p14:creationId xmlns:p14="http://schemas.microsoft.com/office/powerpoint/2010/main" val="1737579122"/>
      </p:ext>
    </p:extLst>
  </p:cSld>
  <p:clrMapOvr>
    <a:masterClrMapping/>
  </p:clrMapOvr>
  <mc:AlternateContent xmlns:mc="http://schemas.openxmlformats.org/markup-compatibility/2006">
    <mc:Choice xmlns:p14="http://schemas.microsoft.com/office/powerpoint/2010/main" Requires="p14">
      <p:transition spd="slow" p14:dur="1250">
        <p:blinds dir="vert"/>
      </p:transition>
    </mc:Choice>
    <mc:Fallback>
      <p:transition spd="slow">
        <p:blinds dir="vert"/>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a:extLst>
              <a:ext uri="{FF2B5EF4-FFF2-40B4-BE49-F238E27FC236}">
                <a16:creationId xmlns:a16="http://schemas.microsoft.com/office/drawing/2014/main" id="{A6A819F1-33AF-45D7-8BF6-2B0A9769CAD4}"/>
              </a:ext>
            </a:extLst>
          </p:cNvPr>
          <p:cNvGraphicFramePr>
            <a:graphicFrameLocks noChangeAspect="1"/>
          </p:cNvGraphicFramePr>
          <p:nvPr>
            <p:extLst>
              <p:ext uri="{D42A27DB-BD31-4B8C-83A1-F6EECF244321}">
                <p14:modId xmlns:p14="http://schemas.microsoft.com/office/powerpoint/2010/main" val="10969869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34" name="think-cell Slide" r:id="rId5" imgW="347" imgH="348" progId="TCLayout.ActiveDocument.1">
                  <p:embed/>
                </p:oleObj>
              </mc:Choice>
              <mc:Fallback>
                <p:oleObj name="think-cell Slide" r:id="rId5" imgW="347" imgH="348" progId="TCLayout.ActiveDocument.1">
                  <p:embed/>
                  <p:pic>
                    <p:nvPicPr>
                      <p:cNvPr id="3" name="对象 2" hidden="1">
                        <a:extLst>
                          <a:ext uri="{FF2B5EF4-FFF2-40B4-BE49-F238E27FC236}">
                            <a16:creationId xmlns:a16="http://schemas.microsoft.com/office/drawing/2014/main" id="{A6A819F1-33AF-45D7-8BF6-2B0A9769CAD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矩形 1" hidden="1">
            <a:extLst>
              <a:ext uri="{FF2B5EF4-FFF2-40B4-BE49-F238E27FC236}">
                <a16:creationId xmlns:a16="http://schemas.microsoft.com/office/drawing/2014/main" id="{FF51F16D-1BAD-46EE-A6F4-B8B94C9DF628}"/>
              </a:ext>
            </a:extLst>
          </p:cNvPr>
          <p:cNvSpPr/>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2400" dirty="0">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5" name="标题 4"/>
          <p:cNvSpPr>
            <a:spLocks noGrp="1"/>
          </p:cNvSpPr>
          <p:nvPr>
            <p:ph type="ctrTitle"/>
          </p:nvPr>
        </p:nvSpPr>
        <p:spPr/>
        <p:txBody>
          <a:bodyPr/>
          <a:lstStyle/>
          <a:p>
            <a:r>
              <a:rPr lang="en-US" altLang="zh-CN"/>
              <a:t>Thanks</a:t>
            </a:r>
            <a:br>
              <a:rPr lang="en-US" altLang="zh-CN"/>
            </a:br>
            <a:r>
              <a:rPr lang="en-US" altLang="zh-CN"/>
              <a:t>And Your Slogan Here</a:t>
            </a:r>
            <a:endParaRPr lang="zh-CN" altLang="en-US" dirty="0"/>
          </a:p>
        </p:txBody>
      </p:sp>
      <p:sp>
        <p:nvSpPr>
          <p:cNvPr id="6" name="文本占位符 5"/>
          <p:cNvSpPr>
            <a:spLocks noGrp="1"/>
          </p:cNvSpPr>
          <p:nvPr>
            <p:ph type="body" sz="quarter" idx="10"/>
          </p:nvPr>
        </p:nvSpPr>
        <p:spPr/>
        <p:txBody>
          <a:bodyPr/>
          <a:lstStyle/>
          <a:p>
            <a:r>
              <a:rPr lang="en-US" altLang="zh-CN" dirty="0"/>
              <a:t>SAR2023G20</a:t>
            </a:r>
          </a:p>
        </p:txBody>
      </p:sp>
      <p:sp>
        <p:nvSpPr>
          <p:cNvPr id="8" name="文本占位符 7">
            <a:extLst>
              <a:ext uri="{FF2B5EF4-FFF2-40B4-BE49-F238E27FC236}">
                <a16:creationId xmlns:a16="http://schemas.microsoft.com/office/drawing/2014/main" id="{64D214F1-D223-49D7-A9E8-804534731835}"/>
              </a:ext>
            </a:extLst>
          </p:cNvPr>
          <p:cNvSpPr>
            <a:spLocks noGrp="1"/>
          </p:cNvSpPr>
          <p:nvPr>
            <p:ph type="body" sz="quarter" idx="18"/>
          </p:nvPr>
        </p:nvSpPr>
        <p:spPr/>
        <p:txBody>
          <a:bodyPr/>
          <a:lstStyle/>
          <a:p>
            <a:endParaRPr lang="zh-CN" altLang="en-US"/>
          </a:p>
        </p:txBody>
      </p:sp>
    </p:spTree>
    <p:custDataLst>
      <p:tags r:id="rId3"/>
    </p:custDataLst>
    <p:extLst>
      <p:ext uri="{BB962C8B-B14F-4D97-AF65-F5344CB8AC3E}">
        <p14:creationId xmlns:p14="http://schemas.microsoft.com/office/powerpoint/2010/main" val="1259043032"/>
      </p:ext>
    </p:extLst>
  </p:cSld>
  <p:clrMapOvr>
    <a:masterClrMapping/>
  </p:clrMapOvr>
  <mc:AlternateContent xmlns:mc="http://schemas.openxmlformats.org/markup-compatibility/2006">
    <mc:Choice xmlns:p14="http://schemas.microsoft.com/office/powerpoint/2010/main" Requires="p14">
      <p:transition spd="slow" p14:dur="1200">
        <p:dissolve/>
      </p:transition>
    </mc:Choice>
    <mc:Fallback>
      <p:transition spd="slow">
        <p:dissolv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a:xfrm>
            <a:off x="7803909" y="2171807"/>
            <a:ext cx="5002454" cy="895350"/>
          </a:xfrm>
        </p:spPr>
        <p:txBody>
          <a:bodyPr>
            <a:normAutofit/>
          </a:bodyPr>
          <a:lstStyle/>
          <a:p>
            <a:r>
              <a:rPr lang="zh-CN" altLang="en-US" sz="4400" dirty="0"/>
              <a:t>用例图</a:t>
            </a:r>
          </a:p>
        </p:txBody>
      </p:sp>
      <p:sp>
        <p:nvSpPr>
          <p:cNvPr id="6" name="文本占位符 5"/>
          <p:cNvSpPr>
            <a:spLocks noGrp="1"/>
          </p:cNvSpPr>
          <p:nvPr>
            <p:ph type="body" idx="1"/>
          </p:nvPr>
        </p:nvSpPr>
        <p:spPr/>
        <p:txBody>
          <a:bodyPr>
            <a:normAutofit/>
          </a:bodyPr>
          <a:lstStyle/>
          <a:p>
            <a:pPr lvl="0"/>
            <a:r>
              <a:rPr lang="zh-CN" altLang="en-US" sz="1400" dirty="0"/>
              <a:t>用例图是表示一个系统中用例与参与者关系之间的图 </a:t>
            </a:r>
          </a:p>
          <a:p>
            <a:pPr lvl="0"/>
            <a:r>
              <a:rPr lang="zh-CN" altLang="en-US" sz="1400" dirty="0"/>
              <a:t>它描述了系统中相关的用户和系统对不同用户提供的功能和服务</a:t>
            </a:r>
          </a:p>
        </p:txBody>
      </p:sp>
      <p:sp>
        <p:nvSpPr>
          <p:cNvPr id="9" name="文本框 8">
            <a:extLst>
              <a:ext uri="{FF2B5EF4-FFF2-40B4-BE49-F238E27FC236}">
                <a16:creationId xmlns:a16="http://schemas.microsoft.com/office/drawing/2014/main" id="{04F69230-F3A6-4586-9371-A858F4763E9F}"/>
              </a:ext>
            </a:extLst>
          </p:cNvPr>
          <p:cNvSpPr txBox="1"/>
          <p:nvPr/>
        </p:nvSpPr>
        <p:spPr>
          <a:xfrm>
            <a:off x="6632714" y="2171808"/>
            <a:ext cx="1029773" cy="895349"/>
          </a:xfrm>
          <a:prstGeom prst="rect">
            <a:avLst/>
          </a:prstGeom>
          <a:noFill/>
          <a:ln w="117475">
            <a:noFill/>
          </a:ln>
        </p:spPr>
        <p:txBody>
          <a:bodyPr wrap="none" rtlCol="0">
            <a:prstTxWarp prst="textPlain">
              <a:avLst/>
            </a:prstTxWarp>
            <a:spAutoFit/>
          </a:bodyPr>
          <a:lstStyle/>
          <a:p>
            <a:r>
              <a:rPr lang="en-US" altLang="zh-CN" spc="100" dirty="0">
                <a:solidFill>
                  <a:schemeClr val="accent1"/>
                </a:solidFill>
                <a:latin typeface="Impact" panose="020B0806030902050204" pitchFamily="34" charset="0"/>
                <a:cs typeface="Arial" panose="020B0604020202020204" pitchFamily="34" charset="0"/>
              </a:rPr>
              <a:t>/1-1</a:t>
            </a:r>
            <a:endParaRPr lang="zh-CN" altLang="en-US" spc="100" dirty="0">
              <a:solidFill>
                <a:schemeClr val="accent1"/>
              </a:solidFill>
              <a:latin typeface="Impact" panose="020B0806030902050204" pitchFamily="34" charset="0"/>
              <a:cs typeface="Arial" panose="020B0604020202020204" pitchFamily="34" charset="0"/>
            </a:endParaRPr>
          </a:p>
        </p:txBody>
      </p:sp>
    </p:spTree>
    <p:custDataLst>
      <p:tags r:id="rId2"/>
    </p:custDataLst>
    <p:extLst>
      <p:ext uri="{BB962C8B-B14F-4D97-AF65-F5344CB8AC3E}">
        <p14:creationId xmlns:p14="http://schemas.microsoft.com/office/powerpoint/2010/main" val="2371597387"/>
      </p:ext>
    </p:extLst>
  </p:cSld>
  <p:clrMapOvr>
    <a:masterClrMapping/>
  </p:clrMapOvr>
  <p:transition spd="slow">
    <p:cover/>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C1E35B64-B1DB-4A7C-829A-4E4365E79871}"/>
              </a:ext>
            </a:extLst>
          </p:cNvPr>
          <p:cNvSpPr>
            <a:spLocks noGrp="1"/>
          </p:cNvSpPr>
          <p:nvPr>
            <p:ph type="title"/>
          </p:nvPr>
        </p:nvSpPr>
        <p:spPr/>
        <p:txBody>
          <a:bodyPr/>
          <a:lstStyle/>
          <a:p>
            <a:r>
              <a:rPr lang="en-US" altLang="zh-CN" dirty="0"/>
              <a:t>UML</a:t>
            </a:r>
            <a:r>
              <a:rPr lang="zh-CN" altLang="en-US" dirty="0"/>
              <a:t>用例图</a:t>
            </a:r>
          </a:p>
        </p:txBody>
      </p:sp>
      <p:sp>
        <p:nvSpPr>
          <p:cNvPr id="4" name="灯片编号占位符 3">
            <a:extLst>
              <a:ext uri="{FF2B5EF4-FFF2-40B4-BE49-F238E27FC236}">
                <a16:creationId xmlns:a16="http://schemas.microsoft.com/office/drawing/2014/main" id="{1CD73F73-DE87-4FAA-BC73-34B1717818DF}"/>
              </a:ext>
            </a:extLst>
          </p:cNvPr>
          <p:cNvSpPr>
            <a:spLocks noGrp="1"/>
          </p:cNvSpPr>
          <p:nvPr>
            <p:ph type="sldNum" sz="quarter" idx="12"/>
          </p:nvPr>
        </p:nvSpPr>
        <p:spPr/>
        <p:txBody>
          <a:bodyPr/>
          <a:lstStyle/>
          <a:p>
            <a:fld id="{5DD3DB80-B894-403A-B48E-6FDC1A72010E}" type="slidenum">
              <a:rPr lang="zh-CN" altLang="en-US" smtClean="0"/>
              <a:pPr/>
              <a:t>5</a:t>
            </a:fld>
            <a:endParaRPr lang="zh-CN" altLang="en-US"/>
          </a:p>
        </p:txBody>
      </p:sp>
      <p:grpSp>
        <p:nvGrpSpPr>
          <p:cNvPr id="5" name="183472"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a16="http://schemas.microsoft.com/office/drawing/2014/main" id="{A13558B8-9D1D-485F-A9B2-AEB572654507}"/>
              </a:ext>
            </a:extLst>
          </p:cNvPr>
          <p:cNvGrpSpPr>
            <a:grpSpLocks noChangeAspect="1"/>
          </p:cNvGrpSpPr>
          <p:nvPr/>
        </p:nvGrpSpPr>
        <p:grpSpPr>
          <a:xfrm>
            <a:off x="669925" y="1282893"/>
            <a:ext cx="10850564" cy="4208971"/>
            <a:chOff x="669925" y="1282893"/>
            <a:chExt cx="10850564" cy="4208971"/>
          </a:xfrm>
        </p:grpSpPr>
        <p:grpSp>
          <p:nvGrpSpPr>
            <p:cNvPr id="6" name="iṩḷíďe">
              <a:extLst>
                <a:ext uri="{FF2B5EF4-FFF2-40B4-BE49-F238E27FC236}">
                  <a16:creationId xmlns:a16="http://schemas.microsoft.com/office/drawing/2014/main" id="{85DD5DDA-0778-4DCB-9E7C-A80FA310A8C5}"/>
                </a:ext>
              </a:extLst>
            </p:cNvPr>
            <p:cNvGrpSpPr/>
            <p:nvPr/>
          </p:nvGrpSpPr>
          <p:grpSpPr>
            <a:xfrm>
              <a:off x="669925" y="2140036"/>
              <a:ext cx="2712496" cy="3351828"/>
              <a:chOff x="3528764" y="1854228"/>
              <a:chExt cx="1923936" cy="2377406"/>
            </a:xfrm>
          </p:grpSpPr>
          <p:sp>
            <p:nvSpPr>
              <p:cNvPr id="24" name="ïṡļiḑe">
                <a:extLst>
                  <a:ext uri="{FF2B5EF4-FFF2-40B4-BE49-F238E27FC236}">
                    <a16:creationId xmlns:a16="http://schemas.microsoft.com/office/drawing/2014/main" id="{841F999A-C338-4C88-90B8-C4C47E065D0C}"/>
                  </a:ext>
                </a:extLst>
              </p:cNvPr>
              <p:cNvSpPr/>
              <p:nvPr/>
            </p:nvSpPr>
            <p:spPr bwMode="auto">
              <a:xfrm>
                <a:off x="3528764" y="2104830"/>
                <a:ext cx="1781619" cy="1774547"/>
              </a:xfrm>
              <a:custGeom>
                <a:avLst/>
                <a:gdLst/>
                <a:ahLst/>
                <a:cxnLst>
                  <a:cxn ang="0">
                    <a:pos x="67" y="239"/>
                  </a:cxn>
                  <a:cxn ang="0">
                    <a:pos x="6" y="131"/>
                  </a:cxn>
                  <a:cxn ang="0">
                    <a:pos x="131" y="5"/>
                  </a:cxn>
                  <a:cxn ang="0">
                    <a:pos x="241" y="69"/>
                  </a:cxn>
                  <a:cxn ang="0">
                    <a:pos x="257" y="131"/>
                  </a:cxn>
                  <a:cxn ang="0">
                    <a:pos x="132" y="257"/>
                  </a:cxn>
                  <a:cxn ang="0">
                    <a:pos x="67" y="239"/>
                  </a:cxn>
                  <a:cxn ang="0">
                    <a:pos x="132" y="0"/>
                  </a:cxn>
                  <a:cxn ang="0">
                    <a:pos x="0" y="131"/>
                  </a:cxn>
                  <a:cxn ang="0">
                    <a:pos x="132" y="262"/>
                  </a:cxn>
                  <a:cxn ang="0">
                    <a:pos x="263" y="131"/>
                  </a:cxn>
                  <a:cxn ang="0">
                    <a:pos x="132" y="0"/>
                  </a:cxn>
                </a:cxnLst>
                <a:rect l="0" t="0" r="r" b="b"/>
                <a:pathLst>
                  <a:path w="263" h="262">
                    <a:moveTo>
                      <a:pt x="67" y="239"/>
                    </a:moveTo>
                    <a:cubicBezTo>
                      <a:pt x="30" y="217"/>
                      <a:pt x="6" y="177"/>
                      <a:pt x="6" y="131"/>
                    </a:cubicBezTo>
                    <a:cubicBezTo>
                      <a:pt x="6" y="61"/>
                      <a:pt x="62" y="5"/>
                      <a:pt x="131" y="5"/>
                    </a:cubicBezTo>
                    <a:cubicBezTo>
                      <a:pt x="179" y="5"/>
                      <a:pt x="220" y="31"/>
                      <a:pt x="241" y="69"/>
                    </a:cubicBezTo>
                    <a:cubicBezTo>
                      <a:pt x="252" y="88"/>
                      <a:pt x="257" y="109"/>
                      <a:pt x="257" y="131"/>
                    </a:cubicBezTo>
                    <a:cubicBezTo>
                      <a:pt x="257" y="200"/>
                      <a:pt x="201" y="257"/>
                      <a:pt x="132" y="257"/>
                    </a:cubicBezTo>
                    <a:cubicBezTo>
                      <a:pt x="108" y="257"/>
                      <a:pt x="86" y="250"/>
                      <a:pt x="67" y="239"/>
                    </a:cubicBezTo>
                    <a:moveTo>
                      <a:pt x="132" y="0"/>
                    </a:moveTo>
                    <a:cubicBezTo>
                      <a:pt x="59" y="0"/>
                      <a:pt x="0" y="58"/>
                      <a:pt x="0" y="131"/>
                    </a:cubicBezTo>
                    <a:cubicBezTo>
                      <a:pt x="0" y="204"/>
                      <a:pt x="59" y="262"/>
                      <a:pt x="132" y="262"/>
                    </a:cubicBezTo>
                    <a:cubicBezTo>
                      <a:pt x="204" y="262"/>
                      <a:pt x="263" y="204"/>
                      <a:pt x="263" y="131"/>
                    </a:cubicBezTo>
                    <a:cubicBezTo>
                      <a:pt x="263" y="58"/>
                      <a:pt x="204" y="0"/>
                      <a:pt x="132" y="0"/>
                    </a:cubicBezTo>
                  </a:path>
                </a:pathLst>
              </a:custGeom>
              <a:solidFill>
                <a:schemeClr val="accent2">
                  <a:lumMod val="75000"/>
                </a:schemeClr>
              </a:solidFill>
              <a:ln w="9525">
                <a:noFill/>
                <a:round/>
                <a:headEnd/>
                <a:tailEnd/>
              </a:ln>
            </p:spPr>
            <p:txBody>
              <a:bodyPr vert="horz" wrap="square" lIns="91440" tIns="45720" rIns="91440" bIns="45720" numCol="1" anchor="t" anchorCtr="0" compatLnSpc="1">
                <a:prstTxWarp prst="textNoShape">
                  <a:avLst/>
                </a:prstTxWarp>
                <a:normAutofit/>
              </a:bodyPr>
              <a:lstStyle/>
              <a:p>
                <a:endParaRPr lang="zh-CN" altLang="en-US"/>
              </a:p>
            </p:txBody>
          </p:sp>
          <p:sp>
            <p:nvSpPr>
              <p:cNvPr id="25" name="îśḷíḓè">
                <a:extLst>
                  <a:ext uri="{FF2B5EF4-FFF2-40B4-BE49-F238E27FC236}">
                    <a16:creationId xmlns:a16="http://schemas.microsoft.com/office/drawing/2014/main" id="{14D86D84-CD6E-460C-AD8C-8ABFA51D9E8A}"/>
                  </a:ext>
                </a:extLst>
              </p:cNvPr>
              <p:cNvSpPr/>
              <p:nvPr/>
            </p:nvSpPr>
            <p:spPr bwMode="auto">
              <a:xfrm>
                <a:off x="3569426" y="2138862"/>
                <a:ext cx="1700294" cy="1699852"/>
              </a:xfrm>
              <a:custGeom>
                <a:avLst/>
                <a:gdLst/>
                <a:ahLst/>
                <a:cxnLst>
                  <a:cxn ang="0">
                    <a:pos x="126" y="0"/>
                  </a:cxn>
                  <a:cxn ang="0">
                    <a:pos x="0" y="126"/>
                  </a:cxn>
                  <a:cxn ang="0">
                    <a:pos x="61" y="234"/>
                  </a:cxn>
                  <a:cxn ang="0">
                    <a:pos x="125" y="251"/>
                  </a:cxn>
                  <a:cxn ang="0">
                    <a:pos x="146" y="250"/>
                  </a:cxn>
                  <a:cxn ang="0">
                    <a:pos x="71" y="188"/>
                  </a:cxn>
                  <a:cxn ang="0">
                    <a:pos x="92" y="175"/>
                  </a:cxn>
                  <a:cxn ang="0">
                    <a:pos x="122" y="50"/>
                  </a:cxn>
                  <a:cxn ang="0">
                    <a:pos x="248" y="155"/>
                  </a:cxn>
                  <a:cxn ang="0">
                    <a:pos x="251" y="126"/>
                  </a:cxn>
                  <a:cxn ang="0">
                    <a:pos x="235" y="64"/>
                  </a:cxn>
                  <a:cxn ang="0">
                    <a:pos x="126" y="0"/>
                  </a:cxn>
                </a:cxnLst>
                <a:rect l="0" t="0" r="r" b="b"/>
                <a:pathLst>
                  <a:path w="251" h="251">
                    <a:moveTo>
                      <a:pt x="126" y="0"/>
                    </a:moveTo>
                    <a:cubicBezTo>
                      <a:pt x="56" y="0"/>
                      <a:pt x="0" y="57"/>
                      <a:pt x="0" y="126"/>
                    </a:cubicBezTo>
                    <a:cubicBezTo>
                      <a:pt x="0" y="172"/>
                      <a:pt x="25" y="212"/>
                      <a:pt x="61" y="234"/>
                    </a:cubicBezTo>
                    <a:cubicBezTo>
                      <a:pt x="80" y="245"/>
                      <a:pt x="102" y="251"/>
                      <a:pt x="125" y="251"/>
                    </a:cubicBezTo>
                    <a:cubicBezTo>
                      <a:pt x="132" y="251"/>
                      <a:pt x="139" y="251"/>
                      <a:pt x="146" y="250"/>
                    </a:cubicBezTo>
                    <a:cubicBezTo>
                      <a:pt x="71" y="188"/>
                      <a:pt x="71" y="188"/>
                      <a:pt x="71" y="188"/>
                    </a:cubicBezTo>
                    <a:cubicBezTo>
                      <a:pt x="92" y="175"/>
                      <a:pt x="92" y="175"/>
                      <a:pt x="92" y="175"/>
                    </a:cubicBezTo>
                    <a:cubicBezTo>
                      <a:pt x="122" y="50"/>
                      <a:pt x="122" y="50"/>
                      <a:pt x="122" y="50"/>
                    </a:cubicBezTo>
                    <a:cubicBezTo>
                      <a:pt x="248" y="155"/>
                      <a:pt x="248" y="155"/>
                      <a:pt x="248" y="155"/>
                    </a:cubicBezTo>
                    <a:cubicBezTo>
                      <a:pt x="250" y="146"/>
                      <a:pt x="251" y="136"/>
                      <a:pt x="251" y="126"/>
                    </a:cubicBezTo>
                    <a:cubicBezTo>
                      <a:pt x="251" y="103"/>
                      <a:pt x="245" y="83"/>
                      <a:pt x="235" y="64"/>
                    </a:cubicBezTo>
                    <a:cubicBezTo>
                      <a:pt x="214" y="26"/>
                      <a:pt x="173" y="0"/>
                      <a:pt x="126" y="0"/>
                    </a:cubicBezTo>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normAutofit/>
              </a:bodyPr>
              <a:lstStyle/>
              <a:p>
                <a:endParaRPr lang="zh-CN" altLang="en-US"/>
              </a:p>
            </p:txBody>
          </p:sp>
          <p:sp>
            <p:nvSpPr>
              <p:cNvPr id="26" name="ïšļîḓê">
                <a:extLst>
                  <a:ext uri="{FF2B5EF4-FFF2-40B4-BE49-F238E27FC236}">
                    <a16:creationId xmlns:a16="http://schemas.microsoft.com/office/drawing/2014/main" id="{ED984F3E-A1FA-43C5-A4AA-737EE2F82C2C}"/>
                  </a:ext>
                </a:extLst>
              </p:cNvPr>
              <p:cNvSpPr/>
              <p:nvPr/>
            </p:nvSpPr>
            <p:spPr bwMode="auto">
              <a:xfrm>
                <a:off x="3569426" y="2138862"/>
                <a:ext cx="1592010" cy="1584938"/>
              </a:xfrm>
              <a:custGeom>
                <a:avLst/>
                <a:gdLst/>
                <a:ahLst/>
                <a:cxnLst>
                  <a:cxn ang="0">
                    <a:pos x="125" y="0"/>
                  </a:cxn>
                  <a:cxn ang="0">
                    <a:pos x="0" y="126"/>
                  </a:cxn>
                  <a:cxn ang="0">
                    <a:pos x="61" y="234"/>
                  </a:cxn>
                  <a:cxn ang="0">
                    <a:pos x="0" y="126"/>
                  </a:cxn>
                  <a:cxn ang="0">
                    <a:pos x="126" y="0"/>
                  </a:cxn>
                  <a:cxn ang="0">
                    <a:pos x="235" y="64"/>
                  </a:cxn>
                  <a:cxn ang="0">
                    <a:pos x="125" y="0"/>
                  </a:cxn>
                </a:cxnLst>
                <a:rect l="0" t="0" r="r" b="b"/>
                <a:pathLst>
                  <a:path w="235" h="234">
                    <a:moveTo>
                      <a:pt x="125" y="0"/>
                    </a:moveTo>
                    <a:cubicBezTo>
                      <a:pt x="56" y="0"/>
                      <a:pt x="0" y="56"/>
                      <a:pt x="0" y="126"/>
                    </a:cubicBezTo>
                    <a:cubicBezTo>
                      <a:pt x="0" y="172"/>
                      <a:pt x="24" y="212"/>
                      <a:pt x="61" y="234"/>
                    </a:cubicBezTo>
                    <a:cubicBezTo>
                      <a:pt x="25" y="212"/>
                      <a:pt x="0" y="172"/>
                      <a:pt x="0" y="126"/>
                    </a:cubicBezTo>
                    <a:cubicBezTo>
                      <a:pt x="0" y="57"/>
                      <a:pt x="56" y="0"/>
                      <a:pt x="126" y="0"/>
                    </a:cubicBezTo>
                    <a:cubicBezTo>
                      <a:pt x="173" y="0"/>
                      <a:pt x="214" y="26"/>
                      <a:pt x="235" y="64"/>
                    </a:cubicBezTo>
                    <a:cubicBezTo>
                      <a:pt x="214" y="26"/>
                      <a:pt x="173" y="0"/>
                      <a:pt x="125" y="0"/>
                    </a:cubicBezTo>
                  </a:path>
                </a:pathLst>
              </a:custGeom>
              <a:solidFill>
                <a:srgbClr val="DC3B3A"/>
              </a:solidFill>
              <a:ln w="9525">
                <a:noFill/>
                <a:round/>
                <a:headEnd/>
                <a:tailEnd/>
              </a:ln>
            </p:spPr>
            <p:txBody>
              <a:bodyPr vert="horz" wrap="square" lIns="91440" tIns="45720" rIns="91440" bIns="45720" numCol="1" anchor="t" anchorCtr="0" compatLnSpc="1">
                <a:prstTxWarp prst="textNoShape">
                  <a:avLst/>
                </a:prstTxWarp>
                <a:normAutofit/>
              </a:bodyPr>
              <a:lstStyle/>
              <a:p>
                <a:endParaRPr lang="zh-CN" altLang="en-US"/>
              </a:p>
            </p:txBody>
          </p:sp>
          <p:sp>
            <p:nvSpPr>
              <p:cNvPr id="27" name="iŝḻïḓé">
                <a:extLst>
                  <a:ext uri="{FF2B5EF4-FFF2-40B4-BE49-F238E27FC236}">
                    <a16:creationId xmlns:a16="http://schemas.microsoft.com/office/drawing/2014/main" id="{CE0929BD-FC0F-42FA-A91F-FBDEEE1ED95C}"/>
                  </a:ext>
                </a:extLst>
              </p:cNvPr>
              <p:cNvSpPr/>
              <p:nvPr/>
            </p:nvSpPr>
            <p:spPr bwMode="auto">
              <a:xfrm>
                <a:off x="4558576" y="3188563"/>
                <a:ext cx="690814" cy="643522"/>
              </a:xfrm>
              <a:custGeom>
                <a:avLst/>
                <a:gdLst/>
                <a:ahLst/>
                <a:cxnLst>
                  <a:cxn ang="0">
                    <a:pos x="102" y="0"/>
                  </a:cxn>
                  <a:cxn ang="0">
                    <a:pos x="0" y="95"/>
                  </a:cxn>
                  <a:cxn ang="0">
                    <a:pos x="0" y="95"/>
                  </a:cxn>
                  <a:cxn ang="0">
                    <a:pos x="102" y="0"/>
                  </a:cxn>
                  <a:cxn ang="0">
                    <a:pos x="102" y="0"/>
                  </a:cxn>
                </a:cxnLst>
                <a:rect l="0" t="0" r="r" b="b"/>
                <a:pathLst>
                  <a:path w="102" h="95">
                    <a:moveTo>
                      <a:pt x="102" y="0"/>
                    </a:moveTo>
                    <a:cubicBezTo>
                      <a:pt x="90" y="49"/>
                      <a:pt x="50" y="87"/>
                      <a:pt x="0" y="95"/>
                    </a:cubicBezTo>
                    <a:cubicBezTo>
                      <a:pt x="0" y="95"/>
                      <a:pt x="0" y="95"/>
                      <a:pt x="0" y="95"/>
                    </a:cubicBezTo>
                    <a:cubicBezTo>
                      <a:pt x="50" y="87"/>
                      <a:pt x="90" y="49"/>
                      <a:pt x="102" y="0"/>
                    </a:cubicBezTo>
                    <a:cubicBezTo>
                      <a:pt x="102" y="0"/>
                      <a:pt x="102" y="0"/>
                      <a:pt x="102" y="0"/>
                    </a:cubicBezTo>
                  </a:path>
                </a:pathLst>
              </a:custGeom>
              <a:solidFill>
                <a:srgbClr val="BB3A3A"/>
              </a:solidFill>
              <a:ln w="9525">
                <a:noFill/>
                <a:round/>
                <a:headEnd/>
                <a:tailEnd/>
              </a:ln>
            </p:spPr>
            <p:txBody>
              <a:bodyPr vert="horz" wrap="square" lIns="91440" tIns="45720" rIns="91440" bIns="45720" numCol="1" anchor="t" anchorCtr="0" compatLnSpc="1">
                <a:prstTxWarp prst="textNoShape">
                  <a:avLst/>
                </a:prstTxWarp>
                <a:normAutofit/>
              </a:bodyPr>
              <a:lstStyle/>
              <a:p>
                <a:endParaRPr lang="zh-CN" altLang="en-US"/>
              </a:p>
            </p:txBody>
          </p:sp>
          <p:sp>
            <p:nvSpPr>
              <p:cNvPr id="28" name="îŝ1iḋê">
                <a:extLst>
                  <a:ext uri="{FF2B5EF4-FFF2-40B4-BE49-F238E27FC236}">
                    <a16:creationId xmlns:a16="http://schemas.microsoft.com/office/drawing/2014/main" id="{37D738BF-1FF4-4B0E-AC57-2AF5C3C6FF1F}"/>
                  </a:ext>
                </a:extLst>
              </p:cNvPr>
              <p:cNvSpPr/>
              <p:nvPr/>
            </p:nvSpPr>
            <p:spPr bwMode="auto">
              <a:xfrm>
                <a:off x="4050300" y="2477418"/>
                <a:ext cx="1199090" cy="1354667"/>
              </a:xfrm>
              <a:custGeom>
                <a:avLst/>
                <a:gdLst/>
                <a:ahLst/>
                <a:cxnLst>
                  <a:cxn ang="0">
                    <a:pos x="51" y="0"/>
                  </a:cxn>
                  <a:cxn ang="0">
                    <a:pos x="21" y="125"/>
                  </a:cxn>
                  <a:cxn ang="0">
                    <a:pos x="0" y="138"/>
                  </a:cxn>
                  <a:cxn ang="0">
                    <a:pos x="75" y="200"/>
                  </a:cxn>
                  <a:cxn ang="0">
                    <a:pos x="177" y="105"/>
                  </a:cxn>
                  <a:cxn ang="0">
                    <a:pos x="51" y="0"/>
                  </a:cxn>
                </a:cxnLst>
                <a:rect l="0" t="0" r="r" b="b"/>
                <a:pathLst>
                  <a:path w="177" h="200">
                    <a:moveTo>
                      <a:pt x="51" y="0"/>
                    </a:moveTo>
                    <a:cubicBezTo>
                      <a:pt x="21" y="125"/>
                      <a:pt x="21" y="125"/>
                      <a:pt x="21" y="125"/>
                    </a:cubicBezTo>
                    <a:cubicBezTo>
                      <a:pt x="0" y="138"/>
                      <a:pt x="0" y="138"/>
                      <a:pt x="0" y="138"/>
                    </a:cubicBezTo>
                    <a:cubicBezTo>
                      <a:pt x="75" y="200"/>
                      <a:pt x="75" y="200"/>
                      <a:pt x="75" y="200"/>
                    </a:cubicBezTo>
                    <a:cubicBezTo>
                      <a:pt x="125" y="192"/>
                      <a:pt x="165" y="154"/>
                      <a:pt x="177" y="105"/>
                    </a:cubicBezTo>
                    <a:cubicBezTo>
                      <a:pt x="51" y="0"/>
                      <a:pt x="51" y="0"/>
                      <a:pt x="51" y="0"/>
                    </a:cubicBezTo>
                  </a:path>
                </a:pathLst>
              </a:custGeom>
              <a:solidFill>
                <a:schemeClr val="accent2">
                  <a:lumMod val="75000"/>
                </a:schemeClr>
              </a:solidFill>
              <a:ln w="9525">
                <a:noFill/>
                <a:round/>
                <a:headEnd/>
                <a:tailEnd/>
              </a:ln>
            </p:spPr>
            <p:txBody>
              <a:bodyPr vert="horz" wrap="square" lIns="91440" tIns="45720" rIns="91440" bIns="45720" numCol="1" anchor="t" anchorCtr="0" compatLnSpc="1">
                <a:prstTxWarp prst="textNoShape">
                  <a:avLst/>
                </a:prstTxWarp>
                <a:normAutofit/>
              </a:bodyPr>
              <a:lstStyle/>
              <a:p>
                <a:endParaRPr lang="zh-CN" altLang="en-US"/>
              </a:p>
            </p:txBody>
          </p:sp>
          <p:sp>
            <p:nvSpPr>
              <p:cNvPr id="29" name="îṡḷîḑè">
                <a:extLst>
                  <a:ext uri="{FF2B5EF4-FFF2-40B4-BE49-F238E27FC236}">
                    <a16:creationId xmlns:a16="http://schemas.microsoft.com/office/drawing/2014/main" id="{432FDFEE-34CF-464F-992A-D717895B0683}"/>
                  </a:ext>
                </a:extLst>
              </p:cNvPr>
              <p:cNvSpPr/>
              <p:nvPr/>
            </p:nvSpPr>
            <p:spPr bwMode="auto">
              <a:xfrm>
                <a:off x="4788847" y="3588113"/>
                <a:ext cx="257232" cy="630262"/>
              </a:xfrm>
              <a:custGeom>
                <a:avLst/>
                <a:gdLst/>
                <a:ahLst/>
                <a:cxnLst>
                  <a:cxn ang="0">
                    <a:pos x="27" y="9"/>
                  </a:cxn>
                  <a:cxn ang="0">
                    <a:pos x="26" y="41"/>
                  </a:cxn>
                  <a:cxn ang="0">
                    <a:pos x="34" y="75"/>
                  </a:cxn>
                  <a:cxn ang="0">
                    <a:pos x="22" y="74"/>
                  </a:cxn>
                  <a:cxn ang="0">
                    <a:pos x="7" y="54"/>
                  </a:cxn>
                  <a:cxn ang="0">
                    <a:pos x="7" y="37"/>
                  </a:cxn>
                  <a:cxn ang="0">
                    <a:pos x="8" y="0"/>
                  </a:cxn>
                  <a:cxn ang="0">
                    <a:pos x="27" y="9"/>
                  </a:cxn>
                </a:cxnLst>
                <a:rect l="0" t="0" r="r" b="b"/>
                <a:pathLst>
                  <a:path w="38" h="93">
                    <a:moveTo>
                      <a:pt x="27" y="9"/>
                    </a:moveTo>
                    <a:cubicBezTo>
                      <a:pt x="26" y="41"/>
                      <a:pt x="26" y="41"/>
                      <a:pt x="26" y="41"/>
                    </a:cubicBezTo>
                    <a:cubicBezTo>
                      <a:pt x="34" y="75"/>
                      <a:pt x="34" y="75"/>
                      <a:pt x="34" y="75"/>
                    </a:cubicBezTo>
                    <a:cubicBezTo>
                      <a:pt x="34" y="75"/>
                      <a:pt x="38" y="93"/>
                      <a:pt x="22" y="74"/>
                    </a:cubicBezTo>
                    <a:cubicBezTo>
                      <a:pt x="10" y="58"/>
                      <a:pt x="12" y="60"/>
                      <a:pt x="7" y="54"/>
                    </a:cubicBezTo>
                    <a:cubicBezTo>
                      <a:pt x="0" y="45"/>
                      <a:pt x="3" y="43"/>
                      <a:pt x="7" y="37"/>
                    </a:cubicBezTo>
                    <a:cubicBezTo>
                      <a:pt x="12" y="31"/>
                      <a:pt x="8" y="0"/>
                      <a:pt x="8" y="0"/>
                    </a:cubicBezTo>
                    <a:lnTo>
                      <a:pt x="27" y="9"/>
                    </a:lnTo>
                    <a:close/>
                  </a:path>
                </a:pathLst>
              </a:custGeom>
              <a:solidFill>
                <a:srgbClr val="F4CDBA"/>
              </a:solidFill>
              <a:ln w="9525">
                <a:noFill/>
                <a:round/>
                <a:headEnd/>
                <a:tailEnd/>
              </a:ln>
            </p:spPr>
            <p:txBody>
              <a:bodyPr vert="horz" wrap="square" lIns="91440" tIns="45720" rIns="91440" bIns="45720" numCol="1" anchor="t" anchorCtr="0" compatLnSpc="1">
                <a:prstTxWarp prst="textNoShape">
                  <a:avLst/>
                </a:prstTxWarp>
                <a:normAutofit/>
              </a:bodyPr>
              <a:lstStyle/>
              <a:p>
                <a:endParaRPr lang="zh-CN" altLang="en-US"/>
              </a:p>
            </p:txBody>
          </p:sp>
          <p:sp>
            <p:nvSpPr>
              <p:cNvPr id="30" name="iṡļïďê">
                <a:extLst>
                  <a:ext uri="{FF2B5EF4-FFF2-40B4-BE49-F238E27FC236}">
                    <a16:creationId xmlns:a16="http://schemas.microsoft.com/office/drawing/2014/main" id="{DA655021-F099-4C7C-8D70-71E15DEDCD62}"/>
                  </a:ext>
                </a:extLst>
              </p:cNvPr>
              <p:cNvSpPr/>
              <p:nvPr/>
            </p:nvSpPr>
            <p:spPr bwMode="auto">
              <a:xfrm>
                <a:off x="4788847" y="3825455"/>
                <a:ext cx="257232" cy="406179"/>
              </a:xfrm>
              <a:custGeom>
                <a:avLst/>
                <a:gdLst/>
                <a:ahLst/>
                <a:cxnLst>
                  <a:cxn ang="0">
                    <a:pos x="23" y="40"/>
                  </a:cxn>
                  <a:cxn ang="0">
                    <a:pos x="6" y="18"/>
                  </a:cxn>
                  <a:cxn ang="0">
                    <a:pos x="8" y="0"/>
                  </a:cxn>
                  <a:cxn ang="0">
                    <a:pos x="33" y="36"/>
                  </a:cxn>
                  <a:cxn ang="0">
                    <a:pos x="35" y="41"/>
                  </a:cxn>
                  <a:cxn ang="0">
                    <a:pos x="23" y="40"/>
                  </a:cxn>
                </a:cxnLst>
                <a:rect l="0" t="0" r="r" b="b"/>
                <a:pathLst>
                  <a:path w="38" h="60">
                    <a:moveTo>
                      <a:pt x="23" y="40"/>
                    </a:moveTo>
                    <a:cubicBezTo>
                      <a:pt x="10" y="23"/>
                      <a:pt x="11" y="25"/>
                      <a:pt x="6" y="18"/>
                    </a:cubicBezTo>
                    <a:cubicBezTo>
                      <a:pt x="0" y="9"/>
                      <a:pt x="3" y="7"/>
                      <a:pt x="8" y="0"/>
                    </a:cubicBezTo>
                    <a:cubicBezTo>
                      <a:pt x="9" y="0"/>
                      <a:pt x="22" y="25"/>
                      <a:pt x="33" y="36"/>
                    </a:cubicBezTo>
                    <a:cubicBezTo>
                      <a:pt x="35" y="41"/>
                      <a:pt x="35" y="41"/>
                      <a:pt x="35" y="41"/>
                    </a:cubicBezTo>
                    <a:cubicBezTo>
                      <a:pt x="35" y="41"/>
                      <a:pt x="38" y="60"/>
                      <a:pt x="23" y="40"/>
                    </a:cubicBezTo>
                    <a:close/>
                  </a:path>
                </a:pathLst>
              </a:custGeom>
              <a:solidFill>
                <a:srgbClr val="282828"/>
              </a:solidFill>
              <a:ln w="9525">
                <a:noFill/>
                <a:round/>
                <a:headEnd/>
                <a:tailEnd/>
              </a:ln>
            </p:spPr>
            <p:txBody>
              <a:bodyPr vert="horz" wrap="square" lIns="91440" tIns="45720" rIns="91440" bIns="45720" numCol="1" anchor="t" anchorCtr="0" compatLnSpc="1">
                <a:prstTxWarp prst="textNoShape">
                  <a:avLst/>
                </a:prstTxWarp>
                <a:normAutofit/>
              </a:bodyPr>
              <a:lstStyle/>
              <a:p>
                <a:endParaRPr lang="zh-CN" altLang="en-US"/>
              </a:p>
            </p:txBody>
          </p:sp>
          <p:sp>
            <p:nvSpPr>
              <p:cNvPr id="31" name="išļíḋe">
                <a:extLst>
                  <a:ext uri="{FF2B5EF4-FFF2-40B4-BE49-F238E27FC236}">
                    <a16:creationId xmlns:a16="http://schemas.microsoft.com/office/drawing/2014/main" id="{29154372-398E-4A0D-9BF7-09F34E6D133E}"/>
                  </a:ext>
                </a:extLst>
              </p:cNvPr>
              <p:cNvSpPr/>
              <p:nvPr/>
            </p:nvSpPr>
            <p:spPr bwMode="auto">
              <a:xfrm>
                <a:off x="4334934" y="3385244"/>
                <a:ext cx="47292" cy="270933"/>
              </a:xfrm>
              <a:custGeom>
                <a:avLst/>
                <a:gdLst/>
                <a:ahLst/>
                <a:cxnLst>
                  <a:cxn ang="0">
                    <a:pos x="0" y="38"/>
                  </a:cxn>
                  <a:cxn ang="0">
                    <a:pos x="2" y="40"/>
                  </a:cxn>
                  <a:cxn ang="0">
                    <a:pos x="5" y="40"/>
                  </a:cxn>
                  <a:cxn ang="0">
                    <a:pos x="7" y="38"/>
                  </a:cxn>
                  <a:cxn ang="0">
                    <a:pos x="7" y="1"/>
                  </a:cxn>
                  <a:cxn ang="0">
                    <a:pos x="5" y="0"/>
                  </a:cxn>
                  <a:cxn ang="0">
                    <a:pos x="2" y="0"/>
                  </a:cxn>
                  <a:cxn ang="0">
                    <a:pos x="0" y="1"/>
                  </a:cxn>
                  <a:cxn ang="0">
                    <a:pos x="0" y="38"/>
                  </a:cxn>
                </a:cxnLst>
                <a:rect l="0" t="0" r="r" b="b"/>
                <a:pathLst>
                  <a:path w="7" h="40">
                    <a:moveTo>
                      <a:pt x="0" y="38"/>
                    </a:moveTo>
                    <a:cubicBezTo>
                      <a:pt x="0" y="39"/>
                      <a:pt x="1" y="40"/>
                      <a:pt x="2" y="40"/>
                    </a:cubicBezTo>
                    <a:cubicBezTo>
                      <a:pt x="5" y="40"/>
                      <a:pt x="5" y="40"/>
                      <a:pt x="5" y="40"/>
                    </a:cubicBezTo>
                    <a:cubicBezTo>
                      <a:pt x="6" y="40"/>
                      <a:pt x="7" y="39"/>
                      <a:pt x="7" y="38"/>
                    </a:cubicBezTo>
                    <a:cubicBezTo>
                      <a:pt x="7" y="1"/>
                      <a:pt x="7" y="1"/>
                      <a:pt x="7" y="1"/>
                    </a:cubicBezTo>
                    <a:cubicBezTo>
                      <a:pt x="7" y="0"/>
                      <a:pt x="6" y="0"/>
                      <a:pt x="5" y="0"/>
                    </a:cubicBezTo>
                    <a:cubicBezTo>
                      <a:pt x="2" y="0"/>
                      <a:pt x="2" y="0"/>
                      <a:pt x="2" y="0"/>
                    </a:cubicBezTo>
                    <a:cubicBezTo>
                      <a:pt x="1" y="0"/>
                      <a:pt x="0" y="0"/>
                      <a:pt x="0" y="1"/>
                    </a:cubicBezTo>
                    <a:lnTo>
                      <a:pt x="0" y="38"/>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normAutofit/>
              </a:bodyPr>
              <a:lstStyle/>
              <a:p>
                <a:endParaRPr lang="zh-CN" altLang="en-US"/>
              </a:p>
            </p:txBody>
          </p:sp>
          <p:sp>
            <p:nvSpPr>
              <p:cNvPr id="32" name="ïS1ïḍé">
                <a:extLst>
                  <a:ext uri="{FF2B5EF4-FFF2-40B4-BE49-F238E27FC236}">
                    <a16:creationId xmlns:a16="http://schemas.microsoft.com/office/drawing/2014/main" id="{8C1B637D-600C-49FA-802A-417CFEA528CC}"/>
                  </a:ext>
                </a:extLst>
              </p:cNvPr>
              <p:cNvSpPr/>
              <p:nvPr/>
            </p:nvSpPr>
            <p:spPr bwMode="auto">
              <a:xfrm>
                <a:off x="4037040" y="3296848"/>
                <a:ext cx="697443" cy="115357"/>
              </a:xfrm>
              <a:custGeom>
                <a:avLst/>
                <a:gdLst/>
                <a:ahLst/>
                <a:cxnLst>
                  <a:cxn ang="0">
                    <a:pos x="0" y="15"/>
                  </a:cxn>
                  <a:cxn ang="0">
                    <a:pos x="2" y="17"/>
                  </a:cxn>
                  <a:cxn ang="0">
                    <a:pos x="101" y="17"/>
                  </a:cxn>
                  <a:cxn ang="0">
                    <a:pos x="103" y="15"/>
                  </a:cxn>
                  <a:cxn ang="0">
                    <a:pos x="103" y="2"/>
                  </a:cxn>
                  <a:cxn ang="0">
                    <a:pos x="101" y="0"/>
                  </a:cxn>
                  <a:cxn ang="0">
                    <a:pos x="2" y="0"/>
                  </a:cxn>
                  <a:cxn ang="0">
                    <a:pos x="0" y="2"/>
                  </a:cxn>
                  <a:cxn ang="0">
                    <a:pos x="0" y="15"/>
                  </a:cxn>
                </a:cxnLst>
                <a:rect l="0" t="0" r="r" b="b"/>
                <a:pathLst>
                  <a:path w="103" h="17">
                    <a:moveTo>
                      <a:pt x="0" y="15"/>
                    </a:moveTo>
                    <a:cubicBezTo>
                      <a:pt x="0" y="16"/>
                      <a:pt x="1" y="17"/>
                      <a:pt x="2" y="17"/>
                    </a:cubicBezTo>
                    <a:cubicBezTo>
                      <a:pt x="101" y="17"/>
                      <a:pt x="101" y="17"/>
                      <a:pt x="101" y="17"/>
                    </a:cubicBezTo>
                    <a:cubicBezTo>
                      <a:pt x="102" y="17"/>
                      <a:pt x="103" y="16"/>
                      <a:pt x="103" y="15"/>
                    </a:cubicBezTo>
                    <a:cubicBezTo>
                      <a:pt x="103" y="2"/>
                      <a:pt x="103" y="2"/>
                      <a:pt x="103" y="2"/>
                    </a:cubicBezTo>
                    <a:cubicBezTo>
                      <a:pt x="103" y="1"/>
                      <a:pt x="102" y="0"/>
                      <a:pt x="101" y="0"/>
                    </a:cubicBezTo>
                    <a:cubicBezTo>
                      <a:pt x="2" y="0"/>
                      <a:pt x="2" y="0"/>
                      <a:pt x="2" y="0"/>
                    </a:cubicBezTo>
                    <a:cubicBezTo>
                      <a:pt x="1" y="0"/>
                      <a:pt x="0" y="1"/>
                      <a:pt x="0" y="2"/>
                    </a:cubicBezTo>
                    <a:lnTo>
                      <a:pt x="0" y="15"/>
                    </a:lnTo>
                    <a:close/>
                  </a:path>
                </a:pathLst>
              </a:custGeom>
              <a:solidFill>
                <a:srgbClr val="000000"/>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zh-CN" altLang="en-US"/>
              </a:p>
            </p:txBody>
          </p:sp>
          <p:sp>
            <p:nvSpPr>
              <p:cNvPr id="33" name="îšļïḋê">
                <a:extLst>
                  <a:ext uri="{FF2B5EF4-FFF2-40B4-BE49-F238E27FC236}">
                    <a16:creationId xmlns:a16="http://schemas.microsoft.com/office/drawing/2014/main" id="{53526CEE-D015-4DE1-A3BB-6F1D9E9605BD}"/>
                  </a:ext>
                </a:extLst>
              </p:cNvPr>
              <p:cNvSpPr/>
              <p:nvPr/>
            </p:nvSpPr>
            <p:spPr bwMode="auto">
              <a:xfrm>
                <a:off x="4321233" y="3581483"/>
                <a:ext cx="68065" cy="250602"/>
              </a:xfrm>
              <a:prstGeom prst="rect">
                <a:avLst/>
              </a:prstGeom>
              <a:solidFill>
                <a:srgbClr val="D8D2CA"/>
              </a:solidFill>
              <a:ln w="9525">
                <a:noFill/>
                <a:miter lim="800000"/>
                <a:headEnd/>
                <a:tailEnd/>
              </a:ln>
            </p:spPr>
            <p:txBody>
              <a:bodyPr vert="horz" wrap="square" lIns="91440" tIns="45720" rIns="91440" bIns="45720" numCol="1" anchor="t" anchorCtr="0" compatLnSpc="1">
                <a:prstTxWarp prst="textNoShape">
                  <a:avLst/>
                </a:prstTxWarp>
                <a:normAutofit lnSpcReduction="10000"/>
              </a:bodyPr>
              <a:lstStyle/>
              <a:p>
                <a:endParaRPr lang="zh-CN" altLang="en-US"/>
              </a:p>
            </p:txBody>
          </p:sp>
          <p:sp>
            <p:nvSpPr>
              <p:cNvPr id="34" name="iŝ1ïḓè">
                <a:extLst>
                  <a:ext uri="{FF2B5EF4-FFF2-40B4-BE49-F238E27FC236}">
                    <a16:creationId xmlns:a16="http://schemas.microsoft.com/office/drawing/2014/main" id="{628D4FB9-FC85-4AB7-9A1C-94AFB06BE941}"/>
                  </a:ext>
                </a:extLst>
              </p:cNvPr>
              <p:cNvSpPr/>
              <p:nvPr/>
            </p:nvSpPr>
            <p:spPr bwMode="auto">
              <a:xfrm>
                <a:off x="4361895" y="3784793"/>
                <a:ext cx="257674" cy="277563"/>
              </a:xfrm>
              <a:custGeom>
                <a:avLst/>
                <a:gdLst/>
                <a:ahLst/>
                <a:cxnLst>
                  <a:cxn ang="0">
                    <a:pos x="5" y="0"/>
                  </a:cxn>
                  <a:cxn ang="0">
                    <a:pos x="38" y="27"/>
                  </a:cxn>
                  <a:cxn ang="0">
                    <a:pos x="38" y="41"/>
                  </a:cxn>
                  <a:cxn ang="0">
                    <a:pos x="32" y="41"/>
                  </a:cxn>
                  <a:cxn ang="0">
                    <a:pos x="32" y="29"/>
                  </a:cxn>
                  <a:cxn ang="0">
                    <a:pos x="0" y="10"/>
                  </a:cxn>
                  <a:cxn ang="0">
                    <a:pos x="0" y="1"/>
                  </a:cxn>
                  <a:cxn ang="0">
                    <a:pos x="5" y="0"/>
                  </a:cxn>
                </a:cxnLst>
                <a:rect l="0" t="0" r="r" b="b"/>
                <a:pathLst>
                  <a:path w="38" h="41">
                    <a:moveTo>
                      <a:pt x="5" y="0"/>
                    </a:moveTo>
                    <a:cubicBezTo>
                      <a:pt x="8" y="3"/>
                      <a:pt x="38" y="26"/>
                      <a:pt x="38" y="27"/>
                    </a:cubicBezTo>
                    <a:cubicBezTo>
                      <a:pt x="38" y="29"/>
                      <a:pt x="38" y="41"/>
                      <a:pt x="38" y="41"/>
                    </a:cubicBezTo>
                    <a:cubicBezTo>
                      <a:pt x="32" y="41"/>
                      <a:pt x="32" y="41"/>
                      <a:pt x="32" y="41"/>
                    </a:cubicBezTo>
                    <a:cubicBezTo>
                      <a:pt x="32" y="29"/>
                      <a:pt x="32" y="29"/>
                      <a:pt x="32" y="29"/>
                    </a:cubicBezTo>
                    <a:cubicBezTo>
                      <a:pt x="0" y="10"/>
                      <a:pt x="0" y="10"/>
                      <a:pt x="0" y="10"/>
                    </a:cubicBezTo>
                    <a:cubicBezTo>
                      <a:pt x="0" y="1"/>
                      <a:pt x="0" y="1"/>
                      <a:pt x="0" y="1"/>
                    </a:cubicBezTo>
                    <a:lnTo>
                      <a:pt x="5" y="0"/>
                    </a:lnTo>
                    <a:close/>
                  </a:path>
                </a:pathLst>
              </a:custGeom>
              <a:solidFill>
                <a:srgbClr val="D8D2CA"/>
              </a:solidFill>
              <a:ln w="9525">
                <a:noFill/>
                <a:round/>
                <a:headEnd/>
                <a:tailEnd/>
              </a:ln>
            </p:spPr>
            <p:txBody>
              <a:bodyPr vert="horz" wrap="square" lIns="91440" tIns="45720" rIns="91440" bIns="45720" numCol="1" anchor="t" anchorCtr="0" compatLnSpc="1">
                <a:prstTxWarp prst="textNoShape">
                  <a:avLst/>
                </a:prstTxWarp>
                <a:normAutofit/>
              </a:bodyPr>
              <a:lstStyle/>
              <a:p>
                <a:endParaRPr lang="zh-CN" altLang="en-US"/>
              </a:p>
            </p:txBody>
          </p:sp>
          <p:sp>
            <p:nvSpPr>
              <p:cNvPr id="35" name="îṡliḋè">
                <a:extLst>
                  <a:ext uri="{FF2B5EF4-FFF2-40B4-BE49-F238E27FC236}">
                    <a16:creationId xmlns:a16="http://schemas.microsoft.com/office/drawing/2014/main" id="{3701FE29-46C4-4CC2-A917-DF09CCC6EA4D}"/>
                  </a:ext>
                </a:extLst>
              </p:cNvPr>
              <p:cNvSpPr/>
              <p:nvPr/>
            </p:nvSpPr>
            <p:spPr bwMode="auto">
              <a:xfrm>
                <a:off x="4118365" y="3777722"/>
                <a:ext cx="250602" cy="278005"/>
              </a:xfrm>
              <a:custGeom>
                <a:avLst/>
                <a:gdLst/>
                <a:ahLst/>
                <a:cxnLst>
                  <a:cxn ang="0">
                    <a:pos x="33" y="0"/>
                  </a:cxn>
                  <a:cxn ang="0">
                    <a:pos x="0" y="27"/>
                  </a:cxn>
                  <a:cxn ang="0">
                    <a:pos x="0" y="41"/>
                  </a:cxn>
                  <a:cxn ang="0">
                    <a:pos x="5" y="41"/>
                  </a:cxn>
                  <a:cxn ang="0">
                    <a:pos x="5" y="29"/>
                  </a:cxn>
                  <a:cxn ang="0">
                    <a:pos x="37" y="10"/>
                  </a:cxn>
                  <a:cxn ang="0">
                    <a:pos x="37" y="1"/>
                  </a:cxn>
                  <a:cxn ang="0">
                    <a:pos x="33" y="0"/>
                  </a:cxn>
                </a:cxnLst>
                <a:rect l="0" t="0" r="r" b="b"/>
                <a:pathLst>
                  <a:path w="37" h="41">
                    <a:moveTo>
                      <a:pt x="33" y="0"/>
                    </a:moveTo>
                    <a:cubicBezTo>
                      <a:pt x="29" y="3"/>
                      <a:pt x="0" y="26"/>
                      <a:pt x="0" y="27"/>
                    </a:cubicBezTo>
                    <a:cubicBezTo>
                      <a:pt x="0" y="29"/>
                      <a:pt x="0" y="41"/>
                      <a:pt x="0" y="41"/>
                    </a:cubicBezTo>
                    <a:cubicBezTo>
                      <a:pt x="5" y="41"/>
                      <a:pt x="5" y="41"/>
                      <a:pt x="5" y="41"/>
                    </a:cubicBezTo>
                    <a:cubicBezTo>
                      <a:pt x="5" y="29"/>
                      <a:pt x="5" y="29"/>
                      <a:pt x="5" y="29"/>
                    </a:cubicBezTo>
                    <a:cubicBezTo>
                      <a:pt x="37" y="10"/>
                      <a:pt x="37" y="10"/>
                      <a:pt x="37" y="10"/>
                    </a:cubicBezTo>
                    <a:cubicBezTo>
                      <a:pt x="37" y="1"/>
                      <a:pt x="37" y="1"/>
                      <a:pt x="37" y="1"/>
                    </a:cubicBezTo>
                    <a:lnTo>
                      <a:pt x="33" y="0"/>
                    </a:lnTo>
                    <a:close/>
                  </a:path>
                </a:pathLst>
              </a:custGeom>
              <a:solidFill>
                <a:srgbClr val="D8D2CA"/>
              </a:solidFill>
              <a:ln w="9525">
                <a:noFill/>
                <a:round/>
                <a:headEnd/>
                <a:tailEnd/>
              </a:ln>
            </p:spPr>
            <p:txBody>
              <a:bodyPr vert="horz" wrap="square" lIns="91440" tIns="45720" rIns="91440" bIns="45720" numCol="1" anchor="t" anchorCtr="0" compatLnSpc="1">
                <a:prstTxWarp prst="textNoShape">
                  <a:avLst/>
                </a:prstTxWarp>
                <a:normAutofit/>
              </a:bodyPr>
              <a:lstStyle/>
              <a:p>
                <a:endParaRPr lang="zh-CN" altLang="en-US"/>
              </a:p>
            </p:txBody>
          </p:sp>
          <p:sp>
            <p:nvSpPr>
              <p:cNvPr id="36" name="ísḻiďê">
                <a:extLst>
                  <a:ext uri="{FF2B5EF4-FFF2-40B4-BE49-F238E27FC236}">
                    <a16:creationId xmlns:a16="http://schemas.microsoft.com/office/drawing/2014/main" id="{9044B1C3-208A-434A-ACC3-3DF8F0CD1F32}"/>
                  </a:ext>
                </a:extLst>
              </p:cNvPr>
              <p:cNvSpPr/>
              <p:nvPr/>
            </p:nvSpPr>
            <p:spPr bwMode="auto">
              <a:xfrm>
                <a:off x="4043670" y="3777722"/>
                <a:ext cx="297894" cy="162648"/>
              </a:xfrm>
              <a:custGeom>
                <a:avLst/>
                <a:gdLst/>
                <a:ahLst/>
                <a:cxnLst>
                  <a:cxn ang="0">
                    <a:pos x="674" y="0"/>
                  </a:cxn>
                  <a:cxn ang="0">
                    <a:pos x="0" y="184"/>
                  </a:cxn>
                  <a:cxn ang="0">
                    <a:pos x="0" y="368"/>
                  </a:cxn>
                  <a:cxn ang="0">
                    <a:pos x="61" y="368"/>
                  </a:cxn>
                  <a:cxn ang="0">
                    <a:pos x="61" y="276"/>
                  </a:cxn>
                  <a:cxn ang="0">
                    <a:pos x="628" y="138"/>
                  </a:cxn>
                  <a:cxn ang="0">
                    <a:pos x="674" y="0"/>
                  </a:cxn>
                </a:cxnLst>
                <a:rect l="0" t="0" r="r" b="b"/>
                <a:pathLst>
                  <a:path w="674" h="368">
                    <a:moveTo>
                      <a:pt x="674" y="0"/>
                    </a:moveTo>
                    <a:lnTo>
                      <a:pt x="0" y="184"/>
                    </a:lnTo>
                    <a:lnTo>
                      <a:pt x="0" y="368"/>
                    </a:lnTo>
                    <a:lnTo>
                      <a:pt x="61" y="368"/>
                    </a:lnTo>
                    <a:lnTo>
                      <a:pt x="61" y="276"/>
                    </a:lnTo>
                    <a:lnTo>
                      <a:pt x="628" y="138"/>
                    </a:lnTo>
                    <a:lnTo>
                      <a:pt x="674" y="0"/>
                    </a:lnTo>
                    <a:close/>
                  </a:path>
                </a:pathLst>
              </a:custGeom>
              <a:solidFill>
                <a:srgbClr val="D8D2CA"/>
              </a:solidFill>
              <a:ln w="9525">
                <a:noFill/>
                <a:round/>
                <a:headEnd/>
                <a:tailEnd/>
              </a:ln>
            </p:spPr>
            <p:txBody>
              <a:bodyPr vert="horz" wrap="square" lIns="91440" tIns="45720" rIns="91440" bIns="45720" numCol="1" anchor="t" anchorCtr="0" compatLnSpc="1">
                <a:prstTxWarp prst="textNoShape">
                  <a:avLst/>
                </a:prstTxWarp>
                <a:normAutofit fontScale="62500" lnSpcReduction="20000"/>
              </a:bodyPr>
              <a:lstStyle/>
              <a:p>
                <a:endParaRPr lang="zh-CN" altLang="en-US"/>
              </a:p>
            </p:txBody>
          </p:sp>
          <p:sp>
            <p:nvSpPr>
              <p:cNvPr id="37" name="iśľiḋe">
                <a:extLst>
                  <a:ext uri="{FF2B5EF4-FFF2-40B4-BE49-F238E27FC236}">
                    <a16:creationId xmlns:a16="http://schemas.microsoft.com/office/drawing/2014/main" id="{ECC9F4D6-4250-44F4-8574-BB02DCFC590E}"/>
                  </a:ext>
                </a:extLst>
              </p:cNvPr>
              <p:cNvSpPr/>
              <p:nvPr/>
            </p:nvSpPr>
            <p:spPr bwMode="auto">
              <a:xfrm>
                <a:off x="4382226" y="3777722"/>
                <a:ext cx="298336" cy="162648"/>
              </a:xfrm>
              <a:custGeom>
                <a:avLst/>
                <a:gdLst/>
                <a:ahLst/>
                <a:cxnLst>
                  <a:cxn ang="0">
                    <a:pos x="0" y="0"/>
                  </a:cxn>
                  <a:cxn ang="0">
                    <a:pos x="675" y="184"/>
                  </a:cxn>
                  <a:cxn ang="0">
                    <a:pos x="675" y="368"/>
                  </a:cxn>
                  <a:cxn ang="0">
                    <a:pos x="613" y="368"/>
                  </a:cxn>
                  <a:cxn ang="0">
                    <a:pos x="613" y="276"/>
                  </a:cxn>
                  <a:cxn ang="0">
                    <a:pos x="46" y="138"/>
                  </a:cxn>
                  <a:cxn ang="0">
                    <a:pos x="0" y="0"/>
                  </a:cxn>
                </a:cxnLst>
                <a:rect l="0" t="0" r="r" b="b"/>
                <a:pathLst>
                  <a:path w="675" h="368">
                    <a:moveTo>
                      <a:pt x="0" y="0"/>
                    </a:moveTo>
                    <a:lnTo>
                      <a:pt x="675" y="184"/>
                    </a:lnTo>
                    <a:lnTo>
                      <a:pt x="675" y="368"/>
                    </a:lnTo>
                    <a:lnTo>
                      <a:pt x="613" y="368"/>
                    </a:lnTo>
                    <a:lnTo>
                      <a:pt x="613" y="276"/>
                    </a:lnTo>
                    <a:lnTo>
                      <a:pt x="46" y="138"/>
                    </a:lnTo>
                    <a:lnTo>
                      <a:pt x="0" y="0"/>
                    </a:lnTo>
                    <a:close/>
                  </a:path>
                </a:pathLst>
              </a:custGeom>
              <a:solidFill>
                <a:srgbClr val="D8D2CA"/>
              </a:solidFill>
              <a:ln w="9525">
                <a:noFill/>
                <a:round/>
                <a:headEnd/>
                <a:tailEnd/>
              </a:ln>
            </p:spPr>
            <p:txBody>
              <a:bodyPr vert="horz" wrap="square" lIns="91440" tIns="45720" rIns="91440" bIns="45720" numCol="1" anchor="t" anchorCtr="0" compatLnSpc="1">
                <a:prstTxWarp prst="textNoShape">
                  <a:avLst/>
                </a:prstTxWarp>
                <a:normAutofit fontScale="62500" lnSpcReduction="20000"/>
              </a:bodyPr>
              <a:lstStyle/>
              <a:p>
                <a:endParaRPr lang="zh-CN" altLang="en-US"/>
              </a:p>
            </p:txBody>
          </p:sp>
          <p:sp>
            <p:nvSpPr>
              <p:cNvPr id="38" name="îṧḻiďé">
                <a:extLst>
                  <a:ext uri="{FF2B5EF4-FFF2-40B4-BE49-F238E27FC236}">
                    <a16:creationId xmlns:a16="http://schemas.microsoft.com/office/drawing/2014/main" id="{86C406F1-254F-4247-AEC9-F5D9E0703D1D}"/>
                  </a:ext>
                </a:extLst>
              </p:cNvPr>
              <p:cNvSpPr/>
              <p:nvPr/>
            </p:nvSpPr>
            <p:spPr bwMode="auto">
              <a:xfrm>
                <a:off x="4172286" y="3066577"/>
                <a:ext cx="887495" cy="724846"/>
              </a:xfrm>
              <a:custGeom>
                <a:avLst/>
                <a:gdLst/>
                <a:ahLst/>
                <a:cxnLst>
                  <a:cxn ang="0">
                    <a:pos x="45" y="0"/>
                  </a:cxn>
                  <a:cxn ang="0">
                    <a:pos x="125" y="14"/>
                  </a:cxn>
                  <a:cxn ang="0">
                    <a:pos x="131" y="25"/>
                  </a:cxn>
                  <a:cxn ang="0">
                    <a:pos x="119" y="107"/>
                  </a:cxn>
                  <a:cxn ang="0">
                    <a:pos x="97" y="103"/>
                  </a:cxn>
                  <a:cxn ang="0">
                    <a:pos x="100" y="37"/>
                  </a:cxn>
                  <a:cxn ang="0">
                    <a:pos x="0" y="31"/>
                  </a:cxn>
                  <a:cxn ang="0">
                    <a:pos x="45" y="0"/>
                  </a:cxn>
                </a:cxnLst>
                <a:rect l="0" t="0" r="r" b="b"/>
                <a:pathLst>
                  <a:path w="131" h="107">
                    <a:moveTo>
                      <a:pt x="45" y="0"/>
                    </a:moveTo>
                    <a:cubicBezTo>
                      <a:pt x="50" y="1"/>
                      <a:pt x="122" y="13"/>
                      <a:pt x="125" y="14"/>
                    </a:cubicBezTo>
                    <a:cubicBezTo>
                      <a:pt x="130" y="16"/>
                      <a:pt x="131" y="22"/>
                      <a:pt x="131" y="25"/>
                    </a:cubicBezTo>
                    <a:cubicBezTo>
                      <a:pt x="130" y="27"/>
                      <a:pt x="119" y="107"/>
                      <a:pt x="119" y="107"/>
                    </a:cubicBezTo>
                    <a:cubicBezTo>
                      <a:pt x="97" y="103"/>
                      <a:pt x="97" y="103"/>
                      <a:pt x="97" y="103"/>
                    </a:cubicBezTo>
                    <a:cubicBezTo>
                      <a:pt x="97" y="103"/>
                      <a:pt x="93" y="73"/>
                      <a:pt x="100" y="37"/>
                    </a:cubicBezTo>
                    <a:cubicBezTo>
                      <a:pt x="100" y="37"/>
                      <a:pt x="0" y="44"/>
                      <a:pt x="0" y="31"/>
                    </a:cubicBezTo>
                    <a:cubicBezTo>
                      <a:pt x="0" y="18"/>
                      <a:pt x="45" y="0"/>
                      <a:pt x="45" y="0"/>
                    </a:cubicBezTo>
                    <a:close/>
                  </a:path>
                </a:pathLst>
              </a:custGeom>
              <a:solidFill>
                <a:srgbClr val="282828"/>
              </a:solidFill>
              <a:ln w="9525">
                <a:noFill/>
                <a:round/>
                <a:headEnd/>
                <a:tailEnd/>
              </a:ln>
            </p:spPr>
            <p:txBody>
              <a:bodyPr vert="horz" wrap="square" lIns="91440" tIns="45720" rIns="91440" bIns="45720" numCol="1" anchor="t" anchorCtr="0" compatLnSpc="1">
                <a:prstTxWarp prst="textNoShape">
                  <a:avLst/>
                </a:prstTxWarp>
                <a:normAutofit/>
              </a:bodyPr>
              <a:lstStyle/>
              <a:p>
                <a:endParaRPr lang="zh-CN" altLang="en-US"/>
              </a:p>
            </p:txBody>
          </p:sp>
          <p:sp>
            <p:nvSpPr>
              <p:cNvPr id="39" name="ïṡ1îḓe">
                <a:extLst>
                  <a:ext uri="{FF2B5EF4-FFF2-40B4-BE49-F238E27FC236}">
                    <a16:creationId xmlns:a16="http://schemas.microsoft.com/office/drawing/2014/main" id="{DA35B167-305F-4326-8E13-41B4EABDB4C7}"/>
                  </a:ext>
                </a:extLst>
              </p:cNvPr>
              <p:cNvSpPr/>
              <p:nvPr/>
            </p:nvSpPr>
            <p:spPr bwMode="auto">
              <a:xfrm>
                <a:off x="4165656" y="3107239"/>
                <a:ext cx="846832" cy="677554"/>
              </a:xfrm>
              <a:custGeom>
                <a:avLst/>
                <a:gdLst/>
                <a:ahLst/>
                <a:cxnLst>
                  <a:cxn ang="0">
                    <a:pos x="101" y="31"/>
                  </a:cxn>
                  <a:cxn ang="0">
                    <a:pos x="0" y="25"/>
                  </a:cxn>
                  <a:cxn ang="0">
                    <a:pos x="23" y="0"/>
                  </a:cxn>
                  <a:cxn ang="0">
                    <a:pos x="119" y="15"/>
                  </a:cxn>
                  <a:cxn ang="0">
                    <a:pos x="122" y="19"/>
                  </a:cxn>
                  <a:cxn ang="0">
                    <a:pos x="115" y="100"/>
                  </a:cxn>
                  <a:cxn ang="0">
                    <a:pos x="98" y="97"/>
                  </a:cxn>
                  <a:cxn ang="0">
                    <a:pos x="101" y="31"/>
                  </a:cxn>
                </a:cxnLst>
                <a:rect l="0" t="0" r="r" b="b"/>
                <a:pathLst>
                  <a:path w="125" h="100">
                    <a:moveTo>
                      <a:pt x="101" y="31"/>
                    </a:moveTo>
                    <a:cubicBezTo>
                      <a:pt x="101" y="31"/>
                      <a:pt x="0" y="38"/>
                      <a:pt x="0" y="25"/>
                    </a:cubicBezTo>
                    <a:cubicBezTo>
                      <a:pt x="0" y="17"/>
                      <a:pt x="9" y="6"/>
                      <a:pt x="23" y="0"/>
                    </a:cubicBezTo>
                    <a:cubicBezTo>
                      <a:pt x="43" y="3"/>
                      <a:pt x="100" y="8"/>
                      <a:pt x="119" y="15"/>
                    </a:cubicBezTo>
                    <a:cubicBezTo>
                      <a:pt x="122" y="16"/>
                      <a:pt x="121" y="18"/>
                      <a:pt x="122" y="19"/>
                    </a:cubicBezTo>
                    <a:cubicBezTo>
                      <a:pt x="125" y="25"/>
                      <a:pt x="117" y="85"/>
                      <a:pt x="115" y="100"/>
                    </a:cubicBezTo>
                    <a:cubicBezTo>
                      <a:pt x="98" y="97"/>
                      <a:pt x="98" y="97"/>
                      <a:pt x="98" y="97"/>
                    </a:cubicBezTo>
                    <a:cubicBezTo>
                      <a:pt x="98" y="97"/>
                      <a:pt x="94" y="67"/>
                      <a:pt x="101" y="31"/>
                    </a:cubicBezTo>
                    <a:close/>
                  </a:path>
                </a:pathLst>
              </a:custGeom>
              <a:solidFill>
                <a:srgbClr val="000000"/>
              </a:solidFill>
              <a:ln w="9525">
                <a:noFill/>
                <a:round/>
                <a:headEnd/>
                <a:tailEnd/>
              </a:ln>
            </p:spPr>
            <p:txBody>
              <a:bodyPr vert="horz" wrap="square" lIns="91440" tIns="45720" rIns="91440" bIns="45720" numCol="1" anchor="t" anchorCtr="0" compatLnSpc="1">
                <a:prstTxWarp prst="textNoShape">
                  <a:avLst/>
                </a:prstTxWarp>
                <a:normAutofit/>
              </a:bodyPr>
              <a:lstStyle/>
              <a:p>
                <a:endParaRPr lang="zh-CN" altLang="en-US"/>
              </a:p>
            </p:txBody>
          </p:sp>
          <p:sp>
            <p:nvSpPr>
              <p:cNvPr id="40" name="ï$1íďê">
                <a:extLst>
                  <a:ext uri="{FF2B5EF4-FFF2-40B4-BE49-F238E27FC236}">
                    <a16:creationId xmlns:a16="http://schemas.microsoft.com/office/drawing/2014/main" id="{D10DC2F4-AECE-457D-B7CE-45FA089B95CD}"/>
                  </a:ext>
                </a:extLst>
              </p:cNvPr>
              <p:cNvSpPr/>
              <p:nvPr/>
            </p:nvSpPr>
            <p:spPr bwMode="auto">
              <a:xfrm>
                <a:off x="4842769" y="2809345"/>
                <a:ext cx="331926" cy="81324"/>
              </a:xfrm>
              <a:custGeom>
                <a:avLst/>
                <a:gdLst/>
                <a:ahLst/>
                <a:cxnLst>
                  <a:cxn ang="0">
                    <a:pos x="0" y="2"/>
                  </a:cxn>
                  <a:cxn ang="0">
                    <a:pos x="15" y="2"/>
                  </a:cxn>
                  <a:cxn ang="0">
                    <a:pos x="33" y="0"/>
                  </a:cxn>
                  <a:cxn ang="0">
                    <a:pos x="48" y="7"/>
                  </a:cxn>
                  <a:cxn ang="0">
                    <a:pos x="43" y="9"/>
                  </a:cxn>
                  <a:cxn ang="0">
                    <a:pos x="24" y="10"/>
                  </a:cxn>
                  <a:cxn ang="0">
                    <a:pos x="15" y="10"/>
                  </a:cxn>
                  <a:cxn ang="0">
                    <a:pos x="2" y="11"/>
                  </a:cxn>
                  <a:cxn ang="0">
                    <a:pos x="0" y="2"/>
                  </a:cxn>
                </a:cxnLst>
                <a:rect l="0" t="0" r="r" b="b"/>
                <a:pathLst>
                  <a:path w="49" h="12">
                    <a:moveTo>
                      <a:pt x="0" y="2"/>
                    </a:moveTo>
                    <a:cubicBezTo>
                      <a:pt x="5" y="1"/>
                      <a:pt x="13" y="2"/>
                      <a:pt x="15" y="2"/>
                    </a:cubicBezTo>
                    <a:cubicBezTo>
                      <a:pt x="17" y="2"/>
                      <a:pt x="31" y="0"/>
                      <a:pt x="33" y="0"/>
                    </a:cubicBezTo>
                    <a:cubicBezTo>
                      <a:pt x="35" y="1"/>
                      <a:pt x="45" y="5"/>
                      <a:pt x="48" y="7"/>
                    </a:cubicBezTo>
                    <a:cubicBezTo>
                      <a:pt x="48" y="7"/>
                      <a:pt x="49" y="12"/>
                      <a:pt x="43" y="9"/>
                    </a:cubicBezTo>
                    <a:cubicBezTo>
                      <a:pt x="33" y="6"/>
                      <a:pt x="29" y="9"/>
                      <a:pt x="24" y="10"/>
                    </a:cubicBezTo>
                    <a:cubicBezTo>
                      <a:pt x="19" y="11"/>
                      <a:pt x="17" y="10"/>
                      <a:pt x="15" y="10"/>
                    </a:cubicBezTo>
                    <a:cubicBezTo>
                      <a:pt x="13" y="10"/>
                      <a:pt x="2" y="11"/>
                      <a:pt x="2" y="11"/>
                    </a:cubicBezTo>
                    <a:lnTo>
                      <a:pt x="0" y="2"/>
                    </a:lnTo>
                    <a:close/>
                  </a:path>
                </a:pathLst>
              </a:custGeom>
              <a:solidFill>
                <a:srgbClr val="F4CDBA"/>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zh-CN" altLang="en-US"/>
              </a:p>
            </p:txBody>
          </p:sp>
          <p:sp>
            <p:nvSpPr>
              <p:cNvPr id="41" name="ïṣḷïḑe">
                <a:extLst>
                  <a:ext uri="{FF2B5EF4-FFF2-40B4-BE49-F238E27FC236}">
                    <a16:creationId xmlns:a16="http://schemas.microsoft.com/office/drawing/2014/main" id="{5C459A00-3ACC-4A0A-B2B0-505E299932CF}"/>
                  </a:ext>
                </a:extLst>
              </p:cNvPr>
              <p:cNvSpPr/>
              <p:nvPr/>
            </p:nvSpPr>
            <p:spPr bwMode="auto">
              <a:xfrm>
                <a:off x="4856470" y="2809345"/>
                <a:ext cx="40662" cy="108285"/>
              </a:xfrm>
              <a:custGeom>
                <a:avLst/>
                <a:gdLst/>
                <a:ahLst/>
                <a:cxnLst>
                  <a:cxn ang="0">
                    <a:pos x="0" y="0"/>
                  </a:cxn>
                  <a:cxn ang="0">
                    <a:pos x="77" y="0"/>
                  </a:cxn>
                  <a:cxn ang="0">
                    <a:pos x="92" y="245"/>
                  </a:cxn>
                  <a:cxn ang="0">
                    <a:pos x="15" y="245"/>
                  </a:cxn>
                  <a:cxn ang="0">
                    <a:pos x="0" y="0"/>
                  </a:cxn>
                </a:cxnLst>
                <a:rect l="0" t="0" r="r" b="b"/>
                <a:pathLst>
                  <a:path w="92" h="245">
                    <a:moveTo>
                      <a:pt x="0" y="0"/>
                    </a:moveTo>
                    <a:lnTo>
                      <a:pt x="77" y="0"/>
                    </a:lnTo>
                    <a:lnTo>
                      <a:pt x="92" y="245"/>
                    </a:lnTo>
                    <a:lnTo>
                      <a:pt x="15" y="245"/>
                    </a:lnTo>
                    <a:lnTo>
                      <a:pt x="0" y="0"/>
                    </a:lnTo>
                    <a:close/>
                  </a:path>
                </a:pathLst>
              </a:custGeom>
              <a:solidFill>
                <a:srgbClr val="000000"/>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zh-CN" altLang="en-US"/>
              </a:p>
            </p:txBody>
          </p:sp>
          <p:sp>
            <p:nvSpPr>
              <p:cNvPr id="42" name="ïṥḻîḓe">
                <a:extLst>
                  <a:ext uri="{FF2B5EF4-FFF2-40B4-BE49-F238E27FC236}">
                    <a16:creationId xmlns:a16="http://schemas.microsoft.com/office/drawing/2014/main" id="{F43EA2CA-6A06-4E17-9798-70CF2B4B2A32}"/>
                  </a:ext>
                </a:extLst>
              </p:cNvPr>
              <p:cNvSpPr/>
              <p:nvPr/>
            </p:nvSpPr>
            <p:spPr bwMode="auto">
              <a:xfrm>
                <a:off x="4253610" y="2416425"/>
                <a:ext cx="616561" cy="535237"/>
              </a:xfrm>
              <a:custGeom>
                <a:avLst/>
                <a:gdLst/>
                <a:ahLst/>
                <a:cxnLst>
                  <a:cxn ang="0">
                    <a:pos x="26" y="13"/>
                  </a:cxn>
                  <a:cxn ang="0">
                    <a:pos x="44" y="51"/>
                  </a:cxn>
                  <a:cxn ang="0">
                    <a:pos x="91" y="57"/>
                  </a:cxn>
                  <a:cxn ang="0">
                    <a:pos x="91" y="77"/>
                  </a:cxn>
                  <a:cxn ang="0">
                    <a:pos x="32" y="74"/>
                  </a:cxn>
                  <a:cxn ang="0">
                    <a:pos x="4" y="15"/>
                  </a:cxn>
                  <a:cxn ang="0">
                    <a:pos x="26" y="13"/>
                  </a:cxn>
                </a:cxnLst>
                <a:rect l="0" t="0" r="r" b="b"/>
                <a:pathLst>
                  <a:path w="91" h="79">
                    <a:moveTo>
                      <a:pt x="26" y="13"/>
                    </a:moveTo>
                    <a:cubicBezTo>
                      <a:pt x="31" y="20"/>
                      <a:pt x="41" y="48"/>
                      <a:pt x="44" y="51"/>
                    </a:cubicBezTo>
                    <a:cubicBezTo>
                      <a:pt x="52" y="58"/>
                      <a:pt x="91" y="57"/>
                      <a:pt x="91" y="57"/>
                    </a:cubicBezTo>
                    <a:cubicBezTo>
                      <a:pt x="91" y="77"/>
                      <a:pt x="91" y="77"/>
                      <a:pt x="91" y="77"/>
                    </a:cubicBezTo>
                    <a:cubicBezTo>
                      <a:pt x="91" y="77"/>
                      <a:pt x="44" y="79"/>
                      <a:pt x="32" y="74"/>
                    </a:cubicBezTo>
                    <a:cubicBezTo>
                      <a:pt x="24" y="71"/>
                      <a:pt x="0" y="29"/>
                      <a:pt x="4" y="15"/>
                    </a:cubicBezTo>
                    <a:cubicBezTo>
                      <a:pt x="9" y="0"/>
                      <a:pt x="26" y="13"/>
                      <a:pt x="26" y="13"/>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normAutofit/>
              </a:bodyPr>
              <a:lstStyle/>
              <a:p>
                <a:endParaRPr lang="zh-CN" altLang="en-US"/>
              </a:p>
            </p:txBody>
          </p:sp>
          <p:sp>
            <p:nvSpPr>
              <p:cNvPr id="43" name="îSľïdê">
                <a:extLst>
                  <a:ext uri="{FF2B5EF4-FFF2-40B4-BE49-F238E27FC236}">
                    <a16:creationId xmlns:a16="http://schemas.microsoft.com/office/drawing/2014/main" id="{28F5D590-B189-4998-9CB7-0E301A3185ED}"/>
                  </a:ext>
                </a:extLst>
              </p:cNvPr>
              <p:cNvSpPr/>
              <p:nvPr/>
            </p:nvSpPr>
            <p:spPr bwMode="auto">
              <a:xfrm>
                <a:off x="3989307" y="2599405"/>
                <a:ext cx="291264" cy="595788"/>
              </a:xfrm>
              <a:custGeom>
                <a:avLst/>
                <a:gdLst/>
                <a:ahLst/>
                <a:cxnLst>
                  <a:cxn ang="0">
                    <a:pos x="2" y="72"/>
                  </a:cxn>
                  <a:cxn ang="0">
                    <a:pos x="18" y="88"/>
                  </a:cxn>
                  <a:cxn ang="0">
                    <a:pos x="29" y="88"/>
                  </a:cxn>
                  <a:cxn ang="0">
                    <a:pos x="43" y="71"/>
                  </a:cxn>
                  <a:cxn ang="0">
                    <a:pos x="41" y="16"/>
                  </a:cxn>
                  <a:cxn ang="0">
                    <a:pos x="25" y="0"/>
                  </a:cxn>
                  <a:cxn ang="0">
                    <a:pos x="14" y="1"/>
                  </a:cxn>
                  <a:cxn ang="0">
                    <a:pos x="0" y="18"/>
                  </a:cxn>
                  <a:cxn ang="0">
                    <a:pos x="2" y="72"/>
                  </a:cxn>
                </a:cxnLst>
                <a:rect l="0" t="0" r="r" b="b"/>
                <a:pathLst>
                  <a:path w="43" h="88">
                    <a:moveTo>
                      <a:pt x="2" y="72"/>
                    </a:moveTo>
                    <a:cubicBezTo>
                      <a:pt x="3" y="81"/>
                      <a:pt x="10" y="88"/>
                      <a:pt x="18" y="88"/>
                    </a:cubicBezTo>
                    <a:cubicBezTo>
                      <a:pt x="29" y="88"/>
                      <a:pt x="29" y="88"/>
                      <a:pt x="29" y="88"/>
                    </a:cubicBezTo>
                    <a:cubicBezTo>
                      <a:pt x="37" y="87"/>
                      <a:pt x="43" y="80"/>
                      <a:pt x="43" y="71"/>
                    </a:cubicBezTo>
                    <a:cubicBezTo>
                      <a:pt x="41" y="16"/>
                      <a:pt x="41" y="16"/>
                      <a:pt x="41" y="16"/>
                    </a:cubicBezTo>
                    <a:cubicBezTo>
                      <a:pt x="40" y="7"/>
                      <a:pt x="33" y="0"/>
                      <a:pt x="25" y="0"/>
                    </a:cubicBezTo>
                    <a:cubicBezTo>
                      <a:pt x="14" y="1"/>
                      <a:pt x="14" y="1"/>
                      <a:pt x="14" y="1"/>
                    </a:cubicBezTo>
                    <a:cubicBezTo>
                      <a:pt x="6" y="1"/>
                      <a:pt x="0" y="9"/>
                      <a:pt x="0" y="18"/>
                    </a:cubicBezTo>
                    <a:lnTo>
                      <a:pt x="2" y="72"/>
                    </a:lnTo>
                    <a:close/>
                  </a:path>
                </a:pathLst>
              </a:custGeom>
              <a:solidFill>
                <a:srgbClr val="000000"/>
              </a:solidFill>
              <a:ln w="9525">
                <a:noFill/>
                <a:round/>
                <a:headEnd/>
                <a:tailEnd/>
              </a:ln>
            </p:spPr>
            <p:txBody>
              <a:bodyPr vert="horz" wrap="square" lIns="91440" tIns="45720" rIns="91440" bIns="45720" numCol="1" anchor="t" anchorCtr="0" compatLnSpc="1">
                <a:prstTxWarp prst="textNoShape">
                  <a:avLst/>
                </a:prstTxWarp>
                <a:normAutofit/>
              </a:bodyPr>
              <a:lstStyle/>
              <a:p>
                <a:endParaRPr lang="zh-CN" altLang="en-US"/>
              </a:p>
            </p:txBody>
          </p:sp>
          <p:sp>
            <p:nvSpPr>
              <p:cNvPr id="44" name="íṩľîḋê">
                <a:extLst>
                  <a:ext uri="{FF2B5EF4-FFF2-40B4-BE49-F238E27FC236}">
                    <a16:creationId xmlns:a16="http://schemas.microsoft.com/office/drawing/2014/main" id="{628F4D6C-1498-4584-9F83-5FA790131C3D}"/>
                  </a:ext>
                </a:extLst>
              </p:cNvPr>
              <p:cNvSpPr/>
              <p:nvPr/>
            </p:nvSpPr>
            <p:spPr bwMode="auto">
              <a:xfrm>
                <a:off x="4700893" y="3005584"/>
                <a:ext cx="751807" cy="74695"/>
              </a:xfrm>
              <a:prstGeom prst="rect">
                <a:avLst/>
              </a:prstGeom>
              <a:solidFill>
                <a:srgbClr val="D8D2CA"/>
              </a:solidFill>
              <a:ln w="9525">
                <a:noFill/>
                <a:miter lim="800000"/>
                <a:headEnd/>
                <a:tailEnd/>
              </a:ln>
            </p:spPr>
            <p:txBody>
              <a:bodyPr vert="horz" wrap="square" lIns="91440" tIns="45720" rIns="91440" bIns="45720" numCol="1" anchor="t" anchorCtr="0" compatLnSpc="1">
                <a:prstTxWarp prst="textNoShape">
                  <a:avLst/>
                </a:prstTxWarp>
                <a:normAutofit fontScale="25000" lnSpcReduction="20000"/>
              </a:bodyPr>
              <a:lstStyle/>
              <a:p>
                <a:endParaRPr lang="zh-CN" altLang="en-US"/>
              </a:p>
            </p:txBody>
          </p:sp>
          <p:sp>
            <p:nvSpPr>
              <p:cNvPr id="45" name="íŝľîḋê">
                <a:extLst>
                  <a:ext uri="{FF2B5EF4-FFF2-40B4-BE49-F238E27FC236}">
                    <a16:creationId xmlns:a16="http://schemas.microsoft.com/office/drawing/2014/main" id="{3602BB3C-F4A1-465E-BADF-7A1E8A25EB1F}"/>
                  </a:ext>
                </a:extLst>
              </p:cNvPr>
              <p:cNvSpPr/>
              <p:nvPr/>
            </p:nvSpPr>
            <p:spPr bwMode="auto">
              <a:xfrm>
                <a:off x="4815808" y="2931331"/>
                <a:ext cx="474244" cy="60993"/>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normAutofit fontScale="25000" lnSpcReduction="20000"/>
              </a:bodyPr>
              <a:lstStyle/>
              <a:p>
                <a:endParaRPr lang="zh-CN" altLang="en-US"/>
              </a:p>
            </p:txBody>
          </p:sp>
          <p:sp>
            <p:nvSpPr>
              <p:cNvPr id="46" name="ïṧlîḋé">
                <a:extLst>
                  <a:ext uri="{FF2B5EF4-FFF2-40B4-BE49-F238E27FC236}">
                    <a16:creationId xmlns:a16="http://schemas.microsoft.com/office/drawing/2014/main" id="{09352F63-4EF2-499E-85B6-09A17D45DC3F}"/>
                  </a:ext>
                </a:extLst>
              </p:cNvPr>
              <p:cNvSpPr/>
              <p:nvPr/>
            </p:nvSpPr>
            <p:spPr bwMode="auto">
              <a:xfrm>
                <a:off x="5229058" y="2518081"/>
                <a:ext cx="175908" cy="474244"/>
              </a:xfrm>
              <a:custGeom>
                <a:avLst/>
                <a:gdLst/>
                <a:ahLst/>
                <a:cxnLst>
                  <a:cxn ang="0">
                    <a:pos x="138" y="1073"/>
                  </a:cxn>
                  <a:cxn ang="0">
                    <a:pos x="398" y="31"/>
                  </a:cxn>
                  <a:cxn ang="0">
                    <a:pos x="260" y="0"/>
                  </a:cxn>
                  <a:cxn ang="0">
                    <a:pos x="0" y="1027"/>
                  </a:cxn>
                  <a:cxn ang="0">
                    <a:pos x="138" y="1073"/>
                  </a:cxn>
                </a:cxnLst>
                <a:rect l="0" t="0" r="r" b="b"/>
                <a:pathLst>
                  <a:path w="398" h="1073">
                    <a:moveTo>
                      <a:pt x="138" y="1073"/>
                    </a:moveTo>
                    <a:lnTo>
                      <a:pt x="398" y="31"/>
                    </a:lnTo>
                    <a:lnTo>
                      <a:pt x="260" y="0"/>
                    </a:lnTo>
                    <a:lnTo>
                      <a:pt x="0" y="1027"/>
                    </a:lnTo>
                    <a:lnTo>
                      <a:pt x="138" y="1073"/>
                    </a:lnTo>
                    <a:close/>
                  </a:path>
                </a:pathLst>
              </a:custGeom>
              <a:solidFill>
                <a:srgbClr val="000000"/>
              </a:solidFill>
              <a:ln w="9525">
                <a:noFill/>
                <a:round/>
                <a:headEnd/>
                <a:tailEnd/>
              </a:ln>
            </p:spPr>
            <p:txBody>
              <a:bodyPr vert="horz" wrap="square" lIns="91440" tIns="45720" rIns="91440" bIns="45720" numCol="1" anchor="t" anchorCtr="0" compatLnSpc="1">
                <a:prstTxWarp prst="textNoShape">
                  <a:avLst/>
                </a:prstTxWarp>
                <a:normAutofit/>
              </a:bodyPr>
              <a:lstStyle/>
              <a:p>
                <a:endParaRPr lang="zh-CN" altLang="en-US"/>
              </a:p>
            </p:txBody>
          </p:sp>
          <p:sp>
            <p:nvSpPr>
              <p:cNvPr id="47" name="íšlîḋè">
                <a:extLst>
                  <a:ext uri="{FF2B5EF4-FFF2-40B4-BE49-F238E27FC236}">
                    <a16:creationId xmlns:a16="http://schemas.microsoft.com/office/drawing/2014/main" id="{D687288E-928F-424F-AB1B-9EE6D58C1004}"/>
                  </a:ext>
                </a:extLst>
              </p:cNvPr>
              <p:cNvSpPr/>
              <p:nvPr/>
            </p:nvSpPr>
            <p:spPr bwMode="auto">
              <a:xfrm>
                <a:off x="4145325" y="2423055"/>
                <a:ext cx="352257" cy="873793"/>
              </a:xfrm>
              <a:custGeom>
                <a:avLst/>
                <a:gdLst/>
                <a:ahLst/>
                <a:cxnLst>
                  <a:cxn ang="0">
                    <a:pos x="1" y="27"/>
                  </a:cxn>
                  <a:cxn ang="0">
                    <a:pos x="13" y="0"/>
                  </a:cxn>
                  <a:cxn ang="0">
                    <a:pos x="31" y="3"/>
                  </a:cxn>
                  <a:cxn ang="0">
                    <a:pos x="50" y="70"/>
                  </a:cxn>
                  <a:cxn ang="0">
                    <a:pos x="49" y="95"/>
                  </a:cxn>
                  <a:cxn ang="0">
                    <a:pos x="1" y="129"/>
                  </a:cxn>
                  <a:cxn ang="0">
                    <a:pos x="1" y="88"/>
                  </a:cxn>
                  <a:cxn ang="0">
                    <a:pos x="1" y="27"/>
                  </a:cxn>
                </a:cxnLst>
                <a:rect l="0" t="0" r="r" b="b"/>
                <a:pathLst>
                  <a:path w="52" h="129">
                    <a:moveTo>
                      <a:pt x="1" y="27"/>
                    </a:moveTo>
                    <a:cubicBezTo>
                      <a:pt x="1" y="4"/>
                      <a:pt x="12" y="0"/>
                      <a:pt x="13" y="0"/>
                    </a:cubicBezTo>
                    <a:cubicBezTo>
                      <a:pt x="31" y="3"/>
                      <a:pt x="31" y="3"/>
                      <a:pt x="31" y="3"/>
                    </a:cubicBezTo>
                    <a:cubicBezTo>
                      <a:pt x="36" y="5"/>
                      <a:pt x="52" y="61"/>
                      <a:pt x="50" y="70"/>
                    </a:cubicBezTo>
                    <a:cubicBezTo>
                      <a:pt x="51" y="81"/>
                      <a:pt x="48" y="90"/>
                      <a:pt x="49" y="95"/>
                    </a:cubicBezTo>
                    <a:cubicBezTo>
                      <a:pt x="44" y="95"/>
                      <a:pt x="1" y="129"/>
                      <a:pt x="1" y="129"/>
                    </a:cubicBezTo>
                    <a:cubicBezTo>
                      <a:pt x="1" y="129"/>
                      <a:pt x="1" y="104"/>
                      <a:pt x="1" y="88"/>
                    </a:cubicBezTo>
                    <a:cubicBezTo>
                      <a:pt x="2" y="73"/>
                      <a:pt x="0" y="52"/>
                      <a:pt x="1" y="27"/>
                    </a:cubicBezTo>
                    <a:close/>
                  </a:path>
                </a:pathLst>
              </a:custGeom>
              <a:solidFill>
                <a:srgbClr val="D8D2CA"/>
              </a:solidFill>
              <a:ln w="9525">
                <a:noFill/>
                <a:round/>
                <a:headEnd/>
                <a:tailEnd/>
              </a:ln>
            </p:spPr>
            <p:txBody>
              <a:bodyPr vert="horz" wrap="square" lIns="91440" tIns="45720" rIns="91440" bIns="45720" numCol="1" anchor="t" anchorCtr="0" compatLnSpc="1">
                <a:prstTxWarp prst="textNoShape">
                  <a:avLst/>
                </a:prstTxWarp>
                <a:normAutofit/>
              </a:bodyPr>
              <a:lstStyle/>
              <a:p>
                <a:endParaRPr lang="zh-CN" altLang="en-US"/>
              </a:p>
            </p:txBody>
          </p:sp>
          <p:sp>
            <p:nvSpPr>
              <p:cNvPr id="48" name="ïsļidé">
                <a:extLst>
                  <a:ext uri="{FF2B5EF4-FFF2-40B4-BE49-F238E27FC236}">
                    <a16:creationId xmlns:a16="http://schemas.microsoft.com/office/drawing/2014/main" id="{4C416AC9-A96D-4A11-8BEF-C38E213CFF19}"/>
                  </a:ext>
                </a:extLst>
              </p:cNvPr>
              <p:cNvSpPr/>
              <p:nvPr/>
            </p:nvSpPr>
            <p:spPr bwMode="auto">
              <a:xfrm>
                <a:off x="4212948" y="2430127"/>
                <a:ext cx="284635" cy="717774"/>
              </a:xfrm>
              <a:custGeom>
                <a:avLst/>
                <a:gdLst/>
                <a:ahLst/>
                <a:cxnLst>
                  <a:cxn ang="0">
                    <a:pos x="337" y="0"/>
                  </a:cxn>
                  <a:cxn ang="0">
                    <a:pos x="491" y="168"/>
                  </a:cxn>
                  <a:cxn ang="0">
                    <a:pos x="644" y="628"/>
                  </a:cxn>
                  <a:cxn ang="0">
                    <a:pos x="598" y="1440"/>
                  </a:cxn>
                  <a:cxn ang="0">
                    <a:pos x="291" y="1624"/>
                  </a:cxn>
                  <a:cxn ang="0">
                    <a:pos x="0" y="138"/>
                  </a:cxn>
                  <a:cxn ang="0">
                    <a:pos x="153" y="0"/>
                  </a:cxn>
                  <a:cxn ang="0">
                    <a:pos x="337" y="0"/>
                  </a:cxn>
                </a:cxnLst>
                <a:rect l="0" t="0" r="r" b="b"/>
                <a:pathLst>
                  <a:path w="644" h="1624">
                    <a:moveTo>
                      <a:pt x="337" y="0"/>
                    </a:moveTo>
                    <a:lnTo>
                      <a:pt x="491" y="168"/>
                    </a:lnTo>
                    <a:lnTo>
                      <a:pt x="644" y="628"/>
                    </a:lnTo>
                    <a:lnTo>
                      <a:pt x="598" y="1440"/>
                    </a:lnTo>
                    <a:lnTo>
                      <a:pt x="291" y="1624"/>
                    </a:lnTo>
                    <a:lnTo>
                      <a:pt x="0" y="138"/>
                    </a:lnTo>
                    <a:lnTo>
                      <a:pt x="153" y="0"/>
                    </a:lnTo>
                    <a:lnTo>
                      <a:pt x="337" y="0"/>
                    </a:lnTo>
                    <a:close/>
                  </a:path>
                </a:pathLst>
              </a:custGeom>
              <a:solidFill>
                <a:srgbClr val="D8D2CA"/>
              </a:solidFill>
              <a:ln w="9525">
                <a:noFill/>
                <a:round/>
                <a:headEnd/>
                <a:tailEnd/>
              </a:ln>
            </p:spPr>
            <p:txBody>
              <a:bodyPr vert="horz" wrap="square" lIns="91440" tIns="45720" rIns="91440" bIns="45720" numCol="1" anchor="t" anchorCtr="0" compatLnSpc="1">
                <a:prstTxWarp prst="textNoShape">
                  <a:avLst/>
                </a:prstTxWarp>
                <a:normAutofit/>
              </a:bodyPr>
              <a:lstStyle/>
              <a:p>
                <a:endParaRPr lang="zh-CN" altLang="en-US"/>
              </a:p>
            </p:txBody>
          </p:sp>
          <p:sp>
            <p:nvSpPr>
              <p:cNvPr id="49" name="îS1iďé">
                <a:extLst>
                  <a:ext uri="{FF2B5EF4-FFF2-40B4-BE49-F238E27FC236}">
                    <a16:creationId xmlns:a16="http://schemas.microsoft.com/office/drawing/2014/main" id="{F641FF0F-6E99-4FC5-B4DD-9CA0A53029BB}"/>
                  </a:ext>
                </a:extLst>
              </p:cNvPr>
              <p:cNvSpPr/>
              <p:nvPr/>
            </p:nvSpPr>
            <p:spPr bwMode="auto">
              <a:xfrm>
                <a:off x="4761444" y="2836306"/>
                <a:ext cx="352257" cy="81324"/>
              </a:xfrm>
              <a:custGeom>
                <a:avLst/>
                <a:gdLst/>
                <a:ahLst/>
                <a:cxnLst>
                  <a:cxn ang="0">
                    <a:pos x="0" y="2"/>
                  </a:cxn>
                  <a:cxn ang="0">
                    <a:pos x="16" y="2"/>
                  </a:cxn>
                  <a:cxn ang="0">
                    <a:pos x="35" y="0"/>
                  </a:cxn>
                  <a:cxn ang="0">
                    <a:pos x="51" y="7"/>
                  </a:cxn>
                  <a:cxn ang="0">
                    <a:pos x="46" y="10"/>
                  </a:cxn>
                  <a:cxn ang="0">
                    <a:pos x="26" y="11"/>
                  </a:cxn>
                  <a:cxn ang="0">
                    <a:pos x="16" y="11"/>
                  </a:cxn>
                  <a:cxn ang="0">
                    <a:pos x="2" y="12"/>
                  </a:cxn>
                  <a:cxn ang="0">
                    <a:pos x="0" y="2"/>
                  </a:cxn>
                </a:cxnLst>
                <a:rect l="0" t="0" r="r" b="b"/>
                <a:pathLst>
                  <a:path w="52" h="12">
                    <a:moveTo>
                      <a:pt x="0" y="2"/>
                    </a:moveTo>
                    <a:cubicBezTo>
                      <a:pt x="5" y="1"/>
                      <a:pt x="14" y="2"/>
                      <a:pt x="16" y="2"/>
                    </a:cubicBezTo>
                    <a:cubicBezTo>
                      <a:pt x="18" y="2"/>
                      <a:pt x="33" y="0"/>
                      <a:pt x="35" y="0"/>
                    </a:cubicBezTo>
                    <a:cubicBezTo>
                      <a:pt x="37" y="1"/>
                      <a:pt x="48" y="5"/>
                      <a:pt x="51" y="7"/>
                    </a:cubicBezTo>
                    <a:cubicBezTo>
                      <a:pt x="51" y="7"/>
                      <a:pt x="52" y="12"/>
                      <a:pt x="46" y="10"/>
                    </a:cubicBezTo>
                    <a:cubicBezTo>
                      <a:pt x="35" y="7"/>
                      <a:pt x="31" y="10"/>
                      <a:pt x="26" y="11"/>
                    </a:cubicBezTo>
                    <a:cubicBezTo>
                      <a:pt x="21" y="12"/>
                      <a:pt x="18" y="11"/>
                      <a:pt x="16" y="11"/>
                    </a:cubicBezTo>
                    <a:cubicBezTo>
                      <a:pt x="14" y="11"/>
                      <a:pt x="2" y="12"/>
                      <a:pt x="2" y="12"/>
                    </a:cubicBezTo>
                    <a:lnTo>
                      <a:pt x="0" y="2"/>
                    </a:lnTo>
                    <a:close/>
                  </a:path>
                </a:pathLst>
              </a:custGeom>
              <a:solidFill>
                <a:srgbClr val="FFEADC"/>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zh-CN" altLang="en-US"/>
              </a:p>
            </p:txBody>
          </p:sp>
          <p:sp>
            <p:nvSpPr>
              <p:cNvPr id="50" name="î$ľïḑê">
                <a:extLst>
                  <a:ext uri="{FF2B5EF4-FFF2-40B4-BE49-F238E27FC236}">
                    <a16:creationId xmlns:a16="http://schemas.microsoft.com/office/drawing/2014/main" id="{A8C3FB21-F8EE-4A61-BAAC-C9AC85398DB5}"/>
                  </a:ext>
                </a:extLst>
              </p:cNvPr>
              <p:cNvSpPr/>
              <p:nvPr/>
            </p:nvSpPr>
            <p:spPr bwMode="auto">
              <a:xfrm>
                <a:off x="4226649" y="2118531"/>
                <a:ext cx="203310" cy="379218"/>
              </a:xfrm>
              <a:custGeom>
                <a:avLst/>
                <a:gdLst/>
                <a:ahLst/>
                <a:cxnLst>
                  <a:cxn ang="0">
                    <a:pos x="30" y="30"/>
                  </a:cxn>
                  <a:cxn ang="0">
                    <a:pos x="23" y="49"/>
                  </a:cxn>
                  <a:cxn ang="0">
                    <a:pos x="13" y="52"/>
                  </a:cxn>
                  <a:cxn ang="0">
                    <a:pos x="0" y="45"/>
                  </a:cxn>
                  <a:cxn ang="0">
                    <a:pos x="5" y="11"/>
                  </a:cxn>
                  <a:cxn ang="0">
                    <a:pos x="30" y="30"/>
                  </a:cxn>
                </a:cxnLst>
                <a:rect l="0" t="0" r="r" b="b"/>
                <a:pathLst>
                  <a:path w="30" h="56">
                    <a:moveTo>
                      <a:pt x="30" y="30"/>
                    </a:moveTo>
                    <a:cubicBezTo>
                      <a:pt x="23" y="36"/>
                      <a:pt x="22" y="45"/>
                      <a:pt x="23" y="49"/>
                    </a:cubicBezTo>
                    <a:cubicBezTo>
                      <a:pt x="24" y="55"/>
                      <a:pt x="22" y="56"/>
                      <a:pt x="13" y="52"/>
                    </a:cubicBezTo>
                    <a:cubicBezTo>
                      <a:pt x="6" y="48"/>
                      <a:pt x="5" y="47"/>
                      <a:pt x="0" y="45"/>
                    </a:cubicBezTo>
                    <a:cubicBezTo>
                      <a:pt x="3" y="42"/>
                      <a:pt x="8" y="23"/>
                      <a:pt x="5" y="11"/>
                    </a:cubicBezTo>
                    <a:cubicBezTo>
                      <a:pt x="3" y="0"/>
                      <a:pt x="30" y="30"/>
                      <a:pt x="30" y="30"/>
                    </a:cubicBezTo>
                    <a:close/>
                  </a:path>
                </a:pathLst>
              </a:custGeom>
              <a:solidFill>
                <a:srgbClr val="FFEADC"/>
              </a:solidFill>
              <a:ln w="9525">
                <a:noFill/>
                <a:round/>
                <a:headEnd/>
                <a:tailEnd/>
              </a:ln>
            </p:spPr>
            <p:txBody>
              <a:bodyPr vert="horz" wrap="square" lIns="91440" tIns="45720" rIns="91440" bIns="45720" numCol="1" anchor="t" anchorCtr="0" compatLnSpc="1">
                <a:prstTxWarp prst="textNoShape">
                  <a:avLst/>
                </a:prstTxWarp>
                <a:normAutofit/>
              </a:bodyPr>
              <a:lstStyle/>
              <a:p>
                <a:endParaRPr lang="zh-CN" altLang="en-US"/>
              </a:p>
            </p:txBody>
          </p:sp>
          <p:sp>
            <p:nvSpPr>
              <p:cNvPr id="51" name="ï$liďê">
                <a:extLst>
                  <a:ext uri="{FF2B5EF4-FFF2-40B4-BE49-F238E27FC236}">
                    <a16:creationId xmlns:a16="http://schemas.microsoft.com/office/drawing/2014/main" id="{A7E1F969-87DE-4898-9093-FE7FA09693FB}"/>
                  </a:ext>
                </a:extLst>
              </p:cNvPr>
              <p:cNvSpPr/>
              <p:nvPr/>
            </p:nvSpPr>
            <p:spPr bwMode="auto">
              <a:xfrm>
                <a:off x="4226649" y="2145492"/>
                <a:ext cx="230271" cy="304966"/>
              </a:xfrm>
              <a:custGeom>
                <a:avLst/>
                <a:gdLst/>
                <a:ahLst/>
                <a:cxnLst>
                  <a:cxn ang="0">
                    <a:pos x="6" y="6"/>
                  </a:cxn>
                  <a:cxn ang="0">
                    <a:pos x="34" y="24"/>
                  </a:cxn>
                  <a:cxn ang="0">
                    <a:pos x="10" y="45"/>
                  </a:cxn>
                  <a:cxn ang="0">
                    <a:pos x="0" y="40"/>
                  </a:cxn>
                  <a:cxn ang="0">
                    <a:pos x="6" y="6"/>
                  </a:cxn>
                </a:cxnLst>
                <a:rect l="0" t="0" r="r" b="b"/>
                <a:pathLst>
                  <a:path w="34" h="45">
                    <a:moveTo>
                      <a:pt x="6" y="6"/>
                    </a:moveTo>
                    <a:cubicBezTo>
                      <a:pt x="4" y="0"/>
                      <a:pt x="27" y="17"/>
                      <a:pt x="34" y="24"/>
                    </a:cubicBezTo>
                    <a:cubicBezTo>
                      <a:pt x="10" y="45"/>
                      <a:pt x="10" y="45"/>
                      <a:pt x="10" y="45"/>
                    </a:cubicBezTo>
                    <a:cubicBezTo>
                      <a:pt x="6" y="43"/>
                      <a:pt x="4" y="41"/>
                      <a:pt x="0" y="40"/>
                    </a:cubicBezTo>
                    <a:cubicBezTo>
                      <a:pt x="3" y="37"/>
                      <a:pt x="8" y="18"/>
                      <a:pt x="6" y="6"/>
                    </a:cubicBezTo>
                    <a:close/>
                  </a:path>
                </a:pathLst>
              </a:custGeom>
              <a:solidFill>
                <a:srgbClr val="F4CDBA"/>
              </a:solidFill>
              <a:ln w="9525">
                <a:noFill/>
                <a:round/>
                <a:headEnd/>
                <a:tailEnd/>
              </a:ln>
            </p:spPr>
            <p:txBody>
              <a:bodyPr vert="horz" wrap="square" lIns="91440" tIns="45720" rIns="91440" bIns="45720" numCol="1" anchor="t" anchorCtr="0" compatLnSpc="1">
                <a:prstTxWarp prst="textNoShape">
                  <a:avLst/>
                </a:prstTxWarp>
                <a:normAutofit/>
              </a:bodyPr>
              <a:lstStyle/>
              <a:p>
                <a:endParaRPr lang="zh-CN" altLang="en-US"/>
              </a:p>
            </p:txBody>
          </p:sp>
          <p:sp>
            <p:nvSpPr>
              <p:cNvPr id="52" name="îSḷïḋe">
                <a:extLst>
                  <a:ext uri="{FF2B5EF4-FFF2-40B4-BE49-F238E27FC236}">
                    <a16:creationId xmlns:a16="http://schemas.microsoft.com/office/drawing/2014/main" id="{C485DB4E-DAA0-4352-8996-125583C35DFA}"/>
                  </a:ext>
                </a:extLst>
              </p:cNvPr>
              <p:cNvSpPr/>
              <p:nvPr/>
            </p:nvSpPr>
            <p:spPr bwMode="auto">
              <a:xfrm>
                <a:off x="4233279" y="1915221"/>
                <a:ext cx="386290" cy="474244"/>
              </a:xfrm>
              <a:custGeom>
                <a:avLst/>
                <a:gdLst/>
                <a:ahLst/>
                <a:cxnLst>
                  <a:cxn ang="0">
                    <a:pos x="4" y="25"/>
                  </a:cxn>
                  <a:cxn ang="0">
                    <a:pos x="24" y="67"/>
                  </a:cxn>
                  <a:cxn ang="0">
                    <a:pos x="53" y="38"/>
                  </a:cxn>
                  <a:cxn ang="0">
                    <a:pos x="36" y="3"/>
                  </a:cxn>
                  <a:cxn ang="0">
                    <a:pos x="4" y="25"/>
                  </a:cxn>
                </a:cxnLst>
                <a:rect l="0" t="0" r="r" b="b"/>
                <a:pathLst>
                  <a:path w="57" h="70">
                    <a:moveTo>
                      <a:pt x="4" y="25"/>
                    </a:moveTo>
                    <a:cubicBezTo>
                      <a:pt x="0" y="43"/>
                      <a:pt x="10" y="64"/>
                      <a:pt x="24" y="67"/>
                    </a:cubicBezTo>
                    <a:cubicBezTo>
                      <a:pt x="39" y="70"/>
                      <a:pt x="49" y="57"/>
                      <a:pt x="53" y="38"/>
                    </a:cubicBezTo>
                    <a:cubicBezTo>
                      <a:pt x="57" y="20"/>
                      <a:pt x="51" y="6"/>
                      <a:pt x="36" y="3"/>
                    </a:cubicBezTo>
                    <a:cubicBezTo>
                      <a:pt x="22" y="0"/>
                      <a:pt x="8" y="6"/>
                      <a:pt x="4" y="25"/>
                    </a:cubicBezTo>
                    <a:close/>
                  </a:path>
                </a:pathLst>
              </a:custGeom>
              <a:solidFill>
                <a:srgbClr val="FFEADC"/>
              </a:solidFill>
              <a:ln w="9525">
                <a:noFill/>
                <a:round/>
                <a:headEnd/>
                <a:tailEnd/>
              </a:ln>
            </p:spPr>
            <p:txBody>
              <a:bodyPr vert="horz" wrap="square" lIns="91440" tIns="45720" rIns="91440" bIns="45720" numCol="1" anchor="t" anchorCtr="0" compatLnSpc="1">
                <a:prstTxWarp prst="textNoShape">
                  <a:avLst/>
                </a:prstTxWarp>
                <a:normAutofit/>
              </a:bodyPr>
              <a:lstStyle/>
              <a:p>
                <a:endParaRPr lang="zh-CN" altLang="en-US"/>
              </a:p>
            </p:txBody>
          </p:sp>
          <p:sp>
            <p:nvSpPr>
              <p:cNvPr id="53" name="îṣlïḓe">
                <a:extLst>
                  <a:ext uri="{FF2B5EF4-FFF2-40B4-BE49-F238E27FC236}">
                    <a16:creationId xmlns:a16="http://schemas.microsoft.com/office/drawing/2014/main" id="{40EFA400-9B81-49D2-B071-EAB1FA686011}"/>
                  </a:ext>
                </a:extLst>
              </p:cNvPr>
              <p:cNvSpPr/>
              <p:nvPr/>
            </p:nvSpPr>
            <p:spPr bwMode="auto">
              <a:xfrm>
                <a:off x="4504212" y="2159193"/>
                <a:ext cx="81324" cy="142317"/>
              </a:xfrm>
              <a:custGeom>
                <a:avLst/>
                <a:gdLst/>
                <a:ahLst/>
                <a:cxnLst>
                  <a:cxn ang="0">
                    <a:pos x="12" y="0"/>
                  </a:cxn>
                  <a:cxn ang="0">
                    <a:pos x="11" y="18"/>
                  </a:cxn>
                  <a:cxn ang="0">
                    <a:pos x="1" y="19"/>
                  </a:cxn>
                  <a:cxn ang="0">
                    <a:pos x="12" y="0"/>
                  </a:cxn>
                </a:cxnLst>
                <a:rect l="0" t="0" r="r" b="b"/>
                <a:pathLst>
                  <a:path w="12" h="21">
                    <a:moveTo>
                      <a:pt x="12" y="0"/>
                    </a:moveTo>
                    <a:cubicBezTo>
                      <a:pt x="12" y="4"/>
                      <a:pt x="9" y="7"/>
                      <a:pt x="11" y="18"/>
                    </a:cubicBezTo>
                    <a:cubicBezTo>
                      <a:pt x="10" y="21"/>
                      <a:pt x="3" y="19"/>
                      <a:pt x="1" y="19"/>
                    </a:cubicBezTo>
                    <a:cubicBezTo>
                      <a:pt x="0" y="19"/>
                      <a:pt x="12" y="0"/>
                      <a:pt x="12" y="0"/>
                    </a:cubicBezTo>
                    <a:close/>
                  </a:path>
                </a:pathLst>
              </a:custGeom>
              <a:solidFill>
                <a:srgbClr val="FFEADC"/>
              </a:solidFill>
              <a:ln w="9525">
                <a:noFill/>
                <a:round/>
                <a:headEnd/>
                <a:tailEnd/>
              </a:ln>
            </p:spPr>
            <p:txBody>
              <a:bodyPr vert="horz" wrap="square" lIns="91440" tIns="45720" rIns="91440" bIns="45720" numCol="1" anchor="t" anchorCtr="0" compatLnSpc="1">
                <a:prstTxWarp prst="textNoShape">
                  <a:avLst/>
                </a:prstTxWarp>
                <a:normAutofit fontScale="40000" lnSpcReduction="20000"/>
              </a:bodyPr>
              <a:lstStyle/>
              <a:p>
                <a:endParaRPr lang="zh-CN" altLang="en-US"/>
              </a:p>
            </p:txBody>
          </p:sp>
          <p:sp>
            <p:nvSpPr>
              <p:cNvPr id="54" name="í$ļîďe">
                <a:extLst>
                  <a:ext uri="{FF2B5EF4-FFF2-40B4-BE49-F238E27FC236}">
                    <a16:creationId xmlns:a16="http://schemas.microsoft.com/office/drawing/2014/main" id="{990F6901-ADE1-455E-9164-B85A9DBE0E4E}"/>
                  </a:ext>
                </a:extLst>
              </p:cNvPr>
              <p:cNvSpPr/>
              <p:nvPr/>
            </p:nvSpPr>
            <p:spPr bwMode="auto">
              <a:xfrm>
                <a:off x="4219578" y="2382393"/>
                <a:ext cx="169720" cy="142317"/>
              </a:xfrm>
              <a:custGeom>
                <a:avLst/>
                <a:gdLst/>
                <a:ahLst/>
                <a:cxnLst>
                  <a:cxn ang="0">
                    <a:pos x="384" y="169"/>
                  </a:cxn>
                  <a:cxn ang="0">
                    <a:pos x="31" y="0"/>
                  </a:cxn>
                  <a:cxn ang="0">
                    <a:pos x="0" y="108"/>
                  </a:cxn>
                  <a:cxn ang="0">
                    <a:pos x="384" y="322"/>
                  </a:cxn>
                  <a:cxn ang="0">
                    <a:pos x="384" y="169"/>
                  </a:cxn>
                </a:cxnLst>
                <a:rect l="0" t="0" r="r" b="b"/>
                <a:pathLst>
                  <a:path w="384" h="322">
                    <a:moveTo>
                      <a:pt x="384" y="169"/>
                    </a:moveTo>
                    <a:lnTo>
                      <a:pt x="31" y="0"/>
                    </a:lnTo>
                    <a:lnTo>
                      <a:pt x="0" y="108"/>
                    </a:lnTo>
                    <a:lnTo>
                      <a:pt x="384" y="322"/>
                    </a:lnTo>
                    <a:lnTo>
                      <a:pt x="384" y="169"/>
                    </a:lnTo>
                    <a:close/>
                  </a:path>
                </a:pathLst>
              </a:custGeom>
              <a:solidFill>
                <a:srgbClr val="000000"/>
              </a:solidFill>
              <a:ln w="9525">
                <a:noFill/>
                <a:round/>
                <a:headEnd/>
                <a:tailEnd/>
              </a:ln>
            </p:spPr>
            <p:txBody>
              <a:bodyPr vert="horz" wrap="square" lIns="91440" tIns="45720" rIns="91440" bIns="45720" numCol="1" anchor="t" anchorCtr="0" compatLnSpc="1">
                <a:prstTxWarp prst="textNoShape">
                  <a:avLst/>
                </a:prstTxWarp>
                <a:normAutofit fontScale="40000" lnSpcReduction="20000"/>
              </a:bodyPr>
              <a:lstStyle/>
              <a:p>
                <a:endParaRPr lang="zh-CN" altLang="en-US"/>
              </a:p>
            </p:txBody>
          </p:sp>
          <p:sp>
            <p:nvSpPr>
              <p:cNvPr id="55" name="îṣḷïďe">
                <a:extLst>
                  <a:ext uri="{FF2B5EF4-FFF2-40B4-BE49-F238E27FC236}">
                    <a16:creationId xmlns:a16="http://schemas.microsoft.com/office/drawing/2014/main" id="{B6A6EB7A-5A14-4090-BAEA-7A324D35DA5F}"/>
                  </a:ext>
                </a:extLst>
              </p:cNvPr>
              <p:cNvSpPr/>
              <p:nvPr/>
            </p:nvSpPr>
            <p:spPr bwMode="auto">
              <a:xfrm>
                <a:off x="4233279" y="1915221"/>
                <a:ext cx="264304" cy="453913"/>
              </a:xfrm>
              <a:custGeom>
                <a:avLst/>
                <a:gdLst/>
                <a:ahLst/>
                <a:cxnLst>
                  <a:cxn ang="0">
                    <a:pos x="24" y="67"/>
                  </a:cxn>
                  <a:cxn ang="0">
                    <a:pos x="29" y="67"/>
                  </a:cxn>
                  <a:cxn ang="0">
                    <a:pos x="32" y="12"/>
                  </a:cxn>
                  <a:cxn ang="0">
                    <a:pos x="36" y="3"/>
                  </a:cxn>
                  <a:cxn ang="0">
                    <a:pos x="4" y="25"/>
                  </a:cxn>
                  <a:cxn ang="0">
                    <a:pos x="24" y="67"/>
                  </a:cxn>
                </a:cxnLst>
                <a:rect l="0" t="0" r="r" b="b"/>
                <a:pathLst>
                  <a:path w="39" h="67">
                    <a:moveTo>
                      <a:pt x="24" y="67"/>
                    </a:moveTo>
                    <a:cubicBezTo>
                      <a:pt x="25" y="67"/>
                      <a:pt x="27" y="67"/>
                      <a:pt x="29" y="67"/>
                    </a:cubicBezTo>
                    <a:cubicBezTo>
                      <a:pt x="15" y="59"/>
                      <a:pt x="28" y="18"/>
                      <a:pt x="32" y="12"/>
                    </a:cubicBezTo>
                    <a:cubicBezTo>
                      <a:pt x="30" y="11"/>
                      <a:pt x="39" y="4"/>
                      <a:pt x="36" y="3"/>
                    </a:cubicBezTo>
                    <a:cubicBezTo>
                      <a:pt x="21" y="0"/>
                      <a:pt x="8" y="6"/>
                      <a:pt x="4" y="25"/>
                    </a:cubicBezTo>
                    <a:cubicBezTo>
                      <a:pt x="0" y="43"/>
                      <a:pt x="9" y="64"/>
                      <a:pt x="24" y="67"/>
                    </a:cubicBezTo>
                    <a:close/>
                  </a:path>
                </a:pathLst>
              </a:custGeom>
              <a:solidFill>
                <a:srgbClr val="F4CDBA"/>
              </a:solidFill>
              <a:ln w="9525">
                <a:noFill/>
                <a:round/>
                <a:headEnd/>
                <a:tailEnd/>
              </a:ln>
            </p:spPr>
            <p:txBody>
              <a:bodyPr vert="horz" wrap="square" lIns="91440" tIns="45720" rIns="91440" bIns="45720" numCol="1" anchor="t" anchorCtr="0" compatLnSpc="1">
                <a:prstTxWarp prst="textNoShape">
                  <a:avLst/>
                </a:prstTxWarp>
                <a:normAutofit/>
              </a:bodyPr>
              <a:lstStyle/>
              <a:p>
                <a:endParaRPr lang="zh-CN" altLang="en-US"/>
              </a:p>
            </p:txBody>
          </p:sp>
          <p:sp>
            <p:nvSpPr>
              <p:cNvPr id="56" name="iṣľíďe">
                <a:extLst>
                  <a:ext uri="{FF2B5EF4-FFF2-40B4-BE49-F238E27FC236}">
                    <a16:creationId xmlns:a16="http://schemas.microsoft.com/office/drawing/2014/main" id="{B45FBA02-8B35-4EF4-82C9-BBED584C7292}"/>
                  </a:ext>
                </a:extLst>
              </p:cNvPr>
              <p:cNvSpPr/>
              <p:nvPr/>
            </p:nvSpPr>
            <p:spPr bwMode="auto">
              <a:xfrm>
                <a:off x="4219578" y="1915221"/>
                <a:ext cx="392919" cy="372589"/>
              </a:xfrm>
              <a:custGeom>
                <a:avLst/>
                <a:gdLst/>
                <a:ahLst/>
                <a:cxnLst>
                  <a:cxn ang="0">
                    <a:pos x="39" y="25"/>
                  </a:cxn>
                  <a:cxn ang="0">
                    <a:pos x="56" y="22"/>
                  </a:cxn>
                  <a:cxn ang="0">
                    <a:pos x="31" y="2"/>
                  </a:cxn>
                  <a:cxn ang="0">
                    <a:pos x="3" y="21"/>
                  </a:cxn>
                  <a:cxn ang="0">
                    <a:pos x="7" y="55"/>
                  </a:cxn>
                  <a:cxn ang="0">
                    <a:pos x="22" y="43"/>
                  </a:cxn>
                  <a:cxn ang="0">
                    <a:pos x="23" y="31"/>
                  </a:cxn>
                  <a:cxn ang="0">
                    <a:pos x="26" y="34"/>
                  </a:cxn>
                  <a:cxn ang="0">
                    <a:pos x="39" y="25"/>
                  </a:cxn>
                </a:cxnLst>
                <a:rect l="0" t="0" r="r" b="b"/>
                <a:pathLst>
                  <a:path w="58" h="55">
                    <a:moveTo>
                      <a:pt x="39" y="25"/>
                    </a:moveTo>
                    <a:cubicBezTo>
                      <a:pt x="56" y="22"/>
                      <a:pt x="56" y="22"/>
                      <a:pt x="56" y="22"/>
                    </a:cubicBezTo>
                    <a:cubicBezTo>
                      <a:pt x="58" y="19"/>
                      <a:pt x="54" y="4"/>
                      <a:pt x="31" y="2"/>
                    </a:cubicBezTo>
                    <a:cubicBezTo>
                      <a:pt x="11" y="0"/>
                      <a:pt x="6" y="9"/>
                      <a:pt x="3" y="21"/>
                    </a:cubicBezTo>
                    <a:cubicBezTo>
                      <a:pt x="0" y="33"/>
                      <a:pt x="7" y="55"/>
                      <a:pt x="7" y="55"/>
                    </a:cubicBezTo>
                    <a:cubicBezTo>
                      <a:pt x="7" y="55"/>
                      <a:pt x="24" y="47"/>
                      <a:pt x="22" y="43"/>
                    </a:cubicBezTo>
                    <a:cubicBezTo>
                      <a:pt x="20" y="40"/>
                      <a:pt x="19" y="31"/>
                      <a:pt x="23" y="31"/>
                    </a:cubicBezTo>
                    <a:cubicBezTo>
                      <a:pt x="25" y="31"/>
                      <a:pt x="26" y="34"/>
                      <a:pt x="26" y="34"/>
                    </a:cubicBezTo>
                    <a:lnTo>
                      <a:pt x="39" y="25"/>
                    </a:lnTo>
                    <a:close/>
                  </a:path>
                </a:pathLst>
              </a:custGeom>
              <a:solidFill>
                <a:srgbClr val="5E2014"/>
              </a:solidFill>
              <a:ln w="9525">
                <a:noFill/>
                <a:round/>
                <a:headEnd/>
                <a:tailEnd/>
              </a:ln>
            </p:spPr>
            <p:txBody>
              <a:bodyPr vert="horz" wrap="square" lIns="91440" tIns="45720" rIns="91440" bIns="45720" numCol="1" anchor="t" anchorCtr="0" compatLnSpc="1">
                <a:prstTxWarp prst="textNoShape">
                  <a:avLst/>
                </a:prstTxWarp>
                <a:normAutofit/>
              </a:bodyPr>
              <a:lstStyle/>
              <a:p>
                <a:endParaRPr lang="zh-CN" altLang="en-US"/>
              </a:p>
            </p:txBody>
          </p:sp>
          <p:sp>
            <p:nvSpPr>
              <p:cNvPr id="57" name="iṧlîḍe">
                <a:extLst>
                  <a:ext uri="{FF2B5EF4-FFF2-40B4-BE49-F238E27FC236}">
                    <a16:creationId xmlns:a16="http://schemas.microsoft.com/office/drawing/2014/main" id="{319A6982-B0BE-42AE-9F14-DD6D527E87D7}"/>
                  </a:ext>
                </a:extLst>
              </p:cNvPr>
              <p:cNvSpPr/>
              <p:nvPr/>
            </p:nvSpPr>
            <p:spPr bwMode="auto">
              <a:xfrm>
                <a:off x="4090962" y="1854228"/>
                <a:ext cx="189609" cy="447283"/>
              </a:xfrm>
              <a:custGeom>
                <a:avLst/>
                <a:gdLst/>
                <a:ahLst/>
                <a:cxnLst>
                  <a:cxn ang="0">
                    <a:pos x="28" y="19"/>
                  </a:cxn>
                  <a:cxn ang="0">
                    <a:pos x="8" y="19"/>
                  </a:cxn>
                  <a:cxn ang="0">
                    <a:pos x="7" y="57"/>
                  </a:cxn>
                  <a:cxn ang="0">
                    <a:pos x="1" y="62"/>
                  </a:cxn>
                  <a:cxn ang="0">
                    <a:pos x="15" y="59"/>
                  </a:cxn>
                  <a:cxn ang="0">
                    <a:pos x="22" y="27"/>
                  </a:cxn>
                  <a:cxn ang="0">
                    <a:pos x="28" y="25"/>
                  </a:cxn>
                  <a:cxn ang="0">
                    <a:pos x="28" y="19"/>
                  </a:cxn>
                </a:cxnLst>
                <a:rect l="0" t="0" r="r" b="b"/>
                <a:pathLst>
                  <a:path w="28" h="66">
                    <a:moveTo>
                      <a:pt x="28" y="19"/>
                    </a:moveTo>
                    <a:cubicBezTo>
                      <a:pt x="25" y="14"/>
                      <a:pt x="17" y="0"/>
                      <a:pt x="8" y="19"/>
                    </a:cubicBezTo>
                    <a:cubicBezTo>
                      <a:pt x="1" y="36"/>
                      <a:pt x="7" y="51"/>
                      <a:pt x="7" y="57"/>
                    </a:cubicBezTo>
                    <a:cubicBezTo>
                      <a:pt x="7" y="60"/>
                      <a:pt x="3" y="62"/>
                      <a:pt x="1" y="62"/>
                    </a:cubicBezTo>
                    <a:cubicBezTo>
                      <a:pt x="0" y="62"/>
                      <a:pt x="9" y="66"/>
                      <a:pt x="15" y="59"/>
                    </a:cubicBezTo>
                    <a:cubicBezTo>
                      <a:pt x="22" y="53"/>
                      <a:pt x="17" y="31"/>
                      <a:pt x="22" y="27"/>
                    </a:cubicBezTo>
                    <a:cubicBezTo>
                      <a:pt x="24" y="26"/>
                      <a:pt x="28" y="25"/>
                      <a:pt x="28" y="25"/>
                    </a:cubicBezTo>
                    <a:lnTo>
                      <a:pt x="28" y="19"/>
                    </a:lnTo>
                    <a:close/>
                  </a:path>
                </a:pathLst>
              </a:custGeom>
              <a:solidFill>
                <a:srgbClr val="5E2014"/>
              </a:solidFill>
              <a:ln w="9525">
                <a:noFill/>
                <a:round/>
                <a:headEnd/>
                <a:tailEnd/>
              </a:ln>
            </p:spPr>
            <p:txBody>
              <a:bodyPr vert="horz" wrap="square" lIns="91440" tIns="45720" rIns="91440" bIns="45720" numCol="1" anchor="t" anchorCtr="0" compatLnSpc="1">
                <a:prstTxWarp prst="textNoShape">
                  <a:avLst/>
                </a:prstTxWarp>
                <a:normAutofit/>
              </a:bodyPr>
              <a:lstStyle/>
              <a:p>
                <a:endParaRPr lang="zh-CN" altLang="en-US"/>
              </a:p>
            </p:txBody>
          </p:sp>
          <p:sp>
            <p:nvSpPr>
              <p:cNvPr id="58" name="ïṧḷïḍè">
                <a:extLst>
                  <a:ext uri="{FF2B5EF4-FFF2-40B4-BE49-F238E27FC236}">
                    <a16:creationId xmlns:a16="http://schemas.microsoft.com/office/drawing/2014/main" id="{8A4B8EA6-B606-4566-A82E-0DD390A24C30}"/>
                  </a:ext>
                </a:extLst>
              </p:cNvPr>
              <p:cNvSpPr/>
              <p:nvPr/>
            </p:nvSpPr>
            <p:spPr bwMode="auto">
              <a:xfrm>
                <a:off x="4443219" y="2057538"/>
                <a:ext cx="209940" cy="94584"/>
              </a:xfrm>
              <a:custGeom>
                <a:avLst/>
                <a:gdLst/>
                <a:ahLst/>
                <a:cxnLst>
                  <a:cxn ang="0">
                    <a:pos x="23" y="0"/>
                  </a:cxn>
                  <a:cxn ang="0">
                    <a:pos x="26" y="14"/>
                  </a:cxn>
                  <a:cxn ang="0">
                    <a:pos x="0" y="6"/>
                  </a:cxn>
                  <a:cxn ang="0">
                    <a:pos x="8" y="0"/>
                  </a:cxn>
                  <a:cxn ang="0">
                    <a:pos x="23" y="0"/>
                  </a:cxn>
                </a:cxnLst>
                <a:rect l="0" t="0" r="r" b="b"/>
                <a:pathLst>
                  <a:path w="31" h="14">
                    <a:moveTo>
                      <a:pt x="23" y="0"/>
                    </a:moveTo>
                    <a:cubicBezTo>
                      <a:pt x="25" y="0"/>
                      <a:pt x="31" y="6"/>
                      <a:pt x="26" y="14"/>
                    </a:cubicBezTo>
                    <a:cubicBezTo>
                      <a:pt x="19" y="12"/>
                      <a:pt x="0" y="6"/>
                      <a:pt x="0" y="6"/>
                    </a:cubicBezTo>
                    <a:cubicBezTo>
                      <a:pt x="8" y="0"/>
                      <a:pt x="8" y="0"/>
                      <a:pt x="8" y="0"/>
                    </a:cubicBezTo>
                    <a:lnTo>
                      <a:pt x="23" y="0"/>
                    </a:lnTo>
                    <a:close/>
                  </a:path>
                </a:pathLst>
              </a:custGeom>
              <a:solidFill>
                <a:srgbClr val="5E2014"/>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zh-CN" altLang="en-US"/>
              </a:p>
            </p:txBody>
          </p:sp>
          <p:sp>
            <p:nvSpPr>
              <p:cNvPr id="59" name="íŝļiḑè">
                <a:extLst>
                  <a:ext uri="{FF2B5EF4-FFF2-40B4-BE49-F238E27FC236}">
                    <a16:creationId xmlns:a16="http://schemas.microsoft.com/office/drawing/2014/main" id="{02E74B2E-553F-494F-8A38-F034763CCC81}"/>
                  </a:ext>
                </a:extLst>
              </p:cNvPr>
              <p:cNvSpPr/>
              <p:nvPr/>
            </p:nvSpPr>
            <p:spPr bwMode="auto">
              <a:xfrm>
                <a:off x="4788847" y="2836306"/>
                <a:ext cx="40662" cy="108285"/>
              </a:xfrm>
              <a:custGeom>
                <a:avLst/>
                <a:gdLst/>
                <a:ahLst/>
                <a:cxnLst>
                  <a:cxn ang="0">
                    <a:pos x="0" y="0"/>
                  </a:cxn>
                  <a:cxn ang="0">
                    <a:pos x="76" y="16"/>
                  </a:cxn>
                  <a:cxn ang="0">
                    <a:pos x="92" y="245"/>
                  </a:cxn>
                  <a:cxn ang="0">
                    <a:pos x="0" y="245"/>
                  </a:cxn>
                  <a:cxn ang="0">
                    <a:pos x="0" y="0"/>
                  </a:cxn>
                </a:cxnLst>
                <a:rect l="0" t="0" r="r" b="b"/>
                <a:pathLst>
                  <a:path w="92" h="245">
                    <a:moveTo>
                      <a:pt x="0" y="0"/>
                    </a:moveTo>
                    <a:lnTo>
                      <a:pt x="76" y="16"/>
                    </a:lnTo>
                    <a:lnTo>
                      <a:pt x="92" y="245"/>
                    </a:lnTo>
                    <a:lnTo>
                      <a:pt x="0" y="245"/>
                    </a:lnTo>
                    <a:lnTo>
                      <a:pt x="0" y="0"/>
                    </a:lnTo>
                    <a:close/>
                  </a:path>
                </a:pathLst>
              </a:custGeom>
              <a:solidFill>
                <a:srgbClr val="000000"/>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zh-CN" altLang="en-US"/>
              </a:p>
            </p:txBody>
          </p:sp>
          <p:sp>
            <p:nvSpPr>
              <p:cNvPr id="60" name="isliḍè">
                <a:extLst>
                  <a:ext uri="{FF2B5EF4-FFF2-40B4-BE49-F238E27FC236}">
                    <a16:creationId xmlns:a16="http://schemas.microsoft.com/office/drawing/2014/main" id="{0F05C989-4D20-41A3-8DB4-6D512E65AE39}"/>
                  </a:ext>
                </a:extLst>
              </p:cNvPr>
              <p:cNvSpPr/>
              <p:nvPr/>
            </p:nvSpPr>
            <p:spPr bwMode="auto">
              <a:xfrm>
                <a:off x="4145325" y="2416425"/>
                <a:ext cx="650151" cy="568828"/>
              </a:xfrm>
              <a:custGeom>
                <a:avLst/>
                <a:gdLst/>
                <a:ahLst/>
                <a:cxnLst>
                  <a:cxn ang="0">
                    <a:pos x="25" y="14"/>
                  </a:cxn>
                  <a:cxn ang="0">
                    <a:pos x="46" y="55"/>
                  </a:cxn>
                  <a:cxn ang="0">
                    <a:pos x="95" y="60"/>
                  </a:cxn>
                  <a:cxn ang="0">
                    <a:pos x="96" y="81"/>
                  </a:cxn>
                  <a:cxn ang="0">
                    <a:pos x="32" y="79"/>
                  </a:cxn>
                  <a:cxn ang="0">
                    <a:pos x="4" y="16"/>
                  </a:cxn>
                  <a:cxn ang="0">
                    <a:pos x="25" y="14"/>
                  </a:cxn>
                </a:cxnLst>
                <a:rect l="0" t="0" r="r" b="b"/>
                <a:pathLst>
                  <a:path w="96" h="84">
                    <a:moveTo>
                      <a:pt x="25" y="14"/>
                    </a:moveTo>
                    <a:cubicBezTo>
                      <a:pt x="30" y="21"/>
                      <a:pt x="42" y="52"/>
                      <a:pt x="46" y="55"/>
                    </a:cubicBezTo>
                    <a:cubicBezTo>
                      <a:pt x="54" y="62"/>
                      <a:pt x="95" y="60"/>
                      <a:pt x="95" y="60"/>
                    </a:cubicBezTo>
                    <a:cubicBezTo>
                      <a:pt x="96" y="81"/>
                      <a:pt x="96" y="81"/>
                      <a:pt x="96" y="81"/>
                    </a:cubicBezTo>
                    <a:cubicBezTo>
                      <a:pt x="96" y="81"/>
                      <a:pt x="45" y="84"/>
                      <a:pt x="32" y="79"/>
                    </a:cubicBezTo>
                    <a:cubicBezTo>
                      <a:pt x="24" y="76"/>
                      <a:pt x="0" y="31"/>
                      <a:pt x="4" y="16"/>
                    </a:cubicBezTo>
                    <a:cubicBezTo>
                      <a:pt x="9" y="0"/>
                      <a:pt x="25" y="14"/>
                      <a:pt x="25" y="14"/>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normAutofit/>
              </a:bodyPr>
              <a:lstStyle/>
              <a:p>
                <a:endParaRPr lang="zh-CN" altLang="en-US"/>
              </a:p>
            </p:txBody>
          </p:sp>
          <p:sp>
            <p:nvSpPr>
              <p:cNvPr id="61" name="iš1îḓé">
                <a:extLst>
                  <a:ext uri="{FF2B5EF4-FFF2-40B4-BE49-F238E27FC236}">
                    <a16:creationId xmlns:a16="http://schemas.microsoft.com/office/drawing/2014/main" id="{EEEA9450-297B-4AE5-8807-6F74BEC7E96A}"/>
                  </a:ext>
                </a:extLst>
              </p:cNvPr>
              <p:cNvSpPr/>
              <p:nvPr/>
            </p:nvSpPr>
            <p:spPr bwMode="auto">
              <a:xfrm>
                <a:off x="4090962" y="1860857"/>
                <a:ext cx="318667" cy="440654"/>
              </a:xfrm>
              <a:custGeom>
                <a:avLst/>
                <a:gdLst/>
                <a:ahLst/>
                <a:cxnLst>
                  <a:cxn ang="0">
                    <a:pos x="16" y="58"/>
                  </a:cxn>
                  <a:cxn ang="0">
                    <a:pos x="22" y="26"/>
                  </a:cxn>
                  <a:cxn ang="0">
                    <a:pos x="24" y="25"/>
                  </a:cxn>
                  <a:cxn ang="0">
                    <a:pos x="22" y="29"/>
                  </a:cxn>
                  <a:cxn ang="0">
                    <a:pos x="26" y="63"/>
                  </a:cxn>
                  <a:cxn ang="0">
                    <a:pos x="41" y="51"/>
                  </a:cxn>
                  <a:cxn ang="0">
                    <a:pos x="42" y="39"/>
                  </a:cxn>
                  <a:cxn ang="0">
                    <a:pos x="45" y="42"/>
                  </a:cxn>
                  <a:cxn ang="0">
                    <a:pos x="43" y="10"/>
                  </a:cxn>
                  <a:cxn ang="0">
                    <a:pos x="27" y="17"/>
                  </a:cxn>
                  <a:cxn ang="0">
                    <a:pos x="8" y="18"/>
                  </a:cxn>
                  <a:cxn ang="0">
                    <a:pos x="7" y="56"/>
                  </a:cxn>
                  <a:cxn ang="0">
                    <a:pos x="1" y="61"/>
                  </a:cxn>
                  <a:cxn ang="0">
                    <a:pos x="16" y="58"/>
                  </a:cxn>
                </a:cxnLst>
                <a:rect l="0" t="0" r="r" b="b"/>
                <a:pathLst>
                  <a:path w="47" h="65">
                    <a:moveTo>
                      <a:pt x="16" y="58"/>
                    </a:moveTo>
                    <a:cubicBezTo>
                      <a:pt x="22" y="52"/>
                      <a:pt x="17" y="30"/>
                      <a:pt x="22" y="26"/>
                    </a:cubicBezTo>
                    <a:cubicBezTo>
                      <a:pt x="23" y="26"/>
                      <a:pt x="23" y="25"/>
                      <a:pt x="24" y="25"/>
                    </a:cubicBezTo>
                    <a:cubicBezTo>
                      <a:pt x="23" y="26"/>
                      <a:pt x="23" y="28"/>
                      <a:pt x="22" y="29"/>
                    </a:cubicBezTo>
                    <a:cubicBezTo>
                      <a:pt x="19" y="41"/>
                      <a:pt x="26" y="63"/>
                      <a:pt x="26" y="63"/>
                    </a:cubicBezTo>
                    <a:cubicBezTo>
                      <a:pt x="26" y="63"/>
                      <a:pt x="43" y="55"/>
                      <a:pt x="41" y="51"/>
                    </a:cubicBezTo>
                    <a:cubicBezTo>
                      <a:pt x="39" y="48"/>
                      <a:pt x="38" y="39"/>
                      <a:pt x="42" y="39"/>
                    </a:cubicBezTo>
                    <a:cubicBezTo>
                      <a:pt x="43" y="39"/>
                      <a:pt x="45" y="41"/>
                      <a:pt x="45" y="42"/>
                    </a:cubicBezTo>
                    <a:cubicBezTo>
                      <a:pt x="47" y="24"/>
                      <a:pt x="45" y="10"/>
                      <a:pt x="43" y="10"/>
                    </a:cubicBezTo>
                    <a:cubicBezTo>
                      <a:pt x="35" y="10"/>
                      <a:pt x="30" y="13"/>
                      <a:pt x="27" y="17"/>
                    </a:cubicBezTo>
                    <a:cubicBezTo>
                      <a:pt x="24" y="11"/>
                      <a:pt x="17" y="0"/>
                      <a:pt x="8" y="18"/>
                    </a:cubicBezTo>
                    <a:cubicBezTo>
                      <a:pt x="1" y="35"/>
                      <a:pt x="7" y="50"/>
                      <a:pt x="7" y="56"/>
                    </a:cubicBezTo>
                    <a:cubicBezTo>
                      <a:pt x="7" y="59"/>
                      <a:pt x="3" y="61"/>
                      <a:pt x="1" y="61"/>
                    </a:cubicBezTo>
                    <a:cubicBezTo>
                      <a:pt x="0" y="61"/>
                      <a:pt x="9" y="65"/>
                      <a:pt x="16" y="58"/>
                    </a:cubicBezTo>
                    <a:close/>
                  </a:path>
                </a:pathLst>
              </a:custGeom>
              <a:solidFill>
                <a:srgbClr val="300901"/>
              </a:solidFill>
              <a:ln w="9525">
                <a:noFill/>
                <a:round/>
                <a:headEnd/>
                <a:tailEnd/>
              </a:ln>
            </p:spPr>
            <p:txBody>
              <a:bodyPr vert="horz" wrap="square" lIns="91440" tIns="45720" rIns="91440" bIns="45720" numCol="1" anchor="t" anchorCtr="0" compatLnSpc="1">
                <a:prstTxWarp prst="textNoShape">
                  <a:avLst/>
                </a:prstTxWarp>
                <a:normAutofit/>
              </a:bodyPr>
              <a:lstStyle/>
              <a:p>
                <a:endParaRPr lang="zh-CN" altLang="en-US"/>
              </a:p>
            </p:txBody>
          </p:sp>
        </p:grpSp>
        <p:sp>
          <p:nvSpPr>
            <p:cNvPr id="7" name="ïṡḷiḓê">
              <a:extLst>
                <a:ext uri="{FF2B5EF4-FFF2-40B4-BE49-F238E27FC236}">
                  <a16:creationId xmlns:a16="http://schemas.microsoft.com/office/drawing/2014/main" id="{6982B370-286D-4E2A-861D-47EA735A5DD1}"/>
                </a:ext>
              </a:extLst>
            </p:cNvPr>
            <p:cNvSpPr txBox="1"/>
            <p:nvPr/>
          </p:nvSpPr>
          <p:spPr>
            <a:xfrm>
              <a:off x="3079054" y="1282893"/>
              <a:ext cx="8441434" cy="595087"/>
            </a:xfrm>
            <a:prstGeom prst="rect">
              <a:avLst/>
            </a:prstGeom>
            <a:noFill/>
            <a:ln>
              <a:noFill/>
            </a:ln>
          </p:spPr>
          <p:txBody>
            <a:bodyPr wrap="square" lIns="90000" tIns="46800" rIns="90000" bIns="46800" anchor="b" anchorCtr="0">
              <a:normAutofit/>
            </a:bodyPr>
            <a:lstStyle/>
            <a:p>
              <a:pPr algn="ctr">
                <a:buSzPct val="25000"/>
              </a:pPr>
              <a:r>
                <a:rPr lang="zh-CN" altLang="en-US" sz="2000" b="1" dirty="0"/>
                <a:t>用例图概要</a:t>
              </a:r>
              <a:endParaRPr lang="en-US" sz="2000" b="1" dirty="0"/>
            </a:p>
          </p:txBody>
        </p:sp>
        <p:sp>
          <p:nvSpPr>
            <p:cNvPr id="8" name="ïṣḷîḓe">
              <a:extLst>
                <a:ext uri="{FF2B5EF4-FFF2-40B4-BE49-F238E27FC236}">
                  <a16:creationId xmlns:a16="http://schemas.microsoft.com/office/drawing/2014/main" id="{650ED840-7AFA-4729-9CEC-9ACD8BF6E6D5}"/>
                </a:ext>
              </a:extLst>
            </p:cNvPr>
            <p:cNvSpPr txBox="1"/>
            <p:nvPr/>
          </p:nvSpPr>
          <p:spPr>
            <a:xfrm>
              <a:off x="3079053" y="1877980"/>
              <a:ext cx="8441436" cy="787280"/>
            </a:xfrm>
            <a:prstGeom prst="rect">
              <a:avLst/>
            </a:prstGeom>
            <a:noFill/>
            <a:ln>
              <a:noFill/>
            </a:ln>
          </p:spPr>
          <p:txBody>
            <a:bodyPr wrap="square" lIns="90000" tIns="46800" rIns="90000" bIns="46800" anchor="t" anchorCtr="0">
              <a:normAutofit/>
            </a:bodyPr>
            <a:lstStyle/>
            <a:p>
              <a:pPr algn="ctr">
                <a:lnSpc>
                  <a:spcPct val="150000"/>
                </a:lnSpc>
                <a:buSzPct val="25000"/>
              </a:pPr>
              <a:r>
                <a:rPr lang="zh-CN" altLang="en-US" sz="1200" dirty="0"/>
                <a:t>用例图是从用户角度描述系统功能，是用户所能观察到的系统功能的模型图</a:t>
              </a:r>
              <a:endParaRPr lang="en-US" sz="1200" dirty="0"/>
            </a:p>
          </p:txBody>
        </p:sp>
        <p:cxnSp>
          <p:nvCxnSpPr>
            <p:cNvPr id="9" name="直接连接符 8">
              <a:extLst>
                <a:ext uri="{FF2B5EF4-FFF2-40B4-BE49-F238E27FC236}">
                  <a16:creationId xmlns:a16="http://schemas.microsoft.com/office/drawing/2014/main" id="{1BA83826-3D02-4BE2-AB9A-059CE9664B05}"/>
                </a:ext>
              </a:extLst>
            </p:cNvPr>
            <p:cNvCxnSpPr>
              <a:cxnSpLocks/>
            </p:cNvCxnSpPr>
            <p:nvPr/>
          </p:nvCxnSpPr>
          <p:spPr>
            <a:xfrm>
              <a:off x="2904477" y="2865984"/>
              <a:ext cx="861601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nvGrpSpPr>
            <p:cNvPr id="10" name="íšļiḍé">
              <a:extLst>
                <a:ext uri="{FF2B5EF4-FFF2-40B4-BE49-F238E27FC236}">
                  <a16:creationId xmlns:a16="http://schemas.microsoft.com/office/drawing/2014/main" id="{3445083A-93A8-4596-9554-D302B7E2ECE5}"/>
                </a:ext>
              </a:extLst>
            </p:cNvPr>
            <p:cNvGrpSpPr/>
            <p:nvPr/>
          </p:nvGrpSpPr>
          <p:grpSpPr>
            <a:xfrm>
              <a:off x="3525886" y="3600247"/>
              <a:ext cx="2328027" cy="1438103"/>
              <a:chOff x="4185162" y="3580166"/>
              <a:chExt cx="2328027" cy="1438103"/>
            </a:xfrm>
          </p:grpSpPr>
          <p:sp>
            <p:nvSpPr>
              <p:cNvPr id="21" name="íṧlîḍe">
                <a:extLst>
                  <a:ext uri="{FF2B5EF4-FFF2-40B4-BE49-F238E27FC236}">
                    <a16:creationId xmlns:a16="http://schemas.microsoft.com/office/drawing/2014/main" id="{D55337DE-D953-4540-AA5D-50A4333EB440}"/>
                  </a:ext>
                </a:extLst>
              </p:cNvPr>
              <p:cNvSpPr/>
              <p:nvPr/>
            </p:nvSpPr>
            <p:spPr bwMode="auto">
              <a:xfrm>
                <a:off x="4958704" y="3580166"/>
                <a:ext cx="708563" cy="538239"/>
              </a:xfrm>
              <a:custGeom>
                <a:avLst/>
                <a:gdLst>
                  <a:gd name="T0" fmla="*/ 2664 w 2711"/>
                  <a:gd name="T1" fmla="*/ 1581 h 2062"/>
                  <a:gd name="T2" fmla="*/ 909 w 2711"/>
                  <a:gd name="T3" fmla="*/ 1581 h 2062"/>
                  <a:gd name="T4" fmla="*/ 861 w 2711"/>
                  <a:gd name="T5" fmla="*/ 1534 h 2062"/>
                  <a:gd name="T6" fmla="*/ 861 w 2711"/>
                  <a:gd name="T7" fmla="*/ 434 h 2062"/>
                  <a:gd name="T8" fmla="*/ 909 w 2711"/>
                  <a:gd name="T9" fmla="*/ 386 h 2062"/>
                  <a:gd name="T10" fmla="*/ 2664 w 2711"/>
                  <a:gd name="T11" fmla="*/ 386 h 2062"/>
                  <a:gd name="T12" fmla="*/ 2711 w 2711"/>
                  <a:gd name="T13" fmla="*/ 434 h 2062"/>
                  <a:gd name="T14" fmla="*/ 2711 w 2711"/>
                  <a:gd name="T15" fmla="*/ 1534 h 2062"/>
                  <a:gd name="T16" fmla="*/ 2664 w 2711"/>
                  <a:gd name="T17" fmla="*/ 1581 h 2062"/>
                  <a:gd name="T18" fmla="*/ 2177 w 2711"/>
                  <a:gd name="T19" fmla="*/ 1928 h 2062"/>
                  <a:gd name="T20" fmla="*/ 2000 w 2711"/>
                  <a:gd name="T21" fmla="*/ 1928 h 2062"/>
                  <a:gd name="T22" fmla="*/ 2000 w 2711"/>
                  <a:gd name="T23" fmla="*/ 1715 h 2062"/>
                  <a:gd name="T24" fmla="*/ 1573 w 2711"/>
                  <a:gd name="T25" fmla="*/ 1715 h 2062"/>
                  <a:gd name="T26" fmla="*/ 1573 w 2711"/>
                  <a:gd name="T27" fmla="*/ 1928 h 2062"/>
                  <a:gd name="T28" fmla="*/ 1395 w 2711"/>
                  <a:gd name="T29" fmla="*/ 1928 h 2062"/>
                  <a:gd name="T30" fmla="*/ 1329 w 2711"/>
                  <a:gd name="T31" fmla="*/ 1995 h 2062"/>
                  <a:gd name="T32" fmla="*/ 1395 w 2711"/>
                  <a:gd name="T33" fmla="*/ 2062 h 2062"/>
                  <a:gd name="T34" fmla="*/ 1640 w 2711"/>
                  <a:gd name="T35" fmla="*/ 2062 h 2062"/>
                  <a:gd name="T36" fmla="*/ 1933 w 2711"/>
                  <a:gd name="T37" fmla="*/ 2062 h 2062"/>
                  <a:gd name="T38" fmla="*/ 2177 w 2711"/>
                  <a:gd name="T39" fmla="*/ 2062 h 2062"/>
                  <a:gd name="T40" fmla="*/ 2244 w 2711"/>
                  <a:gd name="T41" fmla="*/ 1995 h 2062"/>
                  <a:gd name="T42" fmla="*/ 2177 w 2711"/>
                  <a:gd name="T43" fmla="*/ 1928 h 2062"/>
                  <a:gd name="T44" fmla="*/ 1065 w 2711"/>
                  <a:gd name="T45" fmla="*/ 253 h 2062"/>
                  <a:gd name="T46" fmla="*/ 909 w 2711"/>
                  <a:gd name="T47" fmla="*/ 253 h 2062"/>
                  <a:gd name="T48" fmla="*/ 880 w 2711"/>
                  <a:gd name="T49" fmla="*/ 255 h 2062"/>
                  <a:gd name="T50" fmla="*/ 863 w 2711"/>
                  <a:gd name="T51" fmla="*/ 253 h 2062"/>
                  <a:gd name="T52" fmla="*/ 201 w 2711"/>
                  <a:gd name="T53" fmla="*/ 253 h 2062"/>
                  <a:gd name="T54" fmla="*/ 135 w 2711"/>
                  <a:gd name="T55" fmla="*/ 320 h 2062"/>
                  <a:gd name="T56" fmla="*/ 201 w 2711"/>
                  <a:gd name="T57" fmla="*/ 386 h 2062"/>
                  <a:gd name="T58" fmla="*/ 735 w 2711"/>
                  <a:gd name="T59" fmla="*/ 386 h 2062"/>
                  <a:gd name="T60" fmla="*/ 728 w 2711"/>
                  <a:gd name="T61" fmla="*/ 434 h 2062"/>
                  <a:gd name="T62" fmla="*/ 728 w 2711"/>
                  <a:gd name="T63" fmla="*/ 558 h 2062"/>
                  <a:gd name="T64" fmla="*/ 201 w 2711"/>
                  <a:gd name="T65" fmla="*/ 558 h 2062"/>
                  <a:gd name="T66" fmla="*/ 135 w 2711"/>
                  <a:gd name="T67" fmla="*/ 624 h 2062"/>
                  <a:gd name="T68" fmla="*/ 201 w 2711"/>
                  <a:gd name="T69" fmla="*/ 691 h 2062"/>
                  <a:gd name="T70" fmla="*/ 728 w 2711"/>
                  <a:gd name="T71" fmla="*/ 691 h 2062"/>
                  <a:gd name="T72" fmla="*/ 728 w 2711"/>
                  <a:gd name="T73" fmla="*/ 863 h 2062"/>
                  <a:gd name="T74" fmla="*/ 201 w 2711"/>
                  <a:gd name="T75" fmla="*/ 863 h 2062"/>
                  <a:gd name="T76" fmla="*/ 135 w 2711"/>
                  <a:gd name="T77" fmla="*/ 929 h 2062"/>
                  <a:gd name="T78" fmla="*/ 201 w 2711"/>
                  <a:gd name="T79" fmla="*/ 996 h 2062"/>
                  <a:gd name="T80" fmla="*/ 728 w 2711"/>
                  <a:gd name="T81" fmla="*/ 996 h 2062"/>
                  <a:gd name="T82" fmla="*/ 728 w 2711"/>
                  <a:gd name="T83" fmla="*/ 1534 h 2062"/>
                  <a:gd name="T84" fmla="*/ 909 w 2711"/>
                  <a:gd name="T85" fmla="*/ 1715 h 2062"/>
                  <a:gd name="T86" fmla="*/ 1065 w 2711"/>
                  <a:gd name="T87" fmla="*/ 1715 h 2062"/>
                  <a:gd name="T88" fmla="*/ 1065 w 2711"/>
                  <a:gd name="T89" fmla="*/ 1995 h 2062"/>
                  <a:gd name="T90" fmla="*/ 998 w 2711"/>
                  <a:gd name="T91" fmla="*/ 2062 h 2062"/>
                  <a:gd name="T92" fmla="*/ 67 w 2711"/>
                  <a:gd name="T93" fmla="*/ 2062 h 2062"/>
                  <a:gd name="T94" fmla="*/ 0 w 2711"/>
                  <a:gd name="T95" fmla="*/ 1995 h 2062"/>
                  <a:gd name="T96" fmla="*/ 0 w 2711"/>
                  <a:gd name="T97" fmla="*/ 66 h 2062"/>
                  <a:gd name="T98" fmla="*/ 67 w 2711"/>
                  <a:gd name="T99" fmla="*/ 0 h 2062"/>
                  <a:gd name="T100" fmla="*/ 998 w 2711"/>
                  <a:gd name="T101" fmla="*/ 0 h 2062"/>
                  <a:gd name="T102" fmla="*/ 1065 w 2711"/>
                  <a:gd name="T103" fmla="*/ 66 h 2062"/>
                  <a:gd name="T104" fmla="*/ 1065 w 2711"/>
                  <a:gd name="T105" fmla="*/ 253 h 2062"/>
                  <a:gd name="T106" fmla="*/ 430 w 2711"/>
                  <a:gd name="T107" fmla="*/ 1569 h 2062"/>
                  <a:gd name="T108" fmla="*/ 532 w 2711"/>
                  <a:gd name="T109" fmla="*/ 1672 h 2062"/>
                  <a:gd name="T110" fmla="*/ 635 w 2711"/>
                  <a:gd name="T111" fmla="*/ 1569 h 2062"/>
                  <a:gd name="T112" fmla="*/ 532 w 2711"/>
                  <a:gd name="T113" fmla="*/ 1466 h 2062"/>
                  <a:gd name="T114" fmla="*/ 430 w 2711"/>
                  <a:gd name="T115" fmla="*/ 1569 h 20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711" h="2062">
                    <a:moveTo>
                      <a:pt x="2664" y="1581"/>
                    </a:moveTo>
                    <a:lnTo>
                      <a:pt x="909" y="1581"/>
                    </a:lnTo>
                    <a:cubicBezTo>
                      <a:pt x="883" y="1581"/>
                      <a:pt x="861" y="1560"/>
                      <a:pt x="861" y="1534"/>
                    </a:cubicBezTo>
                    <a:lnTo>
                      <a:pt x="861" y="434"/>
                    </a:lnTo>
                    <a:cubicBezTo>
                      <a:pt x="861" y="407"/>
                      <a:pt x="883" y="386"/>
                      <a:pt x="909" y="386"/>
                    </a:cubicBezTo>
                    <a:lnTo>
                      <a:pt x="2664" y="386"/>
                    </a:lnTo>
                    <a:cubicBezTo>
                      <a:pt x="2690" y="386"/>
                      <a:pt x="2711" y="408"/>
                      <a:pt x="2711" y="434"/>
                    </a:cubicBezTo>
                    <a:lnTo>
                      <a:pt x="2711" y="1534"/>
                    </a:lnTo>
                    <a:cubicBezTo>
                      <a:pt x="2711" y="1560"/>
                      <a:pt x="2690" y="1581"/>
                      <a:pt x="2664" y="1581"/>
                    </a:cubicBezTo>
                    <a:close/>
                    <a:moveTo>
                      <a:pt x="2177" y="1928"/>
                    </a:moveTo>
                    <a:lnTo>
                      <a:pt x="2000" y="1928"/>
                    </a:lnTo>
                    <a:lnTo>
                      <a:pt x="2000" y="1715"/>
                    </a:lnTo>
                    <a:lnTo>
                      <a:pt x="1573" y="1715"/>
                    </a:lnTo>
                    <a:lnTo>
                      <a:pt x="1573" y="1928"/>
                    </a:lnTo>
                    <a:lnTo>
                      <a:pt x="1395" y="1928"/>
                    </a:lnTo>
                    <a:cubicBezTo>
                      <a:pt x="1358" y="1928"/>
                      <a:pt x="1329" y="1958"/>
                      <a:pt x="1329" y="1995"/>
                    </a:cubicBezTo>
                    <a:cubicBezTo>
                      <a:pt x="1329" y="2032"/>
                      <a:pt x="1358" y="2062"/>
                      <a:pt x="1395" y="2062"/>
                    </a:cubicBezTo>
                    <a:lnTo>
                      <a:pt x="1640" y="2062"/>
                    </a:lnTo>
                    <a:lnTo>
                      <a:pt x="1933" y="2062"/>
                    </a:lnTo>
                    <a:lnTo>
                      <a:pt x="2177" y="2062"/>
                    </a:lnTo>
                    <a:cubicBezTo>
                      <a:pt x="2214" y="2062"/>
                      <a:pt x="2244" y="2032"/>
                      <a:pt x="2244" y="1995"/>
                    </a:cubicBezTo>
                    <a:cubicBezTo>
                      <a:pt x="2244" y="1958"/>
                      <a:pt x="2214" y="1928"/>
                      <a:pt x="2177" y="1928"/>
                    </a:cubicBezTo>
                    <a:close/>
                    <a:moveTo>
                      <a:pt x="1065" y="253"/>
                    </a:moveTo>
                    <a:lnTo>
                      <a:pt x="909" y="253"/>
                    </a:lnTo>
                    <a:cubicBezTo>
                      <a:pt x="899" y="253"/>
                      <a:pt x="890" y="254"/>
                      <a:pt x="880" y="255"/>
                    </a:cubicBezTo>
                    <a:cubicBezTo>
                      <a:pt x="875" y="254"/>
                      <a:pt x="869" y="253"/>
                      <a:pt x="863" y="253"/>
                    </a:cubicBezTo>
                    <a:lnTo>
                      <a:pt x="201" y="253"/>
                    </a:lnTo>
                    <a:cubicBezTo>
                      <a:pt x="164" y="253"/>
                      <a:pt x="135" y="283"/>
                      <a:pt x="135" y="320"/>
                    </a:cubicBezTo>
                    <a:cubicBezTo>
                      <a:pt x="135" y="356"/>
                      <a:pt x="164" y="386"/>
                      <a:pt x="201" y="386"/>
                    </a:cubicBezTo>
                    <a:lnTo>
                      <a:pt x="735" y="386"/>
                    </a:lnTo>
                    <a:cubicBezTo>
                      <a:pt x="730" y="401"/>
                      <a:pt x="728" y="417"/>
                      <a:pt x="728" y="434"/>
                    </a:cubicBezTo>
                    <a:lnTo>
                      <a:pt x="728" y="558"/>
                    </a:lnTo>
                    <a:lnTo>
                      <a:pt x="201" y="558"/>
                    </a:lnTo>
                    <a:cubicBezTo>
                      <a:pt x="164" y="558"/>
                      <a:pt x="135" y="588"/>
                      <a:pt x="135" y="624"/>
                    </a:cubicBezTo>
                    <a:cubicBezTo>
                      <a:pt x="135" y="661"/>
                      <a:pt x="164" y="691"/>
                      <a:pt x="201" y="691"/>
                    </a:cubicBezTo>
                    <a:lnTo>
                      <a:pt x="728" y="691"/>
                    </a:lnTo>
                    <a:lnTo>
                      <a:pt x="728" y="863"/>
                    </a:lnTo>
                    <a:lnTo>
                      <a:pt x="201" y="863"/>
                    </a:lnTo>
                    <a:cubicBezTo>
                      <a:pt x="164" y="863"/>
                      <a:pt x="135" y="893"/>
                      <a:pt x="135" y="929"/>
                    </a:cubicBezTo>
                    <a:cubicBezTo>
                      <a:pt x="135" y="966"/>
                      <a:pt x="164" y="996"/>
                      <a:pt x="201" y="996"/>
                    </a:cubicBezTo>
                    <a:lnTo>
                      <a:pt x="728" y="996"/>
                    </a:lnTo>
                    <a:lnTo>
                      <a:pt x="728" y="1534"/>
                    </a:lnTo>
                    <a:cubicBezTo>
                      <a:pt x="728" y="1633"/>
                      <a:pt x="809" y="1715"/>
                      <a:pt x="909" y="1715"/>
                    </a:cubicBezTo>
                    <a:lnTo>
                      <a:pt x="1065" y="1715"/>
                    </a:lnTo>
                    <a:lnTo>
                      <a:pt x="1065" y="1995"/>
                    </a:lnTo>
                    <a:cubicBezTo>
                      <a:pt x="1065" y="2032"/>
                      <a:pt x="1035" y="2062"/>
                      <a:pt x="998" y="2062"/>
                    </a:cubicBezTo>
                    <a:lnTo>
                      <a:pt x="67" y="2062"/>
                    </a:lnTo>
                    <a:cubicBezTo>
                      <a:pt x="30" y="2062"/>
                      <a:pt x="0" y="2032"/>
                      <a:pt x="0" y="1995"/>
                    </a:cubicBezTo>
                    <a:lnTo>
                      <a:pt x="0" y="66"/>
                    </a:lnTo>
                    <a:cubicBezTo>
                      <a:pt x="0" y="29"/>
                      <a:pt x="30" y="0"/>
                      <a:pt x="67" y="0"/>
                    </a:cubicBezTo>
                    <a:lnTo>
                      <a:pt x="998" y="0"/>
                    </a:lnTo>
                    <a:cubicBezTo>
                      <a:pt x="1035" y="0"/>
                      <a:pt x="1065" y="29"/>
                      <a:pt x="1065" y="66"/>
                    </a:cubicBezTo>
                    <a:lnTo>
                      <a:pt x="1065" y="253"/>
                    </a:lnTo>
                    <a:close/>
                    <a:moveTo>
                      <a:pt x="430" y="1569"/>
                    </a:moveTo>
                    <a:cubicBezTo>
                      <a:pt x="430" y="1626"/>
                      <a:pt x="476" y="1672"/>
                      <a:pt x="532" y="1672"/>
                    </a:cubicBezTo>
                    <a:cubicBezTo>
                      <a:pt x="589" y="1672"/>
                      <a:pt x="635" y="1626"/>
                      <a:pt x="635" y="1569"/>
                    </a:cubicBezTo>
                    <a:cubicBezTo>
                      <a:pt x="635" y="1512"/>
                      <a:pt x="589" y="1466"/>
                      <a:pt x="532" y="1466"/>
                    </a:cubicBezTo>
                    <a:cubicBezTo>
                      <a:pt x="476" y="1466"/>
                      <a:pt x="430" y="1512"/>
                      <a:pt x="430" y="1569"/>
                    </a:cubicBezTo>
                    <a:close/>
                  </a:path>
                </a:pathLst>
              </a:custGeom>
              <a:solidFill>
                <a:schemeClr val="accent1">
                  <a:lumMod val="40000"/>
                  <a:lumOff val="60000"/>
                </a:schemeClr>
              </a:solidFill>
              <a:ln w="9525">
                <a:noFill/>
                <a:round/>
                <a:headEnd/>
                <a:tailEnd/>
              </a:ln>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endParaRPr dirty="0"/>
              </a:p>
            </p:txBody>
          </p:sp>
          <p:sp>
            <p:nvSpPr>
              <p:cNvPr id="22" name="îş1idé">
                <a:extLst>
                  <a:ext uri="{FF2B5EF4-FFF2-40B4-BE49-F238E27FC236}">
                    <a16:creationId xmlns:a16="http://schemas.microsoft.com/office/drawing/2014/main" id="{17DAC962-691D-4662-A12F-7048BE7D2084}"/>
                  </a:ext>
                </a:extLst>
              </p:cNvPr>
              <p:cNvSpPr txBox="1"/>
              <p:nvPr/>
            </p:nvSpPr>
            <p:spPr>
              <a:xfrm>
                <a:off x="4185162" y="4340175"/>
                <a:ext cx="2328027" cy="678094"/>
              </a:xfrm>
              <a:prstGeom prst="rect">
                <a:avLst/>
              </a:prstGeom>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l">
                  <a:buFont typeface="Arial" panose="020B0604020202020204" pitchFamily="34" charset="0"/>
                  <a:buChar char="•"/>
                </a:pPr>
                <a:r>
                  <a:rPr lang="zh-CN" altLang="en-US" sz="1200" b="0" i="0" dirty="0">
                    <a:solidFill>
                      <a:srgbClr val="0D0016"/>
                    </a:solidFill>
                    <a:effectLst/>
                    <a:latin typeface="-apple-system"/>
                  </a:rPr>
                  <a:t>用例是系统中的一个功能单元</a:t>
                </a:r>
                <a:endParaRPr lang="zh-CN" altLang="en-US" sz="1200" b="0" i="0" dirty="0">
                  <a:solidFill>
                    <a:srgbClr val="333333"/>
                  </a:solidFill>
                  <a:effectLst/>
                  <a:latin typeface="-apple-system"/>
                </a:endParaRPr>
              </a:p>
            </p:txBody>
          </p:sp>
        </p:grpSp>
        <p:sp>
          <p:nvSpPr>
            <p:cNvPr id="19" name="î$ḻîḋe">
              <a:extLst>
                <a:ext uri="{FF2B5EF4-FFF2-40B4-BE49-F238E27FC236}">
                  <a16:creationId xmlns:a16="http://schemas.microsoft.com/office/drawing/2014/main" id="{2FE4F874-C2AD-49C6-92CB-1DB1977DE9D6}"/>
                </a:ext>
              </a:extLst>
            </p:cNvPr>
            <p:cNvSpPr txBox="1"/>
            <p:nvPr/>
          </p:nvSpPr>
          <p:spPr>
            <a:xfrm>
              <a:off x="6313397" y="4341499"/>
              <a:ext cx="2328027" cy="678094"/>
            </a:xfrm>
            <a:prstGeom prst="rect">
              <a:avLst/>
            </a:prstGeom>
          </p:spPr>
          <p:txBody>
            <a:bodyPr wrap="square" lIns="91440" tIns="45720" rIns="91440" bIns="45720" anchor="t" anchorCtr="0">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lnSpc>
                  <a:spcPct val="120000"/>
                </a:lnSpc>
              </a:pPr>
              <a:r>
                <a:rPr lang="zh-CN" altLang="en-US" sz="1200" dirty="0">
                  <a:latin typeface="+mn-ea"/>
                </a:rPr>
                <a:t>用例图列出系统中的用例和系统外的参与者，并显示哪个参与者参与了哪个用例的执行</a:t>
              </a:r>
              <a:r>
                <a:rPr lang="en-US" altLang="zh-CN" sz="1200" dirty="0">
                  <a:latin typeface="+mn-ea"/>
                </a:rPr>
                <a:t>(</a:t>
              </a:r>
              <a:r>
                <a:rPr lang="zh-CN" altLang="en-US" sz="1200" dirty="0">
                  <a:latin typeface="+mn-ea"/>
                </a:rPr>
                <a:t>或称为发起了哪个用例</a:t>
              </a:r>
              <a:r>
                <a:rPr lang="en-US" altLang="zh-CN" sz="1200" dirty="0">
                  <a:latin typeface="+mn-ea"/>
                </a:rPr>
                <a:t>)</a:t>
              </a:r>
            </a:p>
          </p:txBody>
        </p:sp>
        <p:grpSp>
          <p:nvGrpSpPr>
            <p:cNvPr id="12" name="iS1iḋè">
              <a:extLst>
                <a:ext uri="{FF2B5EF4-FFF2-40B4-BE49-F238E27FC236}">
                  <a16:creationId xmlns:a16="http://schemas.microsoft.com/office/drawing/2014/main" id="{787C7075-EE89-4657-BFD4-776087DE84C0}"/>
                </a:ext>
              </a:extLst>
            </p:cNvPr>
            <p:cNvGrpSpPr/>
            <p:nvPr/>
          </p:nvGrpSpPr>
          <p:grpSpPr>
            <a:xfrm>
              <a:off x="9183456" y="3563818"/>
              <a:ext cx="2328027" cy="1468625"/>
              <a:chOff x="4141555" y="3507306"/>
              <a:chExt cx="2328027" cy="1468625"/>
            </a:xfrm>
          </p:grpSpPr>
          <p:sp>
            <p:nvSpPr>
              <p:cNvPr id="15" name="ïŝľïḋê">
                <a:extLst>
                  <a:ext uri="{FF2B5EF4-FFF2-40B4-BE49-F238E27FC236}">
                    <a16:creationId xmlns:a16="http://schemas.microsoft.com/office/drawing/2014/main" id="{B3862B97-B0C0-4AC8-9161-A5879FD5FDC9}"/>
                  </a:ext>
                </a:extLst>
              </p:cNvPr>
              <p:cNvSpPr/>
              <p:nvPr/>
            </p:nvSpPr>
            <p:spPr bwMode="auto">
              <a:xfrm>
                <a:off x="4958704" y="3507306"/>
                <a:ext cx="708563" cy="683960"/>
              </a:xfrm>
              <a:custGeom>
                <a:avLst/>
                <a:gdLst>
                  <a:gd name="connsiteX0" fmla="*/ 147225 w 603618"/>
                  <a:gd name="connsiteY0" fmla="*/ 418175 h 582659"/>
                  <a:gd name="connsiteX1" fmla="*/ 129666 w 603618"/>
                  <a:gd name="connsiteY1" fmla="*/ 424618 h 582659"/>
                  <a:gd name="connsiteX2" fmla="*/ 159231 w 603618"/>
                  <a:gd name="connsiteY2" fmla="*/ 444246 h 582659"/>
                  <a:gd name="connsiteX3" fmla="*/ 147225 w 603618"/>
                  <a:gd name="connsiteY3" fmla="*/ 418175 h 582659"/>
                  <a:gd name="connsiteX4" fmla="*/ 235619 w 603618"/>
                  <a:gd name="connsiteY4" fmla="*/ 400345 h 582659"/>
                  <a:gd name="connsiteX5" fmla="*/ 196149 w 603618"/>
                  <a:gd name="connsiteY5" fmla="*/ 405440 h 582659"/>
                  <a:gd name="connsiteX6" fmla="*/ 235619 w 603618"/>
                  <a:gd name="connsiteY6" fmla="*/ 461476 h 582659"/>
                  <a:gd name="connsiteX7" fmla="*/ 453241 w 603618"/>
                  <a:gd name="connsiteY7" fmla="*/ 335186 h 582659"/>
                  <a:gd name="connsiteX8" fmla="*/ 453241 w 603618"/>
                  <a:gd name="connsiteY8" fmla="*/ 501720 h 582659"/>
                  <a:gd name="connsiteX9" fmla="*/ 410469 w 603618"/>
                  <a:gd name="connsiteY9" fmla="*/ 458889 h 582659"/>
                  <a:gd name="connsiteX10" fmla="*/ 379853 w 603618"/>
                  <a:gd name="connsiteY10" fmla="*/ 363192 h 582659"/>
                  <a:gd name="connsiteX11" fmla="*/ 453242 w 603618"/>
                  <a:gd name="connsiteY11" fmla="*/ 304902 h 582659"/>
                  <a:gd name="connsiteX12" fmla="*/ 444688 w 603618"/>
                  <a:gd name="connsiteY12" fmla="*/ 306400 h 582659"/>
                  <a:gd name="connsiteX13" fmla="*/ 364853 w 603618"/>
                  <a:gd name="connsiteY13" fmla="*/ 336813 h 582659"/>
                  <a:gd name="connsiteX14" fmla="*/ 349547 w 603618"/>
                  <a:gd name="connsiteY14" fmla="*/ 361682 h 582659"/>
                  <a:gd name="connsiteX15" fmla="*/ 453242 w 603618"/>
                  <a:gd name="connsiteY15" fmla="*/ 531722 h 582659"/>
                  <a:gd name="connsiteX16" fmla="*/ 556936 w 603618"/>
                  <a:gd name="connsiteY16" fmla="*/ 361682 h 582659"/>
                  <a:gd name="connsiteX17" fmla="*/ 541630 w 603618"/>
                  <a:gd name="connsiteY17" fmla="*/ 336813 h 582659"/>
                  <a:gd name="connsiteX18" fmla="*/ 461795 w 603618"/>
                  <a:gd name="connsiteY18" fmla="*/ 306400 h 582659"/>
                  <a:gd name="connsiteX19" fmla="*/ 453242 w 603618"/>
                  <a:gd name="connsiteY19" fmla="*/ 304902 h 582659"/>
                  <a:gd name="connsiteX20" fmla="*/ 170186 w 603618"/>
                  <a:gd name="connsiteY20" fmla="*/ 285126 h 582659"/>
                  <a:gd name="connsiteX21" fmla="*/ 180542 w 603618"/>
                  <a:gd name="connsiteY21" fmla="*/ 357794 h 582659"/>
                  <a:gd name="connsiteX22" fmla="*/ 235619 w 603618"/>
                  <a:gd name="connsiteY22" fmla="*/ 350452 h 582659"/>
                  <a:gd name="connsiteX23" fmla="*/ 235619 w 603618"/>
                  <a:gd name="connsiteY23" fmla="*/ 285126 h 582659"/>
                  <a:gd name="connsiteX24" fmla="*/ 51476 w 603618"/>
                  <a:gd name="connsiteY24" fmla="*/ 285126 h 582659"/>
                  <a:gd name="connsiteX25" fmla="*/ 92297 w 603618"/>
                  <a:gd name="connsiteY25" fmla="*/ 386261 h 582659"/>
                  <a:gd name="connsiteX26" fmla="*/ 132217 w 603618"/>
                  <a:gd name="connsiteY26" fmla="*/ 370679 h 582659"/>
                  <a:gd name="connsiteX27" fmla="*/ 120211 w 603618"/>
                  <a:gd name="connsiteY27" fmla="*/ 285126 h 582659"/>
                  <a:gd name="connsiteX28" fmla="*/ 453242 w 603618"/>
                  <a:gd name="connsiteY28" fmla="*/ 253965 h 582659"/>
                  <a:gd name="connsiteX29" fmla="*/ 465697 w 603618"/>
                  <a:gd name="connsiteY29" fmla="*/ 256362 h 582659"/>
                  <a:gd name="connsiteX30" fmla="*/ 581247 w 603618"/>
                  <a:gd name="connsiteY30" fmla="*/ 300407 h 582659"/>
                  <a:gd name="connsiteX31" fmla="*/ 603456 w 603618"/>
                  <a:gd name="connsiteY31" fmla="*/ 336363 h 582659"/>
                  <a:gd name="connsiteX32" fmla="*/ 453242 w 603618"/>
                  <a:gd name="connsiteY32" fmla="*/ 582659 h 582659"/>
                  <a:gd name="connsiteX33" fmla="*/ 303027 w 603618"/>
                  <a:gd name="connsiteY33" fmla="*/ 336363 h 582659"/>
                  <a:gd name="connsiteX34" fmla="*/ 325236 w 603618"/>
                  <a:gd name="connsiteY34" fmla="*/ 300407 h 582659"/>
                  <a:gd name="connsiteX35" fmla="*/ 440786 w 603618"/>
                  <a:gd name="connsiteY35" fmla="*/ 256362 h 582659"/>
                  <a:gd name="connsiteX36" fmla="*/ 453242 w 603618"/>
                  <a:gd name="connsiteY36" fmla="*/ 253965 h 582659"/>
                  <a:gd name="connsiteX37" fmla="*/ 338422 w 603618"/>
                  <a:gd name="connsiteY37" fmla="*/ 162865 h 582659"/>
                  <a:gd name="connsiteX38" fmla="*/ 285595 w 603618"/>
                  <a:gd name="connsiteY38" fmla="*/ 169607 h 582659"/>
                  <a:gd name="connsiteX39" fmla="*/ 285595 w 603618"/>
                  <a:gd name="connsiteY39" fmla="*/ 235083 h 582659"/>
                  <a:gd name="connsiteX40" fmla="*/ 348627 w 603618"/>
                  <a:gd name="connsiteY40" fmla="*/ 235083 h 582659"/>
                  <a:gd name="connsiteX41" fmla="*/ 338422 w 603618"/>
                  <a:gd name="connsiteY41" fmla="*/ 162865 h 582659"/>
                  <a:gd name="connsiteX42" fmla="*/ 180542 w 603618"/>
                  <a:gd name="connsiteY42" fmla="*/ 162415 h 582659"/>
                  <a:gd name="connsiteX43" fmla="*/ 170186 w 603618"/>
                  <a:gd name="connsiteY43" fmla="*/ 235083 h 582659"/>
                  <a:gd name="connsiteX44" fmla="*/ 235619 w 603618"/>
                  <a:gd name="connsiteY44" fmla="*/ 235083 h 582659"/>
                  <a:gd name="connsiteX45" fmla="*/ 235619 w 603618"/>
                  <a:gd name="connsiteY45" fmla="*/ 169607 h 582659"/>
                  <a:gd name="connsiteX46" fmla="*/ 180542 w 603618"/>
                  <a:gd name="connsiteY46" fmla="*/ 162415 h 582659"/>
                  <a:gd name="connsiteX47" fmla="*/ 92297 w 603618"/>
                  <a:gd name="connsiteY47" fmla="*/ 133948 h 582659"/>
                  <a:gd name="connsiteX48" fmla="*/ 51476 w 603618"/>
                  <a:gd name="connsiteY48" fmla="*/ 235083 h 582659"/>
                  <a:gd name="connsiteX49" fmla="*/ 120211 w 603618"/>
                  <a:gd name="connsiteY49" fmla="*/ 235083 h 582659"/>
                  <a:gd name="connsiteX50" fmla="*/ 132217 w 603618"/>
                  <a:gd name="connsiteY50" fmla="*/ 149530 h 582659"/>
                  <a:gd name="connsiteX51" fmla="*/ 92297 w 603618"/>
                  <a:gd name="connsiteY51" fmla="*/ 133948 h 582659"/>
                  <a:gd name="connsiteX52" fmla="*/ 159231 w 603618"/>
                  <a:gd name="connsiteY52" fmla="*/ 75814 h 582659"/>
                  <a:gd name="connsiteX53" fmla="*/ 129666 w 603618"/>
                  <a:gd name="connsiteY53" fmla="*/ 95591 h 582659"/>
                  <a:gd name="connsiteX54" fmla="*/ 147225 w 603618"/>
                  <a:gd name="connsiteY54" fmla="*/ 102034 h 582659"/>
                  <a:gd name="connsiteX55" fmla="*/ 159231 w 603618"/>
                  <a:gd name="connsiteY55" fmla="*/ 75814 h 582659"/>
                  <a:gd name="connsiteX56" fmla="*/ 358682 w 603618"/>
                  <a:gd name="connsiteY56" fmla="*/ 74165 h 582659"/>
                  <a:gd name="connsiteX57" fmla="*/ 371888 w 603618"/>
                  <a:gd name="connsiteY57" fmla="*/ 102783 h 582659"/>
                  <a:gd name="connsiteX58" fmla="*/ 391548 w 603618"/>
                  <a:gd name="connsiteY58" fmla="*/ 95591 h 582659"/>
                  <a:gd name="connsiteX59" fmla="*/ 358682 w 603618"/>
                  <a:gd name="connsiteY59" fmla="*/ 74165 h 582659"/>
                  <a:gd name="connsiteX60" fmla="*/ 285595 w 603618"/>
                  <a:gd name="connsiteY60" fmla="*/ 60381 h 582659"/>
                  <a:gd name="connsiteX61" fmla="*/ 285595 w 603618"/>
                  <a:gd name="connsiteY61" fmla="*/ 119864 h 582659"/>
                  <a:gd name="connsiteX62" fmla="*/ 322964 w 603618"/>
                  <a:gd name="connsiteY62" fmla="*/ 115219 h 582659"/>
                  <a:gd name="connsiteX63" fmla="*/ 285595 w 603618"/>
                  <a:gd name="connsiteY63" fmla="*/ 60381 h 582659"/>
                  <a:gd name="connsiteX64" fmla="*/ 235619 w 603618"/>
                  <a:gd name="connsiteY64" fmla="*/ 58583 h 582659"/>
                  <a:gd name="connsiteX65" fmla="*/ 196149 w 603618"/>
                  <a:gd name="connsiteY65" fmla="*/ 114769 h 582659"/>
                  <a:gd name="connsiteX66" fmla="*/ 235619 w 603618"/>
                  <a:gd name="connsiteY66" fmla="*/ 119864 h 582659"/>
                  <a:gd name="connsiteX67" fmla="*/ 259482 w 603618"/>
                  <a:gd name="connsiteY67" fmla="*/ 0 h 582659"/>
                  <a:gd name="connsiteX68" fmla="*/ 260532 w 603618"/>
                  <a:gd name="connsiteY68" fmla="*/ 0 h 582659"/>
                  <a:gd name="connsiteX69" fmla="*/ 520914 w 603618"/>
                  <a:gd name="connsiteY69" fmla="*/ 247369 h 582659"/>
                  <a:gd name="connsiteX70" fmla="*/ 475741 w 603618"/>
                  <a:gd name="connsiteY70" fmla="*/ 230138 h 582659"/>
                  <a:gd name="connsiteX71" fmla="*/ 468688 w 603618"/>
                  <a:gd name="connsiteY71" fmla="*/ 228041 h 582659"/>
                  <a:gd name="connsiteX72" fmla="*/ 428917 w 603618"/>
                  <a:gd name="connsiteY72" fmla="*/ 133948 h 582659"/>
                  <a:gd name="connsiteX73" fmla="*/ 386746 w 603618"/>
                  <a:gd name="connsiteY73" fmla="*/ 150279 h 582659"/>
                  <a:gd name="connsiteX74" fmla="*/ 398752 w 603618"/>
                  <a:gd name="connsiteY74" fmla="*/ 235083 h 582659"/>
                  <a:gd name="connsiteX75" fmla="*/ 417812 w 603618"/>
                  <a:gd name="connsiteY75" fmla="*/ 235083 h 582659"/>
                  <a:gd name="connsiteX76" fmla="*/ 315310 w 603618"/>
                  <a:gd name="connsiteY76" fmla="*/ 274188 h 582659"/>
                  <a:gd name="connsiteX77" fmla="*/ 297001 w 603618"/>
                  <a:gd name="connsiteY77" fmla="*/ 285126 h 582659"/>
                  <a:gd name="connsiteX78" fmla="*/ 285595 w 603618"/>
                  <a:gd name="connsiteY78" fmla="*/ 285126 h 582659"/>
                  <a:gd name="connsiteX79" fmla="*/ 285595 w 603618"/>
                  <a:gd name="connsiteY79" fmla="*/ 297861 h 582659"/>
                  <a:gd name="connsiteX80" fmla="*/ 275089 w 603618"/>
                  <a:gd name="connsiteY80" fmla="*/ 339065 h 582659"/>
                  <a:gd name="connsiteX81" fmla="*/ 285895 w 603618"/>
                  <a:gd name="connsiteY81" fmla="*/ 400345 h 582659"/>
                  <a:gd name="connsiteX82" fmla="*/ 285595 w 603618"/>
                  <a:gd name="connsiteY82" fmla="*/ 400345 h 582659"/>
                  <a:gd name="connsiteX83" fmla="*/ 285595 w 603618"/>
                  <a:gd name="connsiteY83" fmla="*/ 459828 h 582659"/>
                  <a:gd name="connsiteX84" fmla="*/ 299552 w 603618"/>
                  <a:gd name="connsiteY84" fmla="*/ 445594 h 582659"/>
                  <a:gd name="connsiteX85" fmla="*/ 328516 w 603618"/>
                  <a:gd name="connsiteY85" fmla="*/ 511219 h 582659"/>
                  <a:gd name="connsiteX86" fmla="*/ 259482 w 603618"/>
                  <a:gd name="connsiteY86" fmla="*/ 520209 h 582659"/>
                  <a:gd name="connsiteX87" fmla="*/ 0 w 603618"/>
                  <a:gd name="connsiteY87" fmla="*/ 260104 h 582659"/>
                  <a:gd name="connsiteX88" fmla="*/ 259482 w 603618"/>
                  <a:gd name="connsiteY88" fmla="*/ 0 h 582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603618" h="582659">
                    <a:moveTo>
                      <a:pt x="147225" y="418175"/>
                    </a:moveTo>
                    <a:cubicBezTo>
                      <a:pt x="141372" y="420123"/>
                      <a:pt x="135519" y="422221"/>
                      <a:pt x="129666" y="424618"/>
                    </a:cubicBezTo>
                    <a:cubicBezTo>
                      <a:pt x="138970" y="431959"/>
                      <a:pt x="148875" y="438552"/>
                      <a:pt x="159231" y="444246"/>
                    </a:cubicBezTo>
                    <a:cubicBezTo>
                      <a:pt x="155179" y="436604"/>
                      <a:pt x="151277" y="428364"/>
                      <a:pt x="147225" y="418175"/>
                    </a:cubicBezTo>
                    <a:close/>
                    <a:moveTo>
                      <a:pt x="235619" y="400345"/>
                    </a:moveTo>
                    <a:cubicBezTo>
                      <a:pt x="222413" y="401244"/>
                      <a:pt x="209206" y="402893"/>
                      <a:pt x="196149" y="405440"/>
                    </a:cubicBezTo>
                    <a:cubicBezTo>
                      <a:pt x="204704" y="425367"/>
                      <a:pt x="217910" y="448740"/>
                      <a:pt x="235619" y="461476"/>
                    </a:cubicBezTo>
                    <a:close/>
                    <a:moveTo>
                      <a:pt x="453241" y="335186"/>
                    </a:moveTo>
                    <a:lnTo>
                      <a:pt x="453241" y="501720"/>
                    </a:lnTo>
                    <a:cubicBezTo>
                      <a:pt x="444386" y="501720"/>
                      <a:pt x="427728" y="490488"/>
                      <a:pt x="410469" y="458889"/>
                    </a:cubicBezTo>
                    <a:cubicBezTo>
                      <a:pt x="395161" y="431033"/>
                      <a:pt x="383605" y="394791"/>
                      <a:pt x="379853" y="363192"/>
                    </a:cubicBezTo>
                    <a:close/>
                    <a:moveTo>
                      <a:pt x="453242" y="304902"/>
                    </a:moveTo>
                    <a:cubicBezTo>
                      <a:pt x="450390" y="304902"/>
                      <a:pt x="447389" y="305351"/>
                      <a:pt x="444688" y="306400"/>
                    </a:cubicBezTo>
                    <a:lnTo>
                      <a:pt x="364853" y="336813"/>
                    </a:lnTo>
                    <a:cubicBezTo>
                      <a:pt x="354799" y="340708"/>
                      <a:pt x="348496" y="350896"/>
                      <a:pt x="349547" y="361682"/>
                    </a:cubicBezTo>
                    <a:cubicBezTo>
                      <a:pt x="356450" y="432395"/>
                      <a:pt x="400119" y="531722"/>
                      <a:pt x="453242" y="531722"/>
                    </a:cubicBezTo>
                    <a:cubicBezTo>
                      <a:pt x="506364" y="531722"/>
                      <a:pt x="550033" y="432395"/>
                      <a:pt x="556936" y="361682"/>
                    </a:cubicBezTo>
                    <a:cubicBezTo>
                      <a:pt x="558137" y="350896"/>
                      <a:pt x="551834" y="340708"/>
                      <a:pt x="541630" y="336813"/>
                    </a:cubicBezTo>
                    <a:lnTo>
                      <a:pt x="461795" y="306400"/>
                    </a:lnTo>
                    <a:cubicBezTo>
                      <a:pt x="459094" y="305351"/>
                      <a:pt x="456093" y="304902"/>
                      <a:pt x="453242" y="304902"/>
                    </a:cubicBezTo>
                    <a:close/>
                    <a:moveTo>
                      <a:pt x="170186" y="285126"/>
                    </a:moveTo>
                    <a:cubicBezTo>
                      <a:pt x="171687" y="310597"/>
                      <a:pt x="175139" y="335169"/>
                      <a:pt x="180542" y="357794"/>
                    </a:cubicBezTo>
                    <a:cubicBezTo>
                      <a:pt x="198701" y="354048"/>
                      <a:pt x="217160" y="351651"/>
                      <a:pt x="235619" y="350452"/>
                    </a:cubicBezTo>
                    <a:lnTo>
                      <a:pt x="235619" y="285126"/>
                    </a:lnTo>
                    <a:close/>
                    <a:moveTo>
                      <a:pt x="51476" y="285126"/>
                    </a:moveTo>
                    <a:cubicBezTo>
                      <a:pt x="55978" y="322733"/>
                      <a:pt x="70536" y="357344"/>
                      <a:pt x="92297" y="386261"/>
                    </a:cubicBezTo>
                    <a:cubicBezTo>
                      <a:pt x="105353" y="380268"/>
                      <a:pt x="118560" y="375174"/>
                      <a:pt x="132217" y="370679"/>
                    </a:cubicBezTo>
                    <a:cubicBezTo>
                      <a:pt x="125764" y="343860"/>
                      <a:pt x="121562" y="314942"/>
                      <a:pt x="120211" y="285126"/>
                    </a:cubicBezTo>
                    <a:close/>
                    <a:moveTo>
                      <a:pt x="453242" y="253965"/>
                    </a:moveTo>
                    <a:cubicBezTo>
                      <a:pt x="457443" y="253965"/>
                      <a:pt x="461645" y="254714"/>
                      <a:pt x="465697" y="256362"/>
                    </a:cubicBezTo>
                    <a:lnTo>
                      <a:pt x="581247" y="300407"/>
                    </a:lnTo>
                    <a:cubicBezTo>
                      <a:pt x="595953" y="305951"/>
                      <a:pt x="604957" y="320782"/>
                      <a:pt x="603456" y="336363"/>
                    </a:cubicBezTo>
                    <a:cubicBezTo>
                      <a:pt x="593402" y="438687"/>
                      <a:pt x="530075" y="582659"/>
                      <a:pt x="453242" y="582659"/>
                    </a:cubicBezTo>
                    <a:cubicBezTo>
                      <a:pt x="376408" y="582659"/>
                      <a:pt x="313081" y="438687"/>
                      <a:pt x="303027" y="336363"/>
                    </a:cubicBezTo>
                    <a:cubicBezTo>
                      <a:pt x="301526" y="320782"/>
                      <a:pt x="310530" y="305951"/>
                      <a:pt x="325236" y="300407"/>
                    </a:cubicBezTo>
                    <a:lnTo>
                      <a:pt x="440786" y="256362"/>
                    </a:lnTo>
                    <a:cubicBezTo>
                      <a:pt x="444838" y="254714"/>
                      <a:pt x="449040" y="253965"/>
                      <a:pt x="453242" y="253965"/>
                    </a:cubicBezTo>
                    <a:close/>
                    <a:moveTo>
                      <a:pt x="338422" y="162865"/>
                    </a:moveTo>
                    <a:cubicBezTo>
                      <a:pt x="321013" y="166311"/>
                      <a:pt x="303304" y="168558"/>
                      <a:pt x="285595" y="169607"/>
                    </a:cubicBezTo>
                    <a:lnTo>
                      <a:pt x="285595" y="235083"/>
                    </a:lnTo>
                    <a:lnTo>
                      <a:pt x="348627" y="235083"/>
                    </a:lnTo>
                    <a:cubicBezTo>
                      <a:pt x="347276" y="209761"/>
                      <a:pt x="343824" y="185339"/>
                      <a:pt x="338422" y="162865"/>
                    </a:cubicBezTo>
                    <a:close/>
                    <a:moveTo>
                      <a:pt x="180542" y="162415"/>
                    </a:moveTo>
                    <a:cubicBezTo>
                      <a:pt x="175139" y="185040"/>
                      <a:pt x="171687" y="209612"/>
                      <a:pt x="170186" y="235083"/>
                    </a:cubicBezTo>
                    <a:lnTo>
                      <a:pt x="235619" y="235083"/>
                    </a:lnTo>
                    <a:lnTo>
                      <a:pt x="235619" y="169607"/>
                    </a:lnTo>
                    <a:cubicBezTo>
                      <a:pt x="217160" y="168558"/>
                      <a:pt x="198701" y="166161"/>
                      <a:pt x="180542" y="162415"/>
                    </a:cubicBezTo>
                    <a:close/>
                    <a:moveTo>
                      <a:pt x="92297" y="133948"/>
                    </a:moveTo>
                    <a:cubicBezTo>
                      <a:pt x="70536" y="162865"/>
                      <a:pt x="55978" y="197475"/>
                      <a:pt x="51476" y="235083"/>
                    </a:cubicBezTo>
                    <a:lnTo>
                      <a:pt x="120211" y="235083"/>
                    </a:lnTo>
                    <a:cubicBezTo>
                      <a:pt x="121562" y="205117"/>
                      <a:pt x="125764" y="176349"/>
                      <a:pt x="132217" y="149530"/>
                    </a:cubicBezTo>
                    <a:cubicBezTo>
                      <a:pt x="118560" y="145035"/>
                      <a:pt x="105353" y="139791"/>
                      <a:pt x="92297" y="133948"/>
                    </a:cubicBezTo>
                    <a:close/>
                    <a:moveTo>
                      <a:pt x="159231" y="75814"/>
                    </a:moveTo>
                    <a:cubicBezTo>
                      <a:pt x="148875" y="81657"/>
                      <a:pt x="138970" y="88249"/>
                      <a:pt x="129666" y="95591"/>
                    </a:cubicBezTo>
                    <a:cubicBezTo>
                      <a:pt x="135519" y="97839"/>
                      <a:pt x="141372" y="100086"/>
                      <a:pt x="147225" y="102034"/>
                    </a:cubicBezTo>
                    <a:cubicBezTo>
                      <a:pt x="151277" y="91845"/>
                      <a:pt x="155179" y="83605"/>
                      <a:pt x="159231" y="75814"/>
                    </a:cubicBezTo>
                    <a:close/>
                    <a:moveTo>
                      <a:pt x="358682" y="74165"/>
                    </a:moveTo>
                    <a:cubicBezTo>
                      <a:pt x="363184" y="82556"/>
                      <a:pt x="367386" y="91546"/>
                      <a:pt x="371888" y="102783"/>
                    </a:cubicBezTo>
                    <a:cubicBezTo>
                      <a:pt x="378492" y="100536"/>
                      <a:pt x="385095" y="98138"/>
                      <a:pt x="391548" y="95591"/>
                    </a:cubicBezTo>
                    <a:cubicBezTo>
                      <a:pt x="381343" y="87500"/>
                      <a:pt x="370238" y="80309"/>
                      <a:pt x="358682" y="74165"/>
                    </a:cubicBezTo>
                    <a:close/>
                    <a:moveTo>
                      <a:pt x="285595" y="60381"/>
                    </a:moveTo>
                    <a:lnTo>
                      <a:pt x="285595" y="119864"/>
                    </a:lnTo>
                    <a:cubicBezTo>
                      <a:pt x="298051" y="118965"/>
                      <a:pt x="310507" y="117466"/>
                      <a:pt x="322964" y="115219"/>
                    </a:cubicBezTo>
                    <a:cubicBezTo>
                      <a:pt x="314559" y="95741"/>
                      <a:pt x="302253" y="73566"/>
                      <a:pt x="285595" y="60381"/>
                    </a:cubicBezTo>
                    <a:close/>
                    <a:moveTo>
                      <a:pt x="235619" y="58583"/>
                    </a:moveTo>
                    <a:cubicBezTo>
                      <a:pt x="217910" y="71469"/>
                      <a:pt x="204704" y="94692"/>
                      <a:pt x="196149" y="114769"/>
                    </a:cubicBezTo>
                    <a:cubicBezTo>
                      <a:pt x="209206" y="117167"/>
                      <a:pt x="222413" y="118965"/>
                      <a:pt x="235619" y="119864"/>
                    </a:cubicBezTo>
                    <a:close/>
                    <a:moveTo>
                      <a:pt x="259482" y="0"/>
                    </a:moveTo>
                    <a:lnTo>
                      <a:pt x="260532" y="0"/>
                    </a:lnTo>
                    <a:cubicBezTo>
                      <a:pt x="399953" y="0"/>
                      <a:pt x="514161" y="109825"/>
                      <a:pt x="520914" y="247369"/>
                    </a:cubicBezTo>
                    <a:lnTo>
                      <a:pt x="475741" y="230138"/>
                    </a:lnTo>
                    <a:cubicBezTo>
                      <a:pt x="473340" y="229239"/>
                      <a:pt x="471089" y="228640"/>
                      <a:pt x="468688" y="228041"/>
                    </a:cubicBezTo>
                    <a:cubicBezTo>
                      <a:pt x="463285" y="193130"/>
                      <a:pt x="449328" y="160917"/>
                      <a:pt x="428917" y="133948"/>
                    </a:cubicBezTo>
                    <a:cubicBezTo>
                      <a:pt x="415260" y="140240"/>
                      <a:pt x="401153" y="145634"/>
                      <a:pt x="386746" y="150279"/>
                    </a:cubicBezTo>
                    <a:cubicBezTo>
                      <a:pt x="393199" y="176799"/>
                      <a:pt x="397251" y="205416"/>
                      <a:pt x="398752" y="235083"/>
                    </a:cubicBezTo>
                    <a:lnTo>
                      <a:pt x="417812" y="235083"/>
                    </a:lnTo>
                    <a:lnTo>
                      <a:pt x="315310" y="274188"/>
                    </a:lnTo>
                    <a:cubicBezTo>
                      <a:pt x="308556" y="276885"/>
                      <a:pt x="302403" y="280481"/>
                      <a:pt x="297001" y="285126"/>
                    </a:cubicBezTo>
                    <a:lnTo>
                      <a:pt x="285595" y="285126"/>
                    </a:lnTo>
                    <a:lnTo>
                      <a:pt x="285595" y="297861"/>
                    </a:lnTo>
                    <a:cubicBezTo>
                      <a:pt x="277641" y="309698"/>
                      <a:pt x="273589" y="324231"/>
                      <a:pt x="275089" y="339065"/>
                    </a:cubicBezTo>
                    <a:cubicBezTo>
                      <a:pt x="277040" y="358992"/>
                      <a:pt x="280792" y="379669"/>
                      <a:pt x="285895" y="400345"/>
                    </a:cubicBezTo>
                    <a:cubicBezTo>
                      <a:pt x="285745" y="400345"/>
                      <a:pt x="285745" y="400345"/>
                      <a:pt x="285595" y="400345"/>
                    </a:cubicBezTo>
                    <a:lnTo>
                      <a:pt x="285595" y="459828"/>
                    </a:lnTo>
                    <a:cubicBezTo>
                      <a:pt x="290397" y="456082"/>
                      <a:pt x="295050" y="451288"/>
                      <a:pt x="299552" y="445594"/>
                    </a:cubicBezTo>
                    <a:cubicBezTo>
                      <a:pt x="307656" y="468818"/>
                      <a:pt x="317411" y="491142"/>
                      <a:pt x="328516" y="511219"/>
                    </a:cubicBezTo>
                    <a:cubicBezTo>
                      <a:pt x="305405" y="517512"/>
                      <a:pt x="282893" y="520209"/>
                      <a:pt x="259482" y="520209"/>
                    </a:cubicBezTo>
                    <a:cubicBezTo>
                      <a:pt x="118260" y="520209"/>
                      <a:pt x="0" y="404541"/>
                      <a:pt x="0" y="260104"/>
                    </a:cubicBezTo>
                    <a:cubicBezTo>
                      <a:pt x="0" y="115519"/>
                      <a:pt x="118560" y="0"/>
                      <a:pt x="259482" y="0"/>
                    </a:cubicBezTo>
                    <a:close/>
                  </a:path>
                </a:pathLst>
              </a:custGeom>
              <a:solidFill>
                <a:schemeClr val="accent2">
                  <a:lumMod val="40000"/>
                  <a:lumOff val="60000"/>
                </a:schemeClr>
              </a:solidFill>
              <a:ln w="9525">
                <a:noFill/>
                <a:round/>
                <a:headEnd/>
                <a:tailEnd/>
              </a:ln>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endParaRPr/>
              </a:p>
            </p:txBody>
          </p:sp>
          <p:sp>
            <p:nvSpPr>
              <p:cNvPr id="16" name="îṧliḍê">
                <a:extLst>
                  <a:ext uri="{FF2B5EF4-FFF2-40B4-BE49-F238E27FC236}">
                    <a16:creationId xmlns:a16="http://schemas.microsoft.com/office/drawing/2014/main" id="{D93C77BC-9FBF-459D-A14D-B2EC75A48C2D}"/>
                  </a:ext>
                </a:extLst>
              </p:cNvPr>
              <p:cNvSpPr txBox="1"/>
              <p:nvPr/>
            </p:nvSpPr>
            <p:spPr>
              <a:xfrm>
                <a:off x="4141555" y="4297837"/>
                <a:ext cx="2328027" cy="678094"/>
              </a:xfrm>
              <a:prstGeom prst="rect">
                <a:avLst/>
              </a:prstGeom>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lnSpc>
                    <a:spcPct val="120000"/>
                  </a:lnSpc>
                </a:pPr>
                <a:r>
                  <a:rPr lang="zh-CN" altLang="en-US" sz="1200" dirty="0">
                    <a:latin typeface="+mn-ea"/>
                  </a:rPr>
                  <a:t>用例图多用于静态建模阶段</a:t>
                </a:r>
                <a:r>
                  <a:rPr lang="en-US" altLang="zh-CN" sz="1200" dirty="0">
                    <a:latin typeface="+mn-ea"/>
                  </a:rPr>
                  <a:t>(</a:t>
                </a:r>
                <a:r>
                  <a:rPr lang="zh-CN" altLang="en-US" sz="1200" dirty="0">
                    <a:latin typeface="+mn-ea"/>
                  </a:rPr>
                  <a:t>主要是业务建模和需求建模</a:t>
                </a:r>
                <a:r>
                  <a:rPr lang="en-US" altLang="zh-CN" sz="1200" dirty="0">
                    <a:latin typeface="+mn-ea"/>
                  </a:rPr>
                  <a:t>)</a:t>
                </a:r>
              </a:p>
            </p:txBody>
          </p:sp>
        </p:grpSp>
        <p:cxnSp>
          <p:nvCxnSpPr>
            <p:cNvPr id="13" name="直接连接符 12">
              <a:extLst>
                <a:ext uri="{FF2B5EF4-FFF2-40B4-BE49-F238E27FC236}">
                  <a16:creationId xmlns:a16="http://schemas.microsoft.com/office/drawing/2014/main" id="{5BE3A93B-7E01-4C5F-B648-74BBB46100D1}"/>
                </a:ext>
              </a:extLst>
            </p:cNvPr>
            <p:cNvCxnSpPr/>
            <p:nvPr/>
          </p:nvCxnSpPr>
          <p:spPr>
            <a:xfrm>
              <a:off x="6032500" y="4336576"/>
              <a:ext cx="0" cy="916627"/>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4" name="直接连接符 13">
              <a:extLst>
                <a:ext uri="{FF2B5EF4-FFF2-40B4-BE49-F238E27FC236}">
                  <a16:creationId xmlns:a16="http://schemas.microsoft.com/office/drawing/2014/main" id="{EC0AB88D-6B23-4D72-8BC7-5975BE9833FE}"/>
                </a:ext>
              </a:extLst>
            </p:cNvPr>
            <p:cNvCxnSpPr/>
            <p:nvPr/>
          </p:nvCxnSpPr>
          <p:spPr>
            <a:xfrm>
              <a:off x="8928100" y="4336576"/>
              <a:ext cx="0" cy="916627"/>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62" name="e-book_21821">
            <a:extLst>
              <a:ext uri="{FF2B5EF4-FFF2-40B4-BE49-F238E27FC236}">
                <a16:creationId xmlns:a16="http://schemas.microsoft.com/office/drawing/2014/main" id="{EBB4F16B-6FE4-4B85-8056-B746F020F0E3}"/>
              </a:ext>
            </a:extLst>
          </p:cNvPr>
          <p:cNvSpPr/>
          <p:nvPr/>
        </p:nvSpPr>
        <p:spPr>
          <a:xfrm>
            <a:off x="7191575" y="3557973"/>
            <a:ext cx="609685" cy="521433"/>
          </a:xfrm>
          <a:custGeom>
            <a:avLst/>
            <a:gdLst>
              <a:gd name="T0" fmla="*/ 902 w 934"/>
              <a:gd name="T1" fmla="*/ 146 h 800"/>
              <a:gd name="T2" fmla="*/ 843 w 934"/>
              <a:gd name="T3" fmla="*/ 76 h 800"/>
              <a:gd name="T4" fmla="*/ 318 w 934"/>
              <a:gd name="T5" fmla="*/ 146 h 800"/>
              <a:gd name="T6" fmla="*/ 193 w 934"/>
              <a:gd name="T7" fmla="*/ 0 h 800"/>
              <a:gd name="T8" fmla="*/ 32 w 934"/>
              <a:gd name="T9" fmla="*/ 146 h 800"/>
              <a:gd name="T10" fmla="*/ 0 w 934"/>
              <a:gd name="T11" fmla="*/ 202 h 800"/>
              <a:gd name="T12" fmla="*/ 934 w 934"/>
              <a:gd name="T13" fmla="*/ 800 h 800"/>
              <a:gd name="T14" fmla="*/ 902 w 934"/>
              <a:gd name="T15" fmla="*/ 202 h 800"/>
              <a:gd name="T16" fmla="*/ 63 w 934"/>
              <a:gd name="T17" fmla="*/ 177 h 800"/>
              <a:gd name="T18" fmla="*/ 193 w 934"/>
              <a:gd name="T19" fmla="*/ 202 h 800"/>
              <a:gd name="T20" fmla="*/ 90 w 934"/>
              <a:gd name="T21" fmla="*/ 440 h 800"/>
              <a:gd name="T22" fmla="*/ 421 w 934"/>
              <a:gd name="T23" fmla="*/ 440 h 800"/>
              <a:gd name="T24" fmla="*/ 318 w 934"/>
              <a:gd name="T25" fmla="*/ 202 h 800"/>
              <a:gd name="T26" fmla="*/ 452 w 934"/>
              <a:gd name="T27" fmla="*/ 177 h 800"/>
              <a:gd name="T28" fmla="*/ 452 w 934"/>
              <a:gd name="T29" fmla="*/ 746 h 800"/>
              <a:gd name="T30" fmla="*/ 63 w 934"/>
              <a:gd name="T31" fmla="*/ 202 h 800"/>
              <a:gd name="T32" fmla="*/ 812 w 934"/>
              <a:gd name="T33" fmla="*/ 114 h 800"/>
              <a:gd name="T34" fmla="*/ 812 w 934"/>
              <a:gd name="T35" fmla="*/ 162 h 800"/>
              <a:gd name="T36" fmla="*/ 812 w 934"/>
              <a:gd name="T37" fmla="*/ 202 h 800"/>
              <a:gd name="T38" fmla="*/ 483 w 934"/>
              <a:gd name="T39" fmla="*/ 743 h 800"/>
              <a:gd name="T40" fmla="*/ 483 w 934"/>
              <a:gd name="T41" fmla="*/ 177 h 800"/>
              <a:gd name="T42" fmla="*/ 553 w 934"/>
              <a:gd name="T43" fmla="*/ 162 h 800"/>
              <a:gd name="T44" fmla="*/ 871 w 934"/>
              <a:gd name="T45" fmla="*/ 202 h 800"/>
              <a:gd name="T46" fmla="*/ 636 w 934"/>
              <a:gd name="T47" fmla="*/ 746 h 800"/>
              <a:gd name="T48" fmla="*/ 843 w 934"/>
              <a:gd name="T49" fmla="*/ 202 h 800"/>
              <a:gd name="T50" fmla="*/ 871 w 934"/>
              <a:gd name="T51" fmla="*/ 177 h 800"/>
              <a:gd name="T52" fmla="*/ 527 w 934"/>
              <a:gd name="T53" fmla="*/ 602 h 800"/>
              <a:gd name="T54" fmla="*/ 766 w 934"/>
              <a:gd name="T55" fmla="*/ 505 h 800"/>
              <a:gd name="T56" fmla="*/ 527 w 934"/>
              <a:gd name="T57" fmla="*/ 602 h 800"/>
              <a:gd name="T58" fmla="*/ 516 w 934"/>
              <a:gd name="T59" fmla="*/ 656 h 800"/>
              <a:gd name="T60" fmla="*/ 771 w 934"/>
              <a:gd name="T61" fmla="*/ 619 h 800"/>
              <a:gd name="T62" fmla="*/ 531 w 934"/>
              <a:gd name="T63" fmla="*/ 282 h 800"/>
              <a:gd name="T64" fmla="*/ 701 w 934"/>
              <a:gd name="T65" fmla="*/ 202 h 800"/>
              <a:gd name="T66" fmla="*/ 767 w 934"/>
              <a:gd name="T67" fmla="*/ 202 h 800"/>
              <a:gd name="T68" fmla="*/ 531 w 934"/>
              <a:gd name="T69" fmla="*/ 282 h 800"/>
              <a:gd name="T70" fmla="*/ 522 w 934"/>
              <a:gd name="T71" fmla="*/ 331 h 800"/>
              <a:gd name="T72" fmla="*/ 771 w 934"/>
              <a:gd name="T73" fmla="*/ 294 h 800"/>
              <a:gd name="T74" fmla="*/ 530 w 934"/>
              <a:gd name="T75" fmla="*/ 441 h 800"/>
              <a:gd name="T76" fmla="*/ 763 w 934"/>
              <a:gd name="T77" fmla="*/ 344 h 800"/>
              <a:gd name="T78" fmla="*/ 530 w 934"/>
              <a:gd name="T79" fmla="*/ 441 h 800"/>
              <a:gd name="T80" fmla="*/ 522 w 934"/>
              <a:gd name="T81" fmla="*/ 490 h 800"/>
              <a:gd name="T82" fmla="*/ 771 w 934"/>
              <a:gd name="T83" fmla="*/ 453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934" h="800">
                <a:moveTo>
                  <a:pt x="902" y="202"/>
                </a:moveTo>
                <a:lnTo>
                  <a:pt x="902" y="146"/>
                </a:lnTo>
                <a:lnTo>
                  <a:pt x="843" y="146"/>
                </a:lnTo>
                <a:lnTo>
                  <a:pt x="843" y="76"/>
                </a:lnTo>
                <a:lnTo>
                  <a:pt x="466" y="146"/>
                </a:lnTo>
                <a:lnTo>
                  <a:pt x="318" y="146"/>
                </a:lnTo>
                <a:lnTo>
                  <a:pt x="318" y="0"/>
                </a:lnTo>
                <a:lnTo>
                  <a:pt x="193" y="0"/>
                </a:lnTo>
                <a:lnTo>
                  <a:pt x="193" y="146"/>
                </a:lnTo>
                <a:lnTo>
                  <a:pt x="32" y="146"/>
                </a:lnTo>
                <a:lnTo>
                  <a:pt x="32" y="202"/>
                </a:lnTo>
                <a:lnTo>
                  <a:pt x="0" y="202"/>
                </a:lnTo>
                <a:lnTo>
                  <a:pt x="0" y="800"/>
                </a:lnTo>
                <a:lnTo>
                  <a:pt x="934" y="800"/>
                </a:lnTo>
                <a:lnTo>
                  <a:pt x="934" y="202"/>
                </a:lnTo>
                <a:lnTo>
                  <a:pt x="902" y="202"/>
                </a:lnTo>
                <a:close/>
                <a:moveTo>
                  <a:pt x="63" y="202"/>
                </a:moveTo>
                <a:lnTo>
                  <a:pt x="63" y="177"/>
                </a:lnTo>
                <a:lnTo>
                  <a:pt x="193" y="177"/>
                </a:lnTo>
                <a:lnTo>
                  <a:pt x="193" y="202"/>
                </a:lnTo>
                <a:lnTo>
                  <a:pt x="193" y="440"/>
                </a:lnTo>
                <a:lnTo>
                  <a:pt x="90" y="440"/>
                </a:lnTo>
                <a:lnTo>
                  <a:pt x="255" y="605"/>
                </a:lnTo>
                <a:lnTo>
                  <a:pt x="421" y="440"/>
                </a:lnTo>
                <a:lnTo>
                  <a:pt x="318" y="440"/>
                </a:lnTo>
                <a:lnTo>
                  <a:pt x="318" y="202"/>
                </a:lnTo>
                <a:lnTo>
                  <a:pt x="318" y="177"/>
                </a:lnTo>
                <a:lnTo>
                  <a:pt x="452" y="177"/>
                </a:lnTo>
                <a:lnTo>
                  <a:pt x="452" y="202"/>
                </a:lnTo>
                <a:lnTo>
                  <a:pt x="452" y="746"/>
                </a:lnTo>
                <a:lnTo>
                  <a:pt x="63" y="746"/>
                </a:lnTo>
                <a:lnTo>
                  <a:pt x="63" y="202"/>
                </a:lnTo>
                <a:close/>
                <a:moveTo>
                  <a:pt x="636" y="146"/>
                </a:moveTo>
                <a:lnTo>
                  <a:pt x="812" y="114"/>
                </a:lnTo>
                <a:lnTo>
                  <a:pt x="812" y="146"/>
                </a:lnTo>
                <a:lnTo>
                  <a:pt x="812" y="162"/>
                </a:lnTo>
                <a:lnTo>
                  <a:pt x="812" y="177"/>
                </a:lnTo>
                <a:lnTo>
                  <a:pt x="812" y="202"/>
                </a:lnTo>
                <a:lnTo>
                  <a:pt x="812" y="681"/>
                </a:lnTo>
                <a:lnTo>
                  <a:pt x="483" y="743"/>
                </a:lnTo>
                <a:lnTo>
                  <a:pt x="483" y="202"/>
                </a:lnTo>
                <a:lnTo>
                  <a:pt x="483" y="177"/>
                </a:lnTo>
                <a:lnTo>
                  <a:pt x="483" y="175"/>
                </a:lnTo>
                <a:lnTo>
                  <a:pt x="553" y="162"/>
                </a:lnTo>
                <a:lnTo>
                  <a:pt x="636" y="146"/>
                </a:lnTo>
                <a:close/>
                <a:moveTo>
                  <a:pt x="871" y="202"/>
                </a:moveTo>
                <a:lnTo>
                  <a:pt x="871" y="746"/>
                </a:lnTo>
                <a:lnTo>
                  <a:pt x="636" y="746"/>
                </a:lnTo>
                <a:lnTo>
                  <a:pt x="843" y="707"/>
                </a:lnTo>
                <a:lnTo>
                  <a:pt x="843" y="202"/>
                </a:lnTo>
                <a:lnTo>
                  <a:pt x="843" y="177"/>
                </a:lnTo>
                <a:lnTo>
                  <a:pt x="871" y="177"/>
                </a:lnTo>
                <a:lnTo>
                  <a:pt x="871" y="202"/>
                </a:lnTo>
                <a:close/>
                <a:moveTo>
                  <a:pt x="527" y="602"/>
                </a:moveTo>
                <a:lnTo>
                  <a:pt x="519" y="572"/>
                </a:lnTo>
                <a:lnTo>
                  <a:pt x="766" y="505"/>
                </a:lnTo>
                <a:lnTo>
                  <a:pt x="774" y="535"/>
                </a:lnTo>
                <a:lnTo>
                  <a:pt x="527" y="602"/>
                </a:lnTo>
                <a:close/>
                <a:moveTo>
                  <a:pt x="525" y="686"/>
                </a:moveTo>
                <a:lnTo>
                  <a:pt x="516" y="656"/>
                </a:lnTo>
                <a:lnTo>
                  <a:pt x="763" y="589"/>
                </a:lnTo>
                <a:lnTo>
                  <a:pt x="771" y="619"/>
                </a:lnTo>
                <a:lnTo>
                  <a:pt x="525" y="686"/>
                </a:lnTo>
                <a:close/>
                <a:moveTo>
                  <a:pt x="531" y="282"/>
                </a:moveTo>
                <a:lnTo>
                  <a:pt x="522" y="252"/>
                </a:lnTo>
                <a:lnTo>
                  <a:pt x="701" y="202"/>
                </a:lnTo>
                <a:lnTo>
                  <a:pt x="763" y="185"/>
                </a:lnTo>
                <a:lnTo>
                  <a:pt x="767" y="202"/>
                </a:lnTo>
                <a:lnTo>
                  <a:pt x="771" y="215"/>
                </a:lnTo>
                <a:lnTo>
                  <a:pt x="531" y="282"/>
                </a:lnTo>
                <a:close/>
                <a:moveTo>
                  <a:pt x="531" y="361"/>
                </a:moveTo>
                <a:lnTo>
                  <a:pt x="522" y="331"/>
                </a:lnTo>
                <a:lnTo>
                  <a:pt x="763" y="264"/>
                </a:lnTo>
                <a:lnTo>
                  <a:pt x="771" y="294"/>
                </a:lnTo>
                <a:lnTo>
                  <a:pt x="531" y="361"/>
                </a:lnTo>
                <a:close/>
                <a:moveTo>
                  <a:pt x="530" y="441"/>
                </a:moveTo>
                <a:lnTo>
                  <a:pt x="522" y="411"/>
                </a:lnTo>
                <a:lnTo>
                  <a:pt x="763" y="344"/>
                </a:lnTo>
                <a:lnTo>
                  <a:pt x="771" y="374"/>
                </a:lnTo>
                <a:lnTo>
                  <a:pt x="530" y="441"/>
                </a:lnTo>
                <a:close/>
                <a:moveTo>
                  <a:pt x="530" y="520"/>
                </a:moveTo>
                <a:lnTo>
                  <a:pt x="522" y="490"/>
                </a:lnTo>
                <a:lnTo>
                  <a:pt x="763" y="423"/>
                </a:lnTo>
                <a:lnTo>
                  <a:pt x="771" y="453"/>
                </a:lnTo>
                <a:lnTo>
                  <a:pt x="530" y="52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ustDataLst>
      <p:tags r:id="rId1"/>
    </p:custDataLst>
    <p:extLst>
      <p:ext uri="{BB962C8B-B14F-4D97-AF65-F5344CB8AC3E}">
        <p14:creationId xmlns:p14="http://schemas.microsoft.com/office/powerpoint/2010/main" val="2508116957"/>
      </p:ext>
    </p:extLst>
  </p:cSld>
  <p:clrMapOvr>
    <a:masterClrMapping/>
  </p:clrMapOvr>
  <mc:AlternateContent xmlns:mc="http://schemas.openxmlformats.org/markup-compatibility/2006">
    <mc:Choice xmlns:p14="http://schemas.microsoft.com/office/powerpoint/2010/main" Requires="p14">
      <p:transition spd="slow" p14:dur="1250">
        <p:blinds dir="vert"/>
      </p:transition>
    </mc:Choice>
    <mc:Fallback>
      <p:transition spd="slow">
        <p:blinds dir="vert"/>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灯片编号占位符 3">
            <a:extLst>
              <a:ext uri="{FF2B5EF4-FFF2-40B4-BE49-F238E27FC236}">
                <a16:creationId xmlns:a16="http://schemas.microsoft.com/office/drawing/2014/main" id="{2A5C0DA9-421E-435E-A37F-75EEA4A204CB}"/>
              </a:ext>
            </a:extLst>
          </p:cNvPr>
          <p:cNvSpPr>
            <a:spLocks noGrp="1"/>
          </p:cNvSpPr>
          <p:nvPr>
            <p:ph type="sldNum" sz="quarter" idx="12"/>
          </p:nvPr>
        </p:nvSpPr>
        <p:spPr/>
        <p:txBody>
          <a:bodyPr/>
          <a:lstStyle/>
          <a:p>
            <a:fld id="{5DD3DB80-B894-403A-B48E-6FDC1A72010E}" type="slidenum">
              <a:rPr lang="zh-CN" altLang="en-US" smtClean="0"/>
              <a:pPr/>
              <a:t>6</a:t>
            </a:fld>
            <a:endParaRPr lang="zh-CN" altLang="en-US"/>
          </a:p>
        </p:txBody>
      </p:sp>
      <p:sp>
        <p:nvSpPr>
          <p:cNvPr id="5" name="标题 1">
            <a:extLst>
              <a:ext uri="{FF2B5EF4-FFF2-40B4-BE49-F238E27FC236}">
                <a16:creationId xmlns:a16="http://schemas.microsoft.com/office/drawing/2014/main" id="{A66C21BB-C083-4C2F-A2AE-920B8A20D84E}"/>
              </a:ext>
            </a:extLst>
          </p:cNvPr>
          <p:cNvSpPr>
            <a:spLocks noGrp="1"/>
          </p:cNvSpPr>
          <p:nvPr>
            <p:ph type="title"/>
          </p:nvPr>
        </p:nvSpPr>
        <p:spPr>
          <a:xfrm>
            <a:off x="669924" y="1"/>
            <a:ext cx="10850563" cy="1028699"/>
          </a:xfrm>
        </p:spPr>
        <p:txBody>
          <a:bodyPr/>
          <a:lstStyle/>
          <a:p>
            <a:r>
              <a:rPr lang="en-US" altLang="zh-CN" dirty="0"/>
              <a:t>UML</a:t>
            </a:r>
            <a:r>
              <a:rPr lang="zh-CN" altLang="en-US" dirty="0"/>
              <a:t>用例图</a:t>
            </a:r>
          </a:p>
        </p:txBody>
      </p:sp>
      <p:sp>
        <p:nvSpPr>
          <p:cNvPr id="6" name="文本框 5">
            <a:extLst>
              <a:ext uri="{FF2B5EF4-FFF2-40B4-BE49-F238E27FC236}">
                <a16:creationId xmlns:a16="http://schemas.microsoft.com/office/drawing/2014/main" id="{AD4EF72B-B237-4531-96CB-FAD2B6E29EE8}"/>
              </a:ext>
            </a:extLst>
          </p:cNvPr>
          <p:cNvSpPr txBox="1"/>
          <p:nvPr/>
        </p:nvSpPr>
        <p:spPr>
          <a:xfrm>
            <a:off x="669924" y="1628775"/>
            <a:ext cx="8991600" cy="923330"/>
          </a:xfrm>
          <a:prstGeom prst="rect">
            <a:avLst/>
          </a:prstGeom>
          <a:noFill/>
        </p:spPr>
        <p:txBody>
          <a:bodyPr wrap="square" rtlCol="0">
            <a:spAutoFit/>
          </a:bodyPr>
          <a:lstStyle/>
          <a:p>
            <a:pPr algn="l"/>
            <a:r>
              <a:rPr lang="en-US" altLang="zh-CN" b="1" i="0" dirty="0">
                <a:solidFill>
                  <a:srgbClr val="0D0016"/>
                </a:solidFill>
                <a:effectLst/>
                <a:latin typeface="PingFang SC"/>
              </a:rPr>
              <a:t>1</a:t>
            </a:r>
            <a:r>
              <a:rPr lang="zh-CN" altLang="en-US" b="1" i="0" dirty="0">
                <a:solidFill>
                  <a:srgbClr val="0D0016"/>
                </a:solidFill>
                <a:effectLst/>
                <a:latin typeface="PingFang SC"/>
              </a:rPr>
              <a:t>、参与者（</a:t>
            </a:r>
            <a:r>
              <a:rPr lang="en-US" altLang="zh-CN" b="1" i="0" dirty="0">
                <a:solidFill>
                  <a:srgbClr val="0D0016"/>
                </a:solidFill>
                <a:effectLst/>
                <a:latin typeface="PingFang SC"/>
              </a:rPr>
              <a:t>Actor</a:t>
            </a:r>
            <a:r>
              <a:rPr lang="zh-CN" altLang="en-US" b="1" i="0" dirty="0">
                <a:solidFill>
                  <a:srgbClr val="0D0016"/>
                </a:solidFill>
                <a:effectLst/>
                <a:latin typeface="PingFang SC"/>
              </a:rPr>
              <a:t>）</a:t>
            </a:r>
            <a:endParaRPr lang="zh-CN" altLang="en-US" b="1" i="0" dirty="0">
              <a:solidFill>
                <a:srgbClr val="4F4F4F"/>
              </a:solidFill>
              <a:effectLst/>
              <a:latin typeface="PingFang SC"/>
            </a:endParaRPr>
          </a:p>
          <a:p>
            <a:pPr algn="l"/>
            <a:r>
              <a:rPr lang="zh-CN" altLang="en-US" b="0" i="0" dirty="0">
                <a:solidFill>
                  <a:srgbClr val="0D0016"/>
                </a:solidFill>
                <a:effectLst/>
                <a:latin typeface="-apple-system"/>
              </a:rPr>
              <a:t>        参与者在</a:t>
            </a:r>
            <a:r>
              <a:rPr lang="en-US" altLang="zh-CN" dirty="0">
                <a:solidFill>
                  <a:srgbClr val="0D0016"/>
                </a:solidFill>
                <a:latin typeface="-apple-system"/>
              </a:rPr>
              <a:t>UML</a:t>
            </a:r>
            <a:r>
              <a:rPr lang="zh-CN" altLang="en-US" b="0" i="0" dirty="0">
                <a:solidFill>
                  <a:srgbClr val="0D0016"/>
                </a:solidFill>
                <a:effectLst/>
                <a:latin typeface="-apple-system"/>
              </a:rPr>
              <a:t>中用带有名字的</a:t>
            </a:r>
            <a:r>
              <a:rPr lang="zh-CN" altLang="en-US" b="1" i="0" dirty="0">
                <a:solidFill>
                  <a:srgbClr val="FE2C24"/>
                </a:solidFill>
                <a:effectLst/>
                <a:latin typeface="-apple-system"/>
              </a:rPr>
              <a:t>小人</a:t>
            </a:r>
            <a:r>
              <a:rPr lang="zh-CN" altLang="en-US" b="0" i="0" dirty="0">
                <a:solidFill>
                  <a:srgbClr val="0D0016"/>
                </a:solidFill>
                <a:effectLst/>
                <a:latin typeface="-apple-system"/>
              </a:rPr>
              <a:t>来标示，主要表示与您的软件系统交互的人，组织或者外部软件系统。 </a:t>
            </a:r>
            <a:endParaRPr lang="zh-CN" altLang="en-US" b="0" i="0" dirty="0">
              <a:solidFill>
                <a:srgbClr val="4D4D4D"/>
              </a:solidFill>
              <a:effectLst/>
              <a:latin typeface="-apple-system"/>
            </a:endParaRPr>
          </a:p>
        </p:txBody>
      </p:sp>
      <p:pic>
        <p:nvPicPr>
          <p:cNvPr id="4098" name="Picture 2">
            <a:extLst>
              <a:ext uri="{FF2B5EF4-FFF2-40B4-BE49-F238E27FC236}">
                <a16:creationId xmlns:a16="http://schemas.microsoft.com/office/drawing/2014/main" id="{6A4ACE40-C121-4E21-B442-0C446BEC59A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809044" y="1535211"/>
            <a:ext cx="1711443" cy="1399580"/>
          </a:xfrm>
          <a:prstGeom prst="rect">
            <a:avLst/>
          </a:prstGeom>
          <a:noFill/>
          <a:extLst>
            <a:ext uri="{909E8E84-426E-40DD-AFC4-6F175D3DCCD1}">
              <a14:hiddenFill xmlns:a14="http://schemas.microsoft.com/office/drawing/2010/main">
                <a:solidFill>
                  <a:srgbClr val="FFFFFF"/>
                </a:solidFill>
              </a14:hiddenFill>
            </a:ext>
          </a:extLst>
        </p:spPr>
      </p:pic>
      <p:sp>
        <p:nvSpPr>
          <p:cNvPr id="9" name="文本框 8">
            <a:extLst>
              <a:ext uri="{FF2B5EF4-FFF2-40B4-BE49-F238E27FC236}">
                <a16:creationId xmlns:a16="http://schemas.microsoft.com/office/drawing/2014/main" id="{E40C2F0C-3F2A-4147-B725-CF2D52782208}"/>
              </a:ext>
            </a:extLst>
          </p:cNvPr>
          <p:cNvSpPr txBox="1"/>
          <p:nvPr/>
        </p:nvSpPr>
        <p:spPr>
          <a:xfrm>
            <a:off x="669924" y="3172916"/>
            <a:ext cx="8991600" cy="923330"/>
          </a:xfrm>
          <a:prstGeom prst="rect">
            <a:avLst/>
          </a:prstGeom>
          <a:noFill/>
        </p:spPr>
        <p:txBody>
          <a:bodyPr wrap="square" rtlCol="0">
            <a:spAutoFit/>
          </a:bodyPr>
          <a:lstStyle/>
          <a:p>
            <a:pPr marL="0" algn="l"/>
            <a:r>
              <a:rPr lang="en-US" altLang="zh-CN" b="1" i="0" dirty="0">
                <a:solidFill>
                  <a:srgbClr val="0D0016"/>
                </a:solidFill>
                <a:effectLst/>
                <a:latin typeface="PingFang SC"/>
              </a:rPr>
              <a:t>2</a:t>
            </a:r>
            <a:r>
              <a:rPr lang="zh-CN" altLang="en-US" b="1" i="0" dirty="0">
                <a:solidFill>
                  <a:srgbClr val="0D0016"/>
                </a:solidFill>
                <a:effectLst/>
                <a:latin typeface="PingFang SC"/>
              </a:rPr>
              <a:t>、用例</a:t>
            </a:r>
            <a:r>
              <a:rPr lang="en-US" altLang="zh-CN" b="1" i="0" dirty="0">
                <a:solidFill>
                  <a:srgbClr val="0D0016"/>
                </a:solidFill>
                <a:effectLst/>
                <a:latin typeface="PingFang SC"/>
              </a:rPr>
              <a:t>(Use Case)</a:t>
            </a:r>
            <a:endParaRPr lang="en-US" altLang="zh-CN" b="1" i="0" dirty="0">
              <a:solidFill>
                <a:srgbClr val="4F4F4F"/>
              </a:solidFill>
              <a:effectLst/>
              <a:latin typeface="PingFang SC"/>
            </a:endParaRPr>
          </a:p>
          <a:p>
            <a:pPr marL="0" algn="l"/>
            <a:r>
              <a:rPr lang="en-US" altLang="zh-CN" b="0" i="0" dirty="0">
                <a:solidFill>
                  <a:srgbClr val="0D0016"/>
                </a:solidFill>
                <a:effectLst/>
                <a:latin typeface="-apple-system"/>
              </a:rPr>
              <a:t>        </a:t>
            </a:r>
            <a:r>
              <a:rPr lang="zh-CN" altLang="en-US" b="0" i="0" dirty="0">
                <a:solidFill>
                  <a:srgbClr val="0D0016"/>
                </a:solidFill>
                <a:effectLst/>
                <a:latin typeface="-apple-system"/>
              </a:rPr>
              <a:t>用例在</a:t>
            </a:r>
            <a:r>
              <a:rPr lang="en-US" altLang="zh-CN" dirty="0">
                <a:solidFill>
                  <a:srgbClr val="0D0016"/>
                </a:solidFill>
                <a:latin typeface="-apple-system"/>
              </a:rPr>
              <a:t>UML</a:t>
            </a:r>
            <a:r>
              <a:rPr lang="zh-CN" altLang="en-US" b="0" i="0" dirty="0">
                <a:solidFill>
                  <a:srgbClr val="0D0016"/>
                </a:solidFill>
                <a:effectLst/>
                <a:latin typeface="-apple-system"/>
              </a:rPr>
              <a:t>中用使用</a:t>
            </a:r>
            <a:r>
              <a:rPr lang="zh-CN" altLang="en-US" b="1" i="0" dirty="0">
                <a:solidFill>
                  <a:srgbClr val="FE2C24"/>
                </a:solidFill>
                <a:effectLst/>
                <a:latin typeface="-apple-system"/>
              </a:rPr>
              <a:t>椭圆</a:t>
            </a:r>
            <a:r>
              <a:rPr lang="zh-CN" altLang="en-US" b="0" i="0" dirty="0">
                <a:solidFill>
                  <a:srgbClr val="0D0016"/>
                </a:solidFill>
                <a:effectLst/>
                <a:latin typeface="-apple-system"/>
              </a:rPr>
              <a:t>标示，主要说明你的软件系统的功能，是使用文字描述的形式说明你的系统的功能。</a:t>
            </a:r>
            <a:endParaRPr lang="zh-CN" altLang="en-US" b="0" i="0" dirty="0">
              <a:solidFill>
                <a:srgbClr val="4D4D4D"/>
              </a:solidFill>
              <a:effectLst/>
              <a:latin typeface="-apple-system"/>
            </a:endParaRPr>
          </a:p>
        </p:txBody>
      </p:sp>
      <p:pic>
        <p:nvPicPr>
          <p:cNvPr id="4100" name="Picture 4">
            <a:extLst>
              <a:ext uri="{FF2B5EF4-FFF2-40B4-BE49-F238E27FC236}">
                <a16:creationId xmlns:a16="http://schemas.microsoft.com/office/drawing/2014/main" id="{59733897-27E3-4EB5-AFA0-65D73B40427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732844" y="3172916"/>
            <a:ext cx="1644651" cy="912976"/>
          </a:xfrm>
          <a:prstGeom prst="rect">
            <a:avLst/>
          </a:prstGeom>
          <a:noFill/>
          <a:extLst>
            <a:ext uri="{909E8E84-426E-40DD-AFC4-6F175D3DCCD1}">
              <a14:hiddenFill xmlns:a14="http://schemas.microsoft.com/office/drawing/2010/main">
                <a:solidFill>
                  <a:srgbClr val="FFFFFF"/>
                </a:solidFill>
              </a14:hiddenFill>
            </a:ext>
          </a:extLst>
        </p:spPr>
      </p:pic>
      <p:sp>
        <p:nvSpPr>
          <p:cNvPr id="11" name="文本框 10">
            <a:extLst>
              <a:ext uri="{FF2B5EF4-FFF2-40B4-BE49-F238E27FC236}">
                <a16:creationId xmlns:a16="http://schemas.microsoft.com/office/drawing/2014/main" id="{E1CBEE6F-8920-4B5E-8A95-21FF28D4B409}"/>
              </a:ext>
            </a:extLst>
          </p:cNvPr>
          <p:cNvSpPr txBox="1"/>
          <p:nvPr/>
        </p:nvSpPr>
        <p:spPr>
          <a:xfrm>
            <a:off x="669924" y="4696322"/>
            <a:ext cx="8991600" cy="923330"/>
          </a:xfrm>
          <a:prstGeom prst="rect">
            <a:avLst/>
          </a:prstGeom>
          <a:noFill/>
        </p:spPr>
        <p:txBody>
          <a:bodyPr wrap="square" rtlCol="0">
            <a:spAutoFit/>
          </a:bodyPr>
          <a:lstStyle/>
          <a:p>
            <a:pPr marL="0" algn="l"/>
            <a:r>
              <a:rPr lang="en-US" altLang="zh-CN" b="1" i="0" dirty="0">
                <a:solidFill>
                  <a:srgbClr val="0D0016"/>
                </a:solidFill>
                <a:effectLst/>
                <a:latin typeface="PingFang SC"/>
              </a:rPr>
              <a:t>3</a:t>
            </a:r>
            <a:r>
              <a:rPr lang="zh-CN" altLang="en-US" b="1" i="0" dirty="0">
                <a:solidFill>
                  <a:srgbClr val="0D0016"/>
                </a:solidFill>
                <a:effectLst/>
                <a:latin typeface="PingFang SC"/>
              </a:rPr>
              <a:t>、关联关系</a:t>
            </a:r>
            <a:r>
              <a:rPr lang="en-US" altLang="zh-CN" b="1" i="0" dirty="0">
                <a:solidFill>
                  <a:srgbClr val="0D0016"/>
                </a:solidFill>
                <a:effectLst/>
                <a:latin typeface="PingFang SC"/>
              </a:rPr>
              <a:t>(Association)</a:t>
            </a:r>
            <a:endParaRPr lang="zh-CN" altLang="en-US" b="1" i="0" dirty="0">
              <a:solidFill>
                <a:srgbClr val="4F4F4F"/>
              </a:solidFill>
              <a:effectLst/>
              <a:latin typeface="PingFang SC"/>
            </a:endParaRPr>
          </a:p>
          <a:p>
            <a:pPr marL="0" algn="l"/>
            <a:r>
              <a:rPr lang="zh-CN" altLang="en-US" b="0" i="0" dirty="0">
                <a:solidFill>
                  <a:srgbClr val="0D0016"/>
                </a:solidFill>
                <a:effectLst/>
                <a:latin typeface="-apple-system"/>
              </a:rPr>
              <a:t>        在</a:t>
            </a:r>
            <a:r>
              <a:rPr lang="en-US" altLang="zh-CN" b="0" i="0" dirty="0">
                <a:solidFill>
                  <a:srgbClr val="0D0016"/>
                </a:solidFill>
                <a:effectLst/>
                <a:latin typeface="-apple-system"/>
              </a:rPr>
              <a:t>UML</a:t>
            </a:r>
            <a:r>
              <a:rPr lang="zh-CN" altLang="en-US" b="0" i="0" dirty="0">
                <a:solidFill>
                  <a:srgbClr val="0D0016"/>
                </a:solidFill>
                <a:effectLst/>
                <a:latin typeface="-apple-system"/>
              </a:rPr>
              <a:t>中用例图中用</a:t>
            </a:r>
            <a:r>
              <a:rPr lang="zh-CN" altLang="en-US" b="1" i="0" dirty="0">
                <a:solidFill>
                  <a:srgbClr val="FE2C24"/>
                </a:solidFill>
                <a:effectLst/>
                <a:latin typeface="-apple-system"/>
              </a:rPr>
              <a:t>箭头</a:t>
            </a:r>
            <a:r>
              <a:rPr lang="zh-CN" altLang="en-US" b="0" i="0" dirty="0">
                <a:solidFill>
                  <a:srgbClr val="0D0016"/>
                </a:solidFill>
                <a:effectLst/>
                <a:latin typeface="-apple-system"/>
              </a:rPr>
              <a:t>来标示，主要描述参与者与用例之间的关系。</a:t>
            </a:r>
            <a:br>
              <a:rPr lang="zh-CN" altLang="en-US" b="0" i="0" dirty="0">
                <a:solidFill>
                  <a:srgbClr val="0D0016"/>
                </a:solidFill>
                <a:effectLst/>
                <a:latin typeface="-apple-system"/>
              </a:rPr>
            </a:br>
            <a:r>
              <a:rPr lang="zh-CN" altLang="en-US" b="0" i="0" dirty="0">
                <a:solidFill>
                  <a:srgbClr val="0D0016"/>
                </a:solidFill>
                <a:effectLst/>
                <a:latin typeface="-apple-system"/>
              </a:rPr>
              <a:t>      </a:t>
            </a:r>
            <a:r>
              <a:rPr lang="en-US" altLang="zh-CN" b="0" i="0" dirty="0">
                <a:solidFill>
                  <a:srgbClr val="0D0016"/>
                </a:solidFill>
                <a:effectLst/>
                <a:latin typeface="-apple-system"/>
              </a:rPr>
              <a:t>【</a:t>
            </a:r>
            <a:r>
              <a:rPr lang="zh-CN" altLang="en-US" b="0" i="0" dirty="0">
                <a:solidFill>
                  <a:srgbClr val="0D0016"/>
                </a:solidFill>
                <a:effectLst/>
                <a:latin typeface="-apple-system"/>
              </a:rPr>
              <a:t>箭头指向</a:t>
            </a:r>
            <a:r>
              <a:rPr lang="en-US" altLang="zh-CN" b="0" i="0" dirty="0">
                <a:solidFill>
                  <a:srgbClr val="0D0016"/>
                </a:solidFill>
                <a:effectLst/>
                <a:latin typeface="-apple-system"/>
              </a:rPr>
              <a:t>】</a:t>
            </a:r>
            <a:r>
              <a:rPr lang="zh-CN" altLang="en-US" b="0" i="0" dirty="0">
                <a:solidFill>
                  <a:srgbClr val="0D0016"/>
                </a:solidFill>
                <a:effectLst/>
                <a:latin typeface="-apple-system"/>
              </a:rPr>
              <a:t>：指向用例</a:t>
            </a:r>
            <a:endParaRPr lang="zh-CN" altLang="en-US" b="0" i="0" dirty="0">
              <a:solidFill>
                <a:srgbClr val="4D4D4D"/>
              </a:solidFill>
              <a:effectLst/>
              <a:latin typeface="-apple-system"/>
            </a:endParaRPr>
          </a:p>
        </p:txBody>
      </p:sp>
      <p:pic>
        <p:nvPicPr>
          <p:cNvPr id="10" name="图片 9" descr="图片包含 图表&#10;&#10;描述已自动生成">
            <a:extLst>
              <a:ext uri="{FF2B5EF4-FFF2-40B4-BE49-F238E27FC236}">
                <a16:creationId xmlns:a16="http://schemas.microsoft.com/office/drawing/2014/main" id="{19CCAEF9-160B-45B9-BC3D-EA265A750FE8}"/>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541542" y="4484453"/>
            <a:ext cx="2978945" cy="1135199"/>
          </a:xfrm>
          <a:prstGeom prst="rect">
            <a:avLst/>
          </a:prstGeom>
        </p:spPr>
      </p:pic>
      <p:grpSp>
        <p:nvGrpSpPr>
          <p:cNvPr id="333" name="组合 332">
            <a:extLst>
              <a:ext uri="{FF2B5EF4-FFF2-40B4-BE49-F238E27FC236}">
                <a16:creationId xmlns:a16="http://schemas.microsoft.com/office/drawing/2014/main" id="{EF478EA6-4E58-444B-8AA0-83066CA98DEF}"/>
              </a:ext>
            </a:extLst>
          </p:cNvPr>
          <p:cNvGrpSpPr/>
          <p:nvPr/>
        </p:nvGrpSpPr>
        <p:grpSpPr>
          <a:xfrm>
            <a:off x="10426444" y="117529"/>
            <a:ext cx="1094043" cy="912977"/>
            <a:chOff x="3990838" y="1543050"/>
            <a:chExt cx="4210325" cy="4044951"/>
          </a:xfrm>
        </p:grpSpPr>
        <p:sp>
          <p:nvSpPr>
            <p:cNvPr id="334" name="Freeform 5">
              <a:extLst>
                <a:ext uri="{FF2B5EF4-FFF2-40B4-BE49-F238E27FC236}">
                  <a16:creationId xmlns:a16="http://schemas.microsoft.com/office/drawing/2014/main" id="{3DB35888-813E-4622-BB8D-B1B30E670ECD}"/>
                </a:ext>
              </a:extLst>
            </p:cNvPr>
            <p:cNvSpPr>
              <a:spLocks/>
            </p:cNvSpPr>
            <p:nvPr/>
          </p:nvSpPr>
          <p:spPr bwMode="auto">
            <a:xfrm>
              <a:off x="3990838" y="1790366"/>
              <a:ext cx="4089646" cy="3706754"/>
            </a:xfrm>
            <a:custGeom>
              <a:avLst/>
              <a:gdLst>
                <a:gd name="T0" fmla="*/ 2151 w 3009"/>
                <a:gd name="T1" fmla="*/ 2707 h 2727"/>
                <a:gd name="T2" fmla="*/ 60 w 3009"/>
                <a:gd name="T3" fmla="*/ 1734 h 2727"/>
                <a:gd name="T4" fmla="*/ 20 w 3009"/>
                <a:gd name="T5" fmla="*/ 1623 h 2727"/>
                <a:gd name="T6" fmla="*/ 747 w 3009"/>
                <a:gd name="T7" fmla="*/ 60 h 2727"/>
                <a:gd name="T8" fmla="*/ 858 w 3009"/>
                <a:gd name="T9" fmla="*/ 19 h 2727"/>
                <a:gd name="T10" fmla="*/ 2950 w 3009"/>
                <a:gd name="T11" fmla="*/ 993 h 2727"/>
                <a:gd name="T12" fmla="*/ 2990 w 3009"/>
                <a:gd name="T13" fmla="*/ 1104 h 2727"/>
                <a:gd name="T14" fmla="*/ 2262 w 3009"/>
                <a:gd name="T15" fmla="*/ 2667 h 2727"/>
                <a:gd name="T16" fmla="*/ 2151 w 3009"/>
                <a:gd name="T17" fmla="*/ 2707 h 2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09" h="2727">
                  <a:moveTo>
                    <a:pt x="2151" y="2707"/>
                  </a:moveTo>
                  <a:cubicBezTo>
                    <a:pt x="60" y="1734"/>
                    <a:pt x="60" y="1734"/>
                    <a:pt x="60" y="1734"/>
                  </a:cubicBezTo>
                  <a:cubicBezTo>
                    <a:pt x="18" y="1714"/>
                    <a:pt x="0" y="1665"/>
                    <a:pt x="20" y="1623"/>
                  </a:cubicBezTo>
                  <a:cubicBezTo>
                    <a:pt x="747" y="60"/>
                    <a:pt x="747" y="60"/>
                    <a:pt x="747" y="60"/>
                  </a:cubicBezTo>
                  <a:cubicBezTo>
                    <a:pt x="767" y="18"/>
                    <a:pt x="816" y="0"/>
                    <a:pt x="858" y="19"/>
                  </a:cubicBezTo>
                  <a:cubicBezTo>
                    <a:pt x="2950" y="993"/>
                    <a:pt x="2950" y="993"/>
                    <a:pt x="2950" y="993"/>
                  </a:cubicBezTo>
                  <a:cubicBezTo>
                    <a:pt x="2991" y="1012"/>
                    <a:pt x="3009" y="1062"/>
                    <a:pt x="2990" y="1104"/>
                  </a:cubicBezTo>
                  <a:cubicBezTo>
                    <a:pt x="2262" y="2667"/>
                    <a:pt x="2262" y="2667"/>
                    <a:pt x="2262" y="2667"/>
                  </a:cubicBezTo>
                  <a:cubicBezTo>
                    <a:pt x="2243" y="2708"/>
                    <a:pt x="2193" y="2727"/>
                    <a:pt x="2151" y="2707"/>
                  </a:cubicBezTo>
                  <a:close/>
                </a:path>
              </a:pathLst>
            </a:custGeom>
            <a:solidFill>
              <a:srgbClr val="D1CDC9">
                <a:alpha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35" name="Freeform 6">
              <a:extLst>
                <a:ext uri="{FF2B5EF4-FFF2-40B4-BE49-F238E27FC236}">
                  <a16:creationId xmlns:a16="http://schemas.microsoft.com/office/drawing/2014/main" id="{AB0C5C16-358A-487A-B260-427003ACADEA}"/>
                </a:ext>
              </a:extLst>
            </p:cNvPr>
            <p:cNvSpPr>
              <a:spLocks/>
            </p:cNvSpPr>
            <p:nvPr/>
          </p:nvSpPr>
          <p:spPr bwMode="auto">
            <a:xfrm>
              <a:off x="4111517" y="1748650"/>
              <a:ext cx="4089646" cy="3706754"/>
            </a:xfrm>
            <a:custGeom>
              <a:avLst/>
              <a:gdLst>
                <a:gd name="T0" fmla="*/ 2151 w 3009"/>
                <a:gd name="T1" fmla="*/ 2707 h 2727"/>
                <a:gd name="T2" fmla="*/ 60 w 3009"/>
                <a:gd name="T3" fmla="*/ 1734 h 2727"/>
                <a:gd name="T4" fmla="*/ 19 w 3009"/>
                <a:gd name="T5" fmla="*/ 1623 h 2727"/>
                <a:gd name="T6" fmla="*/ 747 w 3009"/>
                <a:gd name="T7" fmla="*/ 60 h 2727"/>
                <a:gd name="T8" fmla="*/ 858 w 3009"/>
                <a:gd name="T9" fmla="*/ 20 h 2727"/>
                <a:gd name="T10" fmla="*/ 2949 w 3009"/>
                <a:gd name="T11" fmla="*/ 993 h 2727"/>
                <a:gd name="T12" fmla="*/ 2989 w 3009"/>
                <a:gd name="T13" fmla="*/ 1104 h 2727"/>
                <a:gd name="T14" fmla="*/ 2262 w 3009"/>
                <a:gd name="T15" fmla="*/ 2667 h 2727"/>
                <a:gd name="T16" fmla="*/ 2151 w 3009"/>
                <a:gd name="T17" fmla="*/ 2707 h 2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09" h="2727">
                  <a:moveTo>
                    <a:pt x="2151" y="2707"/>
                  </a:moveTo>
                  <a:cubicBezTo>
                    <a:pt x="60" y="1734"/>
                    <a:pt x="60" y="1734"/>
                    <a:pt x="60" y="1734"/>
                  </a:cubicBezTo>
                  <a:cubicBezTo>
                    <a:pt x="18" y="1714"/>
                    <a:pt x="0" y="1665"/>
                    <a:pt x="19" y="1623"/>
                  </a:cubicBezTo>
                  <a:cubicBezTo>
                    <a:pt x="747" y="60"/>
                    <a:pt x="747" y="60"/>
                    <a:pt x="747" y="60"/>
                  </a:cubicBezTo>
                  <a:cubicBezTo>
                    <a:pt x="766" y="18"/>
                    <a:pt x="816" y="0"/>
                    <a:pt x="858" y="20"/>
                  </a:cubicBezTo>
                  <a:cubicBezTo>
                    <a:pt x="2949" y="993"/>
                    <a:pt x="2949" y="993"/>
                    <a:pt x="2949" y="993"/>
                  </a:cubicBezTo>
                  <a:cubicBezTo>
                    <a:pt x="2991" y="1012"/>
                    <a:pt x="3009" y="1062"/>
                    <a:pt x="2989" y="1104"/>
                  </a:cubicBezTo>
                  <a:cubicBezTo>
                    <a:pt x="2262" y="2667"/>
                    <a:pt x="2262" y="2667"/>
                    <a:pt x="2262" y="2667"/>
                  </a:cubicBezTo>
                  <a:cubicBezTo>
                    <a:pt x="2242" y="2709"/>
                    <a:pt x="2193" y="2727"/>
                    <a:pt x="2151" y="2707"/>
                  </a:cubicBezTo>
                  <a:close/>
                </a:path>
              </a:pathLst>
            </a:custGeom>
            <a:solidFill>
              <a:srgbClr val="F4E6C9"/>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336" name="Freeform 7">
              <a:extLst>
                <a:ext uri="{FF2B5EF4-FFF2-40B4-BE49-F238E27FC236}">
                  <a16:creationId xmlns:a16="http://schemas.microsoft.com/office/drawing/2014/main" id="{56D337EA-8A81-4925-829B-FA75DFF04C0E}"/>
                </a:ext>
              </a:extLst>
            </p:cNvPr>
            <p:cNvSpPr>
              <a:spLocks/>
            </p:cNvSpPr>
            <p:nvPr/>
          </p:nvSpPr>
          <p:spPr bwMode="auto">
            <a:xfrm>
              <a:off x="4400548" y="2261159"/>
              <a:ext cx="3362598" cy="2608733"/>
            </a:xfrm>
            <a:custGeom>
              <a:avLst/>
              <a:gdLst>
                <a:gd name="T0" fmla="*/ 2390 w 2474"/>
                <a:gd name="T1" fmla="*/ 1919 h 1919"/>
                <a:gd name="T2" fmla="*/ 85 w 2474"/>
                <a:gd name="T3" fmla="*/ 1919 h 1919"/>
                <a:gd name="T4" fmla="*/ 0 w 2474"/>
                <a:gd name="T5" fmla="*/ 1834 h 1919"/>
                <a:gd name="T6" fmla="*/ 0 w 2474"/>
                <a:gd name="T7" fmla="*/ 84 h 1919"/>
                <a:gd name="T8" fmla="*/ 85 w 2474"/>
                <a:gd name="T9" fmla="*/ 0 h 1919"/>
                <a:gd name="T10" fmla="*/ 2390 w 2474"/>
                <a:gd name="T11" fmla="*/ 0 h 1919"/>
                <a:gd name="T12" fmla="*/ 2474 w 2474"/>
                <a:gd name="T13" fmla="*/ 84 h 1919"/>
                <a:gd name="T14" fmla="*/ 2474 w 2474"/>
                <a:gd name="T15" fmla="*/ 1834 h 1919"/>
                <a:gd name="T16" fmla="*/ 2390 w 2474"/>
                <a:gd name="T17" fmla="*/ 1919 h 19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74" h="1919">
                  <a:moveTo>
                    <a:pt x="2390" y="1919"/>
                  </a:moveTo>
                  <a:cubicBezTo>
                    <a:pt x="85" y="1919"/>
                    <a:pt x="85" y="1919"/>
                    <a:pt x="85" y="1919"/>
                  </a:cubicBezTo>
                  <a:cubicBezTo>
                    <a:pt x="38" y="1919"/>
                    <a:pt x="0" y="1881"/>
                    <a:pt x="0" y="1834"/>
                  </a:cubicBezTo>
                  <a:cubicBezTo>
                    <a:pt x="0" y="84"/>
                    <a:pt x="0" y="84"/>
                    <a:pt x="0" y="84"/>
                  </a:cubicBezTo>
                  <a:cubicBezTo>
                    <a:pt x="0" y="37"/>
                    <a:pt x="38" y="0"/>
                    <a:pt x="85" y="0"/>
                  </a:cubicBezTo>
                  <a:cubicBezTo>
                    <a:pt x="2390" y="0"/>
                    <a:pt x="2390" y="0"/>
                    <a:pt x="2390" y="0"/>
                  </a:cubicBezTo>
                  <a:cubicBezTo>
                    <a:pt x="2437" y="0"/>
                    <a:pt x="2474" y="37"/>
                    <a:pt x="2474" y="84"/>
                  </a:cubicBezTo>
                  <a:cubicBezTo>
                    <a:pt x="2474" y="1834"/>
                    <a:pt x="2474" y="1834"/>
                    <a:pt x="2474" y="1834"/>
                  </a:cubicBezTo>
                  <a:cubicBezTo>
                    <a:pt x="2474" y="1881"/>
                    <a:pt x="2437" y="1919"/>
                    <a:pt x="2390" y="1919"/>
                  </a:cubicBezTo>
                  <a:close/>
                </a:path>
              </a:pathLst>
            </a:custGeom>
            <a:solidFill>
              <a:srgbClr val="D1CDC9">
                <a:alpha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37" name="Freeform 8">
              <a:extLst>
                <a:ext uri="{FF2B5EF4-FFF2-40B4-BE49-F238E27FC236}">
                  <a16:creationId xmlns:a16="http://schemas.microsoft.com/office/drawing/2014/main" id="{785E32B5-5EBA-4405-8A05-C004163C09EA}"/>
                </a:ext>
              </a:extLst>
            </p:cNvPr>
            <p:cNvSpPr>
              <a:spLocks/>
            </p:cNvSpPr>
            <p:nvPr/>
          </p:nvSpPr>
          <p:spPr bwMode="auto">
            <a:xfrm>
              <a:off x="4466102" y="2316284"/>
              <a:ext cx="3362598" cy="2608733"/>
            </a:xfrm>
            <a:custGeom>
              <a:avLst/>
              <a:gdLst>
                <a:gd name="T0" fmla="*/ 2390 w 2474"/>
                <a:gd name="T1" fmla="*/ 1919 h 1919"/>
                <a:gd name="T2" fmla="*/ 85 w 2474"/>
                <a:gd name="T3" fmla="*/ 1919 h 1919"/>
                <a:gd name="T4" fmla="*/ 0 w 2474"/>
                <a:gd name="T5" fmla="*/ 1834 h 1919"/>
                <a:gd name="T6" fmla="*/ 0 w 2474"/>
                <a:gd name="T7" fmla="*/ 84 h 1919"/>
                <a:gd name="T8" fmla="*/ 85 w 2474"/>
                <a:gd name="T9" fmla="*/ 0 h 1919"/>
                <a:gd name="T10" fmla="*/ 2390 w 2474"/>
                <a:gd name="T11" fmla="*/ 0 h 1919"/>
                <a:gd name="T12" fmla="*/ 2474 w 2474"/>
                <a:gd name="T13" fmla="*/ 84 h 1919"/>
                <a:gd name="T14" fmla="*/ 2474 w 2474"/>
                <a:gd name="T15" fmla="*/ 1834 h 1919"/>
                <a:gd name="T16" fmla="*/ 2390 w 2474"/>
                <a:gd name="T17" fmla="*/ 1919 h 19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74" h="1919">
                  <a:moveTo>
                    <a:pt x="2390" y="1919"/>
                  </a:moveTo>
                  <a:cubicBezTo>
                    <a:pt x="85" y="1919"/>
                    <a:pt x="85" y="1919"/>
                    <a:pt x="85" y="1919"/>
                  </a:cubicBezTo>
                  <a:cubicBezTo>
                    <a:pt x="38" y="1919"/>
                    <a:pt x="0" y="1881"/>
                    <a:pt x="0" y="1834"/>
                  </a:cubicBezTo>
                  <a:cubicBezTo>
                    <a:pt x="0" y="84"/>
                    <a:pt x="0" y="84"/>
                    <a:pt x="0" y="84"/>
                  </a:cubicBezTo>
                  <a:cubicBezTo>
                    <a:pt x="0" y="37"/>
                    <a:pt x="38" y="0"/>
                    <a:pt x="85" y="0"/>
                  </a:cubicBezTo>
                  <a:cubicBezTo>
                    <a:pt x="2390" y="0"/>
                    <a:pt x="2390" y="0"/>
                    <a:pt x="2390" y="0"/>
                  </a:cubicBezTo>
                  <a:cubicBezTo>
                    <a:pt x="2437" y="0"/>
                    <a:pt x="2474" y="37"/>
                    <a:pt x="2474" y="84"/>
                  </a:cubicBezTo>
                  <a:cubicBezTo>
                    <a:pt x="2474" y="1834"/>
                    <a:pt x="2474" y="1834"/>
                    <a:pt x="2474" y="1834"/>
                  </a:cubicBezTo>
                  <a:cubicBezTo>
                    <a:pt x="2474" y="1881"/>
                    <a:pt x="2437" y="1919"/>
                    <a:pt x="2390" y="1919"/>
                  </a:cubicBezTo>
                  <a:close/>
                </a:path>
              </a:pathLst>
            </a:custGeom>
            <a:solidFill>
              <a:srgbClr val="FFF0F6"/>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dirty="0"/>
            </a:p>
          </p:txBody>
        </p:sp>
        <p:sp>
          <p:nvSpPr>
            <p:cNvPr id="338" name="Freeform 9">
              <a:extLst>
                <a:ext uri="{FF2B5EF4-FFF2-40B4-BE49-F238E27FC236}">
                  <a16:creationId xmlns:a16="http://schemas.microsoft.com/office/drawing/2014/main" id="{B0D96213-266F-4CB3-9179-C1D232B5C114}"/>
                </a:ext>
              </a:extLst>
            </p:cNvPr>
            <p:cNvSpPr>
              <a:spLocks/>
            </p:cNvSpPr>
            <p:nvPr/>
          </p:nvSpPr>
          <p:spPr bwMode="auto">
            <a:xfrm>
              <a:off x="5141004" y="3935754"/>
              <a:ext cx="1634369" cy="1603082"/>
            </a:xfrm>
            <a:custGeom>
              <a:avLst/>
              <a:gdLst>
                <a:gd name="T0" fmla="*/ 1182 w 1203"/>
                <a:gd name="T1" fmla="*/ 746 h 1179"/>
                <a:gd name="T2" fmla="*/ 446 w 1203"/>
                <a:gd name="T3" fmla="*/ 1170 h 1179"/>
                <a:gd name="T4" fmla="*/ 403 w 1203"/>
                <a:gd name="T5" fmla="*/ 1158 h 1179"/>
                <a:gd name="T6" fmla="*/ 9 w 1203"/>
                <a:gd name="T7" fmla="*/ 477 h 1179"/>
                <a:gd name="T8" fmla="*/ 21 w 1203"/>
                <a:gd name="T9" fmla="*/ 433 h 1179"/>
                <a:gd name="T10" fmla="*/ 757 w 1203"/>
                <a:gd name="T11" fmla="*/ 9 h 1179"/>
                <a:gd name="T12" fmla="*/ 800 w 1203"/>
                <a:gd name="T13" fmla="*/ 21 h 1179"/>
                <a:gd name="T14" fmla="*/ 1194 w 1203"/>
                <a:gd name="T15" fmla="*/ 702 h 1179"/>
                <a:gd name="T16" fmla="*/ 1182 w 1203"/>
                <a:gd name="T17" fmla="*/ 746 h 1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03" h="1179">
                  <a:moveTo>
                    <a:pt x="1182" y="746"/>
                  </a:moveTo>
                  <a:cubicBezTo>
                    <a:pt x="446" y="1170"/>
                    <a:pt x="446" y="1170"/>
                    <a:pt x="446" y="1170"/>
                  </a:cubicBezTo>
                  <a:cubicBezTo>
                    <a:pt x="431" y="1179"/>
                    <a:pt x="411" y="1174"/>
                    <a:pt x="403" y="1158"/>
                  </a:cubicBezTo>
                  <a:cubicBezTo>
                    <a:pt x="9" y="477"/>
                    <a:pt x="9" y="477"/>
                    <a:pt x="9" y="477"/>
                  </a:cubicBezTo>
                  <a:cubicBezTo>
                    <a:pt x="0" y="462"/>
                    <a:pt x="6" y="442"/>
                    <a:pt x="21" y="433"/>
                  </a:cubicBezTo>
                  <a:cubicBezTo>
                    <a:pt x="757" y="9"/>
                    <a:pt x="757" y="9"/>
                    <a:pt x="757" y="9"/>
                  </a:cubicBezTo>
                  <a:cubicBezTo>
                    <a:pt x="772" y="0"/>
                    <a:pt x="792" y="5"/>
                    <a:pt x="800" y="21"/>
                  </a:cubicBezTo>
                  <a:cubicBezTo>
                    <a:pt x="1194" y="702"/>
                    <a:pt x="1194" y="702"/>
                    <a:pt x="1194" y="702"/>
                  </a:cubicBezTo>
                  <a:cubicBezTo>
                    <a:pt x="1203" y="717"/>
                    <a:pt x="1197" y="737"/>
                    <a:pt x="1182" y="746"/>
                  </a:cubicBezTo>
                  <a:close/>
                </a:path>
              </a:pathLst>
            </a:custGeom>
            <a:solidFill>
              <a:srgbClr val="D1CDC9">
                <a:alpha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39" name="Freeform 10">
              <a:extLst>
                <a:ext uri="{FF2B5EF4-FFF2-40B4-BE49-F238E27FC236}">
                  <a16:creationId xmlns:a16="http://schemas.microsoft.com/office/drawing/2014/main" id="{5F97B7A6-AB5E-4E10-92A8-E05093D68A08}"/>
                </a:ext>
              </a:extLst>
            </p:cNvPr>
            <p:cNvSpPr>
              <a:spLocks/>
            </p:cNvSpPr>
            <p:nvPr/>
          </p:nvSpPr>
          <p:spPr bwMode="auto">
            <a:xfrm>
              <a:off x="5184211" y="3871690"/>
              <a:ext cx="1634369" cy="1601592"/>
            </a:xfrm>
            <a:custGeom>
              <a:avLst/>
              <a:gdLst>
                <a:gd name="T0" fmla="*/ 1182 w 1203"/>
                <a:gd name="T1" fmla="*/ 746 h 1179"/>
                <a:gd name="T2" fmla="*/ 446 w 1203"/>
                <a:gd name="T3" fmla="*/ 1170 h 1179"/>
                <a:gd name="T4" fmla="*/ 403 w 1203"/>
                <a:gd name="T5" fmla="*/ 1158 h 1179"/>
                <a:gd name="T6" fmla="*/ 9 w 1203"/>
                <a:gd name="T7" fmla="*/ 477 h 1179"/>
                <a:gd name="T8" fmla="*/ 21 w 1203"/>
                <a:gd name="T9" fmla="*/ 433 h 1179"/>
                <a:gd name="T10" fmla="*/ 757 w 1203"/>
                <a:gd name="T11" fmla="*/ 9 h 1179"/>
                <a:gd name="T12" fmla="*/ 800 w 1203"/>
                <a:gd name="T13" fmla="*/ 21 h 1179"/>
                <a:gd name="T14" fmla="*/ 1194 w 1203"/>
                <a:gd name="T15" fmla="*/ 702 h 1179"/>
                <a:gd name="T16" fmla="*/ 1182 w 1203"/>
                <a:gd name="T17" fmla="*/ 746 h 1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03" h="1179">
                  <a:moveTo>
                    <a:pt x="1182" y="746"/>
                  </a:moveTo>
                  <a:cubicBezTo>
                    <a:pt x="446" y="1170"/>
                    <a:pt x="446" y="1170"/>
                    <a:pt x="446" y="1170"/>
                  </a:cubicBezTo>
                  <a:cubicBezTo>
                    <a:pt x="431" y="1179"/>
                    <a:pt x="411" y="1174"/>
                    <a:pt x="403" y="1158"/>
                  </a:cubicBezTo>
                  <a:cubicBezTo>
                    <a:pt x="9" y="477"/>
                    <a:pt x="9" y="477"/>
                    <a:pt x="9" y="477"/>
                  </a:cubicBezTo>
                  <a:cubicBezTo>
                    <a:pt x="0" y="462"/>
                    <a:pt x="6" y="442"/>
                    <a:pt x="21" y="433"/>
                  </a:cubicBezTo>
                  <a:cubicBezTo>
                    <a:pt x="757" y="9"/>
                    <a:pt x="757" y="9"/>
                    <a:pt x="757" y="9"/>
                  </a:cubicBezTo>
                  <a:cubicBezTo>
                    <a:pt x="772" y="0"/>
                    <a:pt x="792" y="5"/>
                    <a:pt x="800" y="21"/>
                  </a:cubicBezTo>
                  <a:cubicBezTo>
                    <a:pt x="1194" y="702"/>
                    <a:pt x="1194" y="702"/>
                    <a:pt x="1194" y="702"/>
                  </a:cubicBezTo>
                  <a:cubicBezTo>
                    <a:pt x="1203" y="717"/>
                    <a:pt x="1197" y="737"/>
                    <a:pt x="1182" y="746"/>
                  </a:cubicBezTo>
                  <a:close/>
                </a:path>
              </a:pathLst>
            </a:custGeom>
            <a:solidFill>
              <a:srgbClr val="DEE2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340" name="Freeform 11">
              <a:extLst>
                <a:ext uri="{FF2B5EF4-FFF2-40B4-BE49-F238E27FC236}">
                  <a16:creationId xmlns:a16="http://schemas.microsoft.com/office/drawing/2014/main" id="{827325AE-6C1D-4CDC-B1DF-327EAA2E8E4C}"/>
                </a:ext>
              </a:extLst>
            </p:cNvPr>
            <p:cNvSpPr>
              <a:spLocks/>
            </p:cNvSpPr>
            <p:nvPr/>
          </p:nvSpPr>
          <p:spPr bwMode="auto">
            <a:xfrm>
              <a:off x="4063841" y="2964370"/>
              <a:ext cx="1594143" cy="2416541"/>
            </a:xfrm>
            <a:custGeom>
              <a:avLst/>
              <a:gdLst>
                <a:gd name="T0" fmla="*/ 1057 w 1173"/>
                <a:gd name="T1" fmla="*/ 1778 h 1778"/>
                <a:gd name="T2" fmla="*/ 116 w 1173"/>
                <a:gd name="T3" fmla="*/ 1778 h 1778"/>
                <a:gd name="T4" fmla="*/ 0 w 1173"/>
                <a:gd name="T5" fmla="*/ 1662 h 1778"/>
                <a:gd name="T6" fmla="*/ 0 w 1173"/>
                <a:gd name="T7" fmla="*/ 116 h 1778"/>
                <a:gd name="T8" fmla="*/ 116 w 1173"/>
                <a:gd name="T9" fmla="*/ 0 h 1778"/>
                <a:gd name="T10" fmla="*/ 1057 w 1173"/>
                <a:gd name="T11" fmla="*/ 0 h 1778"/>
                <a:gd name="T12" fmla="*/ 1173 w 1173"/>
                <a:gd name="T13" fmla="*/ 116 h 1778"/>
                <a:gd name="T14" fmla="*/ 1173 w 1173"/>
                <a:gd name="T15" fmla="*/ 1662 h 1778"/>
                <a:gd name="T16" fmla="*/ 1057 w 1173"/>
                <a:gd name="T17" fmla="*/ 1778 h 17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73" h="1778">
                  <a:moveTo>
                    <a:pt x="1057" y="1778"/>
                  </a:moveTo>
                  <a:cubicBezTo>
                    <a:pt x="116" y="1778"/>
                    <a:pt x="116" y="1778"/>
                    <a:pt x="116" y="1778"/>
                  </a:cubicBezTo>
                  <a:cubicBezTo>
                    <a:pt x="52" y="1778"/>
                    <a:pt x="0" y="1726"/>
                    <a:pt x="0" y="1662"/>
                  </a:cubicBezTo>
                  <a:cubicBezTo>
                    <a:pt x="0" y="116"/>
                    <a:pt x="0" y="116"/>
                    <a:pt x="0" y="116"/>
                  </a:cubicBezTo>
                  <a:cubicBezTo>
                    <a:pt x="0" y="52"/>
                    <a:pt x="52" y="0"/>
                    <a:pt x="116" y="0"/>
                  </a:cubicBezTo>
                  <a:cubicBezTo>
                    <a:pt x="1057" y="0"/>
                    <a:pt x="1057" y="0"/>
                    <a:pt x="1057" y="0"/>
                  </a:cubicBezTo>
                  <a:cubicBezTo>
                    <a:pt x="1121" y="0"/>
                    <a:pt x="1173" y="52"/>
                    <a:pt x="1173" y="116"/>
                  </a:cubicBezTo>
                  <a:cubicBezTo>
                    <a:pt x="1173" y="1662"/>
                    <a:pt x="1173" y="1662"/>
                    <a:pt x="1173" y="1662"/>
                  </a:cubicBezTo>
                  <a:cubicBezTo>
                    <a:pt x="1173" y="1726"/>
                    <a:pt x="1121" y="1778"/>
                    <a:pt x="1057" y="1778"/>
                  </a:cubicBezTo>
                  <a:close/>
                </a:path>
              </a:pathLst>
            </a:custGeom>
            <a:solidFill>
              <a:srgbClr val="D1CDC9">
                <a:alpha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41" name="Freeform 12">
              <a:extLst>
                <a:ext uri="{FF2B5EF4-FFF2-40B4-BE49-F238E27FC236}">
                  <a16:creationId xmlns:a16="http://schemas.microsoft.com/office/drawing/2014/main" id="{9766B485-1548-4DF9-B13E-BD8753E12E29}"/>
                </a:ext>
              </a:extLst>
            </p:cNvPr>
            <p:cNvSpPr>
              <a:spLocks/>
            </p:cNvSpPr>
            <p:nvPr/>
          </p:nvSpPr>
          <p:spPr bwMode="auto">
            <a:xfrm>
              <a:off x="4007227" y="2915205"/>
              <a:ext cx="1594143" cy="2416541"/>
            </a:xfrm>
            <a:custGeom>
              <a:avLst/>
              <a:gdLst>
                <a:gd name="T0" fmla="*/ 1057 w 1173"/>
                <a:gd name="T1" fmla="*/ 1778 h 1778"/>
                <a:gd name="T2" fmla="*/ 116 w 1173"/>
                <a:gd name="T3" fmla="*/ 1778 h 1778"/>
                <a:gd name="T4" fmla="*/ 0 w 1173"/>
                <a:gd name="T5" fmla="*/ 1662 h 1778"/>
                <a:gd name="T6" fmla="*/ 0 w 1173"/>
                <a:gd name="T7" fmla="*/ 116 h 1778"/>
                <a:gd name="T8" fmla="*/ 116 w 1173"/>
                <a:gd name="T9" fmla="*/ 0 h 1778"/>
                <a:gd name="T10" fmla="*/ 1057 w 1173"/>
                <a:gd name="T11" fmla="*/ 0 h 1778"/>
                <a:gd name="T12" fmla="*/ 1173 w 1173"/>
                <a:gd name="T13" fmla="*/ 116 h 1778"/>
                <a:gd name="T14" fmla="*/ 1173 w 1173"/>
                <a:gd name="T15" fmla="*/ 1662 h 1778"/>
                <a:gd name="T16" fmla="*/ 1057 w 1173"/>
                <a:gd name="T17" fmla="*/ 1778 h 17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73" h="1778">
                  <a:moveTo>
                    <a:pt x="1057" y="1778"/>
                  </a:moveTo>
                  <a:cubicBezTo>
                    <a:pt x="116" y="1778"/>
                    <a:pt x="116" y="1778"/>
                    <a:pt x="116" y="1778"/>
                  </a:cubicBezTo>
                  <a:cubicBezTo>
                    <a:pt x="52" y="1778"/>
                    <a:pt x="0" y="1726"/>
                    <a:pt x="0" y="1662"/>
                  </a:cubicBezTo>
                  <a:cubicBezTo>
                    <a:pt x="0" y="116"/>
                    <a:pt x="0" y="116"/>
                    <a:pt x="0" y="116"/>
                  </a:cubicBezTo>
                  <a:cubicBezTo>
                    <a:pt x="0" y="52"/>
                    <a:pt x="52" y="0"/>
                    <a:pt x="116" y="0"/>
                  </a:cubicBezTo>
                  <a:cubicBezTo>
                    <a:pt x="1057" y="0"/>
                    <a:pt x="1057" y="0"/>
                    <a:pt x="1057" y="0"/>
                  </a:cubicBezTo>
                  <a:cubicBezTo>
                    <a:pt x="1121" y="0"/>
                    <a:pt x="1173" y="52"/>
                    <a:pt x="1173" y="116"/>
                  </a:cubicBezTo>
                  <a:cubicBezTo>
                    <a:pt x="1173" y="1662"/>
                    <a:pt x="1173" y="1662"/>
                    <a:pt x="1173" y="1662"/>
                  </a:cubicBezTo>
                  <a:cubicBezTo>
                    <a:pt x="1173" y="1726"/>
                    <a:pt x="1121" y="1778"/>
                    <a:pt x="1057" y="1778"/>
                  </a:cubicBezTo>
                  <a:close/>
                </a:path>
              </a:pathLst>
            </a:custGeom>
            <a:solidFill>
              <a:srgbClr val="B3BA5A"/>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342" name="Rectangle 13">
              <a:extLst>
                <a:ext uri="{FF2B5EF4-FFF2-40B4-BE49-F238E27FC236}">
                  <a16:creationId xmlns:a16="http://schemas.microsoft.com/office/drawing/2014/main" id="{256C4504-7DB5-4188-8961-E765FBA0CDBE}"/>
                </a:ext>
              </a:extLst>
            </p:cNvPr>
            <p:cNvSpPr>
              <a:spLocks noChangeArrowheads="1"/>
            </p:cNvSpPr>
            <p:nvPr/>
          </p:nvSpPr>
          <p:spPr bwMode="auto">
            <a:xfrm>
              <a:off x="4132374" y="3096967"/>
              <a:ext cx="1278294" cy="344156"/>
            </a:xfrm>
            <a:prstGeom prst="rect">
              <a:avLst/>
            </a:prstGeom>
            <a:solidFill>
              <a:srgbClr val="8B934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43" name="Rectangle 14">
              <a:extLst>
                <a:ext uri="{FF2B5EF4-FFF2-40B4-BE49-F238E27FC236}">
                  <a16:creationId xmlns:a16="http://schemas.microsoft.com/office/drawing/2014/main" id="{A794FFAA-9711-43E9-95AF-EEC63CB52795}"/>
                </a:ext>
              </a:extLst>
            </p:cNvPr>
            <p:cNvSpPr>
              <a:spLocks noChangeArrowheads="1"/>
            </p:cNvSpPr>
            <p:nvPr/>
          </p:nvSpPr>
          <p:spPr bwMode="auto">
            <a:xfrm>
              <a:off x="4132374" y="3591598"/>
              <a:ext cx="233907" cy="233907"/>
            </a:xfrm>
            <a:prstGeom prst="rect">
              <a:avLst/>
            </a:prstGeom>
            <a:solidFill>
              <a:srgbClr val="8B934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44" name="Rectangle 15">
              <a:extLst>
                <a:ext uri="{FF2B5EF4-FFF2-40B4-BE49-F238E27FC236}">
                  <a16:creationId xmlns:a16="http://schemas.microsoft.com/office/drawing/2014/main" id="{A53015EB-164B-4146-B0A6-BD6BC02DCA81}"/>
                </a:ext>
              </a:extLst>
            </p:cNvPr>
            <p:cNvSpPr>
              <a:spLocks noChangeArrowheads="1"/>
            </p:cNvSpPr>
            <p:nvPr/>
          </p:nvSpPr>
          <p:spPr bwMode="auto">
            <a:xfrm>
              <a:off x="4479510" y="3591598"/>
              <a:ext cx="233907" cy="233907"/>
            </a:xfrm>
            <a:prstGeom prst="rect">
              <a:avLst/>
            </a:prstGeom>
            <a:solidFill>
              <a:srgbClr val="8B934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45" name="Rectangle 16">
              <a:extLst>
                <a:ext uri="{FF2B5EF4-FFF2-40B4-BE49-F238E27FC236}">
                  <a16:creationId xmlns:a16="http://schemas.microsoft.com/office/drawing/2014/main" id="{58BC2633-1DC5-4A4E-BB03-883D68C37EC2}"/>
                </a:ext>
              </a:extLst>
            </p:cNvPr>
            <p:cNvSpPr>
              <a:spLocks noChangeArrowheads="1"/>
            </p:cNvSpPr>
            <p:nvPr/>
          </p:nvSpPr>
          <p:spPr bwMode="auto">
            <a:xfrm>
              <a:off x="4829626" y="3591598"/>
              <a:ext cx="233907" cy="233907"/>
            </a:xfrm>
            <a:prstGeom prst="rect">
              <a:avLst/>
            </a:prstGeom>
            <a:solidFill>
              <a:srgbClr val="8B934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46" name="Rectangle 17">
              <a:extLst>
                <a:ext uri="{FF2B5EF4-FFF2-40B4-BE49-F238E27FC236}">
                  <a16:creationId xmlns:a16="http://schemas.microsoft.com/office/drawing/2014/main" id="{C224A4FC-690D-4F16-AFBC-2984A95DA384}"/>
                </a:ext>
              </a:extLst>
            </p:cNvPr>
            <p:cNvSpPr>
              <a:spLocks noChangeArrowheads="1"/>
            </p:cNvSpPr>
            <p:nvPr/>
          </p:nvSpPr>
          <p:spPr bwMode="auto">
            <a:xfrm>
              <a:off x="5176761" y="3591598"/>
              <a:ext cx="233907" cy="233907"/>
            </a:xfrm>
            <a:prstGeom prst="rect">
              <a:avLst/>
            </a:prstGeom>
            <a:solidFill>
              <a:srgbClr val="8B934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47" name="Rectangle 18">
              <a:extLst>
                <a:ext uri="{FF2B5EF4-FFF2-40B4-BE49-F238E27FC236}">
                  <a16:creationId xmlns:a16="http://schemas.microsoft.com/office/drawing/2014/main" id="{08D624C4-A9F5-4862-97D7-1A908150DEF3}"/>
                </a:ext>
              </a:extLst>
            </p:cNvPr>
            <p:cNvSpPr>
              <a:spLocks noChangeArrowheads="1"/>
            </p:cNvSpPr>
            <p:nvPr/>
          </p:nvSpPr>
          <p:spPr bwMode="auto">
            <a:xfrm>
              <a:off x="4132374" y="4059412"/>
              <a:ext cx="233907" cy="232417"/>
            </a:xfrm>
            <a:prstGeom prst="rect">
              <a:avLst/>
            </a:prstGeom>
            <a:solidFill>
              <a:srgbClr val="8B934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48" name="Rectangle 19">
              <a:extLst>
                <a:ext uri="{FF2B5EF4-FFF2-40B4-BE49-F238E27FC236}">
                  <a16:creationId xmlns:a16="http://schemas.microsoft.com/office/drawing/2014/main" id="{A1702869-A0E6-44AF-A1AF-BB849DCDE058}"/>
                </a:ext>
              </a:extLst>
            </p:cNvPr>
            <p:cNvSpPr>
              <a:spLocks noChangeArrowheads="1"/>
            </p:cNvSpPr>
            <p:nvPr/>
          </p:nvSpPr>
          <p:spPr bwMode="auto">
            <a:xfrm>
              <a:off x="4479510" y="4059412"/>
              <a:ext cx="233907" cy="232417"/>
            </a:xfrm>
            <a:prstGeom prst="rect">
              <a:avLst/>
            </a:prstGeom>
            <a:solidFill>
              <a:srgbClr val="8B934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49" name="Rectangle 20">
              <a:extLst>
                <a:ext uri="{FF2B5EF4-FFF2-40B4-BE49-F238E27FC236}">
                  <a16:creationId xmlns:a16="http://schemas.microsoft.com/office/drawing/2014/main" id="{30C74629-0343-4EB6-B3E1-855A4EDB359A}"/>
                </a:ext>
              </a:extLst>
            </p:cNvPr>
            <p:cNvSpPr>
              <a:spLocks noChangeArrowheads="1"/>
            </p:cNvSpPr>
            <p:nvPr/>
          </p:nvSpPr>
          <p:spPr bwMode="auto">
            <a:xfrm>
              <a:off x="4829626" y="4059412"/>
              <a:ext cx="233907" cy="232417"/>
            </a:xfrm>
            <a:prstGeom prst="rect">
              <a:avLst/>
            </a:prstGeom>
            <a:solidFill>
              <a:srgbClr val="8B934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50" name="Rectangle 21">
              <a:extLst>
                <a:ext uri="{FF2B5EF4-FFF2-40B4-BE49-F238E27FC236}">
                  <a16:creationId xmlns:a16="http://schemas.microsoft.com/office/drawing/2014/main" id="{C8B879B5-DE96-483E-BFA2-B1615FB7E480}"/>
                </a:ext>
              </a:extLst>
            </p:cNvPr>
            <p:cNvSpPr>
              <a:spLocks noChangeArrowheads="1"/>
            </p:cNvSpPr>
            <p:nvPr/>
          </p:nvSpPr>
          <p:spPr bwMode="auto">
            <a:xfrm>
              <a:off x="5176761" y="4059412"/>
              <a:ext cx="233907" cy="232417"/>
            </a:xfrm>
            <a:prstGeom prst="rect">
              <a:avLst/>
            </a:prstGeom>
            <a:solidFill>
              <a:srgbClr val="8B934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51" name="Rectangle 22">
              <a:extLst>
                <a:ext uri="{FF2B5EF4-FFF2-40B4-BE49-F238E27FC236}">
                  <a16:creationId xmlns:a16="http://schemas.microsoft.com/office/drawing/2014/main" id="{0E805F8B-1A2C-442F-B58A-95A6A395B62E}"/>
                </a:ext>
              </a:extLst>
            </p:cNvPr>
            <p:cNvSpPr>
              <a:spLocks noChangeArrowheads="1"/>
            </p:cNvSpPr>
            <p:nvPr/>
          </p:nvSpPr>
          <p:spPr bwMode="auto">
            <a:xfrm>
              <a:off x="4132374" y="4524246"/>
              <a:ext cx="233907" cy="233907"/>
            </a:xfrm>
            <a:prstGeom prst="rect">
              <a:avLst/>
            </a:prstGeom>
            <a:solidFill>
              <a:srgbClr val="8B934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52" name="Rectangle 23">
              <a:extLst>
                <a:ext uri="{FF2B5EF4-FFF2-40B4-BE49-F238E27FC236}">
                  <a16:creationId xmlns:a16="http://schemas.microsoft.com/office/drawing/2014/main" id="{0D138269-0E02-4E2F-BBE8-0E97BA52156D}"/>
                </a:ext>
              </a:extLst>
            </p:cNvPr>
            <p:cNvSpPr>
              <a:spLocks noChangeArrowheads="1"/>
            </p:cNvSpPr>
            <p:nvPr/>
          </p:nvSpPr>
          <p:spPr bwMode="auto">
            <a:xfrm>
              <a:off x="4479510" y="4524246"/>
              <a:ext cx="233907" cy="233907"/>
            </a:xfrm>
            <a:prstGeom prst="rect">
              <a:avLst/>
            </a:prstGeom>
            <a:solidFill>
              <a:srgbClr val="8B934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53" name="Rectangle 24">
              <a:extLst>
                <a:ext uri="{FF2B5EF4-FFF2-40B4-BE49-F238E27FC236}">
                  <a16:creationId xmlns:a16="http://schemas.microsoft.com/office/drawing/2014/main" id="{0399D669-6874-4319-83F3-C67742887639}"/>
                </a:ext>
              </a:extLst>
            </p:cNvPr>
            <p:cNvSpPr>
              <a:spLocks noChangeArrowheads="1"/>
            </p:cNvSpPr>
            <p:nvPr/>
          </p:nvSpPr>
          <p:spPr bwMode="auto">
            <a:xfrm>
              <a:off x="4829626" y="4524246"/>
              <a:ext cx="233907" cy="233907"/>
            </a:xfrm>
            <a:prstGeom prst="rect">
              <a:avLst/>
            </a:prstGeom>
            <a:solidFill>
              <a:srgbClr val="8B934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54" name="Rectangle 25">
              <a:extLst>
                <a:ext uri="{FF2B5EF4-FFF2-40B4-BE49-F238E27FC236}">
                  <a16:creationId xmlns:a16="http://schemas.microsoft.com/office/drawing/2014/main" id="{AF7B262D-14B5-4ECD-A573-1EC0C9F736F3}"/>
                </a:ext>
              </a:extLst>
            </p:cNvPr>
            <p:cNvSpPr>
              <a:spLocks noChangeArrowheads="1"/>
            </p:cNvSpPr>
            <p:nvPr/>
          </p:nvSpPr>
          <p:spPr bwMode="auto">
            <a:xfrm>
              <a:off x="5176761" y="4524246"/>
              <a:ext cx="233907" cy="701721"/>
            </a:xfrm>
            <a:prstGeom prst="rect">
              <a:avLst/>
            </a:prstGeom>
            <a:solidFill>
              <a:srgbClr val="8B934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55" name="Rectangle 26">
              <a:extLst>
                <a:ext uri="{FF2B5EF4-FFF2-40B4-BE49-F238E27FC236}">
                  <a16:creationId xmlns:a16="http://schemas.microsoft.com/office/drawing/2014/main" id="{493C2799-821C-4768-AA77-AF8671AA5C9C}"/>
                </a:ext>
              </a:extLst>
            </p:cNvPr>
            <p:cNvSpPr>
              <a:spLocks noChangeArrowheads="1"/>
            </p:cNvSpPr>
            <p:nvPr/>
          </p:nvSpPr>
          <p:spPr bwMode="auto">
            <a:xfrm>
              <a:off x="4132374" y="4992060"/>
              <a:ext cx="233907" cy="233907"/>
            </a:xfrm>
            <a:prstGeom prst="rect">
              <a:avLst/>
            </a:prstGeom>
            <a:solidFill>
              <a:srgbClr val="8B934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56" name="Rectangle 27">
              <a:extLst>
                <a:ext uri="{FF2B5EF4-FFF2-40B4-BE49-F238E27FC236}">
                  <a16:creationId xmlns:a16="http://schemas.microsoft.com/office/drawing/2014/main" id="{05FC07BE-5381-42B8-AF2D-A13656335D3C}"/>
                </a:ext>
              </a:extLst>
            </p:cNvPr>
            <p:cNvSpPr>
              <a:spLocks noChangeArrowheads="1"/>
            </p:cNvSpPr>
            <p:nvPr/>
          </p:nvSpPr>
          <p:spPr bwMode="auto">
            <a:xfrm>
              <a:off x="4479510" y="4992060"/>
              <a:ext cx="233907" cy="233907"/>
            </a:xfrm>
            <a:prstGeom prst="rect">
              <a:avLst/>
            </a:prstGeom>
            <a:solidFill>
              <a:srgbClr val="8B934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57" name="Rectangle 28">
              <a:extLst>
                <a:ext uri="{FF2B5EF4-FFF2-40B4-BE49-F238E27FC236}">
                  <a16:creationId xmlns:a16="http://schemas.microsoft.com/office/drawing/2014/main" id="{6F385E48-1704-4908-AB89-9608F674E48A}"/>
                </a:ext>
              </a:extLst>
            </p:cNvPr>
            <p:cNvSpPr>
              <a:spLocks noChangeArrowheads="1"/>
            </p:cNvSpPr>
            <p:nvPr/>
          </p:nvSpPr>
          <p:spPr bwMode="auto">
            <a:xfrm>
              <a:off x="4829626" y="4992060"/>
              <a:ext cx="233907" cy="233907"/>
            </a:xfrm>
            <a:prstGeom prst="rect">
              <a:avLst/>
            </a:prstGeom>
            <a:solidFill>
              <a:srgbClr val="8B934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58" name="Rectangle 29">
              <a:extLst>
                <a:ext uri="{FF2B5EF4-FFF2-40B4-BE49-F238E27FC236}">
                  <a16:creationId xmlns:a16="http://schemas.microsoft.com/office/drawing/2014/main" id="{A3B4353F-8E34-4DA7-94EC-9634C46243F8}"/>
                </a:ext>
              </a:extLst>
            </p:cNvPr>
            <p:cNvSpPr>
              <a:spLocks noChangeArrowheads="1"/>
            </p:cNvSpPr>
            <p:nvPr/>
          </p:nvSpPr>
          <p:spPr bwMode="auto">
            <a:xfrm>
              <a:off x="4165151" y="3070150"/>
              <a:ext cx="1278294" cy="344156"/>
            </a:xfrm>
            <a:prstGeom prst="rect">
              <a:avLst/>
            </a:prstGeom>
            <a:solidFill>
              <a:srgbClr val="EDEBDF"/>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359" name="Rectangle 30">
              <a:extLst>
                <a:ext uri="{FF2B5EF4-FFF2-40B4-BE49-F238E27FC236}">
                  <a16:creationId xmlns:a16="http://schemas.microsoft.com/office/drawing/2014/main" id="{77DF217C-DE94-4BFC-AFAE-867D18CFBE73}"/>
                </a:ext>
              </a:extLst>
            </p:cNvPr>
            <p:cNvSpPr>
              <a:spLocks noChangeArrowheads="1"/>
            </p:cNvSpPr>
            <p:nvPr/>
          </p:nvSpPr>
          <p:spPr bwMode="auto">
            <a:xfrm>
              <a:off x="4165151" y="3563290"/>
              <a:ext cx="233907" cy="233907"/>
            </a:xfrm>
            <a:prstGeom prst="rect">
              <a:avLst/>
            </a:prstGeom>
            <a:solidFill>
              <a:srgbClr val="FCD0CA"/>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360" name="Rectangle 31">
              <a:extLst>
                <a:ext uri="{FF2B5EF4-FFF2-40B4-BE49-F238E27FC236}">
                  <a16:creationId xmlns:a16="http://schemas.microsoft.com/office/drawing/2014/main" id="{0781412E-B581-4C8E-BD8C-7D2256B68945}"/>
                </a:ext>
              </a:extLst>
            </p:cNvPr>
            <p:cNvSpPr>
              <a:spLocks noChangeArrowheads="1"/>
            </p:cNvSpPr>
            <p:nvPr/>
          </p:nvSpPr>
          <p:spPr bwMode="auto">
            <a:xfrm>
              <a:off x="4512286" y="3563290"/>
              <a:ext cx="233907" cy="233907"/>
            </a:xfrm>
            <a:prstGeom prst="rect">
              <a:avLst/>
            </a:prstGeom>
            <a:solidFill>
              <a:srgbClr val="FCD0CA"/>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361" name="Rectangle 32">
              <a:extLst>
                <a:ext uri="{FF2B5EF4-FFF2-40B4-BE49-F238E27FC236}">
                  <a16:creationId xmlns:a16="http://schemas.microsoft.com/office/drawing/2014/main" id="{5205A8DD-3DF7-460C-8A34-10A4229FDD84}"/>
                </a:ext>
              </a:extLst>
            </p:cNvPr>
            <p:cNvSpPr>
              <a:spLocks noChangeArrowheads="1"/>
            </p:cNvSpPr>
            <p:nvPr/>
          </p:nvSpPr>
          <p:spPr bwMode="auto">
            <a:xfrm>
              <a:off x="4862402" y="3563290"/>
              <a:ext cx="233907" cy="233907"/>
            </a:xfrm>
            <a:prstGeom prst="rect">
              <a:avLst/>
            </a:prstGeom>
            <a:solidFill>
              <a:srgbClr val="FCD0CA"/>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362" name="Rectangle 33">
              <a:extLst>
                <a:ext uri="{FF2B5EF4-FFF2-40B4-BE49-F238E27FC236}">
                  <a16:creationId xmlns:a16="http://schemas.microsoft.com/office/drawing/2014/main" id="{4012BE3F-3E94-4E3B-B17B-83163AEE59FC}"/>
                </a:ext>
              </a:extLst>
            </p:cNvPr>
            <p:cNvSpPr>
              <a:spLocks noChangeArrowheads="1"/>
            </p:cNvSpPr>
            <p:nvPr/>
          </p:nvSpPr>
          <p:spPr bwMode="auto">
            <a:xfrm>
              <a:off x="5209538" y="3563290"/>
              <a:ext cx="233907" cy="233907"/>
            </a:xfrm>
            <a:prstGeom prst="rect">
              <a:avLst/>
            </a:prstGeom>
            <a:solidFill>
              <a:srgbClr val="FCD0CA"/>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363" name="Rectangle 34">
              <a:extLst>
                <a:ext uri="{FF2B5EF4-FFF2-40B4-BE49-F238E27FC236}">
                  <a16:creationId xmlns:a16="http://schemas.microsoft.com/office/drawing/2014/main" id="{ABF8953E-9E88-451C-8CE7-387D6D610A0E}"/>
                </a:ext>
              </a:extLst>
            </p:cNvPr>
            <p:cNvSpPr>
              <a:spLocks noChangeArrowheads="1"/>
            </p:cNvSpPr>
            <p:nvPr/>
          </p:nvSpPr>
          <p:spPr bwMode="auto">
            <a:xfrm>
              <a:off x="4165151" y="4031104"/>
              <a:ext cx="233907" cy="233907"/>
            </a:xfrm>
            <a:prstGeom prst="rect">
              <a:avLst/>
            </a:prstGeom>
            <a:solidFill>
              <a:srgbClr val="F2E199"/>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364" name="Rectangle 35">
              <a:extLst>
                <a:ext uri="{FF2B5EF4-FFF2-40B4-BE49-F238E27FC236}">
                  <a16:creationId xmlns:a16="http://schemas.microsoft.com/office/drawing/2014/main" id="{BF6F0E66-9A12-4BC5-A454-73D471973F0B}"/>
                </a:ext>
              </a:extLst>
            </p:cNvPr>
            <p:cNvSpPr>
              <a:spLocks noChangeArrowheads="1"/>
            </p:cNvSpPr>
            <p:nvPr/>
          </p:nvSpPr>
          <p:spPr bwMode="auto">
            <a:xfrm>
              <a:off x="4512286" y="4031104"/>
              <a:ext cx="233907" cy="233907"/>
            </a:xfrm>
            <a:prstGeom prst="rect">
              <a:avLst/>
            </a:prstGeom>
            <a:solidFill>
              <a:srgbClr val="F2E199"/>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365" name="Rectangle 36">
              <a:extLst>
                <a:ext uri="{FF2B5EF4-FFF2-40B4-BE49-F238E27FC236}">
                  <a16:creationId xmlns:a16="http://schemas.microsoft.com/office/drawing/2014/main" id="{D5DCE471-A229-4BA6-B7E1-22D8813E19F9}"/>
                </a:ext>
              </a:extLst>
            </p:cNvPr>
            <p:cNvSpPr>
              <a:spLocks noChangeArrowheads="1"/>
            </p:cNvSpPr>
            <p:nvPr/>
          </p:nvSpPr>
          <p:spPr bwMode="auto">
            <a:xfrm>
              <a:off x="4862402" y="4031104"/>
              <a:ext cx="233907" cy="233907"/>
            </a:xfrm>
            <a:prstGeom prst="rect">
              <a:avLst/>
            </a:prstGeom>
            <a:solidFill>
              <a:srgbClr val="F2E199"/>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366" name="Rectangle 37">
              <a:extLst>
                <a:ext uri="{FF2B5EF4-FFF2-40B4-BE49-F238E27FC236}">
                  <a16:creationId xmlns:a16="http://schemas.microsoft.com/office/drawing/2014/main" id="{C730E1C2-7DCC-400F-A041-6795C6B29922}"/>
                </a:ext>
              </a:extLst>
            </p:cNvPr>
            <p:cNvSpPr>
              <a:spLocks noChangeArrowheads="1"/>
            </p:cNvSpPr>
            <p:nvPr/>
          </p:nvSpPr>
          <p:spPr bwMode="auto">
            <a:xfrm>
              <a:off x="5209538" y="4031104"/>
              <a:ext cx="233907" cy="233907"/>
            </a:xfrm>
            <a:prstGeom prst="rect">
              <a:avLst/>
            </a:prstGeom>
            <a:solidFill>
              <a:srgbClr val="F2E199"/>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367" name="Rectangle 38">
              <a:extLst>
                <a:ext uri="{FF2B5EF4-FFF2-40B4-BE49-F238E27FC236}">
                  <a16:creationId xmlns:a16="http://schemas.microsoft.com/office/drawing/2014/main" id="{8D627389-DB0D-4E21-81E5-61C40208C3D8}"/>
                </a:ext>
              </a:extLst>
            </p:cNvPr>
            <p:cNvSpPr>
              <a:spLocks noChangeArrowheads="1"/>
            </p:cNvSpPr>
            <p:nvPr/>
          </p:nvSpPr>
          <p:spPr bwMode="auto">
            <a:xfrm>
              <a:off x="4165151" y="4497429"/>
              <a:ext cx="233907" cy="233907"/>
            </a:xfrm>
            <a:prstGeom prst="rect">
              <a:avLst/>
            </a:prstGeom>
            <a:solidFill>
              <a:srgbClr val="F4EED4"/>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368" name="Rectangle 39">
              <a:extLst>
                <a:ext uri="{FF2B5EF4-FFF2-40B4-BE49-F238E27FC236}">
                  <a16:creationId xmlns:a16="http://schemas.microsoft.com/office/drawing/2014/main" id="{A0DE9EE3-1BD8-46AC-BA0F-55CF883F0C3F}"/>
                </a:ext>
              </a:extLst>
            </p:cNvPr>
            <p:cNvSpPr>
              <a:spLocks noChangeArrowheads="1"/>
            </p:cNvSpPr>
            <p:nvPr/>
          </p:nvSpPr>
          <p:spPr bwMode="auto">
            <a:xfrm>
              <a:off x="4512286" y="4497429"/>
              <a:ext cx="233907" cy="233907"/>
            </a:xfrm>
            <a:prstGeom prst="rect">
              <a:avLst/>
            </a:prstGeom>
            <a:solidFill>
              <a:srgbClr val="F4EED4"/>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369" name="Rectangle 40">
              <a:extLst>
                <a:ext uri="{FF2B5EF4-FFF2-40B4-BE49-F238E27FC236}">
                  <a16:creationId xmlns:a16="http://schemas.microsoft.com/office/drawing/2014/main" id="{65B96560-0A10-4E87-A353-186D23F85C5D}"/>
                </a:ext>
              </a:extLst>
            </p:cNvPr>
            <p:cNvSpPr>
              <a:spLocks noChangeArrowheads="1"/>
            </p:cNvSpPr>
            <p:nvPr/>
          </p:nvSpPr>
          <p:spPr bwMode="auto">
            <a:xfrm>
              <a:off x="4862402" y="4497429"/>
              <a:ext cx="233907" cy="233907"/>
            </a:xfrm>
            <a:prstGeom prst="rect">
              <a:avLst/>
            </a:prstGeom>
            <a:solidFill>
              <a:srgbClr val="F4EED4"/>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370" name="Rectangle 41">
              <a:extLst>
                <a:ext uri="{FF2B5EF4-FFF2-40B4-BE49-F238E27FC236}">
                  <a16:creationId xmlns:a16="http://schemas.microsoft.com/office/drawing/2014/main" id="{19BE3745-64FB-4CF0-B0F6-6A65DCE0DCC1}"/>
                </a:ext>
              </a:extLst>
            </p:cNvPr>
            <p:cNvSpPr>
              <a:spLocks noChangeArrowheads="1"/>
            </p:cNvSpPr>
            <p:nvPr/>
          </p:nvSpPr>
          <p:spPr bwMode="auto">
            <a:xfrm>
              <a:off x="5209538" y="4497429"/>
              <a:ext cx="233907" cy="701721"/>
            </a:xfrm>
            <a:prstGeom prst="rect">
              <a:avLst/>
            </a:prstGeom>
            <a:solidFill>
              <a:srgbClr val="F4EED4"/>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371" name="Rectangle 42">
              <a:extLst>
                <a:ext uri="{FF2B5EF4-FFF2-40B4-BE49-F238E27FC236}">
                  <a16:creationId xmlns:a16="http://schemas.microsoft.com/office/drawing/2014/main" id="{B751A247-A845-4C04-B868-7D6BC5B434ED}"/>
                </a:ext>
              </a:extLst>
            </p:cNvPr>
            <p:cNvSpPr>
              <a:spLocks noChangeArrowheads="1"/>
            </p:cNvSpPr>
            <p:nvPr/>
          </p:nvSpPr>
          <p:spPr bwMode="auto">
            <a:xfrm>
              <a:off x="4165151" y="4965243"/>
              <a:ext cx="233907" cy="233907"/>
            </a:xfrm>
            <a:prstGeom prst="rect">
              <a:avLst/>
            </a:prstGeom>
            <a:solidFill>
              <a:srgbClr val="B0D7EA"/>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372" name="Rectangle 43">
              <a:extLst>
                <a:ext uri="{FF2B5EF4-FFF2-40B4-BE49-F238E27FC236}">
                  <a16:creationId xmlns:a16="http://schemas.microsoft.com/office/drawing/2014/main" id="{AA3B045A-9E8C-43D2-8021-1CA92C5A3E43}"/>
                </a:ext>
              </a:extLst>
            </p:cNvPr>
            <p:cNvSpPr>
              <a:spLocks noChangeArrowheads="1"/>
            </p:cNvSpPr>
            <p:nvPr/>
          </p:nvSpPr>
          <p:spPr bwMode="auto">
            <a:xfrm>
              <a:off x="4512286" y="4965243"/>
              <a:ext cx="233907" cy="233907"/>
            </a:xfrm>
            <a:prstGeom prst="rect">
              <a:avLst/>
            </a:prstGeom>
            <a:solidFill>
              <a:srgbClr val="B0D7EA"/>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373" name="Rectangle 44">
              <a:extLst>
                <a:ext uri="{FF2B5EF4-FFF2-40B4-BE49-F238E27FC236}">
                  <a16:creationId xmlns:a16="http://schemas.microsoft.com/office/drawing/2014/main" id="{C4347A3E-C3A7-40CA-ACFF-EBBB36B23816}"/>
                </a:ext>
              </a:extLst>
            </p:cNvPr>
            <p:cNvSpPr>
              <a:spLocks noChangeArrowheads="1"/>
            </p:cNvSpPr>
            <p:nvPr/>
          </p:nvSpPr>
          <p:spPr bwMode="auto">
            <a:xfrm>
              <a:off x="4862402" y="4965243"/>
              <a:ext cx="233907" cy="233907"/>
            </a:xfrm>
            <a:prstGeom prst="rect">
              <a:avLst/>
            </a:prstGeom>
            <a:solidFill>
              <a:srgbClr val="B0D7EA"/>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374" name="Freeform 45">
              <a:extLst>
                <a:ext uri="{FF2B5EF4-FFF2-40B4-BE49-F238E27FC236}">
                  <a16:creationId xmlns:a16="http://schemas.microsoft.com/office/drawing/2014/main" id="{FBF45AA0-8104-4AF4-B069-CB1A094E147E}"/>
                </a:ext>
              </a:extLst>
            </p:cNvPr>
            <p:cNvSpPr>
              <a:spLocks noEditPoints="1"/>
            </p:cNvSpPr>
            <p:nvPr/>
          </p:nvSpPr>
          <p:spPr bwMode="auto">
            <a:xfrm>
              <a:off x="5683311" y="1648830"/>
              <a:ext cx="2179655" cy="2221371"/>
            </a:xfrm>
            <a:custGeom>
              <a:avLst/>
              <a:gdLst>
                <a:gd name="T0" fmla="*/ 1555 w 1604"/>
                <a:gd name="T1" fmla="*/ 0 h 1634"/>
                <a:gd name="T2" fmla="*/ 66 w 1604"/>
                <a:gd name="T3" fmla="*/ 0 h 1634"/>
                <a:gd name="T4" fmla="*/ 31 w 1604"/>
                <a:gd name="T5" fmla="*/ 83 h 1634"/>
                <a:gd name="T6" fmla="*/ 1520 w 1604"/>
                <a:gd name="T7" fmla="*/ 1602 h 1634"/>
                <a:gd name="T8" fmla="*/ 1604 w 1604"/>
                <a:gd name="T9" fmla="*/ 1568 h 1634"/>
                <a:gd name="T10" fmla="*/ 1604 w 1604"/>
                <a:gd name="T11" fmla="*/ 49 h 1634"/>
                <a:gd name="T12" fmla="*/ 1555 w 1604"/>
                <a:gd name="T13" fmla="*/ 0 h 1634"/>
                <a:gd name="T14" fmla="*/ 1349 w 1604"/>
                <a:gd name="T15" fmla="*/ 945 h 1634"/>
                <a:gd name="T16" fmla="*/ 1298 w 1604"/>
                <a:gd name="T17" fmla="*/ 966 h 1634"/>
                <a:gd name="T18" fmla="*/ 641 w 1604"/>
                <a:gd name="T19" fmla="*/ 310 h 1634"/>
                <a:gd name="T20" fmla="*/ 662 w 1604"/>
                <a:gd name="T21" fmla="*/ 259 h 1634"/>
                <a:gd name="T22" fmla="*/ 1319 w 1604"/>
                <a:gd name="T23" fmla="*/ 259 h 1634"/>
                <a:gd name="T24" fmla="*/ 1349 w 1604"/>
                <a:gd name="T25" fmla="*/ 289 h 1634"/>
                <a:gd name="T26" fmla="*/ 1349 w 1604"/>
                <a:gd name="T27" fmla="*/ 945 h 16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04" h="1634">
                  <a:moveTo>
                    <a:pt x="1555" y="0"/>
                  </a:moveTo>
                  <a:cubicBezTo>
                    <a:pt x="66" y="0"/>
                    <a:pt x="66" y="0"/>
                    <a:pt x="66" y="0"/>
                  </a:cubicBezTo>
                  <a:cubicBezTo>
                    <a:pt x="22" y="0"/>
                    <a:pt x="0" y="52"/>
                    <a:pt x="31" y="83"/>
                  </a:cubicBezTo>
                  <a:cubicBezTo>
                    <a:pt x="1520" y="1602"/>
                    <a:pt x="1520" y="1602"/>
                    <a:pt x="1520" y="1602"/>
                  </a:cubicBezTo>
                  <a:cubicBezTo>
                    <a:pt x="1550" y="1634"/>
                    <a:pt x="1604" y="1612"/>
                    <a:pt x="1604" y="1568"/>
                  </a:cubicBezTo>
                  <a:cubicBezTo>
                    <a:pt x="1604" y="49"/>
                    <a:pt x="1604" y="49"/>
                    <a:pt x="1604" y="49"/>
                  </a:cubicBezTo>
                  <a:cubicBezTo>
                    <a:pt x="1604" y="22"/>
                    <a:pt x="1582" y="0"/>
                    <a:pt x="1555" y="0"/>
                  </a:cubicBezTo>
                  <a:close/>
                  <a:moveTo>
                    <a:pt x="1349" y="945"/>
                  </a:moveTo>
                  <a:cubicBezTo>
                    <a:pt x="1349" y="972"/>
                    <a:pt x="1317" y="985"/>
                    <a:pt x="1298" y="966"/>
                  </a:cubicBezTo>
                  <a:cubicBezTo>
                    <a:pt x="641" y="310"/>
                    <a:pt x="641" y="310"/>
                    <a:pt x="641" y="310"/>
                  </a:cubicBezTo>
                  <a:cubicBezTo>
                    <a:pt x="622" y="292"/>
                    <a:pt x="635" y="259"/>
                    <a:pt x="662" y="259"/>
                  </a:cubicBezTo>
                  <a:cubicBezTo>
                    <a:pt x="1319" y="259"/>
                    <a:pt x="1319" y="259"/>
                    <a:pt x="1319" y="259"/>
                  </a:cubicBezTo>
                  <a:cubicBezTo>
                    <a:pt x="1336" y="259"/>
                    <a:pt x="1349" y="273"/>
                    <a:pt x="1349" y="289"/>
                  </a:cubicBezTo>
                  <a:lnTo>
                    <a:pt x="1349" y="945"/>
                  </a:lnTo>
                  <a:close/>
                </a:path>
              </a:pathLst>
            </a:custGeom>
            <a:solidFill>
              <a:srgbClr val="D1CDC9">
                <a:alpha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75" name="Freeform 46">
              <a:extLst>
                <a:ext uri="{FF2B5EF4-FFF2-40B4-BE49-F238E27FC236}">
                  <a16:creationId xmlns:a16="http://schemas.microsoft.com/office/drawing/2014/main" id="{8FA7498E-9D50-445D-BA28-AF0B9CED6353}"/>
                </a:ext>
              </a:extLst>
            </p:cNvPr>
            <p:cNvSpPr>
              <a:spLocks noEditPoints="1"/>
            </p:cNvSpPr>
            <p:nvPr/>
          </p:nvSpPr>
          <p:spPr bwMode="auto">
            <a:xfrm>
              <a:off x="5725027" y="1602644"/>
              <a:ext cx="2179655" cy="2221371"/>
            </a:xfrm>
            <a:custGeom>
              <a:avLst/>
              <a:gdLst>
                <a:gd name="T0" fmla="*/ 1555 w 1604"/>
                <a:gd name="T1" fmla="*/ 0 h 1634"/>
                <a:gd name="T2" fmla="*/ 66 w 1604"/>
                <a:gd name="T3" fmla="*/ 0 h 1634"/>
                <a:gd name="T4" fmla="*/ 31 w 1604"/>
                <a:gd name="T5" fmla="*/ 84 h 1634"/>
                <a:gd name="T6" fmla="*/ 1520 w 1604"/>
                <a:gd name="T7" fmla="*/ 1603 h 1634"/>
                <a:gd name="T8" fmla="*/ 1604 w 1604"/>
                <a:gd name="T9" fmla="*/ 1568 h 1634"/>
                <a:gd name="T10" fmla="*/ 1604 w 1604"/>
                <a:gd name="T11" fmla="*/ 49 h 1634"/>
                <a:gd name="T12" fmla="*/ 1555 w 1604"/>
                <a:gd name="T13" fmla="*/ 0 h 1634"/>
                <a:gd name="T14" fmla="*/ 1349 w 1604"/>
                <a:gd name="T15" fmla="*/ 946 h 1634"/>
                <a:gd name="T16" fmla="*/ 1298 w 1604"/>
                <a:gd name="T17" fmla="*/ 967 h 1634"/>
                <a:gd name="T18" fmla="*/ 641 w 1604"/>
                <a:gd name="T19" fmla="*/ 311 h 1634"/>
                <a:gd name="T20" fmla="*/ 662 w 1604"/>
                <a:gd name="T21" fmla="*/ 260 h 1634"/>
                <a:gd name="T22" fmla="*/ 1320 w 1604"/>
                <a:gd name="T23" fmla="*/ 260 h 1634"/>
                <a:gd name="T24" fmla="*/ 1349 w 1604"/>
                <a:gd name="T25" fmla="*/ 290 h 1634"/>
                <a:gd name="T26" fmla="*/ 1349 w 1604"/>
                <a:gd name="T27" fmla="*/ 946 h 16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04" h="1634">
                  <a:moveTo>
                    <a:pt x="1555" y="0"/>
                  </a:moveTo>
                  <a:cubicBezTo>
                    <a:pt x="66" y="0"/>
                    <a:pt x="66" y="0"/>
                    <a:pt x="66" y="0"/>
                  </a:cubicBezTo>
                  <a:cubicBezTo>
                    <a:pt x="22" y="0"/>
                    <a:pt x="0" y="53"/>
                    <a:pt x="31" y="84"/>
                  </a:cubicBezTo>
                  <a:cubicBezTo>
                    <a:pt x="1520" y="1603"/>
                    <a:pt x="1520" y="1603"/>
                    <a:pt x="1520" y="1603"/>
                  </a:cubicBezTo>
                  <a:cubicBezTo>
                    <a:pt x="1551" y="1634"/>
                    <a:pt x="1604" y="1612"/>
                    <a:pt x="1604" y="1568"/>
                  </a:cubicBezTo>
                  <a:cubicBezTo>
                    <a:pt x="1604" y="49"/>
                    <a:pt x="1604" y="49"/>
                    <a:pt x="1604" y="49"/>
                  </a:cubicBezTo>
                  <a:cubicBezTo>
                    <a:pt x="1604" y="22"/>
                    <a:pt x="1582" y="0"/>
                    <a:pt x="1555" y="0"/>
                  </a:cubicBezTo>
                  <a:close/>
                  <a:moveTo>
                    <a:pt x="1349" y="946"/>
                  </a:moveTo>
                  <a:cubicBezTo>
                    <a:pt x="1349" y="972"/>
                    <a:pt x="1317" y="986"/>
                    <a:pt x="1298" y="967"/>
                  </a:cubicBezTo>
                  <a:cubicBezTo>
                    <a:pt x="641" y="311"/>
                    <a:pt x="641" y="311"/>
                    <a:pt x="641" y="311"/>
                  </a:cubicBezTo>
                  <a:cubicBezTo>
                    <a:pt x="622" y="292"/>
                    <a:pt x="635" y="260"/>
                    <a:pt x="662" y="260"/>
                  </a:cubicBezTo>
                  <a:cubicBezTo>
                    <a:pt x="1320" y="260"/>
                    <a:pt x="1320" y="260"/>
                    <a:pt x="1320" y="260"/>
                  </a:cubicBezTo>
                  <a:cubicBezTo>
                    <a:pt x="1336" y="260"/>
                    <a:pt x="1349" y="273"/>
                    <a:pt x="1349" y="290"/>
                  </a:cubicBezTo>
                  <a:lnTo>
                    <a:pt x="1349" y="946"/>
                  </a:lnTo>
                  <a:close/>
                </a:path>
              </a:pathLst>
            </a:custGeom>
            <a:solidFill>
              <a:srgbClr val="EFB395"/>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376" name="Freeform 47">
              <a:extLst>
                <a:ext uri="{FF2B5EF4-FFF2-40B4-BE49-F238E27FC236}">
                  <a16:creationId xmlns:a16="http://schemas.microsoft.com/office/drawing/2014/main" id="{A89D079E-01E1-4D9A-AFD0-D75A38226A18}"/>
                </a:ext>
              </a:extLst>
            </p:cNvPr>
            <p:cNvSpPr>
              <a:spLocks/>
            </p:cNvSpPr>
            <p:nvPr/>
          </p:nvSpPr>
          <p:spPr bwMode="auto">
            <a:xfrm>
              <a:off x="4700008" y="1578806"/>
              <a:ext cx="481223" cy="546776"/>
            </a:xfrm>
            <a:custGeom>
              <a:avLst/>
              <a:gdLst>
                <a:gd name="T0" fmla="*/ 113 w 323"/>
                <a:gd name="T1" fmla="*/ 36 h 367"/>
                <a:gd name="T2" fmla="*/ 104 w 323"/>
                <a:gd name="T3" fmla="*/ 44 h 367"/>
                <a:gd name="T4" fmla="*/ 69 w 323"/>
                <a:gd name="T5" fmla="*/ 0 h 367"/>
                <a:gd name="T6" fmla="*/ 0 w 323"/>
                <a:gd name="T7" fmla="*/ 57 h 367"/>
                <a:gd name="T8" fmla="*/ 35 w 323"/>
                <a:gd name="T9" fmla="*/ 100 h 367"/>
                <a:gd name="T10" fmla="*/ 69 w 323"/>
                <a:gd name="T11" fmla="*/ 71 h 367"/>
                <a:gd name="T12" fmla="*/ 26 w 323"/>
                <a:gd name="T13" fmla="*/ 107 h 367"/>
                <a:gd name="T14" fmla="*/ 236 w 323"/>
                <a:gd name="T15" fmla="*/ 367 h 367"/>
                <a:gd name="T16" fmla="*/ 323 w 323"/>
                <a:gd name="T17" fmla="*/ 296 h 367"/>
                <a:gd name="T18" fmla="*/ 113 w 323"/>
                <a:gd name="T19" fmla="*/ 36 h 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3" h="367">
                  <a:moveTo>
                    <a:pt x="113" y="36"/>
                  </a:moveTo>
                  <a:lnTo>
                    <a:pt x="104" y="44"/>
                  </a:lnTo>
                  <a:lnTo>
                    <a:pt x="69" y="0"/>
                  </a:lnTo>
                  <a:lnTo>
                    <a:pt x="0" y="57"/>
                  </a:lnTo>
                  <a:lnTo>
                    <a:pt x="35" y="100"/>
                  </a:lnTo>
                  <a:lnTo>
                    <a:pt x="69" y="71"/>
                  </a:lnTo>
                  <a:lnTo>
                    <a:pt x="26" y="107"/>
                  </a:lnTo>
                  <a:lnTo>
                    <a:pt x="236" y="367"/>
                  </a:lnTo>
                  <a:lnTo>
                    <a:pt x="323" y="296"/>
                  </a:lnTo>
                  <a:lnTo>
                    <a:pt x="113" y="36"/>
                  </a:lnTo>
                  <a:close/>
                </a:path>
              </a:pathLst>
            </a:custGeom>
            <a:solidFill>
              <a:srgbClr val="D1CDC9">
                <a:alpha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77" name="Freeform 48">
              <a:extLst>
                <a:ext uri="{FF2B5EF4-FFF2-40B4-BE49-F238E27FC236}">
                  <a16:creationId xmlns:a16="http://schemas.microsoft.com/office/drawing/2014/main" id="{EB4E4319-8C82-4E0F-AB75-9AFEB61A87EE}"/>
                </a:ext>
              </a:extLst>
            </p:cNvPr>
            <p:cNvSpPr>
              <a:spLocks/>
            </p:cNvSpPr>
            <p:nvPr/>
          </p:nvSpPr>
          <p:spPr bwMode="auto">
            <a:xfrm>
              <a:off x="5062043" y="2027253"/>
              <a:ext cx="725559" cy="852196"/>
            </a:xfrm>
            <a:custGeom>
              <a:avLst/>
              <a:gdLst>
                <a:gd name="T0" fmla="*/ 487 w 487"/>
                <a:gd name="T1" fmla="*/ 513 h 572"/>
                <a:gd name="T2" fmla="*/ 73 w 487"/>
                <a:gd name="T3" fmla="*/ 0 h 572"/>
                <a:gd name="T4" fmla="*/ 0 w 487"/>
                <a:gd name="T5" fmla="*/ 60 h 572"/>
                <a:gd name="T6" fmla="*/ 415 w 487"/>
                <a:gd name="T7" fmla="*/ 572 h 572"/>
                <a:gd name="T8" fmla="*/ 487 w 487"/>
                <a:gd name="T9" fmla="*/ 513 h 572"/>
              </a:gdLst>
              <a:ahLst/>
              <a:cxnLst>
                <a:cxn ang="0">
                  <a:pos x="T0" y="T1"/>
                </a:cxn>
                <a:cxn ang="0">
                  <a:pos x="T2" y="T3"/>
                </a:cxn>
                <a:cxn ang="0">
                  <a:pos x="T4" y="T5"/>
                </a:cxn>
                <a:cxn ang="0">
                  <a:pos x="T6" y="T7"/>
                </a:cxn>
                <a:cxn ang="0">
                  <a:pos x="T8" y="T9"/>
                </a:cxn>
              </a:cxnLst>
              <a:rect l="0" t="0" r="r" b="b"/>
              <a:pathLst>
                <a:path w="487" h="572">
                  <a:moveTo>
                    <a:pt x="487" y="513"/>
                  </a:moveTo>
                  <a:lnTo>
                    <a:pt x="73" y="0"/>
                  </a:lnTo>
                  <a:lnTo>
                    <a:pt x="0" y="60"/>
                  </a:lnTo>
                  <a:lnTo>
                    <a:pt x="415" y="572"/>
                  </a:lnTo>
                  <a:lnTo>
                    <a:pt x="487" y="513"/>
                  </a:lnTo>
                  <a:close/>
                </a:path>
              </a:pathLst>
            </a:custGeom>
            <a:solidFill>
              <a:srgbClr val="D1CDC9">
                <a:alpha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78" name="Freeform 49">
              <a:extLst>
                <a:ext uri="{FF2B5EF4-FFF2-40B4-BE49-F238E27FC236}">
                  <a16:creationId xmlns:a16="http://schemas.microsoft.com/office/drawing/2014/main" id="{8EF8C11A-08BF-44B0-8A2E-13ED3939A205}"/>
                </a:ext>
              </a:extLst>
            </p:cNvPr>
            <p:cNvSpPr>
              <a:spLocks/>
            </p:cNvSpPr>
            <p:nvPr/>
          </p:nvSpPr>
          <p:spPr bwMode="auto">
            <a:xfrm>
              <a:off x="5671392" y="2787078"/>
              <a:ext cx="205600" cy="217519"/>
            </a:xfrm>
            <a:custGeom>
              <a:avLst/>
              <a:gdLst>
                <a:gd name="T0" fmla="*/ 103 w 151"/>
                <a:gd name="T1" fmla="*/ 30 h 161"/>
                <a:gd name="T2" fmla="*/ 106 w 151"/>
                <a:gd name="T3" fmla="*/ 8 h 161"/>
                <a:gd name="T4" fmla="*/ 106 w 151"/>
                <a:gd name="T5" fmla="*/ 8 h 161"/>
                <a:gd name="T6" fmla="*/ 84 w 151"/>
                <a:gd name="T7" fmla="*/ 5 h 161"/>
                <a:gd name="T8" fmla="*/ 8 w 151"/>
                <a:gd name="T9" fmla="*/ 67 h 161"/>
                <a:gd name="T10" fmla="*/ 5 w 151"/>
                <a:gd name="T11" fmla="*/ 89 h 161"/>
                <a:gd name="T12" fmla="*/ 27 w 151"/>
                <a:gd name="T13" fmla="*/ 91 h 161"/>
                <a:gd name="T14" fmla="*/ 151 w 151"/>
                <a:gd name="T15" fmla="*/ 161 h 161"/>
                <a:gd name="T16" fmla="*/ 103 w 151"/>
                <a:gd name="T17" fmla="*/ 3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1" h="161">
                  <a:moveTo>
                    <a:pt x="103" y="30"/>
                  </a:moveTo>
                  <a:cubicBezTo>
                    <a:pt x="110" y="24"/>
                    <a:pt x="111" y="14"/>
                    <a:pt x="106" y="8"/>
                  </a:cubicBezTo>
                  <a:cubicBezTo>
                    <a:pt x="106" y="8"/>
                    <a:pt x="106" y="8"/>
                    <a:pt x="106" y="8"/>
                  </a:cubicBezTo>
                  <a:cubicBezTo>
                    <a:pt x="100" y="1"/>
                    <a:pt x="90" y="0"/>
                    <a:pt x="84" y="5"/>
                  </a:cubicBezTo>
                  <a:cubicBezTo>
                    <a:pt x="8" y="67"/>
                    <a:pt x="8" y="67"/>
                    <a:pt x="8" y="67"/>
                  </a:cubicBezTo>
                  <a:cubicBezTo>
                    <a:pt x="1" y="72"/>
                    <a:pt x="0" y="82"/>
                    <a:pt x="5" y="89"/>
                  </a:cubicBezTo>
                  <a:cubicBezTo>
                    <a:pt x="11" y="95"/>
                    <a:pt x="21" y="96"/>
                    <a:pt x="27" y="91"/>
                  </a:cubicBezTo>
                  <a:cubicBezTo>
                    <a:pt x="151" y="161"/>
                    <a:pt x="151" y="161"/>
                    <a:pt x="151" y="161"/>
                  </a:cubicBezTo>
                  <a:lnTo>
                    <a:pt x="103" y="30"/>
                  </a:lnTo>
                  <a:close/>
                </a:path>
              </a:pathLst>
            </a:custGeom>
            <a:solidFill>
              <a:srgbClr val="D1CDC9">
                <a:alpha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79" name="Freeform 50">
              <a:extLst>
                <a:ext uri="{FF2B5EF4-FFF2-40B4-BE49-F238E27FC236}">
                  <a16:creationId xmlns:a16="http://schemas.microsoft.com/office/drawing/2014/main" id="{2849E369-0968-4902-8BB3-99A4FE2071EA}"/>
                </a:ext>
              </a:extLst>
            </p:cNvPr>
            <p:cNvSpPr>
              <a:spLocks/>
            </p:cNvSpPr>
            <p:nvPr/>
          </p:nvSpPr>
          <p:spPr bwMode="auto">
            <a:xfrm>
              <a:off x="4764072" y="1595195"/>
              <a:ext cx="442487" cy="493142"/>
            </a:xfrm>
            <a:custGeom>
              <a:avLst/>
              <a:gdLst>
                <a:gd name="T0" fmla="*/ 297 w 297"/>
                <a:gd name="T1" fmla="*/ 259 h 331"/>
                <a:gd name="T2" fmla="*/ 210 w 297"/>
                <a:gd name="T3" fmla="*/ 331 h 331"/>
                <a:gd name="T4" fmla="*/ 0 w 297"/>
                <a:gd name="T5" fmla="*/ 71 h 331"/>
                <a:gd name="T6" fmla="*/ 88 w 297"/>
                <a:gd name="T7" fmla="*/ 0 h 331"/>
                <a:gd name="T8" fmla="*/ 297 w 297"/>
                <a:gd name="T9" fmla="*/ 259 h 331"/>
              </a:gdLst>
              <a:ahLst/>
              <a:cxnLst>
                <a:cxn ang="0">
                  <a:pos x="T0" y="T1"/>
                </a:cxn>
                <a:cxn ang="0">
                  <a:pos x="T2" y="T3"/>
                </a:cxn>
                <a:cxn ang="0">
                  <a:pos x="T4" y="T5"/>
                </a:cxn>
                <a:cxn ang="0">
                  <a:pos x="T6" y="T7"/>
                </a:cxn>
                <a:cxn ang="0">
                  <a:pos x="T8" y="T9"/>
                </a:cxn>
              </a:cxnLst>
              <a:rect l="0" t="0" r="r" b="b"/>
              <a:pathLst>
                <a:path w="297" h="331">
                  <a:moveTo>
                    <a:pt x="297" y="259"/>
                  </a:moveTo>
                  <a:lnTo>
                    <a:pt x="210" y="331"/>
                  </a:lnTo>
                  <a:lnTo>
                    <a:pt x="0" y="71"/>
                  </a:lnTo>
                  <a:lnTo>
                    <a:pt x="88" y="0"/>
                  </a:lnTo>
                  <a:lnTo>
                    <a:pt x="297" y="259"/>
                  </a:lnTo>
                  <a:close/>
                </a:path>
              </a:pathLst>
            </a:custGeom>
            <a:solidFill>
              <a:srgbClr val="EFB26A"/>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380" name="Freeform 51">
              <a:extLst>
                <a:ext uri="{FF2B5EF4-FFF2-40B4-BE49-F238E27FC236}">
                  <a16:creationId xmlns:a16="http://schemas.microsoft.com/office/drawing/2014/main" id="{2A6EB352-0393-4CFD-9529-CCFB0AF1AE2B}"/>
                </a:ext>
              </a:extLst>
            </p:cNvPr>
            <p:cNvSpPr>
              <a:spLocks/>
            </p:cNvSpPr>
            <p:nvPr/>
          </p:nvSpPr>
          <p:spPr bwMode="auto">
            <a:xfrm>
              <a:off x="4725336" y="1543050"/>
              <a:ext cx="154945" cy="147496"/>
            </a:xfrm>
            <a:custGeom>
              <a:avLst/>
              <a:gdLst>
                <a:gd name="T0" fmla="*/ 69 w 104"/>
                <a:gd name="T1" fmla="*/ 0 h 99"/>
                <a:gd name="T2" fmla="*/ 0 w 104"/>
                <a:gd name="T3" fmla="*/ 56 h 99"/>
                <a:gd name="T4" fmla="*/ 35 w 104"/>
                <a:gd name="T5" fmla="*/ 99 h 99"/>
                <a:gd name="T6" fmla="*/ 104 w 104"/>
                <a:gd name="T7" fmla="*/ 43 h 99"/>
                <a:gd name="T8" fmla="*/ 69 w 104"/>
                <a:gd name="T9" fmla="*/ 0 h 99"/>
              </a:gdLst>
              <a:ahLst/>
              <a:cxnLst>
                <a:cxn ang="0">
                  <a:pos x="T0" y="T1"/>
                </a:cxn>
                <a:cxn ang="0">
                  <a:pos x="T2" y="T3"/>
                </a:cxn>
                <a:cxn ang="0">
                  <a:pos x="T4" y="T5"/>
                </a:cxn>
                <a:cxn ang="0">
                  <a:pos x="T6" y="T7"/>
                </a:cxn>
                <a:cxn ang="0">
                  <a:pos x="T8" y="T9"/>
                </a:cxn>
              </a:cxnLst>
              <a:rect l="0" t="0" r="r" b="b"/>
              <a:pathLst>
                <a:path w="104" h="99">
                  <a:moveTo>
                    <a:pt x="69" y="0"/>
                  </a:moveTo>
                  <a:lnTo>
                    <a:pt x="0" y="56"/>
                  </a:lnTo>
                  <a:lnTo>
                    <a:pt x="35" y="99"/>
                  </a:lnTo>
                  <a:lnTo>
                    <a:pt x="104" y="43"/>
                  </a:lnTo>
                  <a:lnTo>
                    <a:pt x="69" y="0"/>
                  </a:lnTo>
                  <a:close/>
                </a:path>
              </a:pathLst>
            </a:custGeom>
            <a:solidFill>
              <a:srgbClr val="A6DBE2"/>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381" name="Freeform 52">
              <a:extLst>
                <a:ext uri="{FF2B5EF4-FFF2-40B4-BE49-F238E27FC236}">
                  <a16:creationId xmlns:a16="http://schemas.microsoft.com/office/drawing/2014/main" id="{D2AFFFDB-C306-4F96-BBFE-DE6C080B691E}"/>
                </a:ext>
              </a:extLst>
            </p:cNvPr>
            <p:cNvSpPr>
              <a:spLocks/>
            </p:cNvSpPr>
            <p:nvPr/>
          </p:nvSpPr>
          <p:spPr bwMode="auto">
            <a:xfrm>
              <a:off x="5087370" y="1991496"/>
              <a:ext cx="725559" cy="850706"/>
            </a:xfrm>
            <a:custGeom>
              <a:avLst/>
              <a:gdLst>
                <a:gd name="T0" fmla="*/ 487 w 487"/>
                <a:gd name="T1" fmla="*/ 513 h 571"/>
                <a:gd name="T2" fmla="*/ 415 w 487"/>
                <a:gd name="T3" fmla="*/ 571 h 571"/>
                <a:gd name="T4" fmla="*/ 0 w 487"/>
                <a:gd name="T5" fmla="*/ 59 h 571"/>
                <a:gd name="T6" fmla="*/ 73 w 487"/>
                <a:gd name="T7" fmla="*/ 0 h 571"/>
                <a:gd name="T8" fmla="*/ 487 w 487"/>
                <a:gd name="T9" fmla="*/ 513 h 571"/>
              </a:gdLst>
              <a:ahLst/>
              <a:cxnLst>
                <a:cxn ang="0">
                  <a:pos x="T0" y="T1"/>
                </a:cxn>
                <a:cxn ang="0">
                  <a:pos x="T2" y="T3"/>
                </a:cxn>
                <a:cxn ang="0">
                  <a:pos x="T4" y="T5"/>
                </a:cxn>
                <a:cxn ang="0">
                  <a:pos x="T6" y="T7"/>
                </a:cxn>
                <a:cxn ang="0">
                  <a:pos x="T8" y="T9"/>
                </a:cxn>
              </a:cxnLst>
              <a:rect l="0" t="0" r="r" b="b"/>
              <a:pathLst>
                <a:path w="487" h="571">
                  <a:moveTo>
                    <a:pt x="487" y="513"/>
                  </a:moveTo>
                  <a:lnTo>
                    <a:pt x="415" y="571"/>
                  </a:lnTo>
                  <a:lnTo>
                    <a:pt x="0" y="59"/>
                  </a:lnTo>
                  <a:lnTo>
                    <a:pt x="73" y="0"/>
                  </a:lnTo>
                  <a:lnTo>
                    <a:pt x="487" y="513"/>
                  </a:lnTo>
                  <a:close/>
                </a:path>
              </a:pathLst>
            </a:custGeom>
            <a:solidFill>
              <a:srgbClr val="A6DBE2"/>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382" name="Freeform 53">
              <a:extLst>
                <a:ext uri="{FF2B5EF4-FFF2-40B4-BE49-F238E27FC236}">
                  <a16:creationId xmlns:a16="http://schemas.microsoft.com/office/drawing/2014/main" id="{999400EA-9272-4EE5-A576-EF9F9BB74EE0}"/>
                </a:ext>
              </a:extLst>
            </p:cNvPr>
            <p:cNvSpPr>
              <a:spLocks/>
            </p:cNvSpPr>
            <p:nvPr/>
          </p:nvSpPr>
          <p:spPr bwMode="auto">
            <a:xfrm>
              <a:off x="5698209" y="2749831"/>
              <a:ext cx="150476" cy="129618"/>
            </a:xfrm>
            <a:custGeom>
              <a:avLst/>
              <a:gdLst>
                <a:gd name="T0" fmla="*/ 84 w 111"/>
                <a:gd name="T1" fmla="*/ 5 h 96"/>
                <a:gd name="T2" fmla="*/ 8 w 111"/>
                <a:gd name="T3" fmla="*/ 66 h 96"/>
                <a:gd name="T4" fmla="*/ 5 w 111"/>
                <a:gd name="T5" fmla="*/ 88 h 96"/>
                <a:gd name="T6" fmla="*/ 5 w 111"/>
                <a:gd name="T7" fmla="*/ 88 h 96"/>
                <a:gd name="T8" fmla="*/ 27 w 111"/>
                <a:gd name="T9" fmla="*/ 91 h 96"/>
                <a:gd name="T10" fmla="*/ 103 w 111"/>
                <a:gd name="T11" fmla="*/ 29 h 96"/>
                <a:gd name="T12" fmla="*/ 105 w 111"/>
                <a:gd name="T13" fmla="*/ 7 h 96"/>
                <a:gd name="T14" fmla="*/ 105 w 111"/>
                <a:gd name="T15" fmla="*/ 7 h 96"/>
                <a:gd name="T16" fmla="*/ 84 w 111"/>
                <a:gd name="T17" fmla="*/ 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1" h="96">
                  <a:moveTo>
                    <a:pt x="84" y="5"/>
                  </a:moveTo>
                  <a:cubicBezTo>
                    <a:pt x="8" y="66"/>
                    <a:pt x="8" y="66"/>
                    <a:pt x="8" y="66"/>
                  </a:cubicBezTo>
                  <a:cubicBezTo>
                    <a:pt x="1" y="72"/>
                    <a:pt x="0" y="82"/>
                    <a:pt x="5" y="88"/>
                  </a:cubicBezTo>
                  <a:cubicBezTo>
                    <a:pt x="5" y="88"/>
                    <a:pt x="5" y="88"/>
                    <a:pt x="5" y="88"/>
                  </a:cubicBezTo>
                  <a:cubicBezTo>
                    <a:pt x="11" y="95"/>
                    <a:pt x="21" y="96"/>
                    <a:pt x="27" y="91"/>
                  </a:cubicBezTo>
                  <a:cubicBezTo>
                    <a:pt x="103" y="29"/>
                    <a:pt x="103" y="29"/>
                    <a:pt x="103" y="29"/>
                  </a:cubicBezTo>
                  <a:cubicBezTo>
                    <a:pt x="110" y="24"/>
                    <a:pt x="111" y="14"/>
                    <a:pt x="105" y="7"/>
                  </a:cubicBezTo>
                  <a:cubicBezTo>
                    <a:pt x="105" y="7"/>
                    <a:pt x="105" y="7"/>
                    <a:pt x="105" y="7"/>
                  </a:cubicBezTo>
                  <a:cubicBezTo>
                    <a:pt x="100" y="1"/>
                    <a:pt x="90" y="0"/>
                    <a:pt x="84" y="5"/>
                  </a:cubicBezTo>
                  <a:close/>
                </a:path>
              </a:pathLst>
            </a:custGeom>
            <a:solidFill>
              <a:srgbClr val="A6DBE2"/>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383" name="Freeform 54">
              <a:extLst>
                <a:ext uri="{FF2B5EF4-FFF2-40B4-BE49-F238E27FC236}">
                  <a16:creationId xmlns:a16="http://schemas.microsoft.com/office/drawing/2014/main" id="{0BB43F93-BBB4-4CAA-B586-89960F657760}"/>
                </a:ext>
              </a:extLst>
            </p:cNvPr>
            <p:cNvSpPr>
              <a:spLocks/>
            </p:cNvSpPr>
            <p:nvPr/>
          </p:nvSpPr>
          <p:spPr bwMode="auto">
            <a:xfrm>
              <a:off x="5733966" y="2788567"/>
              <a:ext cx="169843" cy="180273"/>
            </a:xfrm>
            <a:custGeom>
              <a:avLst/>
              <a:gdLst>
                <a:gd name="T0" fmla="*/ 0 w 114"/>
                <a:gd name="T1" fmla="*/ 57 h 121"/>
                <a:gd name="T2" fmla="*/ 114 w 114"/>
                <a:gd name="T3" fmla="*/ 121 h 121"/>
                <a:gd name="T4" fmla="*/ 70 w 114"/>
                <a:gd name="T5" fmla="*/ 0 h 121"/>
                <a:gd name="T6" fmla="*/ 0 w 114"/>
                <a:gd name="T7" fmla="*/ 57 h 121"/>
              </a:gdLst>
              <a:ahLst/>
              <a:cxnLst>
                <a:cxn ang="0">
                  <a:pos x="T0" y="T1"/>
                </a:cxn>
                <a:cxn ang="0">
                  <a:pos x="T2" y="T3"/>
                </a:cxn>
                <a:cxn ang="0">
                  <a:pos x="T4" y="T5"/>
                </a:cxn>
                <a:cxn ang="0">
                  <a:pos x="T6" y="T7"/>
                </a:cxn>
              </a:cxnLst>
              <a:rect l="0" t="0" r="r" b="b"/>
              <a:pathLst>
                <a:path w="114" h="121">
                  <a:moveTo>
                    <a:pt x="0" y="57"/>
                  </a:moveTo>
                  <a:lnTo>
                    <a:pt x="114" y="121"/>
                  </a:lnTo>
                  <a:lnTo>
                    <a:pt x="70" y="0"/>
                  </a:lnTo>
                  <a:lnTo>
                    <a:pt x="0" y="57"/>
                  </a:lnTo>
                  <a:close/>
                </a:path>
              </a:pathLst>
            </a:custGeom>
            <a:solidFill>
              <a:srgbClr val="D2FCFF"/>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384" name="Freeform 55">
              <a:extLst>
                <a:ext uri="{FF2B5EF4-FFF2-40B4-BE49-F238E27FC236}">
                  <a16:creationId xmlns:a16="http://schemas.microsoft.com/office/drawing/2014/main" id="{ED363F89-EE66-4CE0-8F5E-CA9ACCC08835}"/>
                </a:ext>
              </a:extLst>
            </p:cNvPr>
            <p:cNvSpPr>
              <a:spLocks/>
            </p:cNvSpPr>
            <p:nvPr/>
          </p:nvSpPr>
          <p:spPr bwMode="auto">
            <a:xfrm>
              <a:off x="6596591" y="4291829"/>
              <a:ext cx="1162085" cy="1296172"/>
            </a:xfrm>
            <a:custGeom>
              <a:avLst/>
              <a:gdLst>
                <a:gd name="T0" fmla="*/ 759 w 855"/>
                <a:gd name="T1" fmla="*/ 509 h 954"/>
                <a:gd name="T2" fmla="*/ 759 w 855"/>
                <a:gd name="T3" fmla="*/ 509 h 954"/>
                <a:gd name="T4" fmla="*/ 524 w 855"/>
                <a:gd name="T5" fmla="*/ 102 h 954"/>
                <a:gd name="T6" fmla="*/ 282 w 855"/>
                <a:gd name="T7" fmla="*/ 242 h 954"/>
                <a:gd name="T8" fmla="*/ 499 w 855"/>
                <a:gd name="T9" fmla="*/ 116 h 954"/>
                <a:gd name="T10" fmla="*/ 443 w 855"/>
                <a:gd name="T11" fmla="*/ 19 h 954"/>
                <a:gd name="T12" fmla="*/ 403 w 855"/>
                <a:gd name="T13" fmla="*/ 8 h 954"/>
                <a:gd name="T14" fmla="*/ 19 w 855"/>
                <a:gd name="T15" fmla="*/ 229 h 954"/>
                <a:gd name="T16" fmla="*/ 8 w 855"/>
                <a:gd name="T17" fmla="*/ 270 h 954"/>
                <a:gd name="T18" fmla="*/ 64 w 855"/>
                <a:gd name="T19" fmla="*/ 367 h 954"/>
                <a:gd name="T20" fmla="*/ 39 w 855"/>
                <a:gd name="T21" fmla="*/ 382 h 954"/>
                <a:gd name="T22" fmla="*/ 274 w 855"/>
                <a:gd name="T23" fmla="*/ 789 h 954"/>
                <a:gd name="T24" fmla="*/ 274 w 855"/>
                <a:gd name="T25" fmla="*/ 789 h 954"/>
                <a:gd name="T26" fmla="*/ 370 w 855"/>
                <a:gd name="T27" fmla="*/ 954 h 954"/>
                <a:gd name="T28" fmla="*/ 855 w 855"/>
                <a:gd name="T29" fmla="*/ 674 h 954"/>
                <a:gd name="T30" fmla="*/ 759 w 855"/>
                <a:gd name="T31" fmla="*/ 509 h 9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55" h="954">
                  <a:moveTo>
                    <a:pt x="759" y="509"/>
                  </a:moveTo>
                  <a:cubicBezTo>
                    <a:pt x="759" y="509"/>
                    <a:pt x="759" y="509"/>
                    <a:pt x="759" y="509"/>
                  </a:cubicBezTo>
                  <a:cubicBezTo>
                    <a:pt x="524" y="102"/>
                    <a:pt x="524" y="102"/>
                    <a:pt x="524" y="102"/>
                  </a:cubicBezTo>
                  <a:cubicBezTo>
                    <a:pt x="282" y="242"/>
                    <a:pt x="282" y="242"/>
                    <a:pt x="282" y="242"/>
                  </a:cubicBezTo>
                  <a:cubicBezTo>
                    <a:pt x="499" y="116"/>
                    <a:pt x="499" y="116"/>
                    <a:pt x="499" y="116"/>
                  </a:cubicBezTo>
                  <a:cubicBezTo>
                    <a:pt x="443" y="19"/>
                    <a:pt x="443" y="19"/>
                    <a:pt x="443" y="19"/>
                  </a:cubicBezTo>
                  <a:cubicBezTo>
                    <a:pt x="435" y="5"/>
                    <a:pt x="417" y="0"/>
                    <a:pt x="403" y="8"/>
                  </a:cubicBezTo>
                  <a:cubicBezTo>
                    <a:pt x="19" y="229"/>
                    <a:pt x="19" y="229"/>
                    <a:pt x="19" y="229"/>
                  </a:cubicBezTo>
                  <a:cubicBezTo>
                    <a:pt x="5" y="238"/>
                    <a:pt x="0" y="256"/>
                    <a:pt x="8" y="270"/>
                  </a:cubicBezTo>
                  <a:cubicBezTo>
                    <a:pt x="64" y="367"/>
                    <a:pt x="64" y="367"/>
                    <a:pt x="64" y="367"/>
                  </a:cubicBezTo>
                  <a:cubicBezTo>
                    <a:pt x="39" y="382"/>
                    <a:pt x="39" y="382"/>
                    <a:pt x="39" y="382"/>
                  </a:cubicBezTo>
                  <a:cubicBezTo>
                    <a:pt x="274" y="789"/>
                    <a:pt x="274" y="789"/>
                    <a:pt x="274" y="789"/>
                  </a:cubicBezTo>
                  <a:cubicBezTo>
                    <a:pt x="274" y="789"/>
                    <a:pt x="274" y="789"/>
                    <a:pt x="274" y="789"/>
                  </a:cubicBezTo>
                  <a:cubicBezTo>
                    <a:pt x="370" y="954"/>
                    <a:pt x="370" y="954"/>
                    <a:pt x="370" y="954"/>
                  </a:cubicBezTo>
                  <a:cubicBezTo>
                    <a:pt x="855" y="674"/>
                    <a:pt x="855" y="674"/>
                    <a:pt x="855" y="674"/>
                  </a:cubicBezTo>
                  <a:lnTo>
                    <a:pt x="759" y="509"/>
                  </a:lnTo>
                  <a:close/>
                </a:path>
              </a:pathLst>
            </a:custGeom>
            <a:solidFill>
              <a:srgbClr val="D1CDC9">
                <a:alpha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85" name="Freeform 56">
              <a:extLst>
                <a:ext uri="{FF2B5EF4-FFF2-40B4-BE49-F238E27FC236}">
                  <a16:creationId xmlns:a16="http://schemas.microsoft.com/office/drawing/2014/main" id="{861404A0-16E4-4BA4-B60E-4A024415A1C1}"/>
                </a:ext>
              </a:extLst>
            </p:cNvPr>
            <p:cNvSpPr>
              <a:spLocks/>
            </p:cNvSpPr>
            <p:nvPr/>
          </p:nvSpPr>
          <p:spPr bwMode="auto">
            <a:xfrm>
              <a:off x="6681512" y="4378240"/>
              <a:ext cx="1108450" cy="1157616"/>
            </a:xfrm>
            <a:custGeom>
              <a:avLst/>
              <a:gdLst>
                <a:gd name="T0" fmla="*/ 744 w 744"/>
                <a:gd name="T1" fmla="*/ 522 h 777"/>
                <a:gd name="T2" fmla="*/ 301 w 744"/>
                <a:gd name="T3" fmla="*/ 777 h 777"/>
                <a:gd name="T4" fmla="*/ 0 w 744"/>
                <a:gd name="T5" fmla="*/ 255 h 777"/>
                <a:gd name="T6" fmla="*/ 443 w 744"/>
                <a:gd name="T7" fmla="*/ 0 h 777"/>
                <a:gd name="T8" fmla="*/ 744 w 744"/>
                <a:gd name="T9" fmla="*/ 522 h 777"/>
              </a:gdLst>
              <a:ahLst/>
              <a:cxnLst>
                <a:cxn ang="0">
                  <a:pos x="T0" y="T1"/>
                </a:cxn>
                <a:cxn ang="0">
                  <a:pos x="T2" y="T3"/>
                </a:cxn>
                <a:cxn ang="0">
                  <a:pos x="T4" y="T5"/>
                </a:cxn>
                <a:cxn ang="0">
                  <a:pos x="T6" y="T7"/>
                </a:cxn>
                <a:cxn ang="0">
                  <a:pos x="T8" y="T9"/>
                </a:cxn>
              </a:cxnLst>
              <a:rect l="0" t="0" r="r" b="b"/>
              <a:pathLst>
                <a:path w="744" h="777">
                  <a:moveTo>
                    <a:pt x="744" y="522"/>
                  </a:moveTo>
                  <a:lnTo>
                    <a:pt x="301" y="777"/>
                  </a:lnTo>
                  <a:lnTo>
                    <a:pt x="0" y="255"/>
                  </a:lnTo>
                  <a:lnTo>
                    <a:pt x="443" y="0"/>
                  </a:lnTo>
                  <a:lnTo>
                    <a:pt x="744" y="522"/>
                  </a:lnTo>
                  <a:close/>
                </a:path>
              </a:pathLst>
            </a:custGeom>
            <a:solidFill>
              <a:srgbClr val="DB7461"/>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386" name="Freeform 57">
              <a:extLst>
                <a:ext uri="{FF2B5EF4-FFF2-40B4-BE49-F238E27FC236}">
                  <a16:creationId xmlns:a16="http://schemas.microsoft.com/office/drawing/2014/main" id="{CB8EE18D-1F00-4B64-BF51-C2ED36D8471F}"/>
                </a:ext>
              </a:extLst>
            </p:cNvPr>
            <p:cNvSpPr>
              <a:spLocks/>
            </p:cNvSpPr>
            <p:nvPr/>
          </p:nvSpPr>
          <p:spPr bwMode="auto">
            <a:xfrm>
              <a:off x="6629368" y="4239684"/>
              <a:ext cx="677884" cy="499101"/>
            </a:xfrm>
            <a:custGeom>
              <a:avLst/>
              <a:gdLst>
                <a:gd name="T0" fmla="*/ 402 w 499"/>
                <a:gd name="T1" fmla="*/ 8 h 367"/>
                <a:gd name="T2" fmla="*/ 19 w 499"/>
                <a:gd name="T3" fmla="*/ 230 h 367"/>
                <a:gd name="T4" fmla="*/ 8 w 499"/>
                <a:gd name="T5" fmla="*/ 270 h 367"/>
                <a:gd name="T6" fmla="*/ 64 w 499"/>
                <a:gd name="T7" fmla="*/ 367 h 367"/>
                <a:gd name="T8" fmla="*/ 499 w 499"/>
                <a:gd name="T9" fmla="*/ 116 h 367"/>
                <a:gd name="T10" fmla="*/ 443 w 499"/>
                <a:gd name="T11" fmla="*/ 19 h 367"/>
                <a:gd name="T12" fmla="*/ 402 w 499"/>
                <a:gd name="T13" fmla="*/ 8 h 367"/>
              </a:gdLst>
              <a:ahLst/>
              <a:cxnLst>
                <a:cxn ang="0">
                  <a:pos x="T0" y="T1"/>
                </a:cxn>
                <a:cxn ang="0">
                  <a:pos x="T2" y="T3"/>
                </a:cxn>
                <a:cxn ang="0">
                  <a:pos x="T4" y="T5"/>
                </a:cxn>
                <a:cxn ang="0">
                  <a:pos x="T6" y="T7"/>
                </a:cxn>
                <a:cxn ang="0">
                  <a:pos x="T8" y="T9"/>
                </a:cxn>
                <a:cxn ang="0">
                  <a:pos x="T10" y="T11"/>
                </a:cxn>
                <a:cxn ang="0">
                  <a:pos x="T12" y="T13"/>
                </a:cxn>
              </a:cxnLst>
              <a:rect l="0" t="0" r="r" b="b"/>
              <a:pathLst>
                <a:path w="499" h="367">
                  <a:moveTo>
                    <a:pt x="402" y="8"/>
                  </a:moveTo>
                  <a:cubicBezTo>
                    <a:pt x="19" y="230"/>
                    <a:pt x="19" y="230"/>
                    <a:pt x="19" y="230"/>
                  </a:cubicBezTo>
                  <a:cubicBezTo>
                    <a:pt x="4" y="238"/>
                    <a:pt x="0" y="256"/>
                    <a:pt x="8" y="270"/>
                  </a:cubicBezTo>
                  <a:cubicBezTo>
                    <a:pt x="64" y="367"/>
                    <a:pt x="64" y="367"/>
                    <a:pt x="64" y="367"/>
                  </a:cubicBezTo>
                  <a:cubicBezTo>
                    <a:pt x="499" y="116"/>
                    <a:pt x="499" y="116"/>
                    <a:pt x="499" y="116"/>
                  </a:cubicBezTo>
                  <a:cubicBezTo>
                    <a:pt x="443" y="19"/>
                    <a:pt x="443" y="19"/>
                    <a:pt x="443" y="19"/>
                  </a:cubicBezTo>
                  <a:cubicBezTo>
                    <a:pt x="434" y="5"/>
                    <a:pt x="416" y="0"/>
                    <a:pt x="402" y="8"/>
                  </a:cubicBezTo>
                  <a:close/>
                </a:path>
              </a:pathLst>
            </a:custGeom>
            <a:solidFill>
              <a:srgbClr val="F3E1B2"/>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387" name="Freeform 58">
              <a:extLst>
                <a:ext uri="{FF2B5EF4-FFF2-40B4-BE49-F238E27FC236}">
                  <a16:creationId xmlns:a16="http://schemas.microsoft.com/office/drawing/2014/main" id="{A18278DB-8277-4354-828A-86442F0F72A3}"/>
                </a:ext>
              </a:extLst>
            </p:cNvPr>
            <p:cNvSpPr>
              <a:spLocks/>
            </p:cNvSpPr>
            <p:nvPr/>
          </p:nvSpPr>
          <p:spPr bwMode="auto">
            <a:xfrm>
              <a:off x="7001831" y="4930975"/>
              <a:ext cx="788133" cy="604880"/>
            </a:xfrm>
            <a:custGeom>
              <a:avLst/>
              <a:gdLst>
                <a:gd name="T0" fmla="*/ 529 w 529"/>
                <a:gd name="T1" fmla="*/ 151 h 406"/>
                <a:gd name="T2" fmla="*/ 86 w 529"/>
                <a:gd name="T3" fmla="*/ 406 h 406"/>
                <a:gd name="T4" fmla="*/ 0 w 529"/>
                <a:gd name="T5" fmla="*/ 256 h 406"/>
                <a:gd name="T6" fmla="*/ 442 w 529"/>
                <a:gd name="T7" fmla="*/ 0 h 406"/>
                <a:gd name="T8" fmla="*/ 529 w 529"/>
                <a:gd name="T9" fmla="*/ 151 h 406"/>
              </a:gdLst>
              <a:ahLst/>
              <a:cxnLst>
                <a:cxn ang="0">
                  <a:pos x="T0" y="T1"/>
                </a:cxn>
                <a:cxn ang="0">
                  <a:pos x="T2" y="T3"/>
                </a:cxn>
                <a:cxn ang="0">
                  <a:pos x="T4" y="T5"/>
                </a:cxn>
                <a:cxn ang="0">
                  <a:pos x="T6" y="T7"/>
                </a:cxn>
                <a:cxn ang="0">
                  <a:pos x="T8" y="T9"/>
                </a:cxn>
              </a:cxnLst>
              <a:rect l="0" t="0" r="r" b="b"/>
              <a:pathLst>
                <a:path w="529" h="406">
                  <a:moveTo>
                    <a:pt x="529" y="151"/>
                  </a:moveTo>
                  <a:lnTo>
                    <a:pt x="86" y="406"/>
                  </a:lnTo>
                  <a:lnTo>
                    <a:pt x="0" y="256"/>
                  </a:lnTo>
                  <a:lnTo>
                    <a:pt x="442" y="0"/>
                  </a:lnTo>
                  <a:lnTo>
                    <a:pt x="529" y="151"/>
                  </a:lnTo>
                  <a:close/>
                </a:path>
              </a:pathLst>
            </a:custGeom>
            <a:solidFill>
              <a:srgbClr val="43506E"/>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388" name="Line 59">
              <a:extLst>
                <a:ext uri="{FF2B5EF4-FFF2-40B4-BE49-F238E27FC236}">
                  <a16:creationId xmlns:a16="http://schemas.microsoft.com/office/drawing/2014/main" id="{7F871135-AE5F-4169-B612-0069751C0CF1}"/>
                </a:ext>
              </a:extLst>
            </p:cNvPr>
            <p:cNvSpPr>
              <a:spLocks noChangeShapeType="1"/>
            </p:cNvSpPr>
            <p:nvPr/>
          </p:nvSpPr>
          <p:spPr bwMode="auto">
            <a:xfrm flipV="1">
              <a:off x="5869543" y="1753120"/>
              <a:ext cx="68533" cy="67044"/>
            </a:xfrm>
            <a:prstGeom prst="line">
              <a:avLst/>
            </a:prstGeom>
            <a:noFill/>
            <a:ln w="6350" cap="flat">
              <a:solidFill>
                <a:srgbClr val="1E1D1D"/>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389" name="Line 60">
              <a:extLst>
                <a:ext uri="{FF2B5EF4-FFF2-40B4-BE49-F238E27FC236}">
                  <a16:creationId xmlns:a16="http://schemas.microsoft.com/office/drawing/2014/main" id="{2D940DFF-1AB9-4C20-A38B-4C361823B670}"/>
                </a:ext>
              </a:extLst>
            </p:cNvPr>
            <p:cNvSpPr>
              <a:spLocks noChangeShapeType="1"/>
            </p:cNvSpPr>
            <p:nvPr/>
          </p:nvSpPr>
          <p:spPr bwMode="auto">
            <a:xfrm flipV="1">
              <a:off x="6058754" y="1942331"/>
              <a:ext cx="68533" cy="67044"/>
            </a:xfrm>
            <a:prstGeom prst="line">
              <a:avLst/>
            </a:prstGeom>
            <a:noFill/>
            <a:ln w="6350" cap="flat">
              <a:solidFill>
                <a:srgbClr val="1E1D1D"/>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390" name="Line 61">
              <a:extLst>
                <a:ext uri="{FF2B5EF4-FFF2-40B4-BE49-F238E27FC236}">
                  <a16:creationId xmlns:a16="http://schemas.microsoft.com/office/drawing/2014/main" id="{06B65BD3-DA06-4614-9033-777388628014}"/>
                </a:ext>
              </a:extLst>
            </p:cNvPr>
            <p:cNvSpPr>
              <a:spLocks noChangeShapeType="1"/>
            </p:cNvSpPr>
            <p:nvPr/>
          </p:nvSpPr>
          <p:spPr bwMode="auto">
            <a:xfrm flipV="1">
              <a:off x="6243495" y="2136011"/>
              <a:ext cx="68533" cy="68533"/>
            </a:xfrm>
            <a:prstGeom prst="line">
              <a:avLst/>
            </a:prstGeom>
            <a:noFill/>
            <a:ln w="6350" cap="flat">
              <a:solidFill>
                <a:srgbClr val="1E1D1D"/>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391" name="Line 62">
              <a:extLst>
                <a:ext uri="{FF2B5EF4-FFF2-40B4-BE49-F238E27FC236}">
                  <a16:creationId xmlns:a16="http://schemas.microsoft.com/office/drawing/2014/main" id="{B06063AD-F346-43A4-80B4-C85588DD657E}"/>
                </a:ext>
              </a:extLst>
            </p:cNvPr>
            <p:cNvSpPr>
              <a:spLocks noChangeShapeType="1"/>
            </p:cNvSpPr>
            <p:nvPr/>
          </p:nvSpPr>
          <p:spPr bwMode="auto">
            <a:xfrm flipV="1">
              <a:off x="6432707" y="2325223"/>
              <a:ext cx="70024" cy="67044"/>
            </a:xfrm>
            <a:prstGeom prst="line">
              <a:avLst/>
            </a:prstGeom>
            <a:noFill/>
            <a:ln w="6350" cap="flat">
              <a:solidFill>
                <a:srgbClr val="1E1D1D"/>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392" name="Line 63">
              <a:extLst>
                <a:ext uri="{FF2B5EF4-FFF2-40B4-BE49-F238E27FC236}">
                  <a16:creationId xmlns:a16="http://schemas.microsoft.com/office/drawing/2014/main" id="{07C2006A-4CD8-48F4-ACB8-AAF7D4B9DFB6}"/>
                </a:ext>
              </a:extLst>
            </p:cNvPr>
            <p:cNvSpPr>
              <a:spLocks noChangeShapeType="1"/>
            </p:cNvSpPr>
            <p:nvPr/>
          </p:nvSpPr>
          <p:spPr bwMode="auto">
            <a:xfrm flipV="1">
              <a:off x="6617449" y="2518904"/>
              <a:ext cx="68533" cy="65554"/>
            </a:xfrm>
            <a:prstGeom prst="line">
              <a:avLst/>
            </a:prstGeom>
            <a:noFill/>
            <a:ln w="6350" cap="flat">
              <a:solidFill>
                <a:srgbClr val="1E1D1D"/>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393" name="Line 64">
              <a:extLst>
                <a:ext uri="{FF2B5EF4-FFF2-40B4-BE49-F238E27FC236}">
                  <a16:creationId xmlns:a16="http://schemas.microsoft.com/office/drawing/2014/main" id="{3426079D-A1F3-499C-93D4-5ACF74C75554}"/>
                </a:ext>
              </a:extLst>
            </p:cNvPr>
            <p:cNvSpPr>
              <a:spLocks noChangeShapeType="1"/>
            </p:cNvSpPr>
            <p:nvPr/>
          </p:nvSpPr>
          <p:spPr bwMode="auto">
            <a:xfrm flipV="1">
              <a:off x="6805170" y="2709605"/>
              <a:ext cx="70024" cy="68533"/>
            </a:xfrm>
            <a:prstGeom prst="line">
              <a:avLst/>
            </a:prstGeom>
            <a:noFill/>
            <a:ln w="6350" cap="flat">
              <a:solidFill>
                <a:srgbClr val="1E1D1D"/>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394" name="Line 65">
              <a:extLst>
                <a:ext uri="{FF2B5EF4-FFF2-40B4-BE49-F238E27FC236}">
                  <a16:creationId xmlns:a16="http://schemas.microsoft.com/office/drawing/2014/main" id="{7AEE47A5-88D2-4E81-9EF2-B8DF3DFBAE77}"/>
                </a:ext>
              </a:extLst>
            </p:cNvPr>
            <p:cNvSpPr>
              <a:spLocks noChangeShapeType="1"/>
            </p:cNvSpPr>
            <p:nvPr/>
          </p:nvSpPr>
          <p:spPr bwMode="auto">
            <a:xfrm flipV="1">
              <a:off x="6995872" y="2898816"/>
              <a:ext cx="70024" cy="68533"/>
            </a:xfrm>
            <a:prstGeom prst="line">
              <a:avLst/>
            </a:prstGeom>
            <a:noFill/>
            <a:ln w="6350" cap="flat">
              <a:solidFill>
                <a:srgbClr val="1E1D1D"/>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395" name="Line 66">
              <a:extLst>
                <a:ext uri="{FF2B5EF4-FFF2-40B4-BE49-F238E27FC236}">
                  <a16:creationId xmlns:a16="http://schemas.microsoft.com/office/drawing/2014/main" id="{6EFF1B7C-106D-4E48-91FC-94CFEC485631}"/>
                </a:ext>
              </a:extLst>
            </p:cNvPr>
            <p:cNvSpPr>
              <a:spLocks noChangeShapeType="1"/>
            </p:cNvSpPr>
            <p:nvPr/>
          </p:nvSpPr>
          <p:spPr bwMode="auto">
            <a:xfrm flipV="1">
              <a:off x="7179123" y="3092497"/>
              <a:ext cx="70024" cy="67044"/>
            </a:xfrm>
            <a:prstGeom prst="line">
              <a:avLst/>
            </a:prstGeom>
            <a:noFill/>
            <a:ln w="6350" cap="flat">
              <a:solidFill>
                <a:srgbClr val="1E1D1D"/>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396" name="Line 67">
              <a:extLst>
                <a:ext uri="{FF2B5EF4-FFF2-40B4-BE49-F238E27FC236}">
                  <a16:creationId xmlns:a16="http://schemas.microsoft.com/office/drawing/2014/main" id="{E5D903D6-8EDF-4C1E-B12D-D6A8AF5E5025}"/>
                </a:ext>
              </a:extLst>
            </p:cNvPr>
            <p:cNvSpPr>
              <a:spLocks noChangeShapeType="1"/>
            </p:cNvSpPr>
            <p:nvPr/>
          </p:nvSpPr>
          <p:spPr bwMode="auto">
            <a:xfrm flipV="1">
              <a:off x="7371315" y="3283198"/>
              <a:ext cx="68533" cy="67044"/>
            </a:xfrm>
            <a:prstGeom prst="line">
              <a:avLst/>
            </a:prstGeom>
            <a:noFill/>
            <a:ln w="6350" cap="flat">
              <a:solidFill>
                <a:srgbClr val="1E1D1D"/>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397" name="Line 68">
              <a:extLst>
                <a:ext uri="{FF2B5EF4-FFF2-40B4-BE49-F238E27FC236}">
                  <a16:creationId xmlns:a16="http://schemas.microsoft.com/office/drawing/2014/main" id="{0FC74757-F99C-4054-B2CB-E320F678B780}"/>
                </a:ext>
              </a:extLst>
            </p:cNvPr>
            <p:cNvSpPr>
              <a:spLocks noChangeShapeType="1"/>
            </p:cNvSpPr>
            <p:nvPr/>
          </p:nvSpPr>
          <p:spPr bwMode="auto">
            <a:xfrm flipV="1">
              <a:off x="7556056" y="3472410"/>
              <a:ext cx="68533" cy="68533"/>
            </a:xfrm>
            <a:prstGeom prst="line">
              <a:avLst/>
            </a:prstGeom>
            <a:noFill/>
            <a:ln w="6350" cap="flat">
              <a:solidFill>
                <a:srgbClr val="1E1D1D"/>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398" name="Line 69">
              <a:extLst>
                <a:ext uri="{FF2B5EF4-FFF2-40B4-BE49-F238E27FC236}">
                  <a16:creationId xmlns:a16="http://schemas.microsoft.com/office/drawing/2014/main" id="{57CB5DBA-B213-4E71-8116-AB3728DC605E}"/>
                </a:ext>
              </a:extLst>
            </p:cNvPr>
            <p:cNvSpPr>
              <a:spLocks noChangeShapeType="1"/>
            </p:cNvSpPr>
            <p:nvPr/>
          </p:nvSpPr>
          <p:spPr bwMode="auto">
            <a:xfrm flipV="1">
              <a:off x="7742287" y="3667580"/>
              <a:ext cx="68533" cy="65554"/>
            </a:xfrm>
            <a:prstGeom prst="line">
              <a:avLst/>
            </a:prstGeom>
            <a:noFill/>
            <a:ln w="6350" cap="flat">
              <a:solidFill>
                <a:srgbClr val="1E1D1D"/>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p>
          </p:txBody>
        </p:sp>
      </p:grpSp>
    </p:spTree>
    <p:custDataLst>
      <p:tags r:id="rId1"/>
    </p:custDataLst>
    <p:extLst>
      <p:ext uri="{BB962C8B-B14F-4D97-AF65-F5344CB8AC3E}">
        <p14:creationId xmlns:p14="http://schemas.microsoft.com/office/powerpoint/2010/main" val="4011397275"/>
      </p:ext>
    </p:extLst>
  </p:cSld>
  <p:clrMapOvr>
    <a:masterClrMapping/>
  </p:clrMapOvr>
  <mc:AlternateContent xmlns:mc="http://schemas.openxmlformats.org/markup-compatibility/2006">
    <mc:Choice xmlns:p14="http://schemas.microsoft.com/office/powerpoint/2010/main" Requires="p14">
      <p:transition spd="slow" p14:dur="1250">
        <p:blinds dir="vert"/>
      </p:transition>
    </mc:Choice>
    <mc:Fallback>
      <p:transition spd="slow">
        <p:blinds dir="vert"/>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26" name="Picture 6">
            <a:extLst>
              <a:ext uri="{FF2B5EF4-FFF2-40B4-BE49-F238E27FC236}">
                <a16:creationId xmlns:a16="http://schemas.microsoft.com/office/drawing/2014/main" id="{CE5D4141-7260-4622-B154-412A0F8BAF1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882183" y="4702831"/>
            <a:ext cx="3309817" cy="1581590"/>
          </a:xfrm>
          <a:prstGeom prst="rect">
            <a:avLst/>
          </a:prstGeom>
          <a:noFill/>
          <a:extLst>
            <a:ext uri="{909E8E84-426E-40DD-AFC4-6F175D3DCCD1}">
              <a14:hiddenFill xmlns:a14="http://schemas.microsoft.com/office/drawing/2010/main">
                <a:solidFill>
                  <a:srgbClr val="FFFFFF"/>
                </a:solidFill>
              </a14:hiddenFill>
            </a:ext>
          </a:extLst>
        </p:spPr>
      </p:pic>
      <p:pic>
        <p:nvPicPr>
          <p:cNvPr id="5124" name="Picture 4">
            <a:extLst>
              <a:ext uri="{FF2B5EF4-FFF2-40B4-BE49-F238E27FC236}">
                <a16:creationId xmlns:a16="http://schemas.microsoft.com/office/drawing/2014/main" id="{33BDEBD4-9144-4F3C-800C-81320ABFD84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777408" y="3276958"/>
            <a:ext cx="3309817" cy="1200329"/>
          </a:xfrm>
          <a:prstGeom prst="rect">
            <a:avLst/>
          </a:prstGeom>
          <a:noFill/>
          <a:extLst>
            <a:ext uri="{909E8E84-426E-40DD-AFC4-6F175D3DCCD1}">
              <a14:hiddenFill xmlns:a14="http://schemas.microsoft.com/office/drawing/2010/main">
                <a:solidFill>
                  <a:srgbClr val="FFFFFF"/>
                </a:solidFill>
              </a14:hiddenFill>
            </a:ext>
          </a:extLst>
        </p:spPr>
      </p:pic>
      <p:pic>
        <p:nvPicPr>
          <p:cNvPr id="5122" name="Picture 2">
            <a:extLst>
              <a:ext uri="{FF2B5EF4-FFF2-40B4-BE49-F238E27FC236}">
                <a16:creationId xmlns:a16="http://schemas.microsoft.com/office/drawing/2014/main" id="{5B15FBBF-33CF-42B4-BE04-B74C6975D2E8}"/>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876783" y="1457543"/>
            <a:ext cx="3210442" cy="1947317"/>
          </a:xfrm>
          <a:prstGeom prst="rect">
            <a:avLst/>
          </a:prstGeom>
          <a:noFill/>
          <a:extLst>
            <a:ext uri="{909E8E84-426E-40DD-AFC4-6F175D3DCCD1}">
              <a14:hiddenFill xmlns:a14="http://schemas.microsoft.com/office/drawing/2010/main">
                <a:solidFill>
                  <a:srgbClr val="FFFFFF"/>
                </a:solidFill>
              </a14:hiddenFill>
            </a:ext>
          </a:extLst>
        </p:spPr>
      </p:pic>
      <p:sp>
        <p:nvSpPr>
          <p:cNvPr id="4" name="灯片编号占位符 3">
            <a:extLst>
              <a:ext uri="{FF2B5EF4-FFF2-40B4-BE49-F238E27FC236}">
                <a16:creationId xmlns:a16="http://schemas.microsoft.com/office/drawing/2014/main" id="{2A5C0DA9-421E-435E-A37F-75EEA4A204CB}"/>
              </a:ext>
            </a:extLst>
          </p:cNvPr>
          <p:cNvSpPr>
            <a:spLocks noGrp="1"/>
          </p:cNvSpPr>
          <p:nvPr>
            <p:ph type="sldNum" sz="quarter" idx="12"/>
          </p:nvPr>
        </p:nvSpPr>
        <p:spPr/>
        <p:txBody>
          <a:bodyPr/>
          <a:lstStyle/>
          <a:p>
            <a:fld id="{5DD3DB80-B894-403A-B48E-6FDC1A72010E}" type="slidenum">
              <a:rPr lang="zh-CN" altLang="en-US" smtClean="0"/>
              <a:pPr/>
              <a:t>7</a:t>
            </a:fld>
            <a:endParaRPr lang="zh-CN" altLang="en-US"/>
          </a:p>
        </p:txBody>
      </p:sp>
      <p:sp>
        <p:nvSpPr>
          <p:cNvPr id="5" name="标题 1">
            <a:extLst>
              <a:ext uri="{FF2B5EF4-FFF2-40B4-BE49-F238E27FC236}">
                <a16:creationId xmlns:a16="http://schemas.microsoft.com/office/drawing/2014/main" id="{A66C21BB-C083-4C2F-A2AE-920B8A20D84E}"/>
              </a:ext>
            </a:extLst>
          </p:cNvPr>
          <p:cNvSpPr>
            <a:spLocks noGrp="1"/>
          </p:cNvSpPr>
          <p:nvPr>
            <p:ph type="title"/>
          </p:nvPr>
        </p:nvSpPr>
        <p:spPr>
          <a:xfrm>
            <a:off x="669924" y="1"/>
            <a:ext cx="10850563" cy="1028699"/>
          </a:xfrm>
        </p:spPr>
        <p:txBody>
          <a:bodyPr/>
          <a:lstStyle/>
          <a:p>
            <a:r>
              <a:rPr lang="en-US" altLang="zh-CN" dirty="0"/>
              <a:t>UML</a:t>
            </a:r>
            <a:r>
              <a:rPr lang="zh-CN" altLang="en-US" dirty="0"/>
              <a:t>用例图</a:t>
            </a:r>
          </a:p>
        </p:txBody>
      </p:sp>
      <p:sp>
        <p:nvSpPr>
          <p:cNvPr id="6" name="文本框 5">
            <a:extLst>
              <a:ext uri="{FF2B5EF4-FFF2-40B4-BE49-F238E27FC236}">
                <a16:creationId xmlns:a16="http://schemas.microsoft.com/office/drawing/2014/main" id="{AD4EF72B-B237-4531-96CB-FAD2B6E29EE8}"/>
              </a:ext>
            </a:extLst>
          </p:cNvPr>
          <p:cNvSpPr txBox="1"/>
          <p:nvPr/>
        </p:nvSpPr>
        <p:spPr>
          <a:xfrm>
            <a:off x="669924" y="1180385"/>
            <a:ext cx="8991600" cy="1200329"/>
          </a:xfrm>
          <a:prstGeom prst="rect">
            <a:avLst/>
          </a:prstGeom>
          <a:noFill/>
        </p:spPr>
        <p:txBody>
          <a:bodyPr wrap="square" rtlCol="0">
            <a:spAutoFit/>
          </a:bodyPr>
          <a:lstStyle/>
          <a:p>
            <a:pPr marL="0" algn="l"/>
            <a:r>
              <a:rPr lang="en-US" altLang="zh-CN" b="1" i="0" dirty="0">
                <a:solidFill>
                  <a:srgbClr val="0D0016"/>
                </a:solidFill>
                <a:effectLst/>
                <a:latin typeface="PingFang SC"/>
              </a:rPr>
              <a:t>4</a:t>
            </a:r>
            <a:r>
              <a:rPr lang="zh-CN" altLang="en-US" b="1" i="0" dirty="0">
                <a:solidFill>
                  <a:srgbClr val="0D0016"/>
                </a:solidFill>
                <a:effectLst/>
                <a:latin typeface="PingFang SC"/>
              </a:rPr>
              <a:t>、包含关系（</a:t>
            </a:r>
            <a:r>
              <a:rPr lang="en-US" altLang="zh-CN" b="1" i="0" dirty="0">
                <a:solidFill>
                  <a:srgbClr val="0D0016"/>
                </a:solidFill>
                <a:effectLst/>
                <a:latin typeface="PingFang SC"/>
              </a:rPr>
              <a:t>Include</a:t>
            </a:r>
            <a:r>
              <a:rPr lang="zh-CN" altLang="en-US" b="1" i="0" dirty="0">
                <a:solidFill>
                  <a:srgbClr val="0D0016"/>
                </a:solidFill>
                <a:effectLst/>
                <a:latin typeface="PingFang SC"/>
              </a:rPr>
              <a:t>）</a:t>
            </a:r>
            <a:endParaRPr lang="zh-CN" altLang="en-US" b="1" i="0" dirty="0">
              <a:solidFill>
                <a:srgbClr val="4F4F4F"/>
              </a:solidFill>
              <a:effectLst/>
              <a:latin typeface="PingFang SC"/>
            </a:endParaRPr>
          </a:p>
          <a:p>
            <a:pPr marL="0" algn="l"/>
            <a:r>
              <a:rPr lang="zh-CN" altLang="en-US" b="0" i="0" dirty="0">
                <a:solidFill>
                  <a:srgbClr val="FE2C24"/>
                </a:solidFill>
                <a:effectLst/>
                <a:latin typeface="-apple-system"/>
              </a:rPr>
              <a:t>        </a:t>
            </a:r>
            <a:r>
              <a:rPr lang="zh-CN" altLang="en-US" b="0" i="0" dirty="0">
                <a:solidFill>
                  <a:srgbClr val="0D0016"/>
                </a:solidFill>
                <a:effectLst/>
                <a:latin typeface="-apple-system"/>
              </a:rPr>
              <a:t>在</a:t>
            </a:r>
            <a:r>
              <a:rPr lang="en-US" altLang="zh-CN" b="0" i="0" dirty="0" err="1">
                <a:solidFill>
                  <a:srgbClr val="0D0016"/>
                </a:solidFill>
                <a:effectLst/>
                <a:latin typeface="-apple-system"/>
              </a:rPr>
              <a:t>uml</a:t>
            </a:r>
            <a:r>
              <a:rPr lang="zh-CN" altLang="en-US" b="0" i="0" dirty="0">
                <a:solidFill>
                  <a:srgbClr val="0D0016"/>
                </a:solidFill>
                <a:effectLst/>
                <a:latin typeface="-apple-system"/>
              </a:rPr>
              <a:t>中包含关系表示为</a:t>
            </a:r>
            <a:r>
              <a:rPr lang="zh-CN" altLang="en-US" b="1" i="0" dirty="0">
                <a:solidFill>
                  <a:srgbClr val="FE2C24"/>
                </a:solidFill>
                <a:effectLst/>
                <a:latin typeface="-apple-system"/>
              </a:rPr>
              <a:t>虚线箭头加</a:t>
            </a:r>
            <a:r>
              <a:rPr lang="en-US" altLang="zh-CN" b="1" i="0" dirty="0">
                <a:solidFill>
                  <a:srgbClr val="FE2C24"/>
                </a:solidFill>
                <a:effectLst/>
                <a:latin typeface="-apple-system"/>
              </a:rPr>
              <a:t>&lt;&gt;</a:t>
            </a:r>
            <a:r>
              <a:rPr lang="zh-CN" altLang="en-US" b="0" i="0" dirty="0">
                <a:solidFill>
                  <a:srgbClr val="0D0016"/>
                </a:solidFill>
                <a:effectLst/>
                <a:latin typeface="-apple-system"/>
              </a:rPr>
              <a:t>字样，有时候一个用例很大，那么我们可以把用例分块，把复杂的用例分解为几个小用例来描述</a:t>
            </a:r>
            <a:br>
              <a:rPr lang="zh-CN" altLang="en-US" b="0" i="0" dirty="0">
                <a:solidFill>
                  <a:srgbClr val="0D0016"/>
                </a:solidFill>
                <a:effectLst/>
                <a:latin typeface="-apple-system"/>
              </a:rPr>
            </a:br>
            <a:r>
              <a:rPr lang="zh-CN" altLang="en-US" b="0" i="0" dirty="0">
                <a:solidFill>
                  <a:srgbClr val="0D0016"/>
                </a:solidFill>
                <a:effectLst/>
                <a:latin typeface="-apple-system"/>
              </a:rPr>
              <a:t>        </a:t>
            </a:r>
            <a:r>
              <a:rPr lang="en-US" altLang="zh-CN" b="0" i="0" dirty="0">
                <a:solidFill>
                  <a:srgbClr val="0D0016"/>
                </a:solidFill>
                <a:effectLst/>
                <a:latin typeface="-apple-system"/>
              </a:rPr>
              <a:t>【</a:t>
            </a:r>
            <a:r>
              <a:rPr lang="zh-CN" altLang="en-US" b="0" i="0" dirty="0">
                <a:solidFill>
                  <a:srgbClr val="0D0016"/>
                </a:solidFill>
                <a:effectLst/>
                <a:latin typeface="-apple-system"/>
              </a:rPr>
              <a:t>箭头指向</a:t>
            </a:r>
            <a:r>
              <a:rPr lang="en-US" altLang="zh-CN" b="0" i="0" dirty="0">
                <a:solidFill>
                  <a:srgbClr val="0D0016"/>
                </a:solidFill>
                <a:effectLst/>
                <a:latin typeface="-apple-system"/>
              </a:rPr>
              <a:t>】</a:t>
            </a:r>
            <a:r>
              <a:rPr lang="zh-CN" altLang="en-US" b="0" i="0" dirty="0">
                <a:solidFill>
                  <a:srgbClr val="0D0016"/>
                </a:solidFill>
                <a:effectLst/>
                <a:latin typeface="-apple-system"/>
              </a:rPr>
              <a:t>：箭头指向被包含的用例</a:t>
            </a:r>
            <a:endParaRPr lang="zh-CN" altLang="en-US" b="0" i="0" dirty="0">
              <a:solidFill>
                <a:srgbClr val="4D4D4D"/>
              </a:solidFill>
              <a:effectLst/>
              <a:latin typeface="-apple-system"/>
            </a:endParaRPr>
          </a:p>
        </p:txBody>
      </p:sp>
      <p:sp>
        <p:nvSpPr>
          <p:cNvPr id="9" name="文本框 8">
            <a:extLst>
              <a:ext uri="{FF2B5EF4-FFF2-40B4-BE49-F238E27FC236}">
                <a16:creationId xmlns:a16="http://schemas.microsoft.com/office/drawing/2014/main" id="{E40C2F0C-3F2A-4147-B725-CF2D52782208}"/>
              </a:ext>
            </a:extLst>
          </p:cNvPr>
          <p:cNvSpPr txBox="1"/>
          <p:nvPr/>
        </p:nvSpPr>
        <p:spPr>
          <a:xfrm>
            <a:off x="669924" y="2633374"/>
            <a:ext cx="8991600" cy="1200329"/>
          </a:xfrm>
          <a:prstGeom prst="rect">
            <a:avLst/>
          </a:prstGeom>
          <a:noFill/>
        </p:spPr>
        <p:txBody>
          <a:bodyPr wrap="square" rtlCol="0">
            <a:spAutoFit/>
          </a:bodyPr>
          <a:lstStyle/>
          <a:p>
            <a:pPr marL="0" algn="l"/>
            <a:r>
              <a:rPr lang="en-US" altLang="zh-CN" b="1" i="0" dirty="0">
                <a:solidFill>
                  <a:srgbClr val="0D0016"/>
                </a:solidFill>
                <a:effectLst/>
                <a:latin typeface="PingFang SC"/>
              </a:rPr>
              <a:t>5</a:t>
            </a:r>
            <a:r>
              <a:rPr lang="zh-CN" altLang="en-US" b="1" i="0" dirty="0">
                <a:solidFill>
                  <a:srgbClr val="0D0016"/>
                </a:solidFill>
                <a:effectLst/>
                <a:latin typeface="PingFang SC"/>
              </a:rPr>
              <a:t>、扩展</a:t>
            </a:r>
            <a:r>
              <a:rPr lang="en-US" altLang="zh-CN" b="1" i="0" dirty="0">
                <a:solidFill>
                  <a:srgbClr val="0D0016"/>
                </a:solidFill>
                <a:effectLst/>
                <a:latin typeface="PingFang SC"/>
              </a:rPr>
              <a:t>(Extend)</a:t>
            </a:r>
            <a:endParaRPr lang="zh-CN" altLang="en-US" b="1" i="0" dirty="0">
              <a:solidFill>
                <a:srgbClr val="4F4F4F"/>
              </a:solidFill>
              <a:effectLst/>
              <a:latin typeface="PingFang SC"/>
            </a:endParaRPr>
          </a:p>
          <a:p>
            <a:pPr marL="0" algn="l"/>
            <a:r>
              <a:rPr lang="zh-CN" altLang="en-US" b="0" i="0" dirty="0">
                <a:solidFill>
                  <a:srgbClr val="0D0016"/>
                </a:solidFill>
                <a:effectLst/>
                <a:latin typeface="-apple-system"/>
              </a:rPr>
              <a:t>        在</a:t>
            </a:r>
            <a:r>
              <a:rPr lang="en-US" altLang="zh-CN" b="0" i="0" dirty="0" err="1">
                <a:solidFill>
                  <a:srgbClr val="0D0016"/>
                </a:solidFill>
                <a:effectLst/>
                <a:latin typeface="-apple-system"/>
              </a:rPr>
              <a:t>uml</a:t>
            </a:r>
            <a:r>
              <a:rPr lang="zh-CN" altLang="en-US" b="0" i="0" dirty="0">
                <a:solidFill>
                  <a:srgbClr val="0D0016"/>
                </a:solidFill>
                <a:effectLst/>
                <a:latin typeface="-apple-system"/>
              </a:rPr>
              <a:t>中扩展关系表示为</a:t>
            </a:r>
            <a:r>
              <a:rPr lang="zh-CN" altLang="en-US" b="1" i="0" dirty="0">
                <a:solidFill>
                  <a:srgbClr val="FE2C24"/>
                </a:solidFill>
                <a:effectLst/>
                <a:latin typeface="-apple-system"/>
              </a:rPr>
              <a:t>虚线箭头加</a:t>
            </a:r>
            <a:r>
              <a:rPr lang="en-US" altLang="zh-CN" b="1" i="0" dirty="0">
                <a:solidFill>
                  <a:srgbClr val="FE2C24"/>
                </a:solidFill>
                <a:effectLst/>
                <a:latin typeface="-apple-system"/>
              </a:rPr>
              <a:t>&lt;&gt;</a:t>
            </a:r>
            <a:r>
              <a:rPr lang="zh-CN" altLang="en-US" b="0" i="0" dirty="0">
                <a:solidFill>
                  <a:srgbClr val="0D0016"/>
                </a:solidFill>
                <a:effectLst/>
                <a:latin typeface="-apple-system"/>
              </a:rPr>
              <a:t>字样，扩展是指在基础用例功能的基础上插入新的功能点，新的功能点可以看做是对基础用例的扩展。</a:t>
            </a:r>
            <a:br>
              <a:rPr lang="zh-CN" altLang="en-US" b="0" i="0" dirty="0">
                <a:solidFill>
                  <a:srgbClr val="0D0016"/>
                </a:solidFill>
                <a:effectLst/>
                <a:latin typeface="-apple-system"/>
              </a:rPr>
            </a:br>
            <a:r>
              <a:rPr lang="zh-CN" altLang="en-US" b="0" i="0" dirty="0">
                <a:solidFill>
                  <a:srgbClr val="0D0016"/>
                </a:solidFill>
                <a:effectLst/>
                <a:latin typeface="-apple-system"/>
              </a:rPr>
              <a:t>        </a:t>
            </a:r>
            <a:r>
              <a:rPr lang="en-US" altLang="zh-CN" b="0" i="0" dirty="0">
                <a:solidFill>
                  <a:srgbClr val="0D0016"/>
                </a:solidFill>
                <a:effectLst/>
                <a:latin typeface="-apple-system"/>
              </a:rPr>
              <a:t>【</a:t>
            </a:r>
            <a:r>
              <a:rPr lang="zh-CN" altLang="en-US" b="0" i="0" dirty="0">
                <a:solidFill>
                  <a:srgbClr val="0D0016"/>
                </a:solidFill>
                <a:effectLst/>
                <a:latin typeface="-apple-system"/>
              </a:rPr>
              <a:t>箭头指向</a:t>
            </a:r>
            <a:r>
              <a:rPr lang="en-US" altLang="zh-CN" b="0" i="0" dirty="0">
                <a:solidFill>
                  <a:srgbClr val="0D0016"/>
                </a:solidFill>
                <a:effectLst/>
                <a:latin typeface="-apple-system"/>
              </a:rPr>
              <a:t>】</a:t>
            </a:r>
            <a:r>
              <a:rPr lang="zh-CN" altLang="en-US" b="0" i="0" dirty="0">
                <a:solidFill>
                  <a:srgbClr val="0D0016"/>
                </a:solidFill>
                <a:effectLst/>
                <a:latin typeface="-apple-system"/>
              </a:rPr>
              <a:t>：箭头指向基础用例</a:t>
            </a:r>
            <a:endParaRPr lang="zh-CN" altLang="en-US" b="0" i="0" dirty="0">
              <a:solidFill>
                <a:srgbClr val="4D4D4D"/>
              </a:solidFill>
              <a:effectLst/>
              <a:latin typeface="-apple-system"/>
            </a:endParaRPr>
          </a:p>
        </p:txBody>
      </p:sp>
      <p:sp>
        <p:nvSpPr>
          <p:cNvPr id="11" name="文本框 10">
            <a:extLst>
              <a:ext uri="{FF2B5EF4-FFF2-40B4-BE49-F238E27FC236}">
                <a16:creationId xmlns:a16="http://schemas.microsoft.com/office/drawing/2014/main" id="{E1CBEE6F-8920-4B5E-8A95-21FF28D4B409}"/>
              </a:ext>
            </a:extLst>
          </p:cNvPr>
          <p:cNvSpPr txBox="1"/>
          <p:nvPr/>
        </p:nvSpPr>
        <p:spPr>
          <a:xfrm>
            <a:off x="669924" y="4224726"/>
            <a:ext cx="8991600" cy="1200329"/>
          </a:xfrm>
          <a:prstGeom prst="rect">
            <a:avLst/>
          </a:prstGeom>
          <a:noFill/>
        </p:spPr>
        <p:txBody>
          <a:bodyPr wrap="square" rtlCol="0">
            <a:spAutoFit/>
          </a:bodyPr>
          <a:lstStyle/>
          <a:p>
            <a:pPr marL="0" algn="l"/>
            <a:r>
              <a:rPr lang="en-US" altLang="zh-CN" b="1" i="0" dirty="0">
                <a:solidFill>
                  <a:srgbClr val="0D0016"/>
                </a:solidFill>
                <a:effectLst/>
                <a:latin typeface="PingFang SC"/>
              </a:rPr>
              <a:t>6</a:t>
            </a:r>
            <a:r>
              <a:rPr lang="zh-CN" altLang="en-US" b="1" i="0" dirty="0">
                <a:solidFill>
                  <a:srgbClr val="0D0016"/>
                </a:solidFill>
                <a:effectLst/>
                <a:latin typeface="PingFang SC"/>
              </a:rPr>
              <a:t>、泛化</a:t>
            </a:r>
            <a:r>
              <a:rPr lang="en-US" altLang="zh-CN" b="1" i="0" dirty="0">
                <a:solidFill>
                  <a:srgbClr val="0D0016"/>
                </a:solidFill>
                <a:effectLst/>
                <a:latin typeface="PingFang SC"/>
              </a:rPr>
              <a:t>(Inheritance)</a:t>
            </a:r>
            <a:endParaRPr lang="zh-CN" altLang="en-US" b="1" i="0" dirty="0">
              <a:solidFill>
                <a:srgbClr val="4F4F4F"/>
              </a:solidFill>
              <a:effectLst/>
              <a:latin typeface="PingFang SC"/>
            </a:endParaRPr>
          </a:p>
          <a:p>
            <a:pPr marL="0" algn="l"/>
            <a:r>
              <a:rPr lang="zh-CN" altLang="en-US" b="0" i="0" dirty="0">
                <a:solidFill>
                  <a:srgbClr val="0D0016"/>
                </a:solidFill>
                <a:effectLst/>
                <a:latin typeface="-apple-system"/>
              </a:rPr>
              <a:t>        在</a:t>
            </a:r>
            <a:r>
              <a:rPr lang="en-US" altLang="zh-CN" b="0" i="0" dirty="0" err="1">
                <a:solidFill>
                  <a:srgbClr val="0D0016"/>
                </a:solidFill>
                <a:effectLst/>
                <a:latin typeface="-apple-system"/>
              </a:rPr>
              <a:t>uml</a:t>
            </a:r>
            <a:r>
              <a:rPr lang="zh-CN" altLang="en-US" b="0" i="0" dirty="0">
                <a:solidFill>
                  <a:srgbClr val="0D0016"/>
                </a:solidFill>
                <a:effectLst/>
                <a:latin typeface="-apple-system"/>
              </a:rPr>
              <a:t>中用例泛化用一个</a:t>
            </a:r>
            <a:r>
              <a:rPr lang="zh-CN" altLang="en-US" b="1" i="0" dirty="0">
                <a:solidFill>
                  <a:srgbClr val="FE2C24"/>
                </a:solidFill>
                <a:effectLst/>
                <a:latin typeface="-apple-system"/>
              </a:rPr>
              <a:t>空心三角箭头</a:t>
            </a:r>
            <a:r>
              <a:rPr lang="zh-CN" altLang="en-US" b="0" i="0" dirty="0">
                <a:solidFill>
                  <a:srgbClr val="0D0016"/>
                </a:solidFill>
                <a:effectLst/>
                <a:latin typeface="-apple-system"/>
              </a:rPr>
              <a:t>从子用例指向父用例，泛化就是继承关系，子用例可以使用父亲用例中的属性，行为和关系。</a:t>
            </a:r>
            <a:br>
              <a:rPr lang="zh-CN" altLang="en-US" b="0" i="0" dirty="0">
                <a:solidFill>
                  <a:srgbClr val="0D0016"/>
                </a:solidFill>
                <a:effectLst/>
                <a:latin typeface="-apple-system"/>
              </a:rPr>
            </a:br>
            <a:r>
              <a:rPr lang="zh-CN" altLang="en-US" b="0" i="0" dirty="0">
                <a:solidFill>
                  <a:srgbClr val="0D0016"/>
                </a:solidFill>
                <a:effectLst/>
                <a:latin typeface="-apple-system"/>
              </a:rPr>
              <a:t>        </a:t>
            </a:r>
            <a:r>
              <a:rPr lang="en-US" altLang="zh-CN" b="0" i="0" dirty="0">
                <a:solidFill>
                  <a:srgbClr val="0D0016"/>
                </a:solidFill>
                <a:effectLst/>
                <a:latin typeface="-apple-system"/>
              </a:rPr>
              <a:t>【</a:t>
            </a:r>
            <a:r>
              <a:rPr lang="zh-CN" altLang="en-US" b="0" i="0" dirty="0">
                <a:solidFill>
                  <a:srgbClr val="0D0016"/>
                </a:solidFill>
                <a:effectLst/>
                <a:latin typeface="-apple-system"/>
              </a:rPr>
              <a:t>箭头指向</a:t>
            </a:r>
            <a:r>
              <a:rPr lang="en-US" altLang="zh-CN" b="0" i="0" dirty="0">
                <a:solidFill>
                  <a:srgbClr val="0D0016"/>
                </a:solidFill>
                <a:effectLst/>
                <a:latin typeface="-apple-system"/>
              </a:rPr>
              <a:t>】</a:t>
            </a:r>
            <a:r>
              <a:rPr lang="zh-CN" altLang="en-US" b="0" i="0" dirty="0">
                <a:solidFill>
                  <a:srgbClr val="0D0016"/>
                </a:solidFill>
                <a:effectLst/>
                <a:latin typeface="-apple-system"/>
              </a:rPr>
              <a:t>：箭头指向父用例</a:t>
            </a:r>
            <a:endParaRPr lang="zh-CN" altLang="en-US" b="0" i="0" dirty="0">
              <a:solidFill>
                <a:srgbClr val="4D4D4D"/>
              </a:solidFill>
              <a:effectLst/>
              <a:latin typeface="-apple-system"/>
            </a:endParaRPr>
          </a:p>
        </p:txBody>
      </p:sp>
      <p:grpSp>
        <p:nvGrpSpPr>
          <p:cNvPr id="63" name="组合 62">
            <a:extLst>
              <a:ext uri="{FF2B5EF4-FFF2-40B4-BE49-F238E27FC236}">
                <a16:creationId xmlns:a16="http://schemas.microsoft.com/office/drawing/2014/main" id="{E5FE6518-A0A2-459E-B67A-AD85BCD8B076}"/>
              </a:ext>
            </a:extLst>
          </p:cNvPr>
          <p:cNvGrpSpPr/>
          <p:nvPr/>
        </p:nvGrpSpPr>
        <p:grpSpPr>
          <a:xfrm>
            <a:off x="10482004" y="122001"/>
            <a:ext cx="1094043" cy="912977"/>
            <a:chOff x="3990838" y="1543050"/>
            <a:chExt cx="4210325" cy="4044951"/>
          </a:xfrm>
        </p:grpSpPr>
        <p:sp>
          <p:nvSpPr>
            <p:cNvPr id="64" name="Freeform 5">
              <a:extLst>
                <a:ext uri="{FF2B5EF4-FFF2-40B4-BE49-F238E27FC236}">
                  <a16:creationId xmlns:a16="http://schemas.microsoft.com/office/drawing/2014/main" id="{A87C06EA-7A79-4284-A299-64B0449B4F7F}"/>
                </a:ext>
              </a:extLst>
            </p:cNvPr>
            <p:cNvSpPr>
              <a:spLocks/>
            </p:cNvSpPr>
            <p:nvPr/>
          </p:nvSpPr>
          <p:spPr bwMode="auto">
            <a:xfrm>
              <a:off x="3990838" y="1790366"/>
              <a:ext cx="4089646" cy="3706754"/>
            </a:xfrm>
            <a:custGeom>
              <a:avLst/>
              <a:gdLst>
                <a:gd name="T0" fmla="*/ 2151 w 3009"/>
                <a:gd name="T1" fmla="*/ 2707 h 2727"/>
                <a:gd name="T2" fmla="*/ 60 w 3009"/>
                <a:gd name="T3" fmla="*/ 1734 h 2727"/>
                <a:gd name="T4" fmla="*/ 20 w 3009"/>
                <a:gd name="T5" fmla="*/ 1623 h 2727"/>
                <a:gd name="T6" fmla="*/ 747 w 3009"/>
                <a:gd name="T7" fmla="*/ 60 h 2727"/>
                <a:gd name="T8" fmla="*/ 858 w 3009"/>
                <a:gd name="T9" fmla="*/ 19 h 2727"/>
                <a:gd name="T10" fmla="*/ 2950 w 3009"/>
                <a:gd name="T11" fmla="*/ 993 h 2727"/>
                <a:gd name="T12" fmla="*/ 2990 w 3009"/>
                <a:gd name="T13" fmla="*/ 1104 h 2727"/>
                <a:gd name="T14" fmla="*/ 2262 w 3009"/>
                <a:gd name="T15" fmla="*/ 2667 h 2727"/>
                <a:gd name="T16" fmla="*/ 2151 w 3009"/>
                <a:gd name="T17" fmla="*/ 2707 h 2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09" h="2727">
                  <a:moveTo>
                    <a:pt x="2151" y="2707"/>
                  </a:moveTo>
                  <a:cubicBezTo>
                    <a:pt x="60" y="1734"/>
                    <a:pt x="60" y="1734"/>
                    <a:pt x="60" y="1734"/>
                  </a:cubicBezTo>
                  <a:cubicBezTo>
                    <a:pt x="18" y="1714"/>
                    <a:pt x="0" y="1665"/>
                    <a:pt x="20" y="1623"/>
                  </a:cubicBezTo>
                  <a:cubicBezTo>
                    <a:pt x="747" y="60"/>
                    <a:pt x="747" y="60"/>
                    <a:pt x="747" y="60"/>
                  </a:cubicBezTo>
                  <a:cubicBezTo>
                    <a:pt x="767" y="18"/>
                    <a:pt x="816" y="0"/>
                    <a:pt x="858" y="19"/>
                  </a:cubicBezTo>
                  <a:cubicBezTo>
                    <a:pt x="2950" y="993"/>
                    <a:pt x="2950" y="993"/>
                    <a:pt x="2950" y="993"/>
                  </a:cubicBezTo>
                  <a:cubicBezTo>
                    <a:pt x="2991" y="1012"/>
                    <a:pt x="3009" y="1062"/>
                    <a:pt x="2990" y="1104"/>
                  </a:cubicBezTo>
                  <a:cubicBezTo>
                    <a:pt x="2262" y="2667"/>
                    <a:pt x="2262" y="2667"/>
                    <a:pt x="2262" y="2667"/>
                  </a:cubicBezTo>
                  <a:cubicBezTo>
                    <a:pt x="2243" y="2708"/>
                    <a:pt x="2193" y="2727"/>
                    <a:pt x="2151" y="2707"/>
                  </a:cubicBezTo>
                  <a:close/>
                </a:path>
              </a:pathLst>
            </a:custGeom>
            <a:solidFill>
              <a:srgbClr val="D1CDC9">
                <a:alpha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5" name="Freeform 6">
              <a:extLst>
                <a:ext uri="{FF2B5EF4-FFF2-40B4-BE49-F238E27FC236}">
                  <a16:creationId xmlns:a16="http://schemas.microsoft.com/office/drawing/2014/main" id="{5B1D1082-2EF7-45C4-A108-C40095ACEAD7}"/>
                </a:ext>
              </a:extLst>
            </p:cNvPr>
            <p:cNvSpPr>
              <a:spLocks/>
            </p:cNvSpPr>
            <p:nvPr/>
          </p:nvSpPr>
          <p:spPr bwMode="auto">
            <a:xfrm>
              <a:off x="4111517" y="1748650"/>
              <a:ext cx="4089646" cy="3706754"/>
            </a:xfrm>
            <a:custGeom>
              <a:avLst/>
              <a:gdLst>
                <a:gd name="T0" fmla="*/ 2151 w 3009"/>
                <a:gd name="T1" fmla="*/ 2707 h 2727"/>
                <a:gd name="T2" fmla="*/ 60 w 3009"/>
                <a:gd name="T3" fmla="*/ 1734 h 2727"/>
                <a:gd name="T4" fmla="*/ 19 w 3009"/>
                <a:gd name="T5" fmla="*/ 1623 h 2727"/>
                <a:gd name="T6" fmla="*/ 747 w 3009"/>
                <a:gd name="T7" fmla="*/ 60 h 2727"/>
                <a:gd name="T8" fmla="*/ 858 w 3009"/>
                <a:gd name="T9" fmla="*/ 20 h 2727"/>
                <a:gd name="T10" fmla="*/ 2949 w 3009"/>
                <a:gd name="T11" fmla="*/ 993 h 2727"/>
                <a:gd name="T12" fmla="*/ 2989 w 3009"/>
                <a:gd name="T13" fmla="*/ 1104 h 2727"/>
                <a:gd name="T14" fmla="*/ 2262 w 3009"/>
                <a:gd name="T15" fmla="*/ 2667 h 2727"/>
                <a:gd name="T16" fmla="*/ 2151 w 3009"/>
                <a:gd name="T17" fmla="*/ 2707 h 2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09" h="2727">
                  <a:moveTo>
                    <a:pt x="2151" y="2707"/>
                  </a:moveTo>
                  <a:cubicBezTo>
                    <a:pt x="60" y="1734"/>
                    <a:pt x="60" y="1734"/>
                    <a:pt x="60" y="1734"/>
                  </a:cubicBezTo>
                  <a:cubicBezTo>
                    <a:pt x="18" y="1714"/>
                    <a:pt x="0" y="1665"/>
                    <a:pt x="19" y="1623"/>
                  </a:cubicBezTo>
                  <a:cubicBezTo>
                    <a:pt x="747" y="60"/>
                    <a:pt x="747" y="60"/>
                    <a:pt x="747" y="60"/>
                  </a:cubicBezTo>
                  <a:cubicBezTo>
                    <a:pt x="766" y="18"/>
                    <a:pt x="816" y="0"/>
                    <a:pt x="858" y="20"/>
                  </a:cubicBezTo>
                  <a:cubicBezTo>
                    <a:pt x="2949" y="993"/>
                    <a:pt x="2949" y="993"/>
                    <a:pt x="2949" y="993"/>
                  </a:cubicBezTo>
                  <a:cubicBezTo>
                    <a:pt x="2991" y="1012"/>
                    <a:pt x="3009" y="1062"/>
                    <a:pt x="2989" y="1104"/>
                  </a:cubicBezTo>
                  <a:cubicBezTo>
                    <a:pt x="2262" y="2667"/>
                    <a:pt x="2262" y="2667"/>
                    <a:pt x="2262" y="2667"/>
                  </a:cubicBezTo>
                  <a:cubicBezTo>
                    <a:pt x="2242" y="2709"/>
                    <a:pt x="2193" y="2727"/>
                    <a:pt x="2151" y="2707"/>
                  </a:cubicBezTo>
                  <a:close/>
                </a:path>
              </a:pathLst>
            </a:custGeom>
            <a:solidFill>
              <a:srgbClr val="F4E6C9"/>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66" name="Freeform 7">
              <a:extLst>
                <a:ext uri="{FF2B5EF4-FFF2-40B4-BE49-F238E27FC236}">
                  <a16:creationId xmlns:a16="http://schemas.microsoft.com/office/drawing/2014/main" id="{C736703D-5D5E-47C3-99C2-1A8B5FB37111}"/>
                </a:ext>
              </a:extLst>
            </p:cNvPr>
            <p:cNvSpPr>
              <a:spLocks/>
            </p:cNvSpPr>
            <p:nvPr/>
          </p:nvSpPr>
          <p:spPr bwMode="auto">
            <a:xfrm>
              <a:off x="4400548" y="2261159"/>
              <a:ext cx="3362598" cy="2608733"/>
            </a:xfrm>
            <a:custGeom>
              <a:avLst/>
              <a:gdLst>
                <a:gd name="T0" fmla="*/ 2390 w 2474"/>
                <a:gd name="T1" fmla="*/ 1919 h 1919"/>
                <a:gd name="T2" fmla="*/ 85 w 2474"/>
                <a:gd name="T3" fmla="*/ 1919 h 1919"/>
                <a:gd name="T4" fmla="*/ 0 w 2474"/>
                <a:gd name="T5" fmla="*/ 1834 h 1919"/>
                <a:gd name="T6" fmla="*/ 0 w 2474"/>
                <a:gd name="T7" fmla="*/ 84 h 1919"/>
                <a:gd name="T8" fmla="*/ 85 w 2474"/>
                <a:gd name="T9" fmla="*/ 0 h 1919"/>
                <a:gd name="T10" fmla="*/ 2390 w 2474"/>
                <a:gd name="T11" fmla="*/ 0 h 1919"/>
                <a:gd name="T12" fmla="*/ 2474 w 2474"/>
                <a:gd name="T13" fmla="*/ 84 h 1919"/>
                <a:gd name="T14" fmla="*/ 2474 w 2474"/>
                <a:gd name="T15" fmla="*/ 1834 h 1919"/>
                <a:gd name="T16" fmla="*/ 2390 w 2474"/>
                <a:gd name="T17" fmla="*/ 1919 h 19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74" h="1919">
                  <a:moveTo>
                    <a:pt x="2390" y="1919"/>
                  </a:moveTo>
                  <a:cubicBezTo>
                    <a:pt x="85" y="1919"/>
                    <a:pt x="85" y="1919"/>
                    <a:pt x="85" y="1919"/>
                  </a:cubicBezTo>
                  <a:cubicBezTo>
                    <a:pt x="38" y="1919"/>
                    <a:pt x="0" y="1881"/>
                    <a:pt x="0" y="1834"/>
                  </a:cubicBezTo>
                  <a:cubicBezTo>
                    <a:pt x="0" y="84"/>
                    <a:pt x="0" y="84"/>
                    <a:pt x="0" y="84"/>
                  </a:cubicBezTo>
                  <a:cubicBezTo>
                    <a:pt x="0" y="37"/>
                    <a:pt x="38" y="0"/>
                    <a:pt x="85" y="0"/>
                  </a:cubicBezTo>
                  <a:cubicBezTo>
                    <a:pt x="2390" y="0"/>
                    <a:pt x="2390" y="0"/>
                    <a:pt x="2390" y="0"/>
                  </a:cubicBezTo>
                  <a:cubicBezTo>
                    <a:pt x="2437" y="0"/>
                    <a:pt x="2474" y="37"/>
                    <a:pt x="2474" y="84"/>
                  </a:cubicBezTo>
                  <a:cubicBezTo>
                    <a:pt x="2474" y="1834"/>
                    <a:pt x="2474" y="1834"/>
                    <a:pt x="2474" y="1834"/>
                  </a:cubicBezTo>
                  <a:cubicBezTo>
                    <a:pt x="2474" y="1881"/>
                    <a:pt x="2437" y="1919"/>
                    <a:pt x="2390" y="1919"/>
                  </a:cubicBezTo>
                  <a:close/>
                </a:path>
              </a:pathLst>
            </a:custGeom>
            <a:solidFill>
              <a:srgbClr val="D1CDC9">
                <a:alpha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7" name="Freeform 8">
              <a:extLst>
                <a:ext uri="{FF2B5EF4-FFF2-40B4-BE49-F238E27FC236}">
                  <a16:creationId xmlns:a16="http://schemas.microsoft.com/office/drawing/2014/main" id="{6BE893B9-02BE-4A5D-919E-E7631F18D0EE}"/>
                </a:ext>
              </a:extLst>
            </p:cNvPr>
            <p:cNvSpPr>
              <a:spLocks/>
            </p:cNvSpPr>
            <p:nvPr/>
          </p:nvSpPr>
          <p:spPr bwMode="auto">
            <a:xfrm>
              <a:off x="4466102" y="2316284"/>
              <a:ext cx="3362598" cy="2608733"/>
            </a:xfrm>
            <a:custGeom>
              <a:avLst/>
              <a:gdLst>
                <a:gd name="T0" fmla="*/ 2390 w 2474"/>
                <a:gd name="T1" fmla="*/ 1919 h 1919"/>
                <a:gd name="T2" fmla="*/ 85 w 2474"/>
                <a:gd name="T3" fmla="*/ 1919 h 1919"/>
                <a:gd name="T4" fmla="*/ 0 w 2474"/>
                <a:gd name="T5" fmla="*/ 1834 h 1919"/>
                <a:gd name="T6" fmla="*/ 0 w 2474"/>
                <a:gd name="T7" fmla="*/ 84 h 1919"/>
                <a:gd name="T8" fmla="*/ 85 w 2474"/>
                <a:gd name="T9" fmla="*/ 0 h 1919"/>
                <a:gd name="T10" fmla="*/ 2390 w 2474"/>
                <a:gd name="T11" fmla="*/ 0 h 1919"/>
                <a:gd name="T12" fmla="*/ 2474 w 2474"/>
                <a:gd name="T13" fmla="*/ 84 h 1919"/>
                <a:gd name="T14" fmla="*/ 2474 w 2474"/>
                <a:gd name="T15" fmla="*/ 1834 h 1919"/>
                <a:gd name="T16" fmla="*/ 2390 w 2474"/>
                <a:gd name="T17" fmla="*/ 1919 h 19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74" h="1919">
                  <a:moveTo>
                    <a:pt x="2390" y="1919"/>
                  </a:moveTo>
                  <a:cubicBezTo>
                    <a:pt x="85" y="1919"/>
                    <a:pt x="85" y="1919"/>
                    <a:pt x="85" y="1919"/>
                  </a:cubicBezTo>
                  <a:cubicBezTo>
                    <a:pt x="38" y="1919"/>
                    <a:pt x="0" y="1881"/>
                    <a:pt x="0" y="1834"/>
                  </a:cubicBezTo>
                  <a:cubicBezTo>
                    <a:pt x="0" y="84"/>
                    <a:pt x="0" y="84"/>
                    <a:pt x="0" y="84"/>
                  </a:cubicBezTo>
                  <a:cubicBezTo>
                    <a:pt x="0" y="37"/>
                    <a:pt x="38" y="0"/>
                    <a:pt x="85" y="0"/>
                  </a:cubicBezTo>
                  <a:cubicBezTo>
                    <a:pt x="2390" y="0"/>
                    <a:pt x="2390" y="0"/>
                    <a:pt x="2390" y="0"/>
                  </a:cubicBezTo>
                  <a:cubicBezTo>
                    <a:pt x="2437" y="0"/>
                    <a:pt x="2474" y="37"/>
                    <a:pt x="2474" y="84"/>
                  </a:cubicBezTo>
                  <a:cubicBezTo>
                    <a:pt x="2474" y="1834"/>
                    <a:pt x="2474" y="1834"/>
                    <a:pt x="2474" y="1834"/>
                  </a:cubicBezTo>
                  <a:cubicBezTo>
                    <a:pt x="2474" y="1881"/>
                    <a:pt x="2437" y="1919"/>
                    <a:pt x="2390" y="1919"/>
                  </a:cubicBezTo>
                  <a:close/>
                </a:path>
              </a:pathLst>
            </a:custGeom>
            <a:solidFill>
              <a:srgbClr val="FFF0F6"/>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68" name="Freeform 9">
              <a:extLst>
                <a:ext uri="{FF2B5EF4-FFF2-40B4-BE49-F238E27FC236}">
                  <a16:creationId xmlns:a16="http://schemas.microsoft.com/office/drawing/2014/main" id="{74ABC520-EF4F-4181-8E72-2BE0616B3C1F}"/>
                </a:ext>
              </a:extLst>
            </p:cNvPr>
            <p:cNvSpPr>
              <a:spLocks/>
            </p:cNvSpPr>
            <p:nvPr/>
          </p:nvSpPr>
          <p:spPr bwMode="auto">
            <a:xfrm>
              <a:off x="5141004" y="3935754"/>
              <a:ext cx="1634369" cy="1603082"/>
            </a:xfrm>
            <a:custGeom>
              <a:avLst/>
              <a:gdLst>
                <a:gd name="T0" fmla="*/ 1182 w 1203"/>
                <a:gd name="T1" fmla="*/ 746 h 1179"/>
                <a:gd name="T2" fmla="*/ 446 w 1203"/>
                <a:gd name="T3" fmla="*/ 1170 h 1179"/>
                <a:gd name="T4" fmla="*/ 403 w 1203"/>
                <a:gd name="T5" fmla="*/ 1158 h 1179"/>
                <a:gd name="T6" fmla="*/ 9 w 1203"/>
                <a:gd name="T7" fmla="*/ 477 h 1179"/>
                <a:gd name="T8" fmla="*/ 21 w 1203"/>
                <a:gd name="T9" fmla="*/ 433 h 1179"/>
                <a:gd name="T10" fmla="*/ 757 w 1203"/>
                <a:gd name="T11" fmla="*/ 9 h 1179"/>
                <a:gd name="T12" fmla="*/ 800 w 1203"/>
                <a:gd name="T13" fmla="*/ 21 h 1179"/>
                <a:gd name="T14" fmla="*/ 1194 w 1203"/>
                <a:gd name="T15" fmla="*/ 702 h 1179"/>
                <a:gd name="T16" fmla="*/ 1182 w 1203"/>
                <a:gd name="T17" fmla="*/ 746 h 1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03" h="1179">
                  <a:moveTo>
                    <a:pt x="1182" y="746"/>
                  </a:moveTo>
                  <a:cubicBezTo>
                    <a:pt x="446" y="1170"/>
                    <a:pt x="446" y="1170"/>
                    <a:pt x="446" y="1170"/>
                  </a:cubicBezTo>
                  <a:cubicBezTo>
                    <a:pt x="431" y="1179"/>
                    <a:pt x="411" y="1174"/>
                    <a:pt x="403" y="1158"/>
                  </a:cubicBezTo>
                  <a:cubicBezTo>
                    <a:pt x="9" y="477"/>
                    <a:pt x="9" y="477"/>
                    <a:pt x="9" y="477"/>
                  </a:cubicBezTo>
                  <a:cubicBezTo>
                    <a:pt x="0" y="462"/>
                    <a:pt x="6" y="442"/>
                    <a:pt x="21" y="433"/>
                  </a:cubicBezTo>
                  <a:cubicBezTo>
                    <a:pt x="757" y="9"/>
                    <a:pt x="757" y="9"/>
                    <a:pt x="757" y="9"/>
                  </a:cubicBezTo>
                  <a:cubicBezTo>
                    <a:pt x="772" y="0"/>
                    <a:pt x="792" y="5"/>
                    <a:pt x="800" y="21"/>
                  </a:cubicBezTo>
                  <a:cubicBezTo>
                    <a:pt x="1194" y="702"/>
                    <a:pt x="1194" y="702"/>
                    <a:pt x="1194" y="702"/>
                  </a:cubicBezTo>
                  <a:cubicBezTo>
                    <a:pt x="1203" y="717"/>
                    <a:pt x="1197" y="737"/>
                    <a:pt x="1182" y="746"/>
                  </a:cubicBezTo>
                  <a:close/>
                </a:path>
              </a:pathLst>
            </a:custGeom>
            <a:solidFill>
              <a:srgbClr val="D1CDC9">
                <a:alpha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9" name="Freeform 10">
              <a:extLst>
                <a:ext uri="{FF2B5EF4-FFF2-40B4-BE49-F238E27FC236}">
                  <a16:creationId xmlns:a16="http://schemas.microsoft.com/office/drawing/2014/main" id="{89294306-56FC-4A9B-92ED-C1E239494621}"/>
                </a:ext>
              </a:extLst>
            </p:cNvPr>
            <p:cNvSpPr>
              <a:spLocks/>
            </p:cNvSpPr>
            <p:nvPr/>
          </p:nvSpPr>
          <p:spPr bwMode="auto">
            <a:xfrm>
              <a:off x="5184211" y="3871690"/>
              <a:ext cx="1634369" cy="1601592"/>
            </a:xfrm>
            <a:custGeom>
              <a:avLst/>
              <a:gdLst>
                <a:gd name="T0" fmla="*/ 1182 w 1203"/>
                <a:gd name="T1" fmla="*/ 746 h 1179"/>
                <a:gd name="T2" fmla="*/ 446 w 1203"/>
                <a:gd name="T3" fmla="*/ 1170 h 1179"/>
                <a:gd name="T4" fmla="*/ 403 w 1203"/>
                <a:gd name="T5" fmla="*/ 1158 h 1179"/>
                <a:gd name="T6" fmla="*/ 9 w 1203"/>
                <a:gd name="T7" fmla="*/ 477 h 1179"/>
                <a:gd name="T8" fmla="*/ 21 w 1203"/>
                <a:gd name="T9" fmla="*/ 433 h 1179"/>
                <a:gd name="T10" fmla="*/ 757 w 1203"/>
                <a:gd name="T11" fmla="*/ 9 h 1179"/>
                <a:gd name="T12" fmla="*/ 800 w 1203"/>
                <a:gd name="T13" fmla="*/ 21 h 1179"/>
                <a:gd name="T14" fmla="*/ 1194 w 1203"/>
                <a:gd name="T15" fmla="*/ 702 h 1179"/>
                <a:gd name="T16" fmla="*/ 1182 w 1203"/>
                <a:gd name="T17" fmla="*/ 746 h 1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03" h="1179">
                  <a:moveTo>
                    <a:pt x="1182" y="746"/>
                  </a:moveTo>
                  <a:cubicBezTo>
                    <a:pt x="446" y="1170"/>
                    <a:pt x="446" y="1170"/>
                    <a:pt x="446" y="1170"/>
                  </a:cubicBezTo>
                  <a:cubicBezTo>
                    <a:pt x="431" y="1179"/>
                    <a:pt x="411" y="1174"/>
                    <a:pt x="403" y="1158"/>
                  </a:cubicBezTo>
                  <a:cubicBezTo>
                    <a:pt x="9" y="477"/>
                    <a:pt x="9" y="477"/>
                    <a:pt x="9" y="477"/>
                  </a:cubicBezTo>
                  <a:cubicBezTo>
                    <a:pt x="0" y="462"/>
                    <a:pt x="6" y="442"/>
                    <a:pt x="21" y="433"/>
                  </a:cubicBezTo>
                  <a:cubicBezTo>
                    <a:pt x="757" y="9"/>
                    <a:pt x="757" y="9"/>
                    <a:pt x="757" y="9"/>
                  </a:cubicBezTo>
                  <a:cubicBezTo>
                    <a:pt x="772" y="0"/>
                    <a:pt x="792" y="5"/>
                    <a:pt x="800" y="21"/>
                  </a:cubicBezTo>
                  <a:cubicBezTo>
                    <a:pt x="1194" y="702"/>
                    <a:pt x="1194" y="702"/>
                    <a:pt x="1194" y="702"/>
                  </a:cubicBezTo>
                  <a:cubicBezTo>
                    <a:pt x="1203" y="717"/>
                    <a:pt x="1197" y="737"/>
                    <a:pt x="1182" y="746"/>
                  </a:cubicBezTo>
                  <a:close/>
                </a:path>
              </a:pathLst>
            </a:custGeom>
            <a:solidFill>
              <a:srgbClr val="DEE2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70" name="Freeform 11">
              <a:extLst>
                <a:ext uri="{FF2B5EF4-FFF2-40B4-BE49-F238E27FC236}">
                  <a16:creationId xmlns:a16="http://schemas.microsoft.com/office/drawing/2014/main" id="{24AABED0-6E89-4456-957D-91238C63BF2B}"/>
                </a:ext>
              </a:extLst>
            </p:cNvPr>
            <p:cNvSpPr>
              <a:spLocks/>
            </p:cNvSpPr>
            <p:nvPr/>
          </p:nvSpPr>
          <p:spPr bwMode="auto">
            <a:xfrm>
              <a:off x="4063841" y="2964370"/>
              <a:ext cx="1594143" cy="2416541"/>
            </a:xfrm>
            <a:custGeom>
              <a:avLst/>
              <a:gdLst>
                <a:gd name="T0" fmla="*/ 1057 w 1173"/>
                <a:gd name="T1" fmla="*/ 1778 h 1778"/>
                <a:gd name="T2" fmla="*/ 116 w 1173"/>
                <a:gd name="T3" fmla="*/ 1778 h 1778"/>
                <a:gd name="T4" fmla="*/ 0 w 1173"/>
                <a:gd name="T5" fmla="*/ 1662 h 1778"/>
                <a:gd name="T6" fmla="*/ 0 w 1173"/>
                <a:gd name="T7" fmla="*/ 116 h 1778"/>
                <a:gd name="T8" fmla="*/ 116 w 1173"/>
                <a:gd name="T9" fmla="*/ 0 h 1778"/>
                <a:gd name="T10" fmla="*/ 1057 w 1173"/>
                <a:gd name="T11" fmla="*/ 0 h 1778"/>
                <a:gd name="T12" fmla="*/ 1173 w 1173"/>
                <a:gd name="T13" fmla="*/ 116 h 1778"/>
                <a:gd name="T14" fmla="*/ 1173 w 1173"/>
                <a:gd name="T15" fmla="*/ 1662 h 1778"/>
                <a:gd name="T16" fmla="*/ 1057 w 1173"/>
                <a:gd name="T17" fmla="*/ 1778 h 17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73" h="1778">
                  <a:moveTo>
                    <a:pt x="1057" y="1778"/>
                  </a:moveTo>
                  <a:cubicBezTo>
                    <a:pt x="116" y="1778"/>
                    <a:pt x="116" y="1778"/>
                    <a:pt x="116" y="1778"/>
                  </a:cubicBezTo>
                  <a:cubicBezTo>
                    <a:pt x="52" y="1778"/>
                    <a:pt x="0" y="1726"/>
                    <a:pt x="0" y="1662"/>
                  </a:cubicBezTo>
                  <a:cubicBezTo>
                    <a:pt x="0" y="116"/>
                    <a:pt x="0" y="116"/>
                    <a:pt x="0" y="116"/>
                  </a:cubicBezTo>
                  <a:cubicBezTo>
                    <a:pt x="0" y="52"/>
                    <a:pt x="52" y="0"/>
                    <a:pt x="116" y="0"/>
                  </a:cubicBezTo>
                  <a:cubicBezTo>
                    <a:pt x="1057" y="0"/>
                    <a:pt x="1057" y="0"/>
                    <a:pt x="1057" y="0"/>
                  </a:cubicBezTo>
                  <a:cubicBezTo>
                    <a:pt x="1121" y="0"/>
                    <a:pt x="1173" y="52"/>
                    <a:pt x="1173" y="116"/>
                  </a:cubicBezTo>
                  <a:cubicBezTo>
                    <a:pt x="1173" y="1662"/>
                    <a:pt x="1173" y="1662"/>
                    <a:pt x="1173" y="1662"/>
                  </a:cubicBezTo>
                  <a:cubicBezTo>
                    <a:pt x="1173" y="1726"/>
                    <a:pt x="1121" y="1778"/>
                    <a:pt x="1057" y="1778"/>
                  </a:cubicBezTo>
                  <a:close/>
                </a:path>
              </a:pathLst>
            </a:custGeom>
            <a:solidFill>
              <a:srgbClr val="D1CDC9">
                <a:alpha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71" name="Freeform 12">
              <a:extLst>
                <a:ext uri="{FF2B5EF4-FFF2-40B4-BE49-F238E27FC236}">
                  <a16:creationId xmlns:a16="http://schemas.microsoft.com/office/drawing/2014/main" id="{ABCB61B6-568C-424D-926E-D51916DABF9B}"/>
                </a:ext>
              </a:extLst>
            </p:cNvPr>
            <p:cNvSpPr>
              <a:spLocks/>
            </p:cNvSpPr>
            <p:nvPr/>
          </p:nvSpPr>
          <p:spPr bwMode="auto">
            <a:xfrm>
              <a:off x="4007227" y="2915205"/>
              <a:ext cx="1594143" cy="2416541"/>
            </a:xfrm>
            <a:custGeom>
              <a:avLst/>
              <a:gdLst>
                <a:gd name="T0" fmla="*/ 1057 w 1173"/>
                <a:gd name="T1" fmla="*/ 1778 h 1778"/>
                <a:gd name="T2" fmla="*/ 116 w 1173"/>
                <a:gd name="T3" fmla="*/ 1778 h 1778"/>
                <a:gd name="T4" fmla="*/ 0 w 1173"/>
                <a:gd name="T5" fmla="*/ 1662 h 1778"/>
                <a:gd name="T6" fmla="*/ 0 w 1173"/>
                <a:gd name="T7" fmla="*/ 116 h 1778"/>
                <a:gd name="T8" fmla="*/ 116 w 1173"/>
                <a:gd name="T9" fmla="*/ 0 h 1778"/>
                <a:gd name="T10" fmla="*/ 1057 w 1173"/>
                <a:gd name="T11" fmla="*/ 0 h 1778"/>
                <a:gd name="T12" fmla="*/ 1173 w 1173"/>
                <a:gd name="T13" fmla="*/ 116 h 1778"/>
                <a:gd name="T14" fmla="*/ 1173 w 1173"/>
                <a:gd name="T15" fmla="*/ 1662 h 1778"/>
                <a:gd name="T16" fmla="*/ 1057 w 1173"/>
                <a:gd name="T17" fmla="*/ 1778 h 17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73" h="1778">
                  <a:moveTo>
                    <a:pt x="1057" y="1778"/>
                  </a:moveTo>
                  <a:cubicBezTo>
                    <a:pt x="116" y="1778"/>
                    <a:pt x="116" y="1778"/>
                    <a:pt x="116" y="1778"/>
                  </a:cubicBezTo>
                  <a:cubicBezTo>
                    <a:pt x="52" y="1778"/>
                    <a:pt x="0" y="1726"/>
                    <a:pt x="0" y="1662"/>
                  </a:cubicBezTo>
                  <a:cubicBezTo>
                    <a:pt x="0" y="116"/>
                    <a:pt x="0" y="116"/>
                    <a:pt x="0" y="116"/>
                  </a:cubicBezTo>
                  <a:cubicBezTo>
                    <a:pt x="0" y="52"/>
                    <a:pt x="52" y="0"/>
                    <a:pt x="116" y="0"/>
                  </a:cubicBezTo>
                  <a:cubicBezTo>
                    <a:pt x="1057" y="0"/>
                    <a:pt x="1057" y="0"/>
                    <a:pt x="1057" y="0"/>
                  </a:cubicBezTo>
                  <a:cubicBezTo>
                    <a:pt x="1121" y="0"/>
                    <a:pt x="1173" y="52"/>
                    <a:pt x="1173" y="116"/>
                  </a:cubicBezTo>
                  <a:cubicBezTo>
                    <a:pt x="1173" y="1662"/>
                    <a:pt x="1173" y="1662"/>
                    <a:pt x="1173" y="1662"/>
                  </a:cubicBezTo>
                  <a:cubicBezTo>
                    <a:pt x="1173" y="1726"/>
                    <a:pt x="1121" y="1778"/>
                    <a:pt x="1057" y="1778"/>
                  </a:cubicBezTo>
                  <a:close/>
                </a:path>
              </a:pathLst>
            </a:custGeom>
            <a:solidFill>
              <a:srgbClr val="B3BA5A"/>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72" name="Rectangle 13">
              <a:extLst>
                <a:ext uri="{FF2B5EF4-FFF2-40B4-BE49-F238E27FC236}">
                  <a16:creationId xmlns:a16="http://schemas.microsoft.com/office/drawing/2014/main" id="{10B2B246-E073-4B90-9B34-EBAA345B2D0B}"/>
                </a:ext>
              </a:extLst>
            </p:cNvPr>
            <p:cNvSpPr>
              <a:spLocks noChangeArrowheads="1"/>
            </p:cNvSpPr>
            <p:nvPr/>
          </p:nvSpPr>
          <p:spPr bwMode="auto">
            <a:xfrm>
              <a:off x="4132374" y="3096967"/>
              <a:ext cx="1278294" cy="344156"/>
            </a:xfrm>
            <a:prstGeom prst="rect">
              <a:avLst/>
            </a:prstGeom>
            <a:solidFill>
              <a:srgbClr val="8B934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73" name="Rectangle 14">
              <a:extLst>
                <a:ext uri="{FF2B5EF4-FFF2-40B4-BE49-F238E27FC236}">
                  <a16:creationId xmlns:a16="http://schemas.microsoft.com/office/drawing/2014/main" id="{50F60FB9-29BD-4AD0-8189-FF2E21D22581}"/>
                </a:ext>
              </a:extLst>
            </p:cNvPr>
            <p:cNvSpPr>
              <a:spLocks noChangeArrowheads="1"/>
            </p:cNvSpPr>
            <p:nvPr/>
          </p:nvSpPr>
          <p:spPr bwMode="auto">
            <a:xfrm>
              <a:off x="4132374" y="3591598"/>
              <a:ext cx="233907" cy="233907"/>
            </a:xfrm>
            <a:prstGeom prst="rect">
              <a:avLst/>
            </a:prstGeom>
            <a:solidFill>
              <a:srgbClr val="8B934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74" name="Rectangle 15">
              <a:extLst>
                <a:ext uri="{FF2B5EF4-FFF2-40B4-BE49-F238E27FC236}">
                  <a16:creationId xmlns:a16="http://schemas.microsoft.com/office/drawing/2014/main" id="{5A1BC3D3-10A1-4593-A36D-AFD104520B27}"/>
                </a:ext>
              </a:extLst>
            </p:cNvPr>
            <p:cNvSpPr>
              <a:spLocks noChangeArrowheads="1"/>
            </p:cNvSpPr>
            <p:nvPr/>
          </p:nvSpPr>
          <p:spPr bwMode="auto">
            <a:xfrm>
              <a:off x="4479510" y="3591598"/>
              <a:ext cx="233907" cy="233907"/>
            </a:xfrm>
            <a:prstGeom prst="rect">
              <a:avLst/>
            </a:prstGeom>
            <a:solidFill>
              <a:srgbClr val="8B934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75" name="Rectangle 16">
              <a:extLst>
                <a:ext uri="{FF2B5EF4-FFF2-40B4-BE49-F238E27FC236}">
                  <a16:creationId xmlns:a16="http://schemas.microsoft.com/office/drawing/2014/main" id="{A6DAD153-CC66-4AFF-B32A-D7D53FEEFD38}"/>
                </a:ext>
              </a:extLst>
            </p:cNvPr>
            <p:cNvSpPr>
              <a:spLocks noChangeArrowheads="1"/>
            </p:cNvSpPr>
            <p:nvPr/>
          </p:nvSpPr>
          <p:spPr bwMode="auto">
            <a:xfrm>
              <a:off x="4829626" y="3591598"/>
              <a:ext cx="233907" cy="233907"/>
            </a:xfrm>
            <a:prstGeom prst="rect">
              <a:avLst/>
            </a:prstGeom>
            <a:solidFill>
              <a:srgbClr val="8B934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76" name="Rectangle 17">
              <a:extLst>
                <a:ext uri="{FF2B5EF4-FFF2-40B4-BE49-F238E27FC236}">
                  <a16:creationId xmlns:a16="http://schemas.microsoft.com/office/drawing/2014/main" id="{EF09E73B-B2DB-4D40-9EA0-797B5C62C7A4}"/>
                </a:ext>
              </a:extLst>
            </p:cNvPr>
            <p:cNvSpPr>
              <a:spLocks noChangeArrowheads="1"/>
            </p:cNvSpPr>
            <p:nvPr/>
          </p:nvSpPr>
          <p:spPr bwMode="auto">
            <a:xfrm>
              <a:off x="5176761" y="3591598"/>
              <a:ext cx="233907" cy="233907"/>
            </a:xfrm>
            <a:prstGeom prst="rect">
              <a:avLst/>
            </a:prstGeom>
            <a:solidFill>
              <a:srgbClr val="8B934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77" name="Rectangle 18">
              <a:extLst>
                <a:ext uri="{FF2B5EF4-FFF2-40B4-BE49-F238E27FC236}">
                  <a16:creationId xmlns:a16="http://schemas.microsoft.com/office/drawing/2014/main" id="{64C172BB-26C0-4444-B922-C29548C71B1B}"/>
                </a:ext>
              </a:extLst>
            </p:cNvPr>
            <p:cNvSpPr>
              <a:spLocks noChangeArrowheads="1"/>
            </p:cNvSpPr>
            <p:nvPr/>
          </p:nvSpPr>
          <p:spPr bwMode="auto">
            <a:xfrm>
              <a:off x="4132374" y="4059412"/>
              <a:ext cx="233907" cy="232417"/>
            </a:xfrm>
            <a:prstGeom prst="rect">
              <a:avLst/>
            </a:prstGeom>
            <a:solidFill>
              <a:srgbClr val="8B934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78" name="Rectangle 19">
              <a:extLst>
                <a:ext uri="{FF2B5EF4-FFF2-40B4-BE49-F238E27FC236}">
                  <a16:creationId xmlns:a16="http://schemas.microsoft.com/office/drawing/2014/main" id="{FFBD7DD2-6E1D-4AB6-B389-4ADA1BDD645F}"/>
                </a:ext>
              </a:extLst>
            </p:cNvPr>
            <p:cNvSpPr>
              <a:spLocks noChangeArrowheads="1"/>
            </p:cNvSpPr>
            <p:nvPr/>
          </p:nvSpPr>
          <p:spPr bwMode="auto">
            <a:xfrm>
              <a:off x="4479510" y="4059412"/>
              <a:ext cx="233907" cy="232417"/>
            </a:xfrm>
            <a:prstGeom prst="rect">
              <a:avLst/>
            </a:prstGeom>
            <a:solidFill>
              <a:srgbClr val="8B934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79" name="Rectangle 20">
              <a:extLst>
                <a:ext uri="{FF2B5EF4-FFF2-40B4-BE49-F238E27FC236}">
                  <a16:creationId xmlns:a16="http://schemas.microsoft.com/office/drawing/2014/main" id="{25597533-BCE7-417B-9994-7C106F66A849}"/>
                </a:ext>
              </a:extLst>
            </p:cNvPr>
            <p:cNvSpPr>
              <a:spLocks noChangeArrowheads="1"/>
            </p:cNvSpPr>
            <p:nvPr/>
          </p:nvSpPr>
          <p:spPr bwMode="auto">
            <a:xfrm>
              <a:off x="4829626" y="4059412"/>
              <a:ext cx="233907" cy="232417"/>
            </a:xfrm>
            <a:prstGeom prst="rect">
              <a:avLst/>
            </a:prstGeom>
            <a:solidFill>
              <a:srgbClr val="8B934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80" name="Rectangle 21">
              <a:extLst>
                <a:ext uri="{FF2B5EF4-FFF2-40B4-BE49-F238E27FC236}">
                  <a16:creationId xmlns:a16="http://schemas.microsoft.com/office/drawing/2014/main" id="{53E57051-37AB-4239-97B5-3F626A7E3BB5}"/>
                </a:ext>
              </a:extLst>
            </p:cNvPr>
            <p:cNvSpPr>
              <a:spLocks noChangeArrowheads="1"/>
            </p:cNvSpPr>
            <p:nvPr/>
          </p:nvSpPr>
          <p:spPr bwMode="auto">
            <a:xfrm>
              <a:off x="5176761" y="4059412"/>
              <a:ext cx="233907" cy="232417"/>
            </a:xfrm>
            <a:prstGeom prst="rect">
              <a:avLst/>
            </a:prstGeom>
            <a:solidFill>
              <a:srgbClr val="8B934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81" name="Rectangle 22">
              <a:extLst>
                <a:ext uri="{FF2B5EF4-FFF2-40B4-BE49-F238E27FC236}">
                  <a16:creationId xmlns:a16="http://schemas.microsoft.com/office/drawing/2014/main" id="{FD754ED0-EADB-4E3E-B66A-EDF9388B8B6E}"/>
                </a:ext>
              </a:extLst>
            </p:cNvPr>
            <p:cNvSpPr>
              <a:spLocks noChangeArrowheads="1"/>
            </p:cNvSpPr>
            <p:nvPr/>
          </p:nvSpPr>
          <p:spPr bwMode="auto">
            <a:xfrm>
              <a:off x="4132374" y="4524246"/>
              <a:ext cx="233907" cy="233907"/>
            </a:xfrm>
            <a:prstGeom prst="rect">
              <a:avLst/>
            </a:prstGeom>
            <a:solidFill>
              <a:srgbClr val="8B934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82" name="Rectangle 23">
              <a:extLst>
                <a:ext uri="{FF2B5EF4-FFF2-40B4-BE49-F238E27FC236}">
                  <a16:creationId xmlns:a16="http://schemas.microsoft.com/office/drawing/2014/main" id="{94DC7181-4F31-492E-84F7-5866B5D44E15}"/>
                </a:ext>
              </a:extLst>
            </p:cNvPr>
            <p:cNvSpPr>
              <a:spLocks noChangeArrowheads="1"/>
            </p:cNvSpPr>
            <p:nvPr/>
          </p:nvSpPr>
          <p:spPr bwMode="auto">
            <a:xfrm>
              <a:off x="4479510" y="4524246"/>
              <a:ext cx="233907" cy="233907"/>
            </a:xfrm>
            <a:prstGeom prst="rect">
              <a:avLst/>
            </a:prstGeom>
            <a:solidFill>
              <a:srgbClr val="8B934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83" name="Rectangle 24">
              <a:extLst>
                <a:ext uri="{FF2B5EF4-FFF2-40B4-BE49-F238E27FC236}">
                  <a16:creationId xmlns:a16="http://schemas.microsoft.com/office/drawing/2014/main" id="{D541BCCA-ACA7-4230-AAC1-309BB799337A}"/>
                </a:ext>
              </a:extLst>
            </p:cNvPr>
            <p:cNvSpPr>
              <a:spLocks noChangeArrowheads="1"/>
            </p:cNvSpPr>
            <p:nvPr/>
          </p:nvSpPr>
          <p:spPr bwMode="auto">
            <a:xfrm>
              <a:off x="4829626" y="4524246"/>
              <a:ext cx="233907" cy="233907"/>
            </a:xfrm>
            <a:prstGeom prst="rect">
              <a:avLst/>
            </a:prstGeom>
            <a:solidFill>
              <a:srgbClr val="8B934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84" name="Rectangle 25">
              <a:extLst>
                <a:ext uri="{FF2B5EF4-FFF2-40B4-BE49-F238E27FC236}">
                  <a16:creationId xmlns:a16="http://schemas.microsoft.com/office/drawing/2014/main" id="{09017F85-304F-48C8-94D5-EC8E9EF5FAD0}"/>
                </a:ext>
              </a:extLst>
            </p:cNvPr>
            <p:cNvSpPr>
              <a:spLocks noChangeArrowheads="1"/>
            </p:cNvSpPr>
            <p:nvPr/>
          </p:nvSpPr>
          <p:spPr bwMode="auto">
            <a:xfrm>
              <a:off x="5176761" y="4524246"/>
              <a:ext cx="233907" cy="701721"/>
            </a:xfrm>
            <a:prstGeom prst="rect">
              <a:avLst/>
            </a:prstGeom>
            <a:solidFill>
              <a:srgbClr val="8B934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85" name="Rectangle 26">
              <a:extLst>
                <a:ext uri="{FF2B5EF4-FFF2-40B4-BE49-F238E27FC236}">
                  <a16:creationId xmlns:a16="http://schemas.microsoft.com/office/drawing/2014/main" id="{8C83EA8A-9AE2-4F03-BB06-640CBB64251B}"/>
                </a:ext>
              </a:extLst>
            </p:cNvPr>
            <p:cNvSpPr>
              <a:spLocks noChangeArrowheads="1"/>
            </p:cNvSpPr>
            <p:nvPr/>
          </p:nvSpPr>
          <p:spPr bwMode="auto">
            <a:xfrm>
              <a:off x="4132374" y="4992060"/>
              <a:ext cx="233907" cy="233907"/>
            </a:xfrm>
            <a:prstGeom prst="rect">
              <a:avLst/>
            </a:prstGeom>
            <a:solidFill>
              <a:srgbClr val="8B934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86" name="Rectangle 27">
              <a:extLst>
                <a:ext uri="{FF2B5EF4-FFF2-40B4-BE49-F238E27FC236}">
                  <a16:creationId xmlns:a16="http://schemas.microsoft.com/office/drawing/2014/main" id="{266D757B-C55A-4370-92A5-5B855CDC5D7F}"/>
                </a:ext>
              </a:extLst>
            </p:cNvPr>
            <p:cNvSpPr>
              <a:spLocks noChangeArrowheads="1"/>
            </p:cNvSpPr>
            <p:nvPr/>
          </p:nvSpPr>
          <p:spPr bwMode="auto">
            <a:xfrm>
              <a:off x="4479510" y="4992060"/>
              <a:ext cx="233907" cy="233907"/>
            </a:xfrm>
            <a:prstGeom prst="rect">
              <a:avLst/>
            </a:prstGeom>
            <a:solidFill>
              <a:srgbClr val="8B934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87" name="Rectangle 28">
              <a:extLst>
                <a:ext uri="{FF2B5EF4-FFF2-40B4-BE49-F238E27FC236}">
                  <a16:creationId xmlns:a16="http://schemas.microsoft.com/office/drawing/2014/main" id="{863E5771-2DE6-47A2-B7DB-766FA94ACA81}"/>
                </a:ext>
              </a:extLst>
            </p:cNvPr>
            <p:cNvSpPr>
              <a:spLocks noChangeArrowheads="1"/>
            </p:cNvSpPr>
            <p:nvPr/>
          </p:nvSpPr>
          <p:spPr bwMode="auto">
            <a:xfrm>
              <a:off x="4829626" y="4992060"/>
              <a:ext cx="233907" cy="233907"/>
            </a:xfrm>
            <a:prstGeom prst="rect">
              <a:avLst/>
            </a:prstGeom>
            <a:solidFill>
              <a:srgbClr val="8B934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88" name="Rectangle 29">
              <a:extLst>
                <a:ext uri="{FF2B5EF4-FFF2-40B4-BE49-F238E27FC236}">
                  <a16:creationId xmlns:a16="http://schemas.microsoft.com/office/drawing/2014/main" id="{F10FFAD4-B7CF-434D-B822-347B30DE2CB6}"/>
                </a:ext>
              </a:extLst>
            </p:cNvPr>
            <p:cNvSpPr>
              <a:spLocks noChangeArrowheads="1"/>
            </p:cNvSpPr>
            <p:nvPr/>
          </p:nvSpPr>
          <p:spPr bwMode="auto">
            <a:xfrm>
              <a:off x="4165151" y="3070150"/>
              <a:ext cx="1278294" cy="344156"/>
            </a:xfrm>
            <a:prstGeom prst="rect">
              <a:avLst/>
            </a:prstGeom>
            <a:solidFill>
              <a:srgbClr val="EDEBDF"/>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89" name="Rectangle 30">
              <a:extLst>
                <a:ext uri="{FF2B5EF4-FFF2-40B4-BE49-F238E27FC236}">
                  <a16:creationId xmlns:a16="http://schemas.microsoft.com/office/drawing/2014/main" id="{AE5B458C-2CF0-495B-BC16-D0F07631CBCE}"/>
                </a:ext>
              </a:extLst>
            </p:cNvPr>
            <p:cNvSpPr>
              <a:spLocks noChangeArrowheads="1"/>
            </p:cNvSpPr>
            <p:nvPr/>
          </p:nvSpPr>
          <p:spPr bwMode="auto">
            <a:xfrm>
              <a:off x="4165151" y="3563290"/>
              <a:ext cx="233907" cy="233907"/>
            </a:xfrm>
            <a:prstGeom prst="rect">
              <a:avLst/>
            </a:prstGeom>
            <a:solidFill>
              <a:srgbClr val="FCD0CA"/>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90" name="Rectangle 31">
              <a:extLst>
                <a:ext uri="{FF2B5EF4-FFF2-40B4-BE49-F238E27FC236}">
                  <a16:creationId xmlns:a16="http://schemas.microsoft.com/office/drawing/2014/main" id="{AA39741C-92F3-4084-A8C5-390CCF967F7B}"/>
                </a:ext>
              </a:extLst>
            </p:cNvPr>
            <p:cNvSpPr>
              <a:spLocks noChangeArrowheads="1"/>
            </p:cNvSpPr>
            <p:nvPr/>
          </p:nvSpPr>
          <p:spPr bwMode="auto">
            <a:xfrm>
              <a:off x="4512286" y="3563290"/>
              <a:ext cx="233907" cy="233907"/>
            </a:xfrm>
            <a:prstGeom prst="rect">
              <a:avLst/>
            </a:prstGeom>
            <a:solidFill>
              <a:srgbClr val="FCD0CA"/>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91" name="Rectangle 32">
              <a:extLst>
                <a:ext uri="{FF2B5EF4-FFF2-40B4-BE49-F238E27FC236}">
                  <a16:creationId xmlns:a16="http://schemas.microsoft.com/office/drawing/2014/main" id="{FCDB5488-1641-4000-A970-B9710E70B419}"/>
                </a:ext>
              </a:extLst>
            </p:cNvPr>
            <p:cNvSpPr>
              <a:spLocks noChangeArrowheads="1"/>
            </p:cNvSpPr>
            <p:nvPr/>
          </p:nvSpPr>
          <p:spPr bwMode="auto">
            <a:xfrm>
              <a:off x="4862402" y="3563290"/>
              <a:ext cx="233907" cy="233907"/>
            </a:xfrm>
            <a:prstGeom prst="rect">
              <a:avLst/>
            </a:prstGeom>
            <a:solidFill>
              <a:srgbClr val="FCD0CA"/>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92" name="Rectangle 33">
              <a:extLst>
                <a:ext uri="{FF2B5EF4-FFF2-40B4-BE49-F238E27FC236}">
                  <a16:creationId xmlns:a16="http://schemas.microsoft.com/office/drawing/2014/main" id="{AB426C99-C893-4C48-B5F1-7D5FCA12E867}"/>
                </a:ext>
              </a:extLst>
            </p:cNvPr>
            <p:cNvSpPr>
              <a:spLocks noChangeArrowheads="1"/>
            </p:cNvSpPr>
            <p:nvPr/>
          </p:nvSpPr>
          <p:spPr bwMode="auto">
            <a:xfrm>
              <a:off x="5209538" y="3563290"/>
              <a:ext cx="233907" cy="233907"/>
            </a:xfrm>
            <a:prstGeom prst="rect">
              <a:avLst/>
            </a:prstGeom>
            <a:solidFill>
              <a:srgbClr val="FCD0CA"/>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93" name="Rectangle 34">
              <a:extLst>
                <a:ext uri="{FF2B5EF4-FFF2-40B4-BE49-F238E27FC236}">
                  <a16:creationId xmlns:a16="http://schemas.microsoft.com/office/drawing/2014/main" id="{76F7C5C9-4547-4609-AC96-88578DC25631}"/>
                </a:ext>
              </a:extLst>
            </p:cNvPr>
            <p:cNvSpPr>
              <a:spLocks noChangeArrowheads="1"/>
            </p:cNvSpPr>
            <p:nvPr/>
          </p:nvSpPr>
          <p:spPr bwMode="auto">
            <a:xfrm>
              <a:off x="4165151" y="4031104"/>
              <a:ext cx="233907" cy="233907"/>
            </a:xfrm>
            <a:prstGeom prst="rect">
              <a:avLst/>
            </a:prstGeom>
            <a:solidFill>
              <a:srgbClr val="F2E199"/>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94" name="Rectangle 35">
              <a:extLst>
                <a:ext uri="{FF2B5EF4-FFF2-40B4-BE49-F238E27FC236}">
                  <a16:creationId xmlns:a16="http://schemas.microsoft.com/office/drawing/2014/main" id="{4EE30107-9AF4-4FDB-9A6A-6C35D9215AAE}"/>
                </a:ext>
              </a:extLst>
            </p:cNvPr>
            <p:cNvSpPr>
              <a:spLocks noChangeArrowheads="1"/>
            </p:cNvSpPr>
            <p:nvPr/>
          </p:nvSpPr>
          <p:spPr bwMode="auto">
            <a:xfrm>
              <a:off x="4512286" y="4031104"/>
              <a:ext cx="233907" cy="233907"/>
            </a:xfrm>
            <a:prstGeom prst="rect">
              <a:avLst/>
            </a:prstGeom>
            <a:solidFill>
              <a:srgbClr val="F2E199"/>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95" name="Rectangle 36">
              <a:extLst>
                <a:ext uri="{FF2B5EF4-FFF2-40B4-BE49-F238E27FC236}">
                  <a16:creationId xmlns:a16="http://schemas.microsoft.com/office/drawing/2014/main" id="{51CDE9C3-4F98-4B88-AAAF-BDADA2C2CC95}"/>
                </a:ext>
              </a:extLst>
            </p:cNvPr>
            <p:cNvSpPr>
              <a:spLocks noChangeArrowheads="1"/>
            </p:cNvSpPr>
            <p:nvPr/>
          </p:nvSpPr>
          <p:spPr bwMode="auto">
            <a:xfrm>
              <a:off x="4862402" y="4031104"/>
              <a:ext cx="233907" cy="233907"/>
            </a:xfrm>
            <a:prstGeom prst="rect">
              <a:avLst/>
            </a:prstGeom>
            <a:solidFill>
              <a:srgbClr val="F2E199"/>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96" name="Rectangle 37">
              <a:extLst>
                <a:ext uri="{FF2B5EF4-FFF2-40B4-BE49-F238E27FC236}">
                  <a16:creationId xmlns:a16="http://schemas.microsoft.com/office/drawing/2014/main" id="{5E98C763-E53D-4B72-B003-41EAB0EE3321}"/>
                </a:ext>
              </a:extLst>
            </p:cNvPr>
            <p:cNvSpPr>
              <a:spLocks noChangeArrowheads="1"/>
            </p:cNvSpPr>
            <p:nvPr/>
          </p:nvSpPr>
          <p:spPr bwMode="auto">
            <a:xfrm>
              <a:off x="5209538" y="4031104"/>
              <a:ext cx="233907" cy="233907"/>
            </a:xfrm>
            <a:prstGeom prst="rect">
              <a:avLst/>
            </a:prstGeom>
            <a:solidFill>
              <a:srgbClr val="F2E199"/>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97" name="Rectangle 38">
              <a:extLst>
                <a:ext uri="{FF2B5EF4-FFF2-40B4-BE49-F238E27FC236}">
                  <a16:creationId xmlns:a16="http://schemas.microsoft.com/office/drawing/2014/main" id="{3C5B8E00-1979-4353-A61C-E55518DAE390}"/>
                </a:ext>
              </a:extLst>
            </p:cNvPr>
            <p:cNvSpPr>
              <a:spLocks noChangeArrowheads="1"/>
            </p:cNvSpPr>
            <p:nvPr/>
          </p:nvSpPr>
          <p:spPr bwMode="auto">
            <a:xfrm>
              <a:off x="4165151" y="4497429"/>
              <a:ext cx="233907" cy="233907"/>
            </a:xfrm>
            <a:prstGeom prst="rect">
              <a:avLst/>
            </a:prstGeom>
            <a:solidFill>
              <a:srgbClr val="F4EED4"/>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98" name="Rectangle 39">
              <a:extLst>
                <a:ext uri="{FF2B5EF4-FFF2-40B4-BE49-F238E27FC236}">
                  <a16:creationId xmlns:a16="http://schemas.microsoft.com/office/drawing/2014/main" id="{15CBE728-BF0A-4FB5-B20E-2B0FAF696F6F}"/>
                </a:ext>
              </a:extLst>
            </p:cNvPr>
            <p:cNvSpPr>
              <a:spLocks noChangeArrowheads="1"/>
            </p:cNvSpPr>
            <p:nvPr/>
          </p:nvSpPr>
          <p:spPr bwMode="auto">
            <a:xfrm>
              <a:off x="4512286" y="4497429"/>
              <a:ext cx="233907" cy="233907"/>
            </a:xfrm>
            <a:prstGeom prst="rect">
              <a:avLst/>
            </a:prstGeom>
            <a:solidFill>
              <a:srgbClr val="F4EED4"/>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99" name="Rectangle 40">
              <a:extLst>
                <a:ext uri="{FF2B5EF4-FFF2-40B4-BE49-F238E27FC236}">
                  <a16:creationId xmlns:a16="http://schemas.microsoft.com/office/drawing/2014/main" id="{AFE0BF71-ACF0-4CEF-A009-F1B09AE5479C}"/>
                </a:ext>
              </a:extLst>
            </p:cNvPr>
            <p:cNvSpPr>
              <a:spLocks noChangeArrowheads="1"/>
            </p:cNvSpPr>
            <p:nvPr/>
          </p:nvSpPr>
          <p:spPr bwMode="auto">
            <a:xfrm>
              <a:off x="4862402" y="4497429"/>
              <a:ext cx="233907" cy="233907"/>
            </a:xfrm>
            <a:prstGeom prst="rect">
              <a:avLst/>
            </a:prstGeom>
            <a:solidFill>
              <a:srgbClr val="F4EED4"/>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00" name="Rectangle 41">
              <a:extLst>
                <a:ext uri="{FF2B5EF4-FFF2-40B4-BE49-F238E27FC236}">
                  <a16:creationId xmlns:a16="http://schemas.microsoft.com/office/drawing/2014/main" id="{A74F5BBA-6EBA-4996-808E-3ABADB073487}"/>
                </a:ext>
              </a:extLst>
            </p:cNvPr>
            <p:cNvSpPr>
              <a:spLocks noChangeArrowheads="1"/>
            </p:cNvSpPr>
            <p:nvPr/>
          </p:nvSpPr>
          <p:spPr bwMode="auto">
            <a:xfrm>
              <a:off x="5209538" y="4497429"/>
              <a:ext cx="233907" cy="701721"/>
            </a:xfrm>
            <a:prstGeom prst="rect">
              <a:avLst/>
            </a:prstGeom>
            <a:solidFill>
              <a:srgbClr val="F4EED4"/>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01" name="Rectangle 42">
              <a:extLst>
                <a:ext uri="{FF2B5EF4-FFF2-40B4-BE49-F238E27FC236}">
                  <a16:creationId xmlns:a16="http://schemas.microsoft.com/office/drawing/2014/main" id="{D192DD13-8389-463C-B88A-ADF288BB69CE}"/>
                </a:ext>
              </a:extLst>
            </p:cNvPr>
            <p:cNvSpPr>
              <a:spLocks noChangeArrowheads="1"/>
            </p:cNvSpPr>
            <p:nvPr/>
          </p:nvSpPr>
          <p:spPr bwMode="auto">
            <a:xfrm>
              <a:off x="4165151" y="4965243"/>
              <a:ext cx="233907" cy="233907"/>
            </a:xfrm>
            <a:prstGeom prst="rect">
              <a:avLst/>
            </a:prstGeom>
            <a:solidFill>
              <a:srgbClr val="B0D7EA"/>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02" name="Rectangle 43">
              <a:extLst>
                <a:ext uri="{FF2B5EF4-FFF2-40B4-BE49-F238E27FC236}">
                  <a16:creationId xmlns:a16="http://schemas.microsoft.com/office/drawing/2014/main" id="{F4663E78-1BA1-40DF-928D-EA1729239941}"/>
                </a:ext>
              </a:extLst>
            </p:cNvPr>
            <p:cNvSpPr>
              <a:spLocks noChangeArrowheads="1"/>
            </p:cNvSpPr>
            <p:nvPr/>
          </p:nvSpPr>
          <p:spPr bwMode="auto">
            <a:xfrm>
              <a:off x="4512286" y="4965243"/>
              <a:ext cx="233907" cy="233907"/>
            </a:xfrm>
            <a:prstGeom prst="rect">
              <a:avLst/>
            </a:prstGeom>
            <a:solidFill>
              <a:srgbClr val="B0D7EA"/>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03" name="Rectangle 44">
              <a:extLst>
                <a:ext uri="{FF2B5EF4-FFF2-40B4-BE49-F238E27FC236}">
                  <a16:creationId xmlns:a16="http://schemas.microsoft.com/office/drawing/2014/main" id="{03492EB2-1F92-40FE-A3DE-AEF218DAAE7A}"/>
                </a:ext>
              </a:extLst>
            </p:cNvPr>
            <p:cNvSpPr>
              <a:spLocks noChangeArrowheads="1"/>
            </p:cNvSpPr>
            <p:nvPr/>
          </p:nvSpPr>
          <p:spPr bwMode="auto">
            <a:xfrm>
              <a:off x="4862402" y="4965243"/>
              <a:ext cx="233907" cy="233907"/>
            </a:xfrm>
            <a:prstGeom prst="rect">
              <a:avLst/>
            </a:prstGeom>
            <a:solidFill>
              <a:srgbClr val="B0D7EA"/>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04" name="Freeform 45">
              <a:extLst>
                <a:ext uri="{FF2B5EF4-FFF2-40B4-BE49-F238E27FC236}">
                  <a16:creationId xmlns:a16="http://schemas.microsoft.com/office/drawing/2014/main" id="{A0D8D8D0-9583-4973-9B6D-722493ADA1CE}"/>
                </a:ext>
              </a:extLst>
            </p:cNvPr>
            <p:cNvSpPr>
              <a:spLocks noEditPoints="1"/>
            </p:cNvSpPr>
            <p:nvPr/>
          </p:nvSpPr>
          <p:spPr bwMode="auto">
            <a:xfrm>
              <a:off x="5683311" y="1648830"/>
              <a:ext cx="2179655" cy="2221371"/>
            </a:xfrm>
            <a:custGeom>
              <a:avLst/>
              <a:gdLst>
                <a:gd name="T0" fmla="*/ 1555 w 1604"/>
                <a:gd name="T1" fmla="*/ 0 h 1634"/>
                <a:gd name="T2" fmla="*/ 66 w 1604"/>
                <a:gd name="T3" fmla="*/ 0 h 1634"/>
                <a:gd name="T4" fmla="*/ 31 w 1604"/>
                <a:gd name="T5" fmla="*/ 83 h 1634"/>
                <a:gd name="T6" fmla="*/ 1520 w 1604"/>
                <a:gd name="T7" fmla="*/ 1602 h 1634"/>
                <a:gd name="T8" fmla="*/ 1604 w 1604"/>
                <a:gd name="T9" fmla="*/ 1568 h 1634"/>
                <a:gd name="T10" fmla="*/ 1604 w 1604"/>
                <a:gd name="T11" fmla="*/ 49 h 1634"/>
                <a:gd name="T12" fmla="*/ 1555 w 1604"/>
                <a:gd name="T13" fmla="*/ 0 h 1634"/>
                <a:gd name="T14" fmla="*/ 1349 w 1604"/>
                <a:gd name="T15" fmla="*/ 945 h 1634"/>
                <a:gd name="T16" fmla="*/ 1298 w 1604"/>
                <a:gd name="T17" fmla="*/ 966 h 1634"/>
                <a:gd name="T18" fmla="*/ 641 w 1604"/>
                <a:gd name="T19" fmla="*/ 310 h 1634"/>
                <a:gd name="T20" fmla="*/ 662 w 1604"/>
                <a:gd name="T21" fmla="*/ 259 h 1634"/>
                <a:gd name="T22" fmla="*/ 1319 w 1604"/>
                <a:gd name="T23" fmla="*/ 259 h 1634"/>
                <a:gd name="T24" fmla="*/ 1349 w 1604"/>
                <a:gd name="T25" fmla="*/ 289 h 1634"/>
                <a:gd name="T26" fmla="*/ 1349 w 1604"/>
                <a:gd name="T27" fmla="*/ 945 h 16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04" h="1634">
                  <a:moveTo>
                    <a:pt x="1555" y="0"/>
                  </a:moveTo>
                  <a:cubicBezTo>
                    <a:pt x="66" y="0"/>
                    <a:pt x="66" y="0"/>
                    <a:pt x="66" y="0"/>
                  </a:cubicBezTo>
                  <a:cubicBezTo>
                    <a:pt x="22" y="0"/>
                    <a:pt x="0" y="52"/>
                    <a:pt x="31" y="83"/>
                  </a:cubicBezTo>
                  <a:cubicBezTo>
                    <a:pt x="1520" y="1602"/>
                    <a:pt x="1520" y="1602"/>
                    <a:pt x="1520" y="1602"/>
                  </a:cubicBezTo>
                  <a:cubicBezTo>
                    <a:pt x="1550" y="1634"/>
                    <a:pt x="1604" y="1612"/>
                    <a:pt x="1604" y="1568"/>
                  </a:cubicBezTo>
                  <a:cubicBezTo>
                    <a:pt x="1604" y="49"/>
                    <a:pt x="1604" y="49"/>
                    <a:pt x="1604" y="49"/>
                  </a:cubicBezTo>
                  <a:cubicBezTo>
                    <a:pt x="1604" y="22"/>
                    <a:pt x="1582" y="0"/>
                    <a:pt x="1555" y="0"/>
                  </a:cubicBezTo>
                  <a:close/>
                  <a:moveTo>
                    <a:pt x="1349" y="945"/>
                  </a:moveTo>
                  <a:cubicBezTo>
                    <a:pt x="1349" y="972"/>
                    <a:pt x="1317" y="985"/>
                    <a:pt x="1298" y="966"/>
                  </a:cubicBezTo>
                  <a:cubicBezTo>
                    <a:pt x="641" y="310"/>
                    <a:pt x="641" y="310"/>
                    <a:pt x="641" y="310"/>
                  </a:cubicBezTo>
                  <a:cubicBezTo>
                    <a:pt x="622" y="292"/>
                    <a:pt x="635" y="259"/>
                    <a:pt x="662" y="259"/>
                  </a:cubicBezTo>
                  <a:cubicBezTo>
                    <a:pt x="1319" y="259"/>
                    <a:pt x="1319" y="259"/>
                    <a:pt x="1319" y="259"/>
                  </a:cubicBezTo>
                  <a:cubicBezTo>
                    <a:pt x="1336" y="259"/>
                    <a:pt x="1349" y="273"/>
                    <a:pt x="1349" y="289"/>
                  </a:cubicBezTo>
                  <a:lnTo>
                    <a:pt x="1349" y="945"/>
                  </a:lnTo>
                  <a:close/>
                </a:path>
              </a:pathLst>
            </a:custGeom>
            <a:solidFill>
              <a:srgbClr val="D1CDC9">
                <a:alpha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05" name="Freeform 46">
              <a:extLst>
                <a:ext uri="{FF2B5EF4-FFF2-40B4-BE49-F238E27FC236}">
                  <a16:creationId xmlns:a16="http://schemas.microsoft.com/office/drawing/2014/main" id="{9A3D1A2B-390B-42E1-9F0C-478E43888BC3}"/>
                </a:ext>
              </a:extLst>
            </p:cNvPr>
            <p:cNvSpPr>
              <a:spLocks noEditPoints="1"/>
            </p:cNvSpPr>
            <p:nvPr/>
          </p:nvSpPr>
          <p:spPr bwMode="auto">
            <a:xfrm>
              <a:off x="5725027" y="1602644"/>
              <a:ext cx="2179655" cy="2221371"/>
            </a:xfrm>
            <a:custGeom>
              <a:avLst/>
              <a:gdLst>
                <a:gd name="T0" fmla="*/ 1555 w 1604"/>
                <a:gd name="T1" fmla="*/ 0 h 1634"/>
                <a:gd name="T2" fmla="*/ 66 w 1604"/>
                <a:gd name="T3" fmla="*/ 0 h 1634"/>
                <a:gd name="T4" fmla="*/ 31 w 1604"/>
                <a:gd name="T5" fmla="*/ 84 h 1634"/>
                <a:gd name="T6" fmla="*/ 1520 w 1604"/>
                <a:gd name="T7" fmla="*/ 1603 h 1634"/>
                <a:gd name="T8" fmla="*/ 1604 w 1604"/>
                <a:gd name="T9" fmla="*/ 1568 h 1634"/>
                <a:gd name="T10" fmla="*/ 1604 w 1604"/>
                <a:gd name="T11" fmla="*/ 49 h 1634"/>
                <a:gd name="T12" fmla="*/ 1555 w 1604"/>
                <a:gd name="T13" fmla="*/ 0 h 1634"/>
                <a:gd name="T14" fmla="*/ 1349 w 1604"/>
                <a:gd name="T15" fmla="*/ 946 h 1634"/>
                <a:gd name="T16" fmla="*/ 1298 w 1604"/>
                <a:gd name="T17" fmla="*/ 967 h 1634"/>
                <a:gd name="T18" fmla="*/ 641 w 1604"/>
                <a:gd name="T19" fmla="*/ 311 h 1634"/>
                <a:gd name="T20" fmla="*/ 662 w 1604"/>
                <a:gd name="T21" fmla="*/ 260 h 1634"/>
                <a:gd name="T22" fmla="*/ 1320 w 1604"/>
                <a:gd name="T23" fmla="*/ 260 h 1634"/>
                <a:gd name="T24" fmla="*/ 1349 w 1604"/>
                <a:gd name="T25" fmla="*/ 290 h 1634"/>
                <a:gd name="T26" fmla="*/ 1349 w 1604"/>
                <a:gd name="T27" fmla="*/ 946 h 16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04" h="1634">
                  <a:moveTo>
                    <a:pt x="1555" y="0"/>
                  </a:moveTo>
                  <a:cubicBezTo>
                    <a:pt x="66" y="0"/>
                    <a:pt x="66" y="0"/>
                    <a:pt x="66" y="0"/>
                  </a:cubicBezTo>
                  <a:cubicBezTo>
                    <a:pt x="22" y="0"/>
                    <a:pt x="0" y="53"/>
                    <a:pt x="31" y="84"/>
                  </a:cubicBezTo>
                  <a:cubicBezTo>
                    <a:pt x="1520" y="1603"/>
                    <a:pt x="1520" y="1603"/>
                    <a:pt x="1520" y="1603"/>
                  </a:cubicBezTo>
                  <a:cubicBezTo>
                    <a:pt x="1551" y="1634"/>
                    <a:pt x="1604" y="1612"/>
                    <a:pt x="1604" y="1568"/>
                  </a:cubicBezTo>
                  <a:cubicBezTo>
                    <a:pt x="1604" y="49"/>
                    <a:pt x="1604" y="49"/>
                    <a:pt x="1604" y="49"/>
                  </a:cubicBezTo>
                  <a:cubicBezTo>
                    <a:pt x="1604" y="22"/>
                    <a:pt x="1582" y="0"/>
                    <a:pt x="1555" y="0"/>
                  </a:cubicBezTo>
                  <a:close/>
                  <a:moveTo>
                    <a:pt x="1349" y="946"/>
                  </a:moveTo>
                  <a:cubicBezTo>
                    <a:pt x="1349" y="972"/>
                    <a:pt x="1317" y="986"/>
                    <a:pt x="1298" y="967"/>
                  </a:cubicBezTo>
                  <a:cubicBezTo>
                    <a:pt x="641" y="311"/>
                    <a:pt x="641" y="311"/>
                    <a:pt x="641" y="311"/>
                  </a:cubicBezTo>
                  <a:cubicBezTo>
                    <a:pt x="622" y="292"/>
                    <a:pt x="635" y="260"/>
                    <a:pt x="662" y="260"/>
                  </a:cubicBezTo>
                  <a:cubicBezTo>
                    <a:pt x="1320" y="260"/>
                    <a:pt x="1320" y="260"/>
                    <a:pt x="1320" y="260"/>
                  </a:cubicBezTo>
                  <a:cubicBezTo>
                    <a:pt x="1336" y="260"/>
                    <a:pt x="1349" y="273"/>
                    <a:pt x="1349" y="290"/>
                  </a:cubicBezTo>
                  <a:lnTo>
                    <a:pt x="1349" y="946"/>
                  </a:lnTo>
                  <a:close/>
                </a:path>
              </a:pathLst>
            </a:custGeom>
            <a:solidFill>
              <a:srgbClr val="EFB395"/>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06" name="Freeform 47">
              <a:extLst>
                <a:ext uri="{FF2B5EF4-FFF2-40B4-BE49-F238E27FC236}">
                  <a16:creationId xmlns:a16="http://schemas.microsoft.com/office/drawing/2014/main" id="{19D49893-7E13-4CE7-BF6E-6CA35FD9978B}"/>
                </a:ext>
              </a:extLst>
            </p:cNvPr>
            <p:cNvSpPr>
              <a:spLocks/>
            </p:cNvSpPr>
            <p:nvPr/>
          </p:nvSpPr>
          <p:spPr bwMode="auto">
            <a:xfrm>
              <a:off x="4700008" y="1578806"/>
              <a:ext cx="481223" cy="546776"/>
            </a:xfrm>
            <a:custGeom>
              <a:avLst/>
              <a:gdLst>
                <a:gd name="T0" fmla="*/ 113 w 323"/>
                <a:gd name="T1" fmla="*/ 36 h 367"/>
                <a:gd name="T2" fmla="*/ 104 w 323"/>
                <a:gd name="T3" fmla="*/ 44 h 367"/>
                <a:gd name="T4" fmla="*/ 69 w 323"/>
                <a:gd name="T5" fmla="*/ 0 h 367"/>
                <a:gd name="T6" fmla="*/ 0 w 323"/>
                <a:gd name="T7" fmla="*/ 57 h 367"/>
                <a:gd name="T8" fmla="*/ 35 w 323"/>
                <a:gd name="T9" fmla="*/ 100 h 367"/>
                <a:gd name="T10" fmla="*/ 69 w 323"/>
                <a:gd name="T11" fmla="*/ 71 h 367"/>
                <a:gd name="T12" fmla="*/ 26 w 323"/>
                <a:gd name="T13" fmla="*/ 107 h 367"/>
                <a:gd name="T14" fmla="*/ 236 w 323"/>
                <a:gd name="T15" fmla="*/ 367 h 367"/>
                <a:gd name="T16" fmla="*/ 323 w 323"/>
                <a:gd name="T17" fmla="*/ 296 h 367"/>
                <a:gd name="T18" fmla="*/ 113 w 323"/>
                <a:gd name="T19" fmla="*/ 36 h 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3" h="367">
                  <a:moveTo>
                    <a:pt x="113" y="36"/>
                  </a:moveTo>
                  <a:lnTo>
                    <a:pt x="104" y="44"/>
                  </a:lnTo>
                  <a:lnTo>
                    <a:pt x="69" y="0"/>
                  </a:lnTo>
                  <a:lnTo>
                    <a:pt x="0" y="57"/>
                  </a:lnTo>
                  <a:lnTo>
                    <a:pt x="35" y="100"/>
                  </a:lnTo>
                  <a:lnTo>
                    <a:pt x="69" y="71"/>
                  </a:lnTo>
                  <a:lnTo>
                    <a:pt x="26" y="107"/>
                  </a:lnTo>
                  <a:lnTo>
                    <a:pt x="236" y="367"/>
                  </a:lnTo>
                  <a:lnTo>
                    <a:pt x="323" y="296"/>
                  </a:lnTo>
                  <a:lnTo>
                    <a:pt x="113" y="36"/>
                  </a:lnTo>
                  <a:close/>
                </a:path>
              </a:pathLst>
            </a:custGeom>
            <a:solidFill>
              <a:srgbClr val="D1CDC9">
                <a:alpha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07" name="Freeform 48">
              <a:extLst>
                <a:ext uri="{FF2B5EF4-FFF2-40B4-BE49-F238E27FC236}">
                  <a16:creationId xmlns:a16="http://schemas.microsoft.com/office/drawing/2014/main" id="{BC7A2BAF-F259-4412-B7AC-E20DD606A814}"/>
                </a:ext>
              </a:extLst>
            </p:cNvPr>
            <p:cNvSpPr>
              <a:spLocks/>
            </p:cNvSpPr>
            <p:nvPr/>
          </p:nvSpPr>
          <p:spPr bwMode="auto">
            <a:xfrm>
              <a:off x="5062043" y="2027253"/>
              <a:ext cx="725559" cy="852196"/>
            </a:xfrm>
            <a:custGeom>
              <a:avLst/>
              <a:gdLst>
                <a:gd name="T0" fmla="*/ 487 w 487"/>
                <a:gd name="T1" fmla="*/ 513 h 572"/>
                <a:gd name="T2" fmla="*/ 73 w 487"/>
                <a:gd name="T3" fmla="*/ 0 h 572"/>
                <a:gd name="T4" fmla="*/ 0 w 487"/>
                <a:gd name="T5" fmla="*/ 60 h 572"/>
                <a:gd name="T6" fmla="*/ 415 w 487"/>
                <a:gd name="T7" fmla="*/ 572 h 572"/>
                <a:gd name="T8" fmla="*/ 487 w 487"/>
                <a:gd name="T9" fmla="*/ 513 h 572"/>
              </a:gdLst>
              <a:ahLst/>
              <a:cxnLst>
                <a:cxn ang="0">
                  <a:pos x="T0" y="T1"/>
                </a:cxn>
                <a:cxn ang="0">
                  <a:pos x="T2" y="T3"/>
                </a:cxn>
                <a:cxn ang="0">
                  <a:pos x="T4" y="T5"/>
                </a:cxn>
                <a:cxn ang="0">
                  <a:pos x="T6" y="T7"/>
                </a:cxn>
                <a:cxn ang="0">
                  <a:pos x="T8" y="T9"/>
                </a:cxn>
              </a:cxnLst>
              <a:rect l="0" t="0" r="r" b="b"/>
              <a:pathLst>
                <a:path w="487" h="572">
                  <a:moveTo>
                    <a:pt x="487" y="513"/>
                  </a:moveTo>
                  <a:lnTo>
                    <a:pt x="73" y="0"/>
                  </a:lnTo>
                  <a:lnTo>
                    <a:pt x="0" y="60"/>
                  </a:lnTo>
                  <a:lnTo>
                    <a:pt x="415" y="572"/>
                  </a:lnTo>
                  <a:lnTo>
                    <a:pt x="487" y="513"/>
                  </a:lnTo>
                  <a:close/>
                </a:path>
              </a:pathLst>
            </a:custGeom>
            <a:solidFill>
              <a:srgbClr val="D1CDC9">
                <a:alpha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08" name="Freeform 49">
              <a:extLst>
                <a:ext uri="{FF2B5EF4-FFF2-40B4-BE49-F238E27FC236}">
                  <a16:creationId xmlns:a16="http://schemas.microsoft.com/office/drawing/2014/main" id="{E647C391-43CC-43E0-A58B-698F90660F5D}"/>
                </a:ext>
              </a:extLst>
            </p:cNvPr>
            <p:cNvSpPr>
              <a:spLocks/>
            </p:cNvSpPr>
            <p:nvPr/>
          </p:nvSpPr>
          <p:spPr bwMode="auto">
            <a:xfrm>
              <a:off x="5671392" y="2787078"/>
              <a:ext cx="205600" cy="217519"/>
            </a:xfrm>
            <a:custGeom>
              <a:avLst/>
              <a:gdLst>
                <a:gd name="T0" fmla="*/ 103 w 151"/>
                <a:gd name="T1" fmla="*/ 30 h 161"/>
                <a:gd name="T2" fmla="*/ 106 w 151"/>
                <a:gd name="T3" fmla="*/ 8 h 161"/>
                <a:gd name="T4" fmla="*/ 106 w 151"/>
                <a:gd name="T5" fmla="*/ 8 h 161"/>
                <a:gd name="T6" fmla="*/ 84 w 151"/>
                <a:gd name="T7" fmla="*/ 5 h 161"/>
                <a:gd name="T8" fmla="*/ 8 w 151"/>
                <a:gd name="T9" fmla="*/ 67 h 161"/>
                <a:gd name="T10" fmla="*/ 5 w 151"/>
                <a:gd name="T11" fmla="*/ 89 h 161"/>
                <a:gd name="T12" fmla="*/ 27 w 151"/>
                <a:gd name="T13" fmla="*/ 91 h 161"/>
                <a:gd name="T14" fmla="*/ 151 w 151"/>
                <a:gd name="T15" fmla="*/ 161 h 161"/>
                <a:gd name="T16" fmla="*/ 103 w 151"/>
                <a:gd name="T17" fmla="*/ 3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1" h="161">
                  <a:moveTo>
                    <a:pt x="103" y="30"/>
                  </a:moveTo>
                  <a:cubicBezTo>
                    <a:pt x="110" y="24"/>
                    <a:pt x="111" y="14"/>
                    <a:pt x="106" y="8"/>
                  </a:cubicBezTo>
                  <a:cubicBezTo>
                    <a:pt x="106" y="8"/>
                    <a:pt x="106" y="8"/>
                    <a:pt x="106" y="8"/>
                  </a:cubicBezTo>
                  <a:cubicBezTo>
                    <a:pt x="100" y="1"/>
                    <a:pt x="90" y="0"/>
                    <a:pt x="84" y="5"/>
                  </a:cubicBezTo>
                  <a:cubicBezTo>
                    <a:pt x="8" y="67"/>
                    <a:pt x="8" y="67"/>
                    <a:pt x="8" y="67"/>
                  </a:cubicBezTo>
                  <a:cubicBezTo>
                    <a:pt x="1" y="72"/>
                    <a:pt x="0" y="82"/>
                    <a:pt x="5" y="89"/>
                  </a:cubicBezTo>
                  <a:cubicBezTo>
                    <a:pt x="11" y="95"/>
                    <a:pt x="21" y="96"/>
                    <a:pt x="27" y="91"/>
                  </a:cubicBezTo>
                  <a:cubicBezTo>
                    <a:pt x="151" y="161"/>
                    <a:pt x="151" y="161"/>
                    <a:pt x="151" y="161"/>
                  </a:cubicBezTo>
                  <a:lnTo>
                    <a:pt x="103" y="30"/>
                  </a:lnTo>
                  <a:close/>
                </a:path>
              </a:pathLst>
            </a:custGeom>
            <a:solidFill>
              <a:srgbClr val="D1CDC9">
                <a:alpha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09" name="Freeform 50">
              <a:extLst>
                <a:ext uri="{FF2B5EF4-FFF2-40B4-BE49-F238E27FC236}">
                  <a16:creationId xmlns:a16="http://schemas.microsoft.com/office/drawing/2014/main" id="{24063E83-7AF8-4920-8F68-B91641493CE8}"/>
                </a:ext>
              </a:extLst>
            </p:cNvPr>
            <p:cNvSpPr>
              <a:spLocks/>
            </p:cNvSpPr>
            <p:nvPr/>
          </p:nvSpPr>
          <p:spPr bwMode="auto">
            <a:xfrm>
              <a:off x="4764072" y="1595195"/>
              <a:ext cx="442487" cy="493142"/>
            </a:xfrm>
            <a:custGeom>
              <a:avLst/>
              <a:gdLst>
                <a:gd name="T0" fmla="*/ 297 w 297"/>
                <a:gd name="T1" fmla="*/ 259 h 331"/>
                <a:gd name="T2" fmla="*/ 210 w 297"/>
                <a:gd name="T3" fmla="*/ 331 h 331"/>
                <a:gd name="T4" fmla="*/ 0 w 297"/>
                <a:gd name="T5" fmla="*/ 71 h 331"/>
                <a:gd name="T6" fmla="*/ 88 w 297"/>
                <a:gd name="T7" fmla="*/ 0 h 331"/>
                <a:gd name="T8" fmla="*/ 297 w 297"/>
                <a:gd name="T9" fmla="*/ 259 h 331"/>
              </a:gdLst>
              <a:ahLst/>
              <a:cxnLst>
                <a:cxn ang="0">
                  <a:pos x="T0" y="T1"/>
                </a:cxn>
                <a:cxn ang="0">
                  <a:pos x="T2" y="T3"/>
                </a:cxn>
                <a:cxn ang="0">
                  <a:pos x="T4" y="T5"/>
                </a:cxn>
                <a:cxn ang="0">
                  <a:pos x="T6" y="T7"/>
                </a:cxn>
                <a:cxn ang="0">
                  <a:pos x="T8" y="T9"/>
                </a:cxn>
              </a:cxnLst>
              <a:rect l="0" t="0" r="r" b="b"/>
              <a:pathLst>
                <a:path w="297" h="331">
                  <a:moveTo>
                    <a:pt x="297" y="259"/>
                  </a:moveTo>
                  <a:lnTo>
                    <a:pt x="210" y="331"/>
                  </a:lnTo>
                  <a:lnTo>
                    <a:pt x="0" y="71"/>
                  </a:lnTo>
                  <a:lnTo>
                    <a:pt x="88" y="0"/>
                  </a:lnTo>
                  <a:lnTo>
                    <a:pt x="297" y="259"/>
                  </a:lnTo>
                  <a:close/>
                </a:path>
              </a:pathLst>
            </a:custGeom>
            <a:solidFill>
              <a:srgbClr val="EFB26A"/>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10" name="Freeform 51">
              <a:extLst>
                <a:ext uri="{FF2B5EF4-FFF2-40B4-BE49-F238E27FC236}">
                  <a16:creationId xmlns:a16="http://schemas.microsoft.com/office/drawing/2014/main" id="{629EAA55-E7AB-42E6-A770-46F3562167F4}"/>
                </a:ext>
              </a:extLst>
            </p:cNvPr>
            <p:cNvSpPr>
              <a:spLocks/>
            </p:cNvSpPr>
            <p:nvPr/>
          </p:nvSpPr>
          <p:spPr bwMode="auto">
            <a:xfrm>
              <a:off x="4725336" y="1543050"/>
              <a:ext cx="154945" cy="147496"/>
            </a:xfrm>
            <a:custGeom>
              <a:avLst/>
              <a:gdLst>
                <a:gd name="T0" fmla="*/ 69 w 104"/>
                <a:gd name="T1" fmla="*/ 0 h 99"/>
                <a:gd name="T2" fmla="*/ 0 w 104"/>
                <a:gd name="T3" fmla="*/ 56 h 99"/>
                <a:gd name="T4" fmla="*/ 35 w 104"/>
                <a:gd name="T5" fmla="*/ 99 h 99"/>
                <a:gd name="T6" fmla="*/ 104 w 104"/>
                <a:gd name="T7" fmla="*/ 43 h 99"/>
                <a:gd name="T8" fmla="*/ 69 w 104"/>
                <a:gd name="T9" fmla="*/ 0 h 99"/>
              </a:gdLst>
              <a:ahLst/>
              <a:cxnLst>
                <a:cxn ang="0">
                  <a:pos x="T0" y="T1"/>
                </a:cxn>
                <a:cxn ang="0">
                  <a:pos x="T2" y="T3"/>
                </a:cxn>
                <a:cxn ang="0">
                  <a:pos x="T4" y="T5"/>
                </a:cxn>
                <a:cxn ang="0">
                  <a:pos x="T6" y="T7"/>
                </a:cxn>
                <a:cxn ang="0">
                  <a:pos x="T8" y="T9"/>
                </a:cxn>
              </a:cxnLst>
              <a:rect l="0" t="0" r="r" b="b"/>
              <a:pathLst>
                <a:path w="104" h="99">
                  <a:moveTo>
                    <a:pt x="69" y="0"/>
                  </a:moveTo>
                  <a:lnTo>
                    <a:pt x="0" y="56"/>
                  </a:lnTo>
                  <a:lnTo>
                    <a:pt x="35" y="99"/>
                  </a:lnTo>
                  <a:lnTo>
                    <a:pt x="104" y="43"/>
                  </a:lnTo>
                  <a:lnTo>
                    <a:pt x="69" y="0"/>
                  </a:lnTo>
                  <a:close/>
                </a:path>
              </a:pathLst>
            </a:custGeom>
            <a:solidFill>
              <a:srgbClr val="A6DBE2"/>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11" name="Freeform 52">
              <a:extLst>
                <a:ext uri="{FF2B5EF4-FFF2-40B4-BE49-F238E27FC236}">
                  <a16:creationId xmlns:a16="http://schemas.microsoft.com/office/drawing/2014/main" id="{B44440C3-369A-4439-8C1A-409A0ED8E06B}"/>
                </a:ext>
              </a:extLst>
            </p:cNvPr>
            <p:cNvSpPr>
              <a:spLocks/>
            </p:cNvSpPr>
            <p:nvPr/>
          </p:nvSpPr>
          <p:spPr bwMode="auto">
            <a:xfrm>
              <a:off x="5087370" y="1991496"/>
              <a:ext cx="725559" cy="850706"/>
            </a:xfrm>
            <a:custGeom>
              <a:avLst/>
              <a:gdLst>
                <a:gd name="T0" fmla="*/ 487 w 487"/>
                <a:gd name="T1" fmla="*/ 513 h 571"/>
                <a:gd name="T2" fmla="*/ 415 w 487"/>
                <a:gd name="T3" fmla="*/ 571 h 571"/>
                <a:gd name="T4" fmla="*/ 0 w 487"/>
                <a:gd name="T5" fmla="*/ 59 h 571"/>
                <a:gd name="T6" fmla="*/ 73 w 487"/>
                <a:gd name="T7" fmla="*/ 0 h 571"/>
                <a:gd name="T8" fmla="*/ 487 w 487"/>
                <a:gd name="T9" fmla="*/ 513 h 571"/>
              </a:gdLst>
              <a:ahLst/>
              <a:cxnLst>
                <a:cxn ang="0">
                  <a:pos x="T0" y="T1"/>
                </a:cxn>
                <a:cxn ang="0">
                  <a:pos x="T2" y="T3"/>
                </a:cxn>
                <a:cxn ang="0">
                  <a:pos x="T4" y="T5"/>
                </a:cxn>
                <a:cxn ang="0">
                  <a:pos x="T6" y="T7"/>
                </a:cxn>
                <a:cxn ang="0">
                  <a:pos x="T8" y="T9"/>
                </a:cxn>
              </a:cxnLst>
              <a:rect l="0" t="0" r="r" b="b"/>
              <a:pathLst>
                <a:path w="487" h="571">
                  <a:moveTo>
                    <a:pt x="487" y="513"/>
                  </a:moveTo>
                  <a:lnTo>
                    <a:pt x="415" y="571"/>
                  </a:lnTo>
                  <a:lnTo>
                    <a:pt x="0" y="59"/>
                  </a:lnTo>
                  <a:lnTo>
                    <a:pt x="73" y="0"/>
                  </a:lnTo>
                  <a:lnTo>
                    <a:pt x="487" y="513"/>
                  </a:lnTo>
                  <a:close/>
                </a:path>
              </a:pathLst>
            </a:custGeom>
            <a:solidFill>
              <a:srgbClr val="A6DBE2"/>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12" name="Freeform 53">
              <a:extLst>
                <a:ext uri="{FF2B5EF4-FFF2-40B4-BE49-F238E27FC236}">
                  <a16:creationId xmlns:a16="http://schemas.microsoft.com/office/drawing/2014/main" id="{10CCCB62-6FF1-42F5-952D-3231576F7E0B}"/>
                </a:ext>
              </a:extLst>
            </p:cNvPr>
            <p:cNvSpPr>
              <a:spLocks/>
            </p:cNvSpPr>
            <p:nvPr/>
          </p:nvSpPr>
          <p:spPr bwMode="auto">
            <a:xfrm>
              <a:off x="5698209" y="2749831"/>
              <a:ext cx="150476" cy="129618"/>
            </a:xfrm>
            <a:custGeom>
              <a:avLst/>
              <a:gdLst>
                <a:gd name="T0" fmla="*/ 84 w 111"/>
                <a:gd name="T1" fmla="*/ 5 h 96"/>
                <a:gd name="T2" fmla="*/ 8 w 111"/>
                <a:gd name="T3" fmla="*/ 66 h 96"/>
                <a:gd name="T4" fmla="*/ 5 w 111"/>
                <a:gd name="T5" fmla="*/ 88 h 96"/>
                <a:gd name="T6" fmla="*/ 5 w 111"/>
                <a:gd name="T7" fmla="*/ 88 h 96"/>
                <a:gd name="T8" fmla="*/ 27 w 111"/>
                <a:gd name="T9" fmla="*/ 91 h 96"/>
                <a:gd name="T10" fmla="*/ 103 w 111"/>
                <a:gd name="T11" fmla="*/ 29 h 96"/>
                <a:gd name="T12" fmla="*/ 105 w 111"/>
                <a:gd name="T13" fmla="*/ 7 h 96"/>
                <a:gd name="T14" fmla="*/ 105 w 111"/>
                <a:gd name="T15" fmla="*/ 7 h 96"/>
                <a:gd name="T16" fmla="*/ 84 w 111"/>
                <a:gd name="T17" fmla="*/ 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1" h="96">
                  <a:moveTo>
                    <a:pt x="84" y="5"/>
                  </a:moveTo>
                  <a:cubicBezTo>
                    <a:pt x="8" y="66"/>
                    <a:pt x="8" y="66"/>
                    <a:pt x="8" y="66"/>
                  </a:cubicBezTo>
                  <a:cubicBezTo>
                    <a:pt x="1" y="72"/>
                    <a:pt x="0" y="82"/>
                    <a:pt x="5" y="88"/>
                  </a:cubicBezTo>
                  <a:cubicBezTo>
                    <a:pt x="5" y="88"/>
                    <a:pt x="5" y="88"/>
                    <a:pt x="5" y="88"/>
                  </a:cubicBezTo>
                  <a:cubicBezTo>
                    <a:pt x="11" y="95"/>
                    <a:pt x="21" y="96"/>
                    <a:pt x="27" y="91"/>
                  </a:cubicBezTo>
                  <a:cubicBezTo>
                    <a:pt x="103" y="29"/>
                    <a:pt x="103" y="29"/>
                    <a:pt x="103" y="29"/>
                  </a:cubicBezTo>
                  <a:cubicBezTo>
                    <a:pt x="110" y="24"/>
                    <a:pt x="111" y="14"/>
                    <a:pt x="105" y="7"/>
                  </a:cubicBezTo>
                  <a:cubicBezTo>
                    <a:pt x="105" y="7"/>
                    <a:pt x="105" y="7"/>
                    <a:pt x="105" y="7"/>
                  </a:cubicBezTo>
                  <a:cubicBezTo>
                    <a:pt x="100" y="1"/>
                    <a:pt x="90" y="0"/>
                    <a:pt x="84" y="5"/>
                  </a:cubicBezTo>
                  <a:close/>
                </a:path>
              </a:pathLst>
            </a:custGeom>
            <a:solidFill>
              <a:srgbClr val="A6DBE2"/>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13" name="Freeform 54">
              <a:extLst>
                <a:ext uri="{FF2B5EF4-FFF2-40B4-BE49-F238E27FC236}">
                  <a16:creationId xmlns:a16="http://schemas.microsoft.com/office/drawing/2014/main" id="{6BBB2AD7-AE84-4CA2-BE4B-3CBC207C46E8}"/>
                </a:ext>
              </a:extLst>
            </p:cNvPr>
            <p:cNvSpPr>
              <a:spLocks/>
            </p:cNvSpPr>
            <p:nvPr/>
          </p:nvSpPr>
          <p:spPr bwMode="auto">
            <a:xfrm>
              <a:off x="5733966" y="2788567"/>
              <a:ext cx="169843" cy="180273"/>
            </a:xfrm>
            <a:custGeom>
              <a:avLst/>
              <a:gdLst>
                <a:gd name="T0" fmla="*/ 0 w 114"/>
                <a:gd name="T1" fmla="*/ 57 h 121"/>
                <a:gd name="T2" fmla="*/ 114 w 114"/>
                <a:gd name="T3" fmla="*/ 121 h 121"/>
                <a:gd name="T4" fmla="*/ 70 w 114"/>
                <a:gd name="T5" fmla="*/ 0 h 121"/>
                <a:gd name="T6" fmla="*/ 0 w 114"/>
                <a:gd name="T7" fmla="*/ 57 h 121"/>
              </a:gdLst>
              <a:ahLst/>
              <a:cxnLst>
                <a:cxn ang="0">
                  <a:pos x="T0" y="T1"/>
                </a:cxn>
                <a:cxn ang="0">
                  <a:pos x="T2" y="T3"/>
                </a:cxn>
                <a:cxn ang="0">
                  <a:pos x="T4" y="T5"/>
                </a:cxn>
                <a:cxn ang="0">
                  <a:pos x="T6" y="T7"/>
                </a:cxn>
              </a:cxnLst>
              <a:rect l="0" t="0" r="r" b="b"/>
              <a:pathLst>
                <a:path w="114" h="121">
                  <a:moveTo>
                    <a:pt x="0" y="57"/>
                  </a:moveTo>
                  <a:lnTo>
                    <a:pt x="114" y="121"/>
                  </a:lnTo>
                  <a:lnTo>
                    <a:pt x="70" y="0"/>
                  </a:lnTo>
                  <a:lnTo>
                    <a:pt x="0" y="57"/>
                  </a:lnTo>
                  <a:close/>
                </a:path>
              </a:pathLst>
            </a:custGeom>
            <a:solidFill>
              <a:srgbClr val="D2FCFF"/>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14" name="Freeform 55">
              <a:extLst>
                <a:ext uri="{FF2B5EF4-FFF2-40B4-BE49-F238E27FC236}">
                  <a16:creationId xmlns:a16="http://schemas.microsoft.com/office/drawing/2014/main" id="{2536430D-DC46-4CE8-B57B-774360F46832}"/>
                </a:ext>
              </a:extLst>
            </p:cNvPr>
            <p:cNvSpPr>
              <a:spLocks/>
            </p:cNvSpPr>
            <p:nvPr/>
          </p:nvSpPr>
          <p:spPr bwMode="auto">
            <a:xfrm>
              <a:off x="6596591" y="4291829"/>
              <a:ext cx="1162085" cy="1296172"/>
            </a:xfrm>
            <a:custGeom>
              <a:avLst/>
              <a:gdLst>
                <a:gd name="T0" fmla="*/ 759 w 855"/>
                <a:gd name="T1" fmla="*/ 509 h 954"/>
                <a:gd name="T2" fmla="*/ 759 w 855"/>
                <a:gd name="T3" fmla="*/ 509 h 954"/>
                <a:gd name="T4" fmla="*/ 524 w 855"/>
                <a:gd name="T5" fmla="*/ 102 h 954"/>
                <a:gd name="T6" fmla="*/ 282 w 855"/>
                <a:gd name="T7" fmla="*/ 242 h 954"/>
                <a:gd name="T8" fmla="*/ 499 w 855"/>
                <a:gd name="T9" fmla="*/ 116 h 954"/>
                <a:gd name="T10" fmla="*/ 443 w 855"/>
                <a:gd name="T11" fmla="*/ 19 h 954"/>
                <a:gd name="T12" fmla="*/ 403 w 855"/>
                <a:gd name="T13" fmla="*/ 8 h 954"/>
                <a:gd name="T14" fmla="*/ 19 w 855"/>
                <a:gd name="T15" fmla="*/ 229 h 954"/>
                <a:gd name="T16" fmla="*/ 8 w 855"/>
                <a:gd name="T17" fmla="*/ 270 h 954"/>
                <a:gd name="T18" fmla="*/ 64 w 855"/>
                <a:gd name="T19" fmla="*/ 367 h 954"/>
                <a:gd name="T20" fmla="*/ 39 w 855"/>
                <a:gd name="T21" fmla="*/ 382 h 954"/>
                <a:gd name="T22" fmla="*/ 274 w 855"/>
                <a:gd name="T23" fmla="*/ 789 h 954"/>
                <a:gd name="T24" fmla="*/ 274 w 855"/>
                <a:gd name="T25" fmla="*/ 789 h 954"/>
                <a:gd name="T26" fmla="*/ 370 w 855"/>
                <a:gd name="T27" fmla="*/ 954 h 954"/>
                <a:gd name="T28" fmla="*/ 855 w 855"/>
                <a:gd name="T29" fmla="*/ 674 h 954"/>
                <a:gd name="T30" fmla="*/ 759 w 855"/>
                <a:gd name="T31" fmla="*/ 509 h 9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55" h="954">
                  <a:moveTo>
                    <a:pt x="759" y="509"/>
                  </a:moveTo>
                  <a:cubicBezTo>
                    <a:pt x="759" y="509"/>
                    <a:pt x="759" y="509"/>
                    <a:pt x="759" y="509"/>
                  </a:cubicBezTo>
                  <a:cubicBezTo>
                    <a:pt x="524" y="102"/>
                    <a:pt x="524" y="102"/>
                    <a:pt x="524" y="102"/>
                  </a:cubicBezTo>
                  <a:cubicBezTo>
                    <a:pt x="282" y="242"/>
                    <a:pt x="282" y="242"/>
                    <a:pt x="282" y="242"/>
                  </a:cubicBezTo>
                  <a:cubicBezTo>
                    <a:pt x="499" y="116"/>
                    <a:pt x="499" y="116"/>
                    <a:pt x="499" y="116"/>
                  </a:cubicBezTo>
                  <a:cubicBezTo>
                    <a:pt x="443" y="19"/>
                    <a:pt x="443" y="19"/>
                    <a:pt x="443" y="19"/>
                  </a:cubicBezTo>
                  <a:cubicBezTo>
                    <a:pt x="435" y="5"/>
                    <a:pt x="417" y="0"/>
                    <a:pt x="403" y="8"/>
                  </a:cubicBezTo>
                  <a:cubicBezTo>
                    <a:pt x="19" y="229"/>
                    <a:pt x="19" y="229"/>
                    <a:pt x="19" y="229"/>
                  </a:cubicBezTo>
                  <a:cubicBezTo>
                    <a:pt x="5" y="238"/>
                    <a:pt x="0" y="256"/>
                    <a:pt x="8" y="270"/>
                  </a:cubicBezTo>
                  <a:cubicBezTo>
                    <a:pt x="64" y="367"/>
                    <a:pt x="64" y="367"/>
                    <a:pt x="64" y="367"/>
                  </a:cubicBezTo>
                  <a:cubicBezTo>
                    <a:pt x="39" y="382"/>
                    <a:pt x="39" y="382"/>
                    <a:pt x="39" y="382"/>
                  </a:cubicBezTo>
                  <a:cubicBezTo>
                    <a:pt x="274" y="789"/>
                    <a:pt x="274" y="789"/>
                    <a:pt x="274" y="789"/>
                  </a:cubicBezTo>
                  <a:cubicBezTo>
                    <a:pt x="274" y="789"/>
                    <a:pt x="274" y="789"/>
                    <a:pt x="274" y="789"/>
                  </a:cubicBezTo>
                  <a:cubicBezTo>
                    <a:pt x="370" y="954"/>
                    <a:pt x="370" y="954"/>
                    <a:pt x="370" y="954"/>
                  </a:cubicBezTo>
                  <a:cubicBezTo>
                    <a:pt x="855" y="674"/>
                    <a:pt x="855" y="674"/>
                    <a:pt x="855" y="674"/>
                  </a:cubicBezTo>
                  <a:lnTo>
                    <a:pt x="759" y="509"/>
                  </a:lnTo>
                  <a:close/>
                </a:path>
              </a:pathLst>
            </a:custGeom>
            <a:solidFill>
              <a:srgbClr val="D1CDC9">
                <a:alpha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5" name="Freeform 56">
              <a:extLst>
                <a:ext uri="{FF2B5EF4-FFF2-40B4-BE49-F238E27FC236}">
                  <a16:creationId xmlns:a16="http://schemas.microsoft.com/office/drawing/2014/main" id="{8EDC2185-C0D2-45FC-8C62-D4E82ED6F7B4}"/>
                </a:ext>
              </a:extLst>
            </p:cNvPr>
            <p:cNvSpPr>
              <a:spLocks/>
            </p:cNvSpPr>
            <p:nvPr/>
          </p:nvSpPr>
          <p:spPr bwMode="auto">
            <a:xfrm>
              <a:off x="6681512" y="4378240"/>
              <a:ext cx="1108450" cy="1157616"/>
            </a:xfrm>
            <a:custGeom>
              <a:avLst/>
              <a:gdLst>
                <a:gd name="T0" fmla="*/ 744 w 744"/>
                <a:gd name="T1" fmla="*/ 522 h 777"/>
                <a:gd name="T2" fmla="*/ 301 w 744"/>
                <a:gd name="T3" fmla="*/ 777 h 777"/>
                <a:gd name="T4" fmla="*/ 0 w 744"/>
                <a:gd name="T5" fmla="*/ 255 h 777"/>
                <a:gd name="T6" fmla="*/ 443 w 744"/>
                <a:gd name="T7" fmla="*/ 0 h 777"/>
                <a:gd name="T8" fmla="*/ 744 w 744"/>
                <a:gd name="T9" fmla="*/ 522 h 777"/>
              </a:gdLst>
              <a:ahLst/>
              <a:cxnLst>
                <a:cxn ang="0">
                  <a:pos x="T0" y="T1"/>
                </a:cxn>
                <a:cxn ang="0">
                  <a:pos x="T2" y="T3"/>
                </a:cxn>
                <a:cxn ang="0">
                  <a:pos x="T4" y="T5"/>
                </a:cxn>
                <a:cxn ang="0">
                  <a:pos x="T6" y="T7"/>
                </a:cxn>
                <a:cxn ang="0">
                  <a:pos x="T8" y="T9"/>
                </a:cxn>
              </a:cxnLst>
              <a:rect l="0" t="0" r="r" b="b"/>
              <a:pathLst>
                <a:path w="744" h="777">
                  <a:moveTo>
                    <a:pt x="744" y="522"/>
                  </a:moveTo>
                  <a:lnTo>
                    <a:pt x="301" y="777"/>
                  </a:lnTo>
                  <a:lnTo>
                    <a:pt x="0" y="255"/>
                  </a:lnTo>
                  <a:lnTo>
                    <a:pt x="443" y="0"/>
                  </a:lnTo>
                  <a:lnTo>
                    <a:pt x="744" y="522"/>
                  </a:lnTo>
                  <a:close/>
                </a:path>
              </a:pathLst>
            </a:custGeom>
            <a:solidFill>
              <a:srgbClr val="DB7461"/>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16" name="Freeform 57">
              <a:extLst>
                <a:ext uri="{FF2B5EF4-FFF2-40B4-BE49-F238E27FC236}">
                  <a16:creationId xmlns:a16="http://schemas.microsoft.com/office/drawing/2014/main" id="{391B8EE4-129C-4C32-A703-82962B84E122}"/>
                </a:ext>
              </a:extLst>
            </p:cNvPr>
            <p:cNvSpPr>
              <a:spLocks/>
            </p:cNvSpPr>
            <p:nvPr/>
          </p:nvSpPr>
          <p:spPr bwMode="auto">
            <a:xfrm>
              <a:off x="6629368" y="4239684"/>
              <a:ext cx="677884" cy="499101"/>
            </a:xfrm>
            <a:custGeom>
              <a:avLst/>
              <a:gdLst>
                <a:gd name="T0" fmla="*/ 402 w 499"/>
                <a:gd name="T1" fmla="*/ 8 h 367"/>
                <a:gd name="T2" fmla="*/ 19 w 499"/>
                <a:gd name="T3" fmla="*/ 230 h 367"/>
                <a:gd name="T4" fmla="*/ 8 w 499"/>
                <a:gd name="T5" fmla="*/ 270 h 367"/>
                <a:gd name="T6" fmla="*/ 64 w 499"/>
                <a:gd name="T7" fmla="*/ 367 h 367"/>
                <a:gd name="T8" fmla="*/ 499 w 499"/>
                <a:gd name="T9" fmla="*/ 116 h 367"/>
                <a:gd name="T10" fmla="*/ 443 w 499"/>
                <a:gd name="T11" fmla="*/ 19 h 367"/>
                <a:gd name="T12" fmla="*/ 402 w 499"/>
                <a:gd name="T13" fmla="*/ 8 h 367"/>
              </a:gdLst>
              <a:ahLst/>
              <a:cxnLst>
                <a:cxn ang="0">
                  <a:pos x="T0" y="T1"/>
                </a:cxn>
                <a:cxn ang="0">
                  <a:pos x="T2" y="T3"/>
                </a:cxn>
                <a:cxn ang="0">
                  <a:pos x="T4" y="T5"/>
                </a:cxn>
                <a:cxn ang="0">
                  <a:pos x="T6" y="T7"/>
                </a:cxn>
                <a:cxn ang="0">
                  <a:pos x="T8" y="T9"/>
                </a:cxn>
                <a:cxn ang="0">
                  <a:pos x="T10" y="T11"/>
                </a:cxn>
                <a:cxn ang="0">
                  <a:pos x="T12" y="T13"/>
                </a:cxn>
              </a:cxnLst>
              <a:rect l="0" t="0" r="r" b="b"/>
              <a:pathLst>
                <a:path w="499" h="367">
                  <a:moveTo>
                    <a:pt x="402" y="8"/>
                  </a:moveTo>
                  <a:cubicBezTo>
                    <a:pt x="19" y="230"/>
                    <a:pt x="19" y="230"/>
                    <a:pt x="19" y="230"/>
                  </a:cubicBezTo>
                  <a:cubicBezTo>
                    <a:pt x="4" y="238"/>
                    <a:pt x="0" y="256"/>
                    <a:pt x="8" y="270"/>
                  </a:cubicBezTo>
                  <a:cubicBezTo>
                    <a:pt x="64" y="367"/>
                    <a:pt x="64" y="367"/>
                    <a:pt x="64" y="367"/>
                  </a:cubicBezTo>
                  <a:cubicBezTo>
                    <a:pt x="499" y="116"/>
                    <a:pt x="499" y="116"/>
                    <a:pt x="499" y="116"/>
                  </a:cubicBezTo>
                  <a:cubicBezTo>
                    <a:pt x="443" y="19"/>
                    <a:pt x="443" y="19"/>
                    <a:pt x="443" y="19"/>
                  </a:cubicBezTo>
                  <a:cubicBezTo>
                    <a:pt x="434" y="5"/>
                    <a:pt x="416" y="0"/>
                    <a:pt x="402" y="8"/>
                  </a:cubicBezTo>
                  <a:close/>
                </a:path>
              </a:pathLst>
            </a:custGeom>
            <a:solidFill>
              <a:srgbClr val="F3E1B2"/>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17" name="Freeform 58">
              <a:extLst>
                <a:ext uri="{FF2B5EF4-FFF2-40B4-BE49-F238E27FC236}">
                  <a16:creationId xmlns:a16="http://schemas.microsoft.com/office/drawing/2014/main" id="{C7F75FD9-76C8-469B-9210-BEB42909925A}"/>
                </a:ext>
              </a:extLst>
            </p:cNvPr>
            <p:cNvSpPr>
              <a:spLocks/>
            </p:cNvSpPr>
            <p:nvPr/>
          </p:nvSpPr>
          <p:spPr bwMode="auto">
            <a:xfrm>
              <a:off x="7001831" y="4930975"/>
              <a:ext cx="788133" cy="604880"/>
            </a:xfrm>
            <a:custGeom>
              <a:avLst/>
              <a:gdLst>
                <a:gd name="T0" fmla="*/ 529 w 529"/>
                <a:gd name="T1" fmla="*/ 151 h 406"/>
                <a:gd name="T2" fmla="*/ 86 w 529"/>
                <a:gd name="T3" fmla="*/ 406 h 406"/>
                <a:gd name="T4" fmla="*/ 0 w 529"/>
                <a:gd name="T5" fmla="*/ 256 h 406"/>
                <a:gd name="T6" fmla="*/ 442 w 529"/>
                <a:gd name="T7" fmla="*/ 0 h 406"/>
                <a:gd name="T8" fmla="*/ 529 w 529"/>
                <a:gd name="T9" fmla="*/ 151 h 406"/>
              </a:gdLst>
              <a:ahLst/>
              <a:cxnLst>
                <a:cxn ang="0">
                  <a:pos x="T0" y="T1"/>
                </a:cxn>
                <a:cxn ang="0">
                  <a:pos x="T2" y="T3"/>
                </a:cxn>
                <a:cxn ang="0">
                  <a:pos x="T4" y="T5"/>
                </a:cxn>
                <a:cxn ang="0">
                  <a:pos x="T6" y="T7"/>
                </a:cxn>
                <a:cxn ang="0">
                  <a:pos x="T8" y="T9"/>
                </a:cxn>
              </a:cxnLst>
              <a:rect l="0" t="0" r="r" b="b"/>
              <a:pathLst>
                <a:path w="529" h="406">
                  <a:moveTo>
                    <a:pt x="529" y="151"/>
                  </a:moveTo>
                  <a:lnTo>
                    <a:pt x="86" y="406"/>
                  </a:lnTo>
                  <a:lnTo>
                    <a:pt x="0" y="256"/>
                  </a:lnTo>
                  <a:lnTo>
                    <a:pt x="442" y="0"/>
                  </a:lnTo>
                  <a:lnTo>
                    <a:pt x="529" y="151"/>
                  </a:lnTo>
                  <a:close/>
                </a:path>
              </a:pathLst>
            </a:custGeom>
            <a:solidFill>
              <a:srgbClr val="43506E"/>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18" name="Line 59">
              <a:extLst>
                <a:ext uri="{FF2B5EF4-FFF2-40B4-BE49-F238E27FC236}">
                  <a16:creationId xmlns:a16="http://schemas.microsoft.com/office/drawing/2014/main" id="{BD18DEB4-52DC-4FBF-9B3E-6FD890902F27}"/>
                </a:ext>
              </a:extLst>
            </p:cNvPr>
            <p:cNvSpPr>
              <a:spLocks noChangeShapeType="1"/>
            </p:cNvSpPr>
            <p:nvPr/>
          </p:nvSpPr>
          <p:spPr bwMode="auto">
            <a:xfrm flipV="1">
              <a:off x="5869543" y="1753120"/>
              <a:ext cx="68533" cy="67044"/>
            </a:xfrm>
            <a:prstGeom prst="line">
              <a:avLst/>
            </a:prstGeom>
            <a:noFill/>
            <a:ln w="6350" cap="flat">
              <a:solidFill>
                <a:srgbClr val="1E1D1D"/>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119" name="Line 60">
              <a:extLst>
                <a:ext uri="{FF2B5EF4-FFF2-40B4-BE49-F238E27FC236}">
                  <a16:creationId xmlns:a16="http://schemas.microsoft.com/office/drawing/2014/main" id="{E2B73F88-B41E-467B-B1CC-7238234AB2B2}"/>
                </a:ext>
              </a:extLst>
            </p:cNvPr>
            <p:cNvSpPr>
              <a:spLocks noChangeShapeType="1"/>
            </p:cNvSpPr>
            <p:nvPr/>
          </p:nvSpPr>
          <p:spPr bwMode="auto">
            <a:xfrm flipV="1">
              <a:off x="6058754" y="1942331"/>
              <a:ext cx="68533" cy="67044"/>
            </a:xfrm>
            <a:prstGeom prst="line">
              <a:avLst/>
            </a:prstGeom>
            <a:noFill/>
            <a:ln w="6350" cap="flat">
              <a:solidFill>
                <a:srgbClr val="1E1D1D"/>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120" name="Line 61">
              <a:extLst>
                <a:ext uri="{FF2B5EF4-FFF2-40B4-BE49-F238E27FC236}">
                  <a16:creationId xmlns:a16="http://schemas.microsoft.com/office/drawing/2014/main" id="{35C64882-2E63-4244-949A-88EAAFB9D8A6}"/>
                </a:ext>
              </a:extLst>
            </p:cNvPr>
            <p:cNvSpPr>
              <a:spLocks noChangeShapeType="1"/>
            </p:cNvSpPr>
            <p:nvPr/>
          </p:nvSpPr>
          <p:spPr bwMode="auto">
            <a:xfrm flipV="1">
              <a:off x="6243495" y="2136011"/>
              <a:ext cx="68533" cy="68533"/>
            </a:xfrm>
            <a:prstGeom prst="line">
              <a:avLst/>
            </a:prstGeom>
            <a:noFill/>
            <a:ln w="6350" cap="flat">
              <a:solidFill>
                <a:srgbClr val="1E1D1D"/>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121" name="Line 62">
              <a:extLst>
                <a:ext uri="{FF2B5EF4-FFF2-40B4-BE49-F238E27FC236}">
                  <a16:creationId xmlns:a16="http://schemas.microsoft.com/office/drawing/2014/main" id="{94416BE4-9A61-4215-AD8B-35332CD24143}"/>
                </a:ext>
              </a:extLst>
            </p:cNvPr>
            <p:cNvSpPr>
              <a:spLocks noChangeShapeType="1"/>
            </p:cNvSpPr>
            <p:nvPr/>
          </p:nvSpPr>
          <p:spPr bwMode="auto">
            <a:xfrm flipV="1">
              <a:off x="6432707" y="2325223"/>
              <a:ext cx="70024" cy="67044"/>
            </a:xfrm>
            <a:prstGeom prst="line">
              <a:avLst/>
            </a:prstGeom>
            <a:noFill/>
            <a:ln w="6350" cap="flat">
              <a:solidFill>
                <a:srgbClr val="1E1D1D"/>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122" name="Line 63">
              <a:extLst>
                <a:ext uri="{FF2B5EF4-FFF2-40B4-BE49-F238E27FC236}">
                  <a16:creationId xmlns:a16="http://schemas.microsoft.com/office/drawing/2014/main" id="{C9995D8E-5A32-4189-AFF1-D28C91E8E8BD}"/>
                </a:ext>
              </a:extLst>
            </p:cNvPr>
            <p:cNvSpPr>
              <a:spLocks noChangeShapeType="1"/>
            </p:cNvSpPr>
            <p:nvPr/>
          </p:nvSpPr>
          <p:spPr bwMode="auto">
            <a:xfrm flipV="1">
              <a:off x="6617449" y="2518904"/>
              <a:ext cx="68533" cy="65554"/>
            </a:xfrm>
            <a:prstGeom prst="line">
              <a:avLst/>
            </a:prstGeom>
            <a:noFill/>
            <a:ln w="6350" cap="flat">
              <a:solidFill>
                <a:srgbClr val="1E1D1D"/>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123" name="Line 64">
              <a:extLst>
                <a:ext uri="{FF2B5EF4-FFF2-40B4-BE49-F238E27FC236}">
                  <a16:creationId xmlns:a16="http://schemas.microsoft.com/office/drawing/2014/main" id="{45D5D4A3-5E8E-49A7-9EF5-4568176094E9}"/>
                </a:ext>
              </a:extLst>
            </p:cNvPr>
            <p:cNvSpPr>
              <a:spLocks noChangeShapeType="1"/>
            </p:cNvSpPr>
            <p:nvPr/>
          </p:nvSpPr>
          <p:spPr bwMode="auto">
            <a:xfrm flipV="1">
              <a:off x="6805170" y="2709605"/>
              <a:ext cx="70024" cy="68533"/>
            </a:xfrm>
            <a:prstGeom prst="line">
              <a:avLst/>
            </a:prstGeom>
            <a:noFill/>
            <a:ln w="6350" cap="flat">
              <a:solidFill>
                <a:srgbClr val="1E1D1D"/>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124" name="Line 65">
              <a:extLst>
                <a:ext uri="{FF2B5EF4-FFF2-40B4-BE49-F238E27FC236}">
                  <a16:creationId xmlns:a16="http://schemas.microsoft.com/office/drawing/2014/main" id="{320D374B-E981-4444-AA19-C0FEEFF4A9AB}"/>
                </a:ext>
              </a:extLst>
            </p:cNvPr>
            <p:cNvSpPr>
              <a:spLocks noChangeShapeType="1"/>
            </p:cNvSpPr>
            <p:nvPr/>
          </p:nvSpPr>
          <p:spPr bwMode="auto">
            <a:xfrm flipV="1">
              <a:off x="6995872" y="2898816"/>
              <a:ext cx="70024" cy="68533"/>
            </a:xfrm>
            <a:prstGeom prst="line">
              <a:avLst/>
            </a:prstGeom>
            <a:noFill/>
            <a:ln w="6350" cap="flat">
              <a:solidFill>
                <a:srgbClr val="1E1D1D"/>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125" name="Line 66">
              <a:extLst>
                <a:ext uri="{FF2B5EF4-FFF2-40B4-BE49-F238E27FC236}">
                  <a16:creationId xmlns:a16="http://schemas.microsoft.com/office/drawing/2014/main" id="{26E191C3-E013-40F6-B8BE-994277113C2D}"/>
                </a:ext>
              </a:extLst>
            </p:cNvPr>
            <p:cNvSpPr>
              <a:spLocks noChangeShapeType="1"/>
            </p:cNvSpPr>
            <p:nvPr/>
          </p:nvSpPr>
          <p:spPr bwMode="auto">
            <a:xfrm flipV="1">
              <a:off x="7179123" y="3092497"/>
              <a:ext cx="70024" cy="67044"/>
            </a:xfrm>
            <a:prstGeom prst="line">
              <a:avLst/>
            </a:prstGeom>
            <a:noFill/>
            <a:ln w="6350" cap="flat">
              <a:solidFill>
                <a:srgbClr val="1E1D1D"/>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126" name="Line 67">
              <a:extLst>
                <a:ext uri="{FF2B5EF4-FFF2-40B4-BE49-F238E27FC236}">
                  <a16:creationId xmlns:a16="http://schemas.microsoft.com/office/drawing/2014/main" id="{22D73388-6307-4368-A9BC-B482B3E74225}"/>
                </a:ext>
              </a:extLst>
            </p:cNvPr>
            <p:cNvSpPr>
              <a:spLocks noChangeShapeType="1"/>
            </p:cNvSpPr>
            <p:nvPr/>
          </p:nvSpPr>
          <p:spPr bwMode="auto">
            <a:xfrm flipV="1">
              <a:off x="7371315" y="3283198"/>
              <a:ext cx="68533" cy="67044"/>
            </a:xfrm>
            <a:prstGeom prst="line">
              <a:avLst/>
            </a:prstGeom>
            <a:noFill/>
            <a:ln w="6350" cap="flat">
              <a:solidFill>
                <a:srgbClr val="1E1D1D"/>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127" name="Line 68">
              <a:extLst>
                <a:ext uri="{FF2B5EF4-FFF2-40B4-BE49-F238E27FC236}">
                  <a16:creationId xmlns:a16="http://schemas.microsoft.com/office/drawing/2014/main" id="{3B375B2E-D8E2-4B91-97B6-097296C432BF}"/>
                </a:ext>
              </a:extLst>
            </p:cNvPr>
            <p:cNvSpPr>
              <a:spLocks noChangeShapeType="1"/>
            </p:cNvSpPr>
            <p:nvPr/>
          </p:nvSpPr>
          <p:spPr bwMode="auto">
            <a:xfrm flipV="1">
              <a:off x="7556056" y="3472410"/>
              <a:ext cx="68533" cy="68533"/>
            </a:xfrm>
            <a:prstGeom prst="line">
              <a:avLst/>
            </a:prstGeom>
            <a:noFill/>
            <a:ln w="6350" cap="flat">
              <a:solidFill>
                <a:srgbClr val="1E1D1D"/>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128" name="Line 69">
              <a:extLst>
                <a:ext uri="{FF2B5EF4-FFF2-40B4-BE49-F238E27FC236}">
                  <a16:creationId xmlns:a16="http://schemas.microsoft.com/office/drawing/2014/main" id="{E340A776-A70A-4370-B767-BB17A028A5BC}"/>
                </a:ext>
              </a:extLst>
            </p:cNvPr>
            <p:cNvSpPr>
              <a:spLocks noChangeShapeType="1"/>
            </p:cNvSpPr>
            <p:nvPr/>
          </p:nvSpPr>
          <p:spPr bwMode="auto">
            <a:xfrm flipV="1">
              <a:off x="7742287" y="3667580"/>
              <a:ext cx="68533" cy="65554"/>
            </a:xfrm>
            <a:prstGeom prst="line">
              <a:avLst/>
            </a:prstGeom>
            <a:noFill/>
            <a:ln w="6350" cap="flat">
              <a:solidFill>
                <a:srgbClr val="1E1D1D"/>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p>
          </p:txBody>
        </p:sp>
      </p:grpSp>
    </p:spTree>
    <p:custDataLst>
      <p:tags r:id="rId1"/>
    </p:custDataLst>
    <p:extLst>
      <p:ext uri="{BB962C8B-B14F-4D97-AF65-F5344CB8AC3E}">
        <p14:creationId xmlns:p14="http://schemas.microsoft.com/office/powerpoint/2010/main" val="3057708786"/>
      </p:ext>
    </p:extLst>
  </p:cSld>
  <p:clrMapOvr>
    <a:masterClrMapping/>
  </p:clrMapOvr>
  <mc:AlternateContent xmlns:mc="http://schemas.openxmlformats.org/markup-compatibility/2006">
    <mc:Choice xmlns:p14="http://schemas.microsoft.com/office/powerpoint/2010/main" Requires="p14">
      <p:transition spd="slow" p14:dur="1250">
        <p:blinds dir="vert"/>
      </p:transition>
    </mc:Choice>
    <mc:Fallback>
      <p:transition spd="slow">
        <p:blinds dir="vert"/>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a:xfrm>
            <a:off x="7803909" y="2171807"/>
            <a:ext cx="5002454" cy="895350"/>
          </a:xfrm>
        </p:spPr>
        <p:txBody>
          <a:bodyPr>
            <a:normAutofit/>
          </a:bodyPr>
          <a:lstStyle/>
          <a:p>
            <a:r>
              <a:rPr lang="zh-CN" altLang="en-US" sz="4400" dirty="0"/>
              <a:t>类图</a:t>
            </a:r>
          </a:p>
        </p:txBody>
      </p:sp>
      <p:sp>
        <p:nvSpPr>
          <p:cNvPr id="6" name="文本占位符 5"/>
          <p:cNvSpPr>
            <a:spLocks noGrp="1"/>
          </p:cNvSpPr>
          <p:nvPr>
            <p:ph type="body" idx="1"/>
          </p:nvPr>
        </p:nvSpPr>
        <p:spPr/>
        <p:txBody>
          <a:bodyPr>
            <a:normAutofit/>
          </a:bodyPr>
          <a:lstStyle/>
          <a:p>
            <a:pPr lvl="0"/>
            <a:r>
              <a:rPr lang="zh-CN" altLang="en-US" sz="1400" dirty="0"/>
              <a:t>类图是面向对象系统建模中最重要的图，是定义其它图的基础</a:t>
            </a:r>
            <a:endParaRPr lang="en-US" altLang="zh-CN" sz="1400" dirty="0"/>
          </a:p>
          <a:p>
            <a:pPr lvl="0"/>
            <a:r>
              <a:rPr lang="zh-CN" altLang="en-US" sz="1400" dirty="0"/>
              <a:t>类图主要是用来展现软件系统中的类、接口以及它们之间的静态结构 </a:t>
            </a:r>
          </a:p>
        </p:txBody>
      </p:sp>
      <p:sp>
        <p:nvSpPr>
          <p:cNvPr id="9" name="文本框 8">
            <a:extLst>
              <a:ext uri="{FF2B5EF4-FFF2-40B4-BE49-F238E27FC236}">
                <a16:creationId xmlns:a16="http://schemas.microsoft.com/office/drawing/2014/main" id="{04F69230-F3A6-4586-9371-A858F4763E9F}"/>
              </a:ext>
            </a:extLst>
          </p:cNvPr>
          <p:cNvSpPr txBox="1"/>
          <p:nvPr/>
        </p:nvSpPr>
        <p:spPr>
          <a:xfrm>
            <a:off x="6632714" y="2171808"/>
            <a:ext cx="1171195" cy="895349"/>
          </a:xfrm>
          <a:prstGeom prst="rect">
            <a:avLst/>
          </a:prstGeom>
          <a:noFill/>
          <a:ln w="117475">
            <a:noFill/>
          </a:ln>
        </p:spPr>
        <p:txBody>
          <a:bodyPr wrap="none" rtlCol="0">
            <a:prstTxWarp prst="textPlain">
              <a:avLst/>
            </a:prstTxWarp>
            <a:spAutoFit/>
          </a:bodyPr>
          <a:lstStyle/>
          <a:p>
            <a:r>
              <a:rPr lang="en-US" altLang="zh-CN" spc="100" dirty="0">
                <a:solidFill>
                  <a:schemeClr val="accent1"/>
                </a:solidFill>
                <a:latin typeface="Impact" panose="020B0806030902050204" pitchFamily="34" charset="0"/>
                <a:cs typeface="Arial" panose="020B0604020202020204" pitchFamily="34" charset="0"/>
              </a:rPr>
              <a:t>/1-2</a:t>
            </a:r>
            <a:endParaRPr lang="zh-CN" altLang="en-US" spc="100" dirty="0">
              <a:solidFill>
                <a:schemeClr val="accent1"/>
              </a:solidFill>
              <a:latin typeface="Impact" panose="020B0806030902050204" pitchFamily="34" charset="0"/>
              <a:cs typeface="Arial" panose="020B0604020202020204" pitchFamily="34" charset="0"/>
            </a:endParaRPr>
          </a:p>
        </p:txBody>
      </p:sp>
    </p:spTree>
    <p:custDataLst>
      <p:tags r:id="rId1"/>
    </p:custDataLst>
    <p:extLst>
      <p:ext uri="{BB962C8B-B14F-4D97-AF65-F5344CB8AC3E}">
        <p14:creationId xmlns:p14="http://schemas.microsoft.com/office/powerpoint/2010/main" val="1720261672"/>
      </p:ext>
    </p:extLst>
  </p:cSld>
  <p:clrMapOvr>
    <a:masterClrMapping/>
  </p:clrMapOvr>
  <p:transition spd="slow">
    <p:cover/>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3" name="组合 112">
            <a:extLst>
              <a:ext uri="{FF2B5EF4-FFF2-40B4-BE49-F238E27FC236}">
                <a16:creationId xmlns:a16="http://schemas.microsoft.com/office/drawing/2014/main" id="{7B052B5E-0A9D-408D-9DBA-FF26F1094FDB}"/>
              </a:ext>
            </a:extLst>
          </p:cNvPr>
          <p:cNvGrpSpPr/>
          <p:nvPr/>
        </p:nvGrpSpPr>
        <p:grpSpPr>
          <a:xfrm>
            <a:off x="120302" y="1365250"/>
            <a:ext cx="3874451" cy="4127499"/>
            <a:chOff x="3883026" y="1216026"/>
            <a:chExt cx="4425950" cy="4425950"/>
          </a:xfrm>
        </p:grpSpPr>
        <p:sp>
          <p:nvSpPr>
            <p:cNvPr id="114" name="Oval 5">
              <a:extLst>
                <a:ext uri="{FF2B5EF4-FFF2-40B4-BE49-F238E27FC236}">
                  <a16:creationId xmlns:a16="http://schemas.microsoft.com/office/drawing/2014/main" id="{9953A298-3030-4827-AE02-64D10F06F73D}"/>
                </a:ext>
              </a:extLst>
            </p:cNvPr>
            <p:cNvSpPr>
              <a:spLocks noChangeArrowheads="1"/>
            </p:cNvSpPr>
            <p:nvPr/>
          </p:nvSpPr>
          <p:spPr bwMode="auto">
            <a:xfrm>
              <a:off x="3883026" y="1216026"/>
              <a:ext cx="4425950" cy="4425950"/>
            </a:xfrm>
            <a:prstGeom prst="ellipse">
              <a:avLst/>
            </a:prstGeom>
            <a:solidFill>
              <a:srgbClr val="CAD5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5" name="Freeform 6">
              <a:extLst>
                <a:ext uri="{FF2B5EF4-FFF2-40B4-BE49-F238E27FC236}">
                  <a16:creationId xmlns:a16="http://schemas.microsoft.com/office/drawing/2014/main" id="{809B4EC1-2413-4F52-9AB3-510DA601B4E5}"/>
                </a:ext>
              </a:extLst>
            </p:cNvPr>
            <p:cNvSpPr>
              <a:spLocks/>
            </p:cNvSpPr>
            <p:nvPr/>
          </p:nvSpPr>
          <p:spPr bwMode="auto">
            <a:xfrm>
              <a:off x="4995863" y="1863726"/>
              <a:ext cx="2297113" cy="3417888"/>
            </a:xfrm>
            <a:custGeom>
              <a:avLst/>
              <a:gdLst>
                <a:gd name="T0" fmla="*/ 0 w 553"/>
                <a:gd name="T1" fmla="*/ 775 h 823"/>
                <a:gd name="T2" fmla="*/ 0 w 553"/>
                <a:gd name="T3" fmla="*/ 48 h 823"/>
                <a:gd name="T4" fmla="*/ 47 w 553"/>
                <a:gd name="T5" fmla="*/ 0 h 823"/>
                <a:gd name="T6" fmla="*/ 506 w 553"/>
                <a:gd name="T7" fmla="*/ 0 h 823"/>
                <a:gd name="T8" fmla="*/ 553 w 553"/>
                <a:gd name="T9" fmla="*/ 48 h 823"/>
                <a:gd name="T10" fmla="*/ 553 w 553"/>
                <a:gd name="T11" fmla="*/ 775 h 823"/>
                <a:gd name="T12" fmla="*/ 506 w 553"/>
                <a:gd name="T13" fmla="*/ 823 h 823"/>
                <a:gd name="T14" fmla="*/ 47 w 553"/>
                <a:gd name="T15" fmla="*/ 823 h 823"/>
                <a:gd name="T16" fmla="*/ 0 w 553"/>
                <a:gd name="T17" fmla="*/ 775 h 8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53" h="823">
                  <a:moveTo>
                    <a:pt x="0" y="775"/>
                  </a:moveTo>
                  <a:cubicBezTo>
                    <a:pt x="0" y="48"/>
                    <a:pt x="0" y="48"/>
                    <a:pt x="0" y="48"/>
                  </a:cubicBezTo>
                  <a:cubicBezTo>
                    <a:pt x="0" y="21"/>
                    <a:pt x="21" y="0"/>
                    <a:pt x="47" y="0"/>
                  </a:cubicBezTo>
                  <a:cubicBezTo>
                    <a:pt x="506" y="0"/>
                    <a:pt x="506" y="0"/>
                    <a:pt x="506" y="0"/>
                  </a:cubicBezTo>
                  <a:cubicBezTo>
                    <a:pt x="532" y="0"/>
                    <a:pt x="553" y="21"/>
                    <a:pt x="553" y="48"/>
                  </a:cubicBezTo>
                  <a:cubicBezTo>
                    <a:pt x="553" y="775"/>
                    <a:pt x="553" y="775"/>
                    <a:pt x="553" y="775"/>
                  </a:cubicBezTo>
                  <a:cubicBezTo>
                    <a:pt x="553" y="802"/>
                    <a:pt x="532" y="823"/>
                    <a:pt x="506" y="823"/>
                  </a:cubicBezTo>
                  <a:cubicBezTo>
                    <a:pt x="47" y="823"/>
                    <a:pt x="47" y="823"/>
                    <a:pt x="47" y="823"/>
                  </a:cubicBezTo>
                  <a:cubicBezTo>
                    <a:pt x="21" y="823"/>
                    <a:pt x="0" y="802"/>
                    <a:pt x="0" y="775"/>
                  </a:cubicBezTo>
                  <a:close/>
                </a:path>
              </a:pathLst>
            </a:custGeom>
            <a:solidFill>
              <a:srgbClr val="EBF4F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6" name="Freeform 7">
              <a:extLst>
                <a:ext uri="{FF2B5EF4-FFF2-40B4-BE49-F238E27FC236}">
                  <a16:creationId xmlns:a16="http://schemas.microsoft.com/office/drawing/2014/main" id="{E5253639-8F1A-4843-98D2-77ADBE861007}"/>
                </a:ext>
              </a:extLst>
            </p:cNvPr>
            <p:cNvSpPr>
              <a:spLocks noEditPoints="1"/>
            </p:cNvSpPr>
            <p:nvPr/>
          </p:nvSpPr>
          <p:spPr bwMode="auto">
            <a:xfrm>
              <a:off x="4975226" y="1846263"/>
              <a:ext cx="2338388" cy="3455988"/>
            </a:xfrm>
            <a:custGeom>
              <a:avLst/>
              <a:gdLst>
                <a:gd name="T0" fmla="*/ 511 w 563"/>
                <a:gd name="T1" fmla="*/ 832 h 832"/>
                <a:gd name="T2" fmla="*/ 52 w 563"/>
                <a:gd name="T3" fmla="*/ 832 h 832"/>
                <a:gd name="T4" fmla="*/ 0 w 563"/>
                <a:gd name="T5" fmla="*/ 779 h 832"/>
                <a:gd name="T6" fmla="*/ 0 w 563"/>
                <a:gd name="T7" fmla="*/ 52 h 832"/>
                <a:gd name="T8" fmla="*/ 52 w 563"/>
                <a:gd name="T9" fmla="*/ 0 h 832"/>
                <a:gd name="T10" fmla="*/ 511 w 563"/>
                <a:gd name="T11" fmla="*/ 0 h 832"/>
                <a:gd name="T12" fmla="*/ 563 w 563"/>
                <a:gd name="T13" fmla="*/ 52 h 832"/>
                <a:gd name="T14" fmla="*/ 563 w 563"/>
                <a:gd name="T15" fmla="*/ 779 h 832"/>
                <a:gd name="T16" fmla="*/ 511 w 563"/>
                <a:gd name="T17" fmla="*/ 832 h 832"/>
                <a:gd name="T18" fmla="*/ 52 w 563"/>
                <a:gd name="T19" fmla="*/ 9 h 832"/>
                <a:gd name="T20" fmla="*/ 9 w 563"/>
                <a:gd name="T21" fmla="*/ 52 h 832"/>
                <a:gd name="T22" fmla="*/ 9 w 563"/>
                <a:gd name="T23" fmla="*/ 779 h 832"/>
                <a:gd name="T24" fmla="*/ 52 w 563"/>
                <a:gd name="T25" fmla="*/ 823 h 832"/>
                <a:gd name="T26" fmla="*/ 511 w 563"/>
                <a:gd name="T27" fmla="*/ 823 h 832"/>
                <a:gd name="T28" fmla="*/ 554 w 563"/>
                <a:gd name="T29" fmla="*/ 779 h 832"/>
                <a:gd name="T30" fmla="*/ 554 w 563"/>
                <a:gd name="T31" fmla="*/ 52 h 832"/>
                <a:gd name="T32" fmla="*/ 511 w 563"/>
                <a:gd name="T33" fmla="*/ 9 h 832"/>
                <a:gd name="T34" fmla="*/ 52 w 563"/>
                <a:gd name="T35" fmla="*/ 9 h 8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63" h="832">
                  <a:moveTo>
                    <a:pt x="511" y="832"/>
                  </a:moveTo>
                  <a:cubicBezTo>
                    <a:pt x="52" y="832"/>
                    <a:pt x="52" y="832"/>
                    <a:pt x="52" y="832"/>
                  </a:cubicBezTo>
                  <a:cubicBezTo>
                    <a:pt x="23" y="832"/>
                    <a:pt x="0" y="808"/>
                    <a:pt x="0" y="779"/>
                  </a:cubicBezTo>
                  <a:cubicBezTo>
                    <a:pt x="0" y="52"/>
                    <a:pt x="0" y="52"/>
                    <a:pt x="0" y="52"/>
                  </a:cubicBezTo>
                  <a:cubicBezTo>
                    <a:pt x="0" y="23"/>
                    <a:pt x="23" y="0"/>
                    <a:pt x="52" y="0"/>
                  </a:cubicBezTo>
                  <a:cubicBezTo>
                    <a:pt x="511" y="0"/>
                    <a:pt x="511" y="0"/>
                    <a:pt x="511" y="0"/>
                  </a:cubicBezTo>
                  <a:cubicBezTo>
                    <a:pt x="540" y="0"/>
                    <a:pt x="563" y="23"/>
                    <a:pt x="563" y="52"/>
                  </a:cubicBezTo>
                  <a:cubicBezTo>
                    <a:pt x="563" y="779"/>
                    <a:pt x="563" y="779"/>
                    <a:pt x="563" y="779"/>
                  </a:cubicBezTo>
                  <a:cubicBezTo>
                    <a:pt x="563" y="808"/>
                    <a:pt x="540" y="832"/>
                    <a:pt x="511" y="832"/>
                  </a:cubicBezTo>
                  <a:close/>
                  <a:moveTo>
                    <a:pt x="52" y="9"/>
                  </a:moveTo>
                  <a:cubicBezTo>
                    <a:pt x="28" y="9"/>
                    <a:pt x="9" y="28"/>
                    <a:pt x="9" y="52"/>
                  </a:cubicBezTo>
                  <a:cubicBezTo>
                    <a:pt x="9" y="779"/>
                    <a:pt x="9" y="779"/>
                    <a:pt x="9" y="779"/>
                  </a:cubicBezTo>
                  <a:cubicBezTo>
                    <a:pt x="9" y="803"/>
                    <a:pt x="28" y="823"/>
                    <a:pt x="52" y="823"/>
                  </a:cubicBezTo>
                  <a:cubicBezTo>
                    <a:pt x="511" y="823"/>
                    <a:pt x="511" y="823"/>
                    <a:pt x="511" y="823"/>
                  </a:cubicBezTo>
                  <a:cubicBezTo>
                    <a:pt x="535" y="823"/>
                    <a:pt x="554" y="803"/>
                    <a:pt x="554" y="779"/>
                  </a:cubicBezTo>
                  <a:cubicBezTo>
                    <a:pt x="554" y="52"/>
                    <a:pt x="554" y="52"/>
                    <a:pt x="554" y="52"/>
                  </a:cubicBezTo>
                  <a:cubicBezTo>
                    <a:pt x="554" y="28"/>
                    <a:pt x="535" y="9"/>
                    <a:pt x="511" y="9"/>
                  </a:cubicBezTo>
                  <a:lnTo>
                    <a:pt x="52" y="9"/>
                  </a:lnTo>
                  <a:close/>
                </a:path>
              </a:pathLst>
            </a:custGeom>
            <a:solidFill>
              <a:srgbClr val="2C16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7" name="Freeform 8">
              <a:extLst>
                <a:ext uri="{FF2B5EF4-FFF2-40B4-BE49-F238E27FC236}">
                  <a16:creationId xmlns:a16="http://schemas.microsoft.com/office/drawing/2014/main" id="{FE3C1198-B906-4185-A45A-C1E01D01DC01}"/>
                </a:ext>
              </a:extLst>
            </p:cNvPr>
            <p:cNvSpPr>
              <a:spLocks/>
            </p:cNvSpPr>
            <p:nvPr/>
          </p:nvSpPr>
          <p:spPr bwMode="auto">
            <a:xfrm>
              <a:off x="5129213" y="1987551"/>
              <a:ext cx="2030413" cy="3060700"/>
            </a:xfrm>
            <a:custGeom>
              <a:avLst/>
              <a:gdLst>
                <a:gd name="T0" fmla="*/ 0 w 489"/>
                <a:gd name="T1" fmla="*/ 701 h 737"/>
                <a:gd name="T2" fmla="*/ 0 w 489"/>
                <a:gd name="T3" fmla="*/ 36 h 737"/>
                <a:gd name="T4" fmla="*/ 36 w 489"/>
                <a:gd name="T5" fmla="*/ 0 h 737"/>
                <a:gd name="T6" fmla="*/ 453 w 489"/>
                <a:gd name="T7" fmla="*/ 0 h 737"/>
                <a:gd name="T8" fmla="*/ 489 w 489"/>
                <a:gd name="T9" fmla="*/ 36 h 737"/>
                <a:gd name="T10" fmla="*/ 489 w 489"/>
                <a:gd name="T11" fmla="*/ 701 h 737"/>
                <a:gd name="T12" fmla="*/ 453 w 489"/>
                <a:gd name="T13" fmla="*/ 737 h 737"/>
                <a:gd name="T14" fmla="*/ 36 w 489"/>
                <a:gd name="T15" fmla="*/ 737 h 737"/>
                <a:gd name="T16" fmla="*/ 0 w 489"/>
                <a:gd name="T17" fmla="*/ 701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9" h="737">
                  <a:moveTo>
                    <a:pt x="0" y="701"/>
                  </a:moveTo>
                  <a:cubicBezTo>
                    <a:pt x="0" y="36"/>
                    <a:pt x="0" y="36"/>
                    <a:pt x="0" y="36"/>
                  </a:cubicBezTo>
                  <a:cubicBezTo>
                    <a:pt x="0" y="16"/>
                    <a:pt x="16" y="0"/>
                    <a:pt x="36" y="0"/>
                  </a:cubicBezTo>
                  <a:cubicBezTo>
                    <a:pt x="453" y="0"/>
                    <a:pt x="453" y="0"/>
                    <a:pt x="453" y="0"/>
                  </a:cubicBezTo>
                  <a:cubicBezTo>
                    <a:pt x="473" y="0"/>
                    <a:pt x="489" y="16"/>
                    <a:pt x="489" y="36"/>
                  </a:cubicBezTo>
                  <a:cubicBezTo>
                    <a:pt x="489" y="701"/>
                    <a:pt x="489" y="701"/>
                    <a:pt x="489" y="701"/>
                  </a:cubicBezTo>
                  <a:cubicBezTo>
                    <a:pt x="489" y="721"/>
                    <a:pt x="473" y="737"/>
                    <a:pt x="453" y="737"/>
                  </a:cubicBezTo>
                  <a:cubicBezTo>
                    <a:pt x="36" y="737"/>
                    <a:pt x="36" y="737"/>
                    <a:pt x="36" y="737"/>
                  </a:cubicBezTo>
                  <a:cubicBezTo>
                    <a:pt x="16" y="737"/>
                    <a:pt x="0" y="721"/>
                    <a:pt x="0" y="701"/>
                  </a:cubicBezTo>
                  <a:close/>
                </a:path>
              </a:pathLst>
            </a:custGeom>
            <a:solidFill>
              <a:srgbClr val="C2DD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8" name="Freeform 9">
              <a:extLst>
                <a:ext uri="{FF2B5EF4-FFF2-40B4-BE49-F238E27FC236}">
                  <a16:creationId xmlns:a16="http://schemas.microsoft.com/office/drawing/2014/main" id="{39D172E1-5F83-4222-B98D-636B2DBDE6D1}"/>
                </a:ext>
              </a:extLst>
            </p:cNvPr>
            <p:cNvSpPr>
              <a:spLocks/>
            </p:cNvSpPr>
            <p:nvPr/>
          </p:nvSpPr>
          <p:spPr bwMode="auto">
            <a:xfrm>
              <a:off x="5129213" y="2046288"/>
              <a:ext cx="1935163" cy="2886075"/>
            </a:xfrm>
            <a:custGeom>
              <a:avLst/>
              <a:gdLst>
                <a:gd name="T0" fmla="*/ 0 w 466"/>
                <a:gd name="T1" fmla="*/ 660 h 695"/>
                <a:gd name="T2" fmla="*/ 0 w 466"/>
                <a:gd name="T3" fmla="*/ 34 h 695"/>
                <a:gd name="T4" fmla="*/ 35 w 466"/>
                <a:gd name="T5" fmla="*/ 0 h 695"/>
                <a:gd name="T6" fmla="*/ 432 w 466"/>
                <a:gd name="T7" fmla="*/ 0 h 695"/>
                <a:gd name="T8" fmla="*/ 466 w 466"/>
                <a:gd name="T9" fmla="*/ 34 h 695"/>
                <a:gd name="T10" fmla="*/ 466 w 466"/>
                <a:gd name="T11" fmla="*/ 660 h 695"/>
                <a:gd name="T12" fmla="*/ 432 w 466"/>
                <a:gd name="T13" fmla="*/ 695 h 695"/>
                <a:gd name="T14" fmla="*/ 35 w 466"/>
                <a:gd name="T15" fmla="*/ 695 h 695"/>
                <a:gd name="T16" fmla="*/ 0 w 466"/>
                <a:gd name="T17" fmla="*/ 660 h 6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6" h="695">
                  <a:moveTo>
                    <a:pt x="0" y="660"/>
                  </a:moveTo>
                  <a:cubicBezTo>
                    <a:pt x="0" y="34"/>
                    <a:pt x="0" y="34"/>
                    <a:pt x="0" y="34"/>
                  </a:cubicBezTo>
                  <a:cubicBezTo>
                    <a:pt x="0" y="16"/>
                    <a:pt x="16" y="0"/>
                    <a:pt x="35" y="0"/>
                  </a:cubicBezTo>
                  <a:cubicBezTo>
                    <a:pt x="432" y="0"/>
                    <a:pt x="432" y="0"/>
                    <a:pt x="432" y="0"/>
                  </a:cubicBezTo>
                  <a:cubicBezTo>
                    <a:pt x="451" y="0"/>
                    <a:pt x="466" y="16"/>
                    <a:pt x="466" y="34"/>
                  </a:cubicBezTo>
                  <a:cubicBezTo>
                    <a:pt x="466" y="660"/>
                    <a:pt x="466" y="660"/>
                    <a:pt x="466" y="660"/>
                  </a:cubicBezTo>
                  <a:cubicBezTo>
                    <a:pt x="466" y="679"/>
                    <a:pt x="451" y="695"/>
                    <a:pt x="432" y="695"/>
                  </a:cubicBezTo>
                  <a:cubicBezTo>
                    <a:pt x="35" y="695"/>
                    <a:pt x="35" y="695"/>
                    <a:pt x="35" y="695"/>
                  </a:cubicBezTo>
                  <a:cubicBezTo>
                    <a:pt x="16" y="695"/>
                    <a:pt x="0" y="679"/>
                    <a:pt x="0" y="66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9" name="Freeform 10">
              <a:extLst>
                <a:ext uri="{FF2B5EF4-FFF2-40B4-BE49-F238E27FC236}">
                  <a16:creationId xmlns:a16="http://schemas.microsoft.com/office/drawing/2014/main" id="{9C7F7604-F077-45E1-8530-E7172E5EDAD7}"/>
                </a:ext>
              </a:extLst>
            </p:cNvPr>
            <p:cNvSpPr>
              <a:spLocks noEditPoints="1"/>
            </p:cNvSpPr>
            <p:nvPr/>
          </p:nvSpPr>
          <p:spPr bwMode="auto">
            <a:xfrm>
              <a:off x="5106988" y="1962151"/>
              <a:ext cx="2073275" cy="3111500"/>
            </a:xfrm>
            <a:custGeom>
              <a:avLst/>
              <a:gdLst>
                <a:gd name="T0" fmla="*/ 458 w 499"/>
                <a:gd name="T1" fmla="*/ 749 h 749"/>
                <a:gd name="T2" fmla="*/ 41 w 499"/>
                <a:gd name="T3" fmla="*/ 749 h 749"/>
                <a:gd name="T4" fmla="*/ 0 w 499"/>
                <a:gd name="T5" fmla="*/ 707 h 749"/>
                <a:gd name="T6" fmla="*/ 0 w 499"/>
                <a:gd name="T7" fmla="*/ 42 h 749"/>
                <a:gd name="T8" fmla="*/ 41 w 499"/>
                <a:gd name="T9" fmla="*/ 0 h 749"/>
                <a:gd name="T10" fmla="*/ 458 w 499"/>
                <a:gd name="T11" fmla="*/ 0 h 749"/>
                <a:gd name="T12" fmla="*/ 499 w 499"/>
                <a:gd name="T13" fmla="*/ 42 h 749"/>
                <a:gd name="T14" fmla="*/ 499 w 499"/>
                <a:gd name="T15" fmla="*/ 707 h 749"/>
                <a:gd name="T16" fmla="*/ 458 w 499"/>
                <a:gd name="T17" fmla="*/ 749 h 749"/>
                <a:gd name="T18" fmla="*/ 41 w 499"/>
                <a:gd name="T19" fmla="*/ 11 h 749"/>
                <a:gd name="T20" fmla="*/ 11 w 499"/>
                <a:gd name="T21" fmla="*/ 42 h 749"/>
                <a:gd name="T22" fmla="*/ 11 w 499"/>
                <a:gd name="T23" fmla="*/ 707 h 749"/>
                <a:gd name="T24" fmla="*/ 41 w 499"/>
                <a:gd name="T25" fmla="*/ 738 h 749"/>
                <a:gd name="T26" fmla="*/ 458 w 499"/>
                <a:gd name="T27" fmla="*/ 738 h 749"/>
                <a:gd name="T28" fmla="*/ 488 w 499"/>
                <a:gd name="T29" fmla="*/ 707 h 749"/>
                <a:gd name="T30" fmla="*/ 488 w 499"/>
                <a:gd name="T31" fmla="*/ 42 h 749"/>
                <a:gd name="T32" fmla="*/ 458 w 499"/>
                <a:gd name="T33" fmla="*/ 11 h 749"/>
                <a:gd name="T34" fmla="*/ 41 w 499"/>
                <a:gd name="T35" fmla="*/ 11 h 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99" h="749">
                  <a:moveTo>
                    <a:pt x="458" y="749"/>
                  </a:moveTo>
                  <a:cubicBezTo>
                    <a:pt x="41" y="749"/>
                    <a:pt x="41" y="749"/>
                    <a:pt x="41" y="749"/>
                  </a:cubicBezTo>
                  <a:cubicBezTo>
                    <a:pt x="18" y="749"/>
                    <a:pt x="0" y="730"/>
                    <a:pt x="0" y="707"/>
                  </a:cubicBezTo>
                  <a:cubicBezTo>
                    <a:pt x="0" y="42"/>
                    <a:pt x="0" y="42"/>
                    <a:pt x="0" y="42"/>
                  </a:cubicBezTo>
                  <a:cubicBezTo>
                    <a:pt x="0" y="19"/>
                    <a:pt x="18" y="0"/>
                    <a:pt x="41" y="0"/>
                  </a:cubicBezTo>
                  <a:cubicBezTo>
                    <a:pt x="458" y="0"/>
                    <a:pt x="458" y="0"/>
                    <a:pt x="458" y="0"/>
                  </a:cubicBezTo>
                  <a:cubicBezTo>
                    <a:pt x="481" y="0"/>
                    <a:pt x="499" y="19"/>
                    <a:pt x="499" y="42"/>
                  </a:cubicBezTo>
                  <a:cubicBezTo>
                    <a:pt x="499" y="707"/>
                    <a:pt x="499" y="707"/>
                    <a:pt x="499" y="707"/>
                  </a:cubicBezTo>
                  <a:cubicBezTo>
                    <a:pt x="499" y="730"/>
                    <a:pt x="481" y="749"/>
                    <a:pt x="458" y="749"/>
                  </a:cubicBezTo>
                  <a:close/>
                  <a:moveTo>
                    <a:pt x="41" y="11"/>
                  </a:moveTo>
                  <a:cubicBezTo>
                    <a:pt x="25" y="11"/>
                    <a:pt x="11" y="25"/>
                    <a:pt x="11" y="42"/>
                  </a:cubicBezTo>
                  <a:cubicBezTo>
                    <a:pt x="11" y="707"/>
                    <a:pt x="11" y="707"/>
                    <a:pt x="11" y="707"/>
                  </a:cubicBezTo>
                  <a:cubicBezTo>
                    <a:pt x="11" y="724"/>
                    <a:pt x="25" y="738"/>
                    <a:pt x="41" y="738"/>
                  </a:cubicBezTo>
                  <a:cubicBezTo>
                    <a:pt x="458" y="738"/>
                    <a:pt x="458" y="738"/>
                    <a:pt x="458" y="738"/>
                  </a:cubicBezTo>
                  <a:cubicBezTo>
                    <a:pt x="474" y="738"/>
                    <a:pt x="488" y="724"/>
                    <a:pt x="488" y="707"/>
                  </a:cubicBezTo>
                  <a:cubicBezTo>
                    <a:pt x="488" y="42"/>
                    <a:pt x="488" y="42"/>
                    <a:pt x="488" y="42"/>
                  </a:cubicBezTo>
                  <a:cubicBezTo>
                    <a:pt x="488" y="25"/>
                    <a:pt x="474" y="11"/>
                    <a:pt x="458" y="11"/>
                  </a:cubicBezTo>
                  <a:lnTo>
                    <a:pt x="41" y="11"/>
                  </a:lnTo>
                  <a:close/>
                </a:path>
              </a:pathLst>
            </a:custGeom>
            <a:solidFill>
              <a:srgbClr val="2C16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0" name="Freeform 11">
              <a:extLst>
                <a:ext uri="{FF2B5EF4-FFF2-40B4-BE49-F238E27FC236}">
                  <a16:creationId xmlns:a16="http://schemas.microsoft.com/office/drawing/2014/main" id="{FC7A67B6-A7C3-4208-BC66-AFB90A42AB35}"/>
                </a:ext>
              </a:extLst>
            </p:cNvPr>
            <p:cNvSpPr>
              <a:spLocks/>
            </p:cNvSpPr>
            <p:nvPr/>
          </p:nvSpPr>
          <p:spPr bwMode="auto">
            <a:xfrm>
              <a:off x="5929313" y="5127626"/>
              <a:ext cx="428625" cy="82550"/>
            </a:xfrm>
            <a:custGeom>
              <a:avLst/>
              <a:gdLst>
                <a:gd name="T0" fmla="*/ 0 w 103"/>
                <a:gd name="T1" fmla="*/ 10 h 20"/>
                <a:gd name="T2" fmla="*/ 10 w 103"/>
                <a:gd name="T3" fmla="*/ 0 h 20"/>
                <a:gd name="T4" fmla="*/ 93 w 103"/>
                <a:gd name="T5" fmla="*/ 0 h 20"/>
                <a:gd name="T6" fmla="*/ 103 w 103"/>
                <a:gd name="T7" fmla="*/ 10 h 20"/>
                <a:gd name="T8" fmla="*/ 93 w 103"/>
                <a:gd name="T9" fmla="*/ 20 h 20"/>
                <a:gd name="T10" fmla="*/ 10 w 103"/>
                <a:gd name="T11" fmla="*/ 20 h 20"/>
                <a:gd name="T12" fmla="*/ 0 w 103"/>
                <a:gd name="T13" fmla="*/ 10 h 20"/>
              </a:gdLst>
              <a:ahLst/>
              <a:cxnLst>
                <a:cxn ang="0">
                  <a:pos x="T0" y="T1"/>
                </a:cxn>
                <a:cxn ang="0">
                  <a:pos x="T2" y="T3"/>
                </a:cxn>
                <a:cxn ang="0">
                  <a:pos x="T4" y="T5"/>
                </a:cxn>
                <a:cxn ang="0">
                  <a:pos x="T6" y="T7"/>
                </a:cxn>
                <a:cxn ang="0">
                  <a:pos x="T8" y="T9"/>
                </a:cxn>
                <a:cxn ang="0">
                  <a:pos x="T10" y="T11"/>
                </a:cxn>
                <a:cxn ang="0">
                  <a:pos x="T12" y="T13"/>
                </a:cxn>
              </a:cxnLst>
              <a:rect l="0" t="0" r="r" b="b"/>
              <a:pathLst>
                <a:path w="103" h="20">
                  <a:moveTo>
                    <a:pt x="0" y="10"/>
                  </a:moveTo>
                  <a:cubicBezTo>
                    <a:pt x="0" y="4"/>
                    <a:pt x="4" y="0"/>
                    <a:pt x="10" y="0"/>
                  </a:cubicBezTo>
                  <a:cubicBezTo>
                    <a:pt x="93" y="0"/>
                    <a:pt x="93" y="0"/>
                    <a:pt x="93" y="0"/>
                  </a:cubicBezTo>
                  <a:cubicBezTo>
                    <a:pt x="99" y="0"/>
                    <a:pt x="103" y="4"/>
                    <a:pt x="103" y="10"/>
                  </a:cubicBezTo>
                  <a:cubicBezTo>
                    <a:pt x="103" y="15"/>
                    <a:pt x="99" y="20"/>
                    <a:pt x="93" y="20"/>
                  </a:cubicBezTo>
                  <a:cubicBezTo>
                    <a:pt x="10" y="20"/>
                    <a:pt x="10" y="20"/>
                    <a:pt x="10" y="20"/>
                  </a:cubicBezTo>
                  <a:cubicBezTo>
                    <a:pt x="4" y="20"/>
                    <a:pt x="0" y="15"/>
                    <a:pt x="0" y="10"/>
                  </a:cubicBezTo>
                  <a:close/>
                </a:path>
              </a:pathLst>
            </a:custGeom>
            <a:solidFill>
              <a:srgbClr val="C2DD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1" name="Freeform 12">
              <a:extLst>
                <a:ext uri="{FF2B5EF4-FFF2-40B4-BE49-F238E27FC236}">
                  <a16:creationId xmlns:a16="http://schemas.microsoft.com/office/drawing/2014/main" id="{75628BDA-CA1F-4443-B774-D5ABD880AC1A}"/>
                </a:ext>
              </a:extLst>
            </p:cNvPr>
            <p:cNvSpPr>
              <a:spLocks noEditPoints="1"/>
            </p:cNvSpPr>
            <p:nvPr/>
          </p:nvSpPr>
          <p:spPr bwMode="auto">
            <a:xfrm>
              <a:off x="5892801" y="5106988"/>
              <a:ext cx="485775" cy="120650"/>
            </a:xfrm>
            <a:custGeom>
              <a:avLst/>
              <a:gdLst>
                <a:gd name="T0" fmla="*/ 102 w 117"/>
                <a:gd name="T1" fmla="*/ 29 h 29"/>
                <a:gd name="T2" fmla="*/ 19 w 117"/>
                <a:gd name="T3" fmla="*/ 29 h 29"/>
                <a:gd name="T4" fmla="*/ 19 w 117"/>
                <a:gd name="T5" fmla="*/ 0 h 29"/>
                <a:gd name="T6" fmla="*/ 102 w 117"/>
                <a:gd name="T7" fmla="*/ 0 h 29"/>
                <a:gd name="T8" fmla="*/ 117 w 117"/>
                <a:gd name="T9" fmla="*/ 15 h 29"/>
                <a:gd name="T10" fmla="*/ 102 w 117"/>
                <a:gd name="T11" fmla="*/ 29 h 29"/>
                <a:gd name="T12" fmla="*/ 19 w 117"/>
                <a:gd name="T13" fmla="*/ 9 h 29"/>
                <a:gd name="T14" fmla="*/ 19 w 117"/>
                <a:gd name="T15" fmla="*/ 20 h 29"/>
                <a:gd name="T16" fmla="*/ 102 w 117"/>
                <a:gd name="T17" fmla="*/ 20 h 29"/>
                <a:gd name="T18" fmla="*/ 102 w 117"/>
                <a:gd name="T19" fmla="*/ 9 h 29"/>
                <a:gd name="T20" fmla="*/ 19 w 117"/>
                <a:gd name="T21" fmla="*/ 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7" h="29">
                  <a:moveTo>
                    <a:pt x="102" y="29"/>
                  </a:moveTo>
                  <a:cubicBezTo>
                    <a:pt x="19" y="29"/>
                    <a:pt x="19" y="29"/>
                    <a:pt x="19" y="29"/>
                  </a:cubicBezTo>
                  <a:cubicBezTo>
                    <a:pt x="0" y="29"/>
                    <a:pt x="0" y="0"/>
                    <a:pt x="19" y="0"/>
                  </a:cubicBezTo>
                  <a:cubicBezTo>
                    <a:pt x="19" y="0"/>
                    <a:pt x="102" y="0"/>
                    <a:pt x="102" y="0"/>
                  </a:cubicBezTo>
                  <a:cubicBezTo>
                    <a:pt x="110" y="0"/>
                    <a:pt x="117" y="7"/>
                    <a:pt x="117" y="15"/>
                  </a:cubicBezTo>
                  <a:cubicBezTo>
                    <a:pt x="117" y="23"/>
                    <a:pt x="110" y="29"/>
                    <a:pt x="102" y="29"/>
                  </a:cubicBezTo>
                  <a:close/>
                  <a:moveTo>
                    <a:pt x="19" y="9"/>
                  </a:moveTo>
                  <a:cubicBezTo>
                    <a:pt x="12" y="9"/>
                    <a:pt x="12" y="21"/>
                    <a:pt x="19" y="20"/>
                  </a:cubicBezTo>
                  <a:cubicBezTo>
                    <a:pt x="19" y="20"/>
                    <a:pt x="102" y="20"/>
                    <a:pt x="102" y="20"/>
                  </a:cubicBezTo>
                  <a:cubicBezTo>
                    <a:pt x="109" y="21"/>
                    <a:pt x="109" y="9"/>
                    <a:pt x="102" y="9"/>
                  </a:cubicBezTo>
                  <a:cubicBezTo>
                    <a:pt x="102" y="9"/>
                    <a:pt x="19" y="9"/>
                    <a:pt x="19" y="9"/>
                  </a:cubicBezTo>
                  <a:close/>
                </a:path>
              </a:pathLst>
            </a:custGeom>
            <a:solidFill>
              <a:srgbClr val="2C16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2" name="Freeform 13">
              <a:extLst>
                <a:ext uri="{FF2B5EF4-FFF2-40B4-BE49-F238E27FC236}">
                  <a16:creationId xmlns:a16="http://schemas.microsoft.com/office/drawing/2014/main" id="{D8793F08-9570-48C6-B3B1-81CB05AC274C}"/>
                </a:ext>
              </a:extLst>
            </p:cNvPr>
            <p:cNvSpPr>
              <a:spLocks/>
            </p:cNvSpPr>
            <p:nvPr/>
          </p:nvSpPr>
          <p:spPr bwMode="auto">
            <a:xfrm>
              <a:off x="6789738" y="3790951"/>
              <a:ext cx="676275" cy="904875"/>
            </a:xfrm>
            <a:custGeom>
              <a:avLst/>
              <a:gdLst>
                <a:gd name="T0" fmla="*/ 163 w 163"/>
                <a:gd name="T1" fmla="*/ 111 h 218"/>
                <a:gd name="T2" fmla="*/ 0 w 163"/>
                <a:gd name="T3" fmla="*/ 108 h 218"/>
                <a:gd name="T4" fmla="*/ 163 w 163"/>
                <a:gd name="T5" fmla="*/ 111 h 218"/>
              </a:gdLst>
              <a:ahLst/>
              <a:cxnLst>
                <a:cxn ang="0">
                  <a:pos x="T0" y="T1"/>
                </a:cxn>
                <a:cxn ang="0">
                  <a:pos x="T2" y="T3"/>
                </a:cxn>
                <a:cxn ang="0">
                  <a:pos x="T4" y="T5"/>
                </a:cxn>
              </a:cxnLst>
              <a:rect l="0" t="0" r="r" b="b"/>
              <a:pathLst>
                <a:path w="163" h="218">
                  <a:moveTo>
                    <a:pt x="163" y="111"/>
                  </a:moveTo>
                  <a:cubicBezTo>
                    <a:pt x="160" y="218"/>
                    <a:pt x="0" y="215"/>
                    <a:pt x="0" y="108"/>
                  </a:cubicBezTo>
                  <a:cubicBezTo>
                    <a:pt x="3" y="0"/>
                    <a:pt x="163" y="3"/>
                    <a:pt x="163" y="111"/>
                  </a:cubicBezTo>
                  <a:close/>
                </a:path>
              </a:pathLst>
            </a:custGeom>
            <a:solidFill>
              <a:srgbClr val="A2CC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3" name="Freeform 14">
              <a:extLst>
                <a:ext uri="{FF2B5EF4-FFF2-40B4-BE49-F238E27FC236}">
                  <a16:creationId xmlns:a16="http://schemas.microsoft.com/office/drawing/2014/main" id="{A73A0BF0-1F5C-484F-A993-321FBF4FCCE3}"/>
                </a:ext>
              </a:extLst>
            </p:cNvPr>
            <p:cNvSpPr>
              <a:spLocks/>
            </p:cNvSpPr>
            <p:nvPr/>
          </p:nvSpPr>
          <p:spPr bwMode="auto">
            <a:xfrm>
              <a:off x="7308851" y="4405313"/>
              <a:ext cx="377825" cy="385763"/>
            </a:xfrm>
            <a:custGeom>
              <a:avLst/>
              <a:gdLst>
                <a:gd name="T0" fmla="*/ 178 w 238"/>
                <a:gd name="T1" fmla="*/ 243 h 243"/>
                <a:gd name="T2" fmla="*/ 238 w 238"/>
                <a:gd name="T3" fmla="*/ 183 h 243"/>
                <a:gd name="T4" fmla="*/ 60 w 238"/>
                <a:gd name="T5" fmla="*/ 0 h 243"/>
                <a:gd name="T6" fmla="*/ 0 w 238"/>
                <a:gd name="T7" fmla="*/ 60 h 243"/>
                <a:gd name="T8" fmla="*/ 178 w 238"/>
                <a:gd name="T9" fmla="*/ 243 h 243"/>
              </a:gdLst>
              <a:ahLst/>
              <a:cxnLst>
                <a:cxn ang="0">
                  <a:pos x="T0" y="T1"/>
                </a:cxn>
                <a:cxn ang="0">
                  <a:pos x="T2" y="T3"/>
                </a:cxn>
                <a:cxn ang="0">
                  <a:pos x="T4" y="T5"/>
                </a:cxn>
                <a:cxn ang="0">
                  <a:pos x="T6" y="T7"/>
                </a:cxn>
                <a:cxn ang="0">
                  <a:pos x="T8" y="T9"/>
                </a:cxn>
              </a:cxnLst>
              <a:rect l="0" t="0" r="r" b="b"/>
              <a:pathLst>
                <a:path w="238" h="243">
                  <a:moveTo>
                    <a:pt x="178" y="243"/>
                  </a:moveTo>
                  <a:lnTo>
                    <a:pt x="238" y="183"/>
                  </a:lnTo>
                  <a:lnTo>
                    <a:pt x="60" y="0"/>
                  </a:lnTo>
                  <a:lnTo>
                    <a:pt x="0" y="60"/>
                  </a:lnTo>
                  <a:lnTo>
                    <a:pt x="178" y="243"/>
                  </a:lnTo>
                  <a:close/>
                </a:path>
              </a:pathLst>
            </a:custGeom>
            <a:solidFill>
              <a:srgbClr val="D9E2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4" name="Freeform 15">
              <a:extLst>
                <a:ext uri="{FF2B5EF4-FFF2-40B4-BE49-F238E27FC236}">
                  <a16:creationId xmlns:a16="http://schemas.microsoft.com/office/drawing/2014/main" id="{B17B7CE5-9597-4255-AB82-B141C0945104}"/>
                </a:ext>
              </a:extLst>
            </p:cNvPr>
            <p:cNvSpPr>
              <a:spLocks noEditPoints="1"/>
            </p:cNvSpPr>
            <p:nvPr/>
          </p:nvSpPr>
          <p:spPr bwMode="auto">
            <a:xfrm>
              <a:off x="7288213" y="4384676"/>
              <a:ext cx="427038" cy="422275"/>
            </a:xfrm>
            <a:custGeom>
              <a:avLst/>
              <a:gdLst>
                <a:gd name="T0" fmla="*/ 73 w 103"/>
                <a:gd name="T1" fmla="*/ 102 h 102"/>
                <a:gd name="T2" fmla="*/ 69 w 103"/>
                <a:gd name="T3" fmla="*/ 101 h 102"/>
                <a:gd name="T4" fmla="*/ 1 w 103"/>
                <a:gd name="T5" fmla="*/ 31 h 102"/>
                <a:gd name="T6" fmla="*/ 2 w 103"/>
                <a:gd name="T7" fmla="*/ 24 h 102"/>
                <a:gd name="T8" fmla="*/ 25 w 103"/>
                <a:gd name="T9" fmla="*/ 1 h 102"/>
                <a:gd name="T10" fmla="*/ 32 w 103"/>
                <a:gd name="T11" fmla="*/ 2 h 102"/>
                <a:gd name="T12" fmla="*/ 100 w 103"/>
                <a:gd name="T13" fmla="*/ 72 h 102"/>
                <a:gd name="T14" fmla="*/ 101 w 103"/>
                <a:gd name="T15" fmla="*/ 75 h 102"/>
                <a:gd name="T16" fmla="*/ 76 w 103"/>
                <a:gd name="T17" fmla="*/ 101 h 102"/>
                <a:gd name="T18" fmla="*/ 73 w 103"/>
                <a:gd name="T19" fmla="*/ 102 h 102"/>
                <a:gd name="T20" fmla="*/ 11 w 103"/>
                <a:gd name="T21" fmla="*/ 28 h 102"/>
                <a:gd name="T22" fmla="*/ 73 w 103"/>
                <a:gd name="T23" fmla="*/ 92 h 102"/>
                <a:gd name="T24" fmla="*/ 90 w 103"/>
                <a:gd name="T25" fmla="*/ 75 h 102"/>
                <a:gd name="T26" fmla="*/ 28 w 103"/>
                <a:gd name="T27" fmla="*/ 11 h 102"/>
                <a:gd name="T28" fmla="*/ 11 w 103"/>
                <a:gd name="T29" fmla="*/ 28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3" h="102">
                  <a:moveTo>
                    <a:pt x="73" y="102"/>
                  </a:moveTo>
                  <a:cubicBezTo>
                    <a:pt x="72" y="102"/>
                    <a:pt x="70" y="102"/>
                    <a:pt x="69" y="101"/>
                  </a:cubicBezTo>
                  <a:cubicBezTo>
                    <a:pt x="1" y="31"/>
                    <a:pt x="1" y="31"/>
                    <a:pt x="1" y="31"/>
                  </a:cubicBezTo>
                  <a:cubicBezTo>
                    <a:pt x="0" y="29"/>
                    <a:pt x="0" y="26"/>
                    <a:pt x="2" y="24"/>
                  </a:cubicBezTo>
                  <a:cubicBezTo>
                    <a:pt x="25" y="1"/>
                    <a:pt x="25" y="1"/>
                    <a:pt x="25" y="1"/>
                  </a:cubicBezTo>
                  <a:cubicBezTo>
                    <a:pt x="27" y="0"/>
                    <a:pt x="30" y="0"/>
                    <a:pt x="32" y="2"/>
                  </a:cubicBezTo>
                  <a:cubicBezTo>
                    <a:pt x="100" y="72"/>
                    <a:pt x="100" y="72"/>
                    <a:pt x="100" y="72"/>
                  </a:cubicBezTo>
                  <a:cubicBezTo>
                    <a:pt x="100" y="73"/>
                    <a:pt x="101" y="74"/>
                    <a:pt x="101" y="75"/>
                  </a:cubicBezTo>
                  <a:cubicBezTo>
                    <a:pt x="103" y="77"/>
                    <a:pt x="77" y="100"/>
                    <a:pt x="76" y="101"/>
                  </a:cubicBezTo>
                  <a:cubicBezTo>
                    <a:pt x="75" y="102"/>
                    <a:pt x="74" y="102"/>
                    <a:pt x="73" y="102"/>
                  </a:cubicBezTo>
                  <a:close/>
                  <a:moveTo>
                    <a:pt x="11" y="28"/>
                  </a:moveTo>
                  <a:cubicBezTo>
                    <a:pt x="73" y="92"/>
                    <a:pt x="73" y="92"/>
                    <a:pt x="73" y="92"/>
                  </a:cubicBezTo>
                  <a:cubicBezTo>
                    <a:pt x="90" y="75"/>
                    <a:pt x="90" y="75"/>
                    <a:pt x="90" y="75"/>
                  </a:cubicBezTo>
                  <a:cubicBezTo>
                    <a:pt x="28" y="11"/>
                    <a:pt x="28" y="11"/>
                    <a:pt x="28" y="11"/>
                  </a:cubicBezTo>
                  <a:lnTo>
                    <a:pt x="11" y="28"/>
                  </a:lnTo>
                  <a:close/>
                </a:path>
              </a:pathLst>
            </a:custGeom>
            <a:solidFill>
              <a:srgbClr val="2C16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5" name="Freeform 16">
              <a:extLst>
                <a:ext uri="{FF2B5EF4-FFF2-40B4-BE49-F238E27FC236}">
                  <a16:creationId xmlns:a16="http://schemas.microsoft.com/office/drawing/2014/main" id="{51976906-F129-4E3A-8BF6-E2391EA1393E}"/>
                </a:ext>
              </a:extLst>
            </p:cNvPr>
            <p:cNvSpPr>
              <a:spLocks/>
            </p:cNvSpPr>
            <p:nvPr/>
          </p:nvSpPr>
          <p:spPr bwMode="auto">
            <a:xfrm>
              <a:off x="7483476" y="4587876"/>
              <a:ext cx="568325" cy="576263"/>
            </a:xfrm>
            <a:custGeom>
              <a:avLst/>
              <a:gdLst>
                <a:gd name="T0" fmla="*/ 126 w 137"/>
                <a:gd name="T1" fmla="*/ 129 h 139"/>
                <a:gd name="T2" fmla="*/ 126 w 137"/>
                <a:gd name="T3" fmla="*/ 129 h 139"/>
                <a:gd name="T4" fmla="*/ 127 w 137"/>
                <a:gd name="T5" fmla="*/ 91 h 139"/>
                <a:gd name="T6" fmla="*/ 39 w 137"/>
                <a:gd name="T7" fmla="*/ 0 h 139"/>
                <a:gd name="T8" fmla="*/ 0 w 137"/>
                <a:gd name="T9" fmla="*/ 38 h 139"/>
                <a:gd name="T10" fmla="*/ 88 w 137"/>
                <a:gd name="T11" fmla="*/ 128 h 139"/>
                <a:gd name="T12" fmla="*/ 126 w 137"/>
                <a:gd name="T13" fmla="*/ 129 h 139"/>
              </a:gdLst>
              <a:ahLst/>
              <a:cxnLst>
                <a:cxn ang="0">
                  <a:pos x="T0" y="T1"/>
                </a:cxn>
                <a:cxn ang="0">
                  <a:pos x="T2" y="T3"/>
                </a:cxn>
                <a:cxn ang="0">
                  <a:pos x="T4" y="T5"/>
                </a:cxn>
                <a:cxn ang="0">
                  <a:pos x="T6" y="T7"/>
                </a:cxn>
                <a:cxn ang="0">
                  <a:pos x="T8" y="T9"/>
                </a:cxn>
                <a:cxn ang="0">
                  <a:pos x="T10" y="T11"/>
                </a:cxn>
                <a:cxn ang="0">
                  <a:pos x="T12" y="T13"/>
                </a:cxn>
              </a:cxnLst>
              <a:rect l="0" t="0" r="r" b="b"/>
              <a:pathLst>
                <a:path w="137" h="139">
                  <a:moveTo>
                    <a:pt x="126" y="129"/>
                  </a:moveTo>
                  <a:cubicBezTo>
                    <a:pt x="126" y="129"/>
                    <a:pt x="126" y="129"/>
                    <a:pt x="126" y="129"/>
                  </a:cubicBezTo>
                  <a:cubicBezTo>
                    <a:pt x="137" y="118"/>
                    <a:pt x="137" y="101"/>
                    <a:pt x="127" y="91"/>
                  </a:cubicBezTo>
                  <a:cubicBezTo>
                    <a:pt x="39" y="0"/>
                    <a:pt x="39" y="0"/>
                    <a:pt x="39" y="0"/>
                  </a:cubicBezTo>
                  <a:cubicBezTo>
                    <a:pt x="0" y="38"/>
                    <a:pt x="0" y="38"/>
                    <a:pt x="0" y="38"/>
                  </a:cubicBezTo>
                  <a:cubicBezTo>
                    <a:pt x="88" y="128"/>
                    <a:pt x="88" y="128"/>
                    <a:pt x="88" y="128"/>
                  </a:cubicBezTo>
                  <a:cubicBezTo>
                    <a:pt x="98" y="139"/>
                    <a:pt x="115" y="139"/>
                    <a:pt x="126" y="129"/>
                  </a:cubicBezTo>
                  <a:close/>
                </a:path>
              </a:pathLst>
            </a:custGeom>
            <a:solidFill>
              <a:srgbClr val="6B77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6" name="Freeform 17">
              <a:extLst>
                <a:ext uri="{FF2B5EF4-FFF2-40B4-BE49-F238E27FC236}">
                  <a16:creationId xmlns:a16="http://schemas.microsoft.com/office/drawing/2014/main" id="{F801C4AD-636D-4784-9B9B-3B4364C3A957}"/>
                </a:ext>
              </a:extLst>
            </p:cNvPr>
            <p:cNvSpPr>
              <a:spLocks/>
            </p:cNvSpPr>
            <p:nvPr/>
          </p:nvSpPr>
          <p:spPr bwMode="auto">
            <a:xfrm>
              <a:off x="7483476" y="4695826"/>
              <a:ext cx="552450" cy="468313"/>
            </a:xfrm>
            <a:custGeom>
              <a:avLst/>
              <a:gdLst>
                <a:gd name="T0" fmla="*/ 13 w 133"/>
                <a:gd name="T1" fmla="*/ 0 h 113"/>
                <a:gd name="T2" fmla="*/ 98 w 133"/>
                <a:gd name="T3" fmla="*/ 87 h 113"/>
                <a:gd name="T4" fmla="*/ 133 w 133"/>
                <a:gd name="T5" fmla="*/ 90 h 113"/>
                <a:gd name="T6" fmla="*/ 126 w 133"/>
                <a:gd name="T7" fmla="*/ 103 h 113"/>
                <a:gd name="T8" fmla="*/ 126 w 133"/>
                <a:gd name="T9" fmla="*/ 103 h 113"/>
                <a:gd name="T10" fmla="*/ 88 w 133"/>
                <a:gd name="T11" fmla="*/ 102 h 113"/>
                <a:gd name="T12" fmla="*/ 0 w 133"/>
                <a:gd name="T13" fmla="*/ 12 h 113"/>
                <a:gd name="T14" fmla="*/ 13 w 133"/>
                <a:gd name="T15" fmla="*/ 0 h 1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3" h="113">
                  <a:moveTo>
                    <a:pt x="13" y="0"/>
                  </a:moveTo>
                  <a:cubicBezTo>
                    <a:pt x="98" y="87"/>
                    <a:pt x="98" y="87"/>
                    <a:pt x="98" y="87"/>
                  </a:cubicBezTo>
                  <a:cubicBezTo>
                    <a:pt x="107" y="97"/>
                    <a:pt x="123" y="98"/>
                    <a:pt x="133" y="90"/>
                  </a:cubicBezTo>
                  <a:cubicBezTo>
                    <a:pt x="132" y="95"/>
                    <a:pt x="130" y="99"/>
                    <a:pt x="126" y="103"/>
                  </a:cubicBezTo>
                  <a:cubicBezTo>
                    <a:pt x="126" y="103"/>
                    <a:pt x="126" y="103"/>
                    <a:pt x="126" y="103"/>
                  </a:cubicBezTo>
                  <a:cubicBezTo>
                    <a:pt x="115" y="113"/>
                    <a:pt x="98" y="113"/>
                    <a:pt x="88" y="102"/>
                  </a:cubicBezTo>
                  <a:cubicBezTo>
                    <a:pt x="0" y="12"/>
                    <a:pt x="0" y="12"/>
                    <a:pt x="0" y="12"/>
                  </a:cubicBezTo>
                  <a:lnTo>
                    <a:pt x="13" y="0"/>
                  </a:lnTo>
                  <a:close/>
                </a:path>
              </a:pathLst>
            </a:custGeom>
            <a:solidFill>
              <a:srgbClr val="3142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7" name="Freeform 18">
              <a:extLst>
                <a:ext uri="{FF2B5EF4-FFF2-40B4-BE49-F238E27FC236}">
                  <a16:creationId xmlns:a16="http://schemas.microsoft.com/office/drawing/2014/main" id="{4AD06096-6B96-42A8-B16B-688465F07B1E}"/>
                </a:ext>
              </a:extLst>
            </p:cNvPr>
            <p:cNvSpPr>
              <a:spLocks noEditPoints="1"/>
            </p:cNvSpPr>
            <p:nvPr/>
          </p:nvSpPr>
          <p:spPr bwMode="auto">
            <a:xfrm>
              <a:off x="7462838" y="4567238"/>
              <a:ext cx="596900" cy="606425"/>
            </a:xfrm>
            <a:custGeom>
              <a:avLst/>
              <a:gdLst>
                <a:gd name="T0" fmla="*/ 112 w 144"/>
                <a:gd name="T1" fmla="*/ 146 h 146"/>
                <a:gd name="T2" fmla="*/ 90 w 144"/>
                <a:gd name="T3" fmla="*/ 136 h 146"/>
                <a:gd name="T4" fmla="*/ 2 w 144"/>
                <a:gd name="T5" fmla="*/ 46 h 146"/>
                <a:gd name="T6" fmla="*/ 2 w 144"/>
                <a:gd name="T7" fmla="*/ 40 h 146"/>
                <a:gd name="T8" fmla="*/ 41 w 144"/>
                <a:gd name="T9" fmla="*/ 2 h 146"/>
                <a:gd name="T10" fmla="*/ 47 w 144"/>
                <a:gd name="T11" fmla="*/ 2 h 146"/>
                <a:gd name="T12" fmla="*/ 135 w 144"/>
                <a:gd name="T13" fmla="*/ 93 h 146"/>
                <a:gd name="T14" fmla="*/ 144 w 144"/>
                <a:gd name="T15" fmla="*/ 115 h 146"/>
                <a:gd name="T16" fmla="*/ 112 w 144"/>
                <a:gd name="T17" fmla="*/ 146 h 146"/>
                <a:gd name="T18" fmla="*/ 12 w 144"/>
                <a:gd name="T19" fmla="*/ 43 h 146"/>
                <a:gd name="T20" fmla="*/ 96 w 144"/>
                <a:gd name="T21" fmla="*/ 130 h 146"/>
                <a:gd name="T22" fmla="*/ 128 w 144"/>
                <a:gd name="T23" fmla="*/ 131 h 146"/>
                <a:gd name="T24" fmla="*/ 128 w 144"/>
                <a:gd name="T25" fmla="*/ 131 h 146"/>
                <a:gd name="T26" fmla="*/ 128 w 144"/>
                <a:gd name="T27" fmla="*/ 99 h 146"/>
                <a:gd name="T28" fmla="*/ 44 w 144"/>
                <a:gd name="T29" fmla="*/ 12 h 146"/>
                <a:gd name="T30" fmla="*/ 12 w 144"/>
                <a:gd name="T31" fmla="*/ 43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4" h="146">
                  <a:moveTo>
                    <a:pt x="112" y="146"/>
                  </a:moveTo>
                  <a:cubicBezTo>
                    <a:pt x="104" y="146"/>
                    <a:pt x="96" y="143"/>
                    <a:pt x="90" y="136"/>
                  </a:cubicBezTo>
                  <a:cubicBezTo>
                    <a:pt x="2" y="46"/>
                    <a:pt x="2" y="46"/>
                    <a:pt x="2" y="46"/>
                  </a:cubicBezTo>
                  <a:cubicBezTo>
                    <a:pt x="0" y="44"/>
                    <a:pt x="0" y="41"/>
                    <a:pt x="2" y="40"/>
                  </a:cubicBezTo>
                  <a:cubicBezTo>
                    <a:pt x="41" y="2"/>
                    <a:pt x="41" y="2"/>
                    <a:pt x="41" y="2"/>
                  </a:cubicBezTo>
                  <a:cubicBezTo>
                    <a:pt x="43" y="0"/>
                    <a:pt x="46" y="0"/>
                    <a:pt x="47" y="2"/>
                  </a:cubicBezTo>
                  <a:cubicBezTo>
                    <a:pt x="135" y="93"/>
                    <a:pt x="135" y="93"/>
                    <a:pt x="135" y="93"/>
                  </a:cubicBezTo>
                  <a:cubicBezTo>
                    <a:pt x="141" y="99"/>
                    <a:pt x="144" y="107"/>
                    <a:pt x="144" y="115"/>
                  </a:cubicBezTo>
                  <a:cubicBezTo>
                    <a:pt x="144" y="132"/>
                    <a:pt x="128" y="146"/>
                    <a:pt x="112" y="146"/>
                  </a:cubicBezTo>
                  <a:close/>
                  <a:moveTo>
                    <a:pt x="12" y="43"/>
                  </a:moveTo>
                  <a:cubicBezTo>
                    <a:pt x="96" y="130"/>
                    <a:pt x="96" y="130"/>
                    <a:pt x="96" y="130"/>
                  </a:cubicBezTo>
                  <a:cubicBezTo>
                    <a:pt x="105" y="139"/>
                    <a:pt x="119" y="139"/>
                    <a:pt x="128" y="131"/>
                  </a:cubicBezTo>
                  <a:cubicBezTo>
                    <a:pt x="128" y="131"/>
                    <a:pt x="128" y="131"/>
                    <a:pt x="128" y="131"/>
                  </a:cubicBezTo>
                  <a:cubicBezTo>
                    <a:pt x="137" y="122"/>
                    <a:pt x="137" y="107"/>
                    <a:pt x="128" y="99"/>
                  </a:cubicBezTo>
                  <a:cubicBezTo>
                    <a:pt x="44" y="12"/>
                    <a:pt x="44" y="12"/>
                    <a:pt x="44" y="12"/>
                  </a:cubicBezTo>
                  <a:lnTo>
                    <a:pt x="12" y="43"/>
                  </a:lnTo>
                  <a:close/>
                </a:path>
              </a:pathLst>
            </a:custGeom>
            <a:solidFill>
              <a:srgbClr val="2C16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8" name="Freeform 19">
              <a:extLst>
                <a:ext uri="{FF2B5EF4-FFF2-40B4-BE49-F238E27FC236}">
                  <a16:creationId xmlns:a16="http://schemas.microsoft.com/office/drawing/2014/main" id="{507F6F15-00D3-4B01-AF32-04EF69D231C4}"/>
                </a:ext>
              </a:extLst>
            </p:cNvPr>
            <p:cNvSpPr>
              <a:spLocks noEditPoints="1"/>
            </p:cNvSpPr>
            <p:nvPr/>
          </p:nvSpPr>
          <p:spPr bwMode="auto">
            <a:xfrm>
              <a:off x="6573838" y="3802063"/>
              <a:ext cx="1158875" cy="873125"/>
            </a:xfrm>
            <a:custGeom>
              <a:avLst/>
              <a:gdLst>
                <a:gd name="T0" fmla="*/ 138 w 279"/>
                <a:gd name="T1" fmla="*/ 210 h 210"/>
                <a:gd name="T2" fmla="*/ 141 w 279"/>
                <a:gd name="T3" fmla="*/ 0 h 210"/>
                <a:gd name="T4" fmla="*/ 138 w 279"/>
                <a:gd name="T5" fmla="*/ 210 h 210"/>
                <a:gd name="T6" fmla="*/ 141 w 279"/>
                <a:gd name="T7" fmla="*/ 35 h 210"/>
                <a:gd name="T8" fmla="*/ 138 w 279"/>
                <a:gd name="T9" fmla="*/ 176 h 210"/>
                <a:gd name="T10" fmla="*/ 141 w 279"/>
                <a:gd name="T11" fmla="*/ 35 h 210"/>
              </a:gdLst>
              <a:ahLst/>
              <a:cxnLst>
                <a:cxn ang="0">
                  <a:pos x="T0" y="T1"/>
                </a:cxn>
                <a:cxn ang="0">
                  <a:pos x="T2" y="T3"/>
                </a:cxn>
                <a:cxn ang="0">
                  <a:pos x="T4" y="T5"/>
                </a:cxn>
                <a:cxn ang="0">
                  <a:pos x="T6" y="T7"/>
                </a:cxn>
                <a:cxn ang="0">
                  <a:pos x="T8" y="T9"/>
                </a:cxn>
                <a:cxn ang="0">
                  <a:pos x="T10" y="T11"/>
                </a:cxn>
              </a:cxnLst>
              <a:rect l="0" t="0" r="r" b="b"/>
              <a:pathLst>
                <a:path w="279" h="210">
                  <a:moveTo>
                    <a:pt x="138" y="210"/>
                  </a:moveTo>
                  <a:cubicBezTo>
                    <a:pt x="0" y="206"/>
                    <a:pt x="3" y="1"/>
                    <a:pt x="141" y="0"/>
                  </a:cubicBezTo>
                  <a:cubicBezTo>
                    <a:pt x="279" y="5"/>
                    <a:pt x="276" y="210"/>
                    <a:pt x="138" y="210"/>
                  </a:cubicBezTo>
                  <a:close/>
                  <a:moveTo>
                    <a:pt x="141" y="35"/>
                  </a:moveTo>
                  <a:cubicBezTo>
                    <a:pt x="48" y="35"/>
                    <a:pt x="46" y="172"/>
                    <a:pt x="138" y="176"/>
                  </a:cubicBezTo>
                  <a:cubicBezTo>
                    <a:pt x="231" y="175"/>
                    <a:pt x="233" y="38"/>
                    <a:pt x="141" y="35"/>
                  </a:cubicBezTo>
                  <a:close/>
                </a:path>
              </a:pathLst>
            </a:custGeom>
            <a:solidFill>
              <a:srgbClr val="818A9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9" name="Freeform 20">
              <a:extLst>
                <a:ext uri="{FF2B5EF4-FFF2-40B4-BE49-F238E27FC236}">
                  <a16:creationId xmlns:a16="http://schemas.microsoft.com/office/drawing/2014/main" id="{2E57D160-0037-4CA9-ACAB-88FFAEB889C3}"/>
                </a:ext>
              </a:extLst>
            </p:cNvPr>
            <p:cNvSpPr>
              <a:spLocks/>
            </p:cNvSpPr>
            <p:nvPr/>
          </p:nvSpPr>
          <p:spPr bwMode="auto">
            <a:xfrm>
              <a:off x="6602413" y="4006851"/>
              <a:ext cx="1014413" cy="709613"/>
            </a:xfrm>
            <a:custGeom>
              <a:avLst/>
              <a:gdLst>
                <a:gd name="T0" fmla="*/ 203 w 244"/>
                <a:gd name="T1" fmla="*/ 57 h 171"/>
                <a:gd name="T2" fmla="*/ 70 w 244"/>
                <a:gd name="T3" fmla="*/ 25 h 171"/>
                <a:gd name="T4" fmla="*/ 44 w 244"/>
                <a:gd name="T5" fmla="*/ 0 h 171"/>
                <a:gd name="T6" fmla="*/ 131 w 244"/>
                <a:gd name="T7" fmla="*/ 161 h 171"/>
                <a:gd name="T8" fmla="*/ 237 w 244"/>
                <a:gd name="T9" fmla="*/ 46 h 171"/>
                <a:gd name="T10" fmla="*/ 203 w 244"/>
                <a:gd name="T11" fmla="*/ 53 h 171"/>
                <a:gd name="T12" fmla="*/ 203 w 244"/>
                <a:gd name="T13" fmla="*/ 57 h 171"/>
              </a:gdLst>
              <a:ahLst/>
              <a:cxnLst>
                <a:cxn ang="0">
                  <a:pos x="T0" y="T1"/>
                </a:cxn>
                <a:cxn ang="0">
                  <a:pos x="T2" y="T3"/>
                </a:cxn>
                <a:cxn ang="0">
                  <a:pos x="T4" y="T5"/>
                </a:cxn>
                <a:cxn ang="0">
                  <a:pos x="T6" y="T7"/>
                </a:cxn>
                <a:cxn ang="0">
                  <a:pos x="T8" y="T9"/>
                </a:cxn>
                <a:cxn ang="0">
                  <a:pos x="T10" y="T11"/>
                </a:cxn>
                <a:cxn ang="0">
                  <a:pos x="T12" y="T13"/>
                </a:cxn>
              </a:cxnLst>
              <a:rect l="0" t="0" r="r" b="b"/>
              <a:pathLst>
                <a:path w="244" h="171">
                  <a:moveTo>
                    <a:pt x="203" y="57"/>
                  </a:moveTo>
                  <a:cubicBezTo>
                    <a:pt x="194" y="171"/>
                    <a:pt x="26" y="130"/>
                    <a:pt x="70" y="25"/>
                  </a:cubicBezTo>
                  <a:cubicBezTo>
                    <a:pt x="60" y="18"/>
                    <a:pt x="51" y="10"/>
                    <a:pt x="44" y="0"/>
                  </a:cubicBezTo>
                  <a:cubicBezTo>
                    <a:pt x="0" y="66"/>
                    <a:pt x="51" y="162"/>
                    <a:pt x="131" y="161"/>
                  </a:cubicBezTo>
                  <a:cubicBezTo>
                    <a:pt x="193" y="163"/>
                    <a:pt x="244" y="108"/>
                    <a:pt x="237" y="46"/>
                  </a:cubicBezTo>
                  <a:cubicBezTo>
                    <a:pt x="226" y="49"/>
                    <a:pt x="214" y="52"/>
                    <a:pt x="203" y="53"/>
                  </a:cubicBezTo>
                  <a:cubicBezTo>
                    <a:pt x="203" y="55"/>
                    <a:pt x="203" y="56"/>
                    <a:pt x="203" y="57"/>
                  </a:cubicBezTo>
                  <a:close/>
                </a:path>
              </a:pathLst>
            </a:custGeom>
            <a:solidFill>
              <a:srgbClr val="606B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30" name="Freeform 21">
              <a:extLst>
                <a:ext uri="{FF2B5EF4-FFF2-40B4-BE49-F238E27FC236}">
                  <a16:creationId xmlns:a16="http://schemas.microsoft.com/office/drawing/2014/main" id="{E0CE0716-5284-416C-A2D5-7870E3EB053A}"/>
                </a:ext>
              </a:extLst>
            </p:cNvPr>
            <p:cNvSpPr>
              <a:spLocks noEditPoints="1"/>
            </p:cNvSpPr>
            <p:nvPr/>
          </p:nvSpPr>
          <p:spPr bwMode="auto">
            <a:xfrm>
              <a:off x="6556376" y="3786188"/>
              <a:ext cx="1196975" cy="909638"/>
            </a:xfrm>
            <a:custGeom>
              <a:avLst/>
              <a:gdLst>
                <a:gd name="T0" fmla="*/ 144 w 288"/>
                <a:gd name="T1" fmla="*/ 219 h 219"/>
                <a:gd name="T2" fmla="*/ 144 w 288"/>
                <a:gd name="T3" fmla="*/ 0 h 219"/>
                <a:gd name="T4" fmla="*/ 144 w 288"/>
                <a:gd name="T5" fmla="*/ 219 h 219"/>
                <a:gd name="T6" fmla="*/ 144 w 288"/>
                <a:gd name="T7" fmla="*/ 9 h 219"/>
                <a:gd name="T8" fmla="*/ 144 w 288"/>
                <a:gd name="T9" fmla="*/ 210 h 219"/>
                <a:gd name="T10" fmla="*/ 144 w 288"/>
                <a:gd name="T11" fmla="*/ 9 h 219"/>
                <a:gd name="T12" fmla="*/ 144 w 288"/>
                <a:gd name="T13" fmla="*/ 184 h 219"/>
                <a:gd name="T14" fmla="*/ 145 w 288"/>
                <a:gd name="T15" fmla="*/ 35 h 219"/>
                <a:gd name="T16" fmla="*/ 144 w 288"/>
                <a:gd name="T17" fmla="*/ 184 h 219"/>
                <a:gd name="T18" fmla="*/ 144 w 288"/>
                <a:gd name="T19" fmla="*/ 44 h 219"/>
                <a:gd name="T20" fmla="*/ 78 w 288"/>
                <a:gd name="T21" fmla="*/ 108 h 219"/>
                <a:gd name="T22" fmla="*/ 189 w 288"/>
                <a:gd name="T23" fmla="*/ 157 h 219"/>
                <a:gd name="T24" fmla="*/ 144 w 288"/>
                <a:gd name="T25" fmla="*/ 44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8" h="219">
                  <a:moveTo>
                    <a:pt x="144" y="219"/>
                  </a:moveTo>
                  <a:cubicBezTo>
                    <a:pt x="0" y="216"/>
                    <a:pt x="0" y="2"/>
                    <a:pt x="144" y="0"/>
                  </a:cubicBezTo>
                  <a:cubicBezTo>
                    <a:pt x="288" y="2"/>
                    <a:pt x="287" y="216"/>
                    <a:pt x="144" y="219"/>
                  </a:cubicBezTo>
                  <a:close/>
                  <a:moveTo>
                    <a:pt x="144" y="9"/>
                  </a:moveTo>
                  <a:cubicBezTo>
                    <a:pt x="12" y="11"/>
                    <a:pt x="12" y="207"/>
                    <a:pt x="144" y="210"/>
                  </a:cubicBezTo>
                  <a:cubicBezTo>
                    <a:pt x="276" y="207"/>
                    <a:pt x="276" y="11"/>
                    <a:pt x="144" y="9"/>
                  </a:cubicBezTo>
                  <a:close/>
                  <a:moveTo>
                    <a:pt x="144" y="184"/>
                  </a:moveTo>
                  <a:cubicBezTo>
                    <a:pt x="45" y="182"/>
                    <a:pt x="46" y="35"/>
                    <a:pt x="145" y="35"/>
                  </a:cubicBezTo>
                  <a:cubicBezTo>
                    <a:pt x="243" y="39"/>
                    <a:pt x="242" y="181"/>
                    <a:pt x="144" y="184"/>
                  </a:cubicBezTo>
                  <a:close/>
                  <a:moveTo>
                    <a:pt x="144" y="44"/>
                  </a:moveTo>
                  <a:cubicBezTo>
                    <a:pt x="108" y="44"/>
                    <a:pt x="78" y="72"/>
                    <a:pt x="78" y="108"/>
                  </a:cubicBezTo>
                  <a:cubicBezTo>
                    <a:pt x="75" y="165"/>
                    <a:pt x="150" y="197"/>
                    <a:pt x="189" y="157"/>
                  </a:cubicBezTo>
                  <a:cubicBezTo>
                    <a:pt x="232" y="117"/>
                    <a:pt x="201" y="42"/>
                    <a:pt x="144" y="44"/>
                  </a:cubicBezTo>
                  <a:close/>
                </a:path>
              </a:pathLst>
            </a:custGeom>
            <a:solidFill>
              <a:srgbClr val="2C16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31" name="Freeform 22">
              <a:extLst>
                <a:ext uri="{FF2B5EF4-FFF2-40B4-BE49-F238E27FC236}">
                  <a16:creationId xmlns:a16="http://schemas.microsoft.com/office/drawing/2014/main" id="{3B858CC4-B586-4E58-B91D-49757848F0D7}"/>
                </a:ext>
              </a:extLst>
            </p:cNvPr>
            <p:cNvSpPr>
              <a:spLocks/>
            </p:cNvSpPr>
            <p:nvPr/>
          </p:nvSpPr>
          <p:spPr bwMode="auto">
            <a:xfrm>
              <a:off x="6918326" y="4168776"/>
              <a:ext cx="241300" cy="293688"/>
            </a:xfrm>
            <a:custGeom>
              <a:avLst/>
              <a:gdLst>
                <a:gd name="T0" fmla="*/ 52 w 58"/>
                <a:gd name="T1" fmla="*/ 58 h 71"/>
                <a:gd name="T2" fmla="*/ 14 w 58"/>
                <a:gd name="T3" fmla="*/ 10 h 71"/>
                <a:gd name="T4" fmla="*/ 0 w 58"/>
                <a:gd name="T5" fmla="*/ 10 h 71"/>
                <a:gd name="T6" fmla="*/ 48 w 58"/>
                <a:gd name="T7" fmla="*/ 70 h 71"/>
                <a:gd name="T8" fmla="*/ 52 w 58"/>
                <a:gd name="T9" fmla="*/ 58 h 71"/>
              </a:gdLst>
              <a:ahLst/>
              <a:cxnLst>
                <a:cxn ang="0">
                  <a:pos x="T0" y="T1"/>
                </a:cxn>
                <a:cxn ang="0">
                  <a:pos x="T2" y="T3"/>
                </a:cxn>
                <a:cxn ang="0">
                  <a:pos x="T4" y="T5"/>
                </a:cxn>
                <a:cxn ang="0">
                  <a:pos x="T6" y="T7"/>
                </a:cxn>
                <a:cxn ang="0">
                  <a:pos x="T8" y="T9"/>
                </a:cxn>
              </a:cxnLst>
              <a:rect l="0" t="0" r="r" b="b"/>
              <a:pathLst>
                <a:path w="58" h="71">
                  <a:moveTo>
                    <a:pt x="52" y="58"/>
                  </a:moveTo>
                  <a:cubicBezTo>
                    <a:pt x="32" y="47"/>
                    <a:pt x="17" y="34"/>
                    <a:pt x="14" y="10"/>
                  </a:cubicBezTo>
                  <a:cubicBezTo>
                    <a:pt x="13" y="1"/>
                    <a:pt x="0" y="0"/>
                    <a:pt x="0" y="10"/>
                  </a:cubicBezTo>
                  <a:cubicBezTo>
                    <a:pt x="0" y="37"/>
                    <a:pt x="20" y="67"/>
                    <a:pt x="48" y="70"/>
                  </a:cubicBezTo>
                  <a:cubicBezTo>
                    <a:pt x="55" y="71"/>
                    <a:pt x="58" y="61"/>
                    <a:pt x="52" y="58"/>
                  </a:cubicBezTo>
                  <a:close/>
                </a:path>
              </a:pathLst>
            </a:custGeom>
            <a:solidFill>
              <a:srgbClr val="F1F7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32" name="Freeform 23">
              <a:extLst>
                <a:ext uri="{FF2B5EF4-FFF2-40B4-BE49-F238E27FC236}">
                  <a16:creationId xmlns:a16="http://schemas.microsoft.com/office/drawing/2014/main" id="{E8250E00-DFC7-4633-86F9-FE8FC3C4DE68}"/>
                </a:ext>
              </a:extLst>
            </p:cNvPr>
            <p:cNvSpPr>
              <a:spLocks/>
            </p:cNvSpPr>
            <p:nvPr/>
          </p:nvSpPr>
          <p:spPr bwMode="auto">
            <a:xfrm>
              <a:off x="7183438" y="4022726"/>
              <a:ext cx="171450" cy="211138"/>
            </a:xfrm>
            <a:custGeom>
              <a:avLst/>
              <a:gdLst>
                <a:gd name="T0" fmla="*/ 4 w 41"/>
                <a:gd name="T1" fmla="*/ 10 h 51"/>
                <a:gd name="T2" fmla="*/ 31 w 41"/>
                <a:gd name="T3" fmla="*/ 44 h 51"/>
                <a:gd name="T4" fmla="*/ 41 w 41"/>
                <a:gd name="T5" fmla="*/ 44 h 51"/>
                <a:gd name="T6" fmla="*/ 6 w 41"/>
                <a:gd name="T7" fmla="*/ 1 h 51"/>
                <a:gd name="T8" fmla="*/ 4 w 41"/>
                <a:gd name="T9" fmla="*/ 10 h 51"/>
              </a:gdLst>
              <a:ahLst/>
              <a:cxnLst>
                <a:cxn ang="0">
                  <a:pos x="T0" y="T1"/>
                </a:cxn>
                <a:cxn ang="0">
                  <a:pos x="T2" y="T3"/>
                </a:cxn>
                <a:cxn ang="0">
                  <a:pos x="T4" y="T5"/>
                </a:cxn>
                <a:cxn ang="0">
                  <a:pos x="T6" y="T7"/>
                </a:cxn>
                <a:cxn ang="0">
                  <a:pos x="T8" y="T9"/>
                </a:cxn>
              </a:cxnLst>
              <a:rect l="0" t="0" r="r" b="b"/>
              <a:pathLst>
                <a:path w="41" h="51">
                  <a:moveTo>
                    <a:pt x="4" y="10"/>
                  </a:moveTo>
                  <a:cubicBezTo>
                    <a:pt x="18" y="17"/>
                    <a:pt x="29" y="27"/>
                    <a:pt x="31" y="44"/>
                  </a:cubicBezTo>
                  <a:cubicBezTo>
                    <a:pt x="32" y="50"/>
                    <a:pt x="41" y="51"/>
                    <a:pt x="41" y="44"/>
                  </a:cubicBezTo>
                  <a:cubicBezTo>
                    <a:pt x="41" y="25"/>
                    <a:pt x="26" y="3"/>
                    <a:pt x="6" y="1"/>
                  </a:cubicBezTo>
                  <a:cubicBezTo>
                    <a:pt x="1" y="0"/>
                    <a:pt x="0" y="8"/>
                    <a:pt x="4" y="10"/>
                  </a:cubicBezTo>
                  <a:close/>
                </a:path>
              </a:pathLst>
            </a:custGeom>
            <a:solidFill>
              <a:srgbClr val="F1F7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33" name="Freeform 24">
              <a:extLst>
                <a:ext uri="{FF2B5EF4-FFF2-40B4-BE49-F238E27FC236}">
                  <a16:creationId xmlns:a16="http://schemas.microsoft.com/office/drawing/2014/main" id="{9389A409-1FBB-4CE0-B095-0ECD53442960}"/>
                </a:ext>
              </a:extLst>
            </p:cNvPr>
            <p:cNvSpPr>
              <a:spLocks/>
            </p:cNvSpPr>
            <p:nvPr/>
          </p:nvSpPr>
          <p:spPr bwMode="auto">
            <a:xfrm>
              <a:off x="4829176" y="3325813"/>
              <a:ext cx="873125" cy="485775"/>
            </a:xfrm>
            <a:custGeom>
              <a:avLst/>
              <a:gdLst>
                <a:gd name="T0" fmla="*/ 204 w 210"/>
                <a:gd name="T1" fmla="*/ 117 h 117"/>
                <a:gd name="T2" fmla="*/ 200 w 210"/>
                <a:gd name="T3" fmla="*/ 115 h 117"/>
                <a:gd name="T4" fmla="*/ 128 w 210"/>
                <a:gd name="T5" fmla="*/ 9 h 117"/>
                <a:gd name="T6" fmla="*/ 5 w 210"/>
                <a:gd name="T7" fmla="*/ 9 h 117"/>
                <a:gd name="T8" fmla="*/ 0 w 210"/>
                <a:gd name="T9" fmla="*/ 5 h 117"/>
                <a:gd name="T10" fmla="*/ 5 w 210"/>
                <a:gd name="T11" fmla="*/ 0 h 117"/>
                <a:gd name="T12" fmla="*/ 130 w 210"/>
                <a:gd name="T13" fmla="*/ 0 h 117"/>
                <a:gd name="T14" fmla="*/ 134 w 210"/>
                <a:gd name="T15" fmla="*/ 2 h 117"/>
                <a:gd name="T16" fmla="*/ 208 w 210"/>
                <a:gd name="T17" fmla="*/ 110 h 117"/>
                <a:gd name="T18" fmla="*/ 204 w 210"/>
                <a:gd name="T19" fmla="*/ 117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0" h="117">
                  <a:moveTo>
                    <a:pt x="204" y="117"/>
                  </a:moveTo>
                  <a:cubicBezTo>
                    <a:pt x="203" y="117"/>
                    <a:pt x="201" y="117"/>
                    <a:pt x="200" y="115"/>
                  </a:cubicBezTo>
                  <a:cubicBezTo>
                    <a:pt x="128" y="9"/>
                    <a:pt x="128" y="9"/>
                    <a:pt x="128" y="9"/>
                  </a:cubicBezTo>
                  <a:cubicBezTo>
                    <a:pt x="5" y="9"/>
                    <a:pt x="5" y="9"/>
                    <a:pt x="5" y="9"/>
                  </a:cubicBezTo>
                  <a:cubicBezTo>
                    <a:pt x="2" y="9"/>
                    <a:pt x="0" y="7"/>
                    <a:pt x="0" y="5"/>
                  </a:cubicBezTo>
                  <a:cubicBezTo>
                    <a:pt x="0" y="2"/>
                    <a:pt x="2" y="0"/>
                    <a:pt x="5" y="0"/>
                  </a:cubicBezTo>
                  <a:cubicBezTo>
                    <a:pt x="130" y="0"/>
                    <a:pt x="130" y="0"/>
                    <a:pt x="130" y="0"/>
                  </a:cubicBezTo>
                  <a:cubicBezTo>
                    <a:pt x="132" y="0"/>
                    <a:pt x="133" y="1"/>
                    <a:pt x="134" y="2"/>
                  </a:cubicBezTo>
                  <a:cubicBezTo>
                    <a:pt x="208" y="110"/>
                    <a:pt x="208" y="110"/>
                    <a:pt x="208" y="110"/>
                  </a:cubicBezTo>
                  <a:cubicBezTo>
                    <a:pt x="210" y="113"/>
                    <a:pt x="207" y="117"/>
                    <a:pt x="204" y="117"/>
                  </a:cubicBezTo>
                  <a:close/>
                </a:path>
              </a:pathLst>
            </a:custGeom>
            <a:solidFill>
              <a:srgbClr val="2C16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34" name="Freeform 25">
              <a:extLst>
                <a:ext uri="{FF2B5EF4-FFF2-40B4-BE49-F238E27FC236}">
                  <a16:creationId xmlns:a16="http://schemas.microsoft.com/office/drawing/2014/main" id="{E5CF4A2B-7AD2-424E-905E-25FA6C06C877}"/>
                </a:ext>
              </a:extLst>
            </p:cNvPr>
            <p:cNvSpPr>
              <a:spLocks/>
            </p:cNvSpPr>
            <p:nvPr/>
          </p:nvSpPr>
          <p:spPr bwMode="auto">
            <a:xfrm>
              <a:off x="4749801" y="4184651"/>
              <a:ext cx="1125538" cy="547688"/>
            </a:xfrm>
            <a:custGeom>
              <a:avLst/>
              <a:gdLst>
                <a:gd name="T0" fmla="*/ 171 w 271"/>
                <a:gd name="T1" fmla="*/ 132 h 132"/>
                <a:gd name="T2" fmla="*/ 4 w 271"/>
                <a:gd name="T3" fmla="*/ 132 h 132"/>
                <a:gd name="T4" fmla="*/ 0 w 271"/>
                <a:gd name="T5" fmla="*/ 127 h 132"/>
                <a:gd name="T6" fmla="*/ 4 w 271"/>
                <a:gd name="T7" fmla="*/ 123 h 132"/>
                <a:gd name="T8" fmla="*/ 169 w 271"/>
                <a:gd name="T9" fmla="*/ 123 h 132"/>
                <a:gd name="T10" fmla="*/ 263 w 271"/>
                <a:gd name="T11" fmla="*/ 2 h 132"/>
                <a:gd name="T12" fmla="*/ 269 w 271"/>
                <a:gd name="T13" fmla="*/ 1 h 132"/>
                <a:gd name="T14" fmla="*/ 270 w 271"/>
                <a:gd name="T15" fmla="*/ 8 h 132"/>
                <a:gd name="T16" fmla="*/ 174 w 271"/>
                <a:gd name="T17" fmla="*/ 130 h 132"/>
                <a:gd name="T18" fmla="*/ 171 w 271"/>
                <a:gd name="T19" fmla="*/ 13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1" h="132">
                  <a:moveTo>
                    <a:pt x="171" y="132"/>
                  </a:moveTo>
                  <a:cubicBezTo>
                    <a:pt x="4" y="132"/>
                    <a:pt x="4" y="132"/>
                    <a:pt x="4" y="132"/>
                  </a:cubicBezTo>
                  <a:cubicBezTo>
                    <a:pt x="2" y="132"/>
                    <a:pt x="0" y="130"/>
                    <a:pt x="0" y="127"/>
                  </a:cubicBezTo>
                  <a:cubicBezTo>
                    <a:pt x="0" y="125"/>
                    <a:pt x="2" y="123"/>
                    <a:pt x="4" y="123"/>
                  </a:cubicBezTo>
                  <a:cubicBezTo>
                    <a:pt x="169" y="123"/>
                    <a:pt x="169" y="123"/>
                    <a:pt x="169" y="123"/>
                  </a:cubicBezTo>
                  <a:cubicBezTo>
                    <a:pt x="263" y="2"/>
                    <a:pt x="263" y="2"/>
                    <a:pt x="263" y="2"/>
                  </a:cubicBezTo>
                  <a:cubicBezTo>
                    <a:pt x="264" y="0"/>
                    <a:pt x="267" y="0"/>
                    <a:pt x="269" y="1"/>
                  </a:cubicBezTo>
                  <a:cubicBezTo>
                    <a:pt x="271" y="3"/>
                    <a:pt x="271" y="6"/>
                    <a:pt x="270" y="8"/>
                  </a:cubicBezTo>
                  <a:cubicBezTo>
                    <a:pt x="174" y="130"/>
                    <a:pt x="174" y="130"/>
                    <a:pt x="174" y="130"/>
                  </a:cubicBezTo>
                  <a:cubicBezTo>
                    <a:pt x="173" y="131"/>
                    <a:pt x="172" y="132"/>
                    <a:pt x="171" y="132"/>
                  </a:cubicBezTo>
                  <a:close/>
                </a:path>
              </a:pathLst>
            </a:custGeom>
            <a:solidFill>
              <a:srgbClr val="2C16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35" name="Freeform 26">
              <a:extLst>
                <a:ext uri="{FF2B5EF4-FFF2-40B4-BE49-F238E27FC236}">
                  <a16:creationId xmlns:a16="http://schemas.microsoft.com/office/drawing/2014/main" id="{E969A3F7-ED15-481B-A769-5D99506CBCCA}"/>
                </a:ext>
              </a:extLst>
            </p:cNvPr>
            <p:cNvSpPr>
              <a:spLocks/>
            </p:cNvSpPr>
            <p:nvPr/>
          </p:nvSpPr>
          <p:spPr bwMode="auto">
            <a:xfrm>
              <a:off x="6502401" y="3529013"/>
              <a:ext cx="1006475" cy="277813"/>
            </a:xfrm>
            <a:custGeom>
              <a:avLst/>
              <a:gdLst>
                <a:gd name="T0" fmla="*/ 6 w 242"/>
                <a:gd name="T1" fmla="*/ 67 h 67"/>
                <a:gd name="T2" fmla="*/ 3 w 242"/>
                <a:gd name="T3" fmla="*/ 59 h 67"/>
                <a:gd name="T4" fmla="*/ 64 w 242"/>
                <a:gd name="T5" fmla="*/ 1 h 67"/>
                <a:gd name="T6" fmla="*/ 68 w 242"/>
                <a:gd name="T7" fmla="*/ 0 h 67"/>
                <a:gd name="T8" fmla="*/ 236 w 242"/>
                <a:gd name="T9" fmla="*/ 0 h 67"/>
                <a:gd name="T10" fmla="*/ 236 w 242"/>
                <a:gd name="T11" fmla="*/ 9 h 67"/>
                <a:gd name="T12" fmla="*/ 69 w 242"/>
                <a:gd name="T13" fmla="*/ 9 h 67"/>
                <a:gd name="T14" fmla="*/ 9 w 242"/>
                <a:gd name="T15" fmla="*/ 65 h 67"/>
                <a:gd name="T16" fmla="*/ 6 w 242"/>
                <a:gd name="T17"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2" h="67">
                  <a:moveTo>
                    <a:pt x="6" y="67"/>
                  </a:moveTo>
                  <a:cubicBezTo>
                    <a:pt x="2" y="67"/>
                    <a:pt x="0" y="61"/>
                    <a:pt x="3" y="59"/>
                  </a:cubicBezTo>
                  <a:cubicBezTo>
                    <a:pt x="64" y="1"/>
                    <a:pt x="64" y="1"/>
                    <a:pt x="64" y="1"/>
                  </a:cubicBezTo>
                  <a:cubicBezTo>
                    <a:pt x="65" y="0"/>
                    <a:pt x="66" y="0"/>
                    <a:pt x="68" y="0"/>
                  </a:cubicBezTo>
                  <a:cubicBezTo>
                    <a:pt x="236" y="0"/>
                    <a:pt x="236" y="0"/>
                    <a:pt x="236" y="0"/>
                  </a:cubicBezTo>
                  <a:cubicBezTo>
                    <a:pt x="242" y="0"/>
                    <a:pt x="242" y="9"/>
                    <a:pt x="236" y="9"/>
                  </a:cubicBezTo>
                  <a:cubicBezTo>
                    <a:pt x="236" y="9"/>
                    <a:pt x="69" y="9"/>
                    <a:pt x="69" y="9"/>
                  </a:cubicBezTo>
                  <a:cubicBezTo>
                    <a:pt x="9" y="65"/>
                    <a:pt x="9" y="65"/>
                    <a:pt x="9" y="65"/>
                  </a:cubicBezTo>
                  <a:cubicBezTo>
                    <a:pt x="9" y="66"/>
                    <a:pt x="7" y="67"/>
                    <a:pt x="6" y="67"/>
                  </a:cubicBezTo>
                  <a:close/>
                </a:path>
              </a:pathLst>
            </a:custGeom>
            <a:solidFill>
              <a:srgbClr val="2C16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36" name="Freeform 27">
              <a:extLst>
                <a:ext uri="{FF2B5EF4-FFF2-40B4-BE49-F238E27FC236}">
                  <a16:creationId xmlns:a16="http://schemas.microsoft.com/office/drawing/2014/main" id="{618DBFFE-4F33-4125-9889-112D54594FC0}"/>
                </a:ext>
              </a:extLst>
            </p:cNvPr>
            <p:cNvSpPr>
              <a:spLocks/>
            </p:cNvSpPr>
            <p:nvPr/>
          </p:nvSpPr>
          <p:spPr bwMode="auto">
            <a:xfrm>
              <a:off x="5743576" y="4048126"/>
              <a:ext cx="758825" cy="347663"/>
            </a:xfrm>
            <a:custGeom>
              <a:avLst/>
              <a:gdLst>
                <a:gd name="T0" fmla="*/ 183 w 183"/>
                <a:gd name="T1" fmla="*/ 32 h 84"/>
                <a:gd name="T2" fmla="*/ 0 w 183"/>
                <a:gd name="T3" fmla="*/ 32 h 84"/>
                <a:gd name="T4" fmla="*/ 32 w 183"/>
                <a:gd name="T5" fmla="*/ 0 h 84"/>
                <a:gd name="T6" fmla="*/ 151 w 183"/>
                <a:gd name="T7" fmla="*/ 0 h 84"/>
                <a:gd name="T8" fmla="*/ 183 w 183"/>
                <a:gd name="T9" fmla="*/ 32 h 84"/>
              </a:gdLst>
              <a:ahLst/>
              <a:cxnLst>
                <a:cxn ang="0">
                  <a:pos x="T0" y="T1"/>
                </a:cxn>
                <a:cxn ang="0">
                  <a:pos x="T2" y="T3"/>
                </a:cxn>
                <a:cxn ang="0">
                  <a:pos x="T4" y="T5"/>
                </a:cxn>
                <a:cxn ang="0">
                  <a:pos x="T6" y="T7"/>
                </a:cxn>
                <a:cxn ang="0">
                  <a:pos x="T8" y="T9"/>
                </a:cxn>
              </a:cxnLst>
              <a:rect l="0" t="0" r="r" b="b"/>
              <a:pathLst>
                <a:path w="183" h="84">
                  <a:moveTo>
                    <a:pt x="183" y="32"/>
                  </a:moveTo>
                  <a:cubicBezTo>
                    <a:pt x="138" y="84"/>
                    <a:pt x="45" y="84"/>
                    <a:pt x="0" y="32"/>
                  </a:cubicBezTo>
                  <a:cubicBezTo>
                    <a:pt x="32" y="0"/>
                    <a:pt x="32" y="0"/>
                    <a:pt x="32" y="0"/>
                  </a:cubicBezTo>
                  <a:cubicBezTo>
                    <a:pt x="60" y="35"/>
                    <a:pt x="123" y="35"/>
                    <a:pt x="151" y="0"/>
                  </a:cubicBezTo>
                  <a:lnTo>
                    <a:pt x="183" y="32"/>
                  </a:lnTo>
                  <a:close/>
                </a:path>
              </a:pathLst>
            </a:custGeom>
            <a:solidFill>
              <a:srgbClr val="F9D12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37" name="Freeform 28">
              <a:extLst>
                <a:ext uri="{FF2B5EF4-FFF2-40B4-BE49-F238E27FC236}">
                  <a16:creationId xmlns:a16="http://schemas.microsoft.com/office/drawing/2014/main" id="{CBE7D205-CAC2-4B61-9792-38EE22378311}"/>
                </a:ext>
              </a:extLst>
            </p:cNvPr>
            <p:cNvSpPr>
              <a:spLocks noEditPoints="1"/>
            </p:cNvSpPr>
            <p:nvPr/>
          </p:nvSpPr>
          <p:spPr bwMode="auto">
            <a:xfrm>
              <a:off x="5722938" y="4027488"/>
              <a:ext cx="801688" cy="347663"/>
            </a:xfrm>
            <a:custGeom>
              <a:avLst/>
              <a:gdLst>
                <a:gd name="T0" fmla="*/ 97 w 193"/>
                <a:gd name="T1" fmla="*/ 81 h 84"/>
                <a:gd name="T2" fmla="*/ 2 w 193"/>
                <a:gd name="T3" fmla="*/ 40 h 84"/>
                <a:gd name="T4" fmla="*/ 2 w 193"/>
                <a:gd name="T5" fmla="*/ 34 h 84"/>
                <a:gd name="T6" fmla="*/ 34 w 193"/>
                <a:gd name="T7" fmla="*/ 2 h 84"/>
                <a:gd name="T8" fmla="*/ 40 w 193"/>
                <a:gd name="T9" fmla="*/ 2 h 84"/>
                <a:gd name="T10" fmla="*/ 97 w 193"/>
                <a:gd name="T11" fmla="*/ 28 h 84"/>
                <a:gd name="T12" fmla="*/ 153 w 193"/>
                <a:gd name="T13" fmla="*/ 2 h 84"/>
                <a:gd name="T14" fmla="*/ 159 w 193"/>
                <a:gd name="T15" fmla="*/ 2 h 84"/>
                <a:gd name="T16" fmla="*/ 191 w 193"/>
                <a:gd name="T17" fmla="*/ 34 h 84"/>
                <a:gd name="T18" fmla="*/ 191 w 193"/>
                <a:gd name="T19" fmla="*/ 40 h 84"/>
                <a:gd name="T20" fmla="*/ 97 w 193"/>
                <a:gd name="T21" fmla="*/ 81 h 84"/>
                <a:gd name="T22" fmla="*/ 11 w 193"/>
                <a:gd name="T23" fmla="*/ 37 h 84"/>
                <a:gd name="T24" fmla="*/ 182 w 193"/>
                <a:gd name="T25" fmla="*/ 37 h 84"/>
                <a:gd name="T26" fmla="*/ 156 w 193"/>
                <a:gd name="T27" fmla="*/ 12 h 84"/>
                <a:gd name="T28" fmla="*/ 37 w 193"/>
                <a:gd name="T29" fmla="*/ 12 h 84"/>
                <a:gd name="T30" fmla="*/ 11 w 193"/>
                <a:gd name="T31" fmla="*/ 37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93" h="84">
                  <a:moveTo>
                    <a:pt x="97" y="81"/>
                  </a:moveTo>
                  <a:cubicBezTo>
                    <a:pt x="61" y="81"/>
                    <a:pt x="26" y="66"/>
                    <a:pt x="2" y="40"/>
                  </a:cubicBezTo>
                  <a:cubicBezTo>
                    <a:pt x="0" y="38"/>
                    <a:pt x="0" y="35"/>
                    <a:pt x="2" y="34"/>
                  </a:cubicBezTo>
                  <a:cubicBezTo>
                    <a:pt x="34" y="2"/>
                    <a:pt x="34" y="2"/>
                    <a:pt x="34" y="2"/>
                  </a:cubicBezTo>
                  <a:cubicBezTo>
                    <a:pt x="35" y="0"/>
                    <a:pt x="39" y="0"/>
                    <a:pt x="40" y="2"/>
                  </a:cubicBezTo>
                  <a:cubicBezTo>
                    <a:pt x="55" y="18"/>
                    <a:pt x="75" y="28"/>
                    <a:pt x="97" y="28"/>
                  </a:cubicBezTo>
                  <a:cubicBezTo>
                    <a:pt x="118" y="28"/>
                    <a:pt x="139" y="18"/>
                    <a:pt x="153" y="2"/>
                  </a:cubicBezTo>
                  <a:cubicBezTo>
                    <a:pt x="154" y="0"/>
                    <a:pt x="158" y="0"/>
                    <a:pt x="159" y="2"/>
                  </a:cubicBezTo>
                  <a:cubicBezTo>
                    <a:pt x="191" y="34"/>
                    <a:pt x="191" y="34"/>
                    <a:pt x="191" y="34"/>
                  </a:cubicBezTo>
                  <a:cubicBezTo>
                    <a:pt x="193" y="35"/>
                    <a:pt x="193" y="38"/>
                    <a:pt x="191" y="40"/>
                  </a:cubicBezTo>
                  <a:cubicBezTo>
                    <a:pt x="167" y="66"/>
                    <a:pt x="132" y="81"/>
                    <a:pt x="97" y="81"/>
                  </a:cubicBezTo>
                  <a:close/>
                  <a:moveTo>
                    <a:pt x="11" y="37"/>
                  </a:moveTo>
                  <a:cubicBezTo>
                    <a:pt x="56" y="84"/>
                    <a:pt x="137" y="84"/>
                    <a:pt x="182" y="37"/>
                  </a:cubicBezTo>
                  <a:cubicBezTo>
                    <a:pt x="156" y="12"/>
                    <a:pt x="156" y="12"/>
                    <a:pt x="156" y="12"/>
                  </a:cubicBezTo>
                  <a:cubicBezTo>
                    <a:pt x="125" y="44"/>
                    <a:pt x="68" y="44"/>
                    <a:pt x="37" y="12"/>
                  </a:cubicBezTo>
                  <a:lnTo>
                    <a:pt x="11" y="37"/>
                  </a:lnTo>
                  <a:close/>
                </a:path>
              </a:pathLst>
            </a:custGeom>
            <a:solidFill>
              <a:srgbClr val="2C16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38" name="Freeform 29">
              <a:extLst>
                <a:ext uri="{FF2B5EF4-FFF2-40B4-BE49-F238E27FC236}">
                  <a16:creationId xmlns:a16="http://schemas.microsoft.com/office/drawing/2014/main" id="{33F283BF-5EA3-4F89-A492-C94346859BF9}"/>
                </a:ext>
              </a:extLst>
            </p:cNvPr>
            <p:cNvSpPr>
              <a:spLocks/>
            </p:cNvSpPr>
            <p:nvPr/>
          </p:nvSpPr>
          <p:spPr bwMode="auto">
            <a:xfrm>
              <a:off x="6124576" y="3313113"/>
              <a:ext cx="515938" cy="866775"/>
            </a:xfrm>
            <a:custGeom>
              <a:avLst/>
              <a:gdLst>
                <a:gd name="T0" fmla="*/ 124 w 124"/>
                <a:gd name="T1" fmla="*/ 124 h 209"/>
                <a:gd name="T2" fmla="*/ 91 w 124"/>
                <a:gd name="T3" fmla="*/ 209 h 209"/>
                <a:gd name="T4" fmla="*/ 59 w 124"/>
                <a:gd name="T5" fmla="*/ 177 h 209"/>
                <a:gd name="T6" fmla="*/ 0 w 124"/>
                <a:gd name="T7" fmla="*/ 45 h 209"/>
                <a:gd name="T8" fmla="*/ 0 w 124"/>
                <a:gd name="T9" fmla="*/ 0 h 209"/>
                <a:gd name="T10" fmla="*/ 124 w 124"/>
                <a:gd name="T11" fmla="*/ 124 h 209"/>
              </a:gdLst>
              <a:ahLst/>
              <a:cxnLst>
                <a:cxn ang="0">
                  <a:pos x="T0" y="T1"/>
                </a:cxn>
                <a:cxn ang="0">
                  <a:pos x="T2" y="T3"/>
                </a:cxn>
                <a:cxn ang="0">
                  <a:pos x="T4" y="T5"/>
                </a:cxn>
                <a:cxn ang="0">
                  <a:pos x="T6" y="T7"/>
                </a:cxn>
                <a:cxn ang="0">
                  <a:pos x="T8" y="T9"/>
                </a:cxn>
                <a:cxn ang="0">
                  <a:pos x="T10" y="T11"/>
                </a:cxn>
              </a:cxnLst>
              <a:rect l="0" t="0" r="r" b="b"/>
              <a:pathLst>
                <a:path w="124" h="209">
                  <a:moveTo>
                    <a:pt x="124" y="124"/>
                  </a:moveTo>
                  <a:cubicBezTo>
                    <a:pt x="124" y="157"/>
                    <a:pt x="112" y="187"/>
                    <a:pt x="91" y="209"/>
                  </a:cubicBezTo>
                  <a:cubicBezTo>
                    <a:pt x="59" y="177"/>
                    <a:pt x="59" y="177"/>
                    <a:pt x="59" y="177"/>
                  </a:cubicBezTo>
                  <a:cubicBezTo>
                    <a:pt x="105" y="129"/>
                    <a:pt x="67" y="42"/>
                    <a:pt x="0" y="45"/>
                  </a:cubicBezTo>
                  <a:cubicBezTo>
                    <a:pt x="0" y="0"/>
                    <a:pt x="0" y="0"/>
                    <a:pt x="0" y="0"/>
                  </a:cubicBezTo>
                  <a:cubicBezTo>
                    <a:pt x="68" y="0"/>
                    <a:pt x="124" y="55"/>
                    <a:pt x="124" y="124"/>
                  </a:cubicBezTo>
                  <a:close/>
                </a:path>
              </a:pathLst>
            </a:custGeom>
            <a:solidFill>
              <a:srgbClr val="62A9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39" name="Freeform 30">
              <a:extLst>
                <a:ext uri="{FF2B5EF4-FFF2-40B4-BE49-F238E27FC236}">
                  <a16:creationId xmlns:a16="http://schemas.microsoft.com/office/drawing/2014/main" id="{EE45C9E6-D06C-493A-A5F6-67986EC1CC58}"/>
                </a:ext>
              </a:extLst>
            </p:cNvPr>
            <p:cNvSpPr>
              <a:spLocks noEditPoints="1"/>
            </p:cNvSpPr>
            <p:nvPr/>
          </p:nvSpPr>
          <p:spPr bwMode="auto">
            <a:xfrm>
              <a:off x="6103938" y="3275013"/>
              <a:ext cx="744538" cy="935038"/>
            </a:xfrm>
            <a:custGeom>
              <a:avLst/>
              <a:gdLst>
                <a:gd name="T0" fmla="*/ 96 w 179"/>
                <a:gd name="T1" fmla="*/ 222 h 225"/>
                <a:gd name="T2" fmla="*/ 61 w 179"/>
                <a:gd name="T3" fmla="*/ 189 h 225"/>
                <a:gd name="T4" fmla="*/ 61 w 179"/>
                <a:gd name="T5" fmla="*/ 183 h 225"/>
                <a:gd name="T6" fmla="*/ 80 w 179"/>
                <a:gd name="T7" fmla="*/ 133 h 225"/>
                <a:gd name="T8" fmla="*/ 5 w 179"/>
                <a:gd name="T9" fmla="*/ 58 h 225"/>
                <a:gd name="T10" fmla="*/ 0 w 179"/>
                <a:gd name="T11" fmla="*/ 54 h 225"/>
                <a:gd name="T12" fmla="*/ 0 w 179"/>
                <a:gd name="T13" fmla="*/ 9 h 225"/>
                <a:gd name="T14" fmla="*/ 5 w 179"/>
                <a:gd name="T15" fmla="*/ 4 h 225"/>
                <a:gd name="T16" fmla="*/ 96 w 179"/>
                <a:gd name="T17" fmla="*/ 222 h 225"/>
                <a:gd name="T18" fmla="*/ 70 w 179"/>
                <a:gd name="T19" fmla="*/ 186 h 225"/>
                <a:gd name="T20" fmla="*/ 96 w 179"/>
                <a:gd name="T21" fmla="*/ 211 h 225"/>
                <a:gd name="T22" fmla="*/ 9 w 179"/>
                <a:gd name="T23" fmla="*/ 13 h 225"/>
                <a:gd name="T24" fmla="*/ 9 w 179"/>
                <a:gd name="T25" fmla="*/ 49 h 225"/>
                <a:gd name="T26" fmla="*/ 70 w 179"/>
                <a:gd name="T27" fmla="*/ 186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9" h="225">
                  <a:moveTo>
                    <a:pt x="96" y="222"/>
                  </a:moveTo>
                  <a:cubicBezTo>
                    <a:pt x="94" y="225"/>
                    <a:pt x="62" y="190"/>
                    <a:pt x="61" y="189"/>
                  </a:cubicBezTo>
                  <a:cubicBezTo>
                    <a:pt x="59" y="188"/>
                    <a:pt x="59" y="185"/>
                    <a:pt x="61" y="183"/>
                  </a:cubicBezTo>
                  <a:cubicBezTo>
                    <a:pt x="73" y="169"/>
                    <a:pt x="80" y="152"/>
                    <a:pt x="80" y="133"/>
                  </a:cubicBezTo>
                  <a:cubicBezTo>
                    <a:pt x="80" y="92"/>
                    <a:pt x="46" y="58"/>
                    <a:pt x="5" y="58"/>
                  </a:cubicBezTo>
                  <a:cubicBezTo>
                    <a:pt x="2" y="58"/>
                    <a:pt x="0" y="56"/>
                    <a:pt x="0" y="54"/>
                  </a:cubicBezTo>
                  <a:cubicBezTo>
                    <a:pt x="0" y="9"/>
                    <a:pt x="0" y="9"/>
                    <a:pt x="0" y="9"/>
                  </a:cubicBezTo>
                  <a:cubicBezTo>
                    <a:pt x="0" y="6"/>
                    <a:pt x="2" y="4"/>
                    <a:pt x="5" y="4"/>
                  </a:cubicBezTo>
                  <a:cubicBezTo>
                    <a:pt x="115" y="0"/>
                    <a:pt x="179" y="149"/>
                    <a:pt x="96" y="222"/>
                  </a:cubicBezTo>
                  <a:close/>
                  <a:moveTo>
                    <a:pt x="70" y="186"/>
                  </a:moveTo>
                  <a:cubicBezTo>
                    <a:pt x="96" y="211"/>
                    <a:pt x="96" y="211"/>
                    <a:pt x="96" y="211"/>
                  </a:cubicBezTo>
                  <a:cubicBezTo>
                    <a:pt x="161" y="139"/>
                    <a:pt x="107" y="14"/>
                    <a:pt x="9" y="13"/>
                  </a:cubicBezTo>
                  <a:cubicBezTo>
                    <a:pt x="9" y="49"/>
                    <a:pt x="9" y="49"/>
                    <a:pt x="9" y="49"/>
                  </a:cubicBezTo>
                  <a:cubicBezTo>
                    <a:pt x="76" y="51"/>
                    <a:pt x="113" y="135"/>
                    <a:pt x="70" y="186"/>
                  </a:cubicBezTo>
                  <a:close/>
                </a:path>
              </a:pathLst>
            </a:custGeom>
            <a:solidFill>
              <a:srgbClr val="2C16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40" name="Freeform 31">
              <a:extLst>
                <a:ext uri="{FF2B5EF4-FFF2-40B4-BE49-F238E27FC236}">
                  <a16:creationId xmlns:a16="http://schemas.microsoft.com/office/drawing/2014/main" id="{32462589-5768-450F-BFB2-05B53199A0EA}"/>
                </a:ext>
              </a:extLst>
            </p:cNvPr>
            <p:cNvSpPr>
              <a:spLocks/>
            </p:cNvSpPr>
            <p:nvPr/>
          </p:nvSpPr>
          <p:spPr bwMode="auto">
            <a:xfrm>
              <a:off x="5440363" y="3295651"/>
              <a:ext cx="684213" cy="884238"/>
            </a:xfrm>
            <a:custGeom>
              <a:avLst/>
              <a:gdLst>
                <a:gd name="T0" fmla="*/ 165 w 165"/>
                <a:gd name="T1" fmla="*/ 4 h 213"/>
                <a:gd name="T2" fmla="*/ 165 w 165"/>
                <a:gd name="T3" fmla="*/ 49 h 213"/>
                <a:gd name="T4" fmla="*/ 105 w 165"/>
                <a:gd name="T5" fmla="*/ 181 h 213"/>
                <a:gd name="T6" fmla="*/ 73 w 165"/>
                <a:gd name="T7" fmla="*/ 213 h 213"/>
                <a:gd name="T8" fmla="*/ 165 w 165"/>
                <a:gd name="T9" fmla="*/ 4 h 213"/>
              </a:gdLst>
              <a:ahLst/>
              <a:cxnLst>
                <a:cxn ang="0">
                  <a:pos x="T0" y="T1"/>
                </a:cxn>
                <a:cxn ang="0">
                  <a:pos x="T2" y="T3"/>
                </a:cxn>
                <a:cxn ang="0">
                  <a:pos x="T4" y="T5"/>
                </a:cxn>
                <a:cxn ang="0">
                  <a:pos x="T6" y="T7"/>
                </a:cxn>
                <a:cxn ang="0">
                  <a:pos x="T8" y="T9"/>
                </a:cxn>
              </a:cxnLst>
              <a:rect l="0" t="0" r="r" b="b"/>
              <a:pathLst>
                <a:path w="165" h="213">
                  <a:moveTo>
                    <a:pt x="165" y="4"/>
                  </a:moveTo>
                  <a:cubicBezTo>
                    <a:pt x="165" y="49"/>
                    <a:pt x="165" y="49"/>
                    <a:pt x="165" y="49"/>
                  </a:cubicBezTo>
                  <a:cubicBezTo>
                    <a:pt x="97" y="46"/>
                    <a:pt x="59" y="133"/>
                    <a:pt x="105" y="181"/>
                  </a:cubicBezTo>
                  <a:cubicBezTo>
                    <a:pt x="73" y="213"/>
                    <a:pt x="73" y="213"/>
                    <a:pt x="73" y="213"/>
                  </a:cubicBezTo>
                  <a:cubicBezTo>
                    <a:pt x="0" y="139"/>
                    <a:pt x="58" y="0"/>
                    <a:pt x="165" y="4"/>
                  </a:cubicBezTo>
                  <a:close/>
                </a:path>
              </a:pathLst>
            </a:custGeom>
            <a:solidFill>
              <a:srgbClr val="E6605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41" name="Freeform 32">
              <a:extLst>
                <a:ext uri="{FF2B5EF4-FFF2-40B4-BE49-F238E27FC236}">
                  <a16:creationId xmlns:a16="http://schemas.microsoft.com/office/drawing/2014/main" id="{DCDFE918-0EE6-4660-9076-3CF097FACEF5}"/>
                </a:ext>
              </a:extLst>
            </p:cNvPr>
            <p:cNvSpPr>
              <a:spLocks noEditPoints="1"/>
            </p:cNvSpPr>
            <p:nvPr/>
          </p:nvSpPr>
          <p:spPr bwMode="auto">
            <a:xfrm>
              <a:off x="5402263" y="3275013"/>
              <a:ext cx="739775" cy="935038"/>
            </a:xfrm>
            <a:custGeom>
              <a:avLst/>
              <a:gdLst>
                <a:gd name="T0" fmla="*/ 82 w 178"/>
                <a:gd name="T1" fmla="*/ 222 h 225"/>
                <a:gd name="T2" fmla="*/ 174 w 178"/>
                <a:gd name="T3" fmla="*/ 4 h 225"/>
                <a:gd name="T4" fmla="*/ 178 w 178"/>
                <a:gd name="T5" fmla="*/ 9 h 225"/>
                <a:gd name="T6" fmla="*/ 178 w 178"/>
                <a:gd name="T7" fmla="*/ 54 h 225"/>
                <a:gd name="T8" fmla="*/ 174 w 178"/>
                <a:gd name="T9" fmla="*/ 58 h 225"/>
                <a:gd name="T10" fmla="*/ 98 w 178"/>
                <a:gd name="T11" fmla="*/ 133 h 225"/>
                <a:gd name="T12" fmla="*/ 117 w 178"/>
                <a:gd name="T13" fmla="*/ 183 h 225"/>
                <a:gd name="T14" fmla="*/ 117 w 178"/>
                <a:gd name="T15" fmla="*/ 189 h 225"/>
                <a:gd name="T16" fmla="*/ 82 w 178"/>
                <a:gd name="T17" fmla="*/ 222 h 225"/>
                <a:gd name="T18" fmla="*/ 169 w 178"/>
                <a:gd name="T19" fmla="*/ 13 h 225"/>
                <a:gd name="T20" fmla="*/ 82 w 178"/>
                <a:gd name="T21" fmla="*/ 211 h 225"/>
                <a:gd name="T22" fmla="*/ 108 w 178"/>
                <a:gd name="T23" fmla="*/ 186 h 225"/>
                <a:gd name="T24" fmla="*/ 169 w 178"/>
                <a:gd name="T25" fmla="*/ 49 h 225"/>
                <a:gd name="T26" fmla="*/ 169 w 178"/>
                <a:gd name="T27" fmla="*/ 13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8" h="225">
                  <a:moveTo>
                    <a:pt x="82" y="222"/>
                  </a:moveTo>
                  <a:cubicBezTo>
                    <a:pt x="0" y="149"/>
                    <a:pt x="63" y="0"/>
                    <a:pt x="174" y="4"/>
                  </a:cubicBezTo>
                  <a:cubicBezTo>
                    <a:pt x="176" y="4"/>
                    <a:pt x="178" y="6"/>
                    <a:pt x="178" y="9"/>
                  </a:cubicBezTo>
                  <a:cubicBezTo>
                    <a:pt x="178" y="54"/>
                    <a:pt x="178" y="54"/>
                    <a:pt x="178" y="54"/>
                  </a:cubicBezTo>
                  <a:cubicBezTo>
                    <a:pt x="178" y="56"/>
                    <a:pt x="176" y="58"/>
                    <a:pt x="174" y="58"/>
                  </a:cubicBezTo>
                  <a:cubicBezTo>
                    <a:pt x="132" y="58"/>
                    <a:pt x="98" y="92"/>
                    <a:pt x="98" y="133"/>
                  </a:cubicBezTo>
                  <a:cubicBezTo>
                    <a:pt x="98" y="152"/>
                    <a:pt x="105" y="169"/>
                    <a:pt x="117" y="183"/>
                  </a:cubicBezTo>
                  <a:cubicBezTo>
                    <a:pt x="119" y="185"/>
                    <a:pt x="119" y="188"/>
                    <a:pt x="117" y="189"/>
                  </a:cubicBezTo>
                  <a:cubicBezTo>
                    <a:pt x="116" y="190"/>
                    <a:pt x="84" y="225"/>
                    <a:pt x="82" y="222"/>
                  </a:cubicBezTo>
                  <a:close/>
                  <a:moveTo>
                    <a:pt x="169" y="13"/>
                  </a:moveTo>
                  <a:cubicBezTo>
                    <a:pt x="71" y="14"/>
                    <a:pt x="17" y="139"/>
                    <a:pt x="82" y="211"/>
                  </a:cubicBezTo>
                  <a:cubicBezTo>
                    <a:pt x="108" y="186"/>
                    <a:pt x="108" y="186"/>
                    <a:pt x="108" y="186"/>
                  </a:cubicBezTo>
                  <a:cubicBezTo>
                    <a:pt x="65" y="135"/>
                    <a:pt x="103" y="51"/>
                    <a:pt x="169" y="49"/>
                  </a:cubicBezTo>
                  <a:lnTo>
                    <a:pt x="169" y="13"/>
                  </a:lnTo>
                  <a:close/>
                </a:path>
              </a:pathLst>
            </a:custGeom>
            <a:solidFill>
              <a:srgbClr val="2C16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42" name="Freeform 33">
              <a:extLst>
                <a:ext uri="{FF2B5EF4-FFF2-40B4-BE49-F238E27FC236}">
                  <a16:creationId xmlns:a16="http://schemas.microsoft.com/office/drawing/2014/main" id="{0D23AC0C-5815-48E0-B1C1-4D2A92E2A437}"/>
                </a:ext>
              </a:extLst>
            </p:cNvPr>
            <p:cNvSpPr>
              <a:spLocks/>
            </p:cNvSpPr>
            <p:nvPr/>
          </p:nvSpPr>
          <p:spPr bwMode="auto">
            <a:xfrm>
              <a:off x="4597401" y="4591051"/>
              <a:ext cx="169863" cy="228600"/>
            </a:xfrm>
            <a:custGeom>
              <a:avLst/>
              <a:gdLst>
                <a:gd name="T0" fmla="*/ 41 w 41"/>
                <a:gd name="T1" fmla="*/ 28 h 55"/>
                <a:gd name="T2" fmla="*/ 0 w 41"/>
                <a:gd name="T3" fmla="*/ 28 h 55"/>
                <a:gd name="T4" fmla="*/ 41 w 41"/>
                <a:gd name="T5" fmla="*/ 28 h 55"/>
              </a:gdLst>
              <a:ahLst/>
              <a:cxnLst>
                <a:cxn ang="0">
                  <a:pos x="T0" y="T1"/>
                </a:cxn>
                <a:cxn ang="0">
                  <a:pos x="T2" y="T3"/>
                </a:cxn>
                <a:cxn ang="0">
                  <a:pos x="T4" y="T5"/>
                </a:cxn>
              </a:cxnLst>
              <a:rect l="0" t="0" r="r" b="b"/>
              <a:pathLst>
                <a:path w="41" h="55">
                  <a:moveTo>
                    <a:pt x="41" y="28"/>
                  </a:moveTo>
                  <a:cubicBezTo>
                    <a:pt x="41" y="55"/>
                    <a:pt x="0" y="55"/>
                    <a:pt x="0" y="28"/>
                  </a:cubicBezTo>
                  <a:cubicBezTo>
                    <a:pt x="0" y="0"/>
                    <a:pt x="41" y="0"/>
                    <a:pt x="41" y="28"/>
                  </a:cubicBezTo>
                  <a:close/>
                </a:path>
              </a:pathLst>
            </a:custGeom>
            <a:solidFill>
              <a:srgbClr val="F9D12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43" name="Freeform 34">
              <a:extLst>
                <a:ext uri="{FF2B5EF4-FFF2-40B4-BE49-F238E27FC236}">
                  <a16:creationId xmlns:a16="http://schemas.microsoft.com/office/drawing/2014/main" id="{E0D67ACA-46CF-46E6-9C1E-8951BE46C33D}"/>
                </a:ext>
              </a:extLst>
            </p:cNvPr>
            <p:cNvSpPr>
              <a:spLocks noEditPoints="1"/>
            </p:cNvSpPr>
            <p:nvPr/>
          </p:nvSpPr>
          <p:spPr bwMode="auto">
            <a:xfrm>
              <a:off x="4543426" y="4600576"/>
              <a:ext cx="277813" cy="211138"/>
            </a:xfrm>
            <a:custGeom>
              <a:avLst/>
              <a:gdLst>
                <a:gd name="T0" fmla="*/ 33 w 67"/>
                <a:gd name="T1" fmla="*/ 51 h 51"/>
                <a:gd name="T2" fmla="*/ 33 w 67"/>
                <a:gd name="T3" fmla="*/ 0 h 51"/>
                <a:gd name="T4" fmla="*/ 33 w 67"/>
                <a:gd name="T5" fmla="*/ 51 h 51"/>
                <a:gd name="T6" fmla="*/ 33 w 67"/>
                <a:gd name="T7" fmla="*/ 9 h 51"/>
                <a:gd name="T8" fmla="*/ 33 w 67"/>
                <a:gd name="T9" fmla="*/ 42 h 51"/>
                <a:gd name="T10" fmla="*/ 33 w 67"/>
                <a:gd name="T11" fmla="*/ 9 h 51"/>
              </a:gdLst>
              <a:ahLst/>
              <a:cxnLst>
                <a:cxn ang="0">
                  <a:pos x="T0" y="T1"/>
                </a:cxn>
                <a:cxn ang="0">
                  <a:pos x="T2" y="T3"/>
                </a:cxn>
                <a:cxn ang="0">
                  <a:pos x="T4" y="T5"/>
                </a:cxn>
                <a:cxn ang="0">
                  <a:pos x="T6" y="T7"/>
                </a:cxn>
                <a:cxn ang="0">
                  <a:pos x="T8" y="T9"/>
                </a:cxn>
                <a:cxn ang="0">
                  <a:pos x="T10" y="T11"/>
                </a:cxn>
              </a:cxnLst>
              <a:rect l="0" t="0" r="r" b="b"/>
              <a:pathLst>
                <a:path w="67" h="51">
                  <a:moveTo>
                    <a:pt x="33" y="51"/>
                  </a:moveTo>
                  <a:cubicBezTo>
                    <a:pt x="0" y="50"/>
                    <a:pt x="0" y="1"/>
                    <a:pt x="33" y="0"/>
                  </a:cubicBezTo>
                  <a:cubicBezTo>
                    <a:pt x="67" y="1"/>
                    <a:pt x="67" y="50"/>
                    <a:pt x="33" y="51"/>
                  </a:cubicBezTo>
                  <a:close/>
                  <a:moveTo>
                    <a:pt x="33" y="9"/>
                  </a:moveTo>
                  <a:cubicBezTo>
                    <a:pt x="12" y="10"/>
                    <a:pt x="12" y="41"/>
                    <a:pt x="33" y="42"/>
                  </a:cubicBezTo>
                  <a:cubicBezTo>
                    <a:pt x="55" y="41"/>
                    <a:pt x="55" y="10"/>
                    <a:pt x="33" y="9"/>
                  </a:cubicBezTo>
                  <a:close/>
                </a:path>
              </a:pathLst>
            </a:custGeom>
            <a:solidFill>
              <a:srgbClr val="2C16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44" name="Freeform 35">
              <a:extLst>
                <a:ext uri="{FF2B5EF4-FFF2-40B4-BE49-F238E27FC236}">
                  <a16:creationId xmlns:a16="http://schemas.microsoft.com/office/drawing/2014/main" id="{0311BA77-0C81-411E-BB81-2101A80971E9}"/>
                </a:ext>
              </a:extLst>
            </p:cNvPr>
            <p:cNvSpPr>
              <a:spLocks/>
            </p:cNvSpPr>
            <p:nvPr/>
          </p:nvSpPr>
          <p:spPr bwMode="auto">
            <a:xfrm>
              <a:off x="4679951" y="3233738"/>
              <a:ext cx="169863" cy="223838"/>
            </a:xfrm>
            <a:custGeom>
              <a:avLst/>
              <a:gdLst>
                <a:gd name="T0" fmla="*/ 41 w 41"/>
                <a:gd name="T1" fmla="*/ 27 h 54"/>
                <a:gd name="T2" fmla="*/ 0 w 41"/>
                <a:gd name="T3" fmla="*/ 27 h 54"/>
                <a:gd name="T4" fmla="*/ 41 w 41"/>
                <a:gd name="T5" fmla="*/ 27 h 54"/>
              </a:gdLst>
              <a:ahLst/>
              <a:cxnLst>
                <a:cxn ang="0">
                  <a:pos x="T0" y="T1"/>
                </a:cxn>
                <a:cxn ang="0">
                  <a:pos x="T2" y="T3"/>
                </a:cxn>
                <a:cxn ang="0">
                  <a:pos x="T4" y="T5"/>
                </a:cxn>
              </a:cxnLst>
              <a:rect l="0" t="0" r="r" b="b"/>
              <a:pathLst>
                <a:path w="41" h="54">
                  <a:moveTo>
                    <a:pt x="41" y="27"/>
                  </a:moveTo>
                  <a:cubicBezTo>
                    <a:pt x="40" y="54"/>
                    <a:pt x="0" y="54"/>
                    <a:pt x="0" y="27"/>
                  </a:cubicBezTo>
                  <a:cubicBezTo>
                    <a:pt x="0" y="0"/>
                    <a:pt x="41" y="0"/>
                    <a:pt x="41" y="27"/>
                  </a:cubicBezTo>
                  <a:close/>
                </a:path>
              </a:pathLst>
            </a:custGeom>
            <a:solidFill>
              <a:srgbClr val="E6605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45" name="Freeform 36">
              <a:extLst>
                <a:ext uri="{FF2B5EF4-FFF2-40B4-BE49-F238E27FC236}">
                  <a16:creationId xmlns:a16="http://schemas.microsoft.com/office/drawing/2014/main" id="{2C202905-665B-4CEB-8F15-4A0A4D7847EA}"/>
                </a:ext>
              </a:extLst>
            </p:cNvPr>
            <p:cNvSpPr>
              <a:spLocks noEditPoints="1"/>
            </p:cNvSpPr>
            <p:nvPr/>
          </p:nvSpPr>
          <p:spPr bwMode="auto">
            <a:xfrm>
              <a:off x="4625976" y="3241676"/>
              <a:ext cx="274638" cy="207963"/>
            </a:xfrm>
            <a:custGeom>
              <a:avLst/>
              <a:gdLst>
                <a:gd name="T0" fmla="*/ 33 w 66"/>
                <a:gd name="T1" fmla="*/ 50 h 50"/>
                <a:gd name="T2" fmla="*/ 33 w 66"/>
                <a:gd name="T3" fmla="*/ 0 h 50"/>
                <a:gd name="T4" fmla="*/ 33 w 66"/>
                <a:gd name="T5" fmla="*/ 50 h 50"/>
                <a:gd name="T6" fmla="*/ 33 w 66"/>
                <a:gd name="T7" fmla="*/ 9 h 50"/>
                <a:gd name="T8" fmla="*/ 33 w 66"/>
                <a:gd name="T9" fmla="*/ 41 h 50"/>
                <a:gd name="T10" fmla="*/ 33 w 66"/>
                <a:gd name="T11" fmla="*/ 9 h 50"/>
              </a:gdLst>
              <a:ahLst/>
              <a:cxnLst>
                <a:cxn ang="0">
                  <a:pos x="T0" y="T1"/>
                </a:cxn>
                <a:cxn ang="0">
                  <a:pos x="T2" y="T3"/>
                </a:cxn>
                <a:cxn ang="0">
                  <a:pos x="T4" y="T5"/>
                </a:cxn>
                <a:cxn ang="0">
                  <a:pos x="T6" y="T7"/>
                </a:cxn>
                <a:cxn ang="0">
                  <a:pos x="T8" y="T9"/>
                </a:cxn>
                <a:cxn ang="0">
                  <a:pos x="T10" y="T11"/>
                </a:cxn>
              </a:cxnLst>
              <a:rect l="0" t="0" r="r" b="b"/>
              <a:pathLst>
                <a:path w="66" h="50">
                  <a:moveTo>
                    <a:pt x="33" y="50"/>
                  </a:moveTo>
                  <a:cubicBezTo>
                    <a:pt x="0" y="49"/>
                    <a:pt x="0" y="0"/>
                    <a:pt x="33" y="0"/>
                  </a:cubicBezTo>
                  <a:cubicBezTo>
                    <a:pt x="66" y="0"/>
                    <a:pt x="66" y="49"/>
                    <a:pt x="33" y="50"/>
                  </a:cubicBezTo>
                  <a:close/>
                  <a:moveTo>
                    <a:pt x="33" y="9"/>
                  </a:moveTo>
                  <a:cubicBezTo>
                    <a:pt x="12" y="9"/>
                    <a:pt x="12" y="41"/>
                    <a:pt x="33" y="41"/>
                  </a:cubicBezTo>
                  <a:cubicBezTo>
                    <a:pt x="55" y="41"/>
                    <a:pt x="55" y="9"/>
                    <a:pt x="33" y="9"/>
                  </a:cubicBezTo>
                  <a:close/>
                </a:path>
              </a:pathLst>
            </a:custGeom>
            <a:solidFill>
              <a:srgbClr val="2C16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46" name="Freeform 37">
              <a:extLst>
                <a:ext uri="{FF2B5EF4-FFF2-40B4-BE49-F238E27FC236}">
                  <a16:creationId xmlns:a16="http://schemas.microsoft.com/office/drawing/2014/main" id="{D5BBDAE6-3CD3-436A-B20D-09B85DBC0BD8}"/>
                </a:ext>
              </a:extLst>
            </p:cNvPr>
            <p:cNvSpPr>
              <a:spLocks/>
            </p:cNvSpPr>
            <p:nvPr/>
          </p:nvSpPr>
          <p:spPr bwMode="auto">
            <a:xfrm>
              <a:off x="7499351" y="3421063"/>
              <a:ext cx="171450" cy="223838"/>
            </a:xfrm>
            <a:custGeom>
              <a:avLst/>
              <a:gdLst>
                <a:gd name="T0" fmla="*/ 41 w 41"/>
                <a:gd name="T1" fmla="*/ 27 h 54"/>
                <a:gd name="T2" fmla="*/ 0 w 41"/>
                <a:gd name="T3" fmla="*/ 27 h 54"/>
                <a:gd name="T4" fmla="*/ 41 w 41"/>
                <a:gd name="T5" fmla="*/ 27 h 54"/>
              </a:gdLst>
              <a:ahLst/>
              <a:cxnLst>
                <a:cxn ang="0">
                  <a:pos x="T0" y="T1"/>
                </a:cxn>
                <a:cxn ang="0">
                  <a:pos x="T2" y="T3"/>
                </a:cxn>
                <a:cxn ang="0">
                  <a:pos x="T4" y="T5"/>
                </a:cxn>
              </a:cxnLst>
              <a:rect l="0" t="0" r="r" b="b"/>
              <a:pathLst>
                <a:path w="41" h="54">
                  <a:moveTo>
                    <a:pt x="41" y="27"/>
                  </a:moveTo>
                  <a:cubicBezTo>
                    <a:pt x="41" y="54"/>
                    <a:pt x="0" y="54"/>
                    <a:pt x="0" y="27"/>
                  </a:cubicBezTo>
                  <a:cubicBezTo>
                    <a:pt x="0" y="0"/>
                    <a:pt x="41" y="0"/>
                    <a:pt x="41" y="27"/>
                  </a:cubicBezTo>
                  <a:close/>
                </a:path>
              </a:pathLst>
            </a:custGeom>
            <a:solidFill>
              <a:srgbClr val="62A9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47" name="Freeform 38">
              <a:extLst>
                <a:ext uri="{FF2B5EF4-FFF2-40B4-BE49-F238E27FC236}">
                  <a16:creationId xmlns:a16="http://schemas.microsoft.com/office/drawing/2014/main" id="{05B4F8F7-D828-431C-976C-E14D1A186A77}"/>
                </a:ext>
              </a:extLst>
            </p:cNvPr>
            <p:cNvSpPr>
              <a:spLocks noEditPoints="1"/>
            </p:cNvSpPr>
            <p:nvPr/>
          </p:nvSpPr>
          <p:spPr bwMode="auto">
            <a:xfrm>
              <a:off x="7445376" y="3429001"/>
              <a:ext cx="274638" cy="207963"/>
            </a:xfrm>
            <a:custGeom>
              <a:avLst/>
              <a:gdLst>
                <a:gd name="T0" fmla="*/ 33 w 66"/>
                <a:gd name="T1" fmla="*/ 50 h 50"/>
                <a:gd name="T2" fmla="*/ 33 w 66"/>
                <a:gd name="T3" fmla="*/ 0 h 50"/>
                <a:gd name="T4" fmla="*/ 33 w 66"/>
                <a:gd name="T5" fmla="*/ 50 h 50"/>
                <a:gd name="T6" fmla="*/ 33 w 66"/>
                <a:gd name="T7" fmla="*/ 9 h 50"/>
                <a:gd name="T8" fmla="*/ 33 w 66"/>
                <a:gd name="T9" fmla="*/ 41 h 50"/>
                <a:gd name="T10" fmla="*/ 33 w 66"/>
                <a:gd name="T11" fmla="*/ 9 h 50"/>
              </a:gdLst>
              <a:ahLst/>
              <a:cxnLst>
                <a:cxn ang="0">
                  <a:pos x="T0" y="T1"/>
                </a:cxn>
                <a:cxn ang="0">
                  <a:pos x="T2" y="T3"/>
                </a:cxn>
                <a:cxn ang="0">
                  <a:pos x="T4" y="T5"/>
                </a:cxn>
                <a:cxn ang="0">
                  <a:pos x="T6" y="T7"/>
                </a:cxn>
                <a:cxn ang="0">
                  <a:pos x="T8" y="T9"/>
                </a:cxn>
                <a:cxn ang="0">
                  <a:pos x="T10" y="T11"/>
                </a:cxn>
              </a:cxnLst>
              <a:rect l="0" t="0" r="r" b="b"/>
              <a:pathLst>
                <a:path w="66" h="50">
                  <a:moveTo>
                    <a:pt x="33" y="50"/>
                  </a:moveTo>
                  <a:cubicBezTo>
                    <a:pt x="0" y="49"/>
                    <a:pt x="0" y="0"/>
                    <a:pt x="33" y="0"/>
                  </a:cubicBezTo>
                  <a:cubicBezTo>
                    <a:pt x="66" y="0"/>
                    <a:pt x="66" y="49"/>
                    <a:pt x="33" y="50"/>
                  </a:cubicBezTo>
                  <a:close/>
                  <a:moveTo>
                    <a:pt x="33" y="9"/>
                  </a:moveTo>
                  <a:cubicBezTo>
                    <a:pt x="12" y="9"/>
                    <a:pt x="12" y="41"/>
                    <a:pt x="33" y="41"/>
                  </a:cubicBezTo>
                  <a:cubicBezTo>
                    <a:pt x="55" y="41"/>
                    <a:pt x="55" y="9"/>
                    <a:pt x="33" y="9"/>
                  </a:cubicBezTo>
                  <a:close/>
                </a:path>
              </a:pathLst>
            </a:custGeom>
            <a:solidFill>
              <a:srgbClr val="2C16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48" name="Freeform 39">
              <a:extLst>
                <a:ext uri="{FF2B5EF4-FFF2-40B4-BE49-F238E27FC236}">
                  <a16:creationId xmlns:a16="http://schemas.microsoft.com/office/drawing/2014/main" id="{6BD7640A-AB5C-44D1-8995-B2F163446FCD}"/>
                </a:ext>
              </a:extLst>
            </p:cNvPr>
            <p:cNvSpPr>
              <a:spLocks/>
            </p:cNvSpPr>
            <p:nvPr/>
          </p:nvSpPr>
          <p:spPr bwMode="auto">
            <a:xfrm>
              <a:off x="6394451" y="2033588"/>
              <a:ext cx="1196975" cy="609600"/>
            </a:xfrm>
            <a:custGeom>
              <a:avLst/>
              <a:gdLst>
                <a:gd name="T0" fmla="*/ 281 w 288"/>
                <a:gd name="T1" fmla="*/ 1 h 147"/>
                <a:gd name="T2" fmla="*/ 217 w 288"/>
                <a:gd name="T3" fmla="*/ 16 h 147"/>
                <a:gd name="T4" fmla="*/ 214 w 288"/>
                <a:gd name="T5" fmla="*/ 25 h 147"/>
                <a:gd name="T6" fmla="*/ 229 w 288"/>
                <a:gd name="T7" fmla="*/ 40 h 147"/>
                <a:gd name="T8" fmla="*/ 159 w 288"/>
                <a:gd name="T9" fmla="*/ 110 h 147"/>
                <a:gd name="T10" fmla="*/ 89 w 288"/>
                <a:gd name="T11" fmla="*/ 39 h 147"/>
                <a:gd name="T12" fmla="*/ 0 w 288"/>
                <a:gd name="T13" fmla="*/ 129 h 147"/>
                <a:gd name="T14" fmla="*/ 18 w 288"/>
                <a:gd name="T15" fmla="*/ 147 h 147"/>
                <a:gd name="T16" fmla="*/ 89 w 288"/>
                <a:gd name="T17" fmla="*/ 77 h 147"/>
                <a:gd name="T18" fmla="*/ 159 w 288"/>
                <a:gd name="T19" fmla="*/ 147 h 147"/>
                <a:gd name="T20" fmla="*/ 159 w 288"/>
                <a:gd name="T21" fmla="*/ 147 h 147"/>
                <a:gd name="T22" fmla="*/ 248 w 288"/>
                <a:gd name="T23" fmla="*/ 58 h 147"/>
                <a:gd name="T24" fmla="*/ 262 w 288"/>
                <a:gd name="T25" fmla="*/ 73 h 147"/>
                <a:gd name="T26" fmla="*/ 271 w 288"/>
                <a:gd name="T27" fmla="*/ 70 h 147"/>
                <a:gd name="T28" fmla="*/ 287 w 288"/>
                <a:gd name="T29" fmla="*/ 7 h 147"/>
                <a:gd name="T30" fmla="*/ 281 w 288"/>
                <a:gd name="T31" fmla="*/ 1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8" h="147">
                  <a:moveTo>
                    <a:pt x="281" y="1"/>
                  </a:moveTo>
                  <a:cubicBezTo>
                    <a:pt x="217" y="16"/>
                    <a:pt x="217" y="16"/>
                    <a:pt x="217" y="16"/>
                  </a:cubicBezTo>
                  <a:cubicBezTo>
                    <a:pt x="213" y="17"/>
                    <a:pt x="211" y="22"/>
                    <a:pt x="214" y="25"/>
                  </a:cubicBezTo>
                  <a:cubicBezTo>
                    <a:pt x="229" y="40"/>
                    <a:pt x="229" y="40"/>
                    <a:pt x="229" y="40"/>
                  </a:cubicBezTo>
                  <a:cubicBezTo>
                    <a:pt x="159" y="110"/>
                    <a:pt x="159" y="110"/>
                    <a:pt x="159" y="110"/>
                  </a:cubicBezTo>
                  <a:cubicBezTo>
                    <a:pt x="89" y="39"/>
                    <a:pt x="89" y="39"/>
                    <a:pt x="89" y="39"/>
                  </a:cubicBezTo>
                  <a:cubicBezTo>
                    <a:pt x="0" y="129"/>
                    <a:pt x="0" y="129"/>
                    <a:pt x="0" y="129"/>
                  </a:cubicBezTo>
                  <a:cubicBezTo>
                    <a:pt x="18" y="147"/>
                    <a:pt x="18" y="147"/>
                    <a:pt x="18" y="147"/>
                  </a:cubicBezTo>
                  <a:cubicBezTo>
                    <a:pt x="89" y="77"/>
                    <a:pt x="89" y="77"/>
                    <a:pt x="89" y="77"/>
                  </a:cubicBezTo>
                  <a:cubicBezTo>
                    <a:pt x="159" y="147"/>
                    <a:pt x="159" y="147"/>
                    <a:pt x="159" y="147"/>
                  </a:cubicBezTo>
                  <a:cubicBezTo>
                    <a:pt x="159" y="147"/>
                    <a:pt x="159" y="147"/>
                    <a:pt x="159" y="147"/>
                  </a:cubicBezTo>
                  <a:cubicBezTo>
                    <a:pt x="248" y="58"/>
                    <a:pt x="248" y="58"/>
                    <a:pt x="248" y="58"/>
                  </a:cubicBezTo>
                  <a:cubicBezTo>
                    <a:pt x="262" y="73"/>
                    <a:pt x="262" y="73"/>
                    <a:pt x="262" y="73"/>
                  </a:cubicBezTo>
                  <a:cubicBezTo>
                    <a:pt x="265" y="76"/>
                    <a:pt x="270" y="74"/>
                    <a:pt x="271" y="70"/>
                  </a:cubicBezTo>
                  <a:cubicBezTo>
                    <a:pt x="287" y="7"/>
                    <a:pt x="287" y="7"/>
                    <a:pt x="287" y="7"/>
                  </a:cubicBezTo>
                  <a:cubicBezTo>
                    <a:pt x="288" y="3"/>
                    <a:pt x="285" y="0"/>
                    <a:pt x="281" y="1"/>
                  </a:cubicBezTo>
                  <a:close/>
                </a:path>
              </a:pathLst>
            </a:custGeom>
            <a:solidFill>
              <a:srgbClr val="F9D12B"/>
            </a:solidFill>
            <a:ln w="33338" cap="flat">
              <a:solidFill>
                <a:srgbClr val="2C1610"/>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49" name="Freeform 40">
              <a:extLst>
                <a:ext uri="{FF2B5EF4-FFF2-40B4-BE49-F238E27FC236}">
                  <a16:creationId xmlns:a16="http://schemas.microsoft.com/office/drawing/2014/main" id="{3219190B-8E5E-445F-A15A-3AF895684BDB}"/>
                </a:ext>
              </a:extLst>
            </p:cNvPr>
            <p:cNvSpPr>
              <a:spLocks/>
            </p:cNvSpPr>
            <p:nvPr/>
          </p:nvSpPr>
          <p:spPr bwMode="auto">
            <a:xfrm>
              <a:off x="7159626" y="3822701"/>
              <a:ext cx="190500" cy="117475"/>
            </a:xfrm>
            <a:custGeom>
              <a:avLst/>
              <a:gdLst>
                <a:gd name="T0" fmla="*/ 44 w 46"/>
                <a:gd name="T1" fmla="*/ 19 h 28"/>
                <a:gd name="T2" fmla="*/ 2 w 46"/>
                <a:gd name="T3" fmla="*/ 9 h 28"/>
                <a:gd name="T4" fmla="*/ 44 w 46"/>
                <a:gd name="T5" fmla="*/ 19 h 28"/>
              </a:gdLst>
              <a:ahLst/>
              <a:cxnLst>
                <a:cxn ang="0">
                  <a:pos x="T0" y="T1"/>
                </a:cxn>
                <a:cxn ang="0">
                  <a:pos x="T2" y="T3"/>
                </a:cxn>
                <a:cxn ang="0">
                  <a:pos x="T4" y="T5"/>
                </a:cxn>
              </a:cxnLst>
              <a:rect l="0" t="0" r="r" b="b"/>
              <a:pathLst>
                <a:path w="46" h="28">
                  <a:moveTo>
                    <a:pt x="44" y="19"/>
                  </a:moveTo>
                  <a:cubicBezTo>
                    <a:pt x="42" y="28"/>
                    <a:pt x="0" y="17"/>
                    <a:pt x="2" y="9"/>
                  </a:cubicBezTo>
                  <a:cubicBezTo>
                    <a:pt x="4" y="0"/>
                    <a:pt x="46" y="10"/>
                    <a:pt x="44" y="19"/>
                  </a:cubicBezTo>
                  <a:close/>
                </a:path>
              </a:pathLst>
            </a:custGeom>
            <a:solidFill>
              <a:srgbClr val="F1F7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50" name="Freeform 41">
              <a:extLst>
                <a:ext uri="{FF2B5EF4-FFF2-40B4-BE49-F238E27FC236}">
                  <a16:creationId xmlns:a16="http://schemas.microsoft.com/office/drawing/2014/main" id="{93598068-322A-4D0C-A407-9604BE01C349}"/>
                </a:ext>
              </a:extLst>
            </p:cNvPr>
            <p:cNvSpPr>
              <a:spLocks/>
            </p:cNvSpPr>
            <p:nvPr/>
          </p:nvSpPr>
          <p:spPr bwMode="auto">
            <a:xfrm>
              <a:off x="4638676" y="2012951"/>
              <a:ext cx="436563" cy="652463"/>
            </a:xfrm>
            <a:custGeom>
              <a:avLst/>
              <a:gdLst>
                <a:gd name="T0" fmla="*/ 120 w 275"/>
                <a:gd name="T1" fmla="*/ 411 h 411"/>
                <a:gd name="T2" fmla="*/ 84 w 275"/>
                <a:gd name="T3" fmla="*/ 332 h 411"/>
                <a:gd name="T4" fmla="*/ 0 w 275"/>
                <a:gd name="T5" fmla="*/ 358 h 411"/>
                <a:gd name="T6" fmla="*/ 154 w 275"/>
                <a:gd name="T7" fmla="*/ 0 h 411"/>
                <a:gd name="T8" fmla="*/ 275 w 275"/>
                <a:gd name="T9" fmla="*/ 52 h 411"/>
                <a:gd name="T10" fmla="*/ 120 w 275"/>
                <a:gd name="T11" fmla="*/ 411 h 411"/>
              </a:gdLst>
              <a:ahLst/>
              <a:cxnLst>
                <a:cxn ang="0">
                  <a:pos x="T0" y="T1"/>
                </a:cxn>
                <a:cxn ang="0">
                  <a:pos x="T2" y="T3"/>
                </a:cxn>
                <a:cxn ang="0">
                  <a:pos x="T4" y="T5"/>
                </a:cxn>
                <a:cxn ang="0">
                  <a:pos x="T6" y="T7"/>
                </a:cxn>
                <a:cxn ang="0">
                  <a:pos x="T8" y="T9"/>
                </a:cxn>
                <a:cxn ang="0">
                  <a:pos x="T10" y="T11"/>
                </a:cxn>
              </a:cxnLst>
              <a:rect l="0" t="0" r="r" b="b"/>
              <a:pathLst>
                <a:path w="275" h="411">
                  <a:moveTo>
                    <a:pt x="120" y="411"/>
                  </a:moveTo>
                  <a:lnTo>
                    <a:pt x="84" y="332"/>
                  </a:lnTo>
                  <a:lnTo>
                    <a:pt x="0" y="358"/>
                  </a:lnTo>
                  <a:lnTo>
                    <a:pt x="154" y="0"/>
                  </a:lnTo>
                  <a:lnTo>
                    <a:pt x="275" y="52"/>
                  </a:lnTo>
                  <a:lnTo>
                    <a:pt x="120" y="411"/>
                  </a:lnTo>
                  <a:close/>
                </a:path>
              </a:pathLst>
            </a:custGeom>
            <a:solidFill>
              <a:srgbClr val="62A9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51" name="Freeform 42">
              <a:extLst>
                <a:ext uri="{FF2B5EF4-FFF2-40B4-BE49-F238E27FC236}">
                  <a16:creationId xmlns:a16="http://schemas.microsoft.com/office/drawing/2014/main" id="{665A8657-0026-4293-B34F-463E409F5EBF}"/>
                </a:ext>
              </a:extLst>
            </p:cNvPr>
            <p:cNvSpPr>
              <a:spLocks noEditPoints="1"/>
            </p:cNvSpPr>
            <p:nvPr/>
          </p:nvSpPr>
          <p:spPr bwMode="auto">
            <a:xfrm>
              <a:off x="4613276" y="1984376"/>
              <a:ext cx="482600" cy="701675"/>
            </a:xfrm>
            <a:custGeom>
              <a:avLst/>
              <a:gdLst>
                <a:gd name="T0" fmla="*/ 52 w 116"/>
                <a:gd name="T1" fmla="*/ 169 h 169"/>
                <a:gd name="T2" fmla="*/ 48 w 116"/>
                <a:gd name="T3" fmla="*/ 166 h 169"/>
                <a:gd name="T4" fmla="*/ 36 w 116"/>
                <a:gd name="T5" fmla="*/ 139 h 169"/>
                <a:gd name="T6" fmla="*/ 7 w 116"/>
                <a:gd name="T7" fmla="*/ 149 h 169"/>
                <a:gd name="T8" fmla="*/ 2 w 116"/>
                <a:gd name="T9" fmla="*/ 143 h 169"/>
                <a:gd name="T10" fmla="*/ 61 w 116"/>
                <a:gd name="T11" fmla="*/ 6 h 169"/>
                <a:gd name="T12" fmla="*/ 63 w 116"/>
                <a:gd name="T13" fmla="*/ 3 h 169"/>
                <a:gd name="T14" fmla="*/ 113 w 116"/>
                <a:gd name="T15" fmla="*/ 23 h 169"/>
                <a:gd name="T16" fmla="*/ 115 w 116"/>
                <a:gd name="T17" fmla="*/ 29 h 169"/>
                <a:gd name="T18" fmla="*/ 56 w 116"/>
                <a:gd name="T19" fmla="*/ 166 h 169"/>
                <a:gd name="T20" fmla="*/ 52 w 116"/>
                <a:gd name="T21" fmla="*/ 169 h 169"/>
                <a:gd name="T22" fmla="*/ 38 w 116"/>
                <a:gd name="T23" fmla="*/ 129 h 169"/>
                <a:gd name="T24" fmla="*/ 42 w 116"/>
                <a:gd name="T25" fmla="*/ 132 h 169"/>
                <a:gd name="T26" fmla="*/ 52 w 116"/>
                <a:gd name="T27" fmla="*/ 153 h 169"/>
                <a:gd name="T28" fmla="*/ 105 w 116"/>
                <a:gd name="T29" fmla="*/ 30 h 169"/>
                <a:gd name="T30" fmla="*/ 67 w 116"/>
                <a:gd name="T31" fmla="*/ 13 h 169"/>
                <a:gd name="T32" fmla="*/ 14 w 116"/>
                <a:gd name="T33" fmla="*/ 137 h 169"/>
                <a:gd name="T34" fmla="*/ 37 w 116"/>
                <a:gd name="T35" fmla="*/ 129 h 169"/>
                <a:gd name="T36" fmla="*/ 38 w 116"/>
                <a:gd name="T37" fmla="*/ 129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6" h="169">
                  <a:moveTo>
                    <a:pt x="52" y="169"/>
                  </a:moveTo>
                  <a:cubicBezTo>
                    <a:pt x="50" y="169"/>
                    <a:pt x="49" y="168"/>
                    <a:pt x="48" y="166"/>
                  </a:cubicBezTo>
                  <a:cubicBezTo>
                    <a:pt x="36" y="139"/>
                    <a:pt x="36" y="139"/>
                    <a:pt x="36" y="139"/>
                  </a:cubicBezTo>
                  <a:cubicBezTo>
                    <a:pt x="7" y="149"/>
                    <a:pt x="7" y="149"/>
                    <a:pt x="7" y="149"/>
                  </a:cubicBezTo>
                  <a:cubicBezTo>
                    <a:pt x="4" y="150"/>
                    <a:pt x="0" y="146"/>
                    <a:pt x="2" y="143"/>
                  </a:cubicBezTo>
                  <a:cubicBezTo>
                    <a:pt x="61" y="6"/>
                    <a:pt x="61" y="6"/>
                    <a:pt x="61" y="6"/>
                  </a:cubicBezTo>
                  <a:cubicBezTo>
                    <a:pt x="61" y="5"/>
                    <a:pt x="62" y="4"/>
                    <a:pt x="63" y="3"/>
                  </a:cubicBezTo>
                  <a:cubicBezTo>
                    <a:pt x="63" y="0"/>
                    <a:pt x="112" y="23"/>
                    <a:pt x="113" y="23"/>
                  </a:cubicBezTo>
                  <a:cubicBezTo>
                    <a:pt x="115" y="24"/>
                    <a:pt x="116" y="27"/>
                    <a:pt x="115" y="29"/>
                  </a:cubicBezTo>
                  <a:cubicBezTo>
                    <a:pt x="56" y="166"/>
                    <a:pt x="56" y="166"/>
                    <a:pt x="56" y="166"/>
                  </a:cubicBezTo>
                  <a:cubicBezTo>
                    <a:pt x="56" y="168"/>
                    <a:pt x="54" y="169"/>
                    <a:pt x="52" y="169"/>
                  </a:cubicBezTo>
                  <a:close/>
                  <a:moveTo>
                    <a:pt x="38" y="129"/>
                  </a:moveTo>
                  <a:cubicBezTo>
                    <a:pt x="40" y="129"/>
                    <a:pt x="41" y="130"/>
                    <a:pt x="42" y="132"/>
                  </a:cubicBezTo>
                  <a:cubicBezTo>
                    <a:pt x="52" y="153"/>
                    <a:pt x="52" y="153"/>
                    <a:pt x="52" y="153"/>
                  </a:cubicBezTo>
                  <a:cubicBezTo>
                    <a:pt x="105" y="30"/>
                    <a:pt x="105" y="30"/>
                    <a:pt x="105" y="30"/>
                  </a:cubicBezTo>
                  <a:cubicBezTo>
                    <a:pt x="67" y="13"/>
                    <a:pt x="67" y="13"/>
                    <a:pt x="67" y="13"/>
                  </a:cubicBezTo>
                  <a:cubicBezTo>
                    <a:pt x="14" y="137"/>
                    <a:pt x="14" y="137"/>
                    <a:pt x="14" y="137"/>
                  </a:cubicBezTo>
                  <a:cubicBezTo>
                    <a:pt x="37" y="129"/>
                    <a:pt x="37" y="129"/>
                    <a:pt x="37" y="129"/>
                  </a:cubicBezTo>
                  <a:cubicBezTo>
                    <a:pt x="37" y="129"/>
                    <a:pt x="37" y="129"/>
                    <a:pt x="38" y="129"/>
                  </a:cubicBezTo>
                  <a:close/>
                </a:path>
              </a:pathLst>
            </a:custGeom>
            <a:solidFill>
              <a:srgbClr val="2C16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52" name="Freeform 43">
              <a:extLst>
                <a:ext uri="{FF2B5EF4-FFF2-40B4-BE49-F238E27FC236}">
                  <a16:creationId xmlns:a16="http://schemas.microsoft.com/office/drawing/2014/main" id="{24F876EE-D5E9-44C7-B2DD-2F88E02D812D}"/>
                </a:ext>
              </a:extLst>
            </p:cNvPr>
            <p:cNvSpPr>
              <a:spLocks/>
            </p:cNvSpPr>
            <p:nvPr/>
          </p:nvSpPr>
          <p:spPr bwMode="auto">
            <a:xfrm>
              <a:off x="4991101" y="2012951"/>
              <a:ext cx="436563" cy="652463"/>
            </a:xfrm>
            <a:custGeom>
              <a:avLst/>
              <a:gdLst>
                <a:gd name="T0" fmla="*/ 155 w 275"/>
                <a:gd name="T1" fmla="*/ 411 h 411"/>
                <a:gd name="T2" fmla="*/ 191 w 275"/>
                <a:gd name="T3" fmla="*/ 332 h 411"/>
                <a:gd name="T4" fmla="*/ 275 w 275"/>
                <a:gd name="T5" fmla="*/ 358 h 411"/>
                <a:gd name="T6" fmla="*/ 121 w 275"/>
                <a:gd name="T7" fmla="*/ 0 h 411"/>
                <a:gd name="T8" fmla="*/ 0 w 275"/>
                <a:gd name="T9" fmla="*/ 52 h 411"/>
                <a:gd name="T10" fmla="*/ 155 w 275"/>
                <a:gd name="T11" fmla="*/ 411 h 411"/>
              </a:gdLst>
              <a:ahLst/>
              <a:cxnLst>
                <a:cxn ang="0">
                  <a:pos x="T0" y="T1"/>
                </a:cxn>
                <a:cxn ang="0">
                  <a:pos x="T2" y="T3"/>
                </a:cxn>
                <a:cxn ang="0">
                  <a:pos x="T4" y="T5"/>
                </a:cxn>
                <a:cxn ang="0">
                  <a:pos x="T6" y="T7"/>
                </a:cxn>
                <a:cxn ang="0">
                  <a:pos x="T8" y="T9"/>
                </a:cxn>
                <a:cxn ang="0">
                  <a:pos x="T10" y="T11"/>
                </a:cxn>
              </a:cxnLst>
              <a:rect l="0" t="0" r="r" b="b"/>
              <a:pathLst>
                <a:path w="275" h="411">
                  <a:moveTo>
                    <a:pt x="155" y="411"/>
                  </a:moveTo>
                  <a:lnTo>
                    <a:pt x="191" y="332"/>
                  </a:lnTo>
                  <a:lnTo>
                    <a:pt x="275" y="358"/>
                  </a:lnTo>
                  <a:lnTo>
                    <a:pt x="121" y="0"/>
                  </a:lnTo>
                  <a:lnTo>
                    <a:pt x="0" y="52"/>
                  </a:lnTo>
                  <a:lnTo>
                    <a:pt x="155" y="411"/>
                  </a:lnTo>
                  <a:close/>
                </a:path>
              </a:pathLst>
            </a:custGeom>
            <a:solidFill>
              <a:srgbClr val="62A9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53" name="Freeform 44">
              <a:extLst>
                <a:ext uri="{FF2B5EF4-FFF2-40B4-BE49-F238E27FC236}">
                  <a16:creationId xmlns:a16="http://schemas.microsoft.com/office/drawing/2014/main" id="{C691AC8E-45C4-4252-B7E2-7649C8360E37}"/>
                </a:ext>
              </a:extLst>
            </p:cNvPr>
            <p:cNvSpPr>
              <a:spLocks noEditPoints="1"/>
            </p:cNvSpPr>
            <p:nvPr/>
          </p:nvSpPr>
          <p:spPr bwMode="auto">
            <a:xfrm>
              <a:off x="4965701" y="1987551"/>
              <a:ext cx="482600" cy="698500"/>
            </a:xfrm>
            <a:custGeom>
              <a:avLst/>
              <a:gdLst>
                <a:gd name="T0" fmla="*/ 65 w 116"/>
                <a:gd name="T1" fmla="*/ 168 h 168"/>
                <a:gd name="T2" fmla="*/ 60 w 116"/>
                <a:gd name="T3" fmla="*/ 165 h 168"/>
                <a:gd name="T4" fmla="*/ 1 w 116"/>
                <a:gd name="T5" fmla="*/ 28 h 168"/>
                <a:gd name="T6" fmla="*/ 4 w 116"/>
                <a:gd name="T7" fmla="*/ 22 h 168"/>
                <a:gd name="T8" fmla="*/ 53 w 116"/>
                <a:gd name="T9" fmla="*/ 2 h 168"/>
                <a:gd name="T10" fmla="*/ 56 w 116"/>
                <a:gd name="T11" fmla="*/ 5 h 168"/>
                <a:gd name="T12" fmla="*/ 115 w 116"/>
                <a:gd name="T13" fmla="*/ 142 h 168"/>
                <a:gd name="T14" fmla="*/ 109 w 116"/>
                <a:gd name="T15" fmla="*/ 148 h 168"/>
                <a:gd name="T16" fmla="*/ 81 w 116"/>
                <a:gd name="T17" fmla="*/ 138 h 168"/>
                <a:gd name="T18" fmla="*/ 69 w 116"/>
                <a:gd name="T19" fmla="*/ 165 h 168"/>
                <a:gd name="T20" fmla="*/ 65 w 116"/>
                <a:gd name="T21" fmla="*/ 168 h 168"/>
                <a:gd name="T22" fmla="*/ 11 w 116"/>
                <a:gd name="T23" fmla="*/ 29 h 168"/>
                <a:gd name="T24" fmla="*/ 65 w 116"/>
                <a:gd name="T25" fmla="*/ 152 h 168"/>
                <a:gd name="T26" fmla="*/ 103 w 116"/>
                <a:gd name="T27" fmla="*/ 136 h 168"/>
                <a:gd name="T28" fmla="*/ 49 w 116"/>
                <a:gd name="T29" fmla="*/ 12 h 168"/>
                <a:gd name="T30" fmla="*/ 11 w 116"/>
                <a:gd name="T31" fmla="*/ 29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6" h="168">
                  <a:moveTo>
                    <a:pt x="65" y="168"/>
                  </a:moveTo>
                  <a:cubicBezTo>
                    <a:pt x="63" y="168"/>
                    <a:pt x="61" y="167"/>
                    <a:pt x="60" y="165"/>
                  </a:cubicBezTo>
                  <a:cubicBezTo>
                    <a:pt x="1" y="28"/>
                    <a:pt x="1" y="28"/>
                    <a:pt x="1" y="28"/>
                  </a:cubicBezTo>
                  <a:cubicBezTo>
                    <a:pt x="0" y="26"/>
                    <a:pt x="2" y="23"/>
                    <a:pt x="4" y="22"/>
                  </a:cubicBezTo>
                  <a:cubicBezTo>
                    <a:pt x="5" y="22"/>
                    <a:pt x="54" y="0"/>
                    <a:pt x="53" y="2"/>
                  </a:cubicBezTo>
                  <a:cubicBezTo>
                    <a:pt x="55" y="3"/>
                    <a:pt x="55" y="4"/>
                    <a:pt x="56" y="5"/>
                  </a:cubicBezTo>
                  <a:cubicBezTo>
                    <a:pt x="115" y="142"/>
                    <a:pt x="115" y="142"/>
                    <a:pt x="115" y="142"/>
                  </a:cubicBezTo>
                  <a:cubicBezTo>
                    <a:pt x="116" y="145"/>
                    <a:pt x="113" y="149"/>
                    <a:pt x="109" y="148"/>
                  </a:cubicBezTo>
                  <a:cubicBezTo>
                    <a:pt x="81" y="138"/>
                    <a:pt x="81" y="138"/>
                    <a:pt x="81" y="138"/>
                  </a:cubicBezTo>
                  <a:cubicBezTo>
                    <a:pt x="69" y="165"/>
                    <a:pt x="69" y="165"/>
                    <a:pt x="69" y="165"/>
                  </a:cubicBezTo>
                  <a:cubicBezTo>
                    <a:pt x="68" y="167"/>
                    <a:pt x="66" y="168"/>
                    <a:pt x="65" y="168"/>
                  </a:cubicBezTo>
                  <a:close/>
                  <a:moveTo>
                    <a:pt x="11" y="29"/>
                  </a:moveTo>
                  <a:cubicBezTo>
                    <a:pt x="65" y="152"/>
                    <a:pt x="65" y="152"/>
                    <a:pt x="65" y="152"/>
                  </a:cubicBezTo>
                  <a:cubicBezTo>
                    <a:pt x="79" y="122"/>
                    <a:pt x="71" y="126"/>
                    <a:pt x="103" y="136"/>
                  </a:cubicBezTo>
                  <a:cubicBezTo>
                    <a:pt x="49" y="12"/>
                    <a:pt x="49" y="12"/>
                    <a:pt x="49" y="12"/>
                  </a:cubicBezTo>
                  <a:lnTo>
                    <a:pt x="11" y="29"/>
                  </a:lnTo>
                  <a:close/>
                </a:path>
              </a:pathLst>
            </a:custGeom>
            <a:solidFill>
              <a:srgbClr val="2C16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54" name="Freeform 45">
              <a:extLst>
                <a:ext uri="{FF2B5EF4-FFF2-40B4-BE49-F238E27FC236}">
                  <a16:creationId xmlns:a16="http://schemas.microsoft.com/office/drawing/2014/main" id="{B0D6BB72-3805-4DA6-8146-B12D352EC45A}"/>
                </a:ext>
              </a:extLst>
            </p:cNvPr>
            <p:cNvSpPr>
              <a:spLocks/>
            </p:cNvSpPr>
            <p:nvPr/>
          </p:nvSpPr>
          <p:spPr bwMode="auto">
            <a:xfrm>
              <a:off x="4646613" y="1609726"/>
              <a:ext cx="773113" cy="760413"/>
            </a:xfrm>
            <a:custGeom>
              <a:avLst/>
              <a:gdLst>
                <a:gd name="T0" fmla="*/ 186 w 186"/>
                <a:gd name="T1" fmla="*/ 92 h 183"/>
                <a:gd name="T2" fmla="*/ 168 w 186"/>
                <a:gd name="T3" fmla="*/ 116 h 183"/>
                <a:gd name="T4" fmla="*/ 168 w 186"/>
                <a:gd name="T5" fmla="*/ 146 h 183"/>
                <a:gd name="T6" fmla="*/ 139 w 186"/>
                <a:gd name="T7" fmla="*/ 156 h 183"/>
                <a:gd name="T8" fmla="*/ 122 w 186"/>
                <a:gd name="T9" fmla="*/ 180 h 183"/>
                <a:gd name="T10" fmla="*/ 93 w 186"/>
                <a:gd name="T11" fmla="*/ 171 h 183"/>
                <a:gd name="T12" fmla="*/ 64 w 186"/>
                <a:gd name="T13" fmla="*/ 180 h 183"/>
                <a:gd name="T14" fmla="*/ 46 w 186"/>
                <a:gd name="T15" fmla="*/ 156 h 183"/>
                <a:gd name="T16" fmla="*/ 18 w 186"/>
                <a:gd name="T17" fmla="*/ 146 h 183"/>
                <a:gd name="T18" fmla="*/ 18 w 186"/>
                <a:gd name="T19" fmla="*/ 116 h 183"/>
                <a:gd name="T20" fmla="*/ 0 w 186"/>
                <a:gd name="T21" fmla="*/ 92 h 183"/>
                <a:gd name="T22" fmla="*/ 18 w 186"/>
                <a:gd name="T23" fmla="*/ 67 h 183"/>
                <a:gd name="T24" fmla="*/ 18 w 186"/>
                <a:gd name="T25" fmla="*/ 37 h 183"/>
                <a:gd name="T26" fmla="*/ 46 w 186"/>
                <a:gd name="T27" fmla="*/ 28 h 183"/>
                <a:gd name="T28" fmla="*/ 64 w 186"/>
                <a:gd name="T29" fmla="*/ 3 h 183"/>
                <a:gd name="T30" fmla="*/ 93 w 186"/>
                <a:gd name="T31" fmla="*/ 12 h 183"/>
                <a:gd name="T32" fmla="*/ 122 w 186"/>
                <a:gd name="T33" fmla="*/ 3 h 183"/>
                <a:gd name="T34" fmla="*/ 139 w 186"/>
                <a:gd name="T35" fmla="*/ 28 h 183"/>
                <a:gd name="T36" fmla="*/ 168 w 186"/>
                <a:gd name="T37" fmla="*/ 37 h 183"/>
                <a:gd name="T38" fmla="*/ 168 w 186"/>
                <a:gd name="T39" fmla="*/ 67 h 183"/>
                <a:gd name="T40" fmla="*/ 186 w 186"/>
                <a:gd name="T41" fmla="*/ 92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6" h="183">
                  <a:moveTo>
                    <a:pt x="186" y="92"/>
                  </a:moveTo>
                  <a:cubicBezTo>
                    <a:pt x="186" y="101"/>
                    <a:pt x="171" y="108"/>
                    <a:pt x="168" y="116"/>
                  </a:cubicBezTo>
                  <a:cubicBezTo>
                    <a:pt x="165" y="125"/>
                    <a:pt x="173" y="139"/>
                    <a:pt x="168" y="146"/>
                  </a:cubicBezTo>
                  <a:cubicBezTo>
                    <a:pt x="163" y="153"/>
                    <a:pt x="147" y="150"/>
                    <a:pt x="139" y="156"/>
                  </a:cubicBezTo>
                  <a:cubicBezTo>
                    <a:pt x="132" y="161"/>
                    <a:pt x="130" y="177"/>
                    <a:pt x="122" y="180"/>
                  </a:cubicBezTo>
                  <a:cubicBezTo>
                    <a:pt x="113" y="183"/>
                    <a:pt x="102" y="171"/>
                    <a:pt x="93" y="171"/>
                  </a:cubicBezTo>
                  <a:cubicBezTo>
                    <a:pt x="84" y="171"/>
                    <a:pt x="72" y="183"/>
                    <a:pt x="64" y="180"/>
                  </a:cubicBezTo>
                  <a:cubicBezTo>
                    <a:pt x="55" y="177"/>
                    <a:pt x="54" y="161"/>
                    <a:pt x="46" y="156"/>
                  </a:cubicBezTo>
                  <a:cubicBezTo>
                    <a:pt x="39" y="150"/>
                    <a:pt x="23" y="153"/>
                    <a:pt x="18" y="146"/>
                  </a:cubicBezTo>
                  <a:cubicBezTo>
                    <a:pt x="12" y="139"/>
                    <a:pt x="20" y="125"/>
                    <a:pt x="18" y="116"/>
                  </a:cubicBezTo>
                  <a:cubicBezTo>
                    <a:pt x="15" y="108"/>
                    <a:pt x="0" y="101"/>
                    <a:pt x="0" y="92"/>
                  </a:cubicBezTo>
                  <a:cubicBezTo>
                    <a:pt x="0" y="82"/>
                    <a:pt x="15" y="75"/>
                    <a:pt x="18" y="67"/>
                  </a:cubicBezTo>
                  <a:cubicBezTo>
                    <a:pt x="20" y="58"/>
                    <a:pt x="12" y="44"/>
                    <a:pt x="18" y="37"/>
                  </a:cubicBezTo>
                  <a:cubicBezTo>
                    <a:pt x="23" y="30"/>
                    <a:pt x="39" y="33"/>
                    <a:pt x="46" y="28"/>
                  </a:cubicBezTo>
                  <a:cubicBezTo>
                    <a:pt x="54" y="22"/>
                    <a:pt x="55" y="6"/>
                    <a:pt x="64" y="3"/>
                  </a:cubicBezTo>
                  <a:cubicBezTo>
                    <a:pt x="72" y="0"/>
                    <a:pt x="84" y="12"/>
                    <a:pt x="93" y="12"/>
                  </a:cubicBezTo>
                  <a:cubicBezTo>
                    <a:pt x="102" y="12"/>
                    <a:pt x="113" y="0"/>
                    <a:pt x="122" y="3"/>
                  </a:cubicBezTo>
                  <a:cubicBezTo>
                    <a:pt x="130" y="6"/>
                    <a:pt x="132" y="22"/>
                    <a:pt x="139" y="28"/>
                  </a:cubicBezTo>
                  <a:cubicBezTo>
                    <a:pt x="147" y="33"/>
                    <a:pt x="163" y="30"/>
                    <a:pt x="168" y="37"/>
                  </a:cubicBezTo>
                  <a:cubicBezTo>
                    <a:pt x="173" y="44"/>
                    <a:pt x="165" y="58"/>
                    <a:pt x="168" y="67"/>
                  </a:cubicBezTo>
                  <a:cubicBezTo>
                    <a:pt x="171" y="75"/>
                    <a:pt x="186" y="82"/>
                    <a:pt x="186" y="92"/>
                  </a:cubicBezTo>
                  <a:close/>
                </a:path>
              </a:pathLst>
            </a:custGeom>
            <a:solidFill>
              <a:srgbClr val="C2DD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55" name="Freeform 46">
              <a:extLst>
                <a:ext uri="{FF2B5EF4-FFF2-40B4-BE49-F238E27FC236}">
                  <a16:creationId xmlns:a16="http://schemas.microsoft.com/office/drawing/2014/main" id="{A8D566AA-84C7-4807-830D-D64DF72FA5F8}"/>
                </a:ext>
              </a:extLst>
            </p:cNvPr>
            <p:cNvSpPr>
              <a:spLocks/>
            </p:cNvSpPr>
            <p:nvPr/>
          </p:nvSpPr>
          <p:spPr bwMode="auto">
            <a:xfrm>
              <a:off x="4646613" y="1609726"/>
              <a:ext cx="627063" cy="557213"/>
            </a:xfrm>
            <a:custGeom>
              <a:avLst/>
              <a:gdLst>
                <a:gd name="T0" fmla="*/ 151 w 151"/>
                <a:gd name="T1" fmla="*/ 31 h 134"/>
                <a:gd name="T2" fmla="*/ 122 w 151"/>
                <a:gd name="T3" fmla="*/ 3 h 134"/>
                <a:gd name="T4" fmla="*/ 93 w 151"/>
                <a:gd name="T5" fmla="*/ 12 h 134"/>
                <a:gd name="T6" fmla="*/ 64 w 151"/>
                <a:gd name="T7" fmla="*/ 3 h 134"/>
                <a:gd name="T8" fmla="*/ 46 w 151"/>
                <a:gd name="T9" fmla="*/ 28 h 134"/>
                <a:gd name="T10" fmla="*/ 18 w 151"/>
                <a:gd name="T11" fmla="*/ 37 h 134"/>
                <a:gd name="T12" fmla="*/ 18 w 151"/>
                <a:gd name="T13" fmla="*/ 67 h 134"/>
                <a:gd name="T14" fmla="*/ 0 w 151"/>
                <a:gd name="T15" fmla="*/ 92 h 134"/>
                <a:gd name="T16" fmla="*/ 16 w 151"/>
                <a:gd name="T17" fmla="*/ 134 h 134"/>
                <a:gd name="T18" fmla="*/ 151 w 151"/>
                <a:gd name="T19" fmla="*/ 31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1" h="134">
                  <a:moveTo>
                    <a:pt x="151" y="31"/>
                  </a:moveTo>
                  <a:cubicBezTo>
                    <a:pt x="131" y="31"/>
                    <a:pt x="135" y="10"/>
                    <a:pt x="122" y="3"/>
                  </a:cubicBezTo>
                  <a:cubicBezTo>
                    <a:pt x="113" y="0"/>
                    <a:pt x="102" y="12"/>
                    <a:pt x="93" y="12"/>
                  </a:cubicBezTo>
                  <a:cubicBezTo>
                    <a:pt x="84" y="12"/>
                    <a:pt x="72" y="0"/>
                    <a:pt x="64" y="3"/>
                  </a:cubicBezTo>
                  <a:cubicBezTo>
                    <a:pt x="55" y="6"/>
                    <a:pt x="54" y="22"/>
                    <a:pt x="46" y="28"/>
                  </a:cubicBezTo>
                  <a:cubicBezTo>
                    <a:pt x="39" y="33"/>
                    <a:pt x="23" y="30"/>
                    <a:pt x="18" y="37"/>
                  </a:cubicBezTo>
                  <a:cubicBezTo>
                    <a:pt x="12" y="44"/>
                    <a:pt x="20" y="58"/>
                    <a:pt x="18" y="67"/>
                  </a:cubicBezTo>
                  <a:cubicBezTo>
                    <a:pt x="15" y="75"/>
                    <a:pt x="0" y="82"/>
                    <a:pt x="0" y="92"/>
                  </a:cubicBezTo>
                  <a:cubicBezTo>
                    <a:pt x="5" y="112"/>
                    <a:pt x="24" y="104"/>
                    <a:pt x="16" y="134"/>
                  </a:cubicBezTo>
                  <a:cubicBezTo>
                    <a:pt x="78" y="123"/>
                    <a:pt x="131" y="95"/>
                    <a:pt x="151" y="31"/>
                  </a:cubicBezTo>
                  <a:close/>
                </a:path>
              </a:pathLst>
            </a:custGeom>
            <a:solidFill>
              <a:srgbClr val="EBF4F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56" name="Freeform 47">
              <a:extLst>
                <a:ext uri="{FF2B5EF4-FFF2-40B4-BE49-F238E27FC236}">
                  <a16:creationId xmlns:a16="http://schemas.microsoft.com/office/drawing/2014/main" id="{3A1AFC80-99C7-44EE-A8BB-CD3568B969CE}"/>
                </a:ext>
              </a:extLst>
            </p:cNvPr>
            <p:cNvSpPr>
              <a:spLocks noEditPoints="1"/>
            </p:cNvSpPr>
            <p:nvPr/>
          </p:nvSpPr>
          <p:spPr bwMode="auto">
            <a:xfrm>
              <a:off x="4613276" y="1584326"/>
              <a:ext cx="827088" cy="806450"/>
            </a:xfrm>
            <a:custGeom>
              <a:avLst/>
              <a:gdLst>
                <a:gd name="T0" fmla="*/ 75 w 199"/>
                <a:gd name="T1" fmla="*/ 191 h 194"/>
                <a:gd name="T2" fmla="*/ 52 w 199"/>
                <a:gd name="T3" fmla="*/ 165 h 194"/>
                <a:gd name="T4" fmla="*/ 40 w 199"/>
                <a:gd name="T5" fmla="*/ 162 h 194"/>
                <a:gd name="T6" fmla="*/ 22 w 199"/>
                <a:gd name="T7" fmla="*/ 155 h 194"/>
                <a:gd name="T8" fmla="*/ 21 w 199"/>
                <a:gd name="T9" fmla="*/ 123 h 194"/>
                <a:gd name="T10" fmla="*/ 14 w 199"/>
                <a:gd name="T11" fmla="*/ 115 h 194"/>
                <a:gd name="T12" fmla="*/ 14 w 199"/>
                <a:gd name="T13" fmla="*/ 80 h 194"/>
                <a:gd name="T14" fmla="*/ 21 w 199"/>
                <a:gd name="T15" fmla="*/ 60 h 194"/>
                <a:gd name="T16" fmla="*/ 40 w 199"/>
                <a:gd name="T17" fmla="*/ 33 h 194"/>
                <a:gd name="T18" fmla="*/ 58 w 199"/>
                <a:gd name="T19" fmla="*/ 20 h 194"/>
                <a:gd name="T20" fmla="*/ 90 w 199"/>
                <a:gd name="T21" fmla="*/ 10 h 194"/>
                <a:gd name="T22" fmla="*/ 131 w 199"/>
                <a:gd name="T23" fmla="*/ 5 h 194"/>
                <a:gd name="T24" fmla="*/ 150 w 199"/>
                <a:gd name="T25" fmla="*/ 30 h 194"/>
                <a:gd name="T26" fmla="*/ 180 w 199"/>
                <a:gd name="T27" fmla="*/ 40 h 194"/>
                <a:gd name="T28" fmla="*/ 180 w 199"/>
                <a:gd name="T29" fmla="*/ 72 h 194"/>
                <a:gd name="T30" fmla="*/ 198 w 199"/>
                <a:gd name="T31" fmla="*/ 98 h 194"/>
                <a:gd name="T32" fmla="*/ 181 w 199"/>
                <a:gd name="T33" fmla="*/ 135 h 194"/>
                <a:gd name="T34" fmla="*/ 161 w 199"/>
                <a:gd name="T35" fmla="*/ 162 h 194"/>
                <a:gd name="T36" fmla="*/ 150 w 199"/>
                <a:gd name="T37" fmla="*/ 165 h 194"/>
                <a:gd name="T38" fmla="*/ 131 w 199"/>
                <a:gd name="T39" fmla="*/ 190 h 194"/>
                <a:gd name="T40" fmla="*/ 101 w 199"/>
                <a:gd name="T41" fmla="*/ 181 h 194"/>
                <a:gd name="T42" fmla="*/ 75 w 199"/>
                <a:gd name="T43" fmla="*/ 191 h 194"/>
                <a:gd name="T44" fmla="*/ 101 w 199"/>
                <a:gd name="T45" fmla="*/ 172 h 194"/>
                <a:gd name="T46" fmla="*/ 128 w 199"/>
                <a:gd name="T47" fmla="*/ 182 h 194"/>
                <a:gd name="T48" fmla="*/ 145 w 199"/>
                <a:gd name="T49" fmla="*/ 158 h 194"/>
                <a:gd name="T50" fmla="*/ 172 w 199"/>
                <a:gd name="T51" fmla="*/ 150 h 194"/>
                <a:gd name="T52" fmla="*/ 172 w 199"/>
                <a:gd name="T53" fmla="*/ 121 h 194"/>
                <a:gd name="T54" fmla="*/ 189 w 199"/>
                <a:gd name="T55" fmla="*/ 98 h 194"/>
                <a:gd name="T56" fmla="*/ 172 w 199"/>
                <a:gd name="T57" fmla="*/ 74 h 194"/>
                <a:gd name="T58" fmla="*/ 172 w 199"/>
                <a:gd name="T59" fmla="*/ 46 h 194"/>
                <a:gd name="T60" fmla="*/ 145 w 199"/>
                <a:gd name="T61" fmla="*/ 37 h 194"/>
                <a:gd name="T62" fmla="*/ 128 w 199"/>
                <a:gd name="T63" fmla="*/ 13 h 194"/>
                <a:gd name="T64" fmla="*/ 101 w 199"/>
                <a:gd name="T65" fmla="*/ 23 h 194"/>
                <a:gd name="T66" fmla="*/ 74 w 199"/>
                <a:gd name="T67" fmla="*/ 13 h 194"/>
                <a:gd name="T68" fmla="*/ 57 w 199"/>
                <a:gd name="T69" fmla="*/ 37 h 194"/>
                <a:gd name="T70" fmla="*/ 29 w 199"/>
                <a:gd name="T71" fmla="*/ 46 h 194"/>
                <a:gd name="T72" fmla="*/ 30 w 199"/>
                <a:gd name="T73" fmla="*/ 74 h 194"/>
                <a:gd name="T74" fmla="*/ 12 w 199"/>
                <a:gd name="T75" fmla="*/ 98 h 194"/>
                <a:gd name="T76" fmla="*/ 30 w 199"/>
                <a:gd name="T77" fmla="*/ 121 h 194"/>
                <a:gd name="T78" fmla="*/ 29 w 199"/>
                <a:gd name="T79" fmla="*/ 150 h 194"/>
                <a:gd name="T80" fmla="*/ 57 w 199"/>
                <a:gd name="T81" fmla="*/ 158 h 194"/>
                <a:gd name="T82" fmla="*/ 74 w 199"/>
                <a:gd name="T83" fmla="*/ 182 h 194"/>
                <a:gd name="T84" fmla="*/ 101 w 199"/>
                <a:gd name="T85" fmla="*/ 172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99" h="194">
                  <a:moveTo>
                    <a:pt x="75" y="191"/>
                  </a:moveTo>
                  <a:cubicBezTo>
                    <a:pt x="61" y="191"/>
                    <a:pt x="59" y="172"/>
                    <a:pt x="52" y="165"/>
                  </a:cubicBezTo>
                  <a:cubicBezTo>
                    <a:pt x="49" y="164"/>
                    <a:pt x="45" y="163"/>
                    <a:pt x="40" y="162"/>
                  </a:cubicBezTo>
                  <a:cubicBezTo>
                    <a:pt x="34" y="161"/>
                    <a:pt x="26" y="160"/>
                    <a:pt x="22" y="155"/>
                  </a:cubicBezTo>
                  <a:cubicBezTo>
                    <a:pt x="15" y="146"/>
                    <a:pt x="23" y="132"/>
                    <a:pt x="21" y="123"/>
                  </a:cubicBezTo>
                  <a:cubicBezTo>
                    <a:pt x="20" y="121"/>
                    <a:pt x="17" y="118"/>
                    <a:pt x="14" y="115"/>
                  </a:cubicBezTo>
                  <a:cubicBezTo>
                    <a:pt x="0" y="103"/>
                    <a:pt x="0" y="92"/>
                    <a:pt x="14" y="80"/>
                  </a:cubicBezTo>
                  <a:cubicBezTo>
                    <a:pt x="22" y="74"/>
                    <a:pt x="23" y="70"/>
                    <a:pt x="21" y="60"/>
                  </a:cubicBezTo>
                  <a:cubicBezTo>
                    <a:pt x="16" y="43"/>
                    <a:pt x="23" y="34"/>
                    <a:pt x="40" y="33"/>
                  </a:cubicBezTo>
                  <a:cubicBezTo>
                    <a:pt x="50" y="32"/>
                    <a:pt x="54" y="30"/>
                    <a:pt x="58" y="20"/>
                  </a:cubicBezTo>
                  <a:cubicBezTo>
                    <a:pt x="64" y="4"/>
                    <a:pt x="74" y="0"/>
                    <a:pt x="90" y="10"/>
                  </a:cubicBezTo>
                  <a:cubicBezTo>
                    <a:pt x="106" y="22"/>
                    <a:pt x="115" y="1"/>
                    <a:pt x="131" y="5"/>
                  </a:cubicBezTo>
                  <a:cubicBezTo>
                    <a:pt x="141" y="8"/>
                    <a:pt x="143" y="24"/>
                    <a:pt x="150" y="30"/>
                  </a:cubicBezTo>
                  <a:cubicBezTo>
                    <a:pt x="158" y="35"/>
                    <a:pt x="174" y="31"/>
                    <a:pt x="180" y="40"/>
                  </a:cubicBezTo>
                  <a:cubicBezTo>
                    <a:pt x="186" y="49"/>
                    <a:pt x="178" y="63"/>
                    <a:pt x="180" y="72"/>
                  </a:cubicBezTo>
                  <a:cubicBezTo>
                    <a:pt x="184" y="80"/>
                    <a:pt x="199" y="87"/>
                    <a:pt x="198" y="98"/>
                  </a:cubicBezTo>
                  <a:cubicBezTo>
                    <a:pt x="197" y="114"/>
                    <a:pt x="174" y="116"/>
                    <a:pt x="181" y="135"/>
                  </a:cubicBezTo>
                  <a:cubicBezTo>
                    <a:pt x="185" y="152"/>
                    <a:pt x="179" y="161"/>
                    <a:pt x="161" y="162"/>
                  </a:cubicBezTo>
                  <a:cubicBezTo>
                    <a:pt x="157" y="163"/>
                    <a:pt x="152" y="164"/>
                    <a:pt x="150" y="165"/>
                  </a:cubicBezTo>
                  <a:cubicBezTo>
                    <a:pt x="143" y="171"/>
                    <a:pt x="141" y="187"/>
                    <a:pt x="131" y="190"/>
                  </a:cubicBezTo>
                  <a:cubicBezTo>
                    <a:pt x="121" y="194"/>
                    <a:pt x="110" y="182"/>
                    <a:pt x="101" y="181"/>
                  </a:cubicBezTo>
                  <a:cubicBezTo>
                    <a:pt x="93" y="182"/>
                    <a:pt x="83" y="191"/>
                    <a:pt x="75" y="191"/>
                  </a:cubicBezTo>
                  <a:close/>
                  <a:moveTo>
                    <a:pt x="101" y="172"/>
                  </a:moveTo>
                  <a:cubicBezTo>
                    <a:pt x="110" y="172"/>
                    <a:pt x="120" y="183"/>
                    <a:pt x="128" y="182"/>
                  </a:cubicBezTo>
                  <a:cubicBezTo>
                    <a:pt x="135" y="178"/>
                    <a:pt x="137" y="163"/>
                    <a:pt x="145" y="158"/>
                  </a:cubicBezTo>
                  <a:cubicBezTo>
                    <a:pt x="151" y="152"/>
                    <a:pt x="167" y="155"/>
                    <a:pt x="172" y="150"/>
                  </a:cubicBezTo>
                  <a:cubicBezTo>
                    <a:pt x="176" y="143"/>
                    <a:pt x="169" y="129"/>
                    <a:pt x="172" y="121"/>
                  </a:cubicBezTo>
                  <a:cubicBezTo>
                    <a:pt x="174" y="112"/>
                    <a:pt x="188" y="105"/>
                    <a:pt x="189" y="98"/>
                  </a:cubicBezTo>
                  <a:cubicBezTo>
                    <a:pt x="188" y="90"/>
                    <a:pt x="174" y="83"/>
                    <a:pt x="172" y="74"/>
                  </a:cubicBezTo>
                  <a:cubicBezTo>
                    <a:pt x="169" y="66"/>
                    <a:pt x="176" y="53"/>
                    <a:pt x="172" y="46"/>
                  </a:cubicBezTo>
                  <a:cubicBezTo>
                    <a:pt x="167" y="40"/>
                    <a:pt x="151" y="43"/>
                    <a:pt x="145" y="37"/>
                  </a:cubicBezTo>
                  <a:cubicBezTo>
                    <a:pt x="137" y="33"/>
                    <a:pt x="135" y="17"/>
                    <a:pt x="128" y="13"/>
                  </a:cubicBezTo>
                  <a:cubicBezTo>
                    <a:pt x="120" y="13"/>
                    <a:pt x="110" y="24"/>
                    <a:pt x="101" y="23"/>
                  </a:cubicBezTo>
                  <a:cubicBezTo>
                    <a:pt x="92" y="24"/>
                    <a:pt x="81" y="13"/>
                    <a:pt x="74" y="13"/>
                  </a:cubicBezTo>
                  <a:cubicBezTo>
                    <a:pt x="67" y="17"/>
                    <a:pt x="64" y="33"/>
                    <a:pt x="57" y="37"/>
                  </a:cubicBezTo>
                  <a:cubicBezTo>
                    <a:pt x="50" y="43"/>
                    <a:pt x="35" y="40"/>
                    <a:pt x="29" y="46"/>
                  </a:cubicBezTo>
                  <a:cubicBezTo>
                    <a:pt x="26" y="53"/>
                    <a:pt x="33" y="66"/>
                    <a:pt x="30" y="74"/>
                  </a:cubicBezTo>
                  <a:cubicBezTo>
                    <a:pt x="28" y="83"/>
                    <a:pt x="14" y="90"/>
                    <a:pt x="12" y="98"/>
                  </a:cubicBezTo>
                  <a:cubicBezTo>
                    <a:pt x="14" y="105"/>
                    <a:pt x="28" y="112"/>
                    <a:pt x="30" y="121"/>
                  </a:cubicBezTo>
                  <a:cubicBezTo>
                    <a:pt x="33" y="129"/>
                    <a:pt x="26" y="143"/>
                    <a:pt x="29" y="150"/>
                  </a:cubicBezTo>
                  <a:cubicBezTo>
                    <a:pt x="35" y="155"/>
                    <a:pt x="50" y="152"/>
                    <a:pt x="57" y="158"/>
                  </a:cubicBezTo>
                  <a:cubicBezTo>
                    <a:pt x="64" y="163"/>
                    <a:pt x="67" y="178"/>
                    <a:pt x="74" y="182"/>
                  </a:cubicBezTo>
                  <a:cubicBezTo>
                    <a:pt x="81" y="183"/>
                    <a:pt x="92" y="172"/>
                    <a:pt x="101" y="172"/>
                  </a:cubicBezTo>
                  <a:close/>
                </a:path>
              </a:pathLst>
            </a:custGeom>
            <a:solidFill>
              <a:srgbClr val="2C16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57" name="Freeform 48">
              <a:extLst>
                <a:ext uri="{FF2B5EF4-FFF2-40B4-BE49-F238E27FC236}">
                  <a16:creationId xmlns:a16="http://schemas.microsoft.com/office/drawing/2014/main" id="{5E66E31E-2513-4C1B-8803-DF4419CCDE47}"/>
                </a:ext>
              </a:extLst>
            </p:cNvPr>
            <p:cNvSpPr>
              <a:spLocks/>
            </p:cNvSpPr>
            <p:nvPr/>
          </p:nvSpPr>
          <p:spPr bwMode="auto">
            <a:xfrm>
              <a:off x="4787901" y="1825626"/>
              <a:ext cx="485775" cy="352425"/>
            </a:xfrm>
            <a:custGeom>
              <a:avLst/>
              <a:gdLst>
                <a:gd name="T0" fmla="*/ 49 w 117"/>
                <a:gd name="T1" fmla="*/ 81 h 85"/>
                <a:gd name="T2" fmla="*/ 13 w 117"/>
                <a:gd name="T3" fmla="*/ 50 h 85"/>
                <a:gd name="T4" fmla="*/ 31 w 117"/>
                <a:gd name="T5" fmla="*/ 31 h 85"/>
                <a:gd name="T6" fmla="*/ 49 w 117"/>
                <a:gd name="T7" fmla="*/ 49 h 85"/>
                <a:gd name="T8" fmla="*/ 93 w 117"/>
                <a:gd name="T9" fmla="*/ 6 h 85"/>
                <a:gd name="T10" fmla="*/ 112 w 117"/>
                <a:gd name="T11" fmla="*/ 6 h 85"/>
                <a:gd name="T12" fmla="*/ 112 w 117"/>
                <a:gd name="T13" fmla="*/ 24 h 85"/>
                <a:gd name="T14" fmla="*/ 49 w 117"/>
                <a:gd name="T15" fmla="*/ 81 h 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7" h="85">
                  <a:moveTo>
                    <a:pt x="49" y="81"/>
                  </a:moveTo>
                  <a:cubicBezTo>
                    <a:pt x="41" y="83"/>
                    <a:pt x="18" y="54"/>
                    <a:pt x="13" y="50"/>
                  </a:cubicBezTo>
                  <a:cubicBezTo>
                    <a:pt x="0" y="38"/>
                    <a:pt x="19" y="19"/>
                    <a:pt x="31" y="31"/>
                  </a:cubicBezTo>
                  <a:cubicBezTo>
                    <a:pt x="31" y="31"/>
                    <a:pt x="49" y="49"/>
                    <a:pt x="49" y="49"/>
                  </a:cubicBezTo>
                  <a:cubicBezTo>
                    <a:pt x="93" y="6"/>
                    <a:pt x="93" y="6"/>
                    <a:pt x="93" y="6"/>
                  </a:cubicBezTo>
                  <a:cubicBezTo>
                    <a:pt x="98" y="0"/>
                    <a:pt x="107" y="0"/>
                    <a:pt x="112" y="6"/>
                  </a:cubicBezTo>
                  <a:cubicBezTo>
                    <a:pt x="117" y="11"/>
                    <a:pt x="117" y="19"/>
                    <a:pt x="112" y="24"/>
                  </a:cubicBezTo>
                  <a:cubicBezTo>
                    <a:pt x="106" y="28"/>
                    <a:pt x="57" y="85"/>
                    <a:pt x="49" y="81"/>
                  </a:cubicBezTo>
                  <a:close/>
                </a:path>
              </a:pathLst>
            </a:custGeom>
            <a:solidFill>
              <a:srgbClr val="E6605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58" name="Freeform 49">
              <a:extLst>
                <a:ext uri="{FF2B5EF4-FFF2-40B4-BE49-F238E27FC236}">
                  <a16:creationId xmlns:a16="http://schemas.microsoft.com/office/drawing/2014/main" id="{12B45A58-FDE9-4188-8CEA-66CF7D513A11}"/>
                </a:ext>
              </a:extLst>
            </p:cNvPr>
            <p:cNvSpPr>
              <a:spLocks noEditPoints="1"/>
            </p:cNvSpPr>
            <p:nvPr/>
          </p:nvSpPr>
          <p:spPr bwMode="auto">
            <a:xfrm>
              <a:off x="4803776" y="1789113"/>
              <a:ext cx="487363" cy="401638"/>
            </a:xfrm>
            <a:custGeom>
              <a:avLst/>
              <a:gdLst>
                <a:gd name="T0" fmla="*/ 45 w 117"/>
                <a:gd name="T1" fmla="*/ 95 h 97"/>
                <a:gd name="T2" fmla="*/ 5 w 117"/>
                <a:gd name="T3" fmla="*/ 62 h 97"/>
                <a:gd name="T4" fmla="*/ 0 w 117"/>
                <a:gd name="T5" fmla="*/ 50 h 97"/>
                <a:gd name="T6" fmla="*/ 18 w 117"/>
                <a:gd name="T7" fmla="*/ 32 h 97"/>
                <a:gd name="T8" fmla="*/ 45 w 117"/>
                <a:gd name="T9" fmla="*/ 52 h 97"/>
                <a:gd name="T10" fmla="*/ 86 w 117"/>
                <a:gd name="T11" fmla="*/ 11 h 97"/>
                <a:gd name="T12" fmla="*/ 116 w 117"/>
                <a:gd name="T13" fmla="*/ 24 h 97"/>
                <a:gd name="T14" fmla="*/ 111 w 117"/>
                <a:gd name="T15" fmla="*/ 36 h 97"/>
                <a:gd name="T16" fmla="*/ 58 w 117"/>
                <a:gd name="T17" fmla="*/ 90 h 97"/>
                <a:gd name="T18" fmla="*/ 45 w 117"/>
                <a:gd name="T19" fmla="*/ 95 h 97"/>
                <a:gd name="T20" fmla="*/ 18 w 117"/>
                <a:gd name="T21" fmla="*/ 41 h 97"/>
                <a:gd name="T22" fmla="*/ 12 w 117"/>
                <a:gd name="T23" fmla="*/ 56 h 97"/>
                <a:gd name="T24" fmla="*/ 39 w 117"/>
                <a:gd name="T25" fmla="*/ 83 h 97"/>
                <a:gd name="T26" fmla="*/ 52 w 117"/>
                <a:gd name="T27" fmla="*/ 83 h 97"/>
                <a:gd name="T28" fmla="*/ 105 w 117"/>
                <a:gd name="T29" fmla="*/ 30 h 97"/>
                <a:gd name="T30" fmla="*/ 92 w 117"/>
                <a:gd name="T31" fmla="*/ 18 h 97"/>
                <a:gd name="T32" fmla="*/ 48 w 117"/>
                <a:gd name="T33" fmla="*/ 62 h 97"/>
                <a:gd name="T34" fmla="*/ 42 w 117"/>
                <a:gd name="T35" fmla="*/ 62 h 97"/>
                <a:gd name="T36" fmla="*/ 24 w 117"/>
                <a:gd name="T37" fmla="*/ 44 h 97"/>
                <a:gd name="T38" fmla="*/ 18 w 117"/>
                <a:gd name="T39" fmla="*/ 41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7" h="97">
                  <a:moveTo>
                    <a:pt x="45" y="95"/>
                  </a:moveTo>
                  <a:cubicBezTo>
                    <a:pt x="34" y="97"/>
                    <a:pt x="13" y="68"/>
                    <a:pt x="5" y="62"/>
                  </a:cubicBezTo>
                  <a:cubicBezTo>
                    <a:pt x="2" y="59"/>
                    <a:pt x="0" y="55"/>
                    <a:pt x="0" y="50"/>
                  </a:cubicBezTo>
                  <a:cubicBezTo>
                    <a:pt x="0" y="40"/>
                    <a:pt x="8" y="32"/>
                    <a:pt x="18" y="32"/>
                  </a:cubicBezTo>
                  <a:cubicBezTo>
                    <a:pt x="28" y="31"/>
                    <a:pt x="39" y="46"/>
                    <a:pt x="45" y="52"/>
                  </a:cubicBezTo>
                  <a:cubicBezTo>
                    <a:pt x="86" y="11"/>
                    <a:pt x="86" y="11"/>
                    <a:pt x="86" y="11"/>
                  </a:cubicBezTo>
                  <a:cubicBezTo>
                    <a:pt x="97" y="0"/>
                    <a:pt x="117" y="9"/>
                    <a:pt x="116" y="24"/>
                  </a:cubicBezTo>
                  <a:cubicBezTo>
                    <a:pt x="116" y="29"/>
                    <a:pt x="114" y="33"/>
                    <a:pt x="111" y="36"/>
                  </a:cubicBezTo>
                  <a:cubicBezTo>
                    <a:pt x="58" y="90"/>
                    <a:pt x="58" y="90"/>
                    <a:pt x="58" y="90"/>
                  </a:cubicBezTo>
                  <a:cubicBezTo>
                    <a:pt x="54" y="93"/>
                    <a:pt x="50" y="95"/>
                    <a:pt x="45" y="95"/>
                  </a:cubicBezTo>
                  <a:close/>
                  <a:moveTo>
                    <a:pt x="18" y="41"/>
                  </a:moveTo>
                  <a:cubicBezTo>
                    <a:pt x="10" y="41"/>
                    <a:pt x="6" y="51"/>
                    <a:pt x="12" y="56"/>
                  </a:cubicBezTo>
                  <a:cubicBezTo>
                    <a:pt x="12" y="56"/>
                    <a:pt x="39" y="83"/>
                    <a:pt x="39" y="83"/>
                  </a:cubicBezTo>
                  <a:cubicBezTo>
                    <a:pt x="42" y="87"/>
                    <a:pt x="48" y="87"/>
                    <a:pt x="52" y="83"/>
                  </a:cubicBezTo>
                  <a:cubicBezTo>
                    <a:pt x="105" y="30"/>
                    <a:pt x="105" y="30"/>
                    <a:pt x="105" y="30"/>
                  </a:cubicBezTo>
                  <a:cubicBezTo>
                    <a:pt x="113" y="22"/>
                    <a:pt x="101" y="10"/>
                    <a:pt x="92" y="18"/>
                  </a:cubicBezTo>
                  <a:cubicBezTo>
                    <a:pt x="92" y="18"/>
                    <a:pt x="48" y="62"/>
                    <a:pt x="48" y="62"/>
                  </a:cubicBezTo>
                  <a:cubicBezTo>
                    <a:pt x="47" y="63"/>
                    <a:pt x="44" y="63"/>
                    <a:pt x="42" y="62"/>
                  </a:cubicBezTo>
                  <a:cubicBezTo>
                    <a:pt x="24" y="44"/>
                    <a:pt x="24" y="44"/>
                    <a:pt x="24" y="44"/>
                  </a:cubicBezTo>
                  <a:cubicBezTo>
                    <a:pt x="22" y="42"/>
                    <a:pt x="20" y="41"/>
                    <a:pt x="18" y="41"/>
                  </a:cubicBezTo>
                  <a:close/>
                </a:path>
              </a:pathLst>
            </a:custGeom>
            <a:solidFill>
              <a:srgbClr val="2C16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59" name="Freeform 50">
              <a:extLst>
                <a:ext uri="{FF2B5EF4-FFF2-40B4-BE49-F238E27FC236}">
                  <a16:creationId xmlns:a16="http://schemas.microsoft.com/office/drawing/2014/main" id="{1D26CB49-5091-4DEB-93DE-1B3D00DC624B}"/>
                </a:ext>
              </a:extLst>
            </p:cNvPr>
            <p:cNvSpPr>
              <a:spLocks/>
            </p:cNvSpPr>
            <p:nvPr/>
          </p:nvSpPr>
          <p:spPr bwMode="auto">
            <a:xfrm>
              <a:off x="4746626" y="1751013"/>
              <a:ext cx="153988" cy="166688"/>
            </a:xfrm>
            <a:custGeom>
              <a:avLst/>
              <a:gdLst>
                <a:gd name="T0" fmla="*/ 25 w 37"/>
                <a:gd name="T1" fmla="*/ 25 h 40"/>
                <a:gd name="T2" fmla="*/ 12 w 37"/>
                <a:gd name="T3" fmla="*/ 15 h 40"/>
                <a:gd name="T4" fmla="*/ 25 w 37"/>
                <a:gd name="T5" fmla="*/ 25 h 40"/>
              </a:gdLst>
              <a:ahLst/>
              <a:cxnLst>
                <a:cxn ang="0">
                  <a:pos x="T0" y="T1"/>
                </a:cxn>
                <a:cxn ang="0">
                  <a:pos x="T2" y="T3"/>
                </a:cxn>
                <a:cxn ang="0">
                  <a:pos x="T4" y="T5"/>
                </a:cxn>
              </a:cxnLst>
              <a:rect l="0" t="0" r="r" b="b"/>
              <a:pathLst>
                <a:path w="37" h="40">
                  <a:moveTo>
                    <a:pt x="25" y="25"/>
                  </a:moveTo>
                  <a:cubicBezTo>
                    <a:pt x="12" y="40"/>
                    <a:pt x="0" y="30"/>
                    <a:pt x="12" y="15"/>
                  </a:cubicBezTo>
                  <a:cubicBezTo>
                    <a:pt x="25" y="0"/>
                    <a:pt x="37" y="10"/>
                    <a:pt x="25" y="2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60" name="Freeform 51">
              <a:extLst>
                <a:ext uri="{FF2B5EF4-FFF2-40B4-BE49-F238E27FC236}">
                  <a16:creationId xmlns:a16="http://schemas.microsoft.com/office/drawing/2014/main" id="{E550E54E-7396-459D-B637-AABEC8C40FF6}"/>
                </a:ext>
              </a:extLst>
            </p:cNvPr>
            <p:cNvSpPr>
              <a:spLocks/>
            </p:cNvSpPr>
            <p:nvPr/>
          </p:nvSpPr>
          <p:spPr bwMode="auto">
            <a:xfrm>
              <a:off x="5864226" y="2424113"/>
              <a:ext cx="144463" cy="660400"/>
            </a:xfrm>
            <a:custGeom>
              <a:avLst/>
              <a:gdLst>
                <a:gd name="T0" fmla="*/ 28 w 35"/>
                <a:gd name="T1" fmla="*/ 0 h 159"/>
                <a:gd name="T2" fmla="*/ 7 w 35"/>
                <a:gd name="T3" fmla="*/ 0 h 159"/>
                <a:gd name="T4" fmla="*/ 0 w 35"/>
                <a:gd name="T5" fmla="*/ 7 h 159"/>
                <a:gd name="T6" fmla="*/ 0 w 35"/>
                <a:gd name="T7" fmla="*/ 159 h 159"/>
                <a:gd name="T8" fmla="*/ 35 w 35"/>
                <a:gd name="T9" fmla="*/ 159 h 159"/>
                <a:gd name="T10" fmla="*/ 35 w 35"/>
                <a:gd name="T11" fmla="*/ 7 h 159"/>
                <a:gd name="T12" fmla="*/ 28 w 35"/>
                <a:gd name="T13" fmla="*/ 0 h 159"/>
              </a:gdLst>
              <a:ahLst/>
              <a:cxnLst>
                <a:cxn ang="0">
                  <a:pos x="T0" y="T1"/>
                </a:cxn>
                <a:cxn ang="0">
                  <a:pos x="T2" y="T3"/>
                </a:cxn>
                <a:cxn ang="0">
                  <a:pos x="T4" y="T5"/>
                </a:cxn>
                <a:cxn ang="0">
                  <a:pos x="T6" y="T7"/>
                </a:cxn>
                <a:cxn ang="0">
                  <a:pos x="T8" y="T9"/>
                </a:cxn>
                <a:cxn ang="0">
                  <a:pos x="T10" y="T11"/>
                </a:cxn>
                <a:cxn ang="0">
                  <a:pos x="T12" y="T13"/>
                </a:cxn>
              </a:cxnLst>
              <a:rect l="0" t="0" r="r" b="b"/>
              <a:pathLst>
                <a:path w="35" h="159">
                  <a:moveTo>
                    <a:pt x="28" y="0"/>
                  </a:moveTo>
                  <a:cubicBezTo>
                    <a:pt x="7" y="0"/>
                    <a:pt x="7" y="0"/>
                    <a:pt x="7" y="0"/>
                  </a:cubicBezTo>
                  <a:cubicBezTo>
                    <a:pt x="3" y="0"/>
                    <a:pt x="0" y="3"/>
                    <a:pt x="0" y="7"/>
                  </a:cubicBezTo>
                  <a:cubicBezTo>
                    <a:pt x="0" y="159"/>
                    <a:pt x="0" y="159"/>
                    <a:pt x="0" y="159"/>
                  </a:cubicBezTo>
                  <a:cubicBezTo>
                    <a:pt x="35" y="159"/>
                    <a:pt x="35" y="159"/>
                    <a:pt x="35" y="159"/>
                  </a:cubicBezTo>
                  <a:cubicBezTo>
                    <a:pt x="35" y="7"/>
                    <a:pt x="35" y="7"/>
                    <a:pt x="35" y="7"/>
                  </a:cubicBezTo>
                  <a:cubicBezTo>
                    <a:pt x="35" y="3"/>
                    <a:pt x="32" y="0"/>
                    <a:pt x="28" y="0"/>
                  </a:cubicBezTo>
                  <a:close/>
                </a:path>
              </a:pathLst>
            </a:custGeom>
            <a:solidFill>
              <a:srgbClr val="E6605E"/>
            </a:solidFill>
            <a:ln w="33338" cap="flat">
              <a:solidFill>
                <a:srgbClr val="2C1610"/>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61" name="Freeform 52">
              <a:extLst>
                <a:ext uri="{FF2B5EF4-FFF2-40B4-BE49-F238E27FC236}">
                  <a16:creationId xmlns:a16="http://schemas.microsoft.com/office/drawing/2014/main" id="{771FDB38-9ACE-49DA-988F-F4C27EA7C4D5}"/>
                </a:ext>
              </a:extLst>
            </p:cNvPr>
            <p:cNvSpPr>
              <a:spLocks/>
            </p:cNvSpPr>
            <p:nvPr/>
          </p:nvSpPr>
          <p:spPr bwMode="auto">
            <a:xfrm>
              <a:off x="6121401" y="2665413"/>
              <a:ext cx="144463" cy="419100"/>
            </a:xfrm>
            <a:custGeom>
              <a:avLst/>
              <a:gdLst>
                <a:gd name="T0" fmla="*/ 29 w 35"/>
                <a:gd name="T1" fmla="*/ 0 h 101"/>
                <a:gd name="T2" fmla="*/ 6 w 35"/>
                <a:gd name="T3" fmla="*/ 0 h 101"/>
                <a:gd name="T4" fmla="*/ 0 w 35"/>
                <a:gd name="T5" fmla="*/ 6 h 101"/>
                <a:gd name="T6" fmla="*/ 0 w 35"/>
                <a:gd name="T7" fmla="*/ 101 h 101"/>
                <a:gd name="T8" fmla="*/ 35 w 35"/>
                <a:gd name="T9" fmla="*/ 101 h 101"/>
                <a:gd name="T10" fmla="*/ 35 w 35"/>
                <a:gd name="T11" fmla="*/ 6 h 101"/>
                <a:gd name="T12" fmla="*/ 29 w 35"/>
                <a:gd name="T13" fmla="*/ 0 h 101"/>
              </a:gdLst>
              <a:ahLst/>
              <a:cxnLst>
                <a:cxn ang="0">
                  <a:pos x="T0" y="T1"/>
                </a:cxn>
                <a:cxn ang="0">
                  <a:pos x="T2" y="T3"/>
                </a:cxn>
                <a:cxn ang="0">
                  <a:pos x="T4" y="T5"/>
                </a:cxn>
                <a:cxn ang="0">
                  <a:pos x="T6" y="T7"/>
                </a:cxn>
                <a:cxn ang="0">
                  <a:pos x="T8" y="T9"/>
                </a:cxn>
                <a:cxn ang="0">
                  <a:pos x="T10" y="T11"/>
                </a:cxn>
                <a:cxn ang="0">
                  <a:pos x="T12" y="T13"/>
                </a:cxn>
              </a:cxnLst>
              <a:rect l="0" t="0" r="r" b="b"/>
              <a:pathLst>
                <a:path w="35" h="101">
                  <a:moveTo>
                    <a:pt x="29" y="0"/>
                  </a:moveTo>
                  <a:cubicBezTo>
                    <a:pt x="6" y="0"/>
                    <a:pt x="6" y="0"/>
                    <a:pt x="6" y="0"/>
                  </a:cubicBezTo>
                  <a:cubicBezTo>
                    <a:pt x="3" y="0"/>
                    <a:pt x="0" y="3"/>
                    <a:pt x="0" y="6"/>
                  </a:cubicBezTo>
                  <a:cubicBezTo>
                    <a:pt x="0" y="101"/>
                    <a:pt x="0" y="101"/>
                    <a:pt x="0" y="101"/>
                  </a:cubicBezTo>
                  <a:cubicBezTo>
                    <a:pt x="35" y="101"/>
                    <a:pt x="35" y="101"/>
                    <a:pt x="35" y="101"/>
                  </a:cubicBezTo>
                  <a:cubicBezTo>
                    <a:pt x="35" y="6"/>
                    <a:pt x="35" y="6"/>
                    <a:pt x="35" y="6"/>
                  </a:cubicBezTo>
                  <a:cubicBezTo>
                    <a:pt x="35" y="3"/>
                    <a:pt x="33" y="0"/>
                    <a:pt x="29" y="0"/>
                  </a:cubicBezTo>
                  <a:close/>
                </a:path>
              </a:pathLst>
            </a:custGeom>
            <a:solidFill>
              <a:srgbClr val="F9D12B"/>
            </a:solidFill>
            <a:ln w="33338" cap="flat">
              <a:solidFill>
                <a:srgbClr val="2C1610"/>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62" name="Freeform 53">
              <a:extLst>
                <a:ext uri="{FF2B5EF4-FFF2-40B4-BE49-F238E27FC236}">
                  <a16:creationId xmlns:a16="http://schemas.microsoft.com/office/drawing/2014/main" id="{1E3E1A33-31EE-44F3-81A4-B58F5B69FB75}"/>
                </a:ext>
              </a:extLst>
            </p:cNvPr>
            <p:cNvSpPr>
              <a:spLocks/>
            </p:cNvSpPr>
            <p:nvPr/>
          </p:nvSpPr>
          <p:spPr bwMode="auto">
            <a:xfrm>
              <a:off x="6378576" y="2511426"/>
              <a:ext cx="146050" cy="573088"/>
            </a:xfrm>
            <a:custGeom>
              <a:avLst/>
              <a:gdLst>
                <a:gd name="T0" fmla="*/ 28 w 35"/>
                <a:gd name="T1" fmla="*/ 0 h 138"/>
                <a:gd name="T2" fmla="*/ 7 w 35"/>
                <a:gd name="T3" fmla="*/ 0 h 138"/>
                <a:gd name="T4" fmla="*/ 0 w 35"/>
                <a:gd name="T5" fmla="*/ 6 h 138"/>
                <a:gd name="T6" fmla="*/ 0 w 35"/>
                <a:gd name="T7" fmla="*/ 138 h 138"/>
                <a:gd name="T8" fmla="*/ 35 w 35"/>
                <a:gd name="T9" fmla="*/ 138 h 138"/>
                <a:gd name="T10" fmla="*/ 35 w 35"/>
                <a:gd name="T11" fmla="*/ 6 h 138"/>
                <a:gd name="T12" fmla="*/ 28 w 35"/>
                <a:gd name="T13" fmla="*/ 0 h 138"/>
              </a:gdLst>
              <a:ahLst/>
              <a:cxnLst>
                <a:cxn ang="0">
                  <a:pos x="T0" y="T1"/>
                </a:cxn>
                <a:cxn ang="0">
                  <a:pos x="T2" y="T3"/>
                </a:cxn>
                <a:cxn ang="0">
                  <a:pos x="T4" y="T5"/>
                </a:cxn>
                <a:cxn ang="0">
                  <a:pos x="T6" y="T7"/>
                </a:cxn>
                <a:cxn ang="0">
                  <a:pos x="T8" y="T9"/>
                </a:cxn>
                <a:cxn ang="0">
                  <a:pos x="T10" y="T11"/>
                </a:cxn>
                <a:cxn ang="0">
                  <a:pos x="T12" y="T13"/>
                </a:cxn>
              </a:cxnLst>
              <a:rect l="0" t="0" r="r" b="b"/>
              <a:pathLst>
                <a:path w="35" h="138">
                  <a:moveTo>
                    <a:pt x="28" y="0"/>
                  </a:moveTo>
                  <a:cubicBezTo>
                    <a:pt x="7" y="0"/>
                    <a:pt x="7" y="0"/>
                    <a:pt x="7" y="0"/>
                  </a:cubicBezTo>
                  <a:cubicBezTo>
                    <a:pt x="3" y="0"/>
                    <a:pt x="0" y="3"/>
                    <a:pt x="0" y="6"/>
                  </a:cubicBezTo>
                  <a:cubicBezTo>
                    <a:pt x="0" y="138"/>
                    <a:pt x="0" y="138"/>
                    <a:pt x="0" y="138"/>
                  </a:cubicBezTo>
                  <a:cubicBezTo>
                    <a:pt x="35" y="138"/>
                    <a:pt x="35" y="138"/>
                    <a:pt x="35" y="138"/>
                  </a:cubicBezTo>
                  <a:cubicBezTo>
                    <a:pt x="35" y="6"/>
                    <a:pt x="35" y="6"/>
                    <a:pt x="35" y="6"/>
                  </a:cubicBezTo>
                  <a:cubicBezTo>
                    <a:pt x="35" y="3"/>
                    <a:pt x="32" y="0"/>
                    <a:pt x="28" y="0"/>
                  </a:cubicBezTo>
                  <a:close/>
                </a:path>
              </a:pathLst>
            </a:custGeom>
            <a:solidFill>
              <a:srgbClr val="62A9E2"/>
            </a:solidFill>
            <a:ln w="33338" cap="flat">
              <a:solidFill>
                <a:srgbClr val="2C1610"/>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63" name="Freeform 54">
              <a:extLst>
                <a:ext uri="{FF2B5EF4-FFF2-40B4-BE49-F238E27FC236}">
                  <a16:creationId xmlns:a16="http://schemas.microsoft.com/office/drawing/2014/main" id="{2D686D7B-06BE-4B44-ACF8-96E0923F0EB8}"/>
                </a:ext>
              </a:extLst>
            </p:cNvPr>
            <p:cNvSpPr>
              <a:spLocks/>
            </p:cNvSpPr>
            <p:nvPr/>
          </p:nvSpPr>
          <p:spPr bwMode="auto">
            <a:xfrm>
              <a:off x="5764213" y="3084513"/>
              <a:ext cx="855663" cy="0"/>
            </a:xfrm>
            <a:custGeom>
              <a:avLst/>
              <a:gdLst>
                <a:gd name="T0" fmla="*/ 0 w 539"/>
                <a:gd name="T1" fmla="*/ 539 w 539"/>
                <a:gd name="T2" fmla="*/ 0 w 539"/>
              </a:gdLst>
              <a:ahLst/>
              <a:cxnLst>
                <a:cxn ang="0">
                  <a:pos x="T0" y="0"/>
                </a:cxn>
                <a:cxn ang="0">
                  <a:pos x="T1" y="0"/>
                </a:cxn>
                <a:cxn ang="0">
                  <a:pos x="T2" y="0"/>
                </a:cxn>
              </a:cxnLst>
              <a:rect l="0" t="0" r="r" b="b"/>
              <a:pathLst>
                <a:path w="539">
                  <a:moveTo>
                    <a:pt x="0" y="0"/>
                  </a:moveTo>
                  <a:lnTo>
                    <a:pt x="539" y="0"/>
                  </a:lnTo>
                  <a:lnTo>
                    <a:pt x="0" y="0"/>
                  </a:lnTo>
                  <a:close/>
                </a:path>
              </a:pathLst>
            </a:custGeom>
            <a:solidFill>
              <a:srgbClr val="62A9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64" name="Line 55">
              <a:extLst>
                <a:ext uri="{FF2B5EF4-FFF2-40B4-BE49-F238E27FC236}">
                  <a16:creationId xmlns:a16="http://schemas.microsoft.com/office/drawing/2014/main" id="{DD5EBC44-A569-47BD-819C-FF6F03257792}"/>
                </a:ext>
              </a:extLst>
            </p:cNvPr>
            <p:cNvSpPr>
              <a:spLocks noChangeShapeType="1"/>
            </p:cNvSpPr>
            <p:nvPr/>
          </p:nvSpPr>
          <p:spPr bwMode="auto">
            <a:xfrm>
              <a:off x="5764213" y="3084513"/>
              <a:ext cx="855663" cy="0"/>
            </a:xfrm>
            <a:prstGeom prst="line">
              <a:avLst/>
            </a:prstGeom>
            <a:noFill/>
            <a:ln w="33338" cap="flat">
              <a:solidFill>
                <a:srgbClr val="2C161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p>
          </p:txBody>
        </p:sp>
      </p:grpSp>
      <p:sp>
        <p:nvSpPr>
          <p:cNvPr id="2" name="标题 1">
            <a:extLst>
              <a:ext uri="{FF2B5EF4-FFF2-40B4-BE49-F238E27FC236}">
                <a16:creationId xmlns:a16="http://schemas.microsoft.com/office/drawing/2014/main" id="{C1E35B64-B1DB-4A7C-829A-4E4365E79871}"/>
              </a:ext>
            </a:extLst>
          </p:cNvPr>
          <p:cNvSpPr>
            <a:spLocks noGrp="1"/>
          </p:cNvSpPr>
          <p:nvPr>
            <p:ph type="title"/>
          </p:nvPr>
        </p:nvSpPr>
        <p:spPr/>
        <p:txBody>
          <a:bodyPr/>
          <a:lstStyle/>
          <a:p>
            <a:r>
              <a:rPr lang="en-US" altLang="zh-CN" dirty="0"/>
              <a:t>UML</a:t>
            </a:r>
            <a:r>
              <a:rPr lang="zh-CN" altLang="en-US" dirty="0"/>
              <a:t>类图</a:t>
            </a:r>
          </a:p>
        </p:txBody>
      </p:sp>
      <p:sp>
        <p:nvSpPr>
          <p:cNvPr id="4" name="灯片编号占位符 3">
            <a:extLst>
              <a:ext uri="{FF2B5EF4-FFF2-40B4-BE49-F238E27FC236}">
                <a16:creationId xmlns:a16="http://schemas.microsoft.com/office/drawing/2014/main" id="{1CD73F73-DE87-4FAA-BC73-34B1717818DF}"/>
              </a:ext>
            </a:extLst>
          </p:cNvPr>
          <p:cNvSpPr>
            <a:spLocks noGrp="1"/>
          </p:cNvSpPr>
          <p:nvPr>
            <p:ph type="sldNum" sz="quarter" idx="12"/>
          </p:nvPr>
        </p:nvSpPr>
        <p:spPr/>
        <p:txBody>
          <a:bodyPr/>
          <a:lstStyle/>
          <a:p>
            <a:fld id="{5DD3DB80-B894-403A-B48E-6FDC1A72010E}" type="slidenum">
              <a:rPr lang="zh-CN" altLang="en-US" smtClean="0"/>
              <a:pPr/>
              <a:t>9</a:t>
            </a:fld>
            <a:endParaRPr lang="zh-CN" altLang="en-US"/>
          </a:p>
        </p:txBody>
      </p:sp>
      <p:grpSp>
        <p:nvGrpSpPr>
          <p:cNvPr id="5" name="183472"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a16="http://schemas.microsoft.com/office/drawing/2014/main" id="{A13558B8-9D1D-485F-A9B2-AEB572654507}"/>
              </a:ext>
            </a:extLst>
          </p:cNvPr>
          <p:cNvGrpSpPr>
            <a:grpSpLocks noChangeAspect="1"/>
          </p:cNvGrpSpPr>
          <p:nvPr/>
        </p:nvGrpSpPr>
        <p:grpSpPr>
          <a:xfrm>
            <a:off x="2121826" y="1282893"/>
            <a:ext cx="9398663" cy="3970310"/>
            <a:chOff x="2121826" y="1282893"/>
            <a:chExt cx="9398663" cy="3970310"/>
          </a:xfrm>
        </p:grpSpPr>
        <p:sp>
          <p:nvSpPr>
            <p:cNvPr id="27" name="iŝḻïḓé">
              <a:extLst>
                <a:ext uri="{FF2B5EF4-FFF2-40B4-BE49-F238E27FC236}">
                  <a16:creationId xmlns:a16="http://schemas.microsoft.com/office/drawing/2014/main" id="{CE0929BD-FC0F-42FA-A91F-FBDEEE1ED95C}"/>
                </a:ext>
              </a:extLst>
            </p:cNvPr>
            <p:cNvSpPr/>
            <p:nvPr/>
          </p:nvSpPr>
          <p:spPr bwMode="auto">
            <a:xfrm>
              <a:off x="2121826" y="4021271"/>
              <a:ext cx="973957" cy="907281"/>
            </a:xfrm>
            <a:custGeom>
              <a:avLst/>
              <a:gdLst/>
              <a:ahLst/>
              <a:cxnLst>
                <a:cxn ang="0">
                  <a:pos x="102" y="0"/>
                </a:cxn>
                <a:cxn ang="0">
                  <a:pos x="0" y="95"/>
                </a:cxn>
                <a:cxn ang="0">
                  <a:pos x="0" y="95"/>
                </a:cxn>
                <a:cxn ang="0">
                  <a:pos x="102" y="0"/>
                </a:cxn>
                <a:cxn ang="0">
                  <a:pos x="102" y="0"/>
                </a:cxn>
              </a:cxnLst>
              <a:rect l="0" t="0" r="r" b="b"/>
              <a:pathLst>
                <a:path w="102" h="95">
                  <a:moveTo>
                    <a:pt x="102" y="0"/>
                  </a:moveTo>
                  <a:cubicBezTo>
                    <a:pt x="90" y="49"/>
                    <a:pt x="50" y="87"/>
                    <a:pt x="0" y="95"/>
                  </a:cubicBezTo>
                  <a:cubicBezTo>
                    <a:pt x="0" y="95"/>
                    <a:pt x="0" y="95"/>
                    <a:pt x="0" y="95"/>
                  </a:cubicBezTo>
                  <a:cubicBezTo>
                    <a:pt x="50" y="87"/>
                    <a:pt x="90" y="49"/>
                    <a:pt x="102" y="0"/>
                  </a:cubicBezTo>
                  <a:cubicBezTo>
                    <a:pt x="102" y="0"/>
                    <a:pt x="102" y="0"/>
                    <a:pt x="102" y="0"/>
                  </a:cubicBezTo>
                </a:path>
              </a:pathLst>
            </a:custGeom>
            <a:solidFill>
              <a:srgbClr val="BB3A3A"/>
            </a:solidFill>
            <a:ln w="9525">
              <a:noFill/>
              <a:round/>
              <a:headEnd/>
              <a:tailEnd/>
            </a:ln>
          </p:spPr>
          <p:txBody>
            <a:bodyPr vert="horz" wrap="square" lIns="91440" tIns="45720" rIns="91440" bIns="45720" numCol="1" anchor="t" anchorCtr="0" compatLnSpc="1">
              <a:prstTxWarp prst="textNoShape">
                <a:avLst/>
              </a:prstTxWarp>
              <a:normAutofit/>
            </a:bodyPr>
            <a:lstStyle/>
            <a:p>
              <a:endParaRPr lang="zh-CN" altLang="en-US"/>
            </a:p>
          </p:txBody>
        </p:sp>
        <p:sp>
          <p:nvSpPr>
            <p:cNvPr id="7" name="ïṡḷiḓê">
              <a:extLst>
                <a:ext uri="{FF2B5EF4-FFF2-40B4-BE49-F238E27FC236}">
                  <a16:creationId xmlns:a16="http://schemas.microsoft.com/office/drawing/2014/main" id="{6982B370-286D-4E2A-861D-47EA735A5DD1}"/>
                </a:ext>
              </a:extLst>
            </p:cNvPr>
            <p:cNvSpPr txBox="1"/>
            <p:nvPr/>
          </p:nvSpPr>
          <p:spPr>
            <a:xfrm>
              <a:off x="3079054" y="1282893"/>
              <a:ext cx="8441434" cy="595087"/>
            </a:xfrm>
            <a:prstGeom prst="rect">
              <a:avLst/>
            </a:prstGeom>
            <a:noFill/>
            <a:ln>
              <a:noFill/>
            </a:ln>
          </p:spPr>
          <p:txBody>
            <a:bodyPr wrap="square" lIns="90000" tIns="46800" rIns="90000" bIns="46800" anchor="b" anchorCtr="0">
              <a:normAutofit/>
            </a:bodyPr>
            <a:lstStyle/>
            <a:p>
              <a:pPr algn="ctr">
                <a:buSzPct val="25000"/>
              </a:pPr>
              <a:r>
                <a:rPr lang="zh-CN" altLang="en-US" sz="2000" b="1" dirty="0"/>
                <a:t>类图概要</a:t>
              </a:r>
              <a:endParaRPr lang="en-US" sz="2000" b="1" dirty="0"/>
            </a:p>
          </p:txBody>
        </p:sp>
        <p:sp>
          <p:nvSpPr>
            <p:cNvPr id="8" name="ïṣḷîḓe">
              <a:extLst>
                <a:ext uri="{FF2B5EF4-FFF2-40B4-BE49-F238E27FC236}">
                  <a16:creationId xmlns:a16="http://schemas.microsoft.com/office/drawing/2014/main" id="{650ED840-7AFA-4729-9CEC-9ACD8BF6E6D5}"/>
                </a:ext>
              </a:extLst>
            </p:cNvPr>
            <p:cNvSpPr txBox="1"/>
            <p:nvPr/>
          </p:nvSpPr>
          <p:spPr>
            <a:xfrm>
              <a:off x="3079053" y="1877980"/>
              <a:ext cx="8441436" cy="787280"/>
            </a:xfrm>
            <a:prstGeom prst="rect">
              <a:avLst/>
            </a:prstGeom>
            <a:noFill/>
            <a:ln>
              <a:noFill/>
            </a:ln>
          </p:spPr>
          <p:txBody>
            <a:bodyPr wrap="square" lIns="90000" tIns="46800" rIns="90000" bIns="46800" anchor="t" anchorCtr="0">
              <a:normAutofit/>
            </a:bodyPr>
            <a:lstStyle/>
            <a:p>
              <a:pPr algn="ctr">
                <a:lnSpc>
                  <a:spcPct val="150000"/>
                </a:lnSpc>
                <a:buSzPct val="25000"/>
              </a:pPr>
              <a:r>
                <a:rPr lang="zh-CN" altLang="en-US" sz="1200" dirty="0"/>
                <a:t> 类图是面向对象系统建模中最重要的图，是定义其它图的基础。</a:t>
              </a:r>
              <a:endParaRPr lang="en-US" sz="1200" dirty="0"/>
            </a:p>
          </p:txBody>
        </p:sp>
        <p:cxnSp>
          <p:nvCxnSpPr>
            <p:cNvPr id="9" name="直接连接符 8">
              <a:extLst>
                <a:ext uri="{FF2B5EF4-FFF2-40B4-BE49-F238E27FC236}">
                  <a16:creationId xmlns:a16="http://schemas.microsoft.com/office/drawing/2014/main" id="{1BA83826-3D02-4BE2-AB9A-059CE9664B05}"/>
                </a:ext>
              </a:extLst>
            </p:cNvPr>
            <p:cNvCxnSpPr>
              <a:cxnSpLocks/>
            </p:cNvCxnSpPr>
            <p:nvPr/>
          </p:nvCxnSpPr>
          <p:spPr>
            <a:xfrm>
              <a:off x="2904477" y="2865984"/>
              <a:ext cx="861601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nvGrpSpPr>
            <p:cNvPr id="10" name="íšļiḍé">
              <a:extLst>
                <a:ext uri="{FF2B5EF4-FFF2-40B4-BE49-F238E27FC236}">
                  <a16:creationId xmlns:a16="http://schemas.microsoft.com/office/drawing/2014/main" id="{3445083A-93A8-4596-9554-D302B7E2ECE5}"/>
                </a:ext>
              </a:extLst>
            </p:cNvPr>
            <p:cNvGrpSpPr/>
            <p:nvPr/>
          </p:nvGrpSpPr>
          <p:grpSpPr>
            <a:xfrm>
              <a:off x="3585438" y="3600247"/>
              <a:ext cx="2328027" cy="1484016"/>
              <a:chOff x="4244714" y="3580166"/>
              <a:chExt cx="2328027" cy="1484016"/>
            </a:xfrm>
          </p:grpSpPr>
          <p:sp>
            <p:nvSpPr>
              <p:cNvPr id="21" name="íṧlîḍe">
                <a:extLst>
                  <a:ext uri="{FF2B5EF4-FFF2-40B4-BE49-F238E27FC236}">
                    <a16:creationId xmlns:a16="http://schemas.microsoft.com/office/drawing/2014/main" id="{D55337DE-D953-4540-AA5D-50A4333EB440}"/>
                  </a:ext>
                </a:extLst>
              </p:cNvPr>
              <p:cNvSpPr/>
              <p:nvPr/>
            </p:nvSpPr>
            <p:spPr bwMode="auto">
              <a:xfrm>
                <a:off x="4958704" y="3580166"/>
                <a:ext cx="708563" cy="538239"/>
              </a:xfrm>
              <a:custGeom>
                <a:avLst/>
                <a:gdLst>
                  <a:gd name="T0" fmla="*/ 2664 w 2711"/>
                  <a:gd name="T1" fmla="*/ 1581 h 2062"/>
                  <a:gd name="T2" fmla="*/ 909 w 2711"/>
                  <a:gd name="T3" fmla="*/ 1581 h 2062"/>
                  <a:gd name="T4" fmla="*/ 861 w 2711"/>
                  <a:gd name="T5" fmla="*/ 1534 h 2062"/>
                  <a:gd name="T6" fmla="*/ 861 w 2711"/>
                  <a:gd name="T7" fmla="*/ 434 h 2062"/>
                  <a:gd name="T8" fmla="*/ 909 w 2711"/>
                  <a:gd name="T9" fmla="*/ 386 h 2062"/>
                  <a:gd name="T10" fmla="*/ 2664 w 2711"/>
                  <a:gd name="T11" fmla="*/ 386 h 2062"/>
                  <a:gd name="T12" fmla="*/ 2711 w 2711"/>
                  <a:gd name="T13" fmla="*/ 434 h 2062"/>
                  <a:gd name="T14" fmla="*/ 2711 w 2711"/>
                  <a:gd name="T15" fmla="*/ 1534 h 2062"/>
                  <a:gd name="T16" fmla="*/ 2664 w 2711"/>
                  <a:gd name="T17" fmla="*/ 1581 h 2062"/>
                  <a:gd name="T18" fmla="*/ 2177 w 2711"/>
                  <a:gd name="T19" fmla="*/ 1928 h 2062"/>
                  <a:gd name="T20" fmla="*/ 2000 w 2711"/>
                  <a:gd name="T21" fmla="*/ 1928 h 2062"/>
                  <a:gd name="T22" fmla="*/ 2000 w 2711"/>
                  <a:gd name="T23" fmla="*/ 1715 h 2062"/>
                  <a:gd name="T24" fmla="*/ 1573 w 2711"/>
                  <a:gd name="T25" fmla="*/ 1715 h 2062"/>
                  <a:gd name="T26" fmla="*/ 1573 w 2711"/>
                  <a:gd name="T27" fmla="*/ 1928 h 2062"/>
                  <a:gd name="T28" fmla="*/ 1395 w 2711"/>
                  <a:gd name="T29" fmla="*/ 1928 h 2062"/>
                  <a:gd name="T30" fmla="*/ 1329 w 2711"/>
                  <a:gd name="T31" fmla="*/ 1995 h 2062"/>
                  <a:gd name="T32" fmla="*/ 1395 w 2711"/>
                  <a:gd name="T33" fmla="*/ 2062 h 2062"/>
                  <a:gd name="T34" fmla="*/ 1640 w 2711"/>
                  <a:gd name="T35" fmla="*/ 2062 h 2062"/>
                  <a:gd name="T36" fmla="*/ 1933 w 2711"/>
                  <a:gd name="T37" fmla="*/ 2062 h 2062"/>
                  <a:gd name="T38" fmla="*/ 2177 w 2711"/>
                  <a:gd name="T39" fmla="*/ 2062 h 2062"/>
                  <a:gd name="T40" fmla="*/ 2244 w 2711"/>
                  <a:gd name="T41" fmla="*/ 1995 h 2062"/>
                  <a:gd name="T42" fmla="*/ 2177 w 2711"/>
                  <a:gd name="T43" fmla="*/ 1928 h 2062"/>
                  <a:gd name="T44" fmla="*/ 1065 w 2711"/>
                  <a:gd name="T45" fmla="*/ 253 h 2062"/>
                  <a:gd name="T46" fmla="*/ 909 w 2711"/>
                  <a:gd name="T47" fmla="*/ 253 h 2062"/>
                  <a:gd name="T48" fmla="*/ 880 w 2711"/>
                  <a:gd name="T49" fmla="*/ 255 h 2062"/>
                  <a:gd name="T50" fmla="*/ 863 w 2711"/>
                  <a:gd name="T51" fmla="*/ 253 h 2062"/>
                  <a:gd name="T52" fmla="*/ 201 w 2711"/>
                  <a:gd name="T53" fmla="*/ 253 h 2062"/>
                  <a:gd name="T54" fmla="*/ 135 w 2711"/>
                  <a:gd name="T55" fmla="*/ 320 h 2062"/>
                  <a:gd name="T56" fmla="*/ 201 w 2711"/>
                  <a:gd name="T57" fmla="*/ 386 h 2062"/>
                  <a:gd name="T58" fmla="*/ 735 w 2711"/>
                  <a:gd name="T59" fmla="*/ 386 h 2062"/>
                  <a:gd name="T60" fmla="*/ 728 w 2711"/>
                  <a:gd name="T61" fmla="*/ 434 h 2062"/>
                  <a:gd name="T62" fmla="*/ 728 w 2711"/>
                  <a:gd name="T63" fmla="*/ 558 h 2062"/>
                  <a:gd name="T64" fmla="*/ 201 w 2711"/>
                  <a:gd name="T65" fmla="*/ 558 h 2062"/>
                  <a:gd name="T66" fmla="*/ 135 w 2711"/>
                  <a:gd name="T67" fmla="*/ 624 h 2062"/>
                  <a:gd name="T68" fmla="*/ 201 w 2711"/>
                  <a:gd name="T69" fmla="*/ 691 h 2062"/>
                  <a:gd name="T70" fmla="*/ 728 w 2711"/>
                  <a:gd name="T71" fmla="*/ 691 h 2062"/>
                  <a:gd name="T72" fmla="*/ 728 w 2711"/>
                  <a:gd name="T73" fmla="*/ 863 h 2062"/>
                  <a:gd name="T74" fmla="*/ 201 w 2711"/>
                  <a:gd name="T75" fmla="*/ 863 h 2062"/>
                  <a:gd name="T76" fmla="*/ 135 w 2711"/>
                  <a:gd name="T77" fmla="*/ 929 h 2062"/>
                  <a:gd name="T78" fmla="*/ 201 w 2711"/>
                  <a:gd name="T79" fmla="*/ 996 h 2062"/>
                  <a:gd name="T80" fmla="*/ 728 w 2711"/>
                  <a:gd name="T81" fmla="*/ 996 h 2062"/>
                  <a:gd name="T82" fmla="*/ 728 w 2711"/>
                  <a:gd name="T83" fmla="*/ 1534 h 2062"/>
                  <a:gd name="T84" fmla="*/ 909 w 2711"/>
                  <a:gd name="T85" fmla="*/ 1715 h 2062"/>
                  <a:gd name="T86" fmla="*/ 1065 w 2711"/>
                  <a:gd name="T87" fmla="*/ 1715 h 2062"/>
                  <a:gd name="T88" fmla="*/ 1065 w 2711"/>
                  <a:gd name="T89" fmla="*/ 1995 h 2062"/>
                  <a:gd name="T90" fmla="*/ 998 w 2711"/>
                  <a:gd name="T91" fmla="*/ 2062 h 2062"/>
                  <a:gd name="T92" fmla="*/ 67 w 2711"/>
                  <a:gd name="T93" fmla="*/ 2062 h 2062"/>
                  <a:gd name="T94" fmla="*/ 0 w 2711"/>
                  <a:gd name="T95" fmla="*/ 1995 h 2062"/>
                  <a:gd name="T96" fmla="*/ 0 w 2711"/>
                  <a:gd name="T97" fmla="*/ 66 h 2062"/>
                  <a:gd name="T98" fmla="*/ 67 w 2711"/>
                  <a:gd name="T99" fmla="*/ 0 h 2062"/>
                  <a:gd name="T100" fmla="*/ 998 w 2711"/>
                  <a:gd name="T101" fmla="*/ 0 h 2062"/>
                  <a:gd name="T102" fmla="*/ 1065 w 2711"/>
                  <a:gd name="T103" fmla="*/ 66 h 2062"/>
                  <a:gd name="T104" fmla="*/ 1065 w 2711"/>
                  <a:gd name="T105" fmla="*/ 253 h 2062"/>
                  <a:gd name="T106" fmla="*/ 430 w 2711"/>
                  <a:gd name="T107" fmla="*/ 1569 h 2062"/>
                  <a:gd name="T108" fmla="*/ 532 w 2711"/>
                  <a:gd name="T109" fmla="*/ 1672 h 2062"/>
                  <a:gd name="T110" fmla="*/ 635 w 2711"/>
                  <a:gd name="T111" fmla="*/ 1569 h 2062"/>
                  <a:gd name="T112" fmla="*/ 532 w 2711"/>
                  <a:gd name="T113" fmla="*/ 1466 h 2062"/>
                  <a:gd name="T114" fmla="*/ 430 w 2711"/>
                  <a:gd name="T115" fmla="*/ 1569 h 20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711" h="2062">
                    <a:moveTo>
                      <a:pt x="2664" y="1581"/>
                    </a:moveTo>
                    <a:lnTo>
                      <a:pt x="909" y="1581"/>
                    </a:lnTo>
                    <a:cubicBezTo>
                      <a:pt x="883" y="1581"/>
                      <a:pt x="861" y="1560"/>
                      <a:pt x="861" y="1534"/>
                    </a:cubicBezTo>
                    <a:lnTo>
                      <a:pt x="861" y="434"/>
                    </a:lnTo>
                    <a:cubicBezTo>
                      <a:pt x="861" y="407"/>
                      <a:pt x="883" y="386"/>
                      <a:pt x="909" y="386"/>
                    </a:cubicBezTo>
                    <a:lnTo>
                      <a:pt x="2664" y="386"/>
                    </a:lnTo>
                    <a:cubicBezTo>
                      <a:pt x="2690" y="386"/>
                      <a:pt x="2711" y="408"/>
                      <a:pt x="2711" y="434"/>
                    </a:cubicBezTo>
                    <a:lnTo>
                      <a:pt x="2711" y="1534"/>
                    </a:lnTo>
                    <a:cubicBezTo>
                      <a:pt x="2711" y="1560"/>
                      <a:pt x="2690" y="1581"/>
                      <a:pt x="2664" y="1581"/>
                    </a:cubicBezTo>
                    <a:close/>
                    <a:moveTo>
                      <a:pt x="2177" y="1928"/>
                    </a:moveTo>
                    <a:lnTo>
                      <a:pt x="2000" y="1928"/>
                    </a:lnTo>
                    <a:lnTo>
                      <a:pt x="2000" y="1715"/>
                    </a:lnTo>
                    <a:lnTo>
                      <a:pt x="1573" y="1715"/>
                    </a:lnTo>
                    <a:lnTo>
                      <a:pt x="1573" y="1928"/>
                    </a:lnTo>
                    <a:lnTo>
                      <a:pt x="1395" y="1928"/>
                    </a:lnTo>
                    <a:cubicBezTo>
                      <a:pt x="1358" y="1928"/>
                      <a:pt x="1329" y="1958"/>
                      <a:pt x="1329" y="1995"/>
                    </a:cubicBezTo>
                    <a:cubicBezTo>
                      <a:pt x="1329" y="2032"/>
                      <a:pt x="1358" y="2062"/>
                      <a:pt x="1395" y="2062"/>
                    </a:cubicBezTo>
                    <a:lnTo>
                      <a:pt x="1640" y="2062"/>
                    </a:lnTo>
                    <a:lnTo>
                      <a:pt x="1933" y="2062"/>
                    </a:lnTo>
                    <a:lnTo>
                      <a:pt x="2177" y="2062"/>
                    </a:lnTo>
                    <a:cubicBezTo>
                      <a:pt x="2214" y="2062"/>
                      <a:pt x="2244" y="2032"/>
                      <a:pt x="2244" y="1995"/>
                    </a:cubicBezTo>
                    <a:cubicBezTo>
                      <a:pt x="2244" y="1958"/>
                      <a:pt x="2214" y="1928"/>
                      <a:pt x="2177" y="1928"/>
                    </a:cubicBezTo>
                    <a:close/>
                    <a:moveTo>
                      <a:pt x="1065" y="253"/>
                    </a:moveTo>
                    <a:lnTo>
                      <a:pt x="909" y="253"/>
                    </a:lnTo>
                    <a:cubicBezTo>
                      <a:pt x="899" y="253"/>
                      <a:pt x="890" y="254"/>
                      <a:pt x="880" y="255"/>
                    </a:cubicBezTo>
                    <a:cubicBezTo>
                      <a:pt x="875" y="254"/>
                      <a:pt x="869" y="253"/>
                      <a:pt x="863" y="253"/>
                    </a:cubicBezTo>
                    <a:lnTo>
                      <a:pt x="201" y="253"/>
                    </a:lnTo>
                    <a:cubicBezTo>
                      <a:pt x="164" y="253"/>
                      <a:pt x="135" y="283"/>
                      <a:pt x="135" y="320"/>
                    </a:cubicBezTo>
                    <a:cubicBezTo>
                      <a:pt x="135" y="356"/>
                      <a:pt x="164" y="386"/>
                      <a:pt x="201" y="386"/>
                    </a:cubicBezTo>
                    <a:lnTo>
                      <a:pt x="735" y="386"/>
                    </a:lnTo>
                    <a:cubicBezTo>
                      <a:pt x="730" y="401"/>
                      <a:pt x="728" y="417"/>
                      <a:pt x="728" y="434"/>
                    </a:cubicBezTo>
                    <a:lnTo>
                      <a:pt x="728" y="558"/>
                    </a:lnTo>
                    <a:lnTo>
                      <a:pt x="201" y="558"/>
                    </a:lnTo>
                    <a:cubicBezTo>
                      <a:pt x="164" y="558"/>
                      <a:pt x="135" y="588"/>
                      <a:pt x="135" y="624"/>
                    </a:cubicBezTo>
                    <a:cubicBezTo>
                      <a:pt x="135" y="661"/>
                      <a:pt x="164" y="691"/>
                      <a:pt x="201" y="691"/>
                    </a:cubicBezTo>
                    <a:lnTo>
                      <a:pt x="728" y="691"/>
                    </a:lnTo>
                    <a:lnTo>
                      <a:pt x="728" y="863"/>
                    </a:lnTo>
                    <a:lnTo>
                      <a:pt x="201" y="863"/>
                    </a:lnTo>
                    <a:cubicBezTo>
                      <a:pt x="164" y="863"/>
                      <a:pt x="135" y="893"/>
                      <a:pt x="135" y="929"/>
                    </a:cubicBezTo>
                    <a:cubicBezTo>
                      <a:pt x="135" y="966"/>
                      <a:pt x="164" y="996"/>
                      <a:pt x="201" y="996"/>
                    </a:cubicBezTo>
                    <a:lnTo>
                      <a:pt x="728" y="996"/>
                    </a:lnTo>
                    <a:lnTo>
                      <a:pt x="728" y="1534"/>
                    </a:lnTo>
                    <a:cubicBezTo>
                      <a:pt x="728" y="1633"/>
                      <a:pt x="809" y="1715"/>
                      <a:pt x="909" y="1715"/>
                    </a:cubicBezTo>
                    <a:lnTo>
                      <a:pt x="1065" y="1715"/>
                    </a:lnTo>
                    <a:lnTo>
                      <a:pt x="1065" y="1995"/>
                    </a:lnTo>
                    <a:cubicBezTo>
                      <a:pt x="1065" y="2032"/>
                      <a:pt x="1035" y="2062"/>
                      <a:pt x="998" y="2062"/>
                    </a:cubicBezTo>
                    <a:lnTo>
                      <a:pt x="67" y="2062"/>
                    </a:lnTo>
                    <a:cubicBezTo>
                      <a:pt x="30" y="2062"/>
                      <a:pt x="0" y="2032"/>
                      <a:pt x="0" y="1995"/>
                    </a:cubicBezTo>
                    <a:lnTo>
                      <a:pt x="0" y="66"/>
                    </a:lnTo>
                    <a:cubicBezTo>
                      <a:pt x="0" y="29"/>
                      <a:pt x="30" y="0"/>
                      <a:pt x="67" y="0"/>
                    </a:cubicBezTo>
                    <a:lnTo>
                      <a:pt x="998" y="0"/>
                    </a:lnTo>
                    <a:cubicBezTo>
                      <a:pt x="1035" y="0"/>
                      <a:pt x="1065" y="29"/>
                      <a:pt x="1065" y="66"/>
                    </a:cubicBezTo>
                    <a:lnTo>
                      <a:pt x="1065" y="253"/>
                    </a:lnTo>
                    <a:close/>
                    <a:moveTo>
                      <a:pt x="430" y="1569"/>
                    </a:moveTo>
                    <a:cubicBezTo>
                      <a:pt x="430" y="1626"/>
                      <a:pt x="476" y="1672"/>
                      <a:pt x="532" y="1672"/>
                    </a:cubicBezTo>
                    <a:cubicBezTo>
                      <a:pt x="589" y="1672"/>
                      <a:pt x="635" y="1626"/>
                      <a:pt x="635" y="1569"/>
                    </a:cubicBezTo>
                    <a:cubicBezTo>
                      <a:pt x="635" y="1512"/>
                      <a:pt x="589" y="1466"/>
                      <a:pt x="532" y="1466"/>
                    </a:cubicBezTo>
                    <a:cubicBezTo>
                      <a:pt x="476" y="1466"/>
                      <a:pt x="430" y="1512"/>
                      <a:pt x="430" y="1569"/>
                    </a:cubicBezTo>
                    <a:close/>
                  </a:path>
                </a:pathLst>
              </a:custGeom>
              <a:solidFill>
                <a:schemeClr val="accent1">
                  <a:lumMod val="40000"/>
                  <a:lumOff val="60000"/>
                </a:schemeClr>
              </a:solidFill>
              <a:ln w="9525">
                <a:noFill/>
                <a:round/>
                <a:headEnd/>
                <a:tailEnd/>
              </a:ln>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endParaRPr dirty="0"/>
              </a:p>
            </p:txBody>
          </p:sp>
          <p:sp>
            <p:nvSpPr>
              <p:cNvPr id="22" name="îş1idé">
                <a:extLst>
                  <a:ext uri="{FF2B5EF4-FFF2-40B4-BE49-F238E27FC236}">
                    <a16:creationId xmlns:a16="http://schemas.microsoft.com/office/drawing/2014/main" id="{17DAC962-691D-4662-A12F-7048BE7D2084}"/>
                  </a:ext>
                </a:extLst>
              </p:cNvPr>
              <p:cNvSpPr txBox="1"/>
              <p:nvPr/>
            </p:nvSpPr>
            <p:spPr>
              <a:xfrm>
                <a:off x="4244714" y="4386088"/>
                <a:ext cx="2328027" cy="678094"/>
              </a:xfrm>
              <a:prstGeom prst="rect">
                <a:avLst/>
              </a:prstGeom>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l"/>
                <a:r>
                  <a:rPr lang="zh-CN" altLang="en-US" sz="1200" b="0" i="0" dirty="0">
                    <a:solidFill>
                      <a:srgbClr val="0D0016"/>
                    </a:solidFill>
                    <a:effectLst/>
                    <a:latin typeface="-apple-system"/>
                  </a:rPr>
                  <a:t>类图主要是用来展现软件系统中的类、接口以及它们之间的静态结构。 </a:t>
                </a:r>
                <a:endParaRPr lang="zh-CN" altLang="en-US" sz="1200" b="0" i="0" dirty="0">
                  <a:solidFill>
                    <a:srgbClr val="333333"/>
                  </a:solidFill>
                  <a:effectLst/>
                  <a:latin typeface="-apple-system"/>
                </a:endParaRPr>
              </a:p>
            </p:txBody>
          </p:sp>
        </p:grpSp>
        <p:sp>
          <p:nvSpPr>
            <p:cNvPr id="19" name="î$ḻîḋe">
              <a:extLst>
                <a:ext uri="{FF2B5EF4-FFF2-40B4-BE49-F238E27FC236}">
                  <a16:creationId xmlns:a16="http://schemas.microsoft.com/office/drawing/2014/main" id="{2FE4F874-C2AD-49C6-92CB-1DB1977DE9D6}"/>
                </a:ext>
              </a:extLst>
            </p:cNvPr>
            <p:cNvSpPr txBox="1"/>
            <p:nvPr/>
          </p:nvSpPr>
          <p:spPr>
            <a:xfrm>
              <a:off x="6313397" y="4341499"/>
              <a:ext cx="2328027" cy="678094"/>
            </a:xfrm>
            <a:prstGeom prst="rect">
              <a:avLst/>
            </a:prstGeom>
          </p:spPr>
          <p:txBody>
            <a:bodyPr wrap="square" lIns="91440" tIns="45720" rIns="91440" bIns="45720" anchor="t" anchorCtr="0">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lnSpc>
                  <a:spcPct val="120000"/>
                </a:lnSpc>
              </a:pPr>
              <a:r>
                <a:rPr lang="zh-CN" altLang="en-US" sz="1200" b="0" i="0" dirty="0">
                  <a:solidFill>
                    <a:srgbClr val="0D0016"/>
                  </a:solidFill>
                  <a:effectLst/>
                  <a:latin typeface="-apple-system"/>
                </a:rPr>
                <a:t>类图以反映类的结构</a:t>
              </a:r>
              <a:r>
                <a:rPr lang="en-US" altLang="zh-CN" sz="1200" b="0" i="0" dirty="0">
                  <a:solidFill>
                    <a:srgbClr val="0D0016"/>
                  </a:solidFill>
                  <a:effectLst/>
                  <a:latin typeface="-apple-system"/>
                </a:rPr>
                <a:t>(</a:t>
              </a:r>
              <a:r>
                <a:rPr lang="zh-CN" altLang="en-US" sz="1200" b="0" i="0" dirty="0">
                  <a:solidFill>
                    <a:srgbClr val="0D0016"/>
                  </a:solidFill>
                  <a:effectLst/>
                  <a:latin typeface="-apple-system"/>
                </a:rPr>
                <a:t>属性、操作</a:t>
              </a:r>
              <a:r>
                <a:rPr lang="en-US" altLang="zh-CN" sz="1200" b="0" i="0" dirty="0">
                  <a:solidFill>
                    <a:srgbClr val="0D0016"/>
                  </a:solidFill>
                  <a:effectLst/>
                  <a:latin typeface="-apple-system"/>
                </a:rPr>
                <a:t>)</a:t>
              </a:r>
              <a:r>
                <a:rPr lang="zh-CN" altLang="en-US" sz="1200" b="0" i="0" dirty="0">
                  <a:solidFill>
                    <a:srgbClr val="0D0016"/>
                  </a:solidFill>
                  <a:effectLst/>
                  <a:latin typeface="-apple-system"/>
                </a:rPr>
                <a:t>以及类之间的关系为主要目的，描述了软件系统的结构，是一种静态建模方法</a:t>
              </a:r>
              <a:endParaRPr lang="en-US" altLang="zh-CN" sz="1200" dirty="0">
                <a:latin typeface="+mn-ea"/>
              </a:endParaRPr>
            </a:p>
          </p:txBody>
        </p:sp>
        <p:grpSp>
          <p:nvGrpSpPr>
            <p:cNvPr id="12" name="iS1iḋè">
              <a:extLst>
                <a:ext uri="{FF2B5EF4-FFF2-40B4-BE49-F238E27FC236}">
                  <a16:creationId xmlns:a16="http://schemas.microsoft.com/office/drawing/2014/main" id="{787C7075-EE89-4657-BFD4-776087DE84C0}"/>
                </a:ext>
              </a:extLst>
            </p:cNvPr>
            <p:cNvGrpSpPr/>
            <p:nvPr/>
          </p:nvGrpSpPr>
          <p:grpSpPr>
            <a:xfrm>
              <a:off x="9183456" y="3563818"/>
              <a:ext cx="2328027" cy="1468625"/>
              <a:chOff x="4141555" y="3507306"/>
              <a:chExt cx="2328027" cy="1468625"/>
            </a:xfrm>
          </p:grpSpPr>
          <p:sp>
            <p:nvSpPr>
              <p:cNvPr id="15" name="ïŝľïḋê">
                <a:extLst>
                  <a:ext uri="{FF2B5EF4-FFF2-40B4-BE49-F238E27FC236}">
                    <a16:creationId xmlns:a16="http://schemas.microsoft.com/office/drawing/2014/main" id="{B3862B97-B0C0-4AC8-9161-A5879FD5FDC9}"/>
                  </a:ext>
                </a:extLst>
              </p:cNvPr>
              <p:cNvSpPr/>
              <p:nvPr/>
            </p:nvSpPr>
            <p:spPr bwMode="auto">
              <a:xfrm>
                <a:off x="4958704" y="3507306"/>
                <a:ext cx="708563" cy="683960"/>
              </a:xfrm>
              <a:custGeom>
                <a:avLst/>
                <a:gdLst>
                  <a:gd name="connsiteX0" fmla="*/ 147225 w 603618"/>
                  <a:gd name="connsiteY0" fmla="*/ 418175 h 582659"/>
                  <a:gd name="connsiteX1" fmla="*/ 129666 w 603618"/>
                  <a:gd name="connsiteY1" fmla="*/ 424618 h 582659"/>
                  <a:gd name="connsiteX2" fmla="*/ 159231 w 603618"/>
                  <a:gd name="connsiteY2" fmla="*/ 444246 h 582659"/>
                  <a:gd name="connsiteX3" fmla="*/ 147225 w 603618"/>
                  <a:gd name="connsiteY3" fmla="*/ 418175 h 582659"/>
                  <a:gd name="connsiteX4" fmla="*/ 235619 w 603618"/>
                  <a:gd name="connsiteY4" fmla="*/ 400345 h 582659"/>
                  <a:gd name="connsiteX5" fmla="*/ 196149 w 603618"/>
                  <a:gd name="connsiteY5" fmla="*/ 405440 h 582659"/>
                  <a:gd name="connsiteX6" fmla="*/ 235619 w 603618"/>
                  <a:gd name="connsiteY6" fmla="*/ 461476 h 582659"/>
                  <a:gd name="connsiteX7" fmla="*/ 453241 w 603618"/>
                  <a:gd name="connsiteY7" fmla="*/ 335186 h 582659"/>
                  <a:gd name="connsiteX8" fmla="*/ 453241 w 603618"/>
                  <a:gd name="connsiteY8" fmla="*/ 501720 h 582659"/>
                  <a:gd name="connsiteX9" fmla="*/ 410469 w 603618"/>
                  <a:gd name="connsiteY9" fmla="*/ 458889 h 582659"/>
                  <a:gd name="connsiteX10" fmla="*/ 379853 w 603618"/>
                  <a:gd name="connsiteY10" fmla="*/ 363192 h 582659"/>
                  <a:gd name="connsiteX11" fmla="*/ 453242 w 603618"/>
                  <a:gd name="connsiteY11" fmla="*/ 304902 h 582659"/>
                  <a:gd name="connsiteX12" fmla="*/ 444688 w 603618"/>
                  <a:gd name="connsiteY12" fmla="*/ 306400 h 582659"/>
                  <a:gd name="connsiteX13" fmla="*/ 364853 w 603618"/>
                  <a:gd name="connsiteY13" fmla="*/ 336813 h 582659"/>
                  <a:gd name="connsiteX14" fmla="*/ 349547 w 603618"/>
                  <a:gd name="connsiteY14" fmla="*/ 361682 h 582659"/>
                  <a:gd name="connsiteX15" fmla="*/ 453242 w 603618"/>
                  <a:gd name="connsiteY15" fmla="*/ 531722 h 582659"/>
                  <a:gd name="connsiteX16" fmla="*/ 556936 w 603618"/>
                  <a:gd name="connsiteY16" fmla="*/ 361682 h 582659"/>
                  <a:gd name="connsiteX17" fmla="*/ 541630 w 603618"/>
                  <a:gd name="connsiteY17" fmla="*/ 336813 h 582659"/>
                  <a:gd name="connsiteX18" fmla="*/ 461795 w 603618"/>
                  <a:gd name="connsiteY18" fmla="*/ 306400 h 582659"/>
                  <a:gd name="connsiteX19" fmla="*/ 453242 w 603618"/>
                  <a:gd name="connsiteY19" fmla="*/ 304902 h 582659"/>
                  <a:gd name="connsiteX20" fmla="*/ 170186 w 603618"/>
                  <a:gd name="connsiteY20" fmla="*/ 285126 h 582659"/>
                  <a:gd name="connsiteX21" fmla="*/ 180542 w 603618"/>
                  <a:gd name="connsiteY21" fmla="*/ 357794 h 582659"/>
                  <a:gd name="connsiteX22" fmla="*/ 235619 w 603618"/>
                  <a:gd name="connsiteY22" fmla="*/ 350452 h 582659"/>
                  <a:gd name="connsiteX23" fmla="*/ 235619 w 603618"/>
                  <a:gd name="connsiteY23" fmla="*/ 285126 h 582659"/>
                  <a:gd name="connsiteX24" fmla="*/ 51476 w 603618"/>
                  <a:gd name="connsiteY24" fmla="*/ 285126 h 582659"/>
                  <a:gd name="connsiteX25" fmla="*/ 92297 w 603618"/>
                  <a:gd name="connsiteY25" fmla="*/ 386261 h 582659"/>
                  <a:gd name="connsiteX26" fmla="*/ 132217 w 603618"/>
                  <a:gd name="connsiteY26" fmla="*/ 370679 h 582659"/>
                  <a:gd name="connsiteX27" fmla="*/ 120211 w 603618"/>
                  <a:gd name="connsiteY27" fmla="*/ 285126 h 582659"/>
                  <a:gd name="connsiteX28" fmla="*/ 453242 w 603618"/>
                  <a:gd name="connsiteY28" fmla="*/ 253965 h 582659"/>
                  <a:gd name="connsiteX29" fmla="*/ 465697 w 603618"/>
                  <a:gd name="connsiteY29" fmla="*/ 256362 h 582659"/>
                  <a:gd name="connsiteX30" fmla="*/ 581247 w 603618"/>
                  <a:gd name="connsiteY30" fmla="*/ 300407 h 582659"/>
                  <a:gd name="connsiteX31" fmla="*/ 603456 w 603618"/>
                  <a:gd name="connsiteY31" fmla="*/ 336363 h 582659"/>
                  <a:gd name="connsiteX32" fmla="*/ 453242 w 603618"/>
                  <a:gd name="connsiteY32" fmla="*/ 582659 h 582659"/>
                  <a:gd name="connsiteX33" fmla="*/ 303027 w 603618"/>
                  <a:gd name="connsiteY33" fmla="*/ 336363 h 582659"/>
                  <a:gd name="connsiteX34" fmla="*/ 325236 w 603618"/>
                  <a:gd name="connsiteY34" fmla="*/ 300407 h 582659"/>
                  <a:gd name="connsiteX35" fmla="*/ 440786 w 603618"/>
                  <a:gd name="connsiteY35" fmla="*/ 256362 h 582659"/>
                  <a:gd name="connsiteX36" fmla="*/ 453242 w 603618"/>
                  <a:gd name="connsiteY36" fmla="*/ 253965 h 582659"/>
                  <a:gd name="connsiteX37" fmla="*/ 338422 w 603618"/>
                  <a:gd name="connsiteY37" fmla="*/ 162865 h 582659"/>
                  <a:gd name="connsiteX38" fmla="*/ 285595 w 603618"/>
                  <a:gd name="connsiteY38" fmla="*/ 169607 h 582659"/>
                  <a:gd name="connsiteX39" fmla="*/ 285595 w 603618"/>
                  <a:gd name="connsiteY39" fmla="*/ 235083 h 582659"/>
                  <a:gd name="connsiteX40" fmla="*/ 348627 w 603618"/>
                  <a:gd name="connsiteY40" fmla="*/ 235083 h 582659"/>
                  <a:gd name="connsiteX41" fmla="*/ 338422 w 603618"/>
                  <a:gd name="connsiteY41" fmla="*/ 162865 h 582659"/>
                  <a:gd name="connsiteX42" fmla="*/ 180542 w 603618"/>
                  <a:gd name="connsiteY42" fmla="*/ 162415 h 582659"/>
                  <a:gd name="connsiteX43" fmla="*/ 170186 w 603618"/>
                  <a:gd name="connsiteY43" fmla="*/ 235083 h 582659"/>
                  <a:gd name="connsiteX44" fmla="*/ 235619 w 603618"/>
                  <a:gd name="connsiteY44" fmla="*/ 235083 h 582659"/>
                  <a:gd name="connsiteX45" fmla="*/ 235619 w 603618"/>
                  <a:gd name="connsiteY45" fmla="*/ 169607 h 582659"/>
                  <a:gd name="connsiteX46" fmla="*/ 180542 w 603618"/>
                  <a:gd name="connsiteY46" fmla="*/ 162415 h 582659"/>
                  <a:gd name="connsiteX47" fmla="*/ 92297 w 603618"/>
                  <a:gd name="connsiteY47" fmla="*/ 133948 h 582659"/>
                  <a:gd name="connsiteX48" fmla="*/ 51476 w 603618"/>
                  <a:gd name="connsiteY48" fmla="*/ 235083 h 582659"/>
                  <a:gd name="connsiteX49" fmla="*/ 120211 w 603618"/>
                  <a:gd name="connsiteY49" fmla="*/ 235083 h 582659"/>
                  <a:gd name="connsiteX50" fmla="*/ 132217 w 603618"/>
                  <a:gd name="connsiteY50" fmla="*/ 149530 h 582659"/>
                  <a:gd name="connsiteX51" fmla="*/ 92297 w 603618"/>
                  <a:gd name="connsiteY51" fmla="*/ 133948 h 582659"/>
                  <a:gd name="connsiteX52" fmla="*/ 159231 w 603618"/>
                  <a:gd name="connsiteY52" fmla="*/ 75814 h 582659"/>
                  <a:gd name="connsiteX53" fmla="*/ 129666 w 603618"/>
                  <a:gd name="connsiteY53" fmla="*/ 95591 h 582659"/>
                  <a:gd name="connsiteX54" fmla="*/ 147225 w 603618"/>
                  <a:gd name="connsiteY54" fmla="*/ 102034 h 582659"/>
                  <a:gd name="connsiteX55" fmla="*/ 159231 w 603618"/>
                  <a:gd name="connsiteY55" fmla="*/ 75814 h 582659"/>
                  <a:gd name="connsiteX56" fmla="*/ 358682 w 603618"/>
                  <a:gd name="connsiteY56" fmla="*/ 74165 h 582659"/>
                  <a:gd name="connsiteX57" fmla="*/ 371888 w 603618"/>
                  <a:gd name="connsiteY57" fmla="*/ 102783 h 582659"/>
                  <a:gd name="connsiteX58" fmla="*/ 391548 w 603618"/>
                  <a:gd name="connsiteY58" fmla="*/ 95591 h 582659"/>
                  <a:gd name="connsiteX59" fmla="*/ 358682 w 603618"/>
                  <a:gd name="connsiteY59" fmla="*/ 74165 h 582659"/>
                  <a:gd name="connsiteX60" fmla="*/ 285595 w 603618"/>
                  <a:gd name="connsiteY60" fmla="*/ 60381 h 582659"/>
                  <a:gd name="connsiteX61" fmla="*/ 285595 w 603618"/>
                  <a:gd name="connsiteY61" fmla="*/ 119864 h 582659"/>
                  <a:gd name="connsiteX62" fmla="*/ 322964 w 603618"/>
                  <a:gd name="connsiteY62" fmla="*/ 115219 h 582659"/>
                  <a:gd name="connsiteX63" fmla="*/ 285595 w 603618"/>
                  <a:gd name="connsiteY63" fmla="*/ 60381 h 582659"/>
                  <a:gd name="connsiteX64" fmla="*/ 235619 w 603618"/>
                  <a:gd name="connsiteY64" fmla="*/ 58583 h 582659"/>
                  <a:gd name="connsiteX65" fmla="*/ 196149 w 603618"/>
                  <a:gd name="connsiteY65" fmla="*/ 114769 h 582659"/>
                  <a:gd name="connsiteX66" fmla="*/ 235619 w 603618"/>
                  <a:gd name="connsiteY66" fmla="*/ 119864 h 582659"/>
                  <a:gd name="connsiteX67" fmla="*/ 259482 w 603618"/>
                  <a:gd name="connsiteY67" fmla="*/ 0 h 582659"/>
                  <a:gd name="connsiteX68" fmla="*/ 260532 w 603618"/>
                  <a:gd name="connsiteY68" fmla="*/ 0 h 582659"/>
                  <a:gd name="connsiteX69" fmla="*/ 520914 w 603618"/>
                  <a:gd name="connsiteY69" fmla="*/ 247369 h 582659"/>
                  <a:gd name="connsiteX70" fmla="*/ 475741 w 603618"/>
                  <a:gd name="connsiteY70" fmla="*/ 230138 h 582659"/>
                  <a:gd name="connsiteX71" fmla="*/ 468688 w 603618"/>
                  <a:gd name="connsiteY71" fmla="*/ 228041 h 582659"/>
                  <a:gd name="connsiteX72" fmla="*/ 428917 w 603618"/>
                  <a:gd name="connsiteY72" fmla="*/ 133948 h 582659"/>
                  <a:gd name="connsiteX73" fmla="*/ 386746 w 603618"/>
                  <a:gd name="connsiteY73" fmla="*/ 150279 h 582659"/>
                  <a:gd name="connsiteX74" fmla="*/ 398752 w 603618"/>
                  <a:gd name="connsiteY74" fmla="*/ 235083 h 582659"/>
                  <a:gd name="connsiteX75" fmla="*/ 417812 w 603618"/>
                  <a:gd name="connsiteY75" fmla="*/ 235083 h 582659"/>
                  <a:gd name="connsiteX76" fmla="*/ 315310 w 603618"/>
                  <a:gd name="connsiteY76" fmla="*/ 274188 h 582659"/>
                  <a:gd name="connsiteX77" fmla="*/ 297001 w 603618"/>
                  <a:gd name="connsiteY77" fmla="*/ 285126 h 582659"/>
                  <a:gd name="connsiteX78" fmla="*/ 285595 w 603618"/>
                  <a:gd name="connsiteY78" fmla="*/ 285126 h 582659"/>
                  <a:gd name="connsiteX79" fmla="*/ 285595 w 603618"/>
                  <a:gd name="connsiteY79" fmla="*/ 297861 h 582659"/>
                  <a:gd name="connsiteX80" fmla="*/ 275089 w 603618"/>
                  <a:gd name="connsiteY80" fmla="*/ 339065 h 582659"/>
                  <a:gd name="connsiteX81" fmla="*/ 285895 w 603618"/>
                  <a:gd name="connsiteY81" fmla="*/ 400345 h 582659"/>
                  <a:gd name="connsiteX82" fmla="*/ 285595 w 603618"/>
                  <a:gd name="connsiteY82" fmla="*/ 400345 h 582659"/>
                  <a:gd name="connsiteX83" fmla="*/ 285595 w 603618"/>
                  <a:gd name="connsiteY83" fmla="*/ 459828 h 582659"/>
                  <a:gd name="connsiteX84" fmla="*/ 299552 w 603618"/>
                  <a:gd name="connsiteY84" fmla="*/ 445594 h 582659"/>
                  <a:gd name="connsiteX85" fmla="*/ 328516 w 603618"/>
                  <a:gd name="connsiteY85" fmla="*/ 511219 h 582659"/>
                  <a:gd name="connsiteX86" fmla="*/ 259482 w 603618"/>
                  <a:gd name="connsiteY86" fmla="*/ 520209 h 582659"/>
                  <a:gd name="connsiteX87" fmla="*/ 0 w 603618"/>
                  <a:gd name="connsiteY87" fmla="*/ 260104 h 582659"/>
                  <a:gd name="connsiteX88" fmla="*/ 259482 w 603618"/>
                  <a:gd name="connsiteY88" fmla="*/ 0 h 582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603618" h="582659">
                    <a:moveTo>
                      <a:pt x="147225" y="418175"/>
                    </a:moveTo>
                    <a:cubicBezTo>
                      <a:pt x="141372" y="420123"/>
                      <a:pt x="135519" y="422221"/>
                      <a:pt x="129666" y="424618"/>
                    </a:cubicBezTo>
                    <a:cubicBezTo>
                      <a:pt x="138970" y="431959"/>
                      <a:pt x="148875" y="438552"/>
                      <a:pt x="159231" y="444246"/>
                    </a:cubicBezTo>
                    <a:cubicBezTo>
                      <a:pt x="155179" y="436604"/>
                      <a:pt x="151277" y="428364"/>
                      <a:pt x="147225" y="418175"/>
                    </a:cubicBezTo>
                    <a:close/>
                    <a:moveTo>
                      <a:pt x="235619" y="400345"/>
                    </a:moveTo>
                    <a:cubicBezTo>
                      <a:pt x="222413" y="401244"/>
                      <a:pt x="209206" y="402893"/>
                      <a:pt x="196149" y="405440"/>
                    </a:cubicBezTo>
                    <a:cubicBezTo>
                      <a:pt x="204704" y="425367"/>
                      <a:pt x="217910" y="448740"/>
                      <a:pt x="235619" y="461476"/>
                    </a:cubicBezTo>
                    <a:close/>
                    <a:moveTo>
                      <a:pt x="453241" y="335186"/>
                    </a:moveTo>
                    <a:lnTo>
                      <a:pt x="453241" y="501720"/>
                    </a:lnTo>
                    <a:cubicBezTo>
                      <a:pt x="444386" y="501720"/>
                      <a:pt x="427728" y="490488"/>
                      <a:pt x="410469" y="458889"/>
                    </a:cubicBezTo>
                    <a:cubicBezTo>
                      <a:pt x="395161" y="431033"/>
                      <a:pt x="383605" y="394791"/>
                      <a:pt x="379853" y="363192"/>
                    </a:cubicBezTo>
                    <a:close/>
                    <a:moveTo>
                      <a:pt x="453242" y="304902"/>
                    </a:moveTo>
                    <a:cubicBezTo>
                      <a:pt x="450390" y="304902"/>
                      <a:pt x="447389" y="305351"/>
                      <a:pt x="444688" y="306400"/>
                    </a:cubicBezTo>
                    <a:lnTo>
                      <a:pt x="364853" y="336813"/>
                    </a:lnTo>
                    <a:cubicBezTo>
                      <a:pt x="354799" y="340708"/>
                      <a:pt x="348496" y="350896"/>
                      <a:pt x="349547" y="361682"/>
                    </a:cubicBezTo>
                    <a:cubicBezTo>
                      <a:pt x="356450" y="432395"/>
                      <a:pt x="400119" y="531722"/>
                      <a:pt x="453242" y="531722"/>
                    </a:cubicBezTo>
                    <a:cubicBezTo>
                      <a:pt x="506364" y="531722"/>
                      <a:pt x="550033" y="432395"/>
                      <a:pt x="556936" y="361682"/>
                    </a:cubicBezTo>
                    <a:cubicBezTo>
                      <a:pt x="558137" y="350896"/>
                      <a:pt x="551834" y="340708"/>
                      <a:pt x="541630" y="336813"/>
                    </a:cubicBezTo>
                    <a:lnTo>
                      <a:pt x="461795" y="306400"/>
                    </a:lnTo>
                    <a:cubicBezTo>
                      <a:pt x="459094" y="305351"/>
                      <a:pt x="456093" y="304902"/>
                      <a:pt x="453242" y="304902"/>
                    </a:cubicBezTo>
                    <a:close/>
                    <a:moveTo>
                      <a:pt x="170186" y="285126"/>
                    </a:moveTo>
                    <a:cubicBezTo>
                      <a:pt x="171687" y="310597"/>
                      <a:pt x="175139" y="335169"/>
                      <a:pt x="180542" y="357794"/>
                    </a:cubicBezTo>
                    <a:cubicBezTo>
                      <a:pt x="198701" y="354048"/>
                      <a:pt x="217160" y="351651"/>
                      <a:pt x="235619" y="350452"/>
                    </a:cubicBezTo>
                    <a:lnTo>
                      <a:pt x="235619" y="285126"/>
                    </a:lnTo>
                    <a:close/>
                    <a:moveTo>
                      <a:pt x="51476" y="285126"/>
                    </a:moveTo>
                    <a:cubicBezTo>
                      <a:pt x="55978" y="322733"/>
                      <a:pt x="70536" y="357344"/>
                      <a:pt x="92297" y="386261"/>
                    </a:cubicBezTo>
                    <a:cubicBezTo>
                      <a:pt x="105353" y="380268"/>
                      <a:pt x="118560" y="375174"/>
                      <a:pt x="132217" y="370679"/>
                    </a:cubicBezTo>
                    <a:cubicBezTo>
                      <a:pt x="125764" y="343860"/>
                      <a:pt x="121562" y="314942"/>
                      <a:pt x="120211" y="285126"/>
                    </a:cubicBezTo>
                    <a:close/>
                    <a:moveTo>
                      <a:pt x="453242" y="253965"/>
                    </a:moveTo>
                    <a:cubicBezTo>
                      <a:pt x="457443" y="253965"/>
                      <a:pt x="461645" y="254714"/>
                      <a:pt x="465697" y="256362"/>
                    </a:cubicBezTo>
                    <a:lnTo>
                      <a:pt x="581247" y="300407"/>
                    </a:lnTo>
                    <a:cubicBezTo>
                      <a:pt x="595953" y="305951"/>
                      <a:pt x="604957" y="320782"/>
                      <a:pt x="603456" y="336363"/>
                    </a:cubicBezTo>
                    <a:cubicBezTo>
                      <a:pt x="593402" y="438687"/>
                      <a:pt x="530075" y="582659"/>
                      <a:pt x="453242" y="582659"/>
                    </a:cubicBezTo>
                    <a:cubicBezTo>
                      <a:pt x="376408" y="582659"/>
                      <a:pt x="313081" y="438687"/>
                      <a:pt x="303027" y="336363"/>
                    </a:cubicBezTo>
                    <a:cubicBezTo>
                      <a:pt x="301526" y="320782"/>
                      <a:pt x="310530" y="305951"/>
                      <a:pt x="325236" y="300407"/>
                    </a:cubicBezTo>
                    <a:lnTo>
                      <a:pt x="440786" y="256362"/>
                    </a:lnTo>
                    <a:cubicBezTo>
                      <a:pt x="444838" y="254714"/>
                      <a:pt x="449040" y="253965"/>
                      <a:pt x="453242" y="253965"/>
                    </a:cubicBezTo>
                    <a:close/>
                    <a:moveTo>
                      <a:pt x="338422" y="162865"/>
                    </a:moveTo>
                    <a:cubicBezTo>
                      <a:pt x="321013" y="166311"/>
                      <a:pt x="303304" y="168558"/>
                      <a:pt x="285595" y="169607"/>
                    </a:cubicBezTo>
                    <a:lnTo>
                      <a:pt x="285595" y="235083"/>
                    </a:lnTo>
                    <a:lnTo>
                      <a:pt x="348627" y="235083"/>
                    </a:lnTo>
                    <a:cubicBezTo>
                      <a:pt x="347276" y="209761"/>
                      <a:pt x="343824" y="185339"/>
                      <a:pt x="338422" y="162865"/>
                    </a:cubicBezTo>
                    <a:close/>
                    <a:moveTo>
                      <a:pt x="180542" y="162415"/>
                    </a:moveTo>
                    <a:cubicBezTo>
                      <a:pt x="175139" y="185040"/>
                      <a:pt x="171687" y="209612"/>
                      <a:pt x="170186" y="235083"/>
                    </a:cubicBezTo>
                    <a:lnTo>
                      <a:pt x="235619" y="235083"/>
                    </a:lnTo>
                    <a:lnTo>
                      <a:pt x="235619" y="169607"/>
                    </a:lnTo>
                    <a:cubicBezTo>
                      <a:pt x="217160" y="168558"/>
                      <a:pt x="198701" y="166161"/>
                      <a:pt x="180542" y="162415"/>
                    </a:cubicBezTo>
                    <a:close/>
                    <a:moveTo>
                      <a:pt x="92297" y="133948"/>
                    </a:moveTo>
                    <a:cubicBezTo>
                      <a:pt x="70536" y="162865"/>
                      <a:pt x="55978" y="197475"/>
                      <a:pt x="51476" y="235083"/>
                    </a:cubicBezTo>
                    <a:lnTo>
                      <a:pt x="120211" y="235083"/>
                    </a:lnTo>
                    <a:cubicBezTo>
                      <a:pt x="121562" y="205117"/>
                      <a:pt x="125764" y="176349"/>
                      <a:pt x="132217" y="149530"/>
                    </a:cubicBezTo>
                    <a:cubicBezTo>
                      <a:pt x="118560" y="145035"/>
                      <a:pt x="105353" y="139791"/>
                      <a:pt x="92297" y="133948"/>
                    </a:cubicBezTo>
                    <a:close/>
                    <a:moveTo>
                      <a:pt x="159231" y="75814"/>
                    </a:moveTo>
                    <a:cubicBezTo>
                      <a:pt x="148875" y="81657"/>
                      <a:pt x="138970" y="88249"/>
                      <a:pt x="129666" y="95591"/>
                    </a:cubicBezTo>
                    <a:cubicBezTo>
                      <a:pt x="135519" y="97839"/>
                      <a:pt x="141372" y="100086"/>
                      <a:pt x="147225" y="102034"/>
                    </a:cubicBezTo>
                    <a:cubicBezTo>
                      <a:pt x="151277" y="91845"/>
                      <a:pt x="155179" y="83605"/>
                      <a:pt x="159231" y="75814"/>
                    </a:cubicBezTo>
                    <a:close/>
                    <a:moveTo>
                      <a:pt x="358682" y="74165"/>
                    </a:moveTo>
                    <a:cubicBezTo>
                      <a:pt x="363184" y="82556"/>
                      <a:pt x="367386" y="91546"/>
                      <a:pt x="371888" y="102783"/>
                    </a:cubicBezTo>
                    <a:cubicBezTo>
                      <a:pt x="378492" y="100536"/>
                      <a:pt x="385095" y="98138"/>
                      <a:pt x="391548" y="95591"/>
                    </a:cubicBezTo>
                    <a:cubicBezTo>
                      <a:pt x="381343" y="87500"/>
                      <a:pt x="370238" y="80309"/>
                      <a:pt x="358682" y="74165"/>
                    </a:cubicBezTo>
                    <a:close/>
                    <a:moveTo>
                      <a:pt x="285595" y="60381"/>
                    </a:moveTo>
                    <a:lnTo>
                      <a:pt x="285595" y="119864"/>
                    </a:lnTo>
                    <a:cubicBezTo>
                      <a:pt x="298051" y="118965"/>
                      <a:pt x="310507" y="117466"/>
                      <a:pt x="322964" y="115219"/>
                    </a:cubicBezTo>
                    <a:cubicBezTo>
                      <a:pt x="314559" y="95741"/>
                      <a:pt x="302253" y="73566"/>
                      <a:pt x="285595" y="60381"/>
                    </a:cubicBezTo>
                    <a:close/>
                    <a:moveTo>
                      <a:pt x="235619" y="58583"/>
                    </a:moveTo>
                    <a:cubicBezTo>
                      <a:pt x="217910" y="71469"/>
                      <a:pt x="204704" y="94692"/>
                      <a:pt x="196149" y="114769"/>
                    </a:cubicBezTo>
                    <a:cubicBezTo>
                      <a:pt x="209206" y="117167"/>
                      <a:pt x="222413" y="118965"/>
                      <a:pt x="235619" y="119864"/>
                    </a:cubicBezTo>
                    <a:close/>
                    <a:moveTo>
                      <a:pt x="259482" y="0"/>
                    </a:moveTo>
                    <a:lnTo>
                      <a:pt x="260532" y="0"/>
                    </a:lnTo>
                    <a:cubicBezTo>
                      <a:pt x="399953" y="0"/>
                      <a:pt x="514161" y="109825"/>
                      <a:pt x="520914" y="247369"/>
                    </a:cubicBezTo>
                    <a:lnTo>
                      <a:pt x="475741" y="230138"/>
                    </a:lnTo>
                    <a:cubicBezTo>
                      <a:pt x="473340" y="229239"/>
                      <a:pt x="471089" y="228640"/>
                      <a:pt x="468688" y="228041"/>
                    </a:cubicBezTo>
                    <a:cubicBezTo>
                      <a:pt x="463285" y="193130"/>
                      <a:pt x="449328" y="160917"/>
                      <a:pt x="428917" y="133948"/>
                    </a:cubicBezTo>
                    <a:cubicBezTo>
                      <a:pt x="415260" y="140240"/>
                      <a:pt x="401153" y="145634"/>
                      <a:pt x="386746" y="150279"/>
                    </a:cubicBezTo>
                    <a:cubicBezTo>
                      <a:pt x="393199" y="176799"/>
                      <a:pt x="397251" y="205416"/>
                      <a:pt x="398752" y="235083"/>
                    </a:cubicBezTo>
                    <a:lnTo>
                      <a:pt x="417812" y="235083"/>
                    </a:lnTo>
                    <a:lnTo>
                      <a:pt x="315310" y="274188"/>
                    </a:lnTo>
                    <a:cubicBezTo>
                      <a:pt x="308556" y="276885"/>
                      <a:pt x="302403" y="280481"/>
                      <a:pt x="297001" y="285126"/>
                    </a:cubicBezTo>
                    <a:lnTo>
                      <a:pt x="285595" y="285126"/>
                    </a:lnTo>
                    <a:lnTo>
                      <a:pt x="285595" y="297861"/>
                    </a:lnTo>
                    <a:cubicBezTo>
                      <a:pt x="277641" y="309698"/>
                      <a:pt x="273589" y="324231"/>
                      <a:pt x="275089" y="339065"/>
                    </a:cubicBezTo>
                    <a:cubicBezTo>
                      <a:pt x="277040" y="358992"/>
                      <a:pt x="280792" y="379669"/>
                      <a:pt x="285895" y="400345"/>
                    </a:cubicBezTo>
                    <a:cubicBezTo>
                      <a:pt x="285745" y="400345"/>
                      <a:pt x="285745" y="400345"/>
                      <a:pt x="285595" y="400345"/>
                    </a:cubicBezTo>
                    <a:lnTo>
                      <a:pt x="285595" y="459828"/>
                    </a:lnTo>
                    <a:cubicBezTo>
                      <a:pt x="290397" y="456082"/>
                      <a:pt x="295050" y="451288"/>
                      <a:pt x="299552" y="445594"/>
                    </a:cubicBezTo>
                    <a:cubicBezTo>
                      <a:pt x="307656" y="468818"/>
                      <a:pt x="317411" y="491142"/>
                      <a:pt x="328516" y="511219"/>
                    </a:cubicBezTo>
                    <a:cubicBezTo>
                      <a:pt x="305405" y="517512"/>
                      <a:pt x="282893" y="520209"/>
                      <a:pt x="259482" y="520209"/>
                    </a:cubicBezTo>
                    <a:cubicBezTo>
                      <a:pt x="118260" y="520209"/>
                      <a:pt x="0" y="404541"/>
                      <a:pt x="0" y="260104"/>
                    </a:cubicBezTo>
                    <a:cubicBezTo>
                      <a:pt x="0" y="115519"/>
                      <a:pt x="118560" y="0"/>
                      <a:pt x="259482" y="0"/>
                    </a:cubicBezTo>
                    <a:close/>
                  </a:path>
                </a:pathLst>
              </a:custGeom>
              <a:solidFill>
                <a:schemeClr val="accent2">
                  <a:lumMod val="40000"/>
                  <a:lumOff val="60000"/>
                </a:schemeClr>
              </a:solidFill>
              <a:ln w="9525">
                <a:noFill/>
                <a:round/>
                <a:headEnd/>
                <a:tailEnd/>
              </a:ln>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endParaRPr/>
              </a:p>
            </p:txBody>
          </p:sp>
          <p:sp>
            <p:nvSpPr>
              <p:cNvPr id="16" name="îṧliḍê">
                <a:extLst>
                  <a:ext uri="{FF2B5EF4-FFF2-40B4-BE49-F238E27FC236}">
                    <a16:creationId xmlns:a16="http://schemas.microsoft.com/office/drawing/2014/main" id="{D93C77BC-9FBF-459D-A14D-B2EC75A48C2D}"/>
                  </a:ext>
                </a:extLst>
              </p:cNvPr>
              <p:cNvSpPr txBox="1"/>
              <p:nvPr/>
            </p:nvSpPr>
            <p:spPr>
              <a:xfrm>
                <a:off x="4141555" y="4297837"/>
                <a:ext cx="2328027" cy="678094"/>
              </a:xfrm>
              <a:prstGeom prst="rect">
                <a:avLst/>
              </a:prstGeom>
            </p:spPr>
            <p:txBody>
              <a:bodyPr wrap="square" lIns="91440" tIns="45720" rIns="91440" bIns="45720" anchor="t" anchorCtr="0">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lnSpc>
                    <a:spcPct val="120000"/>
                  </a:lnSpc>
                </a:pPr>
                <a:r>
                  <a:rPr lang="zh-CN" altLang="en-US" sz="1100" dirty="0">
                    <a:latin typeface="+mn-ea"/>
                  </a:rPr>
                  <a:t> 类图中的“类”与面向对象面向对象面向对象语言中的“类”的概念是对应的，是对现实世界中的事物的抽象</a:t>
                </a:r>
                <a:endParaRPr lang="en-US" altLang="zh-CN" sz="1100" dirty="0">
                  <a:latin typeface="+mn-ea"/>
                </a:endParaRPr>
              </a:p>
            </p:txBody>
          </p:sp>
        </p:grpSp>
        <p:cxnSp>
          <p:nvCxnSpPr>
            <p:cNvPr id="13" name="直接连接符 12">
              <a:extLst>
                <a:ext uri="{FF2B5EF4-FFF2-40B4-BE49-F238E27FC236}">
                  <a16:creationId xmlns:a16="http://schemas.microsoft.com/office/drawing/2014/main" id="{5BE3A93B-7E01-4C5F-B648-74BBB46100D1}"/>
                </a:ext>
              </a:extLst>
            </p:cNvPr>
            <p:cNvCxnSpPr/>
            <p:nvPr/>
          </p:nvCxnSpPr>
          <p:spPr>
            <a:xfrm>
              <a:off x="6032500" y="4336576"/>
              <a:ext cx="0" cy="916627"/>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4" name="直接连接符 13">
              <a:extLst>
                <a:ext uri="{FF2B5EF4-FFF2-40B4-BE49-F238E27FC236}">
                  <a16:creationId xmlns:a16="http://schemas.microsoft.com/office/drawing/2014/main" id="{EC0AB88D-6B23-4D72-8BC7-5975BE9833FE}"/>
                </a:ext>
              </a:extLst>
            </p:cNvPr>
            <p:cNvCxnSpPr/>
            <p:nvPr/>
          </p:nvCxnSpPr>
          <p:spPr>
            <a:xfrm>
              <a:off x="8928100" y="4336576"/>
              <a:ext cx="0" cy="916627"/>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62" name="e-book_21821">
            <a:extLst>
              <a:ext uri="{FF2B5EF4-FFF2-40B4-BE49-F238E27FC236}">
                <a16:creationId xmlns:a16="http://schemas.microsoft.com/office/drawing/2014/main" id="{EBB4F16B-6FE4-4B85-8056-B746F020F0E3}"/>
              </a:ext>
            </a:extLst>
          </p:cNvPr>
          <p:cNvSpPr/>
          <p:nvPr/>
        </p:nvSpPr>
        <p:spPr>
          <a:xfrm>
            <a:off x="7191575" y="3557973"/>
            <a:ext cx="609685" cy="521433"/>
          </a:xfrm>
          <a:custGeom>
            <a:avLst/>
            <a:gdLst>
              <a:gd name="T0" fmla="*/ 902 w 934"/>
              <a:gd name="T1" fmla="*/ 146 h 800"/>
              <a:gd name="T2" fmla="*/ 843 w 934"/>
              <a:gd name="T3" fmla="*/ 76 h 800"/>
              <a:gd name="T4" fmla="*/ 318 w 934"/>
              <a:gd name="T5" fmla="*/ 146 h 800"/>
              <a:gd name="T6" fmla="*/ 193 w 934"/>
              <a:gd name="T7" fmla="*/ 0 h 800"/>
              <a:gd name="T8" fmla="*/ 32 w 934"/>
              <a:gd name="T9" fmla="*/ 146 h 800"/>
              <a:gd name="T10" fmla="*/ 0 w 934"/>
              <a:gd name="T11" fmla="*/ 202 h 800"/>
              <a:gd name="T12" fmla="*/ 934 w 934"/>
              <a:gd name="T13" fmla="*/ 800 h 800"/>
              <a:gd name="T14" fmla="*/ 902 w 934"/>
              <a:gd name="T15" fmla="*/ 202 h 800"/>
              <a:gd name="T16" fmla="*/ 63 w 934"/>
              <a:gd name="T17" fmla="*/ 177 h 800"/>
              <a:gd name="T18" fmla="*/ 193 w 934"/>
              <a:gd name="T19" fmla="*/ 202 h 800"/>
              <a:gd name="T20" fmla="*/ 90 w 934"/>
              <a:gd name="T21" fmla="*/ 440 h 800"/>
              <a:gd name="T22" fmla="*/ 421 w 934"/>
              <a:gd name="T23" fmla="*/ 440 h 800"/>
              <a:gd name="T24" fmla="*/ 318 w 934"/>
              <a:gd name="T25" fmla="*/ 202 h 800"/>
              <a:gd name="T26" fmla="*/ 452 w 934"/>
              <a:gd name="T27" fmla="*/ 177 h 800"/>
              <a:gd name="T28" fmla="*/ 452 w 934"/>
              <a:gd name="T29" fmla="*/ 746 h 800"/>
              <a:gd name="T30" fmla="*/ 63 w 934"/>
              <a:gd name="T31" fmla="*/ 202 h 800"/>
              <a:gd name="T32" fmla="*/ 812 w 934"/>
              <a:gd name="T33" fmla="*/ 114 h 800"/>
              <a:gd name="T34" fmla="*/ 812 w 934"/>
              <a:gd name="T35" fmla="*/ 162 h 800"/>
              <a:gd name="T36" fmla="*/ 812 w 934"/>
              <a:gd name="T37" fmla="*/ 202 h 800"/>
              <a:gd name="T38" fmla="*/ 483 w 934"/>
              <a:gd name="T39" fmla="*/ 743 h 800"/>
              <a:gd name="T40" fmla="*/ 483 w 934"/>
              <a:gd name="T41" fmla="*/ 177 h 800"/>
              <a:gd name="T42" fmla="*/ 553 w 934"/>
              <a:gd name="T43" fmla="*/ 162 h 800"/>
              <a:gd name="T44" fmla="*/ 871 w 934"/>
              <a:gd name="T45" fmla="*/ 202 h 800"/>
              <a:gd name="T46" fmla="*/ 636 w 934"/>
              <a:gd name="T47" fmla="*/ 746 h 800"/>
              <a:gd name="T48" fmla="*/ 843 w 934"/>
              <a:gd name="T49" fmla="*/ 202 h 800"/>
              <a:gd name="T50" fmla="*/ 871 w 934"/>
              <a:gd name="T51" fmla="*/ 177 h 800"/>
              <a:gd name="T52" fmla="*/ 527 w 934"/>
              <a:gd name="T53" fmla="*/ 602 h 800"/>
              <a:gd name="T54" fmla="*/ 766 w 934"/>
              <a:gd name="T55" fmla="*/ 505 h 800"/>
              <a:gd name="T56" fmla="*/ 527 w 934"/>
              <a:gd name="T57" fmla="*/ 602 h 800"/>
              <a:gd name="T58" fmla="*/ 516 w 934"/>
              <a:gd name="T59" fmla="*/ 656 h 800"/>
              <a:gd name="T60" fmla="*/ 771 w 934"/>
              <a:gd name="T61" fmla="*/ 619 h 800"/>
              <a:gd name="T62" fmla="*/ 531 w 934"/>
              <a:gd name="T63" fmla="*/ 282 h 800"/>
              <a:gd name="T64" fmla="*/ 701 w 934"/>
              <a:gd name="T65" fmla="*/ 202 h 800"/>
              <a:gd name="T66" fmla="*/ 767 w 934"/>
              <a:gd name="T67" fmla="*/ 202 h 800"/>
              <a:gd name="T68" fmla="*/ 531 w 934"/>
              <a:gd name="T69" fmla="*/ 282 h 800"/>
              <a:gd name="T70" fmla="*/ 522 w 934"/>
              <a:gd name="T71" fmla="*/ 331 h 800"/>
              <a:gd name="T72" fmla="*/ 771 w 934"/>
              <a:gd name="T73" fmla="*/ 294 h 800"/>
              <a:gd name="T74" fmla="*/ 530 w 934"/>
              <a:gd name="T75" fmla="*/ 441 h 800"/>
              <a:gd name="T76" fmla="*/ 763 w 934"/>
              <a:gd name="T77" fmla="*/ 344 h 800"/>
              <a:gd name="T78" fmla="*/ 530 w 934"/>
              <a:gd name="T79" fmla="*/ 441 h 800"/>
              <a:gd name="T80" fmla="*/ 522 w 934"/>
              <a:gd name="T81" fmla="*/ 490 h 800"/>
              <a:gd name="T82" fmla="*/ 771 w 934"/>
              <a:gd name="T83" fmla="*/ 453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934" h="800">
                <a:moveTo>
                  <a:pt x="902" y="202"/>
                </a:moveTo>
                <a:lnTo>
                  <a:pt x="902" y="146"/>
                </a:lnTo>
                <a:lnTo>
                  <a:pt x="843" y="146"/>
                </a:lnTo>
                <a:lnTo>
                  <a:pt x="843" y="76"/>
                </a:lnTo>
                <a:lnTo>
                  <a:pt x="466" y="146"/>
                </a:lnTo>
                <a:lnTo>
                  <a:pt x="318" y="146"/>
                </a:lnTo>
                <a:lnTo>
                  <a:pt x="318" y="0"/>
                </a:lnTo>
                <a:lnTo>
                  <a:pt x="193" y="0"/>
                </a:lnTo>
                <a:lnTo>
                  <a:pt x="193" y="146"/>
                </a:lnTo>
                <a:lnTo>
                  <a:pt x="32" y="146"/>
                </a:lnTo>
                <a:lnTo>
                  <a:pt x="32" y="202"/>
                </a:lnTo>
                <a:lnTo>
                  <a:pt x="0" y="202"/>
                </a:lnTo>
                <a:lnTo>
                  <a:pt x="0" y="800"/>
                </a:lnTo>
                <a:lnTo>
                  <a:pt x="934" y="800"/>
                </a:lnTo>
                <a:lnTo>
                  <a:pt x="934" y="202"/>
                </a:lnTo>
                <a:lnTo>
                  <a:pt x="902" y="202"/>
                </a:lnTo>
                <a:close/>
                <a:moveTo>
                  <a:pt x="63" y="202"/>
                </a:moveTo>
                <a:lnTo>
                  <a:pt x="63" y="177"/>
                </a:lnTo>
                <a:lnTo>
                  <a:pt x="193" y="177"/>
                </a:lnTo>
                <a:lnTo>
                  <a:pt x="193" y="202"/>
                </a:lnTo>
                <a:lnTo>
                  <a:pt x="193" y="440"/>
                </a:lnTo>
                <a:lnTo>
                  <a:pt x="90" y="440"/>
                </a:lnTo>
                <a:lnTo>
                  <a:pt x="255" y="605"/>
                </a:lnTo>
                <a:lnTo>
                  <a:pt x="421" y="440"/>
                </a:lnTo>
                <a:lnTo>
                  <a:pt x="318" y="440"/>
                </a:lnTo>
                <a:lnTo>
                  <a:pt x="318" y="202"/>
                </a:lnTo>
                <a:lnTo>
                  <a:pt x="318" y="177"/>
                </a:lnTo>
                <a:lnTo>
                  <a:pt x="452" y="177"/>
                </a:lnTo>
                <a:lnTo>
                  <a:pt x="452" y="202"/>
                </a:lnTo>
                <a:lnTo>
                  <a:pt x="452" y="746"/>
                </a:lnTo>
                <a:lnTo>
                  <a:pt x="63" y="746"/>
                </a:lnTo>
                <a:lnTo>
                  <a:pt x="63" y="202"/>
                </a:lnTo>
                <a:close/>
                <a:moveTo>
                  <a:pt x="636" y="146"/>
                </a:moveTo>
                <a:lnTo>
                  <a:pt x="812" y="114"/>
                </a:lnTo>
                <a:lnTo>
                  <a:pt x="812" y="146"/>
                </a:lnTo>
                <a:lnTo>
                  <a:pt x="812" y="162"/>
                </a:lnTo>
                <a:lnTo>
                  <a:pt x="812" y="177"/>
                </a:lnTo>
                <a:lnTo>
                  <a:pt x="812" y="202"/>
                </a:lnTo>
                <a:lnTo>
                  <a:pt x="812" y="681"/>
                </a:lnTo>
                <a:lnTo>
                  <a:pt x="483" y="743"/>
                </a:lnTo>
                <a:lnTo>
                  <a:pt x="483" y="202"/>
                </a:lnTo>
                <a:lnTo>
                  <a:pt x="483" y="177"/>
                </a:lnTo>
                <a:lnTo>
                  <a:pt x="483" y="175"/>
                </a:lnTo>
                <a:lnTo>
                  <a:pt x="553" y="162"/>
                </a:lnTo>
                <a:lnTo>
                  <a:pt x="636" y="146"/>
                </a:lnTo>
                <a:close/>
                <a:moveTo>
                  <a:pt x="871" y="202"/>
                </a:moveTo>
                <a:lnTo>
                  <a:pt x="871" y="746"/>
                </a:lnTo>
                <a:lnTo>
                  <a:pt x="636" y="746"/>
                </a:lnTo>
                <a:lnTo>
                  <a:pt x="843" y="707"/>
                </a:lnTo>
                <a:lnTo>
                  <a:pt x="843" y="202"/>
                </a:lnTo>
                <a:lnTo>
                  <a:pt x="843" y="177"/>
                </a:lnTo>
                <a:lnTo>
                  <a:pt x="871" y="177"/>
                </a:lnTo>
                <a:lnTo>
                  <a:pt x="871" y="202"/>
                </a:lnTo>
                <a:close/>
                <a:moveTo>
                  <a:pt x="527" y="602"/>
                </a:moveTo>
                <a:lnTo>
                  <a:pt x="519" y="572"/>
                </a:lnTo>
                <a:lnTo>
                  <a:pt x="766" y="505"/>
                </a:lnTo>
                <a:lnTo>
                  <a:pt x="774" y="535"/>
                </a:lnTo>
                <a:lnTo>
                  <a:pt x="527" y="602"/>
                </a:lnTo>
                <a:close/>
                <a:moveTo>
                  <a:pt x="525" y="686"/>
                </a:moveTo>
                <a:lnTo>
                  <a:pt x="516" y="656"/>
                </a:lnTo>
                <a:lnTo>
                  <a:pt x="763" y="589"/>
                </a:lnTo>
                <a:lnTo>
                  <a:pt x="771" y="619"/>
                </a:lnTo>
                <a:lnTo>
                  <a:pt x="525" y="686"/>
                </a:lnTo>
                <a:close/>
                <a:moveTo>
                  <a:pt x="531" y="282"/>
                </a:moveTo>
                <a:lnTo>
                  <a:pt x="522" y="252"/>
                </a:lnTo>
                <a:lnTo>
                  <a:pt x="701" y="202"/>
                </a:lnTo>
                <a:lnTo>
                  <a:pt x="763" y="185"/>
                </a:lnTo>
                <a:lnTo>
                  <a:pt x="767" y="202"/>
                </a:lnTo>
                <a:lnTo>
                  <a:pt x="771" y="215"/>
                </a:lnTo>
                <a:lnTo>
                  <a:pt x="531" y="282"/>
                </a:lnTo>
                <a:close/>
                <a:moveTo>
                  <a:pt x="531" y="361"/>
                </a:moveTo>
                <a:lnTo>
                  <a:pt x="522" y="331"/>
                </a:lnTo>
                <a:lnTo>
                  <a:pt x="763" y="264"/>
                </a:lnTo>
                <a:lnTo>
                  <a:pt x="771" y="294"/>
                </a:lnTo>
                <a:lnTo>
                  <a:pt x="531" y="361"/>
                </a:lnTo>
                <a:close/>
                <a:moveTo>
                  <a:pt x="530" y="441"/>
                </a:moveTo>
                <a:lnTo>
                  <a:pt x="522" y="411"/>
                </a:lnTo>
                <a:lnTo>
                  <a:pt x="763" y="344"/>
                </a:lnTo>
                <a:lnTo>
                  <a:pt x="771" y="374"/>
                </a:lnTo>
                <a:lnTo>
                  <a:pt x="530" y="441"/>
                </a:lnTo>
                <a:close/>
                <a:moveTo>
                  <a:pt x="530" y="520"/>
                </a:moveTo>
                <a:lnTo>
                  <a:pt x="522" y="490"/>
                </a:lnTo>
                <a:lnTo>
                  <a:pt x="763" y="423"/>
                </a:lnTo>
                <a:lnTo>
                  <a:pt x="771" y="453"/>
                </a:lnTo>
                <a:lnTo>
                  <a:pt x="530" y="52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63" name="组合 62">
            <a:extLst>
              <a:ext uri="{FF2B5EF4-FFF2-40B4-BE49-F238E27FC236}">
                <a16:creationId xmlns:a16="http://schemas.microsoft.com/office/drawing/2014/main" id="{75A8FE5E-D06C-4F5D-B55F-34FF5CBB774C}"/>
              </a:ext>
            </a:extLst>
          </p:cNvPr>
          <p:cNvGrpSpPr/>
          <p:nvPr/>
        </p:nvGrpSpPr>
        <p:grpSpPr>
          <a:xfrm>
            <a:off x="10440193" y="68734"/>
            <a:ext cx="1080294" cy="1067017"/>
            <a:chOff x="4239419" y="1802606"/>
            <a:chExt cx="3713163" cy="3938588"/>
          </a:xfrm>
        </p:grpSpPr>
        <p:sp>
          <p:nvSpPr>
            <p:cNvPr id="64" name="Freeform 5">
              <a:extLst>
                <a:ext uri="{FF2B5EF4-FFF2-40B4-BE49-F238E27FC236}">
                  <a16:creationId xmlns:a16="http://schemas.microsoft.com/office/drawing/2014/main" id="{49498571-439B-47FE-B0EB-2CC41645BFE0}"/>
                </a:ext>
              </a:extLst>
            </p:cNvPr>
            <p:cNvSpPr>
              <a:spLocks/>
            </p:cNvSpPr>
            <p:nvPr/>
          </p:nvSpPr>
          <p:spPr bwMode="auto">
            <a:xfrm>
              <a:off x="4888706" y="1837531"/>
              <a:ext cx="3008313" cy="3455988"/>
            </a:xfrm>
            <a:custGeom>
              <a:avLst/>
              <a:gdLst>
                <a:gd name="T0" fmla="*/ 1061 w 1706"/>
                <a:gd name="T1" fmla="*/ 1952 h 1960"/>
                <a:gd name="T2" fmla="*/ 32 w 1706"/>
                <a:gd name="T3" fmla="*/ 1539 h 1960"/>
                <a:gd name="T4" fmla="*/ 9 w 1706"/>
                <a:gd name="T5" fmla="*/ 1485 h 1960"/>
                <a:gd name="T6" fmla="*/ 592 w 1706"/>
                <a:gd name="T7" fmla="*/ 32 h 1960"/>
                <a:gd name="T8" fmla="*/ 646 w 1706"/>
                <a:gd name="T9" fmla="*/ 9 h 1960"/>
                <a:gd name="T10" fmla="*/ 1674 w 1706"/>
                <a:gd name="T11" fmla="*/ 421 h 1960"/>
                <a:gd name="T12" fmla="*/ 1698 w 1706"/>
                <a:gd name="T13" fmla="*/ 475 h 1960"/>
                <a:gd name="T14" fmla="*/ 1115 w 1706"/>
                <a:gd name="T15" fmla="*/ 1929 h 1960"/>
                <a:gd name="T16" fmla="*/ 1061 w 1706"/>
                <a:gd name="T17" fmla="*/ 1952 h 19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06" h="1960">
                  <a:moveTo>
                    <a:pt x="1061" y="1952"/>
                  </a:moveTo>
                  <a:cubicBezTo>
                    <a:pt x="32" y="1539"/>
                    <a:pt x="32" y="1539"/>
                    <a:pt x="32" y="1539"/>
                  </a:cubicBezTo>
                  <a:cubicBezTo>
                    <a:pt x="11" y="1531"/>
                    <a:pt x="0" y="1507"/>
                    <a:pt x="9" y="1485"/>
                  </a:cubicBezTo>
                  <a:cubicBezTo>
                    <a:pt x="592" y="32"/>
                    <a:pt x="592" y="32"/>
                    <a:pt x="592" y="32"/>
                  </a:cubicBezTo>
                  <a:cubicBezTo>
                    <a:pt x="601" y="11"/>
                    <a:pt x="625" y="0"/>
                    <a:pt x="646" y="9"/>
                  </a:cubicBezTo>
                  <a:cubicBezTo>
                    <a:pt x="1674" y="421"/>
                    <a:pt x="1674" y="421"/>
                    <a:pt x="1674" y="421"/>
                  </a:cubicBezTo>
                  <a:cubicBezTo>
                    <a:pt x="1696" y="430"/>
                    <a:pt x="1706" y="454"/>
                    <a:pt x="1698" y="475"/>
                  </a:cubicBezTo>
                  <a:cubicBezTo>
                    <a:pt x="1115" y="1929"/>
                    <a:pt x="1115" y="1929"/>
                    <a:pt x="1115" y="1929"/>
                  </a:cubicBezTo>
                  <a:cubicBezTo>
                    <a:pt x="1106" y="1950"/>
                    <a:pt x="1082" y="1960"/>
                    <a:pt x="1061" y="1952"/>
                  </a:cubicBezTo>
                  <a:close/>
                </a:path>
              </a:pathLst>
            </a:custGeom>
            <a:solidFill>
              <a:srgbClr val="424242">
                <a:alpha val="20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65" name="Freeform 6">
              <a:extLst>
                <a:ext uri="{FF2B5EF4-FFF2-40B4-BE49-F238E27FC236}">
                  <a16:creationId xmlns:a16="http://schemas.microsoft.com/office/drawing/2014/main" id="{1F17D37F-C5F1-4F88-B706-FEA6968230A4}"/>
                </a:ext>
              </a:extLst>
            </p:cNvPr>
            <p:cNvSpPr>
              <a:spLocks/>
            </p:cNvSpPr>
            <p:nvPr/>
          </p:nvSpPr>
          <p:spPr bwMode="auto">
            <a:xfrm>
              <a:off x="4944269" y="1802606"/>
              <a:ext cx="3008313" cy="3455988"/>
            </a:xfrm>
            <a:custGeom>
              <a:avLst/>
              <a:gdLst>
                <a:gd name="T0" fmla="*/ 1061 w 1706"/>
                <a:gd name="T1" fmla="*/ 1952 h 1960"/>
                <a:gd name="T2" fmla="*/ 32 w 1706"/>
                <a:gd name="T3" fmla="*/ 1539 h 1960"/>
                <a:gd name="T4" fmla="*/ 9 w 1706"/>
                <a:gd name="T5" fmla="*/ 1485 h 1960"/>
                <a:gd name="T6" fmla="*/ 592 w 1706"/>
                <a:gd name="T7" fmla="*/ 32 h 1960"/>
                <a:gd name="T8" fmla="*/ 646 w 1706"/>
                <a:gd name="T9" fmla="*/ 9 h 1960"/>
                <a:gd name="T10" fmla="*/ 1674 w 1706"/>
                <a:gd name="T11" fmla="*/ 421 h 1960"/>
                <a:gd name="T12" fmla="*/ 1698 w 1706"/>
                <a:gd name="T13" fmla="*/ 475 h 1960"/>
                <a:gd name="T14" fmla="*/ 1115 w 1706"/>
                <a:gd name="T15" fmla="*/ 1929 h 1960"/>
                <a:gd name="T16" fmla="*/ 1061 w 1706"/>
                <a:gd name="T17" fmla="*/ 1952 h 19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06" h="1960">
                  <a:moveTo>
                    <a:pt x="1061" y="1952"/>
                  </a:moveTo>
                  <a:cubicBezTo>
                    <a:pt x="32" y="1539"/>
                    <a:pt x="32" y="1539"/>
                    <a:pt x="32" y="1539"/>
                  </a:cubicBezTo>
                  <a:cubicBezTo>
                    <a:pt x="11" y="1531"/>
                    <a:pt x="0" y="1507"/>
                    <a:pt x="9" y="1485"/>
                  </a:cubicBezTo>
                  <a:cubicBezTo>
                    <a:pt x="592" y="32"/>
                    <a:pt x="592" y="32"/>
                    <a:pt x="592" y="32"/>
                  </a:cubicBezTo>
                  <a:cubicBezTo>
                    <a:pt x="601" y="11"/>
                    <a:pt x="625" y="0"/>
                    <a:pt x="646" y="9"/>
                  </a:cubicBezTo>
                  <a:cubicBezTo>
                    <a:pt x="1674" y="421"/>
                    <a:pt x="1674" y="421"/>
                    <a:pt x="1674" y="421"/>
                  </a:cubicBezTo>
                  <a:cubicBezTo>
                    <a:pt x="1696" y="430"/>
                    <a:pt x="1706" y="454"/>
                    <a:pt x="1698" y="475"/>
                  </a:cubicBezTo>
                  <a:cubicBezTo>
                    <a:pt x="1115" y="1929"/>
                    <a:pt x="1115" y="1929"/>
                    <a:pt x="1115" y="1929"/>
                  </a:cubicBezTo>
                  <a:cubicBezTo>
                    <a:pt x="1106" y="1950"/>
                    <a:pt x="1082" y="1960"/>
                    <a:pt x="1061" y="1952"/>
                  </a:cubicBezTo>
                  <a:close/>
                </a:path>
              </a:pathLst>
            </a:custGeom>
            <a:solidFill>
              <a:srgbClr val="E4E4E4"/>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66" name="Freeform 7">
              <a:extLst>
                <a:ext uri="{FF2B5EF4-FFF2-40B4-BE49-F238E27FC236}">
                  <a16:creationId xmlns:a16="http://schemas.microsoft.com/office/drawing/2014/main" id="{DC5C9A6C-881D-4A37-B893-837B67C49988}"/>
                </a:ext>
              </a:extLst>
            </p:cNvPr>
            <p:cNvSpPr>
              <a:spLocks/>
            </p:cNvSpPr>
            <p:nvPr/>
          </p:nvSpPr>
          <p:spPr bwMode="auto">
            <a:xfrm>
              <a:off x="4944269" y="1802606"/>
              <a:ext cx="1427163" cy="2827338"/>
            </a:xfrm>
            <a:custGeom>
              <a:avLst/>
              <a:gdLst>
                <a:gd name="T0" fmla="*/ 194 w 809"/>
                <a:gd name="T1" fmla="*/ 1604 h 1604"/>
                <a:gd name="T2" fmla="*/ 32 w 809"/>
                <a:gd name="T3" fmla="*/ 1539 h 1604"/>
                <a:gd name="T4" fmla="*/ 9 w 809"/>
                <a:gd name="T5" fmla="*/ 1486 h 1604"/>
                <a:gd name="T6" fmla="*/ 592 w 809"/>
                <a:gd name="T7" fmla="*/ 32 h 1604"/>
                <a:gd name="T8" fmla="*/ 646 w 809"/>
                <a:gd name="T9" fmla="*/ 9 h 1604"/>
                <a:gd name="T10" fmla="*/ 809 w 809"/>
                <a:gd name="T11" fmla="*/ 74 h 1604"/>
                <a:gd name="T12" fmla="*/ 195 w 809"/>
                <a:gd name="T13" fmla="*/ 1604 h 1604"/>
                <a:gd name="T14" fmla="*/ 194 w 809"/>
                <a:gd name="T15" fmla="*/ 1604 h 16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9" h="1604">
                  <a:moveTo>
                    <a:pt x="194" y="1604"/>
                  </a:moveTo>
                  <a:cubicBezTo>
                    <a:pt x="32" y="1539"/>
                    <a:pt x="32" y="1539"/>
                    <a:pt x="32" y="1539"/>
                  </a:cubicBezTo>
                  <a:cubicBezTo>
                    <a:pt x="11" y="1531"/>
                    <a:pt x="0" y="1507"/>
                    <a:pt x="9" y="1486"/>
                  </a:cubicBezTo>
                  <a:cubicBezTo>
                    <a:pt x="592" y="32"/>
                    <a:pt x="592" y="32"/>
                    <a:pt x="592" y="32"/>
                  </a:cubicBezTo>
                  <a:cubicBezTo>
                    <a:pt x="601" y="10"/>
                    <a:pt x="625" y="0"/>
                    <a:pt x="646" y="9"/>
                  </a:cubicBezTo>
                  <a:cubicBezTo>
                    <a:pt x="809" y="74"/>
                    <a:pt x="809" y="74"/>
                    <a:pt x="809" y="74"/>
                  </a:cubicBezTo>
                  <a:cubicBezTo>
                    <a:pt x="195" y="1604"/>
                    <a:pt x="195" y="1604"/>
                    <a:pt x="195" y="1604"/>
                  </a:cubicBezTo>
                  <a:cubicBezTo>
                    <a:pt x="195" y="1604"/>
                    <a:pt x="194" y="1604"/>
                    <a:pt x="194" y="1604"/>
                  </a:cubicBezTo>
                  <a:close/>
                </a:path>
              </a:pathLst>
            </a:custGeom>
            <a:solidFill>
              <a:srgbClr val="C1C0BF"/>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67" name="Freeform 8">
              <a:extLst>
                <a:ext uri="{FF2B5EF4-FFF2-40B4-BE49-F238E27FC236}">
                  <a16:creationId xmlns:a16="http://schemas.microsoft.com/office/drawing/2014/main" id="{462462C9-43FD-42F2-BE45-A82CFC1F277E}"/>
                </a:ext>
              </a:extLst>
            </p:cNvPr>
            <p:cNvSpPr>
              <a:spLocks/>
            </p:cNvSpPr>
            <p:nvPr/>
          </p:nvSpPr>
          <p:spPr bwMode="auto">
            <a:xfrm>
              <a:off x="4291806" y="1967706"/>
              <a:ext cx="1431925" cy="2081213"/>
            </a:xfrm>
            <a:custGeom>
              <a:avLst/>
              <a:gdLst>
                <a:gd name="T0" fmla="*/ 775 w 812"/>
                <a:gd name="T1" fmla="*/ 1108 h 1180"/>
                <a:gd name="T2" fmla="*/ 163 w 812"/>
                <a:gd name="T3" fmla="*/ 1178 h 1180"/>
                <a:gd name="T4" fmla="*/ 120 w 812"/>
                <a:gd name="T5" fmla="*/ 1144 h 1180"/>
                <a:gd name="T6" fmla="*/ 2 w 812"/>
                <a:gd name="T7" fmla="*/ 115 h 1180"/>
                <a:gd name="T8" fmla="*/ 36 w 812"/>
                <a:gd name="T9" fmla="*/ 72 h 1180"/>
                <a:gd name="T10" fmla="*/ 649 w 812"/>
                <a:gd name="T11" fmla="*/ 2 h 1180"/>
                <a:gd name="T12" fmla="*/ 692 w 812"/>
                <a:gd name="T13" fmla="*/ 36 h 1180"/>
                <a:gd name="T14" fmla="*/ 809 w 812"/>
                <a:gd name="T15" fmla="*/ 1065 h 1180"/>
                <a:gd name="T16" fmla="*/ 775 w 812"/>
                <a:gd name="T17" fmla="*/ 1108 h 1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2" h="1180">
                  <a:moveTo>
                    <a:pt x="775" y="1108"/>
                  </a:moveTo>
                  <a:cubicBezTo>
                    <a:pt x="163" y="1178"/>
                    <a:pt x="163" y="1178"/>
                    <a:pt x="163" y="1178"/>
                  </a:cubicBezTo>
                  <a:cubicBezTo>
                    <a:pt x="141" y="1180"/>
                    <a:pt x="122" y="1165"/>
                    <a:pt x="120" y="1144"/>
                  </a:cubicBezTo>
                  <a:cubicBezTo>
                    <a:pt x="2" y="115"/>
                    <a:pt x="2" y="115"/>
                    <a:pt x="2" y="115"/>
                  </a:cubicBezTo>
                  <a:cubicBezTo>
                    <a:pt x="0" y="94"/>
                    <a:pt x="15" y="75"/>
                    <a:pt x="36" y="72"/>
                  </a:cubicBezTo>
                  <a:cubicBezTo>
                    <a:pt x="649" y="2"/>
                    <a:pt x="649" y="2"/>
                    <a:pt x="649" y="2"/>
                  </a:cubicBezTo>
                  <a:cubicBezTo>
                    <a:pt x="670" y="0"/>
                    <a:pt x="689" y="15"/>
                    <a:pt x="692" y="36"/>
                  </a:cubicBezTo>
                  <a:cubicBezTo>
                    <a:pt x="809" y="1065"/>
                    <a:pt x="809" y="1065"/>
                    <a:pt x="809" y="1065"/>
                  </a:cubicBezTo>
                  <a:cubicBezTo>
                    <a:pt x="812" y="1086"/>
                    <a:pt x="796" y="1105"/>
                    <a:pt x="775" y="1108"/>
                  </a:cubicBezTo>
                  <a:close/>
                </a:path>
              </a:pathLst>
            </a:custGeom>
            <a:solidFill>
              <a:srgbClr val="424242">
                <a:alpha val="20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68" name="Freeform 9">
              <a:extLst>
                <a:ext uri="{FF2B5EF4-FFF2-40B4-BE49-F238E27FC236}">
                  <a16:creationId xmlns:a16="http://schemas.microsoft.com/office/drawing/2014/main" id="{D29C2FFF-4C93-46D2-BC0F-B5133C6F9D27}"/>
                </a:ext>
              </a:extLst>
            </p:cNvPr>
            <p:cNvSpPr>
              <a:spLocks/>
            </p:cNvSpPr>
            <p:nvPr/>
          </p:nvSpPr>
          <p:spPr bwMode="auto">
            <a:xfrm>
              <a:off x="4334669" y="1918494"/>
              <a:ext cx="1431925" cy="2081213"/>
            </a:xfrm>
            <a:custGeom>
              <a:avLst/>
              <a:gdLst>
                <a:gd name="T0" fmla="*/ 775 w 812"/>
                <a:gd name="T1" fmla="*/ 1108 h 1180"/>
                <a:gd name="T2" fmla="*/ 163 w 812"/>
                <a:gd name="T3" fmla="*/ 1178 h 1180"/>
                <a:gd name="T4" fmla="*/ 120 w 812"/>
                <a:gd name="T5" fmla="*/ 1144 h 1180"/>
                <a:gd name="T6" fmla="*/ 2 w 812"/>
                <a:gd name="T7" fmla="*/ 115 h 1180"/>
                <a:gd name="T8" fmla="*/ 36 w 812"/>
                <a:gd name="T9" fmla="*/ 72 h 1180"/>
                <a:gd name="T10" fmla="*/ 649 w 812"/>
                <a:gd name="T11" fmla="*/ 2 h 1180"/>
                <a:gd name="T12" fmla="*/ 692 w 812"/>
                <a:gd name="T13" fmla="*/ 36 h 1180"/>
                <a:gd name="T14" fmla="*/ 809 w 812"/>
                <a:gd name="T15" fmla="*/ 1065 h 1180"/>
                <a:gd name="T16" fmla="*/ 775 w 812"/>
                <a:gd name="T17" fmla="*/ 1108 h 1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2" h="1180">
                  <a:moveTo>
                    <a:pt x="775" y="1108"/>
                  </a:moveTo>
                  <a:cubicBezTo>
                    <a:pt x="163" y="1178"/>
                    <a:pt x="163" y="1178"/>
                    <a:pt x="163" y="1178"/>
                  </a:cubicBezTo>
                  <a:cubicBezTo>
                    <a:pt x="141" y="1180"/>
                    <a:pt x="122" y="1165"/>
                    <a:pt x="120" y="1144"/>
                  </a:cubicBezTo>
                  <a:cubicBezTo>
                    <a:pt x="2" y="115"/>
                    <a:pt x="2" y="115"/>
                    <a:pt x="2" y="115"/>
                  </a:cubicBezTo>
                  <a:cubicBezTo>
                    <a:pt x="0" y="94"/>
                    <a:pt x="15" y="75"/>
                    <a:pt x="36" y="72"/>
                  </a:cubicBezTo>
                  <a:cubicBezTo>
                    <a:pt x="649" y="2"/>
                    <a:pt x="649" y="2"/>
                    <a:pt x="649" y="2"/>
                  </a:cubicBezTo>
                  <a:cubicBezTo>
                    <a:pt x="670" y="0"/>
                    <a:pt x="689" y="15"/>
                    <a:pt x="692" y="36"/>
                  </a:cubicBezTo>
                  <a:cubicBezTo>
                    <a:pt x="809" y="1065"/>
                    <a:pt x="809" y="1065"/>
                    <a:pt x="809" y="1065"/>
                  </a:cubicBezTo>
                  <a:cubicBezTo>
                    <a:pt x="812" y="1086"/>
                    <a:pt x="796" y="1105"/>
                    <a:pt x="775" y="1108"/>
                  </a:cubicBezTo>
                  <a:close/>
                </a:path>
              </a:pathLst>
            </a:custGeom>
            <a:solidFill>
              <a:srgbClr val="1B4771"/>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69" name="Freeform 10">
              <a:extLst>
                <a:ext uri="{FF2B5EF4-FFF2-40B4-BE49-F238E27FC236}">
                  <a16:creationId xmlns:a16="http://schemas.microsoft.com/office/drawing/2014/main" id="{CC7863A1-3314-46BE-BAE2-3024A039FF3C}"/>
                </a:ext>
              </a:extLst>
            </p:cNvPr>
            <p:cNvSpPr>
              <a:spLocks/>
            </p:cNvSpPr>
            <p:nvPr/>
          </p:nvSpPr>
          <p:spPr bwMode="auto">
            <a:xfrm>
              <a:off x="4415631" y="1918494"/>
              <a:ext cx="1350963" cy="2071688"/>
            </a:xfrm>
            <a:custGeom>
              <a:avLst/>
              <a:gdLst>
                <a:gd name="T0" fmla="*/ 730 w 766"/>
                <a:gd name="T1" fmla="*/ 1108 h 1175"/>
                <a:gd name="T2" fmla="*/ 162 w 766"/>
                <a:gd name="T3" fmla="*/ 1173 h 1175"/>
                <a:gd name="T4" fmla="*/ 120 w 766"/>
                <a:gd name="T5" fmla="*/ 1140 h 1175"/>
                <a:gd name="T6" fmla="*/ 2 w 766"/>
                <a:gd name="T7" fmla="*/ 109 h 1175"/>
                <a:gd name="T8" fmla="*/ 35 w 766"/>
                <a:gd name="T9" fmla="*/ 67 h 1175"/>
                <a:gd name="T10" fmla="*/ 604 w 766"/>
                <a:gd name="T11" fmla="*/ 2 h 1175"/>
                <a:gd name="T12" fmla="*/ 646 w 766"/>
                <a:gd name="T13" fmla="*/ 35 h 1175"/>
                <a:gd name="T14" fmla="*/ 763 w 766"/>
                <a:gd name="T15" fmla="*/ 1066 h 1175"/>
                <a:gd name="T16" fmla="*/ 730 w 766"/>
                <a:gd name="T17" fmla="*/ 1108 h 1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6" h="1175">
                  <a:moveTo>
                    <a:pt x="730" y="1108"/>
                  </a:moveTo>
                  <a:cubicBezTo>
                    <a:pt x="162" y="1173"/>
                    <a:pt x="162" y="1173"/>
                    <a:pt x="162" y="1173"/>
                  </a:cubicBezTo>
                  <a:cubicBezTo>
                    <a:pt x="141" y="1175"/>
                    <a:pt x="122" y="1160"/>
                    <a:pt x="120" y="1140"/>
                  </a:cubicBezTo>
                  <a:cubicBezTo>
                    <a:pt x="2" y="109"/>
                    <a:pt x="2" y="109"/>
                    <a:pt x="2" y="109"/>
                  </a:cubicBezTo>
                  <a:cubicBezTo>
                    <a:pt x="0" y="88"/>
                    <a:pt x="15" y="69"/>
                    <a:pt x="35" y="67"/>
                  </a:cubicBezTo>
                  <a:cubicBezTo>
                    <a:pt x="604" y="2"/>
                    <a:pt x="604" y="2"/>
                    <a:pt x="604" y="2"/>
                  </a:cubicBezTo>
                  <a:cubicBezTo>
                    <a:pt x="625" y="0"/>
                    <a:pt x="643" y="14"/>
                    <a:pt x="646" y="35"/>
                  </a:cubicBezTo>
                  <a:cubicBezTo>
                    <a:pt x="763" y="1066"/>
                    <a:pt x="763" y="1066"/>
                    <a:pt x="763" y="1066"/>
                  </a:cubicBezTo>
                  <a:cubicBezTo>
                    <a:pt x="766" y="1087"/>
                    <a:pt x="751" y="1105"/>
                    <a:pt x="730" y="1108"/>
                  </a:cubicBezTo>
                  <a:close/>
                </a:path>
              </a:pathLst>
            </a:custGeom>
            <a:solidFill>
              <a:srgbClr val="417DBB"/>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70" name="Freeform 11">
              <a:extLst>
                <a:ext uri="{FF2B5EF4-FFF2-40B4-BE49-F238E27FC236}">
                  <a16:creationId xmlns:a16="http://schemas.microsoft.com/office/drawing/2014/main" id="{DCAD23A9-ADF5-43B2-9015-30B672BE72B0}"/>
                </a:ext>
              </a:extLst>
            </p:cNvPr>
            <p:cNvSpPr>
              <a:spLocks/>
            </p:cNvSpPr>
            <p:nvPr/>
          </p:nvSpPr>
          <p:spPr bwMode="auto">
            <a:xfrm>
              <a:off x="4415631" y="1918494"/>
              <a:ext cx="1209675" cy="819150"/>
            </a:xfrm>
            <a:custGeom>
              <a:avLst/>
              <a:gdLst>
                <a:gd name="T0" fmla="*/ 686 w 686"/>
                <a:gd name="T1" fmla="*/ 391 h 465"/>
                <a:gd name="T2" fmla="*/ 646 w 686"/>
                <a:gd name="T3" fmla="*/ 35 h 465"/>
                <a:gd name="T4" fmla="*/ 604 w 686"/>
                <a:gd name="T5" fmla="*/ 2 h 465"/>
                <a:gd name="T6" fmla="*/ 35 w 686"/>
                <a:gd name="T7" fmla="*/ 67 h 465"/>
                <a:gd name="T8" fmla="*/ 2 w 686"/>
                <a:gd name="T9" fmla="*/ 109 h 465"/>
                <a:gd name="T10" fmla="*/ 43 w 686"/>
                <a:gd name="T11" fmla="*/ 465 h 465"/>
                <a:gd name="T12" fmla="*/ 686 w 686"/>
                <a:gd name="T13" fmla="*/ 391 h 465"/>
              </a:gdLst>
              <a:ahLst/>
              <a:cxnLst>
                <a:cxn ang="0">
                  <a:pos x="T0" y="T1"/>
                </a:cxn>
                <a:cxn ang="0">
                  <a:pos x="T2" y="T3"/>
                </a:cxn>
                <a:cxn ang="0">
                  <a:pos x="T4" y="T5"/>
                </a:cxn>
                <a:cxn ang="0">
                  <a:pos x="T6" y="T7"/>
                </a:cxn>
                <a:cxn ang="0">
                  <a:pos x="T8" y="T9"/>
                </a:cxn>
                <a:cxn ang="0">
                  <a:pos x="T10" y="T11"/>
                </a:cxn>
                <a:cxn ang="0">
                  <a:pos x="T12" y="T13"/>
                </a:cxn>
              </a:cxnLst>
              <a:rect l="0" t="0" r="r" b="b"/>
              <a:pathLst>
                <a:path w="686" h="465">
                  <a:moveTo>
                    <a:pt x="686" y="391"/>
                  </a:moveTo>
                  <a:cubicBezTo>
                    <a:pt x="646" y="35"/>
                    <a:pt x="646" y="35"/>
                    <a:pt x="646" y="35"/>
                  </a:cubicBezTo>
                  <a:cubicBezTo>
                    <a:pt x="643" y="14"/>
                    <a:pt x="625" y="0"/>
                    <a:pt x="604" y="2"/>
                  </a:cubicBezTo>
                  <a:cubicBezTo>
                    <a:pt x="35" y="67"/>
                    <a:pt x="35" y="67"/>
                    <a:pt x="35" y="67"/>
                  </a:cubicBezTo>
                  <a:cubicBezTo>
                    <a:pt x="15" y="69"/>
                    <a:pt x="0" y="88"/>
                    <a:pt x="2" y="109"/>
                  </a:cubicBezTo>
                  <a:cubicBezTo>
                    <a:pt x="43" y="465"/>
                    <a:pt x="43" y="465"/>
                    <a:pt x="43" y="465"/>
                  </a:cubicBezTo>
                  <a:lnTo>
                    <a:pt x="686" y="391"/>
                  </a:lnTo>
                  <a:close/>
                </a:path>
              </a:pathLst>
            </a:custGeom>
            <a:solidFill>
              <a:srgbClr val="336290"/>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71" name="Freeform 12">
              <a:extLst>
                <a:ext uri="{FF2B5EF4-FFF2-40B4-BE49-F238E27FC236}">
                  <a16:creationId xmlns:a16="http://schemas.microsoft.com/office/drawing/2014/main" id="{968A4EE0-983F-4E70-8B9C-5E004F41BC86}"/>
                </a:ext>
              </a:extLst>
            </p:cNvPr>
            <p:cNvSpPr>
              <a:spLocks/>
            </p:cNvSpPr>
            <p:nvPr/>
          </p:nvSpPr>
          <p:spPr bwMode="auto">
            <a:xfrm>
              <a:off x="4542631" y="2067719"/>
              <a:ext cx="957263" cy="555625"/>
            </a:xfrm>
            <a:custGeom>
              <a:avLst/>
              <a:gdLst>
                <a:gd name="T0" fmla="*/ 527 w 543"/>
                <a:gd name="T1" fmla="*/ 259 h 315"/>
                <a:gd name="T2" fmla="*/ 46 w 543"/>
                <a:gd name="T3" fmla="*/ 314 h 315"/>
                <a:gd name="T4" fmla="*/ 27 w 543"/>
                <a:gd name="T5" fmla="*/ 299 h 315"/>
                <a:gd name="T6" fmla="*/ 1 w 543"/>
                <a:gd name="T7" fmla="*/ 75 h 315"/>
                <a:gd name="T8" fmla="*/ 16 w 543"/>
                <a:gd name="T9" fmla="*/ 56 h 315"/>
                <a:gd name="T10" fmla="*/ 498 w 543"/>
                <a:gd name="T11" fmla="*/ 1 h 315"/>
                <a:gd name="T12" fmla="*/ 516 w 543"/>
                <a:gd name="T13" fmla="*/ 16 h 315"/>
                <a:gd name="T14" fmla="*/ 542 w 543"/>
                <a:gd name="T15" fmla="*/ 241 h 315"/>
                <a:gd name="T16" fmla="*/ 527 w 543"/>
                <a:gd name="T17" fmla="*/ 259 h 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3" h="315">
                  <a:moveTo>
                    <a:pt x="527" y="259"/>
                  </a:moveTo>
                  <a:cubicBezTo>
                    <a:pt x="46" y="314"/>
                    <a:pt x="46" y="314"/>
                    <a:pt x="46" y="314"/>
                  </a:cubicBezTo>
                  <a:cubicBezTo>
                    <a:pt x="36" y="315"/>
                    <a:pt x="28" y="309"/>
                    <a:pt x="27" y="299"/>
                  </a:cubicBezTo>
                  <a:cubicBezTo>
                    <a:pt x="1" y="75"/>
                    <a:pt x="1" y="75"/>
                    <a:pt x="1" y="75"/>
                  </a:cubicBezTo>
                  <a:cubicBezTo>
                    <a:pt x="0" y="66"/>
                    <a:pt x="7" y="57"/>
                    <a:pt x="16" y="56"/>
                  </a:cubicBezTo>
                  <a:cubicBezTo>
                    <a:pt x="498" y="1"/>
                    <a:pt x="498" y="1"/>
                    <a:pt x="498" y="1"/>
                  </a:cubicBezTo>
                  <a:cubicBezTo>
                    <a:pt x="507" y="0"/>
                    <a:pt x="515" y="7"/>
                    <a:pt x="516" y="16"/>
                  </a:cubicBezTo>
                  <a:cubicBezTo>
                    <a:pt x="542" y="241"/>
                    <a:pt x="542" y="241"/>
                    <a:pt x="542" y="241"/>
                  </a:cubicBezTo>
                  <a:cubicBezTo>
                    <a:pt x="543" y="250"/>
                    <a:pt x="536" y="258"/>
                    <a:pt x="527" y="259"/>
                  </a:cubicBezTo>
                  <a:close/>
                </a:path>
              </a:pathLst>
            </a:custGeom>
            <a:solidFill>
              <a:srgbClr val="01B1E9"/>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72" name="Freeform 13">
              <a:extLst>
                <a:ext uri="{FF2B5EF4-FFF2-40B4-BE49-F238E27FC236}">
                  <a16:creationId xmlns:a16="http://schemas.microsoft.com/office/drawing/2014/main" id="{3829E434-1537-4F0E-B23F-623F97883E29}"/>
                </a:ext>
              </a:extLst>
            </p:cNvPr>
            <p:cNvSpPr>
              <a:spLocks/>
            </p:cNvSpPr>
            <p:nvPr/>
          </p:nvSpPr>
          <p:spPr bwMode="auto">
            <a:xfrm>
              <a:off x="5409406" y="2971006"/>
              <a:ext cx="217488" cy="320675"/>
            </a:xfrm>
            <a:custGeom>
              <a:avLst/>
              <a:gdLst>
                <a:gd name="T0" fmla="*/ 95 w 123"/>
                <a:gd name="T1" fmla="*/ 174 h 182"/>
                <a:gd name="T2" fmla="*/ 47 w 123"/>
                <a:gd name="T3" fmla="*/ 180 h 182"/>
                <a:gd name="T4" fmla="*/ 15 w 123"/>
                <a:gd name="T5" fmla="*/ 154 h 182"/>
                <a:gd name="T6" fmla="*/ 2 w 123"/>
                <a:gd name="T7" fmla="*/ 40 h 182"/>
                <a:gd name="T8" fmla="*/ 28 w 123"/>
                <a:gd name="T9" fmla="*/ 7 h 182"/>
                <a:gd name="T10" fmla="*/ 75 w 123"/>
                <a:gd name="T11" fmla="*/ 2 h 182"/>
                <a:gd name="T12" fmla="*/ 108 w 123"/>
                <a:gd name="T13" fmla="*/ 28 h 182"/>
                <a:gd name="T14" fmla="*/ 121 w 123"/>
                <a:gd name="T15" fmla="*/ 142 h 182"/>
                <a:gd name="T16" fmla="*/ 95 w 123"/>
                <a:gd name="T17" fmla="*/ 174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182">
                  <a:moveTo>
                    <a:pt x="95" y="174"/>
                  </a:moveTo>
                  <a:cubicBezTo>
                    <a:pt x="47" y="180"/>
                    <a:pt x="47" y="180"/>
                    <a:pt x="47" y="180"/>
                  </a:cubicBezTo>
                  <a:cubicBezTo>
                    <a:pt x="31" y="182"/>
                    <a:pt x="16" y="170"/>
                    <a:pt x="15" y="154"/>
                  </a:cubicBezTo>
                  <a:cubicBezTo>
                    <a:pt x="2" y="40"/>
                    <a:pt x="2" y="40"/>
                    <a:pt x="2" y="40"/>
                  </a:cubicBezTo>
                  <a:cubicBezTo>
                    <a:pt x="0" y="24"/>
                    <a:pt x="11" y="9"/>
                    <a:pt x="28" y="7"/>
                  </a:cubicBezTo>
                  <a:cubicBezTo>
                    <a:pt x="75" y="2"/>
                    <a:pt x="75" y="2"/>
                    <a:pt x="75" y="2"/>
                  </a:cubicBezTo>
                  <a:cubicBezTo>
                    <a:pt x="91" y="0"/>
                    <a:pt x="106" y="11"/>
                    <a:pt x="108" y="28"/>
                  </a:cubicBezTo>
                  <a:cubicBezTo>
                    <a:pt x="121" y="142"/>
                    <a:pt x="121" y="142"/>
                    <a:pt x="121" y="142"/>
                  </a:cubicBezTo>
                  <a:cubicBezTo>
                    <a:pt x="123" y="158"/>
                    <a:pt x="111" y="172"/>
                    <a:pt x="95" y="174"/>
                  </a:cubicBezTo>
                  <a:close/>
                </a:path>
              </a:pathLst>
            </a:custGeom>
            <a:solidFill>
              <a:srgbClr val="06AEED"/>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73" name="Freeform 14">
              <a:extLst>
                <a:ext uri="{FF2B5EF4-FFF2-40B4-BE49-F238E27FC236}">
                  <a16:creationId xmlns:a16="http://schemas.microsoft.com/office/drawing/2014/main" id="{CBF98C65-653A-4E3F-9BBC-1DB11A538DFB}"/>
                </a:ext>
              </a:extLst>
            </p:cNvPr>
            <p:cNvSpPr>
              <a:spLocks/>
            </p:cNvSpPr>
            <p:nvPr/>
          </p:nvSpPr>
          <p:spPr bwMode="auto">
            <a:xfrm>
              <a:off x="5447506" y="3309144"/>
              <a:ext cx="200025" cy="168275"/>
            </a:xfrm>
            <a:custGeom>
              <a:avLst/>
              <a:gdLst>
                <a:gd name="T0" fmla="*/ 85 w 114"/>
                <a:gd name="T1" fmla="*/ 1 h 95"/>
                <a:gd name="T2" fmla="*/ 20 w 114"/>
                <a:gd name="T3" fmla="*/ 8 h 95"/>
                <a:gd name="T4" fmla="*/ 2 w 114"/>
                <a:gd name="T5" fmla="*/ 31 h 95"/>
                <a:gd name="T6" fmla="*/ 7 w 114"/>
                <a:gd name="T7" fmla="*/ 75 h 95"/>
                <a:gd name="T8" fmla="*/ 30 w 114"/>
                <a:gd name="T9" fmla="*/ 93 h 95"/>
                <a:gd name="T10" fmla="*/ 94 w 114"/>
                <a:gd name="T11" fmla="*/ 86 h 95"/>
                <a:gd name="T12" fmla="*/ 113 w 114"/>
                <a:gd name="T13" fmla="*/ 63 h 95"/>
                <a:gd name="T14" fmla="*/ 108 w 114"/>
                <a:gd name="T15" fmla="*/ 19 h 95"/>
                <a:gd name="T16" fmla="*/ 85 w 114"/>
                <a:gd name="T17" fmla="*/ 1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4" h="95">
                  <a:moveTo>
                    <a:pt x="85" y="1"/>
                  </a:moveTo>
                  <a:cubicBezTo>
                    <a:pt x="20" y="8"/>
                    <a:pt x="20" y="8"/>
                    <a:pt x="20" y="8"/>
                  </a:cubicBezTo>
                  <a:cubicBezTo>
                    <a:pt x="8" y="10"/>
                    <a:pt x="0" y="20"/>
                    <a:pt x="2" y="31"/>
                  </a:cubicBezTo>
                  <a:cubicBezTo>
                    <a:pt x="7" y="75"/>
                    <a:pt x="7" y="75"/>
                    <a:pt x="7" y="75"/>
                  </a:cubicBezTo>
                  <a:cubicBezTo>
                    <a:pt x="8" y="86"/>
                    <a:pt x="18" y="95"/>
                    <a:pt x="30" y="93"/>
                  </a:cubicBezTo>
                  <a:cubicBezTo>
                    <a:pt x="94" y="86"/>
                    <a:pt x="94" y="86"/>
                    <a:pt x="94" y="86"/>
                  </a:cubicBezTo>
                  <a:cubicBezTo>
                    <a:pt x="106" y="85"/>
                    <a:pt x="114" y="74"/>
                    <a:pt x="113" y="63"/>
                  </a:cubicBezTo>
                  <a:cubicBezTo>
                    <a:pt x="108" y="19"/>
                    <a:pt x="108" y="19"/>
                    <a:pt x="108" y="19"/>
                  </a:cubicBezTo>
                  <a:cubicBezTo>
                    <a:pt x="106" y="8"/>
                    <a:pt x="96" y="0"/>
                    <a:pt x="85" y="1"/>
                  </a:cubicBezTo>
                  <a:close/>
                </a:path>
              </a:pathLst>
            </a:custGeom>
            <a:solidFill>
              <a:srgbClr val="06AEED"/>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74" name="Freeform 15">
              <a:extLst>
                <a:ext uri="{FF2B5EF4-FFF2-40B4-BE49-F238E27FC236}">
                  <a16:creationId xmlns:a16="http://schemas.microsoft.com/office/drawing/2014/main" id="{733B60C6-AAEE-4FC5-B0FF-7E19B8C3EEE0}"/>
                </a:ext>
              </a:extLst>
            </p:cNvPr>
            <p:cNvSpPr>
              <a:spLocks/>
            </p:cNvSpPr>
            <p:nvPr/>
          </p:nvSpPr>
          <p:spPr bwMode="auto">
            <a:xfrm>
              <a:off x="5469731" y="3505994"/>
              <a:ext cx="201613" cy="166688"/>
            </a:xfrm>
            <a:custGeom>
              <a:avLst/>
              <a:gdLst>
                <a:gd name="T0" fmla="*/ 84 w 114"/>
                <a:gd name="T1" fmla="*/ 1 h 95"/>
                <a:gd name="T2" fmla="*/ 20 w 114"/>
                <a:gd name="T3" fmla="*/ 8 h 95"/>
                <a:gd name="T4" fmla="*/ 1 w 114"/>
                <a:gd name="T5" fmla="*/ 31 h 95"/>
                <a:gd name="T6" fmla="*/ 6 w 114"/>
                <a:gd name="T7" fmla="*/ 75 h 95"/>
                <a:gd name="T8" fmla="*/ 29 w 114"/>
                <a:gd name="T9" fmla="*/ 93 h 95"/>
                <a:gd name="T10" fmla="*/ 94 w 114"/>
                <a:gd name="T11" fmla="*/ 86 h 95"/>
                <a:gd name="T12" fmla="*/ 112 w 114"/>
                <a:gd name="T13" fmla="*/ 63 h 95"/>
                <a:gd name="T14" fmla="*/ 107 w 114"/>
                <a:gd name="T15" fmla="*/ 19 h 95"/>
                <a:gd name="T16" fmla="*/ 84 w 114"/>
                <a:gd name="T17" fmla="*/ 1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4" h="95">
                  <a:moveTo>
                    <a:pt x="84" y="1"/>
                  </a:moveTo>
                  <a:cubicBezTo>
                    <a:pt x="20" y="8"/>
                    <a:pt x="20" y="8"/>
                    <a:pt x="20" y="8"/>
                  </a:cubicBezTo>
                  <a:cubicBezTo>
                    <a:pt x="8" y="10"/>
                    <a:pt x="0" y="20"/>
                    <a:pt x="1" y="31"/>
                  </a:cubicBezTo>
                  <a:cubicBezTo>
                    <a:pt x="6" y="75"/>
                    <a:pt x="6" y="75"/>
                    <a:pt x="6" y="75"/>
                  </a:cubicBezTo>
                  <a:cubicBezTo>
                    <a:pt x="8" y="86"/>
                    <a:pt x="18" y="95"/>
                    <a:pt x="29" y="93"/>
                  </a:cubicBezTo>
                  <a:cubicBezTo>
                    <a:pt x="94" y="86"/>
                    <a:pt x="94" y="86"/>
                    <a:pt x="94" y="86"/>
                  </a:cubicBezTo>
                  <a:cubicBezTo>
                    <a:pt x="106" y="85"/>
                    <a:pt x="114" y="74"/>
                    <a:pt x="112" y="63"/>
                  </a:cubicBezTo>
                  <a:cubicBezTo>
                    <a:pt x="107" y="19"/>
                    <a:pt x="107" y="19"/>
                    <a:pt x="107" y="19"/>
                  </a:cubicBezTo>
                  <a:cubicBezTo>
                    <a:pt x="106" y="8"/>
                    <a:pt x="96" y="0"/>
                    <a:pt x="84" y="1"/>
                  </a:cubicBezTo>
                  <a:close/>
                </a:path>
              </a:pathLst>
            </a:custGeom>
            <a:solidFill>
              <a:srgbClr val="06AEED"/>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75" name="Freeform 16">
              <a:extLst>
                <a:ext uri="{FF2B5EF4-FFF2-40B4-BE49-F238E27FC236}">
                  <a16:creationId xmlns:a16="http://schemas.microsoft.com/office/drawing/2014/main" id="{DF7BC5A5-1F61-4D0F-A4E3-ABA96BD6BE2B}"/>
                </a:ext>
              </a:extLst>
            </p:cNvPr>
            <p:cNvSpPr>
              <a:spLocks/>
            </p:cNvSpPr>
            <p:nvPr/>
          </p:nvSpPr>
          <p:spPr bwMode="auto">
            <a:xfrm>
              <a:off x="4669631" y="3053556"/>
              <a:ext cx="196850" cy="133350"/>
            </a:xfrm>
            <a:custGeom>
              <a:avLst/>
              <a:gdLst>
                <a:gd name="T0" fmla="*/ 95 w 112"/>
                <a:gd name="T1" fmla="*/ 66 h 75"/>
                <a:gd name="T2" fmla="*/ 25 w 112"/>
                <a:gd name="T3" fmla="*/ 74 h 75"/>
                <a:gd name="T4" fmla="*/ 5 w 112"/>
                <a:gd name="T5" fmla="*/ 58 h 75"/>
                <a:gd name="T6" fmla="*/ 2 w 112"/>
                <a:gd name="T7" fmla="*/ 29 h 75"/>
                <a:gd name="T8" fmla="*/ 17 w 112"/>
                <a:gd name="T9" fmla="*/ 9 h 75"/>
                <a:gd name="T10" fmla="*/ 88 w 112"/>
                <a:gd name="T11" fmla="*/ 1 h 75"/>
                <a:gd name="T12" fmla="*/ 108 w 112"/>
                <a:gd name="T13" fmla="*/ 17 h 75"/>
                <a:gd name="T14" fmla="*/ 111 w 112"/>
                <a:gd name="T15" fmla="*/ 46 h 75"/>
                <a:gd name="T16" fmla="*/ 95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5" y="66"/>
                  </a:moveTo>
                  <a:cubicBezTo>
                    <a:pt x="25" y="74"/>
                    <a:pt x="25" y="74"/>
                    <a:pt x="25" y="74"/>
                  </a:cubicBezTo>
                  <a:cubicBezTo>
                    <a:pt x="15" y="75"/>
                    <a:pt x="6" y="68"/>
                    <a:pt x="5" y="58"/>
                  </a:cubicBezTo>
                  <a:cubicBezTo>
                    <a:pt x="2" y="29"/>
                    <a:pt x="2" y="29"/>
                    <a:pt x="2" y="29"/>
                  </a:cubicBezTo>
                  <a:cubicBezTo>
                    <a:pt x="0" y="19"/>
                    <a:pt x="7" y="10"/>
                    <a:pt x="17" y="9"/>
                  </a:cubicBezTo>
                  <a:cubicBezTo>
                    <a:pt x="88" y="1"/>
                    <a:pt x="88" y="1"/>
                    <a:pt x="88" y="1"/>
                  </a:cubicBezTo>
                  <a:cubicBezTo>
                    <a:pt x="98" y="0"/>
                    <a:pt x="107" y="7"/>
                    <a:pt x="108" y="17"/>
                  </a:cubicBezTo>
                  <a:cubicBezTo>
                    <a:pt x="111" y="46"/>
                    <a:pt x="111" y="46"/>
                    <a:pt x="111" y="46"/>
                  </a:cubicBezTo>
                  <a:cubicBezTo>
                    <a:pt x="112" y="56"/>
                    <a:pt x="105" y="65"/>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76" name="Freeform 17">
              <a:extLst>
                <a:ext uri="{FF2B5EF4-FFF2-40B4-BE49-F238E27FC236}">
                  <a16:creationId xmlns:a16="http://schemas.microsoft.com/office/drawing/2014/main" id="{D1032C1D-EE1F-45AD-9B96-7E9E440B1765}"/>
                </a:ext>
              </a:extLst>
            </p:cNvPr>
            <p:cNvSpPr>
              <a:spLocks/>
            </p:cNvSpPr>
            <p:nvPr/>
          </p:nvSpPr>
          <p:spPr bwMode="auto">
            <a:xfrm>
              <a:off x="4923631" y="3024981"/>
              <a:ext cx="196850" cy="133350"/>
            </a:xfrm>
            <a:custGeom>
              <a:avLst/>
              <a:gdLst>
                <a:gd name="T0" fmla="*/ 95 w 112"/>
                <a:gd name="T1" fmla="*/ 66 h 75"/>
                <a:gd name="T2" fmla="*/ 24 w 112"/>
                <a:gd name="T3" fmla="*/ 74 h 75"/>
                <a:gd name="T4" fmla="*/ 4 w 112"/>
                <a:gd name="T5" fmla="*/ 58 h 75"/>
                <a:gd name="T6" fmla="*/ 1 w 112"/>
                <a:gd name="T7" fmla="*/ 29 h 75"/>
                <a:gd name="T8" fmla="*/ 16 w 112"/>
                <a:gd name="T9" fmla="*/ 9 h 75"/>
                <a:gd name="T10" fmla="*/ 87 w 112"/>
                <a:gd name="T11" fmla="*/ 1 h 75"/>
                <a:gd name="T12" fmla="*/ 107 w 112"/>
                <a:gd name="T13" fmla="*/ 16 h 75"/>
                <a:gd name="T14" fmla="*/ 110 w 112"/>
                <a:gd name="T15" fmla="*/ 46 h 75"/>
                <a:gd name="T16" fmla="*/ 95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5" y="66"/>
                  </a:moveTo>
                  <a:cubicBezTo>
                    <a:pt x="24" y="74"/>
                    <a:pt x="24" y="74"/>
                    <a:pt x="24" y="74"/>
                  </a:cubicBezTo>
                  <a:cubicBezTo>
                    <a:pt x="14" y="75"/>
                    <a:pt x="5" y="68"/>
                    <a:pt x="4" y="58"/>
                  </a:cubicBezTo>
                  <a:cubicBezTo>
                    <a:pt x="1" y="29"/>
                    <a:pt x="1" y="29"/>
                    <a:pt x="1" y="29"/>
                  </a:cubicBezTo>
                  <a:cubicBezTo>
                    <a:pt x="0" y="19"/>
                    <a:pt x="7" y="10"/>
                    <a:pt x="16" y="9"/>
                  </a:cubicBezTo>
                  <a:cubicBezTo>
                    <a:pt x="87" y="1"/>
                    <a:pt x="87" y="1"/>
                    <a:pt x="87" y="1"/>
                  </a:cubicBezTo>
                  <a:cubicBezTo>
                    <a:pt x="97" y="0"/>
                    <a:pt x="106" y="7"/>
                    <a:pt x="107" y="16"/>
                  </a:cubicBezTo>
                  <a:cubicBezTo>
                    <a:pt x="110" y="46"/>
                    <a:pt x="110" y="46"/>
                    <a:pt x="110" y="46"/>
                  </a:cubicBezTo>
                  <a:cubicBezTo>
                    <a:pt x="112" y="56"/>
                    <a:pt x="104" y="64"/>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77" name="Freeform 18">
              <a:extLst>
                <a:ext uri="{FF2B5EF4-FFF2-40B4-BE49-F238E27FC236}">
                  <a16:creationId xmlns:a16="http://schemas.microsoft.com/office/drawing/2014/main" id="{38D996C4-0EF4-43FF-B91A-A928A1B41B7F}"/>
                </a:ext>
              </a:extLst>
            </p:cNvPr>
            <p:cNvSpPr>
              <a:spLocks/>
            </p:cNvSpPr>
            <p:nvPr/>
          </p:nvSpPr>
          <p:spPr bwMode="auto">
            <a:xfrm>
              <a:off x="5176044" y="2996406"/>
              <a:ext cx="196850" cy="131763"/>
            </a:xfrm>
            <a:custGeom>
              <a:avLst/>
              <a:gdLst>
                <a:gd name="T0" fmla="*/ 95 w 112"/>
                <a:gd name="T1" fmla="*/ 66 h 75"/>
                <a:gd name="T2" fmla="*/ 24 w 112"/>
                <a:gd name="T3" fmla="*/ 74 h 75"/>
                <a:gd name="T4" fmla="*/ 4 w 112"/>
                <a:gd name="T5" fmla="*/ 59 h 75"/>
                <a:gd name="T6" fmla="*/ 1 w 112"/>
                <a:gd name="T7" fmla="*/ 29 h 75"/>
                <a:gd name="T8" fmla="*/ 17 w 112"/>
                <a:gd name="T9" fmla="*/ 10 h 75"/>
                <a:gd name="T10" fmla="*/ 88 w 112"/>
                <a:gd name="T11" fmla="*/ 1 h 75"/>
                <a:gd name="T12" fmla="*/ 107 w 112"/>
                <a:gd name="T13" fmla="*/ 17 h 75"/>
                <a:gd name="T14" fmla="*/ 111 w 112"/>
                <a:gd name="T15" fmla="*/ 47 h 75"/>
                <a:gd name="T16" fmla="*/ 95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5" y="66"/>
                  </a:moveTo>
                  <a:cubicBezTo>
                    <a:pt x="24" y="74"/>
                    <a:pt x="24" y="74"/>
                    <a:pt x="24" y="74"/>
                  </a:cubicBezTo>
                  <a:cubicBezTo>
                    <a:pt x="14" y="75"/>
                    <a:pt x="6" y="68"/>
                    <a:pt x="4" y="59"/>
                  </a:cubicBezTo>
                  <a:cubicBezTo>
                    <a:pt x="1" y="29"/>
                    <a:pt x="1" y="29"/>
                    <a:pt x="1" y="29"/>
                  </a:cubicBezTo>
                  <a:cubicBezTo>
                    <a:pt x="0" y="19"/>
                    <a:pt x="7" y="11"/>
                    <a:pt x="17" y="10"/>
                  </a:cubicBezTo>
                  <a:cubicBezTo>
                    <a:pt x="88" y="1"/>
                    <a:pt x="88" y="1"/>
                    <a:pt x="88" y="1"/>
                  </a:cubicBezTo>
                  <a:cubicBezTo>
                    <a:pt x="97" y="0"/>
                    <a:pt x="106" y="7"/>
                    <a:pt x="107" y="17"/>
                  </a:cubicBezTo>
                  <a:cubicBezTo>
                    <a:pt x="111" y="47"/>
                    <a:pt x="111" y="47"/>
                    <a:pt x="111" y="47"/>
                  </a:cubicBezTo>
                  <a:cubicBezTo>
                    <a:pt x="112" y="56"/>
                    <a:pt x="105" y="65"/>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78" name="Freeform 19">
              <a:extLst>
                <a:ext uri="{FF2B5EF4-FFF2-40B4-BE49-F238E27FC236}">
                  <a16:creationId xmlns:a16="http://schemas.microsoft.com/office/drawing/2014/main" id="{DC972C3F-7422-437F-9FE7-EC4B64D0E80E}"/>
                </a:ext>
              </a:extLst>
            </p:cNvPr>
            <p:cNvSpPr>
              <a:spLocks/>
            </p:cNvSpPr>
            <p:nvPr/>
          </p:nvSpPr>
          <p:spPr bwMode="auto">
            <a:xfrm>
              <a:off x="4691856" y="3242469"/>
              <a:ext cx="196850" cy="131763"/>
            </a:xfrm>
            <a:custGeom>
              <a:avLst/>
              <a:gdLst>
                <a:gd name="T0" fmla="*/ 95 w 111"/>
                <a:gd name="T1" fmla="*/ 66 h 75"/>
                <a:gd name="T2" fmla="*/ 24 w 111"/>
                <a:gd name="T3" fmla="*/ 74 h 75"/>
                <a:gd name="T4" fmla="*/ 4 w 111"/>
                <a:gd name="T5" fmla="*/ 59 h 75"/>
                <a:gd name="T6" fmla="*/ 1 w 111"/>
                <a:gd name="T7" fmla="*/ 29 h 75"/>
                <a:gd name="T8" fmla="*/ 16 w 111"/>
                <a:gd name="T9" fmla="*/ 10 h 75"/>
                <a:gd name="T10" fmla="*/ 87 w 111"/>
                <a:gd name="T11" fmla="*/ 2 h 75"/>
                <a:gd name="T12" fmla="*/ 107 w 111"/>
                <a:gd name="T13" fmla="*/ 17 h 75"/>
                <a:gd name="T14" fmla="*/ 110 w 111"/>
                <a:gd name="T15" fmla="*/ 47 h 75"/>
                <a:gd name="T16" fmla="*/ 95 w 111"/>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1" h="75">
                  <a:moveTo>
                    <a:pt x="95" y="66"/>
                  </a:moveTo>
                  <a:cubicBezTo>
                    <a:pt x="24" y="74"/>
                    <a:pt x="24" y="74"/>
                    <a:pt x="24" y="74"/>
                  </a:cubicBezTo>
                  <a:cubicBezTo>
                    <a:pt x="14" y="75"/>
                    <a:pt x="5" y="68"/>
                    <a:pt x="4" y="59"/>
                  </a:cubicBezTo>
                  <a:cubicBezTo>
                    <a:pt x="1" y="29"/>
                    <a:pt x="1" y="29"/>
                    <a:pt x="1" y="29"/>
                  </a:cubicBezTo>
                  <a:cubicBezTo>
                    <a:pt x="0" y="20"/>
                    <a:pt x="7" y="11"/>
                    <a:pt x="16" y="10"/>
                  </a:cubicBezTo>
                  <a:cubicBezTo>
                    <a:pt x="87" y="2"/>
                    <a:pt x="87" y="2"/>
                    <a:pt x="87" y="2"/>
                  </a:cubicBezTo>
                  <a:cubicBezTo>
                    <a:pt x="97" y="0"/>
                    <a:pt x="106" y="7"/>
                    <a:pt x="107" y="17"/>
                  </a:cubicBezTo>
                  <a:cubicBezTo>
                    <a:pt x="110" y="47"/>
                    <a:pt x="110" y="47"/>
                    <a:pt x="110" y="47"/>
                  </a:cubicBezTo>
                  <a:cubicBezTo>
                    <a:pt x="111" y="56"/>
                    <a:pt x="104" y="65"/>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79" name="Freeform 20">
              <a:extLst>
                <a:ext uri="{FF2B5EF4-FFF2-40B4-BE49-F238E27FC236}">
                  <a16:creationId xmlns:a16="http://schemas.microsoft.com/office/drawing/2014/main" id="{A5B153AB-E6E8-40BC-8CEE-E57642214184}"/>
                </a:ext>
              </a:extLst>
            </p:cNvPr>
            <p:cNvSpPr>
              <a:spLocks/>
            </p:cNvSpPr>
            <p:nvPr/>
          </p:nvSpPr>
          <p:spPr bwMode="auto">
            <a:xfrm>
              <a:off x="4944269" y="3213894"/>
              <a:ext cx="198438" cy="133350"/>
            </a:xfrm>
            <a:custGeom>
              <a:avLst/>
              <a:gdLst>
                <a:gd name="T0" fmla="*/ 95 w 112"/>
                <a:gd name="T1" fmla="*/ 66 h 75"/>
                <a:gd name="T2" fmla="*/ 24 w 112"/>
                <a:gd name="T3" fmla="*/ 74 h 75"/>
                <a:gd name="T4" fmla="*/ 4 w 112"/>
                <a:gd name="T5" fmla="*/ 58 h 75"/>
                <a:gd name="T6" fmla="*/ 1 w 112"/>
                <a:gd name="T7" fmla="*/ 29 h 75"/>
                <a:gd name="T8" fmla="*/ 17 w 112"/>
                <a:gd name="T9" fmla="*/ 9 h 75"/>
                <a:gd name="T10" fmla="*/ 88 w 112"/>
                <a:gd name="T11" fmla="*/ 1 h 75"/>
                <a:gd name="T12" fmla="*/ 107 w 112"/>
                <a:gd name="T13" fmla="*/ 17 h 75"/>
                <a:gd name="T14" fmla="*/ 111 w 112"/>
                <a:gd name="T15" fmla="*/ 46 h 75"/>
                <a:gd name="T16" fmla="*/ 95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5" y="66"/>
                  </a:moveTo>
                  <a:cubicBezTo>
                    <a:pt x="24" y="74"/>
                    <a:pt x="24" y="74"/>
                    <a:pt x="24" y="74"/>
                  </a:cubicBezTo>
                  <a:cubicBezTo>
                    <a:pt x="14" y="75"/>
                    <a:pt x="6" y="68"/>
                    <a:pt x="4" y="58"/>
                  </a:cubicBezTo>
                  <a:cubicBezTo>
                    <a:pt x="1" y="29"/>
                    <a:pt x="1" y="29"/>
                    <a:pt x="1" y="29"/>
                  </a:cubicBezTo>
                  <a:cubicBezTo>
                    <a:pt x="0" y="19"/>
                    <a:pt x="7" y="10"/>
                    <a:pt x="17" y="9"/>
                  </a:cubicBezTo>
                  <a:cubicBezTo>
                    <a:pt x="88" y="1"/>
                    <a:pt x="88" y="1"/>
                    <a:pt x="88" y="1"/>
                  </a:cubicBezTo>
                  <a:cubicBezTo>
                    <a:pt x="97" y="0"/>
                    <a:pt x="106" y="7"/>
                    <a:pt x="107" y="17"/>
                  </a:cubicBezTo>
                  <a:cubicBezTo>
                    <a:pt x="111" y="46"/>
                    <a:pt x="111" y="46"/>
                    <a:pt x="111" y="46"/>
                  </a:cubicBezTo>
                  <a:cubicBezTo>
                    <a:pt x="112" y="56"/>
                    <a:pt x="105" y="65"/>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80" name="Freeform 21">
              <a:extLst>
                <a:ext uri="{FF2B5EF4-FFF2-40B4-BE49-F238E27FC236}">
                  <a16:creationId xmlns:a16="http://schemas.microsoft.com/office/drawing/2014/main" id="{32AE14FE-D424-4997-9AF8-216334D54983}"/>
                </a:ext>
              </a:extLst>
            </p:cNvPr>
            <p:cNvSpPr>
              <a:spLocks/>
            </p:cNvSpPr>
            <p:nvPr/>
          </p:nvSpPr>
          <p:spPr bwMode="auto">
            <a:xfrm>
              <a:off x="5196681" y="3186906"/>
              <a:ext cx="196850" cy="131763"/>
            </a:xfrm>
            <a:custGeom>
              <a:avLst/>
              <a:gdLst>
                <a:gd name="T0" fmla="*/ 95 w 112"/>
                <a:gd name="T1" fmla="*/ 66 h 75"/>
                <a:gd name="T2" fmla="*/ 24 w 112"/>
                <a:gd name="T3" fmla="*/ 74 h 75"/>
                <a:gd name="T4" fmla="*/ 5 w 112"/>
                <a:gd name="T5" fmla="*/ 58 h 75"/>
                <a:gd name="T6" fmla="*/ 1 w 112"/>
                <a:gd name="T7" fmla="*/ 29 h 75"/>
                <a:gd name="T8" fmla="*/ 17 w 112"/>
                <a:gd name="T9" fmla="*/ 9 h 75"/>
                <a:gd name="T10" fmla="*/ 88 w 112"/>
                <a:gd name="T11" fmla="*/ 1 h 75"/>
                <a:gd name="T12" fmla="*/ 108 w 112"/>
                <a:gd name="T13" fmla="*/ 16 h 75"/>
                <a:gd name="T14" fmla="*/ 111 w 112"/>
                <a:gd name="T15" fmla="*/ 46 h 75"/>
                <a:gd name="T16" fmla="*/ 95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5" y="66"/>
                  </a:moveTo>
                  <a:cubicBezTo>
                    <a:pt x="24" y="74"/>
                    <a:pt x="24" y="74"/>
                    <a:pt x="24" y="74"/>
                  </a:cubicBezTo>
                  <a:cubicBezTo>
                    <a:pt x="15" y="75"/>
                    <a:pt x="6" y="68"/>
                    <a:pt x="5" y="58"/>
                  </a:cubicBezTo>
                  <a:cubicBezTo>
                    <a:pt x="1" y="29"/>
                    <a:pt x="1" y="29"/>
                    <a:pt x="1" y="29"/>
                  </a:cubicBezTo>
                  <a:cubicBezTo>
                    <a:pt x="0" y="19"/>
                    <a:pt x="7" y="10"/>
                    <a:pt x="17" y="9"/>
                  </a:cubicBezTo>
                  <a:cubicBezTo>
                    <a:pt x="88" y="1"/>
                    <a:pt x="88" y="1"/>
                    <a:pt x="88" y="1"/>
                  </a:cubicBezTo>
                  <a:cubicBezTo>
                    <a:pt x="98" y="0"/>
                    <a:pt x="106" y="7"/>
                    <a:pt x="108" y="16"/>
                  </a:cubicBezTo>
                  <a:cubicBezTo>
                    <a:pt x="111" y="46"/>
                    <a:pt x="111" y="46"/>
                    <a:pt x="111" y="46"/>
                  </a:cubicBezTo>
                  <a:cubicBezTo>
                    <a:pt x="112" y="56"/>
                    <a:pt x="105" y="64"/>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81" name="Freeform 22">
              <a:extLst>
                <a:ext uri="{FF2B5EF4-FFF2-40B4-BE49-F238E27FC236}">
                  <a16:creationId xmlns:a16="http://schemas.microsoft.com/office/drawing/2014/main" id="{DBD8BC6C-F9D7-4A3F-830E-03E6C53C977A}"/>
                </a:ext>
              </a:extLst>
            </p:cNvPr>
            <p:cNvSpPr>
              <a:spLocks/>
            </p:cNvSpPr>
            <p:nvPr/>
          </p:nvSpPr>
          <p:spPr bwMode="auto">
            <a:xfrm>
              <a:off x="4714081" y="3432969"/>
              <a:ext cx="196850" cy="131763"/>
            </a:xfrm>
            <a:custGeom>
              <a:avLst/>
              <a:gdLst>
                <a:gd name="T0" fmla="*/ 95 w 112"/>
                <a:gd name="T1" fmla="*/ 66 h 75"/>
                <a:gd name="T2" fmla="*/ 24 w 112"/>
                <a:gd name="T3" fmla="*/ 74 h 75"/>
                <a:gd name="T4" fmla="*/ 4 w 112"/>
                <a:gd name="T5" fmla="*/ 58 h 75"/>
                <a:gd name="T6" fmla="*/ 1 w 112"/>
                <a:gd name="T7" fmla="*/ 29 h 75"/>
                <a:gd name="T8" fmla="*/ 17 w 112"/>
                <a:gd name="T9" fmla="*/ 9 h 75"/>
                <a:gd name="T10" fmla="*/ 88 w 112"/>
                <a:gd name="T11" fmla="*/ 1 h 75"/>
                <a:gd name="T12" fmla="*/ 107 w 112"/>
                <a:gd name="T13" fmla="*/ 17 h 75"/>
                <a:gd name="T14" fmla="*/ 111 w 112"/>
                <a:gd name="T15" fmla="*/ 46 h 75"/>
                <a:gd name="T16" fmla="*/ 95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5" y="66"/>
                  </a:moveTo>
                  <a:cubicBezTo>
                    <a:pt x="24" y="74"/>
                    <a:pt x="24" y="74"/>
                    <a:pt x="24" y="74"/>
                  </a:cubicBezTo>
                  <a:cubicBezTo>
                    <a:pt x="14" y="75"/>
                    <a:pt x="6" y="68"/>
                    <a:pt x="4" y="58"/>
                  </a:cubicBezTo>
                  <a:cubicBezTo>
                    <a:pt x="1" y="29"/>
                    <a:pt x="1" y="29"/>
                    <a:pt x="1" y="29"/>
                  </a:cubicBezTo>
                  <a:cubicBezTo>
                    <a:pt x="0" y="19"/>
                    <a:pt x="7" y="10"/>
                    <a:pt x="17" y="9"/>
                  </a:cubicBezTo>
                  <a:cubicBezTo>
                    <a:pt x="88" y="1"/>
                    <a:pt x="88" y="1"/>
                    <a:pt x="88" y="1"/>
                  </a:cubicBezTo>
                  <a:cubicBezTo>
                    <a:pt x="97" y="0"/>
                    <a:pt x="106" y="7"/>
                    <a:pt x="107" y="17"/>
                  </a:cubicBezTo>
                  <a:cubicBezTo>
                    <a:pt x="111" y="46"/>
                    <a:pt x="111" y="46"/>
                    <a:pt x="111" y="46"/>
                  </a:cubicBezTo>
                  <a:cubicBezTo>
                    <a:pt x="112" y="56"/>
                    <a:pt x="105" y="65"/>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82" name="Freeform 23">
              <a:extLst>
                <a:ext uri="{FF2B5EF4-FFF2-40B4-BE49-F238E27FC236}">
                  <a16:creationId xmlns:a16="http://schemas.microsoft.com/office/drawing/2014/main" id="{7DF401F6-7B70-4F0D-8229-6695C5B02026}"/>
                </a:ext>
              </a:extLst>
            </p:cNvPr>
            <p:cNvSpPr>
              <a:spLocks/>
            </p:cNvSpPr>
            <p:nvPr/>
          </p:nvSpPr>
          <p:spPr bwMode="auto">
            <a:xfrm>
              <a:off x="4966494" y="3402806"/>
              <a:ext cx="196850" cy="131763"/>
            </a:xfrm>
            <a:custGeom>
              <a:avLst/>
              <a:gdLst>
                <a:gd name="T0" fmla="*/ 95 w 112"/>
                <a:gd name="T1" fmla="*/ 66 h 75"/>
                <a:gd name="T2" fmla="*/ 24 w 112"/>
                <a:gd name="T3" fmla="*/ 74 h 75"/>
                <a:gd name="T4" fmla="*/ 5 w 112"/>
                <a:gd name="T5" fmla="*/ 59 h 75"/>
                <a:gd name="T6" fmla="*/ 1 w 112"/>
                <a:gd name="T7" fmla="*/ 29 h 75"/>
                <a:gd name="T8" fmla="*/ 17 w 112"/>
                <a:gd name="T9" fmla="*/ 10 h 75"/>
                <a:gd name="T10" fmla="*/ 88 w 112"/>
                <a:gd name="T11" fmla="*/ 2 h 75"/>
                <a:gd name="T12" fmla="*/ 108 w 112"/>
                <a:gd name="T13" fmla="*/ 17 h 75"/>
                <a:gd name="T14" fmla="*/ 111 w 112"/>
                <a:gd name="T15" fmla="*/ 47 h 75"/>
                <a:gd name="T16" fmla="*/ 95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5" y="66"/>
                  </a:moveTo>
                  <a:cubicBezTo>
                    <a:pt x="24" y="74"/>
                    <a:pt x="24" y="74"/>
                    <a:pt x="24" y="74"/>
                  </a:cubicBezTo>
                  <a:cubicBezTo>
                    <a:pt x="15" y="75"/>
                    <a:pt x="6" y="68"/>
                    <a:pt x="5" y="59"/>
                  </a:cubicBezTo>
                  <a:cubicBezTo>
                    <a:pt x="1" y="29"/>
                    <a:pt x="1" y="29"/>
                    <a:pt x="1" y="29"/>
                  </a:cubicBezTo>
                  <a:cubicBezTo>
                    <a:pt x="0" y="20"/>
                    <a:pt x="7" y="11"/>
                    <a:pt x="17" y="10"/>
                  </a:cubicBezTo>
                  <a:cubicBezTo>
                    <a:pt x="88" y="2"/>
                    <a:pt x="88" y="2"/>
                    <a:pt x="88" y="2"/>
                  </a:cubicBezTo>
                  <a:cubicBezTo>
                    <a:pt x="98" y="0"/>
                    <a:pt x="106" y="7"/>
                    <a:pt x="108" y="17"/>
                  </a:cubicBezTo>
                  <a:cubicBezTo>
                    <a:pt x="111" y="47"/>
                    <a:pt x="111" y="47"/>
                    <a:pt x="111" y="47"/>
                  </a:cubicBezTo>
                  <a:cubicBezTo>
                    <a:pt x="112" y="56"/>
                    <a:pt x="105" y="65"/>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83" name="Freeform 24">
              <a:extLst>
                <a:ext uri="{FF2B5EF4-FFF2-40B4-BE49-F238E27FC236}">
                  <a16:creationId xmlns:a16="http://schemas.microsoft.com/office/drawing/2014/main" id="{F36D0758-9814-4FC8-880D-2FECB06177B8}"/>
                </a:ext>
              </a:extLst>
            </p:cNvPr>
            <p:cNvSpPr>
              <a:spLocks/>
            </p:cNvSpPr>
            <p:nvPr/>
          </p:nvSpPr>
          <p:spPr bwMode="auto">
            <a:xfrm>
              <a:off x="5220494" y="3374231"/>
              <a:ext cx="195263" cy="133350"/>
            </a:xfrm>
            <a:custGeom>
              <a:avLst/>
              <a:gdLst>
                <a:gd name="T0" fmla="*/ 95 w 111"/>
                <a:gd name="T1" fmla="*/ 66 h 75"/>
                <a:gd name="T2" fmla="*/ 24 w 111"/>
                <a:gd name="T3" fmla="*/ 74 h 75"/>
                <a:gd name="T4" fmla="*/ 4 w 111"/>
                <a:gd name="T5" fmla="*/ 58 h 75"/>
                <a:gd name="T6" fmla="*/ 1 w 111"/>
                <a:gd name="T7" fmla="*/ 29 h 75"/>
                <a:gd name="T8" fmla="*/ 16 w 111"/>
                <a:gd name="T9" fmla="*/ 9 h 75"/>
                <a:gd name="T10" fmla="*/ 87 w 111"/>
                <a:gd name="T11" fmla="*/ 1 h 75"/>
                <a:gd name="T12" fmla="*/ 107 w 111"/>
                <a:gd name="T13" fmla="*/ 17 h 75"/>
                <a:gd name="T14" fmla="*/ 110 w 111"/>
                <a:gd name="T15" fmla="*/ 46 h 75"/>
                <a:gd name="T16" fmla="*/ 95 w 111"/>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1" h="75">
                  <a:moveTo>
                    <a:pt x="95" y="66"/>
                  </a:moveTo>
                  <a:cubicBezTo>
                    <a:pt x="24" y="74"/>
                    <a:pt x="24" y="74"/>
                    <a:pt x="24" y="74"/>
                  </a:cubicBezTo>
                  <a:cubicBezTo>
                    <a:pt x="14" y="75"/>
                    <a:pt x="5" y="68"/>
                    <a:pt x="4" y="58"/>
                  </a:cubicBezTo>
                  <a:cubicBezTo>
                    <a:pt x="1" y="29"/>
                    <a:pt x="1" y="29"/>
                    <a:pt x="1" y="29"/>
                  </a:cubicBezTo>
                  <a:cubicBezTo>
                    <a:pt x="0" y="19"/>
                    <a:pt x="7" y="10"/>
                    <a:pt x="16" y="9"/>
                  </a:cubicBezTo>
                  <a:cubicBezTo>
                    <a:pt x="87" y="1"/>
                    <a:pt x="87" y="1"/>
                    <a:pt x="87" y="1"/>
                  </a:cubicBezTo>
                  <a:cubicBezTo>
                    <a:pt x="97" y="0"/>
                    <a:pt x="106" y="7"/>
                    <a:pt x="107" y="17"/>
                  </a:cubicBezTo>
                  <a:cubicBezTo>
                    <a:pt x="110" y="46"/>
                    <a:pt x="110" y="46"/>
                    <a:pt x="110" y="46"/>
                  </a:cubicBezTo>
                  <a:cubicBezTo>
                    <a:pt x="111" y="56"/>
                    <a:pt x="104" y="65"/>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84" name="Freeform 25">
              <a:extLst>
                <a:ext uri="{FF2B5EF4-FFF2-40B4-BE49-F238E27FC236}">
                  <a16:creationId xmlns:a16="http://schemas.microsoft.com/office/drawing/2014/main" id="{5670EFE0-D64F-488D-B7D9-58866893B5A5}"/>
                </a:ext>
              </a:extLst>
            </p:cNvPr>
            <p:cNvSpPr>
              <a:spLocks/>
            </p:cNvSpPr>
            <p:nvPr/>
          </p:nvSpPr>
          <p:spPr bwMode="auto">
            <a:xfrm>
              <a:off x="4734719" y="3621881"/>
              <a:ext cx="196850" cy="131763"/>
            </a:xfrm>
            <a:custGeom>
              <a:avLst/>
              <a:gdLst>
                <a:gd name="T0" fmla="*/ 95 w 112"/>
                <a:gd name="T1" fmla="*/ 66 h 75"/>
                <a:gd name="T2" fmla="*/ 24 w 112"/>
                <a:gd name="T3" fmla="*/ 74 h 75"/>
                <a:gd name="T4" fmla="*/ 5 w 112"/>
                <a:gd name="T5" fmla="*/ 58 h 75"/>
                <a:gd name="T6" fmla="*/ 1 w 112"/>
                <a:gd name="T7" fmla="*/ 29 h 75"/>
                <a:gd name="T8" fmla="*/ 17 w 112"/>
                <a:gd name="T9" fmla="*/ 9 h 75"/>
                <a:gd name="T10" fmla="*/ 88 w 112"/>
                <a:gd name="T11" fmla="*/ 1 h 75"/>
                <a:gd name="T12" fmla="*/ 108 w 112"/>
                <a:gd name="T13" fmla="*/ 17 h 75"/>
                <a:gd name="T14" fmla="*/ 111 w 112"/>
                <a:gd name="T15" fmla="*/ 46 h 75"/>
                <a:gd name="T16" fmla="*/ 95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5" y="66"/>
                  </a:moveTo>
                  <a:cubicBezTo>
                    <a:pt x="24" y="74"/>
                    <a:pt x="24" y="74"/>
                    <a:pt x="24" y="74"/>
                  </a:cubicBezTo>
                  <a:cubicBezTo>
                    <a:pt x="15" y="75"/>
                    <a:pt x="6" y="68"/>
                    <a:pt x="5" y="58"/>
                  </a:cubicBezTo>
                  <a:cubicBezTo>
                    <a:pt x="1" y="29"/>
                    <a:pt x="1" y="29"/>
                    <a:pt x="1" y="29"/>
                  </a:cubicBezTo>
                  <a:cubicBezTo>
                    <a:pt x="0" y="19"/>
                    <a:pt x="7" y="10"/>
                    <a:pt x="17" y="9"/>
                  </a:cubicBezTo>
                  <a:cubicBezTo>
                    <a:pt x="88" y="1"/>
                    <a:pt x="88" y="1"/>
                    <a:pt x="88" y="1"/>
                  </a:cubicBezTo>
                  <a:cubicBezTo>
                    <a:pt x="98" y="0"/>
                    <a:pt x="106" y="7"/>
                    <a:pt x="108" y="17"/>
                  </a:cubicBezTo>
                  <a:cubicBezTo>
                    <a:pt x="111" y="46"/>
                    <a:pt x="111" y="46"/>
                    <a:pt x="111" y="46"/>
                  </a:cubicBezTo>
                  <a:cubicBezTo>
                    <a:pt x="112" y="56"/>
                    <a:pt x="105" y="65"/>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85" name="Freeform 26">
              <a:extLst>
                <a:ext uri="{FF2B5EF4-FFF2-40B4-BE49-F238E27FC236}">
                  <a16:creationId xmlns:a16="http://schemas.microsoft.com/office/drawing/2014/main" id="{829A05B5-C429-410F-B578-BAF65FCF4915}"/>
                </a:ext>
              </a:extLst>
            </p:cNvPr>
            <p:cNvSpPr>
              <a:spLocks/>
            </p:cNvSpPr>
            <p:nvPr/>
          </p:nvSpPr>
          <p:spPr bwMode="auto">
            <a:xfrm>
              <a:off x="4987131" y="3593306"/>
              <a:ext cx="196850" cy="131763"/>
            </a:xfrm>
            <a:custGeom>
              <a:avLst/>
              <a:gdLst>
                <a:gd name="T0" fmla="*/ 96 w 112"/>
                <a:gd name="T1" fmla="*/ 66 h 75"/>
                <a:gd name="T2" fmla="*/ 25 w 112"/>
                <a:gd name="T3" fmla="*/ 74 h 75"/>
                <a:gd name="T4" fmla="*/ 5 w 112"/>
                <a:gd name="T5" fmla="*/ 58 h 75"/>
                <a:gd name="T6" fmla="*/ 2 w 112"/>
                <a:gd name="T7" fmla="*/ 29 h 75"/>
                <a:gd name="T8" fmla="*/ 17 w 112"/>
                <a:gd name="T9" fmla="*/ 9 h 75"/>
                <a:gd name="T10" fmla="*/ 88 w 112"/>
                <a:gd name="T11" fmla="*/ 1 h 75"/>
                <a:gd name="T12" fmla="*/ 108 w 112"/>
                <a:gd name="T13" fmla="*/ 16 h 75"/>
                <a:gd name="T14" fmla="*/ 111 w 112"/>
                <a:gd name="T15" fmla="*/ 46 h 75"/>
                <a:gd name="T16" fmla="*/ 96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6" y="66"/>
                  </a:moveTo>
                  <a:cubicBezTo>
                    <a:pt x="25" y="74"/>
                    <a:pt x="25" y="74"/>
                    <a:pt x="25" y="74"/>
                  </a:cubicBezTo>
                  <a:cubicBezTo>
                    <a:pt x="15" y="75"/>
                    <a:pt x="6" y="68"/>
                    <a:pt x="5" y="58"/>
                  </a:cubicBezTo>
                  <a:cubicBezTo>
                    <a:pt x="2" y="29"/>
                    <a:pt x="2" y="29"/>
                    <a:pt x="2" y="29"/>
                  </a:cubicBezTo>
                  <a:cubicBezTo>
                    <a:pt x="0" y="19"/>
                    <a:pt x="7" y="10"/>
                    <a:pt x="17" y="9"/>
                  </a:cubicBezTo>
                  <a:cubicBezTo>
                    <a:pt x="88" y="1"/>
                    <a:pt x="88" y="1"/>
                    <a:pt x="88" y="1"/>
                  </a:cubicBezTo>
                  <a:cubicBezTo>
                    <a:pt x="98" y="0"/>
                    <a:pt x="107" y="7"/>
                    <a:pt x="108" y="16"/>
                  </a:cubicBezTo>
                  <a:cubicBezTo>
                    <a:pt x="111" y="46"/>
                    <a:pt x="111" y="46"/>
                    <a:pt x="111" y="46"/>
                  </a:cubicBezTo>
                  <a:cubicBezTo>
                    <a:pt x="112" y="56"/>
                    <a:pt x="105" y="64"/>
                    <a:pt x="96"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86" name="Freeform 27">
              <a:extLst>
                <a:ext uri="{FF2B5EF4-FFF2-40B4-BE49-F238E27FC236}">
                  <a16:creationId xmlns:a16="http://schemas.microsoft.com/office/drawing/2014/main" id="{373F1C6A-644A-401D-BC3E-7469ED12A724}"/>
                </a:ext>
              </a:extLst>
            </p:cNvPr>
            <p:cNvSpPr>
              <a:spLocks/>
            </p:cNvSpPr>
            <p:nvPr/>
          </p:nvSpPr>
          <p:spPr bwMode="auto">
            <a:xfrm>
              <a:off x="5241131" y="3563144"/>
              <a:ext cx="196850" cy="133350"/>
            </a:xfrm>
            <a:custGeom>
              <a:avLst/>
              <a:gdLst>
                <a:gd name="T0" fmla="*/ 95 w 112"/>
                <a:gd name="T1" fmla="*/ 66 h 75"/>
                <a:gd name="T2" fmla="*/ 24 w 112"/>
                <a:gd name="T3" fmla="*/ 74 h 75"/>
                <a:gd name="T4" fmla="*/ 4 w 112"/>
                <a:gd name="T5" fmla="*/ 59 h 75"/>
                <a:gd name="T6" fmla="*/ 1 w 112"/>
                <a:gd name="T7" fmla="*/ 29 h 75"/>
                <a:gd name="T8" fmla="*/ 17 w 112"/>
                <a:gd name="T9" fmla="*/ 10 h 75"/>
                <a:gd name="T10" fmla="*/ 87 w 112"/>
                <a:gd name="T11" fmla="*/ 1 h 75"/>
                <a:gd name="T12" fmla="*/ 107 w 112"/>
                <a:gd name="T13" fmla="*/ 17 h 75"/>
                <a:gd name="T14" fmla="*/ 110 w 112"/>
                <a:gd name="T15" fmla="*/ 47 h 75"/>
                <a:gd name="T16" fmla="*/ 95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5" y="66"/>
                  </a:moveTo>
                  <a:cubicBezTo>
                    <a:pt x="24" y="74"/>
                    <a:pt x="24" y="74"/>
                    <a:pt x="24" y="74"/>
                  </a:cubicBezTo>
                  <a:cubicBezTo>
                    <a:pt x="14" y="75"/>
                    <a:pt x="5" y="68"/>
                    <a:pt x="4" y="59"/>
                  </a:cubicBezTo>
                  <a:cubicBezTo>
                    <a:pt x="1" y="29"/>
                    <a:pt x="1" y="29"/>
                    <a:pt x="1" y="29"/>
                  </a:cubicBezTo>
                  <a:cubicBezTo>
                    <a:pt x="0" y="20"/>
                    <a:pt x="7" y="11"/>
                    <a:pt x="17" y="10"/>
                  </a:cubicBezTo>
                  <a:cubicBezTo>
                    <a:pt x="87" y="1"/>
                    <a:pt x="87" y="1"/>
                    <a:pt x="87" y="1"/>
                  </a:cubicBezTo>
                  <a:cubicBezTo>
                    <a:pt x="97" y="0"/>
                    <a:pt x="106" y="7"/>
                    <a:pt x="107" y="17"/>
                  </a:cubicBezTo>
                  <a:cubicBezTo>
                    <a:pt x="110" y="47"/>
                    <a:pt x="110" y="47"/>
                    <a:pt x="110" y="47"/>
                  </a:cubicBezTo>
                  <a:cubicBezTo>
                    <a:pt x="112" y="56"/>
                    <a:pt x="105" y="65"/>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87" name="Freeform 28">
              <a:extLst>
                <a:ext uri="{FF2B5EF4-FFF2-40B4-BE49-F238E27FC236}">
                  <a16:creationId xmlns:a16="http://schemas.microsoft.com/office/drawing/2014/main" id="{7AC46396-CE16-47F5-96C0-987541CF761D}"/>
                </a:ext>
              </a:extLst>
            </p:cNvPr>
            <p:cNvSpPr>
              <a:spLocks/>
            </p:cNvSpPr>
            <p:nvPr/>
          </p:nvSpPr>
          <p:spPr bwMode="auto">
            <a:xfrm>
              <a:off x="5865019" y="3144044"/>
              <a:ext cx="652463" cy="684213"/>
            </a:xfrm>
            <a:custGeom>
              <a:avLst/>
              <a:gdLst>
                <a:gd name="T0" fmla="*/ 363 w 370"/>
                <a:gd name="T1" fmla="*/ 265 h 388"/>
                <a:gd name="T2" fmla="*/ 355 w 370"/>
                <a:gd name="T3" fmla="*/ 256 h 388"/>
                <a:gd name="T4" fmla="*/ 355 w 370"/>
                <a:gd name="T5" fmla="*/ 256 h 388"/>
                <a:gd name="T6" fmla="*/ 148 w 370"/>
                <a:gd name="T7" fmla="*/ 21 h 388"/>
                <a:gd name="T8" fmla="*/ 137 w 370"/>
                <a:gd name="T9" fmla="*/ 9 h 388"/>
                <a:gd name="T10" fmla="*/ 110 w 370"/>
                <a:gd name="T11" fmla="*/ 7 h 388"/>
                <a:gd name="T12" fmla="*/ 12 w 370"/>
                <a:gd name="T13" fmla="*/ 93 h 388"/>
                <a:gd name="T14" fmla="*/ 12 w 370"/>
                <a:gd name="T15" fmla="*/ 93 h 388"/>
                <a:gd name="T16" fmla="*/ 10 w 370"/>
                <a:gd name="T17" fmla="*/ 95 h 388"/>
                <a:gd name="T18" fmla="*/ 8 w 370"/>
                <a:gd name="T19" fmla="*/ 125 h 388"/>
                <a:gd name="T20" fmla="*/ 18 w 370"/>
                <a:gd name="T21" fmla="*/ 136 h 388"/>
                <a:gd name="T22" fmla="*/ 18 w 370"/>
                <a:gd name="T23" fmla="*/ 136 h 388"/>
                <a:gd name="T24" fmla="*/ 224 w 370"/>
                <a:gd name="T25" fmla="*/ 371 h 388"/>
                <a:gd name="T26" fmla="*/ 224 w 370"/>
                <a:gd name="T27" fmla="*/ 371 h 388"/>
                <a:gd name="T28" fmla="*/ 231 w 370"/>
                <a:gd name="T29" fmla="*/ 379 h 388"/>
                <a:gd name="T30" fmla="*/ 261 w 370"/>
                <a:gd name="T31" fmla="*/ 380 h 388"/>
                <a:gd name="T32" fmla="*/ 263 w 370"/>
                <a:gd name="T33" fmla="*/ 379 h 388"/>
                <a:gd name="T34" fmla="*/ 263 w 370"/>
                <a:gd name="T35" fmla="*/ 379 h 388"/>
                <a:gd name="T36" fmla="*/ 361 w 370"/>
                <a:gd name="T37" fmla="*/ 292 h 388"/>
                <a:gd name="T38" fmla="*/ 363 w 370"/>
                <a:gd name="T39" fmla="*/ 265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70" h="388">
                  <a:moveTo>
                    <a:pt x="363" y="265"/>
                  </a:moveTo>
                  <a:cubicBezTo>
                    <a:pt x="355" y="256"/>
                    <a:pt x="355" y="256"/>
                    <a:pt x="355" y="256"/>
                  </a:cubicBezTo>
                  <a:cubicBezTo>
                    <a:pt x="355" y="256"/>
                    <a:pt x="355" y="256"/>
                    <a:pt x="355" y="256"/>
                  </a:cubicBezTo>
                  <a:cubicBezTo>
                    <a:pt x="148" y="21"/>
                    <a:pt x="148" y="21"/>
                    <a:pt x="148" y="21"/>
                  </a:cubicBezTo>
                  <a:cubicBezTo>
                    <a:pt x="137" y="9"/>
                    <a:pt x="137" y="9"/>
                    <a:pt x="137" y="9"/>
                  </a:cubicBezTo>
                  <a:cubicBezTo>
                    <a:pt x="130" y="1"/>
                    <a:pt x="118" y="0"/>
                    <a:pt x="110" y="7"/>
                  </a:cubicBezTo>
                  <a:cubicBezTo>
                    <a:pt x="12" y="93"/>
                    <a:pt x="12" y="93"/>
                    <a:pt x="12" y="93"/>
                  </a:cubicBezTo>
                  <a:cubicBezTo>
                    <a:pt x="12" y="93"/>
                    <a:pt x="12" y="93"/>
                    <a:pt x="12" y="93"/>
                  </a:cubicBezTo>
                  <a:cubicBezTo>
                    <a:pt x="10" y="95"/>
                    <a:pt x="10" y="95"/>
                    <a:pt x="10" y="95"/>
                  </a:cubicBezTo>
                  <a:cubicBezTo>
                    <a:pt x="1" y="103"/>
                    <a:pt x="0" y="116"/>
                    <a:pt x="8" y="125"/>
                  </a:cubicBezTo>
                  <a:cubicBezTo>
                    <a:pt x="18" y="136"/>
                    <a:pt x="18" y="136"/>
                    <a:pt x="18" y="136"/>
                  </a:cubicBezTo>
                  <a:cubicBezTo>
                    <a:pt x="18" y="136"/>
                    <a:pt x="18" y="136"/>
                    <a:pt x="18" y="136"/>
                  </a:cubicBezTo>
                  <a:cubicBezTo>
                    <a:pt x="224" y="371"/>
                    <a:pt x="224" y="371"/>
                    <a:pt x="224" y="371"/>
                  </a:cubicBezTo>
                  <a:cubicBezTo>
                    <a:pt x="224" y="371"/>
                    <a:pt x="224" y="371"/>
                    <a:pt x="224" y="371"/>
                  </a:cubicBezTo>
                  <a:cubicBezTo>
                    <a:pt x="231" y="379"/>
                    <a:pt x="231" y="379"/>
                    <a:pt x="231" y="379"/>
                  </a:cubicBezTo>
                  <a:cubicBezTo>
                    <a:pt x="239" y="387"/>
                    <a:pt x="252" y="388"/>
                    <a:pt x="261" y="380"/>
                  </a:cubicBezTo>
                  <a:cubicBezTo>
                    <a:pt x="263" y="379"/>
                    <a:pt x="263" y="379"/>
                    <a:pt x="263" y="379"/>
                  </a:cubicBezTo>
                  <a:cubicBezTo>
                    <a:pt x="263" y="379"/>
                    <a:pt x="263" y="379"/>
                    <a:pt x="263" y="379"/>
                  </a:cubicBezTo>
                  <a:cubicBezTo>
                    <a:pt x="361" y="292"/>
                    <a:pt x="361" y="292"/>
                    <a:pt x="361" y="292"/>
                  </a:cubicBezTo>
                  <a:cubicBezTo>
                    <a:pt x="369" y="285"/>
                    <a:pt x="370" y="273"/>
                    <a:pt x="363" y="265"/>
                  </a:cubicBezTo>
                  <a:close/>
                </a:path>
              </a:pathLst>
            </a:custGeom>
            <a:solidFill>
              <a:srgbClr val="424242">
                <a:alpha val="20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88" name="Freeform 29">
              <a:extLst>
                <a:ext uri="{FF2B5EF4-FFF2-40B4-BE49-F238E27FC236}">
                  <a16:creationId xmlns:a16="http://schemas.microsoft.com/office/drawing/2014/main" id="{56A6A981-3811-43D7-ADF1-598DCFE769F1}"/>
                </a:ext>
              </a:extLst>
            </p:cNvPr>
            <p:cNvSpPr>
              <a:spLocks/>
            </p:cNvSpPr>
            <p:nvPr/>
          </p:nvSpPr>
          <p:spPr bwMode="auto">
            <a:xfrm>
              <a:off x="5879306" y="3101181"/>
              <a:ext cx="650875" cy="684213"/>
            </a:xfrm>
            <a:custGeom>
              <a:avLst/>
              <a:gdLst>
                <a:gd name="T0" fmla="*/ 360 w 369"/>
                <a:gd name="T1" fmla="*/ 293 h 388"/>
                <a:gd name="T2" fmla="*/ 261 w 369"/>
                <a:gd name="T3" fmla="*/ 380 h 388"/>
                <a:gd name="T4" fmla="*/ 231 w 369"/>
                <a:gd name="T5" fmla="*/ 379 h 388"/>
                <a:gd name="T6" fmla="*/ 8 w 369"/>
                <a:gd name="T7" fmla="*/ 125 h 388"/>
                <a:gd name="T8" fmla="*/ 10 w 369"/>
                <a:gd name="T9" fmla="*/ 95 h 388"/>
                <a:gd name="T10" fmla="*/ 109 w 369"/>
                <a:gd name="T11" fmla="*/ 8 h 388"/>
                <a:gd name="T12" fmla="*/ 138 w 369"/>
                <a:gd name="T13" fmla="*/ 10 h 388"/>
                <a:gd name="T14" fmla="*/ 361 w 369"/>
                <a:gd name="T15" fmla="*/ 264 h 388"/>
                <a:gd name="T16" fmla="*/ 360 w 369"/>
                <a:gd name="T17" fmla="*/ 293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9" h="388">
                  <a:moveTo>
                    <a:pt x="360" y="293"/>
                  </a:moveTo>
                  <a:cubicBezTo>
                    <a:pt x="261" y="380"/>
                    <a:pt x="261" y="380"/>
                    <a:pt x="261" y="380"/>
                  </a:cubicBezTo>
                  <a:cubicBezTo>
                    <a:pt x="252" y="388"/>
                    <a:pt x="239" y="387"/>
                    <a:pt x="231" y="379"/>
                  </a:cubicBezTo>
                  <a:cubicBezTo>
                    <a:pt x="8" y="125"/>
                    <a:pt x="8" y="125"/>
                    <a:pt x="8" y="125"/>
                  </a:cubicBezTo>
                  <a:cubicBezTo>
                    <a:pt x="0" y="116"/>
                    <a:pt x="1" y="103"/>
                    <a:pt x="10" y="95"/>
                  </a:cubicBezTo>
                  <a:cubicBezTo>
                    <a:pt x="109" y="8"/>
                    <a:pt x="109" y="8"/>
                    <a:pt x="109" y="8"/>
                  </a:cubicBezTo>
                  <a:cubicBezTo>
                    <a:pt x="117" y="0"/>
                    <a:pt x="131" y="1"/>
                    <a:pt x="138" y="10"/>
                  </a:cubicBezTo>
                  <a:cubicBezTo>
                    <a:pt x="361" y="264"/>
                    <a:pt x="361" y="264"/>
                    <a:pt x="361" y="264"/>
                  </a:cubicBezTo>
                  <a:cubicBezTo>
                    <a:pt x="369" y="272"/>
                    <a:pt x="368" y="286"/>
                    <a:pt x="360" y="293"/>
                  </a:cubicBezTo>
                  <a:close/>
                </a:path>
              </a:pathLst>
            </a:custGeom>
            <a:solidFill>
              <a:srgbClr val="376790"/>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89" name="Freeform 30">
              <a:extLst>
                <a:ext uri="{FF2B5EF4-FFF2-40B4-BE49-F238E27FC236}">
                  <a16:creationId xmlns:a16="http://schemas.microsoft.com/office/drawing/2014/main" id="{6864E0CE-B21D-4CCC-BB88-6BC15FF897E8}"/>
                </a:ext>
              </a:extLst>
            </p:cNvPr>
            <p:cNvSpPr>
              <a:spLocks/>
            </p:cNvSpPr>
            <p:nvPr/>
          </p:nvSpPr>
          <p:spPr bwMode="auto">
            <a:xfrm>
              <a:off x="5911056" y="3139281"/>
              <a:ext cx="593725" cy="615950"/>
            </a:xfrm>
            <a:custGeom>
              <a:avLst/>
              <a:gdLst>
                <a:gd name="T0" fmla="*/ 374 w 374"/>
                <a:gd name="T1" fmla="*/ 261 h 388"/>
                <a:gd name="T2" fmla="*/ 229 w 374"/>
                <a:gd name="T3" fmla="*/ 388 h 388"/>
                <a:gd name="T4" fmla="*/ 0 w 374"/>
                <a:gd name="T5" fmla="*/ 127 h 388"/>
                <a:gd name="T6" fmla="*/ 144 w 374"/>
                <a:gd name="T7" fmla="*/ 0 h 388"/>
                <a:gd name="T8" fmla="*/ 374 w 374"/>
                <a:gd name="T9" fmla="*/ 261 h 388"/>
              </a:gdLst>
              <a:ahLst/>
              <a:cxnLst>
                <a:cxn ang="0">
                  <a:pos x="T0" y="T1"/>
                </a:cxn>
                <a:cxn ang="0">
                  <a:pos x="T2" y="T3"/>
                </a:cxn>
                <a:cxn ang="0">
                  <a:pos x="T4" y="T5"/>
                </a:cxn>
                <a:cxn ang="0">
                  <a:pos x="T6" y="T7"/>
                </a:cxn>
                <a:cxn ang="0">
                  <a:pos x="T8" y="T9"/>
                </a:cxn>
              </a:cxnLst>
              <a:rect l="0" t="0" r="r" b="b"/>
              <a:pathLst>
                <a:path w="374" h="388">
                  <a:moveTo>
                    <a:pt x="374" y="261"/>
                  </a:moveTo>
                  <a:lnTo>
                    <a:pt x="229" y="388"/>
                  </a:lnTo>
                  <a:lnTo>
                    <a:pt x="0" y="127"/>
                  </a:lnTo>
                  <a:lnTo>
                    <a:pt x="144" y="0"/>
                  </a:lnTo>
                  <a:lnTo>
                    <a:pt x="374" y="261"/>
                  </a:lnTo>
                  <a:close/>
                </a:path>
              </a:pathLst>
            </a:custGeom>
            <a:solidFill>
              <a:srgbClr val="353B61"/>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90" name="Freeform 31">
              <a:extLst>
                <a:ext uri="{FF2B5EF4-FFF2-40B4-BE49-F238E27FC236}">
                  <a16:creationId xmlns:a16="http://schemas.microsoft.com/office/drawing/2014/main" id="{1B57800A-65CA-4F15-B87D-D4B27A1896BE}"/>
                </a:ext>
              </a:extLst>
            </p:cNvPr>
            <p:cNvSpPr>
              <a:spLocks/>
            </p:cNvSpPr>
            <p:nvPr/>
          </p:nvSpPr>
          <p:spPr bwMode="auto">
            <a:xfrm>
              <a:off x="5911056" y="3139281"/>
              <a:ext cx="495300" cy="504825"/>
            </a:xfrm>
            <a:custGeom>
              <a:avLst/>
              <a:gdLst>
                <a:gd name="T0" fmla="*/ 312 w 312"/>
                <a:gd name="T1" fmla="*/ 191 h 318"/>
                <a:gd name="T2" fmla="*/ 168 w 312"/>
                <a:gd name="T3" fmla="*/ 318 h 318"/>
                <a:gd name="T4" fmla="*/ 0 w 312"/>
                <a:gd name="T5" fmla="*/ 127 h 318"/>
                <a:gd name="T6" fmla="*/ 144 w 312"/>
                <a:gd name="T7" fmla="*/ 0 h 318"/>
                <a:gd name="T8" fmla="*/ 312 w 312"/>
                <a:gd name="T9" fmla="*/ 191 h 318"/>
              </a:gdLst>
              <a:ahLst/>
              <a:cxnLst>
                <a:cxn ang="0">
                  <a:pos x="T0" y="T1"/>
                </a:cxn>
                <a:cxn ang="0">
                  <a:pos x="T2" y="T3"/>
                </a:cxn>
                <a:cxn ang="0">
                  <a:pos x="T4" y="T5"/>
                </a:cxn>
                <a:cxn ang="0">
                  <a:pos x="T6" y="T7"/>
                </a:cxn>
                <a:cxn ang="0">
                  <a:pos x="T8" y="T9"/>
                </a:cxn>
              </a:cxnLst>
              <a:rect l="0" t="0" r="r" b="b"/>
              <a:pathLst>
                <a:path w="312" h="318">
                  <a:moveTo>
                    <a:pt x="312" y="191"/>
                  </a:moveTo>
                  <a:lnTo>
                    <a:pt x="168" y="318"/>
                  </a:lnTo>
                  <a:lnTo>
                    <a:pt x="0" y="127"/>
                  </a:lnTo>
                  <a:lnTo>
                    <a:pt x="144" y="0"/>
                  </a:lnTo>
                  <a:lnTo>
                    <a:pt x="312" y="191"/>
                  </a:lnTo>
                  <a:close/>
                </a:path>
              </a:pathLst>
            </a:custGeom>
            <a:solidFill>
              <a:srgbClr val="92406C"/>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91" name="Freeform 32">
              <a:extLst>
                <a:ext uri="{FF2B5EF4-FFF2-40B4-BE49-F238E27FC236}">
                  <a16:creationId xmlns:a16="http://schemas.microsoft.com/office/drawing/2014/main" id="{F5956D7F-7C57-4B17-886E-E9B3E8B9EAA4}"/>
                </a:ext>
              </a:extLst>
            </p:cNvPr>
            <p:cNvSpPr>
              <a:spLocks/>
            </p:cNvSpPr>
            <p:nvPr/>
          </p:nvSpPr>
          <p:spPr bwMode="auto">
            <a:xfrm>
              <a:off x="5899944" y="3101181"/>
              <a:ext cx="631825" cy="668338"/>
            </a:xfrm>
            <a:custGeom>
              <a:avLst/>
              <a:gdLst>
                <a:gd name="T0" fmla="*/ 349 w 358"/>
                <a:gd name="T1" fmla="*/ 292 h 379"/>
                <a:gd name="T2" fmla="*/ 251 w 358"/>
                <a:gd name="T3" fmla="*/ 379 h 379"/>
                <a:gd name="T4" fmla="*/ 0 w 358"/>
                <a:gd name="T5" fmla="*/ 93 h 379"/>
                <a:gd name="T6" fmla="*/ 98 w 358"/>
                <a:gd name="T7" fmla="*/ 7 h 379"/>
                <a:gd name="T8" fmla="*/ 125 w 358"/>
                <a:gd name="T9" fmla="*/ 9 h 379"/>
                <a:gd name="T10" fmla="*/ 351 w 358"/>
                <a:gd name="T11" fmla="*/ 265 h 379"/>
                <a:gd name="T12" fmla="*/ 349 w 358"/>
                <a:gd name="T13" fmla="*/ 292 h 379"/>
              </a:gdLst>
              <a:ahLst/>
              <a:cxnLst>
                <a:cxn ang="0">
                  <a:pos x="T0" y="T1"/>
                </a:cxn>
                <a:cxn ang="0">
                  <a:pos x="T2" y="T3"/>
                </a:cxn>
                <a:cxn ang="0">
                  <a:pos x="T4" y="T5"/>
                </a:cxn>
                <a:cxn ang="0">
                  <a:pos x="T6" y="T7"/>
                </a:cxn>
                <a:cxn ang="0">
                  <a:pos x="T8" y="T9"/>
                </a:cxn>
                <a:cxn ang="0">
                  <a:pos x="T10" y="T11"/>
                </a:cxn>
                <a:cxn ang="0">
                  <a:pos x="T12" y="T13"/>
                </a:cxn>
              </a:cxnLst>
              <a:rect l="0" t="0" r="r" b="b"/>
              <a:pathLst>
                <a:path w="358" h="379">
                  <a:moveTo>
                    <a:pt x="349" y="292"/>
                  </a:moveTo>
                  <a:cubicBezTo>
                    <a:pt x="251" y="379"/>
                    <a:pt x="251" y="379"/>
                    <a:pt x="251" y="379"/>
                  </a:cubicBezTo>
                  <a:cubicBezTo>
                    <a:pt x="0" y="93"/>
                    <a:pt x="0" y="93"/>
                    <a:pt x="0" y="93"/>
                  </a:cubicBezTo>
                  <a:cubicBezTo>
                    <a:pt x="98" y="7"/>
                    <a:pt x="98" y="7"/>
                    <a:pt x="98" y="7"/>
                  </a:cubicBezTo>
                  <a:cubicBezTo>
                    <a:pt x="106" y="0"/>
                    <a:pt x="118" y="1"/>
                    <a:pt x="125" y="9"/>
                  </a:cubicBezTo>
                  <a:cubicBezTo>
                    <a:pt x="351" y="265"/>
                    <a:pt x="351" y="265"/>
                    <a:pt x="351" y="265"/>
                  </a:cubicBezTo>
                  <a:cubicBezTo>
                    <a:pt x="358" y="273"/>
                    <a:pt x="357" y="285"/>
                    <a:pt x="349" y="292"/>
                  </a:cubicBezTo>
                  <a:close/>
                </a:path>
              </a:pathLst>
            </a:custGeom>
            <a:noFill/>
            <a:ln w="6350" cap="flat">
              <a:solidFill>
                <a:srgbClr val="1E1D1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92" name="Freeform 33">
              <a:extLst>
                <a:ext uri="{FF2B5EF4-FFF2-40B4-BE49-F238E27FC236}">
                  <a16:creationId xmlns:a16="http://schemas.microsoft.com/office/drawing/2014/main" id="{B4FB8746-B3DD-4C5A-B4AD-533B4FD4C76A}"/>
                </a:ext>
              </a:extLst>
            </p:cNvPr>
            <p:cNvSpPr>
              <a:spLocks/>
            </p:cNvSpPr>
            <p:nvPr/>
          </p:nvSpPr>
          <p:spPr bwMode="auto">
            <a:xfrm>
              <a:off x="5899944" y="3101181"/>
              <a:ext cx="239713" cy="212725"/>
            </a:xfrm>
            <a:custGeom>
              <a:avLst/>
              <a:gdLst>
                <a:gd name="T0" fmla="*/ 136 w 136"/>
                <a:gd name="T1" fmla="*/ 21 h 120"/>
                <a:gd name="T2" fmla="*/ 24 w 136"/>
                <a:gd name="T3" fmla="*/ 120 h 120"/>
                <a:gd name="T4" fmla="*/ 0 w 136"/>
                <a:gd name="T5" fmla="*/ 93 h 120"/>
                <a:gd name="T6" fmla="*/ 98 w 136"/>
                <a:gd name="T7" fmla="*/ 7 h 120"/>
                <a:gd name="T8" fmla="*/ 125 w 136"/>
                <a:gd name="T9" fmla="*/ 9 h 120"/>
                <a:gd name="T10" fmla="*/ 136 w 136"/>
                <a:gd name="T11" fmla="*/ 21 h 120"/>
              </a:gdLst>
              <a:ahLst/>
              <a:cxnLst>
                <a:cxn ang="0">
                  <a:pos x="T0" y="T1"/>
                </a:cxn>
                <a:cxn ang="0">
                  <a:pos x="T2" y="T3"/>
                </a:cxn>
                <a:cxn ang="0">
                  <a:pos x="T4" y="T5"/>
                </a:cxn>
                <a:cxn ang="0">
                  <a:pos x="T6" y="T7"/>
                </a:cxn>
                <a:cxn ang="0">
                  <a:pos x="T8" y="T9"/>
                </a:cxn>
                <a:cxn ang="0">
                  <a:pos x="T10" y="T11"/>
                </a:cxn>
              </a:cxnLst>
              <a:rect l="0" t="0" r="r" b="b"/>
              <a:pathLst>
                <a:path w="136" h="120">
                  <a:moveTo>
                    <a:pt x="136" y="21"/>
                  </a:moveTo>
                  <a:cubicBezTo>
                    <a:pt x="24" y="120"/>
                    <a:pt x="24" y="120"/>
                    <a:pt x="24" y="120"/>
                  </a:cubicBezTo>
                  <a:cubicBezTo>
                    <a:pt x="0" y="93"/>
                    <a:pt x="0" y="93"/>
                    <a:pt x="0" y="93"/>
                  </a:cubicBezTo>
                  <a:cubicBezTo>
                    <a:pt x="98" y="7"/>
                    <a:pt x="98" y="7"/>
                    <a:pt x="98" y="7"/>
                  </a:cubicBezTo>
                  <a:cubicBezTo>
                    <a:pt x="106" y="0"/>
                    <a:pt x="118" y="1"/>
                    <a:pt x="125" y="9"/>
                  </a:cubicBezTo>
                  <a:lnTo>
                    <a:pt x="136" y="21"/>
                  </a:lnTo>
                  <a:close/>
                </a:path>
              </a:pathLst>
            </a:custGeom>
            <a:solidFill>
              <a:srgbClr val="D0598C"/>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93" name="Freeform 34">
              <a:extLst>
                <a:ext uri="{FF2B5EF4-FFF2-40B4-BE49-F238E27FC236}">
                  <a16:creationId xmlns:a16="http://schemas.microsoft.com/office/drawing/2014/main" id="{F81788D2-49B8-4323-8861-4201F95F9943}"/>
                </a:ext>
              </a:extLst>
            </p:cNvPr>
            <p:cNvSpPr>
              <a:spLocks/>
            </p:cNvSpPr>
            <p:nvPr/>
          </p:nvSpPr>
          <p:spPr bwMode="auto">
            <a:xfrm>
              <a:off x="5942806" y="3139281"/>
              <a:ext cx="463550" cy="477838"/>
            </a:xfrm>
            <a:custGeom>
              <a:avLst/>
              <a:gdLst>
                <a:gd name="T0" fmla="*/ 124 w 292"/>
                <a:gd name="T1" fmla="*/ 0 h 301"/>
                <a:gd name="T2" fmla="*/ 0 w 292"/>
                <a:gd name="T3" fmla="*/ 110 h 301"/>
                <a:gd name="T4" fmla="*/ 168 w 292"/>
                <a:gd name="T5" fmla="*/ 301 h 301"/>
                <a:gd name="T6" fmla="*/ 292 w 292"/>
                <a:gd name="T7" fmla="*/ 191 h 301"/>
                <a:gd name="T8" fmla="*/ 124 w 292"/>
                <a:gd name="T9" fmla="*/ 0 h 301"/>
              </a:gdLst>
              <a:ahLst/>
              <a:cxnLst>
                <a:cxn ang="0">
                  <a:pos x="T0" y="T1"/>
                </a:cxn>
                <a:cxn ang="0">
                  <a:pos x="T2" y="T3"/>
                </a:cxn>
                <a:cxn ang="0">
                  <a:pos x="T4" y="T5"/>
                </a:cxn>
                <a:cxn ang="0">
                  <a:pos x="T6" y="T7"/>
                </a:cxn>
                <a:cxn ang="0">
                  <a:pos x="T8" y="T9"/>
                </a:cxn>
              </a:cxnLst>
              <a:rect l="0" t="0" r="r" b="b"/>
              <a:pathLst>
                <a:path w="292" h="301">
                  <a:moveTo>
                    <a:pt x="124" y="0"/>
                  </a:moveTo>
                  <a:lnTo>
                    <a:pt x="0" y="110"/>
                  </a:lnTo>
                  <a:lnTo>
                    <a:pt x="168" y="301"/>
                  </a:lnTo>
                  <a:lnTo>
                    <a:pt x="292" y="191"/>
                  </a:lnTo>
                  <a:lnTo>
                    <a:pt x="124" y="0"/>
                  </a:lnTo>
                  <a:close/>
                </a:path>
              </a:pathLst>
            </a:custGeom>
            <a:solidFill>
              <a:srgbClr val="D86D91"/>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94" name="Freeform 35">
              <a:extLst>
                <a:ext uri="{FF2B5EF4-FFF2-40B4-BE49-F238E27FC236}">
                  <a16:creationId xmlns:a16="http://schemas.microsoft.com/office/drawing/2014/main" id="{CA58A489-DB31-457D-AA16-E4337FD7B472}"/>
                </a:ext>
              </a:extLst>
            </p:cNvPr>
            <p:cNvSpPr>
              <a:spLocks/>
            </p:cNvSpPr>
            <p:nvPr/>
          </p:nvSpPr>
          <p:spPr bwMode="auto">
            <a:xfrm>
              <a:off x="6209506" y="3442494"/>
              <a:ext cx="295275" cy="285750"/>
            </a:xfrm>
            <a:custGeom>
              <a:avLst/>
              <a:gdLst>
                <a:gd name="T0" fmla="*/ 186 w 186"/>
                <a:gd name="T1" fmla="*/ 70 h 180"/>
                <a:gd name="T2" fmla="*/ 61 w 186"/>
                <a:gd name="T3" fmla="*/ 180 h 180"/>
                <a:gd name="T4" fmla="*/ 0 w 186"/>
                <a:gd name="T5" fmla="*/ 110 h 180"/>
                <a:gd name="T6" fmla="*/ 124 w 186"/>
                <a:gd name="T7" fmla="*/ 0 h 180"/>
                <a:gd name="T8" fmla="*/ 186 w 186"/>
                <a:gd name="T9" fmla="*/ 70 h 180"/>
              </a:gdLst>
              <a:ahLst/>
              <a:cxnLst>
                <a:cxn ang="0">
                  <a:pos x="T0" y="T1"/>
                </a:cxn>
                <a:cxn ang="0">
                  <a:pos x="T2" y="T3"/>
                </a:cxn>
                <a:cxn ang="0">
                  <a:pos x="T4" y="T5"/>
                </a:cxn>
                <a:cxn ang="0">
                  <a:pos x="T6" y="T7"/>
                </a:cxn>
                <a:cxn ang="0">
                  <a:pos x="T8" y="T9"/>
                </a:cxn>
              </a:cxnLst>
              <a:rect l="0" t="0" r="r" b="b"/>
              <a:pathLst>
                <a:path w="186" h="180">
                  <a:moveTo>
                    <a:pt x="186" y="70"/>
                  </a:moveTo>
                  <a:lnTo>
                    <a:pt x="61" y="180"/>
                  </a:lnTo>
                  <a:lnTo>
                    <a:pt x="0" y="110"/>
                  </a:lnTo>
                  <a:lnTo>
                    <a:pt x="124" y="0"/>
                  </a:lnTo>
                  <a:lnTo>
                    <a:pt x="186" y="70"/>
                  </a:lnTo>
                  <a:close/>
                </a:path>
              </a:pathLst>
            </a:custGeom>
            <a:solidFill>
              <a:srgbClr val="437BBF"/>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95" name="Freeform 36">
              <a:extLst>
                <a:ext uri="{FF2B5EF4-FFF2-40B4-BE49-F238E27FC236}">
                  <a16:creationId xmlns:a16="http://schemas.microsoft.com/office/drawing/2014/main" id="{49566EAC-941E-4175-AD9D-4752B6A39AEB}"/>
                </a:ext>
              </a:extLst>
            </p:cNvPr>
            <p:cNvSpPr>
              <a:spLocks noEditPoints="1"/>
            </p:cNvSpPr>
            <p:nvPr/>
          </p:nvSpPr>
          <p:spPr bwMode="auto">
            <a:xfrm>
              <a:off x="4239419" y="4534694"/>
              <a:ext cx="3562350" cy="585788"/>
            </a:xfrm>
            <a:custGeom>
              <a:avLst/>
              <a:gdLst>
                <a:gd name="T0" fmla="*/ 1970 w 2020"/>
                <a:gd name="T1" fmla="*/ 0 h 332"/>
                <a:gd name="T2" fmla="*/ 0 w 2020"/>
                <a:gd name="T3" fmla="*/ 0 h 332"/>
                <a:gd name="T4" fmla="*/ 0 w 2020"/>
                <a:gd name="T5" fmla="*/ 332 h 332"/>
                <a:gd name="T6" fmla="*/ 1970 w 2020"/>
                <a:gd name="T7" fmla="*/ 332 h 332"/>
                <a:gd name="T8" fmla="*/ 2020 w 2020"/>
                <a:gd name="T9" fmla="*/ 166 h 332"/>
                <a:gd name="T10" fmla="*/ 1970 w 2020"/>
                <a:gd name="T11" fmla="*/ 0 h 332"/>
                <a:gd name="T12" fmla="*/ 1879 w 2020"/>
                <a:gd name="T13" fmla="*/ 226 h 332"/>
                <a:gd name="T14" fmla="*/ 1819 w 2020"/>
                <a:gd name="T15" fmla="*/ 166 h 332"/>
                <a:gd name="T16" fmla="*/ 1879 w 2020"/>
                <a:gd name="T17" fmla="*/ 106 h 332"/>
                <a:gd name="T18" fmla="*/ 1939 w 2020"/>
                <a:gd name="T19" fmla="*/ 166 h 332"/>
                <a:gd name="T20" fmla="*/ 1879 w 2020"/>
                <a:gd name="T21" fmla="*/ 226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20" h="332">
                  <a:moveTo>
                    <a:pt x="1970" y="0"/>
                  </a:moveTo>
                  <a:cubicBezTo>
                    <a:pt x="0" y="0"/>
                    <a:pt x="0" y="0"/>
                    <a:pt x="0" y="0"/>
                  </a:cubicBezTo>
                  <a:cubicBezTo>
                    <a:pt x="0" y="332"/>
                    <a:pt x="0" y="332"/>
                    <a:pt x="0" y="332"/>
                  </a:cubicBezTo>
                  <a:cubicBezTo>
                    <a:pt x="1970" y="332"/>
                    <a:pt x="1970" y="332"/>
                    <a:pt x="1970" y="332"/>
                  </a:cubicBezTo>
                  <a:cubicBezTo>
                    <a:pt x="1997" y="332"/>
                    <a:pt x="2020" y="258"/>
                    <a:pt x="2020" y="166"/>
                  </a:cubicBezTo>
                  <a:cubicBezTo>
                    <a:pt x="2020" y="75"/>
                    <a:pt x="1997" y="0"/>
                    <a:pt x="1970" y="0"/>
                  </a:cubicBezTo>
                  <a:close/>
                  <a:moveTo>
                    <a:pt x="1879" y="226"/>
                  </a:moveTo>
                  <a:cubicBezTo>
                    <a:pt x="1846" y="226"/>
                    <a:pt x="1819" y="199"/>
                    <a:pt x="1819" y="166"/>
                  </a:cubicBezTo>
                  <a:cubicBezTo>
                    <a:pt x="1819" y="133"/>
                    <a:pt x="1846" y="106"/>
                    <a:pt x="1879" y="106"/>
                  </a:cubicBezTo>
                  <a:cubicBezTo>
                    <a:pt x="1912" y="106"/>
                    <a:pt x="1939" y="133"/>
                    <a:pt x="1939" y="166"/>
                  </a:cubicBezTo>
                  <a:cubicBezTo>
                    <a:pt x="1939" y="199"/>
                    <a:pt x="1912" y="226"/>
                    <a:pt x="1879" y="226"/>
                  </a:cubicBezTo>
                  <a:close/>
                </a:path>
              </a:pathLst>
            </a:custGeom>
            <a:solidFill>
              <a:srgbClr val="424242">
                <a:alpha val="20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96" name="Freeform 37">
              <a:extLst>
                <a:ext uri="{FF2B5EF4-FFF2-40B4-BE49-F238E27FC236}">
                  <a16:creationId xmlns:a16="http://schemas.microsoft.com/office/drawing/2014/main" id="{6B1F44A6-C845-40A0-9CA2-3CE8716C0C35}"/>
                </a:ext>
              </a:extLst>
            </p:cNvPr>
            <p:cNvSpPr>
              <a:spLocks noEditPoints="1"/>
            </p:cNvSpPr>
            <p:nvPr/>
          </p:nvSpPr>
          <p:spPr bwMode="auto">
            <a:xfrm>
              <a:off x="4274344" y="4479131"/>
              <a:ext cx="3562350" cy="585788"/>
            </a:xfrm>
            <a:custGeom>
              <a:avLst/>
              <a:gdLst>
                <a:gd name="T0" fmla="*/ 1970 w 2020"/>
                <a:gd name="T1" fmla="*/ 0 h 332"/>
                <a:gd name="T2" fmla="*/ 0 w 2020"/>
                <a:gd name="T3" fmla="*/ 0 h 332"/>
                <a:gd name="T4" fmla="*/ 0 w 2020"/>
                <a:gd name="T5" fmla="*/ 332 h 332"/>
                <a:gd name="T6" fmla="*/ 1970 w 2020"/>
                <a:gd name="T7" fmla="*/ 332 h 332"/>
                <a:gd name="T8" fmla="*/ 2020 w 2020"/>
                <a:gd name="T9" fmla="*/ 166 h 332"/>
                <a:gd name="T10" fmla="*/ 1970 w 2020"/>
                <a:gd name="T11" fmla="*/ 0 h 332"/>
                <a:gd name="T12" fmla="*/ 1879 w 2020"/>
                <a:gd name="T13" fmla="*/ 226 h 332"/>
                <a:gd name="T14" fmla="*/ 1819 w 2020"/>
                <a:gd name="T15" fmla="*/ 166 h 332"/>
                <a:gd name="T16" fmla="*/ 1879 w 2020"/>
                <a:gd name="T17" fmla="*/ 106 h 332"/>
                <a:gd name="T18" fmla="*/ 1939 w 2020"/>
                <a:gd name="T19" fmla="*/ 166 h 332"/>
                <a:gd name="T20" fmla="*/ 1879 w 2020"/>
                <a:gd name="T21" fmla="*/ 226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20" h="332">
                  <a:moveTo>
                    <a:pt x="1970" y="0"/>
                  </a:moveTo>
                  <a:cubicBezTo>
                    <a:pt x="0" y="0"/>
                    <a:pt x="0" y="0"/>
                    <a:pt x="0" y="0"/>
                  </a:cubicBezTo>
                  <a:cubicBezTo>
                    <a:pt x="0" y="332"/>
                    <a:pt x="0" y="332"/>
                    <a:pt x="0" y="332"/>
                  </a:cubicBezTo>
                  <a:cubicBezTo>
                    <a:pt x="1970" y="332"/>
                    <a:pt x="1970" y="332"/>
                    <a:pt x="1970" y="332"/>
                  </a:cubicBezTo>
                  <a:cubicBezTo>
                    <a:pt x="1997" y="332"/>
                    <a:pt x="2020" y="258"/>
                    <a:pt x="2020" y="166"/>
                  </a:cubicBezTo>
                  <a:cubicBezTo>
                    <a:pt x="2020" y="75"/>
                    <a:pt x="1997" y="0"/>
                    <a:pt x="1970" y="0"/>
                  </a:cubicBezTo>
                  <a:close/>
                  <a:moveTo>
                    <a:pt x="1879" y="226"/>
                  </a:moveTo>
                  <a:cubicBezTo>
                    <a:pt x="1846" y="226"/>
                    <a:pt x="1819" y="199"/>
                    <a:pt x="1819" y="166"/>
                  </a:cubicBezTo>
                  <a:cubicBezTo>
                    <a:pt x="1819" y="133"/>
                    <a:pt x="1846" y="106"/>
                    <a:pt x="1879" y="106"/>
                  </a:cubicBezTo>
                  <a:cubicBezTo>
                    <a:pt x="1912" y="106"/>
                    <a:pt x="1939" y="133"/>
                    <a:pt x="1939" y="166"/>
                  </a:cubicBezTo>
                  <a:cubicBezTo>
                    <a:pt x="1939" y="199"/>
                    <a:pt x="1912" y="226"/>
                    <a:pt x="1879" y="226"/>
                  </a:cubicBezTo>
                  <a:close/>
                </a:path>
              </a:pathLst>
            </a:custGeom>
            <a:solidFill>
              <a:srgbClr val="00B3E7"/>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97" name="Freeform 38">
              <a:extLst>
                <a:ext uri="{FF2B5EF4-FFF2-40B4-BE49-F238E27FC236}">
                  <a16:creationId xmlns:a16="http://schemas.microsoft.com/office/drawing/2014/main" id="{E486D492-7E22-41C3-B698-65C56A1190FD}"/>
                </a:ext>
              </a:extLst>
            </p:cNvPr>
            <p:cNvSpPr>
              <a:spLocks/>
            </p:cNvSpPr>
            <p:nvPr/>
          </p:nvSpPr>
          <p:spPr bwMode="auto">
            <a:xfrm>
              <a:off x="4274344" y="4771231"/>
              <a:ext cx="3562350" cy="293688"/>
            </a:xfrm>
            <a:custGeom>
              <a:avLst/>
              <a:gdLst>
                <a:gd name="T0" fmla="*/ 1939 w 2020"/>
                <a:gd name="T1" fmla="*/ 0 h 166"/>
                <a:gd name="T2" fmla="*/ 1879 w 2020"/>
                <a:gd name="T3" fmla="*/ 60 h 166"/>
                <a:gd name="T4" fmla="*/ 1819 w 2020"/>
                <a:gd name="T5" fmla="*/ 0 h 166"/>
                <a:gd name="T6" fmla="*/ 0 w 2020"/>
                <a:gd name="T7" fmla="*/ 0 h 166"/>
                <a:gd name="T8" fmla="*/ 0 w 2020"/>
                <a:gd name="T9" fmla="*/ 166 h 166"/>
                <a:gd name="T10" fmla="*/ 1970 w 2020"/>
                <a:gd name="T11" fmla="*/ 166 h 166"/>
                <a:gd name="T12" fmla="*/ 2020 w 2020"/>
                <a:gd name="T13" fmla="*/ 0 h 166"/>
                <a:gd name="T14" fmla="*/ 1939 w 2020"/>
                <a:gd name="T15" fmla="*/ 0 h 1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20" h="166">
                  <a:moveTo>
                    <a:pt x="1939" y="0"/>
                  </a:moveTo>
                  <a:cubicBezTo>
                    <a:pt x="1939" y="33"/>
                    <a:pt x="1912" y="60"/>
                    <a:pt x="1879" y="60"/>
                  </a:cubicBezTo>
                  <a:cubicBezTo>
                    <a:pt x="1846" y="60"/>
                    <a:pt x="1819" y="33"/>
                    <a:pt x="1819" y="0"/>
                  </a:cubicBezTo>
                  <a:cubicBezTo>
                    <a:pt x="0" y="0"/>
                    <a:pt x="0" y="0"/>
                    <a:pt x="0" y="0"/>
                  </a:cubicBezTo>
                  <a:cubicBezTo>
                    <a:pt x="0" y="166"/>
                    <a:pt x="0" y="166"/>
                    <a:pt x="0" y="166"/>
                  </a:cubicBezTo>
                  <a:cubicBezTo>
                    <a:pt x="1970" y="166"/>
                    <a:pt x="1970" y="166"/>
                    <a:pt x="1970" y="166"/>
                  </a:cubicBezTo>
                  <a:cubicBezTo>
                    <a:pt x="1997" y="166"/>
                    <a:pt x="2020" y="92"/>
                    <a:pt x="2020" y="0"/>
                  </a:cubicBezTo>
                  <a:lnTo>
                    <a:pt x="1939" y="0"/>
                  </a:lnTo>
                  <a:close/>
                </a:path>
              </a:pathLst>
            </a:custGeom>
            <a:solidFill>
              <a:srgbClr val="316296"/>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98" name="Freeform 39">
              <a:extLst>
                <a:ext uri="{FF2B5EF4-FFF2-40B4-BE49-F238E27FC236}">
                  <a16:creationId xmlns:a16="http://schemas.microsoft.com/office/drawing/2014/main" id="{08C5A58C-A871-46FA-96FB-2787AB226773}"/>
                </a:ext>
              </a:extLst>
            </p:cNvPr>
            <p:cNvSpPr>
              <a:spLocks/>
            </p:cNvSpPr>
            <p:nvPr/>
          </p:nvSpPr>
          <p:spPr bwMode="auto">
            <a:xfrm>
              <a:off x="4506119" y="4152106"/>
              <a:ext cx="1322388" cy="1589088"/>
            </a:xfrm>
            <a:custGeom>
              <a:avLst/>
              <a:gdLst>
                <a:gd name="T0" fmla="*/ 141 w 750"/>
                <a:gd name="T1" fmla="*/ 87 h 901"/>
                <a:gd name="T2" fmla="*/ 35 w 750"/>
                <a:gd name="T3" fmla="*/ 20 h 901"/>
                <a:gd name="T4" fmla="*/ 35 w 750"/>
                <a:gd name="T5" fmla="*/ 20 h 901"/>
                <a:gd name="T6" fmla="*/ 6 w 750"/>
                <a:gd name="T7" fmla="*/ 1 h 901"/>
                <a:gd name="T8" fmla="*/ 2 w 750"/>
                <a:gd name="T9" fmla="*/ 5 h 901"/>
                <a:gd name="T10" fmla="*/ 62 w 750"/>
                <a:gd name="T11" fmla="*/ 151 h 901"/>
                <a:gd name="T12" fmla="*/ 671 w 750"/>
                <a:gd name="T13" fmla="*/ 901 h 901"/>
                <a:gd name="T14" fmla="*/ 750 w 750"/>
                <a:gd name="T15" fmla="*/ 837 h 901"/>
                <a:gd name="T16" fmla="*/ 141 w 750"/>
                <a:gd name="T17" fmla="*/ 87 h 9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0" h="901">
                  <a:moveTo>
                    <a:pt x="141" y="87"/>
                  </a:moveTo>
                  <a:cubicBezTo>
                    <a:pt x="35" y="20"/>
                    <a:pt x="35" y="20"/>
                    <a:pt x="35" y="20"/>
                  </a:cubicBezTo>
                  <a:cubicBezTo>
                    <a:pt x="35" y="20"/>
                    <a:pt x="35" y="20"/>
                    <a:pt x="35" y="20"/>
                  </a:cubicBezTo>
                  <a:cubicBezTo>
                    <a:pt x="6" y="1"/>
                    <a:pt x="6" y="1"/>
                    <a:pt x="6" y="1"/>
                  </a:cubicBezTo>
                  <a:cubicBezTo>
                    <a:pt x="4" y="0"/>
                    <a:pt x="0" y="2"/>
                    <a:pt x="2" y="5"/>
                  </a:cubicBezTo>
                  <a:cubicBezTo>
                    <a:pt x="62" y="151"/>
                    <a:pt x="62" y="151"/>
                    <a:pt x="62" y="151"/>
                  </a:cubicBezTo>
                  <a:cubicBezTo>
                    <a:pt x="671" y="901"/>
                    <a:pt x="671" y="901"/>
                    <a:pt x="671" y="901"/>
                  </a:cubicBezTo>
                  <a:cubicBezTo>
                    <a:pt x="750" y="837"/>
                    <a:pt x="750" y="837"/>
                    <a:pt x="750" y="837"/>
                  </a:cubicBezTo>
                  <a:lnTo>
                    <a:pt x="141" y="87"/>
                  </a:lnTo>
                  <a:close/>
                </a:path>
              </a:pathLst>
            </a:custGeom>
            <a:solidFill>
              <a:srgbClr val="424242">
                <a:alpha val="20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99" name="Freeform 40">
              <a:extLst>
                <a:ext uri="{FF2B5EF4-FFF2-40B4-BE49-F238E27FC236}">
                  <a16:creationId xmlns:a16="http://schemas.microsoft.com/office/drawing/2014/main" id="{1F564433-2FE1-4F6D-9F25-CC167FF79846}"/>
                </a:ext>
              </a:extLst>
            </p:cNvPr>
            <p:cNvSpPr>
              <a:spLocks/>
            </p:cNvSpPr>
            <p:nvPr/>
          </p:nvSpPr>
          <p:spPr bwMode="auto">
            <a:xfrm>
              <a:off x="4615656" y="4256881"/>
              <a:ext cx="1212850" cy="1435100"/>
            </a:xfrm>
            <a:custGeom>
              <a:avLst/>
              <a:gdLst>
                <a:gd name="T0" fmla="*/ 764 w 764"/>
                <a:gd name="T1" fmla="*/ 833 h 904"/>
                <a:gd name="T2" fmla="*/ 676 w 764"/>
                <a:gd name="T3" fmla="*/ 904 h 904"/>
                <a:gd name="T4" fmla="*/ 0 w 764"/>
                <a:gd name="T5" fmla="*/ 71 h 904"/>
                <a:gd name="T6" fmla="*/ 87 w 764"/>
                <a:gd name="T7" fmla="*/ 0 h 904"/>
                <a:gd name="T8" fmla="*/ 764 w 764"/>
                <a:gd name="T9" fmla="*/ 833 h 904"/>
              </a:gdLst>
              <a:ahLst/>
              <a:cxnLst>
                <a:cxn ang="0">
                  <a:pos x="T0" y="T1"/>
                </a:cxn>
                <a:cxn ang="0">
                  <a:pos x="T2" y="T3"/>
                </a:cxn>
                <a:cxn ang="0">
                  <a:pos x="T4" y="T5"/>
                </a:cxn>
                <a:cxn ang="0">
                  <a:pos x="T6" y="T7"/>
                </a:cxn>
                <a:cxn ang="0">
                  <a:pos x="T8" y="T9"/>
                </a:cxn>
              </a:cxnLst>
              <a:rect l="0" t="0" r="r" b="b"/>
              <a:pathLst>
                <a:path w="764" h="904">
                  <a:moveTo>
                    <a:pt x="764" y="833"/>
                  </a:moveTo>
                  <a:lnTo>
                    <a:pt x="676" y="904"/>
                  </a:lnTo>
                  <a:lnTo>
                    <a:pt x="0" y="71"/>
                  </a:lnTo>
                  <a:lnTo>
                    <a:pt x="87" y="0"/>
                  </a:lnTo>
                  <a:lnTo>
                    <a:pt x="764" y="833"/>
                  </a:lnTo>
                  <a:close/>
                </a:path>
              </a:pathLst>
            </a:custGeom>
            <a:solidFill>
              <a:srgbClr val="3D5D91"/>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00" name="Freeform 41">
              <a:extLst>
                <a:ext uri="{FF2B5EF4-FFF2-40B4-BE49-F238E27FC236}">
                  <a16:creationId xmlns:a16="http://schemas.microsoft.com/office/drawing/2014/main" id="{E4001DB8-CB17-4A5B-A72B-1D4CFD94FC3E}"/>
                </a:ext>
              </a:extLst>
            </p:cNvPr>
            <p:cNvSpPr>
              <a:spLocks/>
            </p:cNvSpPr>
            <p:nvPr/>
          </p:nvSpPr>
          <p:spPr bwMode="auto">
            <a:xfrm>
              <a:off x="4656931" y="4291806"/>
              <a:ext cx="1127125" cy="1365250"/>
            </a:xfrm>
            <a:custGeom>
              <a:avLst/>
              <a:gdLst>
                <a:gd name="T0" fmla="*/ 710 w 710"/>
                <a:gd name="T1" fmla="*/ 833 h 860"/>
                <a:gd name="T2" fmla="*/ 677 w 710"/>
                <a:gd name="T3" fmla="*/ 860 h 860"/>
                <a:gd name="T4" fmla="*/ 0 w 710"/>
                <a:gd name="T5" fmla="*/ 27 h 860"/>
                <a:gd name="T6" fmla="*/ 34 w 710"/>
                <a:gd name="T7" fmla="*/ 0 h 860"/>
                <a:gd name="T8" fmla="*/ 710 w 710"/>
                <a:gd name="T9" fmla="*/ 833 h 860"/>
              </a:gdLst>
              <a:ahLst/>
              <a:cxnLst>
                <a:cxn ang="0">
                  <a:pos x="T0" y="T1"/>
                </a:cxn>
                <a:cxn ang="0">
                  <a:pos x="T2" y="T3"/>
                </a:cxn>
                <a:cxn ang="0">
                  <a:pos x="T4" y="T5"/>
                </a:cxn>
                <a:cxn ang="0">
                  <a:pos x="T6" y="T7"/>
                </a:cxn>
                <a:cxn ang="0">
                  <a:pos x="T8" y="T9"/>
                </a:cxn>
              </a:cxnLst>
              <a:rect l="0" t="0" r="r" b="b"/>
              <a:pathLst>
                <a:path w="710" h="860">
                  <a:moveTo>
                    <a:pt x="710" y="833"/>
                  </a:moveTo>
                  <a:lnTo>
                    <a:pt x="677" y="860"/>
                  </a:lnTo>
                  <a:lnTo>
                    <a:pt x="0" y="27"/>
                  </a:lnTo>
                  <a:lnTo>
                    <a:pt x="34" y="0"/>
                  </a:lnTo>
                  <a:lnTo>
                    <a:pt x="710" y="833"/>
                  </a:lnTo>
                  <a:close/>
                </a:path>
              </a:pathLst>
            </a:custGeom>
            <a:solidFill>
              <a:srgbClr val="00B3E7"/>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01" name="Freeform 42">
              <a:extLst>
                <a:ext uri="{FF2B5EF4-FFF2-40B4-BE49-F238E27FC236}">
                  <a16:creationId xmlns:a16="http://schemas.microsoft.com/office/drawing/2014/main" id="{22DCBAC0-C25A-4759-9586-BED7106269DC}"/>
                </a:ext>
              </a:extLst>
            </p:cNvPr>
            <p:cNvSpPr>
              <a:spLocks/>
            </p:cNvSpPr>
            <p:nvPr/>
          </p:nvSpPr>
          <p:spPr bwMode="auto">
            <a:xfrm>
              <a:off x="4506119" y="4102894"/>
              <a:ext cx="247650" cy="266700"/>
            </a:xfrm>
            <a:custGeom>
              <a:avLst/>
              <a:gdLst>
                <a:gd name="T0" fmla="*/ 2 w 141"/>
                <a:gd name="T1" fmla="*/ 5 h 151"/>
                <a:gd name="T2" fmla="*/ 62 w 141"/>
                <a:gd name="T3" fmla="*/ 151 h 151"/>
                <a:gd name="T4" fmla="*/ 141 w 141"/>
                <a:gd name="T5" fmla="*/ 87 h 151"/>
                <a:gd name="T6" fmla="*/ 6 w 141"/>
                <a:gd name="T7" fmla="*/ 1 h 151"/>
                <a:gd name="T8" fmla="*/ 2 w 141"/>
                <a:gd name="T9" fmla="*/ 5 h 151"/>
              </a:gdLst>
              <a:ahLst/>
              <a:cxnLst>
                <a:cxn ang="0">
                  <a:pos x="T0" y="T1"/>
                </a:cxn>
                <a:cxn ang="0">
                  <a:pos x="T2" y="T3"/>
                </a:cxn>
                <a:cxn ang="0">
                  <a:pos x="T4" y="T5"/>
                </a:cxn>
                <a:cxn ang="0">
                  <a:pos x="T6" y="T7"/>
                </a:cxn>
                <a:cxn ang="0">
                  <a:pos x="T8" y="T9"/>
                </a:cxn>
              </a:cxnLst>
              <a:rect l="0" t="0" r="r" b="b"/>
              <a:pathLst>
                <a:path w="141" h="151">
                  <a:moveTo>
                    <a:pt x="2" y="5"/>
                  </a:moveTo>
                  <a:cubicBezTo>
                    <a:pt x="62" y="151"/>
                    <a:pt x="62" y="151"/>
                    <a:pt x="62" y="151"/>
                  </a:cubicBezTo>
                  <a:cubicBezTo>
                    <a:pt x="141" y="87"/>
                    <a:pt x="141" y="87"/>
                    <a:pt x="141" y="87"/>
                  </a:cubicBezTo>
                  <a:cubicBezTo>
                    <a:pt x="6" y="1"/>
                    <a:pt x="6" y="1"/>
                    <a:pt x="6" y="1"/>
                  </a:cubicBezTo>
                  <a:cubicBezTo>
                    <a:pt x="4" y="0"/>
                    <a:pt x="0" y="2"/>
                    <a:pt x="2" y="5"/>
                  </a:cubicBezTo>
                  <a:close/>
                </a:path>
              </a:pathLst>
            </a:custGeom>
            <a:solidFill>
              <a:srgbClr val="D37187"/>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02" name="Freeform 43">
              <a:extLst>
                <a:ext uri="{FF2B5EF4-FFF2-40B4-BE49-F238E27FC236}">
                  <a16:creationId xmlns:a16="http://schemas.microsoft.com/office/drawing/2014/main" id="{1E50C827-9D70-4CB1-B4E3-6EC819A25410}"/>
                </a:ext>
              </a:extLst>
            </p:cNvPr>
            <p:cNvSpPr>
              <a:spLocks/>
            </p:cNvSpPr>
            <p:nvPr/>
          </p:nvSpPr>
          <p:spPr bwMode="auto">
            <a:xfrm>
              <a:off x="4506119" y="4102894"/>
              <a:ext cx="61913" cy="66675"/>
            </a:xfrm>
            <a:custGeom>
              <a:avLst/>
              <a:gdLst>
                <a:gd name="T0" fmla="*/ 35 w 35"/>
                <a:gd name="T1" fmla="*/ 20 h 38"/>
                <a:gd name="T2" fmla="*/ 6 w 35"/>
                <a:gd name="T3" fmla="*/ 1 h 38"/>
                <a:gd name="T4" fmla="*/ 2 w 35"/>
                <a:gd name="T5" fmla="*/ 5 h 38"/>
                <a:gd name="T6" fmla="*/ 15 w 35"/>
                <a:gd name="T7" fmla="*/ 38 h 38"/>
                <a:gd name="T8" fmla="*/ 35 w 35"/>
                <a:gd name="T9" fmla="*/ 20 h 38"/>
              </a:gdLst>
              <a:ahLst/>
              <a:cxnLst>
                <a:cxn ang="0">
                  <a:pos x="T0" y="T1"/>
                </a:cxn>
                <a:cxn ang="0">
                  <a:pos x="T2" y="T3"/>
                </a:cxn>
                <a:cxn ang="0">
                  <a:pos x="T4" y="T5"/>
                </a:cxn>
                <a:cxn ang="0">
                  <a:pos x="T6" y="T7"/>
                </a:cxn>
                <a:cxn ang="0">
                  <a:pos x="T8" y="T9"/>
                </a:cxn>
              </a:cxnLst>
              <a:rect l="0" t="0" r="r" b="b"/>
              <a:pathLst>
                <a:path w="35" h="38">
                  <a:moveTo>
                    <a:pt x="35" y="20"/>
                  </a:moveTo>
                  <a:cubicBezTo>
                    <a:pt x="6" y="1"/>
                    <a:pt x="6" y="1"/>
                    <a:pt x="6" y="1"/>
                  </a:cubicBezTo>
                  <a:cubicBezTo>
                    <a:pt x="4" y="0"/>
                    <a:pt x="0" y="2"/>
                    <a:pt x="2" y="5"/>
                  </a:cubicBezTo>
                  <a:cubicBezTo>
                    <a:pt x="15" y="38"/>
                    <a:pt x="15" y="38"/>
                    <a:pt x="15" y="38"/>
                  </a:cubicBezTo>
                  <a:lnTo>
                    <a:pt x="35" y="20"/>
                  </a:lnTo>
                  <a:close/>
                </a:path>
              </a:pathLst>
            </a:custGeom>
            <a:solidFill>
              <a:srgbClr val="3D5D91"/>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03" name="Freeform 44">
              <a:extLst>
                <a:ext uri="{FF2B5EF4-FFF2-40B4-BE49-F238E27FC236}">
                  <a16:creationId xmlns:a16="http://schemas.microsoft.com/office/drawing/2014/main" id="{D8F0EA15-5FF0-42C9-89EE-75E75518CA9C}"/>
                </a:ext>
              </a:extLst>
            </p:cNvPr>
            <p:cNvSpPr>
              <a:spLocks/>
            </p:cNvSpPr>
            <p:nvPr/>
          </p:nvSpPr>
          <p:spPr bwMode="auto">
            <a:xfrm>
              <a:off x="6315869" y="3950494"/>
              <a:ext cx="604838" cy="1592263"/>
            </a:xfrm>
            <a:custGeom>
              <a:avLst/>
              <a:gdLst>
                <a:gd name="T0" fmla="*/ 285 w 343"/>
                <a:gd name="T1" fmla="*/ 14 h 903"/>
                <a:gd name="T2" fmla="*/ 252 w 343"/>
                <a:gd name="T3" fmla="*/ 129 h 903"/>
                <a:gd name="T4" fmla="*/ 292 w 343"/>
                <a:gd name="T5" fmla="*/ 141 h 903"/>
                <a:gd name="T6" fmla="*/ 330 w 343"/>
                <a:gd name="T7" fmla="*/ 221 h 903"/>
                <a:gd name="T8" fmla="*/ 75 w 343"/>
                <a:gd name="T9" fmla="*/ 865 h 903"/>
                <a:gd name="T10" fmla="*/ 16 w 343"/>
                <a:gd name="T11" fmla="*/ 900 h 903"/>
                <a:gd name="T12" fmla="*/ 0 w 343"/>
                <a:gd name="T13" fmla="*/ 898 h 903"/>
                <a:gd name="T14" fmla="*/ 224 w 343"/>
                <a:gd name="T15" fmla="*/ 0 h 903"/>
                <a:gd name="T16" fmla="*/ 285 w 343"/>
                <a:gd name="T17" fmla="*/ 14 h 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3" h="903">
                  <a:moveTo>
                    <a:pt x="285" y="14"/>
                  </a:moveTo>
                  <a:cubicBezTo>
                    <a:pt x="252" y="129"/>
                    <a:pt x="252" y="129"/>
                    <a:pt x="252" y="129"/>
                  </a:cubicBezTo>
                  <a:cubicBezTo>
                    <a:pt x="292" y="141"/>
                    <a:pt x="292" y="141"/>
                    <a:pt x="292" y="141"/>
                  </a:cubicBezTo>
                  <a:cubicBezTo>
                    <a:pt x="326" y="152"/>
                    <a:pt x="343" y="188"/>
                    <a:pt x="330" y="221"/>
                  </a:cubicBezTo>
                  <a:cubicBezTo>
                    <a:pt x="75" y="865"/>
                    <a:pt x="75" y="865"/>
                    <a:pt x="75" y="865"/>
                  </a:cubicBezTo>
                  <a:cubicBezTo>
                    <a:pt x="65" y="889"/>
                    <a:pt x="41" y="903"/>
                    <a:pt x="16" y="900"/>
                  </a:cubicBezTo>
                  <a:cubicBezTo>
                    <a:pt x="0" y="898"/>
                    <a:pt x="0" y="898"/>
                    <a:pt x="0" y="898"/>
                  </a:cubicBezTo>
                  <a:cubicBezTo>
                    <a:pt x="224" y="0"/>
                    <a:pt x="224" y="0"/>
                    <a:pt x="224" y="0"/>
                  </a:cubicBezTo>
                  <a:lnTo>
                    <a:pt x="285" y="14"/>
                  </a:lnTo>
                  <a:close/>
                </a:path>
              </a:pathLst>
            </a:custGeom>
            <a:solidFill>
              <a:srgbClr val="424242">
                <a:alpha val="20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04" name="Freeform 45">
              <a:extLst>
                <a:ext uri="{FF2B5EF4-FFF2-40B4-BE49-F238E27FC236}">
                  <a16:creationId xmlns:a16="http://schemas.microsoft.com/office/drawing/2014/main" id="{77EA6594-E603-4A5A-841E-EA66DFAC6383}"/>
                </a:ext>
              </a:extLst>
            </p:cNvPr>
            <p:cNvSpPr>
              <a:spLocks noEditPoints="1"/>
            </p:cNvSpPr>
            <p:nvPr/>
          </p:nvSpPr>
          <p:spPr bwMode="auto">
            <a:xfrm>
              <a:off x="6611144" y="3237706"/>
              <a:ext cx="538163" cy="747713"/>
            </a:xfrm>
            <a:custGeom>
              <a:avLst/>
              <a:gdLst>
                <a:gd name="T0" fmla="*/ 305 w 305"/>
                <a:gd name="T1" fmla="*/ 153 h 424"/>
                <a:gd name="T2" fmla="*/ 152 w 305"/>
                <a:gd name="T3" fmla="*/ 0 h 424"/>
                <a:gd name="T4" fmla="*/ 0 w 305"/>
                <a:gd name="T5" fmla="*/ 153 h 424"/>
                <a:gd name="T6" fmla="*/ 74 w 305"/>
                <a:gd name="T7" fmla="*/ 284 h 424"/>
                <a:gd name="T8" fmla="*/ 50 w 305"/>
                <a:gd name="T9" fmla="*/ 395 h 424"/>
                <a:gd name="T10" fmla="*/ 50 w 305"/>
                <a:gd name="T11" fmla="*/ 395 h 424"/>
                <a:gd name="T12" fmla="*/ 50 w 305"/>
                <a:gd name="T13" fmla="*/ 395 h 424"/>
                <a:gd name="T14" fmla="*/ 88 w 305"/>
                <a:gd name="T15" fmla="*/ 419 h 424"/>
                <a:gd name="T16" fmla="*/ 132 w 305"/>
                <a:gd name="T17" fmla="*/ 413 h 424"/>
                <a:gd name="T18" fmla="*/ 132 w 305"/>
                <a:gd name="T19" fmla="*/ 413 h 424"/>
                <a:gd name="T20" fmla="*/ 132 w 305"/>
                <a:gd name="T21" fmla="*/ 413 h 424"/>
                <a:gd name="T22" fmla="*/ 156 w 305"/>
                <a:gd name="T23" fmla="*/ 305 h 424"/>
                <a:gd name="T24" fmla="*/ 305 w 305"/>
                <a:gd name="T25" fmla="*/ 153 h 424"/>
                <a:gd name="T26" fmla="*/ 152 w 305"/>
                <a:gd name="T27" fmla="*/ 229 h 424"/>
                <a:gd name="T28" fmla="*/ 76 w 305"/>
                <a:gd name="T29" fmla="*/ 153 h 424"/>
                <a:gd name="T30" fmla="*/ 152 w 305"/>
                <a:gd name="T31" fmla="*/ 77 h 424"/>
                <a:gd name="T32" fmla="*/ 228 w 305"/>
                <a:gd name="T33" fmla="*/ 153 h 424"/>
                <a:gd name="T34" fmla="*/ 152 w 305"/>
                <a:gd name="T35" fmla="*/ 229 h 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5" h="424">
                  <a:moveTo>
                    <a:pt x="305" y="153"/>
                  </a:moveTo>
                  <a:cubicBezTo>
                    <a:pt x="305" y="68"/>
                    <a:pt x="237" y="0"/>
                    <a:pt x="152" y="0"/>
                  </a:cubicBezTo>
                  <a:cubicBezTo>
                    <a:pt x="68" y="0"/>
                    <a:pt x="0" y="68"/>
                    <a:pt x="0" y="153"/>
                  </a:cubicBezTo>
                  <a:cubicBezTo>
                    <a:pt x="0" y="208"/>
                    <a:pt x="30" y="257"/>
                    <a:pt x="74" y="284"/>
                  </a:cubicBezTo>
                  <a:cubicBezTo>
                    <a:pt x="50" y="395"/>
                    <a:pt x="50" y="395"/>
                    <a:pt x="50" y="395"/>
                  </a:cubicBezTo>
                  <a:cubicBezTo>
                    <a:pt x="50" y="395"/>
                    <a:pt x="50" y="395"/>
                    <a:pt x="50" y="395"/>
                  </a:cubicBezTo>
                  <a:cubicBezTo>
                    <a:pt x="50" y="395"/>
                    <a:pt x="50" y="395"/>
                    <a:pt x="50" y="395"/>
                  </a:cubicBezTo>
                  <a:cubicBezTo>
                    <a:pt x="48" y="403"/>
                    <a:pt x="65" y="414"/>
                    <a:pt x="88" y="419"/>
                  </a:cubicBezTo>
                  <a:cubicBezTo>
                    <a:pt x="111" y="424"/>
                    <a:pt x="131" y="421"/>
                    <a:pt x="132" y="413"/>
                  </a:cubicBezTo>
                  <a:cubicBezTo>
                    <a:pt x="132" y="413"/>
                    <a:pt x="132" y="413"/>
                    <a:pt x="132" y="413"/>
                  </a:cubicBezTo>
                  <a:cubicBezTo>
                    <a:pt x="132" y="413"/>
                    <a:pt x="132" y="413"/>
                    <a:pt x="132" y="413"/>
                  </a:cubicBezTo>
                  <a:cubicBezTo>
                    <a:pt x="156" y="305"/>
                    <a:pt x="156" y="305"/>
                    <a:pt x="156" y="305"/>
                  </a:cubicBezTo>
                  <a:cubicBezTo>
                    <a:pt x="239" y="303"/>
                    <a:pt x="305" y="235"/>
                    <a:pt x="305" y="153"/>
                  </a:cubicBezTo>
                  <a:close/>
                  <a:moveTo>
                    <a:pt x="152" y="229"/>
                  </a:moveTo>
                  <a:cubicBezTo>
                    <a:pt x="110" y="229"/>
                    <a:pt x="76" y="195"/>
                    <a:pt x="76" y="153"/>
                  </a:cubicBezTo>
                  <a:cubicBezTo>
                    <a:pt x="76" y="111"/>
                    <a:pt x="110" y="77"/>
                    <a:pt x="152" y="77"/>
                  </a:cubicBezTo>
                  <a:cubicBezTo>
                    <a:pt x="194" y="77"/>
                    <a:pt x="228" y="111"/>
                    <a:pt x="228" y="153"/>
                  </a:cubicBezTo>
                  <a:cubicBezTo>
                    <a:pt x="228" y="195"/>
                    <a:pt x="194" y="229"/>
                    <a:pt x="152" y="229"/>
                  </a:cubicBezTo>
                  <a:close/>
                </a:path>
              </a:pathLst>
            </a:custGeom>
            <a:solidFill>
              <a:srgbClr val="424242">
                <a:alpha val="20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05" name="Freeform 46">
              <a:extLst>
                <a:ext uri="{FF2B5EF4-FFF2-40B4-BE49-F238E27FC236}">
                  <a16:creationId xmlns:a16="http://schemas.microsoft.com/office/drawing/2014/main" id="{8F0B6B25-A18E-4C42-8E05-83A37DFB0800}"/>
                </a:ext>
              </a:extLst>
            </p:cNvPr>
            <p:cNvSpPr>
              <a:spLocks/>
            </p:cNvSpPr>
            <p:nvPr/>
          </p:nvSpPr>
          <p:spPr bwMode="auto">
            <a:xfrm>
              <a:off x="5634831" y="4144169"/>
              <a:ext cx="1497013" cy="842963"/>
            </a:xfrm>
            <a:custGeom>
              <a:avLst/>
              <a:gdLst>
                <a:gd name="T0" fmla="*/ 823 w 849"/>
                <a:gd name="T1" fmla="*/ 22 h 478"/>
                <a:gd name="T2" fmla="*/ 717 w 849"/>
                <a:gd name="T3" fmla="*/ 77 h 478"/>
                <a:gd name="T4" fmla="*/ 697 w 849"/>
                <a:gd name="T5" fmla="*/ 40 h 478"/>
                <a:gd name="T6" fmla="*/ 611 w 849"/>
                <a:gd name="T7" fmla="*/ 19 h 478"/>
                <a:gd name="T8" fmla="*/ 31 w 849"/>
                <a:gd name="T9" fmla="*/ 398 h 478"/>
                <a:gd name="T10" fmla="*/ 9 w 849"/>
                <a:gd name="T11" fmla="*/ 463 h 478"/>
                <a:gd name="T12" fmla="*/ 14 w 849"/>
                <a:gd name="T13" fmla="*/ 478 h 478"/>
                <a:gd name="T14" fmla="*/ 849 w 849"/>
                <a:gd name="T15" fmla="*/ 79 h 478"/>
                <a:gd name="T16" fmla="*/ 823 w 849"/>
                <a:gd name="T17" fmla="*/ 22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9" h="478">
                  <a:moveTo>
                    <a:pt x="823" y="22"/>
                  </a:moveTo>
                  <a:cubicBezTo>
                    <a:pt x="717" y="77"/>
                    <a:pt x="717" y="77"/>
                    <a:pt x="717" y="77"/>
                  </a:cubicBezTo>
                  <a:cubicBezTo>
                    <a:pt x="697" y="40"/>
                    <a:pt x="697" y="40"/>
                    <a:pt x="697" y="40"/>
                  </a:cubicBezTo>
                  <a:cubicBezTo>
                    <a:pt x="680" y="10"/>
                    <a:pt x="641" y="0"/>
                    <a:pt x="611" y="19"/>
                  </a:cubicBezTo>
                  <a:cubicBezTo>
                    <a:pt x="31" y="398"/>
                    <a:pt x="31" y="398"/>
                    <a:pt x="31" y="398"/>
                  </a:cubicBezTo>
                  <a:cubicBezTo>
                    <a:pt x="10" y="412"/>
                    <a:pt x="0" y="438"/>
                    <a:pt x="9" y="463"/>
                  </a:cubicBezTo>
                  <a:cubicBezTo>
                    <a:pt x="14" y="478"/>
                    <a:pt x="14" y="478"/>
                    <a:pt x="14" y="478"/>
                  </a:cubicBezTo>
                  <a:cubicBezTo>
                    <a:pt x="849" y="79"/>
                    <a:pt x="849" y="79"/>
                    <a:pt x="849" y="79"/>
                  </a:cubicBezTo>
                  <a:lnTo>
                    <a:pt x="823" y="22"/>
                  </a:lnTo>
                  <a:close/>
                </a:path>
              </a:pathLst>
            </a:custGeom>
            <a:solidFill>
              <a:srgbClr val="4242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06" name="Oval 47">
              <a:extLst>
                <a:ext uri="{FF2B5EF4-FFF2-40B4-BE49-F238E27FC236}">
                  <a16:creationId xmlns:a16="http://schemas.microsoft.com/office/drawing/2014/main" id="{2160CCCC-85FF-452F-AC1D-A8597035BE3B}"/>
                </a:ext>
              </a:extLst>
            </p:cNvPr>
            <p:cNvSpPr>
              <a:spLocks noChangeArrowheads="1"/>
            </p:cNvSpPr>
            <p:nvPr/>
          </p:nvSpPr>
          <p:spPr bwMode="auto">
            <a:xfrm>
              <a:off x="6711156" y="4255294"/>
              <a:ext cx="119063" cy="119063"/>
            </a:xfrm>
            <a:prstGeom prst="ellipse">
              <a:avLst/>
            </a:prstGeom>
            <a:solidFill>
              <a:srgbClr val="4242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07" name="Freeform 48">
              <a:extLst>
                <a:ext uri="{FF2B5EF4-FFF2-40B4-BE49-F238E27FC236}">
                  <a16:creationId xmlns:a16="http://schemas.microsoft.com/office/drawing/2014/main" id="{B6B82289-1B9C-4B0A-BEB0-047CCADCCB39}"/>
                </a:ext>
              </a:extLst>
            </p:cNvPr>
            <p:cNvSpPr>
              <a:spLocks noEditPoints="1"/>
            </p:cNvSpPr>
            <p:nvPr/>
          </p:nvSpPr>
          <p:spPr bwMode="auto">
            <a:xfrm>
              <a:off x="7079456" y="3734594"/>
              <a:ext cx="762000" cy="603250"/>
            </a:xfrm>
            <a:custGeom>
              <a:avLst/>
              <a:gdLst>
                <a:gd name="T0" fmla="*/ 356 w 432"/>
                <a:gd name="T1" fmla="*/ 291 h 342"/>
                <a:gd name="T2" fmla="*/ 380 w 432"/>
                <a:gd name="T3" fmla="*/ 76 h 342"/>
                <a:gd name="T4" fmla="*/ 166 w 432"/>
                <a:gd name="T5" fmla="*/ 52 h 342"/>
                <a:gd name="T6" fmla="*/ 110 w 432"/>
                <a:gd name="T7" fmla="*/ 192 h 342"/>
                <a:gd name="T8" fmla="*/ 8 w 432"/>
                <a:gd name="T9" fmla="*/ 241 h 342"/>
                <a:gd name="T10" fmla="*/ 8 w 432"/>
                <a:gd name="T11" fmla="*/ 241 h 342"/>
                <a:gd name="T12" fmla="*/ 7 w 432"/>
                <a:gd name="T13" fmla="*/ 242 h 342"/>
                <a:gd name="T14" fmla="*/ 12 w 432"/>
                <a:gd name="T15" fmla="*/ 286 h 342"/>
                <a:gd name="T16" fmla="*/ 44 w 432"/>
                <a:gd name="T17" fmla="*/ 318 h 342"/>
                <a:gd name="T18" fmla="*/ 45 w 432"/>
                <a:gd name="T19" fmla="*/ 317 h 342"/>
                <a:gd name="T20" fmla="*/ 45 w 432"/>
                <a:gd name="T21" fmla="*/ 317 h 342"/>
                <a:gd name="T22" fmla="*/ 144 w 432"/>
                <a:gd name="T23" fmla="*/ 269 h 342"/>
                <a:gd name="T24" fmla="*/ 356 w 432"/>
                <a:gd name="T25" fmla="*/ 291 h 342"/>
                <a:gd name="T26" fmla="*/ 201 w 432"/>
                <a:gd name="T27" fmla="*/ 219 h 342"/>
                <a:gd name="T28" fmla="*/ 213 w 432"/>
                <a:gd name="T29" fmla="*/ 112 h 342"/>
                <a:gd name="T30" fmla="*/ 320 w 432"/>
                <a:gd name="T31" fmla="*/ 124 h 342"/>
                <a:gd name="T32" fmla="*/ 308 w 432"/>
                <a:gd name="T33" fmla="*/ 231 h 342"/>
                <a:gd name="T34" fmla="*/ 201 w 432"/>
                <a:gd name="T35" fmla="*/ 21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32" h="342">
                  <a:moveTo>
                    <a:pt x="356" y="291"/>
                  </a:moveTo>
                  <a:cubicBezTo>
                    <a:pt x="421" y="238"/>
                    <a:pt x="432" y="142"/>
                    <a:pt x="380" y="76"/>
                  </a:cubicBezTo>
                  <a:cubicBezTo>
                    <a:pt x="328" y="11"/>
                    <a:pt x="232" y="0"/>
                    <a:pt x="166" y="52"/>
                  </a:cubicBezTo>
                  <a:cubicBezTo>
                    <a:pt x="122" y="87"/>
                    <a:pt x="103" y="140"/>
                    <a:pt x="110" y="192"/>
                  </a:cubicBezTo>
                  <a:cubicBezTo>
                    <a:pt x="8" y="241"/>
                    <a:pt x="8" y="241"/>
                    <a:pt x="8" y="241"/>
                  </a:cubicBezTo>
                  <a:cubicBezTo>
                    <a:pt x="8" y="241"/>
                    <a:pt x="8" y="241"/>
                    <a:pt x="8" y="241"/>
                  </a:cubicBezTo>
                  <a:cubicBezTo>
                    <a:pt x="8" y="242"/>
                    <a:pt x="7" y="242"/>
                    <a:pt x="7" y="242"/>
                  </a:cubicBezTo>
                  <a:cubicBezTo>
                    <a:pt x="0" y="245"/>
                    <a:pt x="2" y="265"/>
                    <a:pt x="12" y="286"/>
                  </a:cubicBezTo>
                  <a:cubicBezTo>
                    <a:pt x="22" y="307"/>
                    <a:pt x="37" y="321"/>
                    <a:pt x="44" y="318"/>
                  </a:cubicBezTo>
                  <a:cubicBezTo>
                    <a:pt x="45" y="318"/>
                    <a:pt x="45" y="317"/>
                    <a:pt x="45" y="317"/>
                  </a:cubicBezTo>
                  <a:cubicBezTo>
                    <a:pt x="45" y="317"/>
                    <a:pt x="45" y="317"/>
                    <a:pt x="45" y="317"/>
                  </a:cubicBezTo>
                  <a:cubicBezTo>
                    <a:pt x="144" y="269"/>
                    <a:pt x="144" y="269"/>
                    <a:pt x="144" y="269"/>
                  </a:cubicBezTo>
                  <a:cubicBezTo>
                    <a:pt x="197" y="332"/>
                    <a:pt x="291" y="342"/>
                    <a:pt x="356" y="291"/>
                  </a:cubicBezTo>
                  <a:close/>
                  <a:moveTo>
                    <a:pt x="201" y="219"/>
                  </a:moveTo>
                  <a:cubicBezTo>
                    <a:pt x="175" y="186"/>
                    <a:pt x="181" y="138"/>
                    <a:pt x="213" y="112"/>
                  </a:cubicBezTo>
                  <a:cubicBezTo>
                    <a:pt x="246" y="86"/>
                    <a:pt x="294" y="91"/>
                    <a:pt x="320" y="124"/>
                  </a:cubicBezTo>
                  <a:cubicBezTo>
                    <a:pt x="346" y="157"/>
                    <a:pt x="341" y="205"/>
                    <a:pt x="308" y="231"/>
                  </a:cubicBezTo>
                  <a:cubicBezTo>
                    <a:pt x="275" y="257"/>
                    <a:pt x="227" y="251"/>
                    <a:pt x="201" y="219"/>
                  </a:cubicBezTo>
                  <a:close/>
                </a:path>
              </a:pathLst>
            </a:custGeom>
            <a:solidFill>
              <a:srgbClr val="424242">
                <a:alpha val="20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08" name="Freeform 49">
              <a:extLst>
                <a:ext uri="{FF2B5EF4-FFF2-40B4-BE49-F238E27FC236}">
                  <a16:creationId xmlns:a16="http://schemas.microsoft.com/office/drawing/2014/main" id="{82C39DEA-0D6D-432B-8FCD-3938F2CC944A}"/>
                </a:ext>
              </a:extLst>
            </p:cNvPr>
            <p:cNvSpPr>
              <a:spLocks/>
            </p:cNvSpPr>
            <p:nvPr/>
          </p:nvSpPr>
          <p:spPr bwMode="auto">
            <a:xfrm>
              <a:off x="6352381" y="3913981"/>
              <a:ext cx="604838" cy="1592263"/>
            </a:xfrm>
            <a:custGeom>
              <a:avLst/>
              <a:gdLst>
                <a:gd name="T0" fmla="*/ 285 w 343"/>
                <a:gd name="T1" fmla="*/ 14 h 903"/>
                <a:gd name="T2" fmla="*/ 252 w 343"/>
                <a:gd name="T3" fmla="*/ 129 h 903"/>
                <a:gd name="T4" fmla="*/ 292 w 343"/>
                <a:gd name="T5" fmla="*/ 141 h 903"/>
                <a:gd name="T6" fmla="*/ 330 w 343"/>
                <a:gd name="T7" fmla="*/ 221 h 903"/>
                <a:gd name="T8" fmla="*/ 75 w 343"/>
                <a:gd name="T9" fmla="*/ 865 h 903"/>
                <a:gd name="T10" fmla="*/ 16 w 343"/>
                <a:gd name="T11" fmla="*/ 900 h 903"/>
                <a:gd name="T12" fmla="*/ 0 w 343"/>
                <a:gd name="T13" fmla="*/ 898 h 903"/>
                <a:gd name="T14" fmla="*/ 224 w 343"/>
                <a:gd name="T15" fmla="*/ 0 h 903"/>
                <a:gd name="T16" fmla="*/ 285 w 343"/>
                <a:gd name="T17" fmla="*/ 14 h 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3" h="903">
                  <a:moveTo>
                    <a:pt x="285" y="14"/>
                  </a:moveTo>
                  <a:cubicBezTo>
                    <a:pt x="252" y="129"/>
                    <a:pt x="252" y="129"/>
                    <a:pt x="252" y="129"/>
                  </a:cubicBezTo>
                  <a:cubicBezTo>
                    <a:pt x="292" y="141"/>
                    <a:pt x="292" y="141"/>
                    <a:pt x="292" y="141"/>
                  </a:cubicBezTo>
                  <a:cubicBezTo>
                    <a:pt x="326" y="152"/>
                    <a:pt x="343" y="188"/>
                    <a:pt x="330" y="221"/>
                  </a:cubicBezTo>
                  <a:cubicBezTo>
                    <a:pt x="75" y="865"/>
                    <a:pt x="75" y="865"/>
                    <a:pt x="75" y="865"/>
                  </a:cubicBezTo>
                  <a:cubicBezTo>
                    <a:pt x="65" y="889"/>
                    <a:pt x="41" y="903"/>
                    <a:pt x="16" y="900"/>
                  </a:cubicBezTo>
                  <a:cubicBezTo>
                    <a:pt x="0" y="898"/>
                    <a:pt x="0" y="898"/>
                    <a:pt x="0" y="898"/>
                  </a:cubicBezTo>
                  <a:cubicBezTo>
                    <a:pt x="224" y="0"/>
                    <a:pt x="224" y="0"/>
                    <a:pt x="224" y="0"/>
                  </a:cubicBezTo>
                  <a:lnTo>
                    <a:pt x="285" y="14"/>
                  </a:lnTo>
                  <a:close/>
                </a:path>
              </a:pathLst>
            </a:custGeom>
            <a:solidFill>
              <a:srgbClr val="ACA5A5"/>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09" name="Freeform 50">
              <a:extLst>
                <a:ext uri="{FF2B5EF4-FFF2-40B4-BE49-F238E27FC236}">
                  <a16:creationId xmlns:a16="http://schemas.microsoft.com/office/drawing/2014/main" id="{DFEBE25D-F8F2-46B7-99AD-2AF09812DBF2}"/>
                </a:ext>
              </a:extLst>
            </p:cNvPr>
            <p:cNvSpPr>
              <a:spLocks noEditPoints="1"/>
            </p:cNvSpPr>
            <p:nvPr/>
          </p:nvSpPr>
          <p:spPr bwMode="auto">
            <a:xfrm>
              <a:off x="6646069" y="3202781"/>
              <a:ext cx="538163" cy="747713"/>
            </a:xfrm>
            <a:custGeom>
              <a:avLst/>
              <a:gdLst>
                <a:gd name="T0" fmla="*/ 305 w 305"/>
                <a:gd name="T1" fmla="*/ 153 h 424"/>
                <a:gd name="T2" fmla="*/ 152 w 305"/>
                <a:gd name="T3" fmla="*/ 0 h 424"/>
                <a:gd name="T4" fmla="*/ 0 w 305"/>
                <a:gd name="T5" fmla="*/ 153 h 424"/>
                <a:gd name="T6" fmla="*/ 74 w 305"/>
                <a:gd name="T7" fmla="*/ 284 h 424"/>
                <a:gd name="T8" fmla="*/ 50 w 305"/>
                <a:gd name="T9" fmla="*/ 395 h 424"/>
                <a:gd name="T10" fmla="*/ 50 w 305"/>
                <a:gd name="T11" fmla="*/ 395 h 424"/>
                <a:gd name="T12" fmla="*/ 50 w 305"/>
                <a:gd name="T13" fmla="*/ 395 h 424"/>
                <a:gd name="T14" fmla="*/ 88 w 305"/>
                <a:gd name="T15" fmla="*/ 419 h 424"/>
                <a:gd name="T16" fmla="*/ 132 w 305"/>
                <a:gd name="T17" fmla="*/ 413 h 424"/>
                <a:gd name="T18" fmla="*/ 132 w 305"/>
                <a:gd name="T19" fmla="*/ 413 h 424"/>
                <a:gd name="T20" fmla="*/ 132 w 305"/>
                <a:gd name="T21" fmla="*/ 413 h 424"/>
                <a:gd name="T22" fmla="*/ 156 w 305"/>
                <a:gd name="T23" fmla="*/ 305 h 424"/>
                <a:gd name="T24" fmla="*/ 305 w 305"/>
                <a:gd name="T25" fmla="*/ 153 h 424"/>
                <a:gd name="T26" fmla="*/ 152 w 305"/>
                <a:gd name="T27" fmla="*/ 229 h 424"/>
                <a:gd name="T28" fmla="*/ 76 w 305"/>
                <a:gd name="T29" fmla="*/ 153 h 424"/>
                <a:gd name="T30" fmla="*/ 152 w 305"/>
                <a:gd name="T31" fmla="*/ 77 h 424"/>
                <a:gd name="T32" fmla="*/ 228 w 305"/>
                <a:gd name="T33" fmla="*/ 153 h 424"/>
                <a:gd name="T34" fmla="*/ 152 w 305"/>
                <a:gd name="T35" fmla="*/ 229 h 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5" h="424">
                  <a:moveTo>
                    <a:pt x="305" y="153"/>
                  </a:moveTo>
                  <a:cubicBezTo>
                    <a:pt x="305" y="68"/>
                    <a:pt x="237" y="0"/>
                    <a:pt x="152" y="0"/>
                  </a:cubicBezTo>
                  <a:cubicBezTo>
                    <a:pt x="68" y="0"/>
                    <a:pt x="0" y="68"/>
                    <a:pt x="0" y="153"/>
                  </a:cubicBezTo>
                  <a:cubicBezTo>
                    <a:pt x="0" y="208"/>
                    <a:pt x="30" y="257"/>
                    <a:pt x="74" y="284"/>
                  </a:cubicBezTo>
                  <a:cubicBezTo>
                    <a:pt x="50" y="395"/>
                    <a:pt x="50" y="395"/>
                    <a:pt x="50" y="395"/>
                  </a:cubicBezTo>
                  <a:cubicBezTo>
                    <a:pt x="50" y="395"/>
                    <a:pt x="50" y="395"/>
                    <a:pt x="50" y="395"/>
                  </a:cubicBezTo>
                  <a:cubicBezTo>
                    <a:pt x="50" y="395"/>
                    <a:pt x="50" y="395"/>
                    <a:pt x="50" y="395"/>
                  </a:cubicBezTo>
                  <a:cubicBezTo>
                    <a:pt x="48" y="403"/>
                    <a:pt x="65" y="414"/>
                    <a:pt x="88" y="419"/>
                  </a:cubicBezTo>
                  <a:cubicBezTo>
                    <a:pt x="111" y="424"/>
                    <a:pt x="131" y="421"/>
                    <a:pt x="132" y="413"/>
                  </a:cubicBezTo>
                  <a:cubicBezTo>
                    <a:pt x="132" y="413"/>
                    <a:pt x="132" y="413"/>
                    <a:pt x="132" y="413"/>
                  </a:cubicBezTo>
                  <a:cubicBezTo>
                    <a:pt x="132" y="413"/>
                    <a:pt x="132" y="413"/>
                    <a:pt x="132" y="413"/>
                  </a:cubicBezTo>
                  <a:cubicBezTo>
                    <a:pt x="156" y="305"/>
                    <a:pt x="156" y="305"/>
                    <a:pt x="156" y="305"/>
                  </a:cubicBezTo>
                  <a:cubicBezTo>
                    <a:pt x="239" y="303"/>
                    <a:pt x="305" y="235"/>
                    <a:pt x="305" y="153"/>
                  </a:cubicBezTo>
                  <a:close/>
                  <a:moveTo>
                    <a:pt x="152" y="229"/>
                  </a:moveTo>
                  <a:cubicBezTo>
                    <a:pt x="110" y="229"/>
                    <a:pt x="76" y="195"/>
                    <a:pt x="76" y="153"/>
                  </a:cubicBezTo>
                  <a:cubicBezTo>
                    <a:pt x="76" y="111"/>
                    <a:pt x="110" y="77"/>
                    <a:pt x="152" y="77"/>
                  </a:cubicBezTo>
                  <a:cubicBezTo>
                    <a:pt x="194" y="77"/>
                    <a:pt x="228" y="111"/>
                    <a:pt x="228" y="153"/>
                  </a:cubicBezTo>
                  <a:cubicBezTo>
                    <a:pt x="228" y="195"/>
                    <a:pt x="194" y="229"/>
                    <a:pt x="152" y="229"/>
                  </a:cubicBezTo>
                  <a:close/>
                </a:path>
              </a:pathLst>
            </a:custGeom>
            <a:solidFill>
              <a:srgbClr val="194A76"/>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10" name="Freeform 51">
              <a:extLst>
                <a:ext uri="{FF2B5EF4-FFF2-40B4-BE49-F238E27FC236}">
                  <a16:creationId xmlns:a16="http://schemas.microsoft.com/office/drawing/2014/main" id="{62E24295-36BA-40C9-B1E9-D5221AFDFF4E}"/>
                </a:ext>
              </a:extLst>
            </p:cNvPr>
            <p:cNvSpPr>
              <a:spLocks/>
            </p:cNvSpPr>
            <p:nvPr/>
          </p:nvSpPr>
          <p:spPr bwMode="auto">
            <a:xfrm>
              <a:off x="5669756" y="4107656"/>
              <a:ext cx="1497013" cy="842963"/>
            </a:xfrm>
            <a:custGeom>
              <a:avLst/>
              <a:gdLst>
                <a:gd name="T0" fmla="*/ 823 w 849"/>
                <a:gd name="T1" fmla="*/ 22 h 478"/>
                <a:gd name="T2" fmla="*/ 717 w 849"/>
                <a:gd name="T3" fmla="*/ 77 h 478"/>
                <a:gd name="T4" fmla="*/ 697 w 849"/>
                <a:gd name="T5" fmla="*/ 40 h 478"/>
                <a:gd name="T6" fmla="*/ 611 w 849"/>
                <a:gd name="T7" fmla="*/ 19 h 478"/>
                <a:gd name="T8" fmla="*/ 31 w 849"/>
                <a:gd name="T9" fmla="*/ 398 h 478"/>
                <a:gd name="T10" fmla="*/ 9 w 849"/>
                <a:gd name="T11" fmla="*/ 463 h 478"/>
                <a:gd name="T12" fmla="*/ 14 w 849"/>
                <a:gd name="T13" fmla="*/ 478 h 478"/>
                <a:gd name="T14" fmla="*/ 849 w 849"/>
                <a:gd name="T15" fmla="*/ 79 h 478"/>
                <a:gd name="T16" fmla="*/ 823 w 849"/>
                <a:gd name="T17" fmla="*/ 22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9" h="478">
                  <a:moveTo>
                    <a:pt x="823" y="22"/>
                  </a:moveTo>
                  <a:cubicBezTo>
                    <a:pt x="717" y="77"/>
                    <a:pt x="717" y="77"/>
                    <a:pt x="717" y="77"/>
                  </a:cubicBezTo>
                  <a:cubicBezTo>
                    <a:pt x="697" y="40"/>
                    <a:pt x="697" y="40"/>
                    <a:pt x="697" y="40"/>
                  </a:cubicBezTo>
                  <a:cubicBezTo>
                    <a:pt x="680" y="10"/>
                    <a:pt x="641" y="0"/>
                    <a:pt x="611" y="19"/>
                  </a:cubicBezTo>
                  <a:cubicBezTo>
                    <a:pt x="31" y="398"/>
                    <a:pt x="31" y="398"/>
                    <a:pt x="31" y="398"/>
                  </a:cubicBezTo>
                  <a:cubicBezTo>
                    <a:pt x="10" y="412"/>
                    <a:pt x="0" y="438"/>
                    <a:pt x="9" y="463"/>
                  </a:cubicBezTo>
                  <a:cubicBezTo>
                    <a:pt x="14" y="478"/>
                    <a:pt x="14" y="478"/>
                    <a:pt x="14" y="478"/>
                  </a:cubicBezTo>
                  <a:cubicBezTo>
                    <a:pt x="849" y="79"/>
                    <a:pt x="849" y="79"/>
                    <a:pt x="849" y="79"/>
                  </a:cubicBezTo>
                  <a:lnTo>
                    <a:pt x="823" y="22"/>
                  </a:lnTo>
                  <a:close/>
                </a:path>
              </a:pathLst>
            </a:custGeom>
            <a:solidFill>
              <a:srgbClr val="DDD0D5"/>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11" name="Oval 52">
              <a:extLst>
                <a:ext uri="{FF2B5EF4-FFF2-40B4-BE49-F238E27FC236}">
                  <a16:creationId xmlns:a16="http://schemas.microsoft.com/office/drawing/2014/main" id="{3F72A68C-D8FA-4BD9-9E39-8302240C7B85}"/>
                </a:ext>
              </a:extLst>
            </p:cNvPr>
            <p:cNvSpPr>
              <a:spLocks noChangeArrowheads="1"/>
            </p:cNvSpPr>
            <p:nvPr/>
          </p:nvSpPr>
          <p:spPr bwMode="auto">
            <a:xfrm>
              <a:off x="6746081" y="4218781"/>
              <a:ext cx="119063" cy="120650"/>
            </a:xfrm>
            <a:prstGeom prst="ellipse">
              <a:avLst/>
            </a:prstGeom>
            <a:solidFill>
              <a:srgbClr val="AC9FA9"/>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12" name="Freeform 53">
              <a:extLst>
                <a:ext uri="{FF2B5EF4-FFF2-40B4-BE49-F238E27FC236}">
                  <a16:creationId xmlns:a16="http://schemas.microsoft.com/office/drawing/2014/main" id="{F635E47D-E07B-4ACD-9C2B-415EE158AC56}"/>
                </a:ext>
              </a:extLst>
            </p:cNvPr>
            <p:cNvSpPr>
              <a:spLocks noEditPoints="1"/>
            </p:cNvSpPr>
            <p:nvPr/>
          </p:nvSpPr>
          <p:spPr bwMode="auto">
            <a:xfrm>
              <a:off x="7115969" y="3699669"/>
              <a:ext cx="760413" cy="603250"/>
            </a:xfrm>
            <a:custGeom>
              <a:avLst/>
              <a:gdLst>
                <a:gd name="T0" fmla="*/ 356 w 432"/>
                <a:gd name="T1" fmla="*/ 291 h 342"/>
                <a:gd name="T2" fmla="*/ 380 w 432"/>
                <a:gd name="T3" fmla="*/ 76 h 342"/>
                <a:gd name="T4" fmla="*/ 166 w 432"/>
                <a:gd name="T5" fmla="*/ 52 h 342"/>
                <a:gd name="T6" fmla="*/ 110 w 432"/>
                <a:gd name="T7" fmla="*/ 192 h 342"/>
                <a:gd name="T8" fmla="*/ 8 w 432"/>
                <a:gd name="T9" fmla="*/ 241 h 342"/>
                <a:gd name="T10" fmla="*/ 8 w 432"/>
                <a:gd name="T11" fmla="*/ 241 h 342"/>
                <a:gd name="T12" fmla="*/ 7 w 432"/>
                <a:gd name="T13" fmla="*/ 242 h 342"/>
                <a:gd name="T14" fmla="*/ 12 w 432"/>
                <a:gd name="T15" fmla="*/ 286 h 342"/>
                <a:gd name="T16" fmla="*/ 44 w 432"/>
                <a:gd name="T17" fmla="*/ 318 h 342"/>
                <a:gd name="T18" fmla="*/ 45 w 432"/>
                <a:gd name="T19" fmla="*/ 317 h 342"/>
                <a:gd name="T20" fmla="*/ 45 w 432"/>
                <a:gd name="T21" fmla="*/ 317 h 342"/>
                <a:gd name="T22" fmla="*/ 144 w 432"/>
                <a:gd name="T23" fmla="*/ 269 h 342"/>
                <a:gd name="T24" fmla="*/ 356 w 432"/>
                <a:gd name="T25" fmla="*/ 291 h 342"/>
                <a:gd name="T26" fmla="*/ 201 w 432"/>
                <a:gd name="T27" fmla="*/ 219 h 342"/>
                <a:gd name="T28" fmla="*/ 213 w 432"/>
                <a:gd name="T29" fmla="*/ 112 h 342"/>
                <a:gd name="T30" fmla="*/ 320 w 432"/>
                <a:gd name="T31" fmla="*/ 124 h 342"/>
                <a:gd name="T32" fmla="*/ 308 w 432"/>
                <a:gd name="T33" fmla="*/ 231 h 342"/>
                <a:gd name="T34" fmla="*/ 201 w 432"/>
                <a:gd name="T35" fmla="*/ 21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32" h="342">
                  <a:moveTo>
                    <a:pt x="356" y="291"/>
                  </a:moveTo>
                  <a:cubicBezTo>
                    <a:pt x="421" y="238"/>
                    <a:pt x="432" y="142"/>
                    <a:pt x="380" y="76"/>
                  </a:cubicBezTo>
                  <a:cubicBezTo>
                    <a:pt x="328" y="11"/>
                    <a:pt x="232" y="0"/>
                    <a:pt x="166" y="52"/>
                  </a:cubicBezTo>
                  <a:cubicBezTo>
                    <a:pt x="122" y="87"/>
                    <a:pt x="103" y="140"/>
                    <a:pt x="110" y="192"/>
                  </a:cubicBezTo>
                  <a:cubicBezTo>
                    <a:pt x="8" y="241"/>
                    <a:pt x="8" y="241"/>
                    <a:pt x="8" y="241"/>
                  </a:cubicBezTo>
                  <a:cubicBezTo>
                    <a:pt x="8" y="241"/>
                    <a:pt x="8" y="241"/>
                    <a:pt x="8" y="241"/>
                  </a:cubicBezTo>
                  <a:cubicBezTo>
                    <a:pt x="8" y="242"/>
                    <a:pt x="7" y="242"/>
                    <a:pt x="7" y="242"/>
                  </a:cubicBezTo>
                  <a:cubicBezTo>
                    <a:pt x="0" y="245"/>
                    <a:pt x="2" y="265"/>
                    <a:pt x="12" y="286"/>
                  </a:cubicBezTo>
                  <a:cubicBezTo>
                    <a:pt x="22" y="307"/>
                    <a:pt x="37" y="321"/>
                    <a:pt x="44" y="318"/>
                  </a:cubicBezTo>
                  <a:cubicBezTo>
                    <a:pt x="45" y="318"/>
                    <a:pt x="45" y="317"/>
                    <a:pt x="45" y="317"/>
                  </a:cubicBezTo>
                  <a:cubicBezTo>
                    <a:pt x="45" y="317"/>
                    <a:pt x="45" y="317"/>
                    <a:pt x="45" y="317"/>
                  </a:cubicBezTo>
                  <a:cubicBezTo>
                    <a:pt x="144" y="269"/>
                    <a:pt x="144" y="269"/>
                    <a:pt x="144" y="269"/>
                  </a:cubicBezTo>
                  <a:cubicBezTo>
                    <a:pt x="197" y="332"/>
                    <a:pt x="291" y="342"/>
                    <a:pt x="356" y="291"/>
                  </a:cubicBezTo>
                  <a:close/>
                  <a:moveTo>
                    <a:pt x="201" y="219"/>
                  </a:moveTo>
                  <a:cubicBezTo>
                    <a:pt x="175" y="186"/>
                    <a:pt x="181" y="138"/>
                    <a:pt x="213" y="112"/>
                  </a:cubicBezTo>
                  <a:cubicBezTo>
                    <a:pt x="246" y="86"/>
                    <a:pt x="294" y="91"/>
                    <a:pt x="320" y="124"/>
                  </a:cubicBezTo>
                  <a:cubicBezTo>
                    <a:pt x="346" y="157"/>
                    <a:pt x="341" y="205"/>
                    <a:pt x="308" y="231"/>
                  </a:cubicBezTo>
                  <a:cubicBezTo>
                    <a:pt x="275" y="257"/>
                    <a:pt x="227" y="251"/>
                    <a:pt x="201" y="219"/>
                  </a:cubicBezTo>
                  <a:close/>
                </a:path>
              </a:pathLst>
            </a:custGeom>
            <a:solidFill>
              <a:srgbClr val="3461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grpSp>
    </p:spTree>
    <p:custDataLst>
      <p:tags r:id="rId1"/>
    </p:custDataLst>
    <p:extLst>
      <p:ext uri="{BB962C8B-B14F-4D97-AF65-F5344CB8AC3E}">
        <p14:creationId xmlns:p14="http://schemas.microsoft.com/office/powerpoint/2010/main" val="3957211245"/>
      </p:ext>
    </p:extLst>
  </p:cSld>
  <p:clrMapOvr>
    <a:masterClrMapping/>
  </p:clrMapOvr>
  <mc:AlternateContent xmlns:mc="http://schemas.openxmlformats.org/markup-compatibility/2006">
    <mc:Choice xmlns:p14="http://schemas.microsoft.com/office/powerpoint/2010/main" Requires="p14">
      <p:transition spd="slow" p14:dur="1250">
        <p:blinds dir="vert"/>
      </p:transition>
    </mc:Choice>
    <mc:Fallback>
      <p:transition spd="slow">
        <p:blinds dir="vert"/>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ISLIDE.SHOWCASE" val="92629a87-56fb-43bb-bbe2-3a519c559a12"/>
  <p:tag name="ISLIDE.TEMPLATE" val="#308833"/>
</p:tagLst>
</file>

<file path=ppt/tags/tag10.xml><?xml version="1.0" encoding="utf-8"?>
<p:tagLst xmlns:a="http://schemas.openxmlformats.org/drawingml/2006/main" xmlns:r="http://schemas.openxmlformats.org/officeDocument/2006/relationships" xmlns:p="http://schemas.openxmlformats.org/presentationml/2006/main">
  <p:tag name="ISLIDE.TEMPLATE" val="https://www.islide.cc;"/>
  <p:tag name="ISLIDE.ICON" val="#77291;"/>
  <p:tag name="ISLIDE.VECTOR" val="#977176;"/>
</p:tagLst>
</file>

<file path=ppt/tags/tag11.xml><?xml version="1.0" encoding="utf-8"?>
<p:tagLst xmlns:a="http://schemas.openxmlformats.org/drawingml/2006/main" xmlns:r="http://schemas.openxmlformats.org/officeDocument/2006/relationships" xmlns:p="http://schemas.openxmlformats.org/presentationml/2006/main">
  <p:tag name="ISLIDE.PICTURE" val="#689591;#692407;#684900;"/>
  <p:tag name="ISLIDE.VECTOR" val="#906367;#971933;"/>
</p:tagLst>
</file>

<file path=ppt/tags/tag12.xml><?xml version="1.0" encoding="utf-8"?>
<p:tagLst xmlns:a="http://schemas.openxmlformats.org/drawingml/2006/main" xmlns:r="http://schemas.openxmlformats.org/officeDocument/2006/relationships" xmlns:p="http://schemas.openxmlformats.org/presentationml/2006/main">
  <p:tag name="ISLIDE.PICTURE" val="#689591;#692407;#684900;"/>
  <p:tag name="ISLIDE.VECTOR" val="#906367;#971933;"/>
</p:tagLst>
</file>

<file path=ppt/tags/tag13.xml><?xml version="1.0" encoding="utf-8"?>
<p:tagLst xmlns:a="http://schemas.openxmlformats.org/drawingml/2006/main" xmlns:r="http://schemas.openxmlformats.org/officeDocument/2006/relationships" xmlns:p="http://schemas.openxmlformats.org/presentationml/2006/main">
  <p:tag name="ISLIDE.PICTURE" val="#689591;#692407;#684900;"/>
  <p:tag name="ISLIDE.VECTOR" val="#906367;#971933;"/>
</p:tagLst>
</file>

<file path=ppt/tags/tag14.xml><?xml version="1.0" encoding="utf-8"?>
<p:tagLst xmlns:a="http://schemas.openxmlformats.org/drawingml/2006/main" xmlns:r="http://schemas.openxmlformats.org/officeDocument/2006/relationships" xmlns:p="http://schemas.openxmlformats.org/presentationml/2006/main">
  <p:tag name="ISLIDE.PICTURE" val="#689591;#692407;#684900;"/>
  <p:tag name="ISLIDE.VECTOR" val="#906367;#971933;"/>
</p:tagLst>
</file>

<file path=ppt/tags/tag15.xml><?xml version="1.0" encoding="utf-8"?>
<p:tagLst xmlns:a="http://schemas.openxmlformats.org/drawingml/2006/main" xmlns:r="http://schemas.openxmlformats.org/officeDocument/2006/relationships" xmlns:p="http://schemas.openxmlformats.org/presentationml/2006/main">
  <p:tag name="ISLIDE.PICTURE" val="#689591;#692407;#684900;"/>
  <p:tag name="ISLIDE.VECTOR" val="#906367;#971933;"/>
</p:tagLst>
</file>

<file path=ppt/tags/tag16.xml><?xml version="1.0" encoding="utf-8"?>
<p:tagLst xmlns:a="http://schemas.openxmlformats.org/drawingml/2006/main" xmlns:r="http://schemas.openxmlformats.org/officeDocument/2006/relationships" xmlns:p="http://schemas.openxmlformats.org/presentationml/2006/main">
  <p:tag name="ISLIDE.TEMPLATE" val="https://www.islide.cc;"/>
</p:tagLst>
</file>

<file path=ppt/tags/tag17.xml><?xml version="1.0" encoding="utf-8"?>
<p:tagLst xmlns:a="http://schemas.openxmlformats.org/drawingml/2006/main" xmlns:r="http://schemas.openxmlformats.org/officeDocument/2006/relationships" xmlns:p="http://schemas.openxmlformats.org/presentationml/2006/main">
  <p:tag name="ISLIDE.TEMPLATE" val="https://www.islide.cc;"/>
  <p:tag name="ISLIDE.ICON" val="#77291;"/>
  <p:tag name="ISLIDE.VECTOR" val="#977170;#977181;"/>
</p:tagLst>
</file>

<file path=ppt/tags/tag18.xml><?xml version="1.0" encoding="utf-8"?>
<p:tagLst xmlns:a="http://schemas.openxmlformats.org/drawingml/2006/main" xmlns:r="http://schemas.openxmlformats.org/officeDocument/2006/relationships" xmlns:p="http://schemas.openxmlformats.org/presentationml/2006/main">
  <p:tag name="ISLIDE.PICTURE" val="#689591;#692407;#684900;"/>
  <p:tag name="ISLIDE.VECTOR" val="#906367;#971933;#971933;"/>
</p:tagLst>
</file>

<file path=ppt/tags/tag19.xml><?xml version="1.0" encoding="utf-8"?>
<p:tagLst xmlns:a="http://schemas.openxmlformats.org/drawingml/2006/main" xmlns:r="http://schemas.openxmlformats.org/officeDocument/2006/relationships" xmlns:p="http://schemas.openxmlformats.org/presentationml/2006/main">
  <p:tag name="ISLIDE.PICTURE" val="#689591;#692407;#684900;"/>
  <p:tag name="ISLIDE.VECTOR" val="#906367;#971933;#971933;"/>
</p:tagLst>
</file>

<file path=ppt/tags/tag2.xml><?xml version="1.0" encoding="utf-8"?>
<p:tagLst xmlns:a="http://schemas.openxmlformats.org/drawingml/2006/main" xmlns:r="http://schemas.openxmlformats.org/officeDocument/2006/relationships" xmlns:p="http://schemas.openxmlformats.org/presentationml/2006/main">
  <p:tag name="ISLIDE.TEMPLATE" val="https://www.islide.cc;"/>
</p:tagLst>
</file>

<file path=ppt/tags/tag20.xml><?xml version="1.0" encoding="utf-8"?>
<p:tagLst xmlns:a="http://schemas.openxmlformats.org/drawingml/2006/main" xmlns:r="http://schemas.openxmlformats.org/officeDocument/2006/relationships" xmlns:p="http://schemas.openxmlformats.org/presentationml/2006/main">
  <p:tag name="ISLIDE.TEMPLATE" val="https://www.islide.cc;"/>
</p:tagLst>
</file>

<file path=ppt/tags/tag21.xml><?xml version="1.0" encoding="utf-8"?>
<p:tagLst xmlns:a="http://schemas.openxmlformats.org/drawingml/2006/main" xmlns:r="http://schemas.openxmlformats.org/officeDocument/2006/relationships" xmlns:p="http://schemas.openxmlformats.org/presentationml/2006/main">
  <p:tag name="ISLIDE.TEMPLATE" val="https://www.islide.cc;"/>
  <p:tag name="ISLIDE.ICON" val="#77291;"/>
  <p:tag name="ISLIDE.VECTOR" val="#977181;"/>
</p:tagLst>
</file>

<file path=ppt/tags/tag22.xml><?xml version="1.0" encoding="utf-8"?>
<p:tagLst xmlns:a="http://schemas.openxmlformats.org/drawingml/2006/main" xmlns:r="http://schemas.openxmlformats.org/officeDocument/2006/relationships" xmlns:p="http://schemas.openxmlformats.org/presentationml/2006/main">
  <p:tag name="ISLIDE.PICTURE" val="#689591;#692407;#684900;"/>
  <p:tag name="ISLIDE.VECTOR" val="#906367;#971933;#971933;"/>
</p:tagLst>
</file>

<file path=ppt/tags/tag23.xml><?xml version="1.0" encoding="utf-8"?>
<p:tagLst xmlns:a="http://schemas.openxmlformats.org/drawingml/2006/main" xmlns:r="http://schemas.openxmlformats.org/officeDocument/2006/relationships" xmlns:p="http://schemas.openxmlformats.org/presentationml/2006/main">
  <p:tag name="ISLIDE.PICTURE" val="#689591;#692407;#684900;"/>
  <p:tag name="ISLIDE.VECTOR" val="#906367;#971933;#971933;"/>
</p:tagLst>
</file>

<file path=ppt/tags/tag24.xml><?xml version="1.0" encoding="utf-8"?>
<p:tagLst xmlns:a="http://schemas.openxmlformats.org/drawingml/2006/main" xmlns:r="http://schemas.openxmlformats.org/officeDocument/2006/relationships" xmlns:p="http://schemas.openxmlformats.org/presentationml/2006/main">
  <p:tag name="ISLIDE.TEMPLATE" val="https://www.islide.cc;"/>
</p:tagLst>
</file>

<file path=ppt/tags/tag25.xml><?xml version="1.0" encoding="utf-8"?>
<p:tagLst xmlns:a="http://schemas.openxmlformats.org/drawingml/2006/main" xmlns:r="http://schemas.openxmlformats.org/officeDocument/2006/relationships" xmlns:p="http://schemas.openxmlformats.org/presentationml/2006/main">
  <p:tag name="ISLIDE.TEMPLATE" val="https://www.islide.cc;"/>
  <p:tag name="ISLIDE.ICON" val="#77291;"/>
  <p:tag name="ISLIDE.VECTOR" val="#197079;"/>
</p:tagLst>
</file>

<file path=ppt/tags/tag26.xml><?xml version="1.0" encoding="utf-8"?>
<p:tagLst xmlns:a="http://schemas.openxmlformats.org/drawingml/2006/main" xmlns:r="http://schemas.openxmlformats.org/officeDocument/2006/relationships" xmlns:p="http://schemas.openxmlformats.org/presentationml/2006/main">
  <p:tag name="ISLIDE.TEMPLATE" val="https://www.islide.cc;"/>
</p:tagLst>
</file>

<file path=ppt/tags/tag27.xml><?xml version="1.0" encoding="utf-8"?>
<p:tagLst xmlns:a="http://schemas.openxmlformats.org/drawingml/2006/main" xmlns:r="http://schemas.openxmlformats.org/officeDocument/2006/relationships" xmlns:p="http://schemas.openxmlformats.org/presentationml/2006/main">
  <p:tag name="ISLIDE.TEMPLATE" val="https://www.islide.cc;"/>
  <p:tag name="ISLIDE.ICON" val="#77291;"/>
  <p:tag name="ISLIDE.VECTOR" val="#954801;"/>
</p:tagLst>
</file>

<file path=ppt/tags/tag28.xml><?xml version="1.0" encoding="utf-8"?>
<p:tagLst xmlns:a="http://schemas.openxmlformats.org/drawingml/2006/main" xmlns:r="http://schemas.openxmlformats.org/officeDocument/2006/relationships" xmlns:p="http://schemas.openxmlformats.org/presentationml/2006/main">
  <p:tag name="ISLIDE.PICTURE" val="#689591;#692407;#684900;"/>
  <p:tag name="ISLIDE.VECTOR" val="#906367;#971933;#971933;"/>
</p:tagLst>
</file>

<file path=ppt/tags/tag29.xml><?xml version="1.0" encoding="utf-8"?>
<p:tagLst xmlns:a="http://schemas.openxmlformats.org/drawingml/2006/main" xmlns:r="http://schemas.openxmlformats.org/officeDocument/2006/relationships" xmlns:p="http://schemas.openxmlformats.org/presentationml/2006/main">
  <p:tag name="ISLIDE.PICTURE" val="#689591;#692407;#684900;"/>
  <p:tag name="ISLIDE.VECTOR" val="#906367;#971933;#971933;"/>
</p:tagLst>
</file>

<file path=ppt/tags/tag3.xml><?xml version="1.0" encoding="utf-8"?>
<p:tagLst xmlns:a="http://schemas.openxmlformats.org/drawingml/2006/main" xmlns:r="http://schemas.openxmlformats.org/officeDocument/2006/relationships" xmlns:p="http://schemas.openxmlformats.org/presentationml/2006/main">
  <p:tag name="ISLIDE.DIAGRAM" val="#949776;"/>
  <p:tag name="ISLIDE.TEMPLATE" val="https://www.islide.cc;"/>
</p:tagLst>
</file>

<file path=ppt/tags/tag30.xml><?xml version="1.0" encoding="utf-8"?>
<p:tagLst xmlns:a="http://schemas.openxmlformats.org/drawingml/2006/main" xmlns:r="http://schemas.openxmlformats.org/officeDocument/2006/relationships" xmlns:p="http://schemas.openxmlformats.org/presentationml/2006/main">
  <p:tag name="ISLIDE.TEMPLATE" val="https://www.islide.cc;"/>
</p:tagLst>
</file>

<file path=ppt/tags/tag31.xml><?xml version="1.0" encoding="utf-8"?>
<p:tagLst xmlns:a="http://schemas.openxmlformats.org/drawingml/2006/main" xmlns:r="http://schemas.openxmlformats.org/officeDocument/2006/relationships" xmlns:p="http://schemas.openxmlformats.org/presentationml/2006/main">
  <p:tag name="ISLIDE.VECTOR" val="#251053;"/>
</p:tagLst>
</file>

<file path=ppt/tags/tag32.xml><?xml version="1.0" encoding="utf-8"?>
<p:tagLst xmlns:a="http://schemas.openxmlformats.org/drawingml/2006/main" xmlns:r="http://schemas.openxmlformats.org/officeDocument/2006/relationships" xmlns:p="http://schemas.openxmlformats.org/presentationml/2006/main">
  <p:tag name="ISLIDE.TEMPLATE" val="https://www.islide.cc;"/>
</p:tagLst>
</file>

<file path=ppt/tags/tag33.xml><?xml version="1.0" encoding="utf-8"?>
<p:tagLst xmlns:a="http://schemas.openxmlformats.org/drawingml/2006/main" xmlns:r="http://schemas.openxmlformats.org/officeDocument/2006/relationships" xmlns:p="http://schemas.openxmlformats.org/presentationml/2006/main">
  <p:tag name="ISLIDE.TEMPLATE" val="https://www.islide.cc;"/>
</p:tagLst>
</file>

<file path=ppt/tags/tag34.xml><?xml version="1.0" encoding="utf-8"?>
<p:tagLst xmlns:a="http://schemas.openxmlformats.org/drawingml/2006/main" xmlns:r="http://schemas.openxmlformats.org/officeDocument/2006/relationships" xmlns:p="http://schemas.openxmlformats.org/presentationml/2006/main">
  <p:tag name="ISLIDE.TEMPLATE" val="https://www.islide.cc;"/>
</p:tagLst>
</file>

<file path=ppt/tags/tag4.xml><?xml version="1.0" encoding="utf-8"?>
<p:tagLst xmlns:a="http://schemas.openxmlformats.org/drawingml/2006/main" xmlns:r="http://schemas.openxmlformats.org/officeDocument/2006/relationships" xmlns:p="http://schemas.openxmlformats.org/presentationml/2006/main">
  <p:tag name="ISLIDE.TEMPLATE" val="https://www.islide.cc;"/>
</p:tagLst>
</file>

<file path=ppt/tags/tag5.xml><?xml version="1.0" encoding="utf-8"?>
<p:tagLst xmlns:a="http://schemas.openxmlformats.org/drawingml/2006/main" xmlns:r="http://schemas.openxmlformats.org/officeDocument/2006/relationships" xmlns:p="http://schemas.openxmlformats.org/presentationml/2006/main">
  <p:tag name="ISLIDE.TEMPLATE" val="https://www.islide.cc;"/>
</p:tagLst>
</file>

<file path=ppt/tags/tag6.xml><?xml version="1.0" encoding="utf-8"?>
<p:tagLst xmlns:a="http://schemas.openxmlformats.org/drawingml/2006/main" xmlns:r="http://schemas.openxmlformats.org/officeDocument/2006/relationships" xmlns:p="http://schemas.openxmlformats.org/presentationml/2006/main">
  <p:tag name="ISLIDE.TEMPLATE" val="https://www.islide.cc;"/>
  <p:tag name="ISLIDE.ICON" val="#77291;"/>
</p:tagLst>
</file>

<file path=ppt/tags/tag7.xml><?xml version="1.0" encoding="utf-8"?>
<p:tagLst xmlns:a="http://schemas.openxmlformats.org/drawingml/2006/main" xmlns:r="http://schemas.openxmlformats.org/officeDocument/2006/relationships" xmlns:p="http://schemas.openxmlformats.org/presentationml/2006/main">
  <p:tag name="ISLIDE.PICTURE" val="#689591;#692407;#684900;"/>
  <p:tag name="ISLIDE.VECTOR" val="#906367;"/>
</p:tagLst>
</file>

<file path=ppt/tags/tag8.xml><?xml version="1.0" encoding="utf-8"?>
<p:tagLst xmlns:a="http://schemas.openxmlformats.org/drawingml/2006/main" xmlns:r="http://schemas.openxmlformats.org/officeDocument/2006/relationships" xmlns:p="http://schemas.openxmlformats.org/presentationml/2006/main">
  <p:tag name="ISLIDE.VECTOR" val="#906369;"/>
</p:tagLst>
</file>

<file path=ppt/tags/tag9.xml><?xml version="1.0" encoding="utf-8"?>
<p:tagLst xmlns:a="http://schemas.openxmlformats.org/drawingml/2006/main" xmlns:r="http://schemas.openxmlformats.org/officeDocument/2006/relationships" xmlns:p="http://schemas.openxmlformats.org/presentationml/2006/main">
  <p:tag name="ISLIDE.TEMPLATE" val="https://www.islide.cc;"/>
</p:tagLst>
</file>

<file path=ppt/theme/theme1.xml><?xml version="1.0" encoding="utf-8"?>
<a:theme xmlns:a="http://schemas.openxmlformats.org/drawingml/2006/main" name="主题5">
  <a:themeElements>
    <a:clrScheme name="房利美">
      <a:dk1>
        <a:srgbClr val="000000"/>
      </a:dk1>
      <a:lt1>
        <a:srgbClr val="FFFFFF"/>
      </a:lt1>
      <a:dk2>
        <a:srgbClr val="768394"/>
      </a:dk2>
      <a:lt2>
        <a:srgbClr val="F0F0F0"/>
      </a:lt2>
      <a:accent1>
        <a:srgbClr val="0585D7"/>
      </a:accent1>
      <a:accent2>
        <a:srgbClr val="5EAFE4"/>
      </a:accent2>
      <a:accent3>
        <a:srgbClr val="616060"/>
      </a:accent3>
      <a:accent4>
        <a:srgbClr val="7F7F7F"/>
      </a:accent4>
      <a:accent5>
        <a:srgbClr val="666666"/>
      </a:accent5>
      <a:accent6>
        <a:srgbClr val="515151"/>
      </a:accent6>
      <a:hlink>
        <a:srgbClr val="4276AA"/>
      </a:hlink>
      <a:folHlink>
        <a:srgbClr val="BFBFBF"/>
      </a:folHlink>
    </a:clrScheme>
    <a:fontScheme name="Temp">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主题5" id="{B8EDB911-D765-4A7B-BBC7-40DBB672FBA6}" vid="{AECAB1C0-5DF6-436C-85E8-20094DBE11C0}"/>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房利美">
    <a:dk1>
      <a:srgbClr val="000000"/>
    </a:dk1>
    <a:lt1>
      <a:srgbClr val="FFFFFF"/>
    </a:lt1>
    <a:dk2>
      <a:srgbClr val="768394"/>
    </a:dk2>
    <a:lt2>
      <a:srgbClr val="F0F0F0"/>
    </a:lt2>
    <a:accent1>
      <a:srgbClr val="0585D7"/>
    </a:accent1>
    <a:accent2>
      <a:srgbClr val="5EAFE4"/>
    </a:accent2>
    <a:accent3>
      <a:srgbClr val="616060"/>
    </a:accent3>
    <a:accent4>
      <a:srgbClr val="7F7F7F"/>
    </a:accent4>
    <a:accent5>
      <a:srgbClr val="666666"/>
    </a:accent5>
    <a:accent6>
      <a:srgbClr val="515151"/>
    </a:accent6>
    <a:hlink>
      <a:srgbClr val="4276AA"/>
    </a:hlink>
    <a:folHlink>
      <a:srgbClr val="BFBFBF"/>
    </a:folHlink>
  </a:clrScheme>
</a:themeOverride>
</file>

<file path=ppt/theme/themeOverride2.xml><?xml version="1.0" encoding="utf-8"?>
<a:themeOverride xmlns:a="http://schemas.openxmlformats.org/drawingml/2006/main">
  <a:clrScheme name="房利美">
    <a:dk1>
      <a:srgbClr val="000000"/>
    </a:dk1>
    <a:lt1>
      <a:srgbClr val="FFFFFF"/>
    </a:lt1>
    <a:dk2>
      <a:srgbClr val="768394"/>
    </a:dk2>
    <a:lt2>
      <a:srgbClr val="F0F0F0"/>
    </a:lt2>
    <a:accent1>
      <a:srgbClr val="0585D7"/>
    </a:accent1>
    <a:accent2>
      <a:srgbClr val="5EAFE4"/>
    </a:accent2>
    <a:accent3>
      <a:srgbClr val="616060"/>
    </a:accent3>
    <a:accent4>
      <a:srgbClr val="7F7F7F"/>
    </a:accent4>
    <a:accent5>
      <a:srgbClr val="666666"/>
    </a:accent5>
    <a:accent6>
      <a:srgbClr val="515151"/>
    </a:accent6>
    <a:hlink>
      <a:srgbClr val="4276AA"/>
    </a:hlink>
    <a:folHlink>
      <a:srgbClr val="BFBFBF"/>
    </a:folHlink>
  </a:clrScheme>
</a:themeOverride>
</file>

<file path=ppt/theme/themeOverride3.xml><?xml version="1.0" encoding="utf-8"?>
<a:themeOverride xmlns:a="http://schemas.openxmlformats.org/drawingml/2006/main">
  <a:clrScheme name="房利美">
    <a:dk1>
      <a:srgbClr val="000000"/>
    </a:dk1>
    <a:lt1>
      <a:srgbClr val="FFFFFF"/>
    </a:lt1>
    <a:dk2>
      <a:srgbClr val="768394"/>
    </a:dk2>
    <a:lt2>
      <a:srgbClr val="F0F0F0"/>
    </a:lt2>
    <a:accent1>
      <a:srgbClr val="0585D7"/>
    </a:accent1>
    <a:accent2>
      <a:srgbClr val="5EAFE4"/>
    </a:accent2>
    <a:accent3>
      <a:srgbClr val="616060"/>
    </a:accent3>
    <a:accent4>
      <a:srgbClr val="7F7F7F"/>
    </a:accent4>
    <a:accent5>
      <a:srgbClr val="666666"/>
    </a:accent5>
    <a:accent6>
      <a:srgbClr val="515151"/>
    </a:accent6>
    <a:hlink>
      <a:srgbClr val="4276AA"/>
    </a:hlink>
    <a:folHlink>
      <a:srgbClr val="BFBFBF"/>
    </a:folHlink>
  </a:clrScheme>
</a:themeOverride>
</file>

<file path=ppt/theme/themeOverride4.xml><?xml version="1.0" encoding="utf-8"?>
<a:themeOverride xmlns:a="http://schemas.openxmlformats.org/drawingml/2006/main">
  <a:clrScheme name="房利美">
    <a:dk1>
      <a:srgbClr val="000000"/>
    </a:dk1>
    <a:lt1>
      <a:srgbClr val="FFFFFF"/>
    </a:lt1>
    <a:dk2>
      <a:srgbClr val="768394"/>
    </a:dk2>
    <a:lt2>
      <a:srgbClr val="F0F0F0"/>
    </a:lt2>
    <a:accent1>
      <a:srgbClr val="0585D7"/>
    </a:accent1>
    <a:accent2>
      <a:srgbClr val="5EAFE4"/>
    </a:accent2>
    <a:accent3>
      <a:srgbClr val="616060"/>
    </a:accent3>
    <a:accent4>
      <a:srgbClr val="7F7F7F"/>
    </a:accent4>
    <a:accent5>
      <a:srgbClr val="666666"/>
    </a:accent5>
    <a:accent6>
      <a:srgbClr val="515151"/>
    </a:accent6>
    <a:hlink>
      <a:srgbClr val="4276AA"/>
    </a:hlink>
    <a:folHlink>
      <a:srgbClr val="BFBFBF"/>
    </a:folHlink>
  </a:clrScheme>
</a:themeOverride>
</file>

<file path=ppt/theme/themeOverride5.xml><?xml version="1.0" encoding="utf-8"?>
<a:themeOverride xmlns:a="http://schemas.openxmlformats.org/drawingml/2006/main">
  <a:clrScheme name="房利美">
    <a:dk1>
      <a:srgbClr val="000000"/>
    </a:dk1>
    <a:lt1>
      <a:srgbClr val="FFFFFF"/>
    </a:lt1>
    <a:dk2>
      <a:srgbClr val="768394"/>
    </a:dk2>
    <a:lt2>
      <a:srgbClr val="F0F0F0"/>
    </a:lt2>
    <a:accent1>
      <a:srgbClr val="0585D7"/>
    </a:accent1>
    <a:accent2>
      <a:srgbClr val="5EAFE4"/>
    </a:accent2>
    <a:accent3>
      <a:srgbClr val="616060"/>
    </a:accent3>
    <a:accent4>
      <a:srgbClr val="7F7F7F"/>
    </a:accent4>
    <a:accent5>
      <a:srgbClr val="666666"/>
    </a:accent5>
    <a:accent6>
      <a:srgbClr val="515151"/>
    </a:accent6>
    <a:hlink>
      <a:srgbClr val="4276AA"/>
    </a:hlink>
    <a:folHlink>
      <a:srgbClr val="BFBFBF"/>
    </a:folHlink>
  </a:clrScheme>
</a:themeOverride>
</file>

<file path=docProps/app.xml><?xml version="1.0" encoding="utf-8"?>
<Properties xmlns="http://schemas.openxmlformats.org/officeDocument/2006/extended-properties" xmlns:vt="http://schemas.openxmlformats.org/officeDocument/2006/docPropsVTypes">
  <Template>iSlide</Template>
  <TotalTime>231</TotalTime>
  <Words>2700</Words>
  <Application>Microsoft Office PowerPoint</Application>
  <PresentationFormat>宽屏</PresentationFormat>
  <Paragraphs>240</Paragraphs>
  <Slides>34</Slides>
  <Notes>0</Notes>
  <HiddenSlides>0</HiddenSlides>
  <MMClips>0</MMClips>
  <ScaleCrop>false</ScaleCrop>
  <HeadingPairs>
    <vt:vector size="8" baseType="variant">
      <vt:variant>
        <vt:lpstr>已用的字体</vt:lpstr>
      </vt:variant>
      <vt:variant>
        <vt:i4>7</vt:i4>
      </vt:variant>
      <vt:variant>
        <vt:lpstr>主题</vt:lpstr>
      </vt:variant>
      <vt:variant>
        <vt:i4>1</vt:i4>
      </vt:variant>
      <vt:variant>
        <vt:lpstr>嵌入 OLE 服务器</vt:lpstr>
      </vt:variant>
      <vt:variant>
        <vt:i4>1</vt:i4>
      </vt:variant>
      <vt:variant>
        <vt:lpstr>幻灯片标题</vt:lpstr>
      </vt:variant>
      <vt:variant>
        <vt:i4>34</vt:i4>
      </vt:variant>
    </vt:vector>
  </HeadingPairs>
  <TitlesOfParts>
    <vt:vector size="43" baseType="lpstr">
      <vt:lpstr>-apple-system</vt:lpstr>
      <vt:lpstr>Helvetica Neue</vt:lpstr>
      <vt:lpstr>PingFang SC</vt:lpstr>
      <vt:lpstr>微软雅黑</vt:lpstr>
      <vt:lpstr>Arial</vt:lpstr>
      <vt:lpstr>Calibri</vt:lpstr>
      <vt:lpstr>Impact</vt:lpstr>
      <vt:lpstr>主题5</vt:lpstr>
      <vt:lpstr>think-cell Slide</vt:lpstr>
      <vt:lpstr>UML基础</vt:lpstr>
      <vt:lpstr>PowerPoint 演示文稿</vt:lpstr>
      <vt:lpstr>PowerPoint 演示文稿</vt:lpstr>
      <vt:lpstr>用例图</vt:lpstr>
      <vt:lpstr>UML用例图</vt:lpstr>
      <vt:lpstr>UML用例图</vt:lpstr>
      <vt:lpstr>UML用例图</vt:lpstr>
      <vt:lpstr>类图</vt:lpstr>
      <vt:lpstr>UML类图</vt:lpstr>
      <vt:lpstr>UML类图</vt:lpstr>
      <vt:lpstr>UML类图</vt:lpstr>
      <vt:lpstr>UML类图中的关系及解释</vt:lpstr>
      <vt:lpstr>UML类图中的关系及解释</vt:lpstr>
      <vt:lpstr>UML类图中的关系及解释</vt:lpstr>
      <vt:lpstr>状态图</vt:lpstr>
      <vt:lpstr>UML状态图</vt:lpstr>
      <vt:lpstr>UML状态图</vt:lpstr>
      <vt:lpstr>UML状态图</vt:lpstr>
      <vt:lpstr>顺序图</vt:lpstr>
      <vt:lpstr>UML顺序图</vt:lpstr>
      <vt:lpstr>UML顺序图</vt:lpstr>
      <vt:lpstr>UML顺序图</vt:lpstr>
      <vt:lpstr>协作图</vt:lpstr>
      <vt:lpstr>UML协作图</vt:lpstr>
      <vt:lpstr>UML协作图</vt:lpstr>
      <vt:lpstr>部署图</vt:lpstr>
      <vt:lpstr>UML部署图</vt:lpstr>
      <vt:lpstr>UML部署图中的事物及解释</vt:lpstr>
      <vt:lpstr>UML部署图中的事物及解释</vt:lpstr>
      <vt:lpstr>相关资料</vt:lpstr>
      <vt:lpstr>相关资料</vt:lpstr>
      <vt:lpstr>小组分工</vt:lpstr>
      <vt:lpstr>小组分工</vt:lpstr>
      <vt:lpstr>Thanks And Your Slogan Here</vt:lpstr>
    </vt:vector>
  </TitlesOfParts>
  <Manager>iSlide</Manager>
  <Company>iSlide</Company>
  <LinksUpToDate>false</LinksUpToDate>
  <SharedDoc>false</SharedDoc>
  <HyperlinkBase>https://www.islide.cc</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iSlide</dc:creator>
  <cp:lastModifiedBy>王 雨豪</cp:lastModifiedBy>
  <cp:revision>26</cp:revision>
  <cp:lastPrinted>2018-06-28T16:00:00Z</cp:lastPrinted>
  <dcterms:created xsi:type="dcterms:W3CDTF">2018-06-28T16:00:00Z</dcterms:created>
  <dcterms:modified xsi:type="dcterms:W3CDTF">2023-04-02T06:48:4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Slide.Theme">
    <vt:lpwstr>48706f29-9ca0-418e-876d-de7b156ca083</vt:lpwstr>
  </property>
</Properties>
</file>